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5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5.xml" ContentType="application/vnd.openxmlformats-officedocument.presentationml.notesSlide+xml"/>
  <Override PartName="/ppt/tags/tag62.xml" ContentType="application/vnd.openxmlformats-officedocument.presentationml.tags+xml"/>
  <Override PartName="/ppt/notesSlides/notesSlide6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7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8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9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0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1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4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6" r:id="rId5"/>
    <p:sldMasterId id="2147483686" r:id="rId6"/>
    <p:sldMasterId id="2147483711" r:id="rId7"/>
  </p:sldMasterIdLst>
  <p:notesMasterIdLst>
    <p:notesMasterId r:id="rId37"/>
  </p:notesMasterIdLst>
  <p:sldIdLst>
    <p:sldId id="2147483078" r:id="rId8"/>
    <p:sldId id="2147483058" r:id="rId9"/>
    <p:sldId id="2147483059" r:id="rId10"/>
    <p:sldId id="377" r:id="rId11"/>
    <p:sldId id="2147483060" r:id="rId12"/>
    <p:sldId id="2147483061" r:id="rId13"/>
    <p:sldId id="2147483075" r:id="rId14"/>
    <p:sldId id="2147483076" r:id="rId15"/>
    <p:sldId id="2147483079" r:id="rId16"/>
    <p:sldId id="2147483080" r:id="rId17"/>
    <p:sldId id="2147483064" r:id="rId18"/>
    <p:sldId id="2147483065" r:id="rId19"/>
    <p:sldId id="2147483066" r:id="rId20"/>
    <p:sldId id="271" r:id="rId21"/>
    <p:sldId id="2147483067" r:id="rId22"/>
    <p:sldId id="2147482998" r:id="rId23"/>
    <p:sldId id="2147483077" r:id="rId24"/>
    <p:sldId id="2147482323" r:id="rId25"/>
    <p:sldId id="2147483040" r:id="rId26"/>
    <p:sldId id="2147483039" r:id="rId27"/>
    <p:sldId id="2147483038" r:id="rId28"/>
    <p:sldId id="2147482361" r:id="rId29"/>
    <p:sldId id="2147482341" r:id="rId30"/>
    <p:sldId id="2147483041" r:id="rId31"/>
    <p:sldId id="2147482330" r:id="rId32"/>
    <p:sldId id="2147483069" r:id="rId33"/>
    <p:sldId id="2147482435" r:id="rId34"/>
    <p:sldId id="2147482336" r:id="rId35"/>
    <p:sldId id="364" r:id="rId36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C114F643-AB44-B34D-A051-2D38732D4400}">
          <p14:sldIdLst>
            <p14:sldId id="2147483078"/>
            <p14:sldId id="2147483058"/>
            <p14:sldId id="2147483059"/>
            <p14:sldId id="377"/>
            <p14:sldId id="2147483060"/>
            <p14:sldId id="2147483061"/>
            <p14:sldId id="2147483075"/>
            <p14:sldId id="2147483076"/>
            <p14:sldId id="2147483079"/>
            <p14:sldId id="2147483080"/>
            <p14:sldId id="2147483064"/>
            <p14:sldId id="2147483065"/>
            <p14:sldId id="2147483066"/>
          </p14:sldIdLst>
        </p14:section>
        <p14:section name="Introduktionsslides" id="{EFBC8324-9F34-6245-8DCB-9EBDC7AB54DB}">
          <p14:sldIdLst>
            <p14:sldId id="271"/>
            <p14:sldId id="2147483067"/>
            <p14:sldId id="2147482998"/>
            <p14:sldId id="2147483077"/>
            <p14:sldId id="2147482323"/>
            <p14:sldId id="2147483040"/>
            <p14:sldId id="2147483039"/>
            <p14:sldId id="2147483038"/>
            <p14:sldId id="2147482361"/>
            <p14:sldId id="2147482341"/>
            <p14:sldId id="2147483041"/>
            <p14:sldId id="2147482330"/>
            <p14:sldId id="2147483069"/>
            <p14:sldId id="2147482435"/>
            <p14:sldId id="2147482336"/>
            <p14:sldId id="3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ABA6723-4ADF-A384-2EF1-EA73D94E0DA0}" name="Ulla Jensen" initials="UJ" userId="S::uje@domea.dk::9f08d654-f16e-4e37-932e-b650d83c4d02" providerId="AD"/>
  <p188:author id="{708367BA-B4E7-1E8A-C090-9013B17D85A1}" name="Caroline Moosgaard Nielsen" initials="CM" userId="S::cam@venzo.com::fb9c0e9b-a3bf-42ca-b744-d83ee6d624f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40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22"/>
    <p:restoredTop sz="94665"/>
  </p:normalViewPr>
  <p:slideViewPr>
    <p:cSldViewPr snapToGrid="0">
      <p:cViewPr varScale="1">
        <p:scale>
          <a:sx n="96" d="100"/>
          <a:sy n="96" d="100"/>
        </p:scale>
        <p:origin x="72" y="2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sper Brøndum Andersen" userId="23d34907-f6e1-4907-afd7-52417792db56" providerId="ADAL" clId="{5F73AC45-D305-42C2-B90C-DB3547B7C75B}"/>
    <pc:docChg chg="modSld">
      <pc:chgData name="Kasper Brøndum Andersen" userId="23d34907-f6e1-4907-afd7-52417792db56" providerId="ADAL" clId="{5F73AC45-D305-42C2-B90C-DB3547B7C75B}" dt="2025-12-09T10:25:14.001" v="11" actId="20577"/>
      <pc:docMkLst>
        <pc:docMk/>
      </pc:docMkLst>
      <pc:sldChg chg="modSp mod">
        <pc:chgData name="Kasper Brøndum Andersen" userId="23d34907-f6e1-4907-afd7-52417792db56" providerId="ADAL" clId="{5F73AC45-D305-42C2-B90C-DB3547B7C75B}" dt="2025-12-09T10:25:14.001" v="11" actId="20577"/>
        <pc:sldMkLst>
          <pc:docMk/>
          <pc:sldMk cId="1687296881" sldId="2147483058"/>
        </pc:sldMkLst>
        <pc:spChg chg="mod">
          <ac:chgData name="Kasper Brøndum Andersen" userId="23d34907-f6e1-4907-afd7-52417792db56" providerId="ADAL" clId="{5F73AC45-D305-42C2-B90C-DB3547B7C75B}" dt="2025-12-09T10:25:14.001" v="11" actId="20577"/>
          <ac:spMkLst>
            <pc:docMk/>
            <pc:sldMk cId="1687296881" sldId="2147483058"/>
            <ac:spMk id="7" creationId="{F73BCF6A-D117-7CF5-0BBD-5C9EAE3843A3}"/>
          </ac:spMkLst>
        </pc:spChg>
      </pc:sldChg>
    </pc:docChg>
  </pc:docChgLst>
  <pc:docChgLst>
    <pc:chgData name="Julie Plesner Thomsen" userId="b57990ff-7c9a-49be-8d57-e62f9c41c990" providerId="ADAL" clId="{DA5828B4-4500-514E-9D31-371A94D05FBE}"/>
    <pc:docChg chg="undo redo custSel addSld delSld modSld modMainMaster addSection modSection">
      <pc:chgData name="Julie Plesner Thomsen" userId="b57990ff-7c9a-49be-8d57-e62f9c41c990" providerId="ADAL" clId="{DA5828B4-4500-514E-9D31-371A94D05FBE}" dt="2025-12-09T09:49:54.474" v="3039" actId="20577"/>
      <pc:docMkLst>
        <pc:docMk/>
      </pc:docMkLst>
      <pc:sldChg chg="delSp modSp mod">
        <pc:chgData name="Julie Plesner Thomsen" userId="b57990ff-7c9a-49be-8d57-e62f9c41c990" providerId="ADAL" clId="{DA5828B4-4500-514E-9D31-371A94D05FBE}" dt="2025-12-09T09:49:54.474" v="3039" actId="20577"/>
        <pc:sldMkLst>
          <pc:docMk/>
          <pc:sldMk cId="2000092830" sldId="2147483069"/>
        </pc:sldMkLst>
        <pc:spChg chg="mod">
          <ac:chgData name="Julie Plesner Thomsen" userId="b57990ff-7c9a-49be-8d57-e62f9c41c990" providerId="ADAL" clId="{DA5828B4-4500-514E-9D31-371A94D05FBE}" dt="2025-12-09T09:49:54.474" v="3039" actId="20577"/>
          <ac:spMkLst>
            <pc:docMk/>
            <pc:sldMk cId="2000092830" sldId="2147483069"/>
            <ac:spMk id="12" creationId="{8DAD15AE-6697-9EBC-1493-04C83E067CA2}"/>
          </ac:spMkLst>
        </pc:spChg>
        <pc:picChg chg="mod">
          <ac:chgData name="Julie Plesner Thomsen" userId="b57990ff-7c9a-49be-8d57-e62f9c41c990" providerId="ADAL" clId="{DA5828B4-4500-514E-9D31-371A94D05FBE}" dt="2025-12-09T09:49:36.437" v="3028" actId="1076"/>
          <ac:picMkLst>
            <pc:docMk/>
            <pc:sldMk cId="2000092830" sldId="2147483069"/>
            <ac:picMk id="3" creationId="{6D740B6D-8FC6-1CB1-2B2C-BF9BC3A347F9}"/>
          </ac:picMkLst>
        </pc:picChg>
        <pc:picChg chg="mod">
          <ac:chgData name="Julie Plesner Thomsen" userId="b57990ff-7c9a-49be-8d57-e62f9c41c990" providerId="ADAL" clId="{DA5828B4-4500-514E-9D31-371A94D05FBE}" dt="2025-12-09T09:49:38.389" v="3029" actId="1076"/>
          <ac:picMkLst>
            <pc:docMk/>
            <pc:sldMk cId="2000092830" sldId="2147483069"/>
            <ac:picMk id="18" creationId="{ED9BBAA7-FDEB-01FC-F2BE-195D812D56CB}"/>
          </ac:picMkLst>
        </pc:picChg>
        <pc:picChg chg="del">
          <ac:chgData name="Julie Plesner Thomsen" userId="b57990ff-7c9a-49be-8d57-e62f9c41c990" providerId="ADAL" clId="{DA5828B4-4500-514E-9D31-371A94D05FBE}" dt="2025-12-09T09:49:23.714" v="3020" actId="478"/>
          <ac:picMkLst>
            <pc:docMk/>
            <pc:sldMk cId="2000092830" sldId="2147483069"/>
            <ac:picMk id="19" creationId="{925B0244-E254-5003-CF53-10D211E3589C}"/>
          </ac:picMkLst>
        </pc:picChg>
        <pc:picChg chg="mod">
          <ac:chgData name="Julie Plesner Thomsen" userId="b57990ff-7c9a-49be-8d57-e62f9c41c990" providerId="ADAL" clId="{DA5828B4-4500-514E-9D31-371A94D05FBE}" dt="2025-12-09T09:49:36.437" v="3028" actId="1076"/>
          <ac:picMkLst>
            <pc:docMk/>
            <pc:sldMk cId="2000092830" sldId="2147483069"/>
            <ac:picMk id="24" creationId="{4EC85B8A-9D3B-2C6D-28C3-52602EAC1DA3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A5727F-C834-4991-B9E4-16E08977C56D}" type="datetimeFigureOut">
              <a:rPr lang="en-US" smtClean="0"/>
              <a:t>12/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A262ED-2858-444A-9973-FD64E535CD6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571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277FCA-65E4-9CDB-8C5D-DB0FC5584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61A93C-A4D1-4416-8449-0749B4CED0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C1B611-19D6-A321-1FDD-8AC6FDAA14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70BEC-4922-5883-D193-BA877E2B86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160344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3E9372-8E34-116E-AC5B-34210ED612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58F7002F-9DB0-A006-7AE9-305F6FFDBE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5F2FA019-D967-EC54-0C21-5676FB1625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10971886-3113-9949-0439-9B2CE5739C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4600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4C9BDC-5692-82BF-D876-223DC1E1FB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30A780-DD48-036D-042C-865B44B8B1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CBDD4B-C89A-00EB-E59D-92F927189C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353D8F-F5AA-F841-5046-DACBD437E2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t>2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780416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A2CA3-042F-AAA3-CB28-4E92EB87A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EDC509-9091-B4AB-1F0C-118CA27695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F5C596-11FF-3538-E47A-4EF8D8BB39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17623-2877-B1D1-E614-D99D246D14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89721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D78688-8545-F3A7-6D23-7DE667EBB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6B60E365-4DBD-2933-059B-8217B0125B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EAE0A90E-12CE-5DA7-FC9D-36D89A008E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fontAlgn="base">
              <a:lnSpc>
                <a:spcPct val="150000"/>
              </a:lnSpc>
              <a:spcBef>
                <a:spcPts val="975"/>
              </a:spcBef>
              <a:spcAft>
                <a:spcPts val="975"/>
              </a:spcAft>
              <a:buFont typeface="Arial" panose="020B0604020202020204" pitchFamily="34" charset="0"/>
              <a:buNone/>
            </a:pPr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9DF09CD-C6CE-006D-28E4-7D81AA7F72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2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94845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E81BBB-D241-EB6D-0D5B-5DC8CC6F11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EBC3A9-8269-D308-1B6C-701F104CB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F22649-40EC-B7D2-9FB8-DA8FB00AB4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8B67A5-F710-3098-BDD7-F02D19BD0F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2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45305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F96249-725B-A074-5EB6-4D8F9E538B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15059A-4BC0-A5AC-45D8-2168FBE962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C65CF1-DF66-3D40-56C0-8AE6DE261F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0EB600-8A85-FE56-B8F8-297FF9C79B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2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76510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A262ED-2858-444A-9973-FD64E535CD6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133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A262ED-2858-444A-9973-FD64E535CD6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99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910506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277FCA-65E4-9CDB-8C5D-DB0FC5584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61A93C-A4D1-4416-8449-0749B4CED0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C1B611-19D6-A321-1FDD-8AC6FDAA14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70BEC-4922-5883-D193-BA877E2B86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60344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FE47C-3295-4833-BA40-F4111CAA180D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94966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4848F-3F16-076B-74BB-270673254B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BA7404-1F5A-A301-E568-73B94FE709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26AE3E-06A7-2709-D9BC-7EDFCDD440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/>
              <a:t>Der skal følge en god forklaring med i tek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6B28AA-B5BE-570A-DD91-DEEF5B37F4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016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A2CA3-042F-AAA3-CB28-4E92EB87A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EDC509-9091-B4AB-1F0C-118CA27695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F5C596-11FF-3538-E47A-4EF8D8BB39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17623-2877-B1D1-E614-D99D246D14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21165-7226-4F44-9E74-04CD2816FF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8566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7E647E-C635-C6EE-35DC-DB323C74E3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B4AC2C44-EEB5-76FA-B5F0-DFE91E2045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9EF3AC6C-6993-A0E2-E054-0CF855A662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4021B2C-BA06-E1A3-67C0-093E7A2081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1AD489-AFF3-49B4-B2BB-968C1DBF3754}" type="slidenum">
              <a:rPr lang="da-DK" smtClean="0"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33297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8.svg"/><Relationship Id="rId18" Type="http://schemas.openxmlformats.org/officeDocument/2006/relationships/image" Target="../media/image41.png"/><Relationship Id="rId26" Type="http://schemas.openxmlformats.org/officeDocument/2006/relationships/image" Target="../media/image45.png"/><Relationship Id="rId39" Type="http://schemas.openxmlformats.org/officeDocument/2006/relationships/image" Target="../media/image18.svg"/><Relationship Id="rId3" Type="http://schemas.openxmlformats.org/officeDocument/2006/relationships/oleObject" Target="../embeddings/oleObject6.bin"/><Relationship Id="rId21" Type="http://schemas.openxmlformats.org/officeDocument/2006/relationships/image" Target="../media/image30.svg"/><Relationship Id="rId34" Type="http://schemas.openxmlformats.org/officeDocument/2006/relationships/image" Target="../media/image13.png"/><Relationship Id="rId42" Type="http://schemas.openxmlformats.org/officeDocument/2006/relationships/image" Target="../media/image21.png"/><Relationship Id="rId7" Type="http://schemas.openxmlformats.org/officeDocument/2006/relationships/image" Target="../media/image34.svg"/><Relationship Id="rId12" Type="http://schemas.openxmlformats.org/officeDocument/2006/relationships/image" Target="../media/image37.png"/><Relationship Id="rId17" Type="http://schemas.openxmlformats.org/officeDocument/2006/relationships/image" Target="../media/image40.svg"/><Relationship Id="rId25" Type="http://schemas.openxmlformats.org/officeDocument/2006/relationships/image" Target="../media/image44.svg"/><Relationship Id="rId33" Type="http://schemas.openxmlformats.org/officeDocument/2006/relationships/image" Target="../media/image12.svg"/><Relationship Id="rId38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39.png"/><Relationship Id="rId20" Type="http://schemas.openxmlformats.org/officeDocument/2006/relationships/image" Target="../media/image29.png"/><Relationship Id="rId29" Type="http://schemas.openxmlformats.org/officeDocument/2006/relationships/image" Target="../media/image48.svg"/><Relationship Id="rId41" Type="http://schemas.openxmlformats.org/officeDocument/2006/relationships/image" Target="../media/image20.svg"/><Relationship Id="rId1" Type="http://schemas.openxmlformats.org/officeDocument/2006/relationships/tags" Target="../tags/tag13.xml"/><Relationship Id="rId6" Type="http://schemas.openxmlformats.org/officeDocument/2006/relationships/image" Target="../media/image33.png"/><Relationship Id="rId11" Type="http://schemas.openxmlformats.org/officeDocument/2006/relationships/image" Target="../media/image26.svg"/><Relationship Id="rId24" Type="http://schemas.openxmlformats.org/officeDocument/2006/relationships/image" Target="../media/image43.png"/><Relationship Id="rId32" Type="http://schemas.openxmlformats.org/officeDocument/2006/relationships/image" Target="../media/image11.png"/><Relationship Id="rId37" Type="http://schemas.openxmlformats.org/officeDocument/2006/relationships/image" Target="../media/image16.svg"/><Relationship Id="rId40" Type="http://schemas.openxmlformats.org/officeDocument/2006/relationships/image" Target="../media/image19.png"/><Relationship Id="rId45" Type="http://schemas.openxmlformats.org/officeDocument/2006/relationships/image" Target="../media/image24.svg"/><Relationship Id="rId5" Type="http://schemas.openxmlformats.org/officeDocument/2006/relationships/image" Target="../media/image8.png"/><Relationship Id="rId15" Type="http://schemas.openxmlformats.org/officeDocument/2006/relationships/image" Target="../media/image28.svg"/><Relationship Id="rId23" Type="http://schemas.openxmlformats.org/officeDocument/2006/relationships/image" Target="../media/image32.svg"/><Relationship Id="rId28" Type="http://schemas.openxmlformats.org/officeDocument/2006/relationships/image" Target="../media/image47.png"/><Relationship Id="rId36" Type="http://schemas.openxmlformats.org/officeDocument/2006/relationships/image" Target="../media/image15.png"/><Relationship Id="rId10" Type="http://schemas.openxmlformats.org/officeDocument/2006/relationships/image" Target="../media/image25.png"/><Relationship Id="rId19" Type="http://schemas.openxmlformats.org/officeDocument/2006/relationships/image" Target="../media/image42.svg"/><Relationship Id="rId31" Type="http://schemas.openxmlformats.org/officeDocument/2006/relationships/image" Target="../media/image10.svg"/><Relationship Id="rId44" Type="http://schemas.openxmlformats.org/officeDocument/2006/relationships/image" Target="../media/image23.png"/><Relationship Id="rId4" Type="http://schemas.openxmlformats.org/officeDocument/2006/relationships/image" Target="../media/image5.emf"/><Relationship Id="rId9" Type="http://schemas.openxmlformats.org/officeDocument/2006/relationships/image" Target="../media/image36.svg"/><Relationship Id="rId14" Type="http://schemas.openxmlformats.org/officeDocument/2006/relationships/image" Target="../media/image27.png"/><Relationship Id="rId22" Type="http://schemas.openxmlformats.org/officeDocument/2006/relationships/image" Target="../media/image31.png"/><Relationship Id="rId27" Type="http://schemas.openxmlformats.org/officeDocument/2006/relationships/image" Target="../media/image46.svg"/><Relationship Id="rId30" Type="http://schemas.openxmlformats.org/officeDocument/2006/relationships/image" Target="../media/image9.png"/><Relationship Id="rId35" Type="http://schemas.openxmlformats.org/officeDocument/2006/relationships/image" Target="../media/image14.svg"/><Relationship Id="rId43" Type="http://schemas.openxmlformats.org/officeDocument/2006/relationships/image" Target="../media/image2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5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6" Type="http://schemas.openxmlformats.org/officeDocument/2006/relationships/image" Target="../media/image52.svg"/><Relationship Id="rId5" Type="http://schemas.openxmlformats.org/officeDocument/2006/relationships/image" Target="../media/image49.png"/><Relationship Id="rId4" Type="http://schemas.openxmlformats.org/officeDocument/2006/relationships/image" Target="../media/image5.emf"/><Relationship Id="rId9" Type="http://schemas.openxmlformats.org/officeDocument/2006/relationships/image" Target="../media/image5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6" Type="http://schemas.openxmlformats.org/officeDocument/2006/relationships/image" Target="../media/image52.svg"/><Relationship Id="rId5" Type="http://schemas.openxmlformats.org/officeDocument/2006/relationships/image" Target="../media/image49.png"/><Relationship Id="rId4" Type="http://schemas.openxmlformats.org/officeDocument/2006/relationships/image" Target="../media/image5.emf"/><Relationship Id="rId9" Type="http://schemas.openxmlformats.org/officeDocument/2006/relationships/image" Target="../media/image5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" Type="http://schemas.openxmlformats.org/officeDocument/2006/relationships/oleObject" Target="../embeddings/oleObject3.bin"/><Relationship Id="rId21" Type="http://schemas.openxmlformats.org/officeDocument/2006/relationships/image" Target="../media/image24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17" Type="http://schemas.openxmlformats.org/officeDocument/2006/relationships/image" Target="../media/image20.svg"/><Relationship Id="rId25" Type="http://schemas.openxmlformats.org/officeDocument/2006/relationships/image" Target="../media/image28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29" Type="http://schemas.openxmlformats.org/officeDocument/2006/relationships/image" Target="../media/image32.svg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24" Type="http://schemas.openxmlformats.org/officeDocument/2006/relationships/image" Target="../media/image27.png"/><Relationship Id="rId5" Type="http://schemas.openxmlformats.org/officeDocument/2006/relationships/image" Target="../media/image8.png"/><Relationship Id="rId15" Type="http://schemas.openxmlformats.org/officeDocument/2006/relationships/image" Target="../media/image18.svg"/><Relationship Id="rId23" Type="http://schemas.openxmlformats.org/officeDocument/2006/relationships/image" Target="../media/image26.svg"/><Relationship Id="rId28" Type="http://schemas.openxmlformats.org/officeDocument/2006/relationships/image" Target="../media/image31.png"/><Relationship Id="rId10" Type="http://schemas.openxmlformats.org/officeDocument/2006/relationships/image" Target="../media/image13.png"/><Relationship Id="rId19" Type="http://schemas.openxmlformats.org/officeDocument/2006/relationships/image" Target="../media/image22.svg"/><Relationship Id="rId4" Type="http://schemas.openxmlformats.org/officeDocument/2006/relationships/image" Target="../media/image5.emf"/><Relationship Id="rId9" Type="http://schemas.openxmlformats.org/officeDocument/2006/relationships/image" Target="../media/image12.svg"/><Relationship Id="rId14" Type="http://schemas.openxmlformats.org/officeDocument/2006/relationships/image" Target="../media/image17.png"/><Relationship Id="rId22" Type="http://schemas.openxmlformats.org/officeDocument/2006/relationships/image" Target="../media/image25.png"/><Relationship Id="rId27" Type="http://schemas.openxmlformats.org/officeDocument/2006/relationships/image" Target="../media/image30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8pt 18pt Medium" pitchFamily="2" charset="0"/>
              </a:defRPr>
            </a:lvl1pPr>
          </a:lstStyle>
          <a:p>
            <a:pPr lvl="0"/>
            <a:r>
              <a:rPr lang="da-DK"/>
              <a:t>Underoverskrift, DM Sans 18pt Medium, 2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cap="all" baseline="0"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8pt 18pt" pitchFamily="2" charset="0"/>
              </a:defRPr>
            </a:lvl1pPr>
          </a:lstStyle>
          <a:p>
            <a:pPr lvl="0"/>
            <a:r>
              <a:rPr lang="da-DK"/>
              <a:t>Dato, DM Sans 18pt</a:t>
            </a:r>
          </a:p>
        </p:txBody>
      </p:sp>
    </p:spTree>
    <p:extLst>
      <p:ext uri="{BB962C8B-B14F-4D97-AF65-F5344CB8AC3E}">
        <p14:creationId xmlns:p14="http://schemas.microsoft.com/office/powerpoint/2010/main" val="824113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E6D1651-CCF4-DAB4-B9BF-B1C45D7FDC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6EEE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55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reeform: Shape 333">
            <a:extLst>
              <a:ext uri="{FF2B5EF4-FFF2-40B4-BE49-F238E27FC236}">
                <a16:creationId xmlns:a16="http://schemas.microsoft.com/office/drawing/2014/main" id="{160C6750-BCEC-C980-15E9-A2A075A09097}"/>
              </a:ext>
            </a:extLst>
          </p:cNvPr>
          <p:cNvSpPr/>
          <p:nvPr userDrawn="1"/>
        </p:nvSpPr>
        <p:spPr>
          <a:xfrm rot="21410080">
            <a:off x="1418365" y="246164"/>
            <a:ext cx="540000" cy="468000"/>
          </a:xfrm>
          <a:custGeom>
            <a:avLst/>
            <a:gdLst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557212 w 2171700"/>
              <a:gd name="connsiteY139" fmla="*/ 105200 h 2164296"/>
              <a:gd name="connsiteX140" fmla="*/ 619125 w 2171700"/>
              <a:gd name="connsiteY140" fmla="*/ 71863 h 2164296"/>
              <a:gd name="connsiteX141" fmla="*/ 633412 w 2171700"/>
              <a:gd name="connsiteY141" fmla="*/ 52813 h 2164296"/>
              <a:gd name="connsiteX142" fmla="*/ 652462 w 2171700"/>
              <a:gd name="connsiteY142" fmla="*/ 48050 h 2164296"/>
              <a:gd name="connsiteX143" fmla="*/ 676275 w 2171700"/>
              <a:gd name="connsiteY143" fmla="*/ 38525 h 2164296"/>
              <a:gd name="connsiteX144" fmla="*/ 719137 w 2171700"/>
              <a:gd name="connsiteY144" fmla="*/ 24238 h 2164296"/>
              <a:gd name="connsiteX145" fmla="*/ 747712 w 2171700"/>
              <a:gd name="connsiteY145" fmla="*/ 14713 h 2164296"/>
              <a:gd name="connsiteX146" fmla="*/ 795337 w 2171700"/>
              <a:gd name="connsiteY146" fmla="*/ 9950 h 2164296"/>
              <a:gd name="connsiteX147" fmla="*/ 866775 w 2171700"/>
              <a:gd name="connsiteY14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619125 w 2171700"/>
              <a:gd name="connsiteY139" fmla="*/ 71863 h 2164296"/>
              <a:gd name="connsiteX140" fmla="*/ 633412 w 2171700"/>
              <a:gd name="connsiteY140" fmla="*/ 52813 h 2164296"/>
              <a:gd name="connsiteX141" fmla="*/ 652462 w 2171700"/>
              <a:gd name="connsiteY141" fmla="*/ 48050 h 2164296"/>
              <a:gd name="connsiteX142" fmla="*/ 676275 w 2171700"/>
              <a:gd name="connsiteY142" fmla="*/ 38525 h 2164296"/>
              <a:gd name="connsiteX143" fmla="*/ 719137 w 2171700"/>
              <a:gd name="connsiteY143" fmla="*/ 24238 h 2164296"/>
              <a:gd name="connsiteX144" fmla="*/ 747712 w 2171700"/>
              <a:gd name="connsiteY144" fmla="*/ 14713 h 2164296"/>
              <a:gd name="connsiteX145" fmla="*/ 795337 w 2171700"/>
              <a:gd name="connsiteY145" fmla="*/ 9950 h 2164296"/>
              <a:gd name="connsiteX146" fmla="*/ 866775 w 2171700"/>
              <a:gd name="connsiteY14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57325 w 2171700"/>
              <a:gd name="connsiteY67" fmla="*/ 1995913 h 2164296"/>
              <a:gd name="connsiteX68" fmla="*/ 1419225 w 2171700"/>
              <a:gd name="connsiteY68" fmla="*/ 2014963 h 2164296"/>
              <a:gd name="connsiteX69" fmla="*/ 1404937 w 2171700"/>
              <a:gd name="connsiteY69" fmla="*/ 2029250 h 2164296"/>
              <a:gd name="connsiteX70" fmla="*/ 1333500 w 2171700"/>
              <a:gd name="connsiteY70" fmla="*/ 2053063 h 2164296"/>
              <a:gd name="connsiteX71" fmla="*/ 1319212 w 2171700"/>
              <a:gd name="connsiteY71" fmla="*/ 2062588 h 2164296"/>
              <a:gd name="connsiteX72" fmla="*/ 1281112 w 2171700"/>
              <a:gd name="connsiteY72" fmla="*/ 2072113 h 2164296"/>
              <a:gd name="connsiteX73" fmla="*/ 1257300 w 2171700"/>
              <a:gd name="connsiteY73" fmla="*/ 2086400 h 2164296"/>
              <a:gd name="connsiteX74" fmla="*/ 1204912 w 2171700"/>
              <a:gd name="connsiteY74" fmla="*/ 2100688 h 2164296"/>
              <a:gd name="connsiteX75" fmla="*/ 1162050 w 2171700"/>
              <a:gd name="connsiteY75" fmla="*/ 2119738 h 2164296"/>
              <a:gd name="connsiteX76" fmla="*/ 1143000 w 2171700"/>
              <a:gd name="connsiteY76" fmla="*/ 2134025 h 2164296"/>
              <a:gd name="connsiteX77" fmla="*/ 1071562 w 2171700"/>
              <a:gd name="connsiteY77" fmla="*/ 2148313 h 2164296"/>
              <a:gd name="connsiteX78" fmla="*/ 1042987 w 2171700"/>
              <a:gd name="connsiteY78" fmla="*/ 2162600 h 2164296"/>
              <a:gd name="connsiteX79" fmla="*/ 909637 w 2171700"/>
              <a:gd name="connsiteY79" fmla="*/ 2157838 h 2164296"/>
              <a:gd name="connsiteX80" fmla="*/ 800100 w 2171700"/>
              <a:gd name="connsiteY80" fmla="*/ 2105450 h 2164296"/>
              <a:gd name="connsiteX81" fmla="*/ 762000 w 2171700"/>
              <a:gd name="connsiteY81" fmla="*/ 2091163 h 2164296"/>
              <a:gd name="connsiteX82" fmla="*/ 714375 w 2171700"/>
              <a:gd name="connsiteY82" fmla="*/ 2062588 h 2164296"/>
              <a:gd name="connsiteX83" fmla="*/ 657225 w 2171700"/>
              <a:gd name="connsiteY83" fmla="*/ 2038775 h 2164296"/>
              <a:gd name="connsiteX84" fmla="*/ 623887 w 2171700"/>
              <a:gd name="connsiteY84" fmla="*/ 2005438 h 2164296"/>
              <a:gd name="connsiteX85" fmla="*/ 585787 w 2171700"/>
              <a:gd name="connsiteY85" fmla="*/ 1976863 h 2164296"/>
              <a:gd name="connsiteX86" fmla="*/ 571500 w 2171700"/>
              <a:gd name="connsiteY86" fmla="*/ 1957813 h 2164296"/>
              <a:gd name="connsiteX87" fmla="*/ 557212 w 2171700"/>
              <a:gd name="connsiteY87" fmla="*/ 1934000 h 2164296"/>
              <a:gd name="connsiteX88" fmla="*/ 523875 w 2171700"/>
              <a:gd name="connsiteY88" fmla="*/ 1895900 h 2164296"/>
              <a:gd name="connsiteX89" fmla="*/ 495300 w 2171700"/>
              <a:gd name="connsiteY89" fmla="*/ 1848275 h 2164296"/>
              <a:gd name="connsiteX90" fmla="*/ 471487 w 2171700"/>
              <a:gd name="connsiteY90" fmla="*/ 1819700 h 2164296"/>
              <a:gd name="connsiteX91" fmla="*/ 447675 w 2171700"/>
              <a:gd name="connsiteY91" fmla="*/ 1781600 h 2164296"/>
              <a:gd name="connsiteX92" fmla="*/ 400050 w 2171700"/>
              <a:gd name="connsiteY92" fmla="*/ 1738738 h 2164296"/>
              <a:gd name="connsiteX93" fmla="*/ 381000 w 2171700"/>
              <a:gd name="connsiteY93" fmla="*/ 1705400 h 2164296"/>
              <a:gd name="connsiteX94" fmla="*/ 366712 w 2171700"/>
              <a:gd name="connsiteY94" fmla="*/ 1686350 h 2164296"/>
              <a:gd name="connsiteX95" fmla="*/ 347662 w 2171700"/>
              <a:gd name="connsiteY95" fmla="*/ 1657775 h 2164296"/>
              <a:gd name="connsiteX96" fmla="*/ 290512 w 2171700"/>
              <a:gd name="connsiteY96" fmla="*/ 1600625 h 2164296"/>
              <a:gd name="connsiteX97" fmla="*/ 266700 w 2171700"/>
              <a:gd name="connsiteY97" fmla="*/ 1576813 h 2164296"/>
              <a:gd name="connsiteX98" fmla="*/ 252412 w 2171700"/>
              <a:gd name="connsiteY98" fmla="*/ 1562525 h 2164296"/>
              <a:gd name="connsiteX99" fmla="*/ 214312 w 2171700"/>
              <a:gd name="connsiteY99" fmla="*/ 1538713 h 2164296"/>
              <a:gd name="connsiteX100" fmla="*/ 190500 w 2171700"/>
              <a:gd name="connsiteY100" fmla="*/ 1510138 h 2164296"/>
              <a:gd name="connsiteX101" fmla="*/ 166687 w 2171700"/>
              <a:gd name="connsiteY101" fmla="*/ 1491088 h 2164296"/>
              <a:gd name="connsiteX102" fmla="*/ 147637 w 2171700"/>
              <a:gd name="connsiteY102" fmla="*/ 1462513 h 2164296"/>
              <a:gd name="connsiteX103" fmla="*/ 123825 w 2171700"/>
              <a:gd name="connsiteY103" fmla="*/ 1438700 h 2164296"/>
              <a:gd name="connsiteX104" fmla="*/ 114300 w 2171700"/>
              <a:gd name="connsiteY104" fmla="*/ 1424413 h 2164296"/>
              <a:gd name="connsiteX105" fmla="*/ 95250 w 2171700"/>
              <a:gd name="connsiteY105" fmla="*/ 1405363 h 2164296"/>
              <a:gd name="connsiteX106" fmla="*/ 76200 w 2171700"/>
              <a:gd name="connsiteY106" fmla="*/ 1376788 h 2164296"/>
              <a:gd name="connsiteX107" fmla="*/ 61912 w 2171700"/>
              <a:gd name="connsiteY107" fmla="*/ 1362500 h 2164296"/>
              <a:gd name="connsiteX108" fmla="*/ 52387 w 2171700"/>
              <a:gd name="connsiteY108" fmla="*/ 1348213 h 2164296"/>
              <a:gd name="connsiteX109" fmla="*/ 38100 w 2171700"/>
              <a:gd name="connsiteY109" fmla="*/ 1329163 h 2164296"/>
              <a:gd name="connsiteX110" fmla="*/ 33337 w 2171700"/>
              <a:gd name="connsiteY110" fmla="*/ 1305350 h 2164296"/>
              <a:gd name="connsiteX111" fmla="*/ 9525 w 2171700"/>
              <a:gd name="connsiteY111" fmla="*/ 1257725 h 2164296"/>
              <a:gd name="connsiteX112" fmla="*/ 0 w 2171700"/>
              <a:gd name="connsiteY112" fmla="*/ 1200575 h 2164296"/>
              <a:gd name="connsiteX113" fmla="*/ 4762 w 2171700"/>
              <a:gd name="connsiteY113" fmla="*/ 991025 h 2164296"/>
              <a:gd name="connsiteX114" fmla="*/ 42862 w 2171700"/>
              <a:gd name="connsiteY114" fmla="*/ 929113 h 2164296"/>
              <a:gd name="connsiteX115" fmla="*/ 66675 w 2171700"/>
              <a:gd name="connsiteY115" fmla="*/ 891013 h 2164296"/>
              <a:gd name="connsiteX116" fmla="*/ 85725 w 2171700"/>
              <a:gd name="connsiteY116" fmla="*/ 848150 h 2164296"/>
              <a:gd name="connsiteX117" fmla="*/ 109537 w 2171700"/>
              <a:gd name="connsiteY117" fmla="*/ 795763 h 2164296"/>
              <a:gd name="connsiteX118" fmla="*/ 128587 w 2171700"/>
              <a:gd name="connsiteY118" fmla="*/ 762425 h 2164296"/>
              <a:gd name="connsiteX119" fmla="*/ 147637 w 2171700"/>
              <a:gd name="connsiteY119" fmla="*/ 733850 h 2164296"/>
              <a:gd name="connsiteX120" fmla="*/ 209550 w 2171700"/>
              <a:gd name="connsiteY120" fmla="*/ 610025 h 2164296"/>
              <a:gd name="connsiteX121" fmla="*/ 214312 w 2171700"/>
              <a:gd name="connsiteY121" fmla="*/ 581450 h 2164296"/>
              <a:gd name="connsiteX122" fmla="*/ 238125 w 2171700"/>
              <a:gd name="connsiteY122" fmla="*/ 538588 h 2164296"/>
              <a:gd name="connsiteX123" fmla="*/ 252412 w 2171700"/>
              <a:gd name="connsiteY123" fmla="*/ 500488 h 2164296"/>
              <a:gd name="connsiteX124" fmla="*/ 266700 w 2171700"/>
              <a:gd name="connsiteY124" fmla="*/ 471913 h 2164296"/>
              <a:gd name="connsiteX125" fmla="*/ 276225 w 2171700"/>
              <a:gd name="connsiteY125" fmla="*/ 443338 h 2164296"/>
              <a:gd name="connsiteX126" fmla="*/ 285750 w 2171700"/>
              <a:gd name="connsiteY126" fmla="*/ 429050 h 2164296"/>
              <a:gd name="connsiteX127" fmla="*/ 295275 w 2171700"/>
              <a:gd name="connsiteY127" fmla="*/ 405238 h 2164296"/>
              <a:gd name="connsiteX128" fmla="*/ 314325 w 2171700"/>
              <a:gd name="connsiteY128" fmla="*/ 381425 h 2164296"/>
              <a:gd name="connsiteX129" fmla="*/ 333375 w 2171700"/>
              <a:gd name="connsiteY129" fmla="*/ 333800 h 2164296"/>
              <a:gd name="connsiteX130" fmla="*/ 361950 w 2171700"/>
              <a:gd name="connsiteY130" fmla="*/ 290938 h 2164296"/>
              <a:gd name="connsiteX131" fmla="*/ 385762 w 2171700"/>
              <a:gd name="connsiteY131" fmla="*/ 248075 h 2164296"/>
              <a:gd name="connsiteX132" fmla="*/ 400050 w 2171700"/>
              <a:gd name="connsiteY132" fmla="*/ 229025 h 2164296"/>
              <a:gd name="connsiteX133" fmla="*/ 423862 w 2171700"/>
              <a:gd name="connsiteY133" fmla="*/ 214738 h 2164296"/>
              <a:gd name="connsiteX134" fmla="*/ 447675 w 2171700"/>
              <a:gd name="connsiteY134" fmla="*/ 190925 h 2164296"/>
              <a:gd name="connsiteX135" fmla="*/ 461962 w 2171700"/>
              <a:gd name="connsiteY135" fmla="*/ 181400 h 2164296"/>
              <a:gd name="connsiteX136" fmla="*/ 495300 w 2171700"/>
              <a:gd name="connsiteY136" fmla="*/ 143300 h 2164296"/>
              <a:gd name="connsiteX137" fmla="*/ 509587 w 2171700"/>
              <a:gd name="connsiteY137" fmla="*/ 133775 h 2164296"/>
              <a:gd name="connsiteX138" fmla="*/ 619125 w 2171700"/>
              <a:gd name="connsiteY138" fmla="*/ 71863 h 2164296"/>
              <a:gd name="connsiteX139" fmla="*/ 633412 w 2171700"/>
              <a:gd name="connsiteY139" fmla="*/ 52813 h 2164296"/>
              <a:gd name="connsiteX140" fmla="*/ 652462 w 2171700"/>
              <a:gd name="connsiteY140" fmla="*/ 48050 h 2164296"/>
              <a:gd name="connsiteX141" fmla="*/ 676275 w 2171700"/>
              <a:gd name="connsiteY141" fmla="*/ 38525 h 2164296"/>
              <a:gd name="connsiteX142" fmla="*/ 719137 w 2171700"/>
              <a:gd name="connsiteY142" fmla="*/ 24238 h 2164296"/>
              <a:gd name="connsiteX143" fmla="*/ 747712 w 2171700"/>
              <a:gd name="connsiteY143" fmla="*/ 14713 h 2164296"/>
              <a:gd name="connsiteX144" fmla="*/ 795337 w 2171700"/>
              <a:gd name="connsiteY144" fmla="*/ 9950 h 2164296"/>
              <a:gd name="connsiteX145" fmla="*/ 866775 w 2171700"/>
              <a:gd name="connsiteY14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19225 w 2171700"/>
              <a:gd name="connsiteY67" fmla="*/ 2014963 h 2164296"/>
              <a:gd name="connsiteX68" fmla="*/ 1404937 w 2171700"/>
              <a:gd name="connsiteY68" fmla="*/ 2029250 h 2164296"/>
              <a:gd name="connsiteX69" fmla="*/ 1333500 w 2171700"/>
              <a:gd name="connsiteY69" fmla="*/ 2053063 h 2164296"/>
              <a:gd name="connsiteX70" fmla="*/ 1319212 w 2171700"/>
              <a:gd name="connsiteY70" fmla="*/ 2062588 h 2164296"/>
              <a:gd name="connsiteX71" fmla="*/ 1281112 w 2171700"/>
              <a:gd name="connsiteY71" fmla="*/ 2072113 h 2164296"/>
              <a:gd name="connsiteX72" fmla="*/ 1257300 w 2171700"/>
              <a:gd name="connsiteY72" fmla="*/ 2086400 h 2164296"/>
              <a:gd name="connsiteX73" fmla="*/ 1204912 w 2171700"/>
              <a:gd name="connsiteY73" fmla="*/ 2100688 h 2164296"/>
              <a:gd name="connsiteX74" fmla="*/ 1162050 w 2171700"/>
              <a:gd name="connsiteY74" fmla="*/ 2119738 h 2164296"/>
              <a:gd name="connsiteX75" fmla="*/ 1143000 w 2171700"/>
              <a:gd name="connsiteY75" fmla="*/ 2134025 h 2164296"/>
              <a:gd name="connsiteX76" fmla="*/ 1071562 w 2171700"/>
              <a:gd name="connsiteY76" fmla="*/ 2148313 h 2164296"/>
              <a:gd name="connsiteX77" fmla="*/ 1042987 w 2171700"/>
              <a:gd name="connsiteY77" fmla="*/ 2162600 h 2164296"/>
              <a:gd name="connsiteX78" fmla="*/ 909637 w 2171700"/>
              <a:gd name="connsiteY78" fmla="*/ 2157838 h 2164296"/>
              <a:gd name="connsiteX79" fmla="*/ 800100 w 2171700"/>
              <a:gd name="connsiteY79" fmla="*/ 2105450 h 2164296"/>
              <a:gd name="connsiteX80" fmla="*/ 762000 w 2171700"/>
              <a:gd name="connsiteY80" fmla="*/ 2091163 h 2164296"/>
              <a:gd name="connsiteX81" fmla="*/ 714375 w 2171700"/>
              <a:gd name="connsiteY81" fmla="*/ 2062588 h 2164296"/>
              <a:gd name="connsiteX82" fmla="*/ 657225 w 2171700"/>
              <a:gd name="connsiteY82" fmla="*/ 2038775 h 2164296"/>
              <a:gd name="connsiteX83" fmla="*/ 623887 w 2171700"/>
              <a:gd name="connsiteY83" fmla="*/ 2005438 h 2164296"/>
              <a:gd name="connsiteX84" fmla="*/ 585787 w 2171700"/>
              <a:gd name="connsiteY84" fmla="*/ 1976863 h 2164296"/>
              <a:gd name="connsiteX85" fmla="*/ 571500 w 2171700"/>
              <a:gd name="connsiteY85" fmla="*/ 1957813 h 2164296"/>
              <a:gd name="connsiteX86" fmla="*/ 557212 w 2171700"/>
              <a:gd name="connsiteY86" fmla="*/ 1934000 h 2164296"/>
              <a:gd name="connsiteX87" fmla="*/ 523875 w 2171700"/>
              <a:gd name="connsiteY87" fmla="*/ 1895900 h 2164296"/>
              <a:gd name="connsiteX88" fmla="*/ 495300 w 2171700"/>
              <a:gd name="connsiteY88" fmla="*/ 1848275 h 2164296"/>
              <a:gd name="connsiteX89" fmla="*/ 471487 w 2171700"/>
              <a:gd name="connsiteY89" fmla="*/ 1819700 h 2164296"/>
              <a:gd name="connsiteX90" fmla="*/ 447675 w 2171700"/>
              <a:gd name="connsiteY90" fmla="*/ 1781600 h 2164296"/>
              <a:gd name="connsiteX91" fmla="*/ 400050 w 2171700"/>
              <a:gd name="connsiteY91" fmla="*/ 1738738 h 2164296"/>
              <a:gd name="connsiteX92" fmla="*/ 381000 w 2171700"/>
              <a:gd name="connsiteY92" fmla="*/ 1705400 h 2164296"/>
              <a:gd name="connsiteX93" fmla="*/ 366712 w 2171700"/>
              <a:gd name="connsiteY93" fmla="*/ 1686350 h 2164296"/>
              <a:gd name="connsiteX94" fmla="*/ 347662 w 2171700"/>
              <a:gd name="connsiteY94" fmla="*/ 1657775 h 2164296"/>
              <a:gd name="connsiteX95" fmla="*/ 290512 w 2171700"/>
              <a:gd name="connsiteY95" fmla="*/ 1600625 h 2164296"/>
              <a:gd name="connsiteX96" fmla="*/ 266700 w 2171700"/>
              <a:gd name="connsiteY96" fmla="*/ 1576813 h 2164296"/>
              <a:gd name="connsiteX97" fmla="*/ 252412 w 2171700"/>
              <a:gd name="connsiteY97" fmla="*/ 1562525 h 2164296"/>
              <a:gd name="connsiteX98" fmla="*/ 214312 w 2171700"/>
              <a:gd name="connsiteY98" fmla="*/ 1538713 h 2164296"/>
              <a:gd name="connsiteX99" fmla="*/ 190500 w 2171700"/>
              <a:gd name="connsiteY99" fmla="*/ 1510138 h 2164296"/>
              <a:gd name="connsiteX100" fmla="*/ 166687 w 2171700"/>
              <a:gd name="connsiteY100" fmla="*/ 1491088 h 2164296"/>
              <a:gd name="connsiteX101" fmla="*/ 147637 w 2171700"/>
              <a:gd name="connsiteY101" fmla="*/ 1462513 h 2164296"/>
              <a:gd name="connsiteX102" fmla="*/ 123825 w 2171700"/>
              <a:gd name="connsiteY102" fmla="*/ 1438700 h 2164296"/>
              <a:gd name="connsiteX103" fmla="*/ 114300 w 2171700"/>
              <a:gd name="connsiteY103" fmla="*/ 1424413 h 2164296"/>
              <a:gd name="connsiteX104" fmla="*/ 95250 w 2171700"/>
              <a:gd name="connsiteY104" fmla="*/ 1405363 h 2164296"/>
              <a:gd name="connsiteX105" fmla="*/ 76200 w 2171700"/>
              <a:gd name="connsiteY105" fmla="*/ 1376788 h 2164296"/>
              <a:gd name="connsiteX106" fmla="*/ 61912 w 2171700"/>
              <a:gd name="connsiteY106" fmla="*/ 1362500 h 2164296"/>
              <a:gd name="connsiteX107" fmla="*/ 52387 w 2171700"/>
              <a:gd name="connsiteY107" fmla="*/ 1348213 h 2164296"/>
              <a:gd name="connsiteX108" fmla="*/ 38100 w 2171700"/>
              <a:gd name="connsiteY108" fmla="*/ 1329163 h 2164296"/>
              <a:gd name="connsiteX109" fmla="*/ 33337 w 2171700"/>
              <a:gd name="connsiteY109" fmla="*/ 1305350 h 2164296"/>
              <a:gd name="connsiteX110" fmla="*/ 9525 w 2171700"/>
              <a:gd name="connsiteY110" fmla="*/ 1257725 h 2164296"/>
              <a:gd name="connsiteX111" fmla="*/ 0 w 2171700"/>
              <a:gd name="connsiteY111" fmla="*/ 1200575 h 2164296"/>
              <a:gd name="connsiteX112" fmla="*/ 4762 w 2171700"/>
              <a:gd name="connsiteY112" fmla="*/ 991025 h 2164296"/>
              <a:gd name="connsiteX113" fmla="*/ 42862 w 2171700"/>
              <a:gd name="connsiteY113" fmla="*/ 929113 h 2164296"/>
              <a:gd name="connsiteX114" fmla="*/ 66675 w 2171700"/>
              <a:gd name="connsiteY114" fmla="*/ 891013 h 2164296"/>
              <a:gd name="connsiteX115" fmla="*/ 85725 w 2171700"/>
              <a:gd name="connsiteY115" fmla="*/ 848150 h 2164296"/>
              <a:gd name="connsiteX116" fmla="*/ 109537 w 2171700"/>
              <a:gd name="connsiteY116" fmla="*/ 795763 h 2164296"/>
              <a:gd name="connsiteX117" fmla="*/ 128587 w 2171700"/>
              <a:gd name="connsiteY117" fmla="*/ 762425 h 2164296"/>
              <a:gd name="connsiteX118" fmla="*/ 147637 w 2171700"/>
              <a:gd name="connsiteY118" fmla="*/ 733850 h 2164296"/>
              <a:gd name="connsiteX119" fmla="*/ 209550 w 2171700"/>
              <a:gd name="connsiteY119" fmla="*/ 610025 h 2164296"/>
              <a:gd name="connsiteX120" fmla="*/ 214312 w 2171700"/>
              <a:gd name="connsiteY120" fmla="*/ 581450 h 2164296"/>
              <a:gd name="connsiteX121" fmla="*/ 238125 w 2171700"/>
              <a:gd name="connsiteY121" fmla="*/ 538588 h 2164296"/>
              <a:gd name="connsiteX122" fmla="*/ 252412 w 2171700"/>
              <a:gd name="connsiteY122" fmla="*/ 500488 h 2164296"/>
              <a:gd name="connsiteX123" fmla="*/ 266700 w 2171700"/>
              <a:gd name="connsiteY123" fmla="*/ 471913 h 2164296"/>
              <a:gd name="connsiteX124" fmla="*/ 276225 w 2171700"/>
              <a:gd name="connsiteY124" fmla="*/ 443338 h 2164296"/>
              <a:gd name="connsiteX125" fmla="*/ 285750 w 2171700"/>
              <a:gd name="connsiteY125" fmla="*/ 429050 h 2164296"/>
              <a:gd name="connsiteX126" fmla="*/ 295275 w 2171700"/>
              <a:gd name="connsiteY126" fmla="*/ 405238 h 2164296"/>
              <a:gd name="connsiteX127" fmla="*/ 314325 w 2171700"/>
              <a:gd name="connsiteY127" fmla="*/ 381425 h 2164296"/>
              <a:gd name="connsiteX128" fmla="*/ 333375 w 2171700"/>
              <a:gd name="connsiteY128" fmla="*/ 333800 h 2164296"/>
              <a:gd name="connsiteX129" fmla="*/ 361950 w 2171700"/>
              <a:gd name="connsiteY129" fmla="*/ 290938 h 2164296"/>
              <a:gd name="connsiteX130" fmla="*/ 385762 w 2171700"/>
              <a:gd name="connsiteY130" fmla="*/ 248075 h 2164296"/>
              <a:gd name="connsiteX131" fmla="*/ 400050 w 2171700"/>
              <a:gd name="connsiteY131" fmla="*/ 229025 h 2164296"/>
              <a:gd name="connsiteX132" fmla="*/ 423862 w 2171700"/>
              <a:gd name="connsiteY132" fmla="*/ 214738 h 2164296"/>
              <a:gd name="connsiteX133" fmla="*/ 447675 w 2171700"/>
              <a:gd name="connsiteY133" fmla="*/ 190925 h 2164296"/>
              <a:gd name="connsiteX134" fmla="*/ 461962 w 2171700"/>
              <a:gd name="connsiteY134" fmla="*/ 181400 h 2164296"/>
              <a:gd name="connsiteX135" fmla="*/ 495300 w 2171700"/>
              <a:gd name="connsiteY135" fmla="*/ 143300 h 2164296"/>
              <a:gd name="connsiteX136" fmla="*/ 509587 w 2171700"/>
              <a:gd name="connsiteY136" fmla="*/ 133775 h 2164296"/>
              <a:gd name="connsiteX137" fmla="*/ 619125 w 2171700"/>
              <a:gd name="connsiteY137" fmla="*/ 71863 h 2164296"/>
              <a:gd name="connsiteX138" fmla="*/ 633412 w 2171700"/>
              <a:gd name="connsiteY138" fmla="*/ 52813 h 2164296"/>
              <a:gd name="connsiteX139" fmla="*/ 652462 w 2171700"/>
              <a:gd name="connsiteY139" fmla="*/ 48050 h 2164296"/>
              <a:gd name="connsiteX140" fmla="*/ 676275 w 2171700"/>
              <a:gd name="connsiteY140" fmla="*/ 38525 h 2164296"/>
              <a:gd name="connsiteX141" fmla="*/ 719137 w 2171700"/>
              <a:gd name="connsiteY141" fmla="*/ 24238 h 2164296"/>
              <a:gd name="connsiteX142" fmla="*/ 747712 w 2171700"/>
              <a:gd name="connsiteY142" fmla="*/ 14713 h 2164296"/>
              <a:gd name="connsiteX143" fmla="*/ 795337 w 2171700"/>
              <a:gd name="connsiteY143" fmla="*/ 9950 h 2164296"/>
              <a:gd name="connsiteX144" fmla="*/ 866775 w 2171700"/>
              <a:gd name="connsiteY14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04937 w 2171700"/>
              <a:gd name="connsiteY67" fmla="*/ 2029250 h 2164296"/>
              <a:gd name="connsiteX68" fmla="*/ 1333500 w 2171700"/>
              <a:gd name="connsiteY68" fmla="*/ 2053063 h 2164296"/>
              <a:gd name="connsiteX69" fmla="*/ 1319212 w 2171700"/>
              <a:gd name="connsiteY69" fmla="*/ 2062588 h 2164296"/>
              <a:gd name="connsiteX70" fmla="*/ 1281112 w 2171700"/>
              <a:gd name="connsiteY70" fmla="*/ 2072113 h 2164296"/>
              <a:gd name="connsiteX71" fmla="*/ 1257300 w 2171700"/>
              <a:gd name="connsiteY71" fmla="*/ 2086400 h 2164296"/>
              <a:gd name="connsiteX72" fmla="*/ 1204912 w 2171700"/>
              <a:gd name="connsiteY72" fmla="*/ 2100688 h 2164296"/>
              <a:gd name="connsiteX73" fmla="*/ 1162050 w 2171700"/>
              <a:gd name="connsiteY73" fmla="*/ 2119738 h 2164296"/>
              <a:gd name="connsiteX74" fmla="*/ 1143000 w 2171700"/>
              <a:gd name="connsiteY74" fmla="*/ 2134025 h 2164296"/>
              <a:gd name="connsiteX75" fmla="*/ 1071562 w 2171700"/>
              <a:gd name="connsiteY75" fmla="*/ 2148313 h 2164296"/>
              <a:gd name="connsiteX76" fmla="*/ 1042987 w 2171700"/>
              <a:gd name="connsiteY76" fmla="*/ 2162600 h 2164296"/>
              <a:gd name="connsiteX77" fmla="*/ 909637 w 2171700"/>
              <a:gd name="connsiteY77" fmla="*/ 2157838 h 2164296"/>
              <a:gd name="connsiteX78" fmla="*/ 800100 w 2171700"/>
              <a:gd name="connsiteY78" fmla="*/ 2105450 h 2164296"/>
              <a:gd name="connsiteX79" fmla="*/ 762000 w 2171700"/>
              <a:gd name="connsiteY79" fmla="*/ 2091163 h 2164296"/>
              <a:gd name="connsiteX80" fmla="*/ 714375 w 2171700"/>
              <a:gd name="connsiteY80" fmla="*/ 2062588 h 2164296"/>
              <a:gd name="connsiteX81" fmla="*/ 657225 w 2171700"/>
              <a:gd name="connsiteY81" fmla="*/ 2038775 h 2164296"/>
              <a:gd name="connsiteX82" fmla="*/ 623887 w 2171700"/>
              <a:gd name="connsiteY82" fmla="*/ 2005438 h 2164296"/>
              <a:gd name="connsiteX83" fmla="*/ 585787 w 2171700"/>
              <a:gd name="connsiteY83" fmla="*/ 1976863 h 2164296"/>
              <a:gd name="connsiteX84" fmla="*/ 571500 w 2171700"/>
              <a:gd name="connsiteY84" fmla="*/ 1957813 h 2164296"/>
              <a:gd name="connsiteX85" fmla="*/ 557212 w 2171700"/>
              <a:gd name="connsiteY85" fmla="*/ 1934000 h 2164296"/>
              <a:gd name="connsiteX86" fmla="*/ 523875 w 2171700"/>
              <a:gd name="connsiteY86" fmla="*/ 1895900 h 2164296"/>
              <a:gd name="connsiteX87" fmla="*/ 495300 w 2171700"/>
              <a:gd name="connsiteY87" fmla="*/ 1848275 h 2164296"/>
              <a:gd name="connsiteX88" fmla="*/ 471487 w 2171700"/>
              <a:gd name="connsiteY88" fmla="*/ 1819700 h 2164296"/>
              <a:gd name="connsiteX89" fmla="*/ 447675 w 2171700"/>
              <a:gd name="connsiteY89" fmla="*/ 1781600 h 2164296"/>
              <a:gd name="connsiteX90" fmla="*/ 400050 w 2171700"/>
              <a:gd name="connsiteY90" fmla="*/ 1738738 h 2164296"/>
              <a:gd name="connsiteX91" fmla="*/ 381000 w 2171700"/>
              <a:gd name="connsiteY91" fmla="*/ 1705400 h 2164296"/>
              <a:gd name="connsiteX92" fmla="*/ 366712 w 2171700"/>
              <a:gd name="connsiteY92" fmla="*/ 1686350 h 2164296"/>
              <a:gd name="connsiteX93" fmla="*/ 347662 w 2171700"/>
              <a:gd name="connsiteY93" fmla="*/ 1657775 h 2164296"/>
              <a:gd name="connsiteX94" fmla="*/ 290512 w 2171700"/>
              <a:gd name="connsiteY94" fmla="*/ 1600625 h 2164296"/>
              <a:gd name="connsiteX95" fmla="*/ 266700 w 2171700"/>
              <a:gd name="connsiteY95" fmla="*/ 1576813 h 2164296"/>
              <a:gd name="connsiteX96" fmla="*/ 252412 w 2171700"/>
              <a:gd name="connsiteY96" fmla="*/ 1562525 h 2164296"/>
              <a:gd name="connsiteX97" fmla="*/ 214312 w 2171700"/>
              <a:gd name="connsiteY97" fmla="*/ 1538713 h 2164296"/>
              <a:gd name="connsiteX98" fmla="*/ 190500 w 2171700"/>
              <a:gd name="connsiteY98" fmla="*/ 1510138 h 2164296"/>
              <a:gd name="connsiteX99" fmla="*/ 166687 w 2171700"/>
              <a:gd name="connsiteY99" fmla="*/ 1491088 h 2164296"/>
              <a:gd name="connsiteX100" fmla="*/ 147637 w 2171700"/>
              <a:gd name="connsiteY100" fmla="*/ 1462513 h 2164296"/>
              <a:gd name="connsiteX101" fmla="*/ 123825 w 2171700"/>
              <a:gd name="connsiteY101" fmla="*/ 1438700 h 2164296"/>
              <a:gd name="connsiteX102" fmla="*/ 114300 w 2171700"/>
              <a:gd name="connsiteY102" fmla="*/ 1424413 h 2164296"/>
              <a:gd name="connsiteX103" fmla="*/ 95250 w 2171700"/>
              <a:gd name="connsiteY103" fmla="*/ 1405363 h 2164296"/>
              <a:gd name="connsiteX104" fmla="*/ 76200 w 2171700"/>
              <a:gd name="connsiteY104" fmla="*/ 1376788 h 2164296"/>
              <a:gd name="connsiteX105" fmla="*/ 61912 w 2171700"/>
              <a:gd name="connsiteY105" fmla="*/ 1362500 h 2164296"/>
              <a:gd name="connsiteX106" fmla="*/ 52387 w 2171700"/>
              <a:gd name="connsiteY106" fmla="*/ 1348213 h 2164296"/>
              <a:gd name="connsiteX107" fmla="*/ 38100 w 2171700"/>
              <a:gd name="connsiteY107" fmla="*/ 1329163 h 2164296"/>
              <a:gd name="connsiteX108" fmla="*/ 33337 w 2171700"/>
              <a:gd name="connsiteY108" fmla="*/ 1305350 h 2164296"/>
              <a:gd name="connsiteX109" fmla="*/ 9525 w 2171700"/>
              <a:gd name="connsiteY109" fmla="*/ 1257725 h 2164296"/>
              <a:gd name="connsiteX110" fmla="*/ 0 w 2171700"/>
              <a:gd name="connsiteY110" fmla="*/ 1200575 h 2164296"/>
              <a:gd name="connsiteX111" fmla="*/ 4762 w 2171700"/>
              <a:gd name="connsiteY111" fmla="*/ 991025 h 2164296"/>
              <a:gd name="connsiteX112" fmla="*/ 42862 w 2171700"/>
              <a:gd name="connsiteY112" fmla="*/ 929113 h 2164296"/>
              <a:gd name="connsiteX113" fmla="*/ 66675 w 2171700"/>
              <a:gd name="connsiteY113" fmla="*/ 891013 h 2164296"/>
              <a:gd name="connsiteX114" fmla="*/ 85725 w 2171700"/>
              <a:gd name="connsiteY114" fmla="*/ 848150 h 2164296"/>
              <a:gd name="connsiteX115" fmla="*/ 109537 w 2171700"/>
              <a:gd name="connsiteY115" fmla="*/ 795763 h 2164296"/>
              <a:gd name="connsiteX116" fmla="*/ 128587 w 2171700"/>
              <a:gd name="connsiteY116" fmla="*/ 762425 h 2164296"/>
              <a:gd name="connsiteX117" fmla="*/ 147637 w 2171700"/>
              <a:gd name="connsiteY117" fmla="*/ 733850 h 2164296"/>
              <a:gd name="connsiteX118" fmla="*/ 209550 w 2171700"/>
              <a:gd name="connsiteY118" fmla="*/ 610025 h 2164296"/>
              <a:gd name="connsiteX119" fmla="*/ 214312 w 2171700"/>
              <a:gd name="connsiteY119" fmla="*/ 581450 h 2164296"/>
              <a:gd name="connsiteX120" fmla="*/ 238125 w 2171700"/>
              <a:gd name="connsiteY120" fmla="*/ 538588 h 2164296"/>
              <a:gd name="connsiteX121" fmla="*/ 252412 w 2171700"/>
              <a:gd name="connsiteY121" fmla="*/ 500488 h 2164296"/>
              <a:gd name="connsiteX122" fmla="*/ 266700 w 2171700"/>
              <a:gd name="connsiteY122" fmla="*/ 471913 h 2164296"/>
              <a:gd name="connsiteX123" fmla="*/ 276225 w 2171700"/>
              <a:gd name="connsiteY123" fmla="*/ 443338 h 2164296"/>
              <a:gd name="connsiteX124" fmla="*/ 285750 w 2171700"/>
              <a:gd name="connsiteY124" fmla="*/ 429050 h 2164296"/>
              <a:gd name="connsiteX125" fmla="*/ 295275 w 2171700"/>
              <a:gd name="connsiteY125" fmla="*/ 405238 h 2164296"/>
              <a:gd name="connsiteX126" fmla="*/ 314325 w 2171700"/>
              <a:gd name="connsiteY126" fmla="*/ 381425 h 2164296"/>
              <a:gd name="connsiteX127" fmla="*/ 333375 w 2171700"/>
              <a:gd name="connsiteY127" fmla="*/ 333800 h 2164296"/>
              <a:gd name="connsiteX128" fmla="*/ 361950 w 2171700"/>
              <a:gd name="connsiteY128" fmla="*/ 290938 h 2164296"/>
              <a:gd name="connsiteX129" fmla="*/ 385762 w 2171700"/>
              <a:gd name="connsiteY129" fmla="*/ 248075 h 2164296"/>
              <a:gd name="connsiteX130" fmla="*/ 400050 w 2171700"/>
              <a:gd name="connsiteY130" fmla="*/ 229025 h 2164296"/>
              <a:gd name="connsiteX131" fmla="*/ 423862 w 2171700"/>
              <a:gd name="connsiteY131" fmla="*/ 214738 h 2164296"/>
              <a:gd name="connsiteX132" fmla="*/ 447675 w 2171700"/>
              <a:gd name="connsiteY132" fmla="*/ 190925 h 2164296"/>
              <a:gd name="connsiteX133" fmla="*/ 461962 w 2171700"/>
              <a:gd name="connsiteY133" fmla="*/ 181400 h 2164296"/>
              <a:gd name="connsiteX134" fmla="*/ 495300 w 2171700"/>
              <a:gd name="connsiteY134" fmla="*/ 143300 h 2164296"/>
              <a:gd name="connsiteX135" fmla="*/ 509587 w 2171700"/>
              <a:gd name="connsiteY135" fmla="*/ 133775 h 2164296"/>
              <a:gd name="connsiteX136" fmla="*/ 619125 w 2171700"/>
              <a:gd name="connsiteY136" fmla="*/ 71863 h 2164296"/>
              <a:gd name="connsiteX137" fmla="*/ 633412 w 2171700"/>
              <a:gd name="connsiteY137" fmla="*/ 52813 h 2164296"/>
              <a:gd name="connsiteX138" fmla="*/ 652462 w 2171700"/>
              <a:gd name="connsiteY138" fmla="*/ 48050 h 2164296"/>
              <a:gd name="connsiteX139" fmla="*/ 676275 w 2171700"/>
              <a:gd name="connsiteY139" fmla="*/ 38525 h 2164296"/>
              <a:gd name="connsiteX140" fmla="*/ 719137 w 2171700"/>
              <a:gd name="connsiteY140" fmla="*/ 24238 h 2164296"/>
              <a:gd name="connsiteX141" fmla="*/ 747712 w 2171700"/>
              <a:gd name="connsiteY141" fmla="*/ 14713 h 2164296"/>
              <a:gd name="connsiteX142" fmla="*/ 795337 w 2171700"/>
              <a:gd name="connsiteY142" fmla="*/ 9950 h 2164296"/>
              <a:gd name="connsiteX143" fmla="*/ 866775 w 2171700"/>
              <a:gd name="connsiteY14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19312 w 2171700"/>
              <a:gd name="connsiteY36" fmla="*/ 1048175 h 2164296"/>
              <a:gd name="connsiteX37" fmla="*/ 2124075 w 2171700"/>
              <a:gd name="connsiteY37" fmla="*/ 1086275 h 2164296"/>
              <a:gd name="connsiteX38" fmla="*/ 2128837 w 2171700"/>
              <a:gd name="connsiteY38" fmla="*/ 1148188 h 2164296"/>
              <a:gd name="connsiteX39" fmla="*/ 2143125 w 2171700"/>
              <a:gd name="connsiteY39" fmla="*/ 1191050 h 2164296"/>
              <a:gd name="connsiteX40" fmla="*/ 2147887 w 2171700"/>
              <a:gd name="connsiteY40" fmla="*/ 1224388 h 2164296"/>
              <a:gd name="connsiteX41" fmla="*/ 2166937 w 2171700"/>
              <a:gd name="connsiteY41" fmla="*/ 1276775 h 2164296"/>
              <a:gd name="connsiteX42" fmla="*/ 2171700 w 2171700"/>
              <a:gd name="connsiteY42" fmla="*/ 1300588 h 2164296"/>
              <a:gd name="connsiteX43" fmla="*/ 2166937 w 2171700"/>
              <a:gd name="connsiteY43" fmla="*/ 1514900 h 2164296"/>
              <a:gd name="connsiteX44" fmla="*/ 2157412 w 2171700"/>
              <a:gd name="connsiteY44" fmla="*/ 1529188 h 2164296"/>
              <a:gd name="connsiteX45" fmla="*/ 2147887 w 2171700"/>
              <a:gd name="connsiteY45" fmla="*/ 1562525 h 2164296"/>
              <a:gd name="connsiteX46" fmla="*/ 2138362 w 2171700"/>
              <a:gd name="connsiteY46" fmla="*/ 1576813 h 2164296"/>
              <a:gd name="connsiteX47" fmla="*/ 2133600 w 2171700"/>
              <a:gd name="connsiteY47" fmla="*/ 1600625 h 2164296"/>
              <a:gd name="connsiteX48" fmla="*/ 2119312 w 2171700"/>
              <a:gd name="connsiteY48" fmla="*/ 1614913 h 2164296"/>
              <a:gd name="connsiteX49" fmla="*/ 2109787 w 2171700"/>
              <a:gd name="connsiteY49" fmla="*/ 1629200 h 2164296"/>
              <a:gd name="connsiteX50" fmla="*/ 2081212 w 2171700"/>
              <a:gd name="connsiteY50" fmla="*/ 1657775 h 2164296"/>
              <a:gd name="connsiteX51" fmla="*/ 2052637 w 2171700"/>
              <a:gd name="connsiteY51" fmla="*/ 1686350 h 2164296"/>
              <a:gd name="connsiteX52" fmla="*/ 2043112 w 2171700"/>
              <a:gd name="connsiteY52" fmla="*/ 1700638 h 2164296"/>
              <a:gd name="connsiteX53" fmla="*/ 2028825 w 2171700"/>
              <a:gd name="connsiteY53" fmla="*/ 1710163 h 2164296"/>
              <a:gd name="connsiteX54" fmla="*/ 2005012 w 2171700"/>
              <a:gd name="connsiteY54" fmla="*/ 1724450 h 2164296"/>
              <a:gd name="connsiteX55" fmla="*/ 1981200 w 2171700"/>
              <a:gd name="connsiteY55" fmla="*/ 1743500 h 2164296"/>
              <a:gd name="connsiteX56" fmla="*/ 1909762 w 2171700"/>
              <a:gd name="connsiteY56" fmla="*/ 1772075 h 2164296"/>
              <a:gd name="connsiteX57" fmla="*/ 1890712 w 2171700"/>
              <a:gd name="connsiteY57" fmla="*/ 1786363 h 2164296"/>
              <a:gd name="connsiteX58" fmla="*/ 1843087 w 2171700"/>
              <a:gd name="connsiteY58" fmla="*/ 1814938 h 2164296"/>
              <a:gd name="connsiteX59" fmla="*/ 1828800 w 2171700"/>
              <a:gd name="connsiteY59" fmla="*/ 1833988 h 2164296"/>
              <a:gd name="connsiteX60" fmla="*/ 1776412 w 2171700"/>
              <a:gd name="connsiteY60" fmla="*/ 1862563 h 2164296"/>
              <a:gd name="connsiteX61" fmla="*/ 1728787 w 2171700"/>
              <a:gd name="connsiteY61" fmla="*/ 1872088 h 2164296"/>
              <a:gd name="connsiteX62" fmla="*/ 1709737 w 2171700"/>
              <a:gd name="connsiteY62" fmla="*/ 1881613 h 2164296"/>
              <a:gd name="connsiteX63" fmla="*/ 1647825 w 2171700"/>
              <a:gd name="connsiteY63" fmla="*/ 1895900 h 2164296"/>
              <a:gd name="connsiteX64" fmla="*/ 1619250 w 2171700"/>
              <a:gd name="connsiteY64" fmla="*/ 1910188 h 2164296"/>
              <a:gd name="connsiteX65" fmla="*/ 1571625 w 2171700"/>
              <a:gd name="connsiteY65" fmla="*/ 1929238 h 2164296"/>
              <a:gd name="connsiteX66" fmla="*/ 1404937 w 2171700"/>
              <a:gd name="connsiteY66" fmla="*/ 2029250 h 2164296"/>
              <a:gd name="connsiteX67" fmla="*/ 1333500 w 2171700"/>
              <a:gd name="connsiteY67" fmla="*/ 2053063 h 2164296"/>
              <a:gd name="connsiteX68" fmla="*/ 1319212 w 2171700"/>
              <a:gd name="connsiteY68" fmla="*/ 2062588 h 2164296"/>
              <a:gd name="connsiteX69" fmla="*/ 1281112 w 2171700"/>
              <a:gd name="connsiteY69" fmla="*/ 2072113 h 2164296"/>
              <a:gd name="connsiteX70" fmla="*/ 1257300 w 2171700"/>
              <a:gd name="connsiteY70" fmla="*/ 2086400 h 2164296"/>
              <a:gd name="connsiteX71" fmla="*/ 1204912 w 2171700"/>
              <a:gd name="connsiteY71" fmla="*/ 2100688 h 2164296"/>
              <a:gd name="connsiteX72" fmla="*/ 1162050 w 2171700"/>
              <a:gd name="connsiteY72" fmla="*/ 2119738 h 2164296"/>
              <a:gd name="connsiteX73" fmla="*/ 1143000 w 2171700"/>
              <a:gd name="connsiteY73" fmla="*/ 2134025 h 2164296"/>
              <a:gd name="connsiteX74" fmla="*/ 1071562 w 2171700"/>
              <a:gd name="connsiteY74" fmla="*/ 2148313 h 2164296"/>
              <a:gd name="connsiteX75" fmla="*/ 1042987 w 2171700"/>
              <a:gd name="connsiteY75" fmla="*/ 2162600 h 2164296"/>
              <a:gd name="connsiteX76" fmla="*/ 909637 w 2171700"/>
              <a:gd name="connsiteY76" fmla="*/ 2157838 h 2164296"/>
              <a:gd name="connsiteX77" fmla="*/ 800100 w 2171700"/>
              <a:gd name="connsiteY77" fmla="*/ 2105450 h 2164296"/>
              <a:gd name="connsiteX78" fmla="*/ 762000 w 2171700"/>
              <a:gd name="connsiteY78" fmla="*/ 2091163 h 2164296"/>
              <a:gd name="connsiteX79" fmla="*/ 714375 w 2171700"/>
              <a:gd name="connsiteY79" fmla="*/ 2062588 h 2164296"/>
              <a:gd name="connsiteX80" fmla="*/ 657225 w 2171700"/>
              <a:gd name="connsiteY80" fmla="*/ 2038775 h 2164296"/>
              <a:gd name="connsiteX81" fmla="*/ 623887 w 2171700"/>
              <a:gd name="connsiteY81" fmla="*/ 2005438 h 2164296"/>
              <a:gd name="connsiteX82" fmla="*/ 585787 w 2171700"/>
              <a:gd name="connsiteY82" fmla="*/ 1976863 h 2164296"/>
              <a:gd name="connsiteX83" fmla="*/ 571500 w 2171700"/>
              <a:gd name="connsiteY83" fmla="*/ 1957813 h 2164296"/>
              <a:gd name="connsiteX84" fmla="*/ 557212 w 2171700"/>
              <a:gd name="connsiteY84" fmla="*/ 1934000 h 2164296"/>
              <a:gd name="connsiteX85" fmla="*/ 523875 w 2171700"/>
              <a:gd name="connsiteY85" fmla="*/ 1895900 h 2164296"/>
              <a:gd name="connsiteX86" fmla="*/ 495300 w 2171700"/>
              <a:gd name="connsiteY86" fmla="*/ 1848275 h 2164296"/>
              <a:gd name="connsiteX87" fmla="*/ 471487 w 2171700"/>
              <a:gd name="connsiteY87" fmla="*/ 1819700 h 2164296"/>
              <a:gd name="connsiteX88" fmla="*/ 447675 w 2171700"/>
              <a:gd name="connsiteY88" fmla="*/ 1781600 h 2164296"/>
              <a:gd name="connsiteX89" fmla="*/ 400050 w 2171700"/>
              <a:gd name="connsiteY89" fmla="*/ 1738738 h 2164296"/>
              <a:gd name="connsiteX90" fmla="*/ 381000 w 2171700"/>
              <a:gd name="connsiteY90" fmla="*/ 1705400 h 2164296"/>
              <a:gd name="connsiteX91" fmla="*/ 366712 w 2171700"/>
              <a:gd name="connsiteY91" fmla="*/ 1686350 h 2164296"/>
              <a:gd name="connsiteX92" fmla="*/ 347662 w 2171700"/>
              <a:gd name="connsiteY92" fmla="*/ 1657775 h 2164296"/>
              <a:gd name="connsiteX93" fmla="*/ 290512 w 2171700"/>
              <a:gd name="connsiteY93" fmla="*/ 1600625 h 2164296"/>
              <a:gd name="connsiteX94" fmla="*/ 266700 w 2171700"/>
              <a:gd name="connsiteY94" fmla="*/ 1576813 h 2164296"/>
              <a:gd name="connsiteX95" fmla="*/ 252412 w 2171700"/>
              <a:gd name="connsiteY95" fmla="*/ 1562525 h 2164296"/>
              <a:gd name="connsiteX96" fmla="*/ 214312 w 2171700"/>
              <a:gd name="connsiteY96" fmla="*/ 1538713 h 2164296"/>
              <a:gd name="connsiteX97" fmla="*/ 190500 w 2171700"/>
              <a:gd name="connsiteY97" fmla="*/ 1510138 h 2164296"/>
              <a:gd name="connsiteX98" fmla="*/ 166687 w 2171700"/>
              <a:gd name="connsiteY98" fmla="*/ 1491088 h 2164296"/>
              <a:gd name="connsiteX99" fmla="*/ 147637 w 2171700"/>
              <a:gd name="connsiteY99" fmla="*/ 1462513 h 2164296"/>
              <a:gd name="connsiteX100" fmla="*/ 123825 w 2171700"/>
              <a:gd name="connsiteY100" fmla="*/ 1438700 h 2164296"/>
              <a:gd name="connsiteX101" fmla="*/ 114300 w 2171700"/>
              <a:gd name="connsiteY101" fmla="*/ 1424413 h 2164296"/>
              <a:gd name="connsiteX102" fmla="*/ 95250 w 2171700"/>
              <a:gd name="connsiteY102" fmla="*/ 1405363 h 2164296"/>
              <a:gd name="connsiteX103" fmla="*/ 76200 w 2171700"/>
              <a:gd name="connsiteY103" fmla="*/ 1376788 h 2164296"/>
              <a:gd name="connsiteX104" fmla="*/ 61912 w 2171700"/>
              <a:gd name="connsiteY104" fmla="*/ 1362500 h 2164296"/>
              <a:gd name="connsiteX105" fmla="*/ 52387 w 2171700"/>
              <a:gd name="connsiteY105" fmla="*/ 1348213 h 2164296"/>
              <a:gd name="connsiteX106" fmla="*/ 38100 w 2171700"/>
              <a:gd name="connsiteY106" fmla="*/ 1329163 h 2164296"/>
              <a:gd name="connsiteX107" fmla="*/ 33337 w 2171700"/>
              <a:gd name="connsiteY107" fmla="*/ 1305350 h 2164296"/>
              <a:gd name="connsiteX108" fmla="*/ 9525 w 2171700"/>
              <a:gd name="connsiteY108" fmla="*/ 1257725 h 2164296"/>
              <a:gd name="connsiteX109" fmla="*/ 0 w 2171700"/>
              <a:gd name="connsiteY109" fmla="*/ 1200575 h 2164296"/>
              <a:gd name="connsiteX110" fmla="*/ 4762 w 2171700"/>
              <a:gd name="connsiteY110" fmla="*/ 991025 h 2164296"/>
              <a:gd name="connsiteX111" fmla="*/ 42862 w 2171700"/>
              <a:gd name="connsiteY111" fmla="*/ 929113 h 2164296"/>
              <a:gd name="connsiteX112" fmla="*/ 66675 w 2171700"/>
              <a:gd name="connsiteY112" fmla="*/ 891013 h 2164296"/>
              <a:gd name="connsiteX113" fmla="*/ 85725 w 2171700"/>
              <a:gd name="connsiteY113" fmla="*/ 848150 h 2164296"/>
              <a:gd name="connsiteX114" fmla="*/ 109537 w 2171700"/>
              <a:gd name="connsiteY114" fmla="*/ 795763 h 2164296"/>
              <a:gd name="connsiteX115" fmla="*/ 128587 w 2171700"/>
              <a:gd name="connsiteY115" fmla="*/ 762425 h 2164296"/>
              <a:gd name="connsiteX116" fmla="*/ 147637 w 2171700"/>
              <a:gd name="connsiteY116" fmla="*/ 733850 h 2164296"/>
              <a:gd name="connsiteX117" fmla="*/ 209550 w 2171700"/>
              <a:gd name="connsiteY117" fmla="*/ 610025 h 2164296"/>
              <a:gd name="connsiteX118" fmla="*/ 214312 w 2171700"/>
              <a:gd name="connsiteY118" fmla="*/ 581450 h 2164296"/>
              <a:gd name="connsiteX119" fmla="*/ 238125 w 2171700"/>
              <a:gd name="connsiteY119" fmla="*/ 538588 h 2164296"/>
              <a:gd name="connsiteX120" fmla="*/ 252412 w 2171700"/>
              <a:gd name="connsiteY120" fmla="*/ 500488 h 2164296"/>
              <a:gd name="connsiteX121" fmla="*/ 266700 w 2171700"/>
              <a:gd name="connsiteY121" fmla="*/ 471913 h 2164296"/>
              <a:gd name="connsiteX122" fmla="*/ 276225 w 2171700"/>
              <a:gd name="connsiteY122" fmla="*/ 443338 h 2164296"/>
              <a:gd name="connsiteX123" fmla="*/ 285750 w 2171700"/>
              <a:gd name="connsiteY123" fmla="*/ 429050 h 2164296"/>
              <a:gd name="connsiteX124" fmla="*/ 295275 w 2171700"/>
              <a:gd name="connsiteY124" fmla="*/ 405238 h 2164296"/>
              <a:gd name="connsiteX125" fmla="*/ 314325 w 2171700"/>
              <a:gd name="connsiteY125" fmla="*/ 381425 h 2164296"/>
              <a:gd name="connsiteX126" fmla="*/ 333375 w 2171700"/>
              <a:gd name="connsiteY126" fmla="*/ 333800 h 2164296"/>
              <a:gd name="connsiteX127" fmla="*/ 361950 w 2171700"/>
              <a:gd name="connsiteY127" fmla="*/ 290938 h 2164296"/>
              <a:gd name="connsiteX128" fmla="*/ 385762 w 2171700"/>
              <a:gd name="connsiteY128" fmla="*/ 248075 h 2164296"/>
              <a:gd name="connsiteX129" fmla="*/ 400050 w 2171700"/>
              <a:gd name="connsiteY129" fmla="*/ 229025 h 2164296"/>
              <a:gd name="connsiteX130" fmla="*/ 423862 w 2171700"/>
              <a:gd name="connsiteY130" fmla="*/ 214738 h 2164296"/>
              <a:gd name="connsiteX131" fmla="*/ 447675 w 2171700"/>
              <a:gd name="connsiteY131" fmla="*/ 190925 h 2164296"/>
              <a:gd name="connsiteX132" fmla="*/ 461962 w 2171700"/>
              <a:gd name="connsiteY132" fmla="*/ 181400 h 2164296"/>
              <a:gd name="connsiteX133" fmla="*/ 495300 w 2171700"/>
              <a:gd name="connsiteY133" fmla="*/ 143300 h 2164296"/>
              <a:gd name="connsiteX134" fmla="*/ 509587 w 2171700"/>
              <a:gd name="connsiteY134" fmla="*/ 133775 h 2164296"/>
              <a:gd name="connsiteX135" fmla="*/ 619125 w 2171700"/>
              <a:gd name="connsiteY135" fmla="*/ 71863 h 2164296"/>
              <a:gd name="connsiteX136" fmla="*/ 633412 w 2171700"/>
              <a:gd name="connsiteY136" fmla="*/ 52813 h 2164296"/>
              <a:gd name="connsiteX137" fmla="*/ 652462 w 2171700"/>
              <a:gd name="connsiteY137" fmla="*/ 48050 h 2164296"/>
              <a:gd name="connsiteX138" fmla="*/ 676275 w 2171700"/>
              <a:gd name="connsiteY138" fmla="*/ 38525 h 2164296"/>
              <a:gd name="connsiteX139" fmla="*/ 719137 w 2171700"/>
              <a:gd name="connsiteY139" fmla="*/ 24238 h 2164296"/>
              <a:gd name="connsiteX140" fmla="*/ 747712 w 2171700"/>
              <a:gd name="connsiteY140" fmla="*/ 14713 h 2164296"/>
              <a:gd name="connsiteX141" fmla="*/ 795337 w 2171700"/>
              <a:gd name="connsiteY141" fmla="*/ 9950 h 2164296"/>
              <a:gd name="connsiteX142" fmla="*/ 866775 w 2171700"/>
              <a:gd name="connsiteY14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24075 w 2171700"/>
              <a:gd name="connsiteY36" fmla="*/ 1086275 h 2164296"/>
              <a:gd name="connsiteX37" fmla="*/ 2128837 w 2171700"/>
              <a:gd name="connsiteY37" fmla="*/ 1148188 h 2164296"/>
              <a:gd name="connsiteX38" fmla="*/ 2143125 w 2171700"/>
              <a:gd name="connsiteY38" fmla="*/ 1191050 h 2164296"/>
              <a:gd name="connsiteX39" fmla="*/ 2147887 w 2171700"/>
              <a:gd name="connsiteY39" fmla="*/ 1224388 h 2164296"/>
              <a:gd name="connsiteX40" fmla="*/ 2166937 w 2171700"/>
              <a:gd name="connsiteY40" fmla="*/ 1276775 h 2164296"/>
              <a:gd name="connsiteX41" fmla="*/ 2171700 w 2171700"/>
              <a:gd name="connsiteY41" fmla="*/ 1300588 h 2164296"/>
              <a:gd name="connsiteX42" fmla="*/ 2166937 w 2171700"/>
              <a:gd name="connsiteY42" fmla="*/ 1514900 h 2164296"/>
              <a:gd name="connsiteX43" fmla="*/ 2157412 w 2171700"/>
              <a:gd name="connsiteY43" fmla="*/ 1529188 h 2164296"/>
              <a:gd name="connsiteX44" fmla="*/ 2147887 w 2171700"/>
              <a:gd name="connsiteY44" fmla="*/ 1562525 h 2164296"/>
              <a:gd name="connsiteX45" fmla="*/ 2138362 w 2171700"/>
              <a:gd name="connsiteY45" fmla="*/ 1576813 h 2164296"/>
              <a:gd name="connsiteX46" fmla="*/ 2133600 w 2171700"/>
              <a:gd name="connsiteY46" fmla="*/ 1600625 h 2164296"/>
              <a:gd name="connsiteX47" fmla="*/ 2119312 w 2171700"/>
              <a:gd name="connsiteY47" fmla="*/ 1614913 h 2164296"/>
              <a:gd name="connsiteX48" fmla="*/ 2109787 w 2171700"/>
              <a:gd name="connsiteY48" fmla="*/ 1629200 h 2164296"/>
              <a:gd name="connsiteX49" fmla="*/ 2081212 w 2171700"/>
              <a:gd name="connsiteY49" fmla="*/ 1657775 h 2164296"/>
              <a:gd name="connsiteX50" fmla="*/ 2052637 w 2171700"/>
              <a:gd name="connsiteY50" fmla="*/ 1686350 h 2164296"/>
              <a:gd name="connsiteX51" fmla="*/ 2043112 w 2171700"/>
              <a:gd name="connsiteY51" fmla="*/ 1700638 h 2164296"/>
              <a:gd name="connsiteX52" fmla="*/ 2028825 w 2171700"/>
              <a:gd name="connsiteY52" fmla="*/ 1710163 h 2164296"/>
              <a:gd name="connsiteX53" fmla="*/ 2005012 w 2171700"/>
              <a:gd name="connsiteY53" fmla="*/ 1724450 h 2164296"/>
              <a:gd name="connsiteX54" fmla="*/ 1981200 w 2171700"/>
              <a:gd name="connsiteY54" fmla="*/ 1743500 h 2164296"/>
              <a:gd name="connsiteX55" fmla="*/ 1909762 w 2171700"/>
              <a:gd name="connsiteY55" fmla="*/ 1772075 h 2164296"/>
              <a:gd name="connsiteX56" fmla="*/ 1890712 w 2171700"/>
              <a:gd name="connsiteY56" fmla="*/ 1786363 h 2164296"/>
              <a:gd name="connsiteX57" fmla="*/ 1843087 w 2171700"/>
              <a:gd name="connsiteY57" fmla="*/ 1814938 h 2164296"/>
              <a:gd name="connsiteX58" fmla="*/ 1828800 w 2171700"/>
              <a:gd name="connsiteY58" fmla="*/ 1833988 h 2164296"/>
              <a:gd name="connsiteX59" fmla="*/ 1776412 w 2171700"/>
              <a:gd name="connsiteY59" fmla="*/ 1862563 h 2164296"/>
              <a:gd name="connsiteX60" fmla="*/ 1728787 w 2171700"/>
              <a:gd name="connsiteY60" fmla="*/ 1872088 h 2164296"/>
              <a:gd name="connsiteX61" fmla="*/ 1709737 w 2171700"/>
              <a:gd name="connsiteY61" fmla="*/ 1881613 h 2164296"/>
              <a:gd name="connsiteX62" fmla="*/ 1647825 w 2171700"/>
              <a:gd name="connsiteY62" fmla="*/ 1895900 h 2164296"/>
              <a:gd name="connsiteX63" fmla="*/ 1619250 w 2171700"/>
              <a:gd name="connsiteY63" fmla="*/ 1910188 h 2164296"/>
              <a:gd name="connsiteX64" fmla="*/ 1571625 w 2171700"/>
              <a:gd name="connsiteY64" fmla="*/ 1929238 h 2164296"/>
              <a:gd name="connsiteX65" fmla="*/ 1404937 w 2171700"/>
              <a:gd name="connsiteY65" fmla="*/ 2029250 h 2164296"/>
              <a:gd name="connsiteX66" fmla="*/ 1333500 w 2171700"/>
              <a:gd name="connsiteY66" fmla="*/ 2053063 h 2164296"/>
              <a:gd name="connsiteX67" fmla="*/ 1319212 w 2171700"/>
              <a:gd name="connsiteY67" fmla="*/ 2062588 h 2164296"/>
              <a:gd name="connsiteX68" fmla="*/ 1281112 w 2171700"/>
              <a:gd name="connsiteY68" fmla="*/ 2072113 h 2164296"/>
              <a:gd name="connsiteX69" fmla="*/ 1257300 w 2171700"/>
              <a:gd name="connsiteY69" fmla="*/ 2086400 h 2164296"/>
              <a:gd name="connsiteX70" fmla="*/ 1204912 w 2171700"/>
              <a:gd name="connsiteY70" fmla="*/ 2100688 h 2164296"/>
              <a:gd name="connsiteX71" fmla="*/ 1162050 w 2171700"/>
              <a:gd name="connsiteY71" fmla="*/ 2119738 h 2164296"/>
              <a:gd name="connsiteX72" fmla="*/ 1143000 w 2171700"/>
              <a:gd name="connsiteY72" fmla="*/ 2134025 h 2164296"/>
              <a:gd name="connsiteX73" fmla="*/ 1071562 w 2171700"/>
              <a:gd name="connsiteY73" fmla="*/ 2148313 h 2164296"/>
              <a:gd name="connsiteX74" fmla="*/ 1042987 w 2171700"/>
              <a:gd name="connsiteY74" fmla="*/ 2162600 h 2164296"/>
              <a:gd name="connsiteX75" fmla="*/ 909637 w 2171700"/>
              <a:gd name="connsiteY75" fmla="*/ 2157838 h 2164296"/>
              <a:gd name="connsiteX76" fmla="*/ 800100 w 2171700"/>
              <a:gd name="connsiteY76" fmla="*/ 2105450 h 2164296"/>
              <a:gd name="connsiteX77" fmla="*/ 762000 w 2171700"/>
              <a:gd name="connsiteY77" fmla="*/ 2091163 h 2164296"/>
              <a:gd name="connsiteX78" fmla="*/ 714375 w 2171700"/>
              <a:gd name="connsiteY78" fmla="*/ 2062588 h 2164296"/>
              <a:gd name="connsiteX79" fmla="*/ 657225 w 2171700"/>
              <a:gd name="connsiteY79" fmla="*/ 2038775 h 2164296"/>
              <a:gd name="connsiteX80" fmla="*/ 623887 w 2171700"/>
              <a:gd name="connsiteY80" fmla="*/ 2005438 h 2164296"/>
              <a:gd name="connsiteX81" fmla="*/ 585787 w 2171700"/>
              <a:gd name="connsiteY81" fmla="*/ 1976863 h 2164296"/>
              <a:gd name="connsiteX82" fmla="*/ 571500 w 2171700"/>
              <a:gd name="connsiteY82" fmla="*/ 1957813 h 2164296"/>
              <a:gd name="connsiteX83" fmla="*/ 557212 w 2171700"/>
              <a:gd name="connsiteY83" fmla="*/ 1934000 h 2164296"/>
              <a:gd name="connsiteX84" fmla="*/ 523875 w 2171700"/>
              <a:gd name="connsiteY84" fmla="*/ 1895900 h 2164296"/>
              <a:gd name="connsiteX85" fmla="*/ 495300 w 2171700"/>
              <a:gd name="connsiteY85" fmla="*/ 1848275 h 2164296"/>
              <a:gd name="connsiteX86" fmla="*/ 471487 w 2171700"/>
              <a:gd name="connsiteY86" fmla="*/ 1819700 h 2164296"/>
              <a:gd name="connsiteX87" fmla="*/ 447675 w 2171700"/>
              <a:gd name="connsiteY87" fmla="*/ 1781600 h 2164296"/>
              <a:gd name="connsiteX88" fmla="*/ 400050 w 2171700"/>
              <a:gd name="connsiteY88" fmla="*/ 1738738 h 2164296"/>
              <a:gd name="connsiteX89" fmla="*/ 381000 w 2171700"/>
              <a:gd name="connsiteY89" fmla="*/ 1705400 h 2164296"/>
              <a:gd name="connsiteX90" fmla="*/ 366712 w 2171700"/>
              <a:gd name="connsiteY90" fmla="*/ 1686350 h 2164296"/>
              <a:gd name="connsiteX91" fmla="*/ 347662 w 2171700"/>
              <a:gd name="connsiteY91" fmla="*/ 1657775 h 2164296"/>
              <a:gd name="connsiteX92" fmla="*/ 290512 w 2171700"/>
              <a:gd name="connsiteY92" fmla="*/ 1600625 h 2164296"/>
              <a:gd name="connsiteX93" fmla="*/ 266700 w 2171700"/>
              <a:gd name="connsiteY93" fmla="*/ 1576813 h 2164296"/>
              <a:gd name="connsiteX94" fmla="*/ 252412 w 2171700"/>
              <a:gd name="connsiteY94" fmla="*/ 1562525 h 2164296"/>
              <a:gd name="connsiteX95" fmla="*/ 214312 w 2171700"/>
              <a:gd name="connsiteY95" fmla="*/ 1538713 h 2164296"/>
              <a:gd name="connsiteX96" fmla="*/ 190500 w 2171700"/>
              <a:gd name="connsiteY96" fmla="*/ 1510138 h 2164296"/>
              <a:gd name="connsiteX97" fmla="*/ 166687 w 2171700"/>
              <a:gd name="connsiteY97" fmla="*/ 1491088 h 2164296"/>
              <a:gd name="connsiteX98" fmla="*/ 147637 w 2171700"/>
              <a:gd name="connsiteY98" fmla="*/ 1462513 h 2164296"/>
              <a:gd name="connsiteX99" fmla="*/ 123825 w 2171700"/>
              <a:gd name="connsiteY99" fmla="*/ 1438700 h 2164296"/>
              <a:gd name="connsiteX100" fmla="*/ 114300 w 2171700"/>
              <a:gd name="connsiteY100" fmla="*/ 1424413 h 2164296"/>
              <a:gd name="connsiteX101" fmla="*/ 95250 w 2171700"/>
              <a:gd name="connsiteY101" fmla="*/ 1405363 h 2164296"/>
              <a:gd name="connsiteX102" fmla="*/ 76200 w 2171700"/>
              <a:gd name="connsiteY102" fmla="*/ 1376788 h 2164296"/>
              <a:gd name="connsiteX103" fmla="*/ 61912 w 2171700"/>
              <a:gd name="connsiteY103" fmla="*/ 1362500 h 2164296"/>
              <a:gd name="connsiteX104" fmla="*/ 52387 w 2171700"/>
              <a:gd name="connsiteY104" fmla="*/ 1348213 h 2164296"/>
              <a:gd name="connsiteX105" fmla="*/ 38100 w 2171700"/>
              <a:gd name="connsiteY105" fmla="*/ 1329163 h 2164296"/>
              <a:gd name="connsiteX106" fmla="*/ 33337 w 2171700"/>
              <a:gd name="connsiteY106" fmla="*/ 1305350 h 2164296"/>
              <a:gd name="connsiteX107" fmla="*/ 9525 w 2171700"/>
              <a:gd name="connsiteY107" fmla="*/ 1257725 h 2164296"/>
              <a:gd name="connsiteX108" fmla="*/ 0 w 2171700"/>
              <a:gd name="connsiteY108" fmla="*/ 1200575 h 2164296"/>
              <a:gd name="connsiteX109" fmla="*/ 4762 w 2171700"/>
              <a:gd name="connsiteY109" fmla="*/ 991025 h 2164296"/>
              <a:gd name="connsiteX110" fmla="*/ 42862 w 2171700"/>
              <a:gd name="connsiteY110" fmla="*/ 929113 h 2164296"/>
              <a:gd name="connsiteX111" fmla="*/ 66675 w 2171700"/>
              <a:gd name="connsiteY111" fmla="*/ 891013 h 2164296"/>
              <a:gd name="connsiteX112" fmla="*/ 85725 w 2171700"/>
              <a:gd name="connsiteY112" fmla="*/ 848150 h 2164296"/>
              <a:gd name="connsiteX113" fmla="*/ 109537 w 2171700"/>
              <a:gd name="connsiteY113" fmla="*/ 795763 h 2164296"/>
              <a:gd name="connsiteX114" fmla="*/ 128587 w 2171700"/>
              <a:gd name="connsiteY114" fmla="*/ 762425 h 2164296"/>
              <a:gd name="connsiteX115" fmla="*/ 147637 w 2171700"/>
              <a:gd name="connsiteY115" fmla="*/ 733850 h 2164296"/>
              <a:gd name="connsiteX116" fmla="*/ 209550 w 2171700"/>
              <a:gd name="connsiteY116" fmla="*/ 610025 h 2164296"/>
              <a:gd name="connsiteX117" fmla="*/ 214312 w 2171700"/>
              <a:gd name="connsiteY117" fmla="*/ 581450 h 2164296"/>
              <a:gd name="connsiteX118" fmla="*/ 238125 w 2171700"/>
              <a:gd name="connsiteY118" fmla="*/ 538588 h 2164296"/>
              <a:gd name="connsiteX119" fmla="*/ 252412 w 2171700"/>
              <a:gd name="connsiteY119" fmla="*/ 500488 h 2164296"/>
              <a:gd name="connsiteX120" fmla="*/ 266700 w 2171700"/>
              <a:gd name="connsiteY120" fmla="*/ 471913 h 2164296"/>
              <a:gd name="connsiteX121" fmla="*/ 276225 w 2171700"/>
              <a:gd name="connsiteY121" fmla="*/ 443338 h 2164296"/>
              <a:gd name="connsiteX122" fmla="*/ 285750 w 2171700"/>
              <a:gd name="connsiteY122" fmla="*/ 429050 h 2164296"/>
              <a:gd name="connsiteX123" fmla="*/ 295275 w 2171700"/>
              <a:gd name="connsiteY123" fmla="*/ 405238 h 2164296"/>
              <a:gd name="connsiteX124" fmla="*/ 314325 w 2171700"/>
              <a:gd name="connsiteY124" fmla="*/ 381425 h 2164296"/>
              <a:gd name="connsiteX125" fmla="*/ 333375 w 2171700"/>
              <a:gd name="connsiteY125" fmla="*/ 333800 h 2164296"/>
              <a:gd name="connsiteX126" fmla="*/ 361950 w 2171700"/>
              <a:gd name="connsiteY126" fmla="*/ 290938 h 2164296"/>
              <a:gd name="connsiteX127" fmla="*/ 385762 w 2171700"/>
              <a:gd name="connsiteY127" fmla="*/ 248075 h 2164296"/>
              <a:gd name="connsiteX128" fmla="*/ 400050 w 2171700"/>
              <a:gd name="connsiteY128" fmla="*/ 229025 h 2164296"/>
              <a:gd name="connsiteX129" fmla="*/ 423862 w 2171700"/>
              <a:gd name="connsiteY129" fmla="*/ 214738 h 2164296"/>
              <a:gd name="connsiteX130" fmla="*/ 447675 w 2171700"/>
              <a:gd name="connsiteY130" fmla="*/ 190925 h 2164296"/>
              <a:gd name="connsiteX131" fmla="*/ 461962 w 2171700"/>
              <a:gd name="connsiteY131" fmla="*/ 181400 h 2164296"/>
              <a:gd name="connsiteX132" fmla="*/ 495300 w 2171700"/>
              <a:gd name="connsiteY132" fmla="*/ 143300 h 2164296"/>
              <a:gd name="connsiteX133" fmla="*/ 509587 w 2171700"/>
              <a:gd name="connsiteY133" fmla="*/ 133775 h 2164296"/>
              <a:gd name="connsiteX134" fmla="*/ 619125 w 2171700"/>
              <a:gd name="connsiteY134" fmla="*/ 71863 h 2164296"/>
              <a:gd name="connsiteX135" fmla="*/ 633412 w 2171700"/>
              <a:gd name="connsiteY135" fmla="*/ 52813 h 2164296"/>
              <a:gd name="connsiteX136" fmla="*/ 652462 w 2171700"/>
              <a:gd name="connsiteY136" fmla="*/ 48050 h 2164296"/>
              <a:gd name="connsiteX137" fmla="*/ 676275 w 2171700"/>
              <a:gd name="connsiteY137" fmla="*/ 38525 h 2164296"/>
              <a:gd name="connsiteX138" fmla="*/ 719137 w 2171700"/>
              <a:gd name="connsiteY138" fmla="*/ 24238 h 2164296"/>
              <a:gd name="connsiteX139" fmla="*/ 747712 w 2171700"/>
              <a:gd name="connsiteY139" fmla="*/ 14713 h 2164296"/>
              <a:gd name="connsiteX140" fmla="*/ 795337 w 2171700"/>
              <a:gd name="connsiteY140" fmla="*/ 9950 h 2164296"/>
              <a:gd name="connsiteX141" fmla="*/ 866775 w 2171700"/>
              <a:gd name="connsiteY14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47675 w 2171700"/>
              <a:gd name="connsiteY86" fmla="*/ 1781600 h 2164296"/>
              <a:gd name="connsiteX87" fmla="*/ 400050 w 2171700"/>
              <a:gd name="connsiteY87" fmla="*/ 1738738 h 2164296"/>
              <a:gd name="connsiteX88" fmla="*/ 381000 w 2171700"/>
              <a:gd name="connsiteY88" fmla="*/ 1705400 h 2164296"/>
              <a:gd name="connsiteX89" fmla="*/ 366712 w 2171700"/>
              <a:gd name="connsiteY89" fmla="*/ 1686350 h 2164296"/>
              <a:gd name="connsiteX90" fmla="*/ 347662 w 2171700"/>
              <a:gd name="connsiteY90" fmla="*/ 1657775 h 2164296"/>
              <a:gd name="connsiteX91" fmla="*/ 290512 w 2171700"/>
              <a:gd name="connsiteY91" fmla="*/ 1600625 h 2164296"/>
              <a:gd name="connsiteX92" fmla="*/ 266700 w 2171700"/>
              <a:gd name="connsiteY92" fmla="*/ 1576813 h 2164296"/>
              <a:gd name="connsiteX93" fmla="*/ 252412 w 2171700"/>
              <a:gd name="connsiteY93" fmla="*/ 1562525 h 2164296"/>
              <a:gd name="connsiteX94" fmla="*/ 214312 w 2171700"/>
              <a:gd name="connsiteY94" fmla="*/ 1538713 h 2164296"/>
              <a:gd name="connsiteX95" fmla="*/ 190500 w 2171700"/>
              <a:gd name="connsiteY95" fmla="*/ 1510138 h 2164296"/>
              <a:gd name="connsiteX96" fmla="*/ 166687 w 2171700"/>
              <a:gd name="connsiteY96" fmla="*/ 1491088 h 2164296"/>
              <a:gd name="connsiteX97" fmla="*/ 147637 w 2171700"/>
              <a:gd name="connsiteY97" fmla="*/ 1462513 h 2164296"/>
              <a:gd name="connsiteX98" fmla="*/ 123825 w 2171700"/>
              <a:gd name="connsiteY98" fmla="*/ 1438700 h 2164296"/>
              <a:gd name="connsiteX99" fmla="*/ 114300 w 2171700"/>
              <a:gd name="connsiteY99" fmla="*/ 1424413 h 2164296"/>
              <a:gd name="connsiteX100" fmla="*/ 95250 w 2171700"/>
              <a:gd name="connsiteY100" fmla="*/ 1405363 h 2164296"/>
              <a:gd name="connsiteX101" fmla="*/ 76200 w 2171700"/>
              <a:gd name="connsiteY101" fmla="*/ 1376788 h 2164296"/>
              <a:gd name="connsiteX102" fmla="*/ 61912 w 2171700"/>
              <a:gd name="connsiteY102" fmla="*/ 1362500 h 2164296"/>
              <a:gd name="connsiteX103" fmla="*/ 52387 w 2171700"/>
              <a:gd name="connsiteY103" fmla="*/ 1348213 h 2164296"/>
              <a:gd name="connsiteX104" fmla="*/ 38100 w 2171700"/>
              <a:gd name="connsiteY104" fmla="*/ 1329163 h 2164296"/>
              <a:gd name="connsiteX105" fmla="*/ 33337 w 2171700"/>
              <a:gd name="connsiteY105" fmla="*/ 1305350 h 2164296"/>
              <a:gd name="connsiteX106" fmla="*/ 9525 w 2171700"/>
              <a:gd name="connsiteY106" fmla="*/ 1257725 h 2164296"/>
              <a:gd name="connsiteX107" fmla="*/ 0 w 2171700"/>
              <a:gd name="connsiteY107" fmla="*/ 1200575 h 2164296"/>
              <a:gd name="connsiteX108" fmla="*/ 4762 w 2171700"/>
              <a:gd name="connsiteY108" fmla="*/ 991025 h 2164296"/>
              <a:gd name="connsiteX109" fmla="*/ 42862 w 2171700"/>
              <a:gd name="connsiteY109" fmla="*/ 929113 h 2164296"/>
              <a:gd name="connsiteX110" fmla="*/ 66675 w 2171700"/>
              <a:gd name="connsiteY110" fmla="*/ 891013 h 2164296"/>
              <a:gd name="connsiteX111" fmla="*/ 85725 w 2171700"/>
              <a:gd name="connsiteY111" fmla="*/ 848150 h 2164296"/>
              <a:gd name="connsiteX112" fmla="*/ 109537 w 2171700"/>
              <a:gd name="connsiteY112" fmla="*/ 795763 h 2164296"/>
              <a:gd name="connsiteX113" fmla="*/ 128587 w 2171700"/>
              <a:gd name="connsiteY113" fmla="*/ 762425 h 2164296"/>
              <a:gd name="connsiteX114" fmla="*/ 147637 w 2171700"/>
              <a:gd name="connsiteY114" fmla="*/ 733850 h 2164296"/>
              <a:gd name="connsiteX115" fmla="*/ 209550 w 2171700"/>
              <a:gd name="connsiteY115" fmla="*/ 610025 h 2164296"/>
              <a:gd name="connsiteX116" fmla="*/ 214312 w 2171700"/>
              <a:gd name="connsiteY116" fmla="*/ 581450 h 2164296"/>
              <a:gd name="connsiteX117" fmla="*/ 238125 w 2171700"/>
              <a:gd name="connsiteY117" fmla="*/ 538588 h 2164296"/>
              <a:gd name="connsiteX118" fmla="*/ 252412 w 2171700"/>
              <a:gd name="connsiteY118" fmla="*/ 500488 h 2164296"/>
              <a:gd name="connsiteX119" fmla="*/ 266700 w 2171700"/>
              <a:gd name="connsiteY119" fmla="*/ 471913 h 2164296"/>
              <a:gd name="connsiteX120" fmla="*/ 276225 w 2171700"/>
              <a:gd name="connsiteY120" fmla="*/ 443338 h 2164296"/>
              <a:gd name="connsiteX121" fmla="*/ 285750 w 2171700"/>
              <a:gd name="connsiteY121" fmla="*/ 429050 h 2164296"/>
              <a:gd name="connsiteX122" fmla="*/ 295275 w 2171700"/>
              <a:gd name="connsiteY122" fmla="*/ 405238 h 2164296"/>
              <a:gd name="connsiteX123" fmla="*/ 314325 w 2171700"/>
              <a:gd name="connsiteY123" fmla="*/ 381425 h 2164296"/>
              <a:gd name="connsiteX124" fmla="*/ 333375 w 2171700"/>
              <a:gd name="connsiteY124" fmla="*/ 333800 h 2164296"/>
              <a:gd name="connsiteX125" fmla="*/ 361950 w 2171700"/>
              <a:gd name="connsiteY125" fmla="*/ 290938 h 2164296"/>
              <a:gd name="connsiteX126" fmla="*/ 385762 w 2171700"/>
              <a:gd name="connsiteY126" fmla="*/ 248075 h 2164296"/>
              <a:gd name="connsiteX127" fmla="*/ 400050 w 2171700"/>
              <a:gd name="connsiteY127" fmla="*/ 229025 h 2164296"/>
              <a:gd name="connsiteX128" fmla="*/ 423862 w 2171700"/>
              <a:gd name="connsiteY128" fmla="*/ 214738 h 2164296"/>
              <a:gd name="connsiteX129" fmla="*/ 447675 w 2171700"/>
              <a:gd name="connsiteY129" fmla="*/ 190925 h 2164296"/>
              <a:gd name="connsiteX130" fmla="*/ 461962 w 2171700"/>
              <a:gd name="connsiteY130" fmla="*/ 181400 h 2164296"/>
              <a:gd name="connsiteX131" fmla="*/ 495300 w 2171700"/>
              <a:gd name="connsiteY131" fmla="*/ 143300 h 2164296"/>
              <a:gd name="connsiteX132" fmla="*/ 509587 w 2171700"/>
              <a:gd name="connsiteY132" fmla="*/ 133775 h 2164296"/>
              <a:gd name="connsiteX133" fmla="*/ 619125 w 2171700"/>
              <a:gd name="connsiteY133" fmla="*/ 71863 h 2164296"/>
              <a:gd name="connsiteX134" fmla="*/ 633412 w 2171700"/>
              <a:gd name="connsiteY134" fmla="*/ 52813 h 2164296"/>
              <a:gd name="connsiteX135" fmla="*/ 652462 w 2171700"/>
              <a:gd name="connsiteY135" fmla="*/ 48050 h 2164296"/>
              <a:gd name="connsiteX136" fmla="*/ 676275 w 2171700"/>
              <a:gd name="connsiteY136" fmla="*/ 38525 h 2164296"/>
              <a:gd name="connsiteX137" fmla="*/ 719137 w 2171700"/>
              <a:gd name="connsiteY137" fmla="*/ 24238 h 2164296"/>
              <a:gd name="connsiteX138" fmla="*/ 747712 w 2171700"/>
              <a:gd name="connsiteY138" fmla="*/ 14713 h 2164296"/>
              <a:gd name="connsiteX139" fmla="*/ 795337 w 2171700"/>
              <a:gd name="connsiteY139" fmla="*/ 9950 h 2164296"/>
              <a:gd name="connsiteX140" fmla="*/ 866775 w 2171700"/>
              <a:gd name="connsiteY14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00050 w 2171700"/>
              <a:gd name="connsiteY86" fmla="*/ 1738738 h 2164296"/>
              <a:gd name="connsiteX87" fmla="*/ 381000 w 2171700"/>
              <a:gd name="connsiteY87" fmla="*/ 1705400 h 2164296"/>
              <a:gd name="connsiteX88" fmla="*/ 366712 w 2171700"/>
              <a:gd name="connsiteY88" fmla="*/ 1686350 h 2164296"/>
              <a:gd name="connsiteX89" fmla="*/ 347662 w 2171700"/>
              <a:gd name="connsiteY89" fmla="*/ 1657775 h 2164296"/>
              <a:gd name="connsiteX90" fmla="*/ 290512 w 2171700"/>
              <a:gd name="connsiteY90" fmla="*/ 1600625 h 2164296"/>
              <a:gd name="connsiteX91" fmla="*/ 266700 w 2171700"/>
              <a:gd name="connsiteY91" fmla="*/ 1576813 h 2164296"/>
              <a:gd name="connsiteX92" fmla="*/ 252412 w 2171700"/>
              <a:gd name="connsiteY92" fmla="*/ 1562525 h 2164296"/>
              <a:gd name="connsiteX93" fmla="*/ 214312 w 2171700"/>
              <a:gd name="connsiteY93" fmla="*/ 1538713 h 2164296"/>
              <a:gd name="connsiteX94" fmla="*/ 190500 w 2171700"/>
              <a:gd name="connsiteY94" fmla="*/ 1510138 h 2164296"/>
              <a:gd name="connsiteX95" fmla="*/ 166687 w 2171700"/>
              <a:gd name="connsiteY95" fmla="*/ 1491088 h 2164296"/>
              <a:gd name="connsiteX96" fmla="*/ 147637 w 2171700"/>
              <a:gd name="connsiteY96" fmla="*/ 1462513 h 2164296"/>
              <a:gd name="connsiteX97" fmla="*/ 123825 w 2171700"/>
              <a:gd name="connsiteY97" fmla="*/ 1438700 h 2164296"/>
              <a:gd name="connsiteX98" fmla="*/ 114300 w 2171700"/>
              <a:gd name="connsiteY98" fmla="*/ 1424413 h 2164296"/>
              <a:gd name="connsiteX99" fmla="*/ 95250 w 2171700"/>
              <a:gd name="connsiteY99" fmla="*/ 1405363 h 2164296"/>
              <a:gd name="connsiteX100" fmla="*/ 76200 w 2171700"/>
              <a:gd name="connsiteY100" fmla="*/ 1376788 h 2164296"/>
              <a:gd name="connsiteX101" fmla="*/ 61912 w 2171700"/>
              <a:gd name="connsiteY101" fmla="*/ 1362500 h 2164296"/>
              <a:gd name="connsiteX102" fmla="*/ 52387 w 2171700"/>
              <a:gd name="connsiteY102" fmla="*/ 1348213 h 2164296"/>
              <a:gd name="connsiteX103" fmla="*/ 38100 w 2171700"/>
              <a:gd name="connsiteY103" fmla="*/ 1329163 h 2164296"/>
              <a:gd name="connsiteX104" fmla="*/ 33337 w 2171700"/>
              <a:gd name="connsiteY104" fmla="*/ 1305350 h 2164296"/>
              <a:gd name="connsiteX105" fmla="*/ 9525 w 2171700"/>
              <a:gd name="connsiteY105" fmla="*/ 1257725 h 2164296"/>
              <a:gd name="connsiteX106" fmla="*/ 0 w 2171700"/>
              <a:gd name="connsiteY106" fmla="*/ 1200575 h 2164296"/>
              <a:gd name="connsiteX107" fmla="*/ 4762 w 2171700"/>
              <a:gd name="connsiteY107" fmla="*/ 991025 h 2164296"/>
              <a:gd name="connsiteX108" fmla="*/ 42862 w 2171700"/>
              <a:gd name="connsiteY108" fmla="*/ 929113 h 2164296"/>
              <a:gd name="connsiteX109" fmla="*/ 66675 w 2171700"/>
              <a:gd name="connsiteY109" fmla="*/ 891013 h 2164296"/>
              <a:gd name="connsiteX110" fmla="*/ 85725 w 2171700"/>
              <a:gd name="connsiteY110" fmla="*/ 848150 h 2164296"/>
              <a:gd name="connsiteX111" fmla="*/ 109537 w 2171700"/>
              <a:gd name="connsiteY111" fmla="*/ 795763 h 2164296"/>
              <a:gd name="connsiteX112" fmla="*/ 128587 w 2171700"/>
              <a:gd name="connsiteY112" fmla="*/ 762425 h 2164296"/>
              <a:gd name="connsiteX113" fmla="*/ 147637 w 2171700"/>
              <a:gd name="connsiteY113" fmla="*/ 733850 h 2164296"/>
              <a:gd name="connsiteX114" fmla="*/ 209550 w 2171700"/>
              <a:gd name="connsiteY114" fmla="*/ 610025 h 2164296"/>
              <a:gd name="connsiteX115" fmla="*/ 214312 w 2171700"/>
              <a:gd name="connsiteY115" fmla="*/ 581450 h 2164296"/>
              <a:gd name="connsiteX116" fmla="*/ 238125 w 2171700"/>
              <a:gd name="connsiteY116" fmla="*/ 538588 h 2164296"/>
              <a:gd name="connsiteX117" fmla="*/ 252412 w 2171700"/>
              <a:gd name="connsiteY117" fmla="*/ 500488 h 2164296"/>
              <a:gd name="connsiteX118" fmla="*/ 266700 w 2171700"/>
              <a:gd name="connsiteY118" fmla="*/ 471913 h 2164296"/>
              <a:gd name="connsiteX119" fmla="*/ 276225 w 2171700"/>
              <a:gd name="connsiteY119" fmla="*/ 443338 h 2164296"/>
              <a:gd name="connsiteX120" fmla="*/ 285750 w 2171700"/>
              <a:gd name="connsiteY120" fmla="*/ 429050 h 2164296"/>
              <a:gd name="connsiteX121" fmla="*/ 295275 w 2171700"/>
              <a:gd name="connsiteY121" fmla="*/ 405238 h 2164296"/>
              <a:gd name="connsiteX122" fmla="*/ 314325 w 2171700"/>
              <a:gd name="connsiteY122" fmla="*/ 381425 h 2164296"/>
              <a:gd name="connsiteX123" fmla="*/ 333375 w 2171700"/>
              <a:gd name="connsiteY123" fmla="*/ 333800 h 2164296"/>
              <a:gd name="connsiteX124" fmla="*/ 361950 w 2171700"/>
              <a:gd name="connsiteY124" fmla="*/ 290938 h 2164296"/>
              <a:gd name="connsiteX125" fmla="*/ 385762 w 2171700"/>
              <a:gd name="connsiteY125" fmla="*/ 248075 h 2164296"/>
              <a:gd name="connsiteX126" fmla="*/ 400050 w 2171700"/>
              <a:gd name="connsiteY126" fmla="*/ 229025 h 2164296"/>
              <a:gd name="connsiteX127" fmla="*/ 423862 w 2171700"/>
              <a:gd name="connsiteY127" fmla="*/ 214738 h 2164296"/>
              <a:gd name="connsiteX128" fmla="*/ 447675 w 2171700"/>
              <a:gd name="connsiteY128" fmla="*/ 190925 h 2164296"/>
              <a:gd name="connsiteX129" fmla="*/ 461962 w 2171700"/>
              <a:gd name="connsiteY129" fmla="*/ 181400 h 2164296"/>
              <a:gd name="connsiteX130" fmla="*/ 495300 w 2171700"/>
              <a:gd name="connsiteY130" fmla="*/ 143300 h 2164296"/>
              <a:gd name="connsiteX131" fmla="*/ 509587 w 2171700"/>
              <a:gd name="connsiteY131" fmla="*/ 133775 h 2164296"/>
              <a:gd name="connsiteX132" fmla="*/ 619125 w 2171700"/>
              <a:gd name="connsiteY132" fmla="*/ 71863 h 2164296"/>
              <a:gd name="connsiteX133" fmla="*/ 633412 w 2171700"/>
              <a:gd name="connsiteY133" fmla="*/ 52813 h 2164296"/>
              <a:gd name="connsiteX134" fmla="*/ 652462 w 2171700"/>
              <a:gd name="connsiteY134" fmla="*/ 48050 h 2164296"/>
              <a:gd name="connsiteX135" fmla="*/ 676275 w 2171700"/>
              <a:gd name="connsiteY135" fmla="*/ 38525 h 2164296"/>
              <a:gd name="connsiteX136" fmla="*/ 719137 w 2171700"/>
              <a:gd name="connsiteY136" fmla="*/ 24238 h 2164296"/>
              <a:gd name="connsiteX137" fmla="*/ 747712 w 2171700"/>
              <a:gd name="connsiteY137" fmla="*/ 14713 h 2164296"/>
              <a:gd name="connsiteX138" fmla="*/ 795337 w 2171700"/>
              <a:gd name="connsiteY138" fmla="*/ 9950 h 2164296"/>
              <a:gd name="connsiteX139" fmla="*/ 866775 w 2171700"/>
              <a:gd name="connsiteY13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400050 w 2171700"/>
              <a:gd name="connsiteY85" fmla="*/ 1738738 h 2164296"/>
              <a:gd name="connsiteX86" fmla="*/ 381000 w 2171700"/>
              <a:gd name="connsiteY86" fmla="*/ 1705400 h 2164296"/>
              <a:gd name="connsiteX87" fmla="*/ 366712 w 2171700"/>
              <a:gd name="connsiteY87" fmla="*/ 1686350 h 2164296"/>
              <a:gd name="connsiteX88" fmla="*/ 347662 w 2171700"/>
              <a:gd name="connsiteY88" fmla="*/ 1657775 h 2164296"/>
              <a:gd name="connsiteX89" fmla="*/ 290512 w 2171700"/>
              <a:gd name="connsiteY89" fmla="*/ 1600625 h 2164296"/>
              <a:gd name="connsiteX90" fmla="*/ 266700 w 2171700"/>
              <a:gd name="connsiteY90" fmla="*/ 1576813 h 2164296"/>
              <a:gd name="connsiteX91" fmla="*/ 252412 w 2171700"/>
              <a:gd name="connsiteY91" fmla="*/ 1562525 h 2164296"/>
              <a:gd name="connsiteX92" fmla="*/ 214312 w 2171700"/>
              <a:gd name="connsiteY92" fmla="*/ 1538713 h 2164296"/>
              <a:gd name="connsiteX93" fmla="*/ 190500 w 2171700"/>
              <a:gd name="connsiteY93" fmla="*/ 1510138 h 2164296"/>
              <a:gd name="connsiteX94" fmla="*/ 166687 w 2171700"/>
              <a:gd name="connsiteY94" fmla="*/ 1491088 h 2164296"/>
              <a:gd name="connsiteX95" fmla="*/ 147637 w 2171700"/>
              <a:gd name="connsiteY95" fmla="*/ 1462513 h 2164296"/>
              <a:gd name="connsiteX96" fmla="*/ 123825 w 2171700"/>
              <a:gd name="connsiteY96" fmla="*/ 1438700 h 2164296"/>
              <a:gd name="connsiteX97" fmla="*/ 114300 w 2171700"/>
              <a:gd name="connsiteY97" fmla="*/ 1424413 h 2164296"/>
              <a:gd name="connsiteX98" fmla="*/ 95250 w 2171700"/>
              <a:gd name="connsiteY98" fmla="*/ 1405363 h 2164296"/>
              <a:gd name="connsiteX99" fmla="*/ 76200 w 2171700"/>
              <a:gd name="connsiteY99" fmla="*/ 1376788 h 2164296"/>
              <a:gd name="connsiteX100" fmla="*/ 61912 w 2171700"/>
              <a:gd name="connsiteY100" fmla="*/ 1362500 h 2164296"/>
              <a:gd name="connsiteX101" fmla="*/ 52387 w 2171700"/>
              <a:gd name="connsiteY101" fmla="*/ 1348213 h 2164296"/>
              <a:gd name="connsiteX102" fmla="*/ 38100 w 2171700"/>
              <a:gd name="connsiteY102" fmla="*/ 1329163 h 2164296"/>
              <a:gd name="connsiteX103" fmla="*/ 33337 w 2171700"/>
              <a:gd name="connsiteY103" fmla="*/ 1305350 h 2164296"/>
              <a:gd name="connsiteX104" fmla="*/ 9525 w 2171700"/>
              <a:gd name="connsiteY104" fmla="*/ 1257725 h 2164296"/>
              <a:gd name="connsiteX105" fmla="*/ 0 w 2171700"/>
              <a:gd name="connsiteY105" fmla="*/ 1200575 h 2164296"/>
              <a:gd name="connsiteX106" fmla="*/ 4762 w 2171700"/>
              <a:gd name="connsiteY106" fmla="*/ 991025 h 2164296"/>
              <a:gd name="connsiteX107" fmla="*/ 42862 w 2171700"/>
              <a:gd name="connsiteY107" fmla="*/ 929113 h 2164296"/>
              <a:gd name="connsiteX108" fmla="*/ 66675 w 2171700"/>
              <a:gd name="connsiteY108" fmla="*/ 891013 h 2164296"/>
              <a:gd name="connsiteX109" fmla="*/ 85725 w 2171700"/>
              <a:gd name="connsiteY109" fmla="*/ 848150 h 2164296"/>
              <a:gd name="connsiteX110" fmla="*/ 109537 w 2171700"/>
              <a:gd name="connsiteY110" fmla="*/ 795763 h 2164296"/>
              <a:gd name="connsiteX111" fmla="*/ 128587 w 2171700"/>
              <a:gd name="connsiteY111" fmla="*/ 762425 h 2164296"/>
              <a:gd name="connsiteX112" fmla="*/ 147637 w 2171700"/>
              <a:gd name="connsiteY112" fmla="*/ 733850 h 2164296"/>
              <a:gd name="connsiteX113" fmla="*/ 209550 w 2171700"/>
              <a:gd name="connsiteY113" fmla="*/ 610025 h 2164296"/>
              <a:gd name="connsiteX114" fmla="*/ 214312 w 2171700"/>
              <a:gd name="connsiteY114" fmla="*/ 581450 h 2164296"/>
              <a:gd name="connsiteX115" fmla="*/ 238125 w 2171700"/>
              <a:gd name="connsiteY115" fmla="*/ 538588 h 2164296"/>
              <a:gd name="connsiteX116" fmla="*/ 252412 w 2171700"/>
              <a:gd name="connsiteY116" fmla="*/ 500488 h 2164296"/>
              <a:gd name="connsiteX117" fmla="*/ 266700 w 2171700"/>
              <a:gd name="connsiteY117" fmla="*/ 471913 h 2164296"/>
              <a:gd name="connsiteX118" fmla="*/ 276225 w 2171700"/>
              <a:gd name="connsiteY118" fmla="*/ 443338 h 2164296"/>
              <a:gd name="connsiteX119" fmla="*/ 285750 w 2171700"/>
              <a:gd name="connsiteY119" fmla="*/ 429050 h 2164296"/>
              <a:gd name="connsiteX120" fmla="*/ 295275 w 2171700"/>
              <a:gd name="connsiteY120" fmla="*/ 405238 h 2164296"/>
              <a:gd name="connsiteX121" fmla="*/ 314325 w 2171700"/>
              <a:gd name="connsiteY121" fmla="*/ 381425 h 2164296"/>
              <a:gd name="connsiteX122" fmla="*/ 333375 w 2171700"/>
              <a:gd name="connsiteY122" fmla="*/ 333800 h 2164296"/>
              <a:gd name="connsiteX123" fmla="*/ 361950 w 2171700"/>
              <a:gd name="connsiteY123" fmla="*/ 290938 h 2164296"/>
              <a:gd name="connsiteX124" fmla="*/ 385762 w 2171700"/>
              <a:gd name="connsiteY124" fmla="*/ 248075 h 2164296"/>
              <a:gd name="connsiteX125" fmla="*/ 400050 w 2171700"/>
              <a:gd name="connsiteY125" fmla="*/ 229025 h 2164296"/>
              <a:gd name="connsiteX126" fmla="*/ 423862 w 2171700"/>
              <a:gd name="connsiteY126" fmla="*/ 214738 h 2164296"/>
              <a:gd name="connsiteX127" fmla="*/ 447675 w 2171700"/>
              <a:gd name="connsiteY127" fmla="*/ 190925 h 2164296"/>
              <a:gd name="connsiteX128" fmla="*/ 461962 w 2171700"/>
              <a:gd name="connsiteY128" fmla="*/ 181400 h 2164296"/>
              <a:gd name="connsiteX129" fmla="*/ 495300 w 2171700"/>
              <a:gd name="connsiteY129" fmla="*/ 143300 h 2164296"/>
              <a:gd name="connsiteX130" fmla="*/ 509587 w 2171700"/>
              <a:gd name="connsiteY130" fmla="*/ 133775 h 2164296"/>
              <a:gd name="connsiteX131" fmla="*/ 619125 w 2171700"/>
              <a:gd name="connsiteY131" fmla="*/ 71863 h 2164296"/>
              <a:gd name="connsiteX132" fmla="*/ 633412 w 2171700"/>
              <a:gd name="connsiteY132" fmla="*/ 52813 h 2164296"/>
              <a:gd name="connsiteX133" fmla="*/ 652462 w 2171700"/>
              <a:gd name="connsiteY133" fmla="*/ 48050 h 2164296"/>
              <a:gd name="connsiteX134" fmla="*/ 676275 w 2171700"/>
              <a:gd name="connsiteY134" fmla="*/ 38525 h 2164296"/>
              <a:gd name="connsiteX135" fmla="*/ 719137 w 2171700"/>
              <a:gd name="connsiteY135" fmla="*/ 24238 h 2164296"/>
              <a:gd name="connsiteX136" fmla="*/ 747712 w 2171700"/>
              <a:gd name="connsiteY136" fmla="*/ 14713 h 2164296"/>
              <a:gd name="connsiteX137" fmla="*/ 795337 w 2171700"/>
              <a:gd name="connsiteY137" fmla="*/ 9950 h 2164296"/>
              <a:gd name="connsiteX138" fmla="*/ 866775 w 2171700"/>
              <a:gd name="connsiteY13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381000 w 2171700"/>
              <a:gd name="connsiteY85" fmla="*/ 1705400 h 2164296"/>
              <a:gd name="connsiteX86" fmla="*/ 366712 w 2171700"/>
              <a:gd name="connsiteY86" fmla="*/ 1686350 h 2164296"/>
              <a:gd name="connsiteX87" fmla="*/ 347662 w 2171700"/>
              <a:gd name="connsiteY87" fmla="*/ 1657775 h 2164296"/>
              <a:gd name="connsiteX88" fmla="*/ 290512 w 2171700"/>
              <a:gd name="connsiteY88" fmla="*/ 1600625 h 2164296"/>
              <a:gd name="connsiteX89" fmla="*/ 266700 w 2171700"/>
              <a:gd name="connsiteY89" fmla="*/ 1576813 h 2164296"/>
              <a:gd name="connsiteX90" fmla="*/ 252412 w 2171700"/>
              <a:gd name="connsiteY90" fmla="*/ 1562525 h 2164296"/>
              <a:gd name="connsiteX91" fmla="*/ 214312 w 2171700"/>
              <a:gd name="connsiteY91" fmla="*/ 1538713 h 2164296"/>
              <a:gd name="connsiteX92" fmla="*/ 190500 w 2171700"/>
              <a:gd name="connsiteY92" fmla="*/ 1510138 h 2164296"/>
              <a:gd name="connsiteX93" fmla="*/ 166687 w 2171700"/>
              <a:gd name="connsiteY93" fmla="*/ 1491088 h 2164296"/>
              <a:gd name="connsiteX94" fmla="*/ 147637 w 2171700"/>
              <a:gd name="connsiteY94" fmla="*/ 1462513 h 2164296"/>
              <a:gd name="connsiteX95" fmla="*/ 123825 w 2171700"/>
              <a:gd name="connsiteY95" fmla="*/ 1438700 h 2164296"/>
              <a:gd name="connsiteX96" fmla="*/ 114300 w 2171700"/>
              <a:gd name="connsiteY96" fmla="*/ 1424413 h 2164296"/>
              <a:gd name="connsiteX97" fmla="*/ 95250 w 2171700"/>
              <a:gd name="connsiteY97" fmla="*/ 1405363 h 2164296"/>
              <a:gd name="connsiteX98" fmla="*/ 76200 w 2171700"/>
              <a:gd name="connsiteY98" fmla="*/ 1376788 h 2164296"/>
              <a:gd name="connsiteX99" fmla="*/ 61912 w 2171700"/>
              <a:gd name="connsiteY99" fmla="*/ 1362500 h 2164296"/>
              <a:gd name="connsiteX100" fmla="*/ 52387 w 2171700"/>
              <a:gd name="connsiteY100" fmla="*/ 1348213 h 2164296"/>
              <a:gd name="connsiteX101" fmla="*/ 38100 w 2171700"/>
              <a:gd name="connsiteY101" fmla="*/ 1329163 h 2164296"/>
              <a:gd name="connsiteX102" fmla="*/ 33337 w 2171700"/>
              <a:gd name="connsiteY102" fmla="*/ 1305350 h 2164296"/>
              <a:gd name="connsiteX103" fmla="*/ 9525 w 2171700"/>
              <a:gd name="connsiteY103" fmla="*/ 1257725 h 2164296"/>
              <a:gd name="connsiteX104" fmla="*/ 0 w 2171700"/>
              <a:gd name="connsiteY104" fmla="*/ 1200575 h 2164296"/>
              <a:gd name="connsiteX105" fmla="*/ 4762 w 2171700"/>
              <a:gd name="connsiteY105" fmla="*/ 991025 h 2164296"/>
              <a:gd name="connsiteX106" fmla="*/ 42862 w 2171700"/>
              <a:gd name="connsiteY106" fmla="*/ 929113 h 2164296"/>
              <a:gd name="connsiteX107" fmla="*/ 66675 w 2171700"/>
              <a:gd name="connsiteY107" fmla="*/ 891013 h 2164296"/>
              <a:gd name="connsiteX108" fmla="*/ 85725 w 2171700"/>
              <a:gd name="connsiteY108" fmla="*/ 848150 h 2164296"/>
              <a:gd name="connsiteX109" fmla="*/ 109537 w 2171700"/>
              <a:gd name="connsiteY109" fmla="*/ 795763 h 2164296"/>
              <a:gd name="connsiteX110" fmla="*/ 128587 w 2171700"/>
              <a:gd name="connsiteY110" fmla="*/ 762425 h 2164296"/>
              <a:gd name="connsiteX111" fmla="*/ 147637 w 2171700"/>
              <a:gd name="connsiteY111" fmla="*/ 733850 h 2164296"/>
              <a:gd name="connsiteX112" fmla="*/ 209550 w 2171700"/>
              <a:gd name="connsiteY112" fmla="*/ 610025 h 2164296"/>
              <a:gd name="connsiteX113" fmla="*/ 214312 w 2171700"/>
              <a:gd name="connsiteY113" fmla="*/ 581450 h 2164296"/>
              <a:gd name="connsiteX114" fmla="*/ 238125 w 2171700"/>
              <a:gd name="connsiteY114" fmla="*/ 538588 h 2164296"/>
              <a:gd name="connsiteX115" fmla="*/ 252412 w 2171700"/>
              <a:gd name="connsiteY115" fmla="*/ 500488 h 2164296"/>
              <a:gd name="connsiteX116" fmla="*/ 266700 w 2171700"/>
              <a:gd name="connsiteY116" fmla="*/ 471913 h 2164296"/>
              <a:gd name="connsiteX117" fmla="*/ 276225 w 2171700"/>
              <a:gd name="connsiteY117" fmla="*/ 443338 h 2164296"/>
              <a:gd name="connsiteX118" fmla="*/ 285750 w 2171700"/>
              <a:gd name="connsiteY118" fmla="*/ 429050 h 2164296"/>
              <a:gd name="connsiteX119" fmla="*/ 295275 w 2171700"/>
              <a:gd name="connsiteY119" fmla="*/ 405238 h 2164296"/>
              <a:gd name="connsiteX120" fmla="*/ 314325 w 2171700"/>
              <a:gd name="connsiteY120" fmla="*/ 381425 h 2164296"/>
              <a:gd name="connsiteX121" fmla="*/ 333375 w 2171700"/>
              <a:gd name="connsiteY121" fmla="*/ 333800 h 2164296"/>
              <a:gd name="connsiteX122" fmla="*/ 361950 w 2171700"/>
              <a:gd name="connsiteY122" fmla="*/ 290938 h 2164296"/>
              <a:gd name="connsiteX123" fmla="*/ 385762 w 2171700"/>
              <a:gd name="connsiteY123" fmla="*/ 248075 h 2164296"/>
              <a:gd name="connsiteX124" fmla="*/ 400050 w 2171700"/>
              <a:gd name="connsiteY124" fmla="*/ 229025 h 2164296"/>
              <a:gd name="connsiteX125" fmla="*/ 423862 w 2171700"/>
              <a:gd name="connsiteY125" fmla="*/ 214738 h 2164296"/>
              <a:gd name="connsiteX126" fmla="*/ 447675 w 2171700"/>
              <a:gd name="connsiteY126" fmla="*/ 190925 h 2164296"/>
              <a:gd name="connsiteX127" fmla="*/ 461962 w 2171700"/>
              <a:gd name="connsiteY127" fmla="*/ 181400 h 2164296"/>
              <a:gd name="connsiteX128" fmla="*/ 495300 w 2171700"/>
              <a:gd name="connsiteY128" fmla="*/ 143300 h 2164296"/>
              <a:gd name="connsiteX129" fmla="*/ 509587 w 2171700"/>
              <a:gd name="connsiteY129" fmla="*/ 133775 h 2164296"/>
              <a:gd name="connsiteX130" fmla="*/ 619125 w 2171700"/>
              <a:gd name="connsiteY130" fmla="*/ 71863 h 2164296"/>
              <a:gd name="connsiteX131" fmla="*/ 633412 w 2171700"/>
              <a:gd name="connsiteY131" fmla="*/ 52813 h 2164296"/>
              <a:gd name="connsiteX132" fmla="*/ 652462 w 2171700"/>
              <a:gd name="connsiteY132" fmla="*/ 48050 h 2164296"/>
              <a:gd name="connsiteX133" fmla="*/ 676275 w 2171700"/>
              <a:gd name="connsiteY133" fmla="*/ 38525 h 2164296"/>
              <a:gd name="connsiteX134" fmla="*/ 719137 w 2171700"/>
              <a:gd name="connsiteY134" fmla="*/ 24238 h 2164296"/>
              <a:gd name="connsiteX135" fmla="*/ 747712 w 2171700"/>
              <a:gd name="connsiteY135" fmla="*/ 14713 h 2164296"/>
              <a:gd name="connsiteX136" fmla="*/ 795337 w 2171700"/>
              <a:gd name="connsiteY136" fmla="*/ 9950 h 2164296"/>
              <a:gd name="connsiteX137" fmla="*/ 866775 w 2171700"/>
              <a:gd name="connsiteY13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28587 w 2171700"/>
              <a:gd name="connsiteY109" fmla="*/ 762425 h 2164296"/>
              <a:gd name="connsiteX110" fmla="*/ 147637 w 2171700"/>
              <a:gd name="connsiteY110" fmla="*/ 733850 h 2164296"/>
              <a:gd name="connsiteX111" fmla="*/ 209550 w 2171700"/>
              <a:gd name="connsiteY111" fmla="*/ 610025 h 2164296"/>
              <a:gd name="connsiteX112" fmla="*/ 214312 w 2171700"/>
              <a:gd name="connsiteY112" fmla="*/ 581450 h 2164296"/>
              <a:gd name="connsiteX113" fmla="*/ 238125 w 2171700"/>
              <a:gd name="connsiteY113" fmla="*/ 538588 h 2164296"/>
              <a:gd name="connsiteX114" fmla="*/ 252412 w 2171700"/>
              <a:gd name="connsiteY114" fmla="*/ 500488 h 2164296"/>
              <a:gd name="connsiteX115" fmla="*/ 266700 w 2171700"/>
              <a:gd name="connsiteY115" fmla="*/ 471913 h 2164296"/>
              <a:gd name="connsiteX116" fmla="*/ 276225 w 2171700"/>
              <a:gd name="connsiteY116" fmla="*/ 443338 h 2164296"/>
              <a:gd name="connsiteX117" fmla="*/ 285750 w 2171700"/>
              <a:gd name="connsiteY117" fmla="*/ 429050 h 2164296"/>
              <a:gd name="connsiteX118" fmla="*/ 295275 w 2171700"/>
              <a:gd name="connsiteY118" fmla="*/ 405238 h 2164296"/>
              <a:gd name="connsiteX119" fmla="*/ 314325 w 2171700"/>
              <a:gd name="connsiteY119" fmla="*/ 381425 h 2164296"/>
              <a:gd name="connsiteX120" fmla="*/ 333375 w 2171700"/>
              <a:gd name="connsiteY120" fmla="*/ 333800 h 2164296"/>
              <a:gd name="connsiteX121" fmla="*/ 361950 w 2171700"/>
              <a:gd name="connsiteY121" fmla="*/ 290938 h 2164296"/>
              <a:gd name="connsiteX122" fmla="*/ 385762 w 2171700"/>
              <a:gd name="connsiteY122" fmla="*/ 248075 h 2164296"/>
              <a:gd name="connsiteX123" fmla="*/ 400050 w 2171700"/>
              <a:gd name="connsiteY123" fmla="*/ 229025 h 2164296"/>
              <a:gd name="connsiteX124" fmla="*/ 423862 w 2171700"/>
              <a:gd name="connsiteY124" fmla="*/ 214738 h 2164296"/>
              <a:gd name="connsiteX125" fmla="*/ 447675 w 2171700"/>
              <a:gd name="connsiteY125" fmla="*/ 190925 h 2164296"/>
              <a:gd name="connsiteX126" fmla="*/ 461962 w 2171700"/>
              <a:gd name="connsiteY126" fmla="*/ 181400 h 2164296"/>
              <a:gd name="connsiteX127" fmla="*/ 495300 w 2171700"/>
              <a:gd name="connsiteY127" fmla="*/ 143300 h 2164296"/>
              <a:gd name="connsiteX128" fmla="*/ 509587 w 2171700"/>
              <a:gd name="connsiteY128" fmla="*/ 133775 h 2164296"/>
              <a:gd name="connsiteX129" fmla="*/ 619125 w 2171700"/>
              <a:gd name="connsiteY129" fmla="*/ 71863 h 2164296"/>
              <a:gd name="connsiteX130" fmla="*/ 633412 w 2171700"/>
              <a:gd name="connsiteY130" fmla="*/ 52813 h 2164296"/>
              <a:gd name="connsiteX131" fmla="*/ 652462 w 2171700"/>
              <a:gd name="connsiteY131" fmla="*/ 48050 h 2164296"/>
              <a:gd name="connsiteX132" fmla="*/ 676275 w 2171700"/>
              <a:gd name="connsiteY132" fmla="*/ 38525 h 2164296"/>
              <a:gd name="connsiteX133" fmla="*/ 719137 w 2171700"/>
              <a:gd name="connsiteY133" fmla="*/ 24238 h 2164296"/>
              <a:gd name="connsiteX134" fmla="*/ 747712 w 2171700"/>
              <a:gd name="connsiteY134" fmla="*/ 14713 h 2164296"/>
              <a:gd name="connsiteX135" fmla="*/ 795337 w 2171700"/>
              <a:gd name="connsiteY135" fmla="*/ 9950 h 2164296"/>
              <a:gd name="connsiteX136" fmla="*/ 866775 w 2171700"/>
              <a:gd name="connsiteY13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47637 w 2171700"/>
              <a:gd name="connsiteY109" fmla="*/ 733850 h 2164296"/>
              <a:gd name="connsiteX110" fmla="*/ 209550 w 2171700"/>
              <a:gd name="connsiteY110" fmla="*/ 610025 h 2164296"/>
              <a:gd name="connsiteX111" fmla="*/ 214312 w 2171700"/>
              <a:gd name="connsiteY111" fmla="*/ 581450 h 2164296"/>
              <a:gd name="connsiteX112" fmla="*/ 238125 w 2171700"/>
              <a:gd name="connsiteY112" fmla="*/ 538588 h 2164296"/>
              <a:gd name="connsiteX113" fmla="*/ 252412 w 2171700"/>
              <a:gd name="connsiteY113" fmla="*/ 500488 h 2164296"/>
              <a:gd name="connsiteX114" fmla="*/ 266700 w 2171700"/>
              <a:gd name="connsiteY114" fmla="*/ 471913 h 2164296"/>
              <a:gd name="connsiteX115" fmla="*/ 276225 w 2171700"/>
              <a:gd name="connsiteY115" fmla="*/ 443338 h 2164296"/>
              <a:gd name="connsiteX116" fmla="*/ 285750 w 2171700"/>
              <a:gd name="connsiteY116" fmla="*/ 429050 h 2164296"/>
              <a:gd name="connsiteX117" fmla="*/ 295275 w 2171700"/>
              <a:gd name="connsiteY117" fmla="*/ 405238 h 2164296"/>
              <a:gd name="connsiteX118" fmla="*/ 314325 w 2171700"/>
              <a:gd name="connsiteY118" fmla="*/ 381425 h 2164296"/>
              <a:gd name="connsiteX119" fmla="*/ 333375 w 2171700"/>
              <a:gd name="connsiteY119" fmla="*/ 333800 h 2164296"/>
              <a:gd name="connsiteX120" fmla="*/ 361950 w 2171700"/>
              <a:gd name="connsiteY120" fmla="*/ 290938 h 2164296"/>
              <a:gd name="connsiteX121" fmla="*/ 385762 w 2171700"/>
              <a:gd name="connsiteY121" fmla="*/ 248075 h 2164296"/>
              <a:gd name="connsiteX122" fmla="*/ 400050 w 2171700"/>
              <a:gd name="connsiteY122" fmla="*/ 229025 h 2164296"/>
              <a:gd name="connsiteX123" fmla="*/ 423862 w 2171700"/>
              <a:gd name="connsiteY123" fmla="*/ 214738 h 2164296"/>
              <a:gd name="connsiteX124" fmla="*/ 447675 w 2171700"/>
              <a:gd name="connsiteY124" fmla="*/ 190925 h 2164296"/>
              <a:gd name="connsiteX125" fmla="*/ 461962 w 2171700"/>
              <a:gd name="connsiteY125" fmla="*/ 181400 h 2164296"/>
              <a:gd name="connsiteX126" fmla="*/ 495300 w 2171700"/>
              <a:gd name="connsiteY126" fmla="*/ 143300 h 2164296"/>
              <a:gd name="connsiteX127" fmla="*/ 509587 w 2171700"/>
              <a:gd name="connsiteY127" fmla="*/ 133775 h 2164296"/>
              <a:gd name="connsiteX128" fmla="*/ 619125 w 2171700"/>
              <a:gd name="connsiteY128" fmla="*/ 71863 h 2164296"/>
              <a:gd name="connsiteX129" fmla="*/ 633412 w 2171700"/>
              <a:gd name="connsiteY129" fmla="*/ 52813 h 2164296"/>
              <a:gd name="connsiteX130" fmla="*/ 652462 w 2171700"/>
              <a:gd name="connsiteY130" fmla="*/ 48050 h 2164296"/>
              <a:gd name="connsiteX131" fmla="*/ 676275 w 2171700"/>
              <a:gd name="connsiteY131" fmla="*/ 38525 h 2164296"/>
              <a:gd name="connsiteX132" fmla="*/ 719137 w 2171700"/>
              <a:gd name="connsiteY132" fmla="*/ 24238 h 2164296"/>
              <a:gd name="connsiteX133" fmla="*/ 747712 w 2171700"/>
              <a:gd name="connsiteY133" fmla="*/ 14713 h 2164296"/>
              <a:gd name="connsiteX134" fmla="*/ 795337 w 2171700"/>
              <a:gd name="connsiteY134" fmla="*/ 9950 h 2164296"/>
              <a:gd name="connsiteX135" fmla="*/ 866775 w 2171700"/>
              <a:gd name="connsiteY13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371600 w 2171700"/>
              <a:gd name="connsiteY11" fmla="*/ 86150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28787 w 2171700"/>
              <a:gd name="connsiteY57" fmla="*/ 1872088 h 2164296"/>
              <a:gd name="connsiteX58" fmla="*/ 1709737 w 2171700"/>
              <a:gd name="connsiteY58" fmla="*/ 1881613 h 2164296"/>
              <a:gd name="connsiteX59" fmla="*/ 1647825 w 2171700"/>
              <a:gd name="connsiteY59" fmla="*/ 1895900 h 2164296"/>
              <a:gd name="connsiteX60" fmla="*/ 1619250 w 2171700"/>
              <a:gd name="connsiteY60" fmla="*/ 1910188 h 2164296"/>
              <a:gd name="connsiteX61" fmla="*/ 1571625 w 2171700"/>
              <a:gd name="connsiteY61" fmla="*/ 1929238 h 2164296"/>
              <a:gd name="connsiteX62" fmla="*/ 1404937 w 2171700"/>
              <a:gd name="connsiteY62" fmla="*/ 2029250 h 2164296"/>
              <a:gd name="connsiteX63" fmla="*/ 1333500 w 2171700"/>
              <a:gd name="connsiteY63" fmla="*/ 2053063 h 2164296"/>
              <a:gd name="connsiteX64" fmla="*/ 1319212 w 2171700"/>
              <a:gd name="connsiteY64" fmla="*/ 2062588 h 2164296"/>
              <a:gd name="connsiteX65" fmla="*/ 1281112 w 2171700"/>
              <a:gd name="connsiteY65" fmla="*/ 2072113 h 2164296"/>
              <a:gd name="connsiteX66" fmla="*/ 1257300 w 2171700"/>
              <a:gd name="connsiteY66" fmla="*/ 2086400 h 2164296"/>
              <a:gd name="connsiteX67" fmla="*/ 1204912 w 2171700"/>
              <a:gd name="connsiteY67" fmla="*/ 2100688 h 2164296"/>
              <a:gd name="connsiteX68" fmla="*/ 1162050 w 2171700"/>
              <a:gd name="connsiteY68" fmla="*/ 2119738 h 2164296"/>
              <a:gd name="connsiteX69" fmla="*/ 1143000 w 2171700"/>
              <a:gd name="connsiteY69" fmla="*/ 2134025 h 2164296"/>
              <a:gd name="connsiteX70" fmla="*/ 1071562 w 2171700"/>
              <a:gd name="connsiteY70" fmla="*/ 2148313 h 2164296"/>
              <a:gd name="connsiteX71" fmla="*/ 1042987 w 2171700"/>
              <a:gd name="connsiteY71" fmla="*/ 2162600 h 2164296"/>
              <a:gd name="connsiteX72" fmla="*/ 909637 w 2171700"/>
              <a:gd name="connsiteY72" fmla="*/ 2157838 h 2164296"/>
              <a:gd name="connsiteX73" fmla="*/ 800100 w 2171700"/>
              <a:gd name="connsiteY73" fmla="*/ 2105450 h 2164296"/>
              <a:gd name="connsiteX74" fmla="*/ 762000 w 2171700"/>
              <a:gd name="connsiteY74" fmla="*/ 2091163 h 2164296"/>
              <a:gd name="connsiteX75" fmla="*/ 714375 w 2171700"/>
              <a:gd name="connsiteY75" fmla="*/ 2062588 h 2164296"/>
              <a:gd name="connsiteX76" fmla="*/ 657225 w 2171700"/>
              <a:gd name="connsiteY76" fmla="*/ 2038775 h 2164296"/>
              <a:gd name="connsiteX77" fmla="*/ 623887 w 2171700"/>
              <a:gd name="connsiteY77" fmla="*/ 2005438 h 2164296"/>
              <a:gd name="connsiteX78" fmla="*/ 585787 w 2171700"/>
              <a:gd name="connsiteY78" fmla="*/ 1976863 h 2164296"/>
              <a:gd name="connsiteX79" fmla="*/ 571500 w 2171700"/>
              <a:gd name="connsiteY79" fmla="*/ 1957813 h 2164296"/>
              <a:gd name="connsiteX80" fmla="*/ 557212 w 2171700"/>
              <a:gd name="connsiteY80" fmla="*/ 1934000 h 2164296"/>
              <a:gd name="connsiteX81" fmla="*/ 523875 w 2171700"/>
              <a:gd name="connsiteY81" fmla="*/ 1895900 h 2164296"/>
              <a:gd name="connsiteX82" fmla="*/ 381000 w 2171700"/>
              <a:gd name="connsiteY82" fmla="*/ 1705400 h 2164296"/>
              <a:gd name="connsiteX83" fmla="*/ 366712 w 2171700"/>
              <a:gd name="connsiteY83" fmla="*/ 1686350 h 2164296"/>
              <a:gd name="connsiteX84" fmla="*/ 347662 w 2171700"/>
              <a:gd name="connsiteY84" fmla="*/ 1657775 h 2164296"/>
              <a:gd name="connsiteX85" fmla="*/ 290512 w 2171700"/>
              <a:gd name="connsiteY85" fmla="*/ 1600625 h 2164296"/>
              <a:gd name="connsiteX86" fmla="*/ 266700 w 2171700"/>
              <a:gd name="connsiteY86" fmla="*/ 1576813 h 2164296"/>
              <a:gd name="connsiteX87" fmla="*/ 252412 w 2171700"/>
              <a:gd name="connsiteY87" fmla="*/ 1562525 h 2164296"/>
              <a:gd name="connsiteX88" fmla="*/ 214312 w 2171700"/>
              <a:gd name="connsiteY88" fmla="*/ 1538713 h 2164296"/>
              <a:gd name="connsiteX89" fmla="*/ 190500 w 2171700"/>
              <a:gd name="connsiteY89" fmla="*/ 1510138 h 2164296"/>
              <a:gd name="connsiteX90" fmla="*/ 166687 w 2171700"/>
              <a:gd name="connsiteY90" fmla="*/ 1491088 h 2164296"/>
              <a:gd name="connsiteX91" fmla="*/ 147637 w 2171700"/>
              <a:gd name="connsiteY91" fmla="*/ 1462513 h 2164296"/>
              <a:gd name="connsiteX92" fmla="*/ 123825 w 2171700"/>
              <a:gd name="connsiteY92" fmla="*/ 1438700 h 2164296"/>
              <a:gd name="connsiteX93" fmla="*/ 114300 w 2171700"/>
              <a:gd name="connsiteY93" fmla="*/ 1424413 h 2164296"/>
              <a:gd name="connsiteX94" fmla="*/ 95250 w 2171700"/>
              <a:gd name="connsiteY94" fmla="*/ 1405363 h 2164296"/>
              <a:gd name="connsiteX95" fmla="*/ 76200 w 2171700"/>
              <a:gd name="connsiteY95" fmla="*/ 1376788 h 2164296"/>
              <a:gd name="connsiteX96" fmla="*/ 61912 w 2171700"/>
              <a:gd name="connsiteY96" fmla="*/ 1362500 h 2164296"/>
              <a:gd name="connsiteX97" fmla="*/ 52387 w 2171700"/>
              <a:gd name="connsiteY97" fmla="*/ 1348213 h 2164296"/>
              <a:gd name="connsiteX98" fmla="*/ 38100 w 2171700"/>
              <a:gd name="connsiteY98" fmla="*/ 1329163 h 2164296"/>
              <a:gd name="connsiteX99" fmla="*/ 33337 w 2171700"/>
              <a:gd name="connsiteY99" fmla="*/ 1305350 h 2164296"/>
              <a:gd name="connsiteX100" fmla="*/ 9525 w 2171700"/>
              <a:gd name="connsiteY100" fmla="*/ 1257725 h 2164296"/>
              <a:gd name="connsiteX101" fmla="*/ 0 w 2171700"/>
              <a:gd name="connsiteY101" fmla="*/ 1200575 h 2164296"/>
              <a:gd name="connsiteX102" fmla="*/ 4762 w 2171700"/>
              <a:gd name="connsiteY102" fmla="*/ 991025 h 2164296"/>
              <a:gd name="connsiteX103" fmla="*/ 42862 w 2171700"/>
              <a:gd name="connsiteY103" fmla="*/ 929113 h 2164296"/>
              <a:gd name="connsiteX104" fmla="*/ 66675 w 2171700"/>
              <a:gd name="connsiteY104" fmla="*/ 891013 h 2164296"/>
              <a:gd name="connsiteX105" fmla="*/ 85725 w 2171700"/>
              <a:gd name="connsiteY105" fmla="*/ 848150 h 2164296"/>
              <a:gd name="connsiteX106" fmla="*/ 147637 w 2171700"/>
              <a:gd name="connsiteY106" fmla="*/ 733850 h 2164296"/>
              <a:gd name="connsiteX107" fmla="*/ 209550 w 2171700"/>
              <a:gd name="connsiteY107" fmla="*/ 610025 h 2164296"/>
              <a:gd name="connsiteX108" fmla="*/ 214312 w 2171700"/>
              <a:gd name="connsiteY108" fmla="*/ 581450 h 2164296"/>
              <a:gd name="connsiteX109" fmla="*/ 238125 w 2171700"/>
              <a:gd name="connsiteY109" fmla="*/ 538588 h 2164296"/>
              <a:gd name="connsiteX110" fmla="*/ 252412 w 2171700"/>
              <a:gd name="connsiteY110" fmla="*/ 500488 h 2164296"/>
              <a:gd name="connsiteX111" fmla="*/ 266700 w 2171700"/>
              <a:gd name="connsiteY111" fmla="*/ 471913 h 2164296"/>
              <a:gd name="connsiteX112" fmla="*/ 276225 w 2171700"/>
              <a:gd name="connsiteY112" fmla="*/ 443338 h 2164296"/>
              <a:gd name="connsiteX113" fmla="*/ 285750 w 2171700"/>
              <a:gd name="connsiteY113" fmla="*/ 429050 h 2164296"/>
              <a:gd name="connsiteX114" fmla="*/ 295275 w 2171700"/>
              <a:gd name="connsiteY114" fmla="*/ 405238 h 2164296"/>
              <a:gd name="connsiteX115" fmla="*/ 314325 w 2171700"/>
              <a:gd name="connsiteY115" fmla="*/ 381425 h 2164296"/>
              <a:gd name="connsiteX116" fmla="*/ 333375 w 2171700"/>
              <a:gd name="connsiteY116" fmla="*/ 333800 h 2164296"/>
              <a:gd name="connsiteX117" fmla="*/ 361950 w 2171700"/>
              <a:gd name="connsiteY117" fmla="*/ 290938 h 2164296"/>
              <a:gd name="connsiteX118" fmla="*/ 385762 w 2171700"/>
              <a:gd name="connsiteY118" fmla="*/ 248075 h 2164296"/>
              <a:gd name="connsiteX119" fmla="*/ 400050 w 2171700"/>
              <a:gd name="connsiteY119" fmla="*/ 229025 h 2164296"/>
              <a:gd name="connsiteX120" fmla="*/ 423862 w 2171700"/>
              <a:gd name="connsiteY120" fmla="*/ 214738 h 2164296"/>
              <a:gd name="connsiteX121" fmla="*/ 447675 w 2171700"/>
              <a:gd name="connsiteY121" fmla="*/ 190925 h 2164296"/>
              <a:gd name="connsiteX122" fmla="*/ 461962 w 2171700"/>
              <a:gd name="connsiteY122" fmla="*/ 181400 h 2164296"/>
              <a:gd name="connsiteX123" fmla="*/ 495300 w 2171700"/>
              <a:gd name="connsiteY123" fmla="*/ 143300 h 2164296"/>
              <a:gd name="connsiteX124" fmla="*/ 509587 w 2171700"/>
              <a:gd name="connsiteY124" fmla="*/ 133775 h 2164296"/>
              <a:gd name="connsiteX125" fmla="*/ 619125 w 2171700"/>
              <a:gd name="connsiteY125" fmla="*/ 71863 h 2164296"/>
              <a:gd name="connsiteX126" fmla="*/ 633412 w 2171700"/>
              <a:gd name="connsiteY126" fmla="*/ 52813 h 2164296"/>
              <a:gd name="connsiteX127" fmla="*/ 652462 w 2171700"/>
              <a:gd name="connsiteY127" fmla="*/ 48050 h 2164296"/>
              <a:gd name="connsiteX128" fmla="*/ 676275 w 2171700"/>
              <a:gd name="connsiteY128" fmla="*/ 38525 h 2164296"/>
              <a:gd name="connsiteX129" fmla="*/ 719137 w 2171700"/>
              <a:gd name="connsiteY129" fmla="*/ 24238 h 2164296"/>
              <a:gd name="connsiteX130" fmla="*/ 747712 w 2171700"/>
              <a:gd name="connsiteY130" fmla="*/ 14713 h 2164296"/>
              <a:gd name="connsiteX131" fmla="*/ 795337 w 2171700"/>
              <a:gd name="connsiteY131" fmla="*/ 9950 h 2164296"/>
              <a:gd name="connsiteX132" fmla="*/ 866775 w 2171700"/>
              <a:gd name="connsiteY13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09737 w 2171700"/>
              <a:gd name="connsiteY57" fmla="*/ 1881613 h 2164296"/>
              <a:gd name="connsiteX58" fmla="*/ 1647825 w 2171700"/>
              <a:gd name="connsiteY58" fmla="*/ 1895900 h 2164296"/>
              <a:gd name="connsiteX59" fmla="*/ 1619250 w 2171700"/>
              <a:gd name="connsiteY59" fmla="*/ 1910188 h 2164296"/>
              <a:gd name="connsiteX60" fmla="*/ 1571625 w 2171700"/>
              <a:gd name="connsiteY60" fmla="*/ 1929238 h 2164296"/>
              <a:gd name="connsiteX61" fmla="*/ 1404937 w 2171700"/>
              <a:gd name="connsiteY61" fmla="*/ 2029250 h 2164296"/>
              <a:gd name="connsiteX62" fmla="*/ 1333500 w 2171700"/>
              <a:gd name="connsiteY62" fmla="*/ 2053063 h 2164296"/>
              <a:gd name="connsiteX63" fmla="*/ 1319212 w 2171700"/>
              <a:gd name="connsiteY63" fmla="*/ 2062588 h 2164296"/>
              <a:gd name="connsiteX64" fmla="*/ 1281112 w 2171700"/>
              <a:gd name="connsiteY64" fmla="*/ 2072113 h 2164296"/>
              <a:gd name="connsiteX65" fmla="*/ 1257300 w 2171700"/>
              <a:gd name="connsiteY65" fmla="*/ 2086400 h 2164296"/>
              <a:gd name="connsiteX66" fmla="*/ 1204912 w 2171700"/>
              <a:gd name="connsiteY66" fmla="*/ 2100688 h 2164296"/>
              <a:gd name="connsiteX67" fmla="*/ 1162050 w 2171700"/>
              <a:gd name="connsiteY67" fmla="*/ 2119738 h 2164296"/>
              <a:gd name="connsiteX68" fmla="*/ 1143000 w 2171700"/>
              <a:gd name="connsiteY68" fmla="*/ 2134025 h 2164296"/>
              <a:gd name="connsiteX69" fmla="*/ 1071562 w 2171700"/>
              <a:gd name="connsiteY69" fmla="*/ 2148313 h 2164296"/>
              <a:gd name="connsiteX70" fmla="*/ 1042987 w 2171700"/>
              <a:gd name="connsiteY70" fmla="*/ 2162600 h 2164296"/>
              <a:gd name="connsiteX71" fmla="*/ 909637 w 2171700"/>
              <a:gd name="connsiteY71" fmla="*/ 2157838 h 2164296"/>
              <a:gd name="connsiteX72" fmla="*/ 800100 w 2171700"/>
              <a:gd name="connsiteY72" fmla="*/ 2105450 h 2164296"/>
              <a:gd name="connsiteX73" fmla="*/ 762000 w 2171700"/>
              <a:gd name="connsiteY73" fmla="*/ 2091163 h 2164296"/>
              <a:gd name="connsiteX74" fmla="*/ 714375 w 2171700"/>
              <a:gd name="connsiteY74" fmla="*/ 2062588 h 2164296"/>
              <a:gd name="connsiteX75" fmla="*/ 657225 w 2171700"/>
              <a:gd name="connsiteY75" fmla="*/ 2038775 h 2164296"/>
              <a:gd name="connsiteX76" fmla="*/ 623887 w 2171700"/>
              <a:gd name="connsiteY76" fmla="*/ 2005438 h 2164296"/>
              <a:gd name="connsiteX77" fmla="*/ 585787 w 2171700"/>
              <a:gd name="connsiteY77" fmla="*/ 1976863 h 2164296"/>
              <a:gd name="connsiteX78" fmla="*/ 571500 w 2171700"/>
              <a:gd name="connsiteY78" fmla="*/ 1957813 h 2164296"/>
              <a:gd name="connsiteX79" fmla="*/ 557212 w 2171700"/>
              <a:gd name="connsiteY79" fmla="*/ 1934000 h 2164296"/>
              <a:gd name="connsiteX80" fmla="*/ 523875 w 2171700"/>
              <a:gd name="connsiteY80" fmla="*/ 1895900 h 2164296"/>
              <a:gd name="connsiteX81" fmla="*/ 381000 w 2171700"/>
              <a:gd name="connsiteY81" fmla="*/ 1705400 h 2164296"/>
              <a:gd name="connsiteX82" fmla="*/ 366712 w 2171700"/>
              <a:gd name="connsiteY82" fmla="*/ 1686350 h 2164296"/>
              <a:gd name="connsiteX83" fmla="*/ 347662 w 2171700"/>
              <a:gd name="connsiteY83" fmla="*/ 1657775 h 2164296"/>
              <a:gd name="connsiteX84" fmla="*/ 290512 w 2171700"/>
              <a:gd name="connsiteY84" fmla="*/ 1600625 h 2164296"/>
              <a:gd name="connsiteX85" fmla="*/ 266700 w 2171700"/>
              <a:gd name="connsiteY85" fmla="*/ 1576813 h 2164296"/>
              <a:gd name="connsiteX86" fmla="*/ 252412 w 2171700"/>
              <a:gd name="connsiteY86" fmla="*/ 1562525 h 2164296"/>
              <a:gd name="connsiteX87" fmla="*/ 214312 w 2171700"/>
              <a:gd name="connsiteY87" fmla="*/ 1538713 h 2164296"/>
              <a:gd name="connsiteX88" fmla="*/ 190500 w 2171700"/>
              <a:gd name="connsiteY88" fmla="*/ 1510138 h 2164296"/>
              <a:gd name="connsiteX89" fmla="*/ 166687 w 2171700"/>
              <a:gd name="connsiteY89" fmla="*/ 1491088 h 2164296"/>
              <a:gd name="connsiteX90" fmla="*/ 147637 w 2171700"/>
              <a:gd name="connsiteY90" fmla="*/ 1462513 h 2164296"/>
              <a:gd name="connsiteX91" fmla="*/ 123825 w 2171700"/>
              <a:gd name="connsiteY91" fmla="*/ 1438700 h 2164296"/>
              <a:gd name="connsiteX92" fmla="*/ 114300 w 2171700"/>
              <a:gd name="connsiteY92" fmla="*/ 1424413 h 2164296"/>
              <a:gd name="connsiteX93" fmla="*/ 95250 w 2171700"/>
              <a:gd name="connsiteY93" fmla="*/ 1405363 h 2164296"/>
              <a:gd name="connsiteX94" fmla="*/ 76200 w 2171700"/>
              <a:gd name="connsiteY94" fmla="*/ 1376788 h 2164296"/>
              <a:gd name="connsiteX95" fmla="*/ 61912 w 2171700"/>
              <a:gd name="connsiteY95" fmla="*/ 1362500 h 2164296"/>
              <a:gd name="connsiteX96" fmla="*/ 52387 w 2171700"/>
              <a:gd name="connsiteY96" fmla="*/ 1348213 h 2164296"/>
              <a:gd name="connsiteX97" fmla="*/ 38100 w 2171700"/>
              <a:gd name="connsiteY97" fmla="*/ 1329163 h 2164296"/>
              <a:gd name="connsiteX98" fmla="*/ 33337 w 2171700"/>
              <a:gd name="connsiteY98" fmla="*/ 1305350 h 2164296"/>
              <a:gd name="connsiteX99" fmla="*/ 9525 w 2171700"/>
              <a:gd name="connsiteY99" fmla="*/ 1257725 h 2164296"/>
              <a:gd name="connsiteX100" fmla="*/ 0 w 2171700"/>
              <a:gd name="connsiteY100" fmla="*/ 1200575 h 2164296"/>
              <a:gd name="connsiteX101" fmla="*/ 4762 w 2171700"/>
              <a:gd name="connsiteY101" fmla="*/ 991025 h 2164296"/>
              <a:gd name="connsiteX102" fmla="*/ 42862 w 2171700"/>
              <a:gd name="connsiteY102" fmla="*/ 929113 h 2164296"/>
              <a:gd name="connsiteX103" fmla="*/ 66675 w 2171700"/>
              <a:gd name="connsiteY103" fmla="*/ 891013 h 2164296"/>
              <a:gd name="connsiteX104" fmla="*/ 85725 w 2171700"/>
              <a:gd name="connsiteY104" fmla="*/ 848150 h 2164296"/>
              <a:gd name="connsiteX105" fmla="*/ 147637 w 2171700"/>
              <a:gd name="connsiteY105" fmla="*/ 733850 h 2164296"/>
              <a:gd name="connsiteX106" fmla="*/ 209550 w 2171700"/>
              <a:gd name="connsiteY106" fmla="*/ 610025 h 2164296"/>
              <a:gd name="connsiteX107" fmla="*/ 214312 w 2171700"/>
              <a:gd name="connsiteY107" fmla="*/ 581450 h 2164296"/>
              <a:gd name="connsiteX108" fmla="*/ 238125 w 2171700"/>
              <a:gd name="connsiteY108" fmla="*/ 538588 h 2164296"/>
              <a:gd name="connsiteX109" fmla="*/ 252412 w 2171700"/>
              <a:gd name="connsiteY109" fmla="*/ 500488 h 2164296"/>
              <a:gd name="connsiteX110" fmla="*/ 266700 w 2171700"/>
              <a:gd name="connsiteY110" fmla="*/ 471913 h 2164296"/>
              <a:gd name="connsiteX111" fmla="*/ 276225 w 2171700"/>
              <a:gd name="connsiteY111" fmla="*/ 443338 h 2164296"/>
              <a:gd name="connsiteX112" fmla="*/ 285750 w 2171700"/>
              <a:gd name="connsiteY112" fmla="*/ 429050 h 2164296"/>
              <a:gd name="connsiteX113" fmla="*/ 295275 w 2171700"/>
              <a:gd name="connsiteY113" fmla="*/ 405238 h 2164296"/>
              <a:gd name="connsiteX114" fmla="*/ 314325 w 2171700"/>
              <a:gd name="connsiteY114" fmla="*/ 381425 h 2164296"/>
              <a:gd name="connsiteX115" fmla="*/ 333375 w 2171700"/>
              <a:gd name="connsiteY115" fmla="*/ 333800 h 2164296"/>
              <a:gd name="connsiteX116" fmla="*/ 361950 w 2171700"/>
              <a:gd name="connsiteY116" fmla="*/ 290938 h 2164296"/>
              <a:gd name="connsiteX117" fmla="*/ 385762 w 2171700"/>
              <a:gd name="connsiteY117" fmla="*/ 248075 h 2164296"/>
              <a:gd name="connsiteX118" fmla="*/ 400050 w 2171700"/>
              <a:gd name="connsiteY118" fmla="*/ 229025 h 2164296"/>
              <a:gd name="connsiteX119" fmla="*/ 423862 w 2171700"/>
              <a:gd name="connsiteY119" fmla="*/ 214738 h 2164296"/>
              <a:gd name="connsiteX120" fmla="*/ 447675 w 2171700"/>
              <a:gd name="connsiteY120" fmla="*/ 190925 h 2164296"/>
              <a:gd name="connsiteX121" fmla="*/ 461962 w 2171700"/>
              <a:gd name="connsiteY121" fmla="*/ 181400 h 2164296"/>
              <a:gd name="connsiteX122" fmla="*/ 495300 w 2171700"/>
              <a:gd name="connsiteY122" fmla="*/ 143300 h 2164296"/>
              <a:gd name="connsiteX123" fmla="*/ 509587 w 2171700"/>
              <a:gd name="connsiteY123" fmla="*/ 133775 h 2164296"/>
              <a:gd name="connsiteX124" fmla="*/ 619125 w 2171700"/>
              <a:gd name="connsiteY124" fmla="*/ 71863 h 2164296"/>
              <a:gd name="connsiteX125" fmla="*/ 633412 w 2171700"/>
              <a:gd name="connsiteY125" fmla="*/ 52813 h 2164296"/>
              <a:gd name="connsiteX126" fmla="*/ 652462 w 2171700"/>
              <a:gd name="connsiteY126" fmla="*/ 48050 h 2164296"/>
              <a:gd name="connsiteX127" fmla="*/ 676275 w 2171700"/>
              <a:gd name="connsiteY127" fmla="*/ 38525 h 2164296"/>
              <a:gd name="connsiteX128" fmla="*/ 719137 w 2171700"/>
              <a:gd name="connsiteY128" fmla="*/ 24238 h 2164296"/>
              <a:gd name="connsiteX129" fmla="*/ 747712 w 2171700"/>
              <a:gd name="connsiteY129" fmla="*/ 14713 h 2164296"/>
              <a:gd name="connsiteX130" fmla="*/ 795337 w 2171700"/>
              <a:gd name="connsiteY130" fmla="*/ 9950 h 2164296"/>
              <a:gd name="connsiteX131" fmla="*/ 866775 w 2171700"/>
              <a:gd name="connsiteY13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619250 w 2171700"/>
              <a:gd name="connsiteY58" fmla="*/ 1910188 h 2164296"/>
              <a:gd name="connsiteX59" fmla="*/ 1571625 w 2171700"/>
              <a:gd name="connsiteY59" fmla="*/ 1929238 h 2164296"/>
              <a:gd name="connsiteX60" fmla="*/ 1404937 w 2171700"/>
              <a:gd name="connsiteY60" fmla="*/ 2029250 h 2164296"/>
              <a:gd name="connsiteX61" fmla="*/ 1333500 w 2171700"/>
              <a:gd name="connsiteY61" fmla="*/ 2053063 h 2164296"/>
              <a:gd name="connsiteX62" fmla="*/ 1319212 w 2171700"/>
              <a:gd name="connsiteY62" fmla="*/ 2062588 h 2164296"/>
              <a:gd name="connsiteX63" fmla="*/ 1281112 w 2171700"/>
              <a:gd name="connsiteY63" fmla="*/ 2072113 h 2164296"/>
              <a:gd name="connsiteX64" fmla="*/ 1257300 w 2171700"/>
              <a:gd name="connsiteY64" fmla="*/ 2086400 h 2164296"/>
              <a:gd name="connsiteX65" fmla="*/ 1204912 w 2171700"/>
              <a:gd name="connsiteY65" fmla="*/ 2100688 h 2164296"/>
              <a:gd name="connsiteX66" fmla="*/ 1162050 w 2171700"/>
              <a:gd name="connsiteY66" fmla="*/ 2119738 h 2164296"/>
              <a:gd name="connsiteX67" fmla="*/ 1143000 w 2171700"/>
              <a:gd name="connsiteY67" fmla="*/ 2134025 h 2164296"/>
              <a:gd name="connsiteX68" fmla="*/ 1071562 w 2171700"/>
              <a:gd name="connsiteY68" fmla="*/ 2148313 h 2164296"/>
              <a:gd name="connsiteX69" fmla="*/ 1042987 w 2171700"/>
              <a:gd name="connsiteY69" fmla="*/ 2162600 h 2164296"/>
              <a:gd name="connsiteX70" fmla="*/ 909637 w 2171700"/>
              <a:gd name="connsiteY70" fmla="*/ 2157838 h 2164296"/>
              <a:gd name="connsiteX71" fmla="*/ 800100 w 2171700"/>
              <a:gd name="connsiteY71" fmla="*/ 2105450 h 2164296"/>
              <a:gd name="connsiteX72" fmla="*/ 762000 w 2171700"/>
              <a:gd name="connsiteY72" fmla="*/ 2091163 h 2164296"/>
              <a:gd name="connsiteX73" fmla="*/ 714375 w 2171700"/>
              <a:gd name="connsiteY73" fmla="*/ 2062588 h 2164296"/>
              <a:gd name="connsiteX74" fmla="*/ 657225 w 2171700"/>
              <a:gd name="connsiteY74" fmla="*/ 2038775 h 2164296"/>
              <a:gd name="connsiteX75" fmla="*/ 623887 w 2171700"/>
              <a:gd name="connsiteY75" fmla="*/ 2005438 h 2164296"/>
              <a:gd name="connsiteX76" fmla="*/ 585787 w 2171700"/>
              <a:gd name="connsiteY76" fmla="*/ 1976863 h 2164296"/>
              <a:gd name="connsiteX77" fmla="*/ 571500 w 2171700"/>
              <a:gd name="connsiteY77" fmla="*/ 1957813 h 2164296"/>
              <a:gd name="connsiteX78" fmla="*/ 557212 w 2171700"/>
              <a:gd name="connsiteY78" fmla="*/ 1934000 h 2164296"/>
              <a:gd name="connsiteX79" fmla="*/ 523875 w 2171700"/>
              <a:gd name="connsiteY79" fmla="*/ 1895900 h 2164296"/>
              <a:gd name="connsiteX80" fmla="*/ 381000 w 2171700"/>
              <a:gd name="connsiteY80" fmla="*/ 1705400 h 2164296"/>
              <a:gd name="connsiteX81" fmla="*/ 366712 w 2171700"/>
              <a:gd name="connsiteY81" fmla="*/ 1686350 h 2164296"/>
              <a:gd name="connsiteX82" fmla="*/ 347662 w 2171700"/>
              <a:gd name="connsiteY82" fmla="*/ 1657775 h 2164296"/>
              <a:gd name="connsiteX83" fmla="*/ 290512 w 2171700"/>
              <a:gd name="connsiteY83" fmla="*/ 1600625 h 2164296"/>
              <a:gd name="connsiteX84" fmla="*/ 266700 w 2171700"/>
              <a:gd name="connsiteY84" fmla="*/ 1576813 h 2164296"/>
              <a:gd name="connsiteX85" fmla="*/ 252412 w 2171700"/>
              <a:gd name="connsiteY85" fmla="*/ 1562525 h 2164296"/>
              <a:gd name="connsiteX86" fmla="*/ 214312 w 2171700"/>
              <a:gd name="connsiteY86" fmla="*/ 1538713 h 2164296"/>
              <a:gd name="connsiteX87" fmla="*/ 190500 w 2171700"/>
              <a:gd name="connsiteY87" fmla="*/ 1510138 h 2164296"/>
              <a:gd name="connsiteX88" fmla="*/ 166687 w 2171700"/>
              <a:gd name="connsiteY88" fmla="*/ 1491088 h 2164296"/>
              <a:gd name="connsiteX89" fmla="*/ 147637 w 2171700"/>
              <a:gd name="connsiteY89" fmla="*/ 1462513 h 2164296"/>
              <a:gd name="connsiteX90" fmla="*/ 123825 w 2171700"/>
              <a:gd name="connsiteY90" fmla="*/ 1438700 h 2164296"/>
              <a:gd name="connsiteX91" fmla="*/ 114300 w 2171700"/>
              <a:gd name="connsiteY91" fmla="*/ 1424413 h 2164296"/>
              <a:gd name="connsiteX92" fmla="*/ 95250 w 2171700"/>
              <a:gd name="connsiteY92" fmla="*/ 1405363 h 2164296"/>
              <a:gd name="connsiteX93" fmla="*/ 76200 w 2171700"/>
              <a:gd name="connsiteY93" fmla="*/ 1376788 h 2164296"/>
              <a:gd name="connsiteX94" fmla="*/ 61912 w 2171700"/>
              <a:gd name="connsiteY94" fmla="*/ 1362500 h 2164296"/>
              <a:gd name="connsiteX95" fmla="*/ 52387 w 2171700"/>
              <a:gd name="connsiteY95" fmla="*/ 1348213 h 2164296"/>
              <a:gd name="connsiteX96" fmla="*/ 38100 w 2171700"/>
              <a:gd name="connsiteY96" fmla="*/ 1329163 h 2164296"/>
              <a:gd name="connsiteX97" fmla="*/ 33337 w 2171700"/>
              <a:gd name="connsiteY97" fmla="*/ 1305350 h 2164296"/>
              <a:gd name="connsiteX98" fmla="*/ 9525 w 2171700"/>
              <a:gd name="connsiteY98" fmla="*/ 1257725 h 2164296"/>
              <a:gd name="connsiteX99" fmla="*/ 0 w 2171700"/>
              <a:gd name="connsiteY99" fmla="*/ 1200575 h 2164296"/>
              <a:gd name="connsiteX100" fmla="*/ 4762 w 2171700"/>
              <a:gd name="connsiteY100" fmla="*/ 991025 h 2164296"/>
              <a:gd name="connsiteX101" fmla="*/ 42862 w 2171700"/>
              <a:gd name="connsiteY101" fmla="*/ 929113 h 2164296"/>
              <a:gd name="connsiteX102" fmla="*/ 66675 w 2171700"/>
              <a:gd name="connsiteY102" fmla="*/ 891013 h 2164296"/>
              <a:gd name="connsiteX103" fmla="*/ 85725 w 2171700"/>
              <a:gd name="connsiteY103" fmla="*/ 848150 h 2164296"/>
              <a:gd name="connsiteX104" fmla="*/ 147637 w 2171700"/>
              <a:gd name="connsiteY104" fmla="*/ 733850 h 2164296"/>
              <a:gd name="connsiteX105" fmla="*/ 209550 w 2171700"/>
              <a:gd name="connsiteY105" fmla="*/ 610025 h 2164296"/>
              <a:gd name="connsiteX106" fmla="*/ 214312 w 2171700"/>
              <a:gd name="connsiteY106" fmla="*/ 581450 h 2164296"/>
              <a:gd name="connsiteX107" fmla="*/ 238125 w 2171700"/>
              <a:gd name="connsiteY107" fmla="*/ 538588 h 2164296"/>
              <a:gd name="connsiteX108" fmla="*/ 252412 w 2171700"/>
              <a:gd name="connsiteY108" fmla="*/ 500488 h 2164296"/>
              <a:gd name="connsiteX109" fmla="*/ 266700 w 2171700"/>
              <a:gd name="connsiteY109" fmla="*/ 471913 h 2164296"/>
              <a:gd name="connsiteX110" fmla="*/ 276225 w 2171700"/>
              <a:gd name="connsiteY110" fmla="*/ 443338 h 2164296"/>
              <a:gd name="connsiteX111" fmla="*/ 285750 w 2171700"/>
              <a:gd name="connsiteY111" fmla="*/ 429050 h 2164296"/>
              <a:gd name="connsiteX112" fmla="*/ 295275 w 2171700"/>
              <a:gd name="connsiteY112" fmla="*/ 405238 h 2164296"/>
              <a:gd name="connsiteX113" fmla="*/ 314325 w 2171700"/>
              <a:gd name="connsiteY113" fmla="*/ 381425 h 2164296"/>
              <a:gd name="connsiteX114" fmla="*/ 333375 w 2171700"/>
              <a:gd name="connsiteY114" fmla="*/ 333800 h 2164296"/>
              <a:gd name="connsiteX115" fmla="*/ 361950 w 2171700"/>
              <a:gd name="connsiteY115" fmla="*/ 290938 h 2164296"/>
              <a:gd name="connsiteX116" fmla="*/ 385762 w 2171700"/>
              <a:gd name="connsiteY116" fmla="*/ 248075 h 2164296"/>
              <a:gd name="connsiteX117" fmla="*/ 400050 w 2171700"/>
              <a:gd name="connsiteY117" fmla="*/ 229025 h 2164296"/>
              <a:gd name="connsiteX118" fmla="*/ 423862 w 2171700"/>
              <a:gd name="connsiteY118" fmla="*/ 214738 h 2164296"/>
              <a:gd name="connsiteX119" fmla="*/ 447675 w 2171700"/>
              <a:gd name="connsiteY119" fmla="*/ 190925 h 2164296"/>
              <a:gd name="connsiteX120" fmla="*/ 461962 w 2171700"/>
              <a:gd name="connsiteY120" fmla="*/ 181400 h 2164296"/>
              <a:gd name="connsiteX121" fmla="*/ 495300 w 2171700"/>
              <a:gd name="connsiteY121" fmla="*/ 143300 h 2164296"/>
              <a:gd name="connsiteX122" fmla="*/ 509587 w 2171700"/>
              <a:gd name="connsiteY122" fmla="*/ 133775 h 2164296"/>
              <a:gd name="connsiteX123" fmla="*/ 619125 w 2171700"/>
              <a:gd name="connsiteY123" fmla="*/ 71863 h 2164296"/>
              <a:gd name="connsiteX124" fmla="*/ 633412 w 2171700"/>
              <a:gd name="connsiteY124" fmla="*/ 52813 h 2164296"/>
              <a:gd name="connsiteX125" fmla="*/ 652462 w 2171700"/>
              <a:gd name="connsiteY125" fmla="*/ 48050 h 2164296"/>
              <a:gd name="connsiteX126" fmla="*/ 676275 w 2171700"/>
              <a:gd name="connsiteY126" fmla="*/ 38525 h 2164296"/>
              <a:gd name="connsiteX127" fmla="*/ 719137 w 2171700"/>
              <a:gd name="connsiteY127" fmla="*/ 24238 h 2164296"/>
              <a:gd name="connsiteX128" fmla="*/ 747712 w 2171700"/>
              <a:gd name="connsiteY128" fmla="*/ 14713 h 2164296"/>
              <a:gd name="connsiteX129" fmla="*/ 795337 w 2171700"/>
              <a:gd name="connsiteY129" fmla="*/ 9950 h 2164296"/>
              <a:gd name="connsiteX130" fmla="*/ 866775 w 2171700"/>
              <a:gd name="connsiteY13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571625 w 2171700"/>
              <a:gd name="connsiteY58" fmla="*/ 1929238 h 2164296"/>
              <a:gd name="connsiteX59" fmla="*/ 1404937 w 2171700"/>
              <a:gd name="connsiteY59" fmla="*/ 2029250 h 2164296"/>
              <a:gd name="connsiteX60" fmla="*/ 1333500 w 2171700"/>
              <a:gd name="connsiteY60" fmla="*/ 2053063 h 2164296"/>
              <a:gd name="connsiteX61" fmla="*/ 1319212 w 2171700"/>
              <a:gd name="connsiteY61" fmla="*/ 2062588 h 2164296"/>
              <a:gd name="connsiteX62" fmla="*/ 1281112 w 2171700"/>
              <a:gd name="connsiteY62" fmla="*/ 2072113 h 2164296"/>
              <a:gd name="connsiteX63" fmla="*/ 1257300 w 2171700"/>
              <a:gd name="connsiteY63" fmla="*/ 2086400 h 2164296"/>
              <a:gd name="connsiteX64" fmla="*/ 1204912 w 2171700"/>
              <a:gd name="connsiteY64" fmla="*/ 2100688 h 2164296"/>
              <a:gd name="connsiteX65" fmla="*/ 1162050 w 2171700"/>
              <a:gd name="connsiteY65" fmla="*/ 2119738 h 2164296"/>
              <a:gd name="connsiteX66" fmla="*/ 1143000 w 2171700"/>
              <a:gd name="connsiteY66" fmla="*/ 2134025 h 2164296"/>
              <a:gd name="connsiteX67" fmla="*/ 1071562 w 2171700"/>
              <a:gd name="connsiteY67" fmla="*/ 2148313 h 2164296"/>
              <a:gd name="connsiteX68" fmla="*/ 1042987 w 2171700"/>
              <a:gd name="connsiteY68" fmla="*/ 2162600 h 2164296"/>
              <a:gd name="connsiteX69" fmla="*/ 909637 w 2171700"/>
              <a:gd name="connsiteY69" fmla="*/ 2157838 h 2164296"/>
              <a:gd name="connsiteX70" fmla="*/ 800100 w 2171700"/>
              <a:gd name="connsiteY70" fmla="*/ 2105450 h 2164296"/>
              <a:gd name="connsiteX71" fmla="*/ 762000 w 2171700"/>
              <a:gd name="connsiteY71" fmla="*/ 2091163 h 2164296"/>
              <a:gd name="connsiteX72" fmla="*/ 714375 w 2171700"/>
              <a:gd name="connsiteY72" fmla="*/ 2062588 h 2164296"/>
              <a:gd name="connsiteX73" fmla="*/ 657225 w 2171700"/>
              <a:gd name="connsiteY73" fmla="*/ 2038775 h 2164296"/>
              <a:gd name="connsiteX74" fmla="*/ 623887 w 2171700"/>
              <a:gd name="connsiteY74" fmla="*/ 2005438 h 2164296"/>
              <a:gd name="connsiteX75" fmla="*/ 585787 w 2171700"/>
              <a:gd name="connsiteY75" fmla="*/ 1976863 h 2164296"/>
              <a:gd name="connsiteX76" fmla="*/ 571500 w 2171700"/>
              <a:gd name="connsiteY76" fmla="*/ 1957813 h 2164296"/>
              <a:gd name="connsiteX77" fmla="*/ 557212 w 2171700"/>
              <a:gd name="connsiteY77" fmla="*/ 1934000 h 2164296"/>
              <a:gd name="connsiteX78" fmla="*/ 523875 w 2171700"/>
              <a:gd name="connsiteY78" fmla="*/ 1895900 h 2164296"/>
              <a:gd name="connsiteX79" fmla="*/ 381000 w 2171700"/>
              <a:gd name="connsiteY79" fmla="*/ 1705400 h 2164296"/>
              <a:gd name="connsiteX80" fmla="*/ 366712 w 2171700"/>
              <a:gd name="connsiteY80" fmla="*/ 1686350 h 2164296"/>
              <a:gd name="connsiteX81" fmla="*/ 347662 w 2171700"/>
              <a:gd name="connsiteY81" fmla="*/ 1657775 h 2164296"/>
              <a:gd name="connsiteX82" fmla="*/ 290512 w 2171700"/>
              <a:gd name="connsiteY82" fmla="*/ 1600625 h 2164296"/>
              <a:gd name="connsiteX83" fmla="*/ 266700 w 2171700"/>
              <a:gd name="connsiteY83" fmla="*/ 1576813 h 2164296"/>
              <a:gd name="connsiteX84" fmla="*/ 252412 w 2171700"/>
              <a:gd name="connsiteY84" fmla="*/ 1562525 h 2164296"/>
              <a:gd name="connsiteX85" fmla="*/ 214312 w 2171700"/>
              <a:gd name="connsiteY85" fmla="*/ 1538713 h 2164296"/>
              <a:gd name="connsiteX86" fmla="*/ 190500 w 2171700"/>
              <a:gd name="connsiteY86" fmla="*/ 1510138 h 2164296"/>
              <a:gd name="connsiteX87" fmla="*/ 166687 w 2171700"/>
              <a:gd name="connsiteY87" fmla="*/ 1491088 h 2164296"/>
              <a:gd name="connsiteX88" fmla="*/ 147637 w 2171700"/>
              <a:gd name="connsiteY88" fmla="*/ 1462513 h 2164296"/>
              <a:gd name="connsiteX89" fmla="*/ 123825 w 2171700"/>
              <a:gd name="connsiteY89" fmla="*/ 1438700 h 2164296"/>
              <a:gd name="connsiteX90" fmla="*/ 114300 w 2171700"/>
              <a:gd name="connsiteY90" fmla="*/ 1424413 h 2164296"/>
              <a:gd name="connsiteX91" fmla="*/ 95250 w 2171700"/>
              <a:gd name="connsiteY91" fmla="*/ 1405363 h 2164296"/>
              <a:gd name="connsiteX92" fmla="*/ 76200 w 2171700"/>
              <a:gd name="connsiteY92" fmla="*/ 1376788 h 2164296"/>
              <a:gd name="connsiteX93" fmla="*/ 61912 w 2171700"/>
              <a:gd name="connsiteY93" fmla="*/ 1362500 h 2164296"/>
              <a:gd name="connsiteX94" fmla="*/ 52387 w 2171700"/>
              <a:gd name="connsiteY94" fmla="*/ 1348213 h 2164296"/>
              <a:gd name="connsiteX95" fmla="*/ 38100 w 2171700"/>
              <a:gd name="connsiteY95" fmla="*/ 1329163 h 2164296"/>
              <a:gd name="connsiteX96" fmla="*/ 33337 w 2171700"/>
              <a:gd name="connsiteY96" fmla="*/ 1305350 h 2164296"/>
              <a:gd name="connsiteX97" fmla="*/ 9525 w 2171700"/>
              <a:gd name="connsiteY97" fmla="*/ 1257725 h 2164296"/>
              <a:gd name="connsiteX98" fmla="*/ 0 w 2171700"/>
              <a:gd name="connsiteY98" fmla="*/ 1200575 h 2164296"/>
              <a:gd name="connsiteX99" fmla="*/ 4762 w 2171700"/>
              <a:gd name="connsiteY99" fmla="*/ 991025 h 2164296"/>
              <a:gd name="connsiteX100" fmla="*/ 42862 w 2171700"/>
              <a:gd name="connsiteY100" fmla="*/ 929113 h 2164296"/>
              <a:gd name="connsiteX101" fmla="*/ 66675 w 2171700"/>
              <a:gd name="connsiteY101" fmla="*/ 891013 h 2164296"/>
              <a:gd name="connsiteX102" fmla="*/ 85725 w 2171700"/>
              <a:gd name="connsiteY102" fmla="*/ 848150 h 2164296"/>
              <a:gd name="connsiteX103" fmla="*/ 147637 w 2171700"/>
              <a:gd name="connsiteY103" fmla="*/ 733850 h 2164296"/>
              <a:gd name="connsiteX104" fmla="*/ 209550 w 2171700"/>
              <a:gd name="connsiteY104" fmla="*/ 610025 h 2164296"/>
              <a:gd name="connsiteX105" fmla="*/ 214312 w 2171700"/>
              <a:gd name="connsiteY105" fmla="*/ 581450 h 2164296"/>
              <a:gd name="connsiteX106" fmla="*/ 238125 w 2171700"/>
              <a:gd name="connsiteY106" fmla="*/ 538588 h 2164296"/>
              <a:gd name="connsiteX107" fmla="*/ 252412 w 2171700"/>
              <a:gd name="connsiteY107" fmla="*/ 500488 h 2164296"/>
              <a:gd name="connsiteX108" fmla="*/ 266700 w 2171700"/>
              <a:gd name="connsiteY108" fmla="*/ 471913 h 2164296"/>
              <a:gd name="connsiteX109" fmla="*/ 276225 w 2171700"/>
              <a:gd name="connsiteY109" fmla="*/ 443338 h 2164296"/>
              <a:gd name="connsiteX110" fmla="*/ 285750 w 2171700"/>
              <a:gd name="connsiteY110" fmla="*/ 429050 h 2164296"/>
              <a:gd name="connsiteX111" fmla="*/ 295275 w 2171700"/>
              <a:gd name="connsiteY111" fmla="*/ 405238 h 2164296"/>
              <a:gd name="connsiteX112" fmla="*/ 314325 w 2171700"/>
              <a:gd name="connsiteY112" fmla="*/ 381425 h 2164296"/>
              <a:gd name="connsiteX113" fmla="*/ 333375 w 2171700"/>
              <a:gd name="connsiteY113" fmla="*/ 333800 h 2164296"/>
              <a:gd name="connsiteX114" fmla="*/ 361950 w 2171700"/>
              <a:gd name="connsiteY114" fmla="*/ 290938 h 2164296"/>
              <a:gd name="connsiteX115" fmla="*/ 385762 w 2171700"/>
              <a:gd name="connsiteY115" fmla="*/ 248075 h 2164296"/>
              <a:gd name="connsiteX116" fmla="*/ 400050 w 2171700"/>
              <a:gd name="connsiteY116" fmla="*/ 229025 h 2164296"/>
              <a:gd name="connsiteX117" fmla="*/ 423862 w 2171700"/>
              <a:gd name="connsiteY117" fmla="*/ 214738 h 2164296"/>
              <a:gd name="connsiteX118" fmla="*/ 447675 w 2171700"/>
              <a:gd name="connsiteY118" fmla="*/ 190925 h 2164296"/>
              <a:gd name="connsiteX119" fmla="*/ 461962 w 2171700"/>
              <a:gd name="connsiteY119" fmla="*/ 181400 h 2164296"/>
              <a:gd name="connsiteX120" fmla="*/ 495300 w 2171700"/>
              <a:gd name="connsiteY120" fmla="*/ 143300 h 2164296"/>
              <a:gd name="connsiteX121" fmla="*/ 509587 w 2171700"/>
              <a:gd name="connsiteY121" fmla="*/ 133775 h 2164296"/>
              <a:gd name="connsiteX122" fmla="*/ 619125 w 2171700"/>
              <a:gd name="connsiteY122" fmla="*/ 71863 h 2164296"/>
              <a:gd name="connsiteX123" fmla="*/ 633412 w 2171700"/>
              <a:gd name="connsiteY123" fmla="*/ 52813 h 2164296"/>
              <a:gd name="connsiteX124" fmla="*/ 652462 w 2171700"/>
              <a:gd name="connsiteY124" fmla="*/ 48050 h 2164296"/>
              <a:gd name="connsiteX125" fmla="*/ 676275 w 2171700"/>
              <a:gd name="connsiteY125" fmla="*/ 38525 h 2164296"/>
              <a:gd name="connsiteX126" fmla="*/ 719137 w 2171700"/>
              <a:gd name="connsiteY126" fmla="*/ 24238 h 2164296"/>
              <a:gd name="connsiteX127" fmla="*/ 747712 w 2171700"/>
              <a:gd name="connsiteY127" fmla="*/ 14713 h 2164296"/>
              <a:gd name="connsiteX128" fmla="*/ 795337 w 2171700"/>
              <a:gd name="connsiteY128" fmla="*/ 9950 h 2164296"/>
              <a:gd name="connsiteX129" fmla="*/ 866775 w 2171700"/>
              <a:gd name="connsiteY12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404937 w 2171700"/>
              <a:gd name="connsiteY58" fmla="*/ 2029250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12174 w 2183774"/>
              <a:gd name="connsiteY0" fmla="*/ 425 h 2164296"/>
              <a:gd name="connsiteX1" fmla="*/ 964574 w 2183774"/>
              <a:gd name="connsiteY1" fmla="*/ 5188 h 2164296"/>
              <a:gd name="connsiteX2" fmla="*/ 988386 w 2183774"/>
              <a:gd name="connsiteY2" fmla="*/ 9950 h 2164296"/>
              <a:gd name="connsiteX3" fmla="*/ 1055061 w 2183774"/>
              <a:gd name="connsiteY3" fmla="*/ 19475 h 2164296"/>
              <a:gd name="connsiteX4" fmla="*/ 1083636 w 2183774"/>
              <a:gd name="connsiteY4" fmla="*/ 24238 h 2164296"/>
              <a:gd name="connsiteX5" fmla="*/ 1107449 w 2183774"/>
              <a:gd name="connsiteY5" fmla="*/ 38525 h 2164296"/>
              <a:gd name="connsiteX6" fmla="*/ 1150311 w 2183774"/>
              <a:gd name="connsiteY6" fmla="*/ 48050 h 2164296"/>
              <a:gd name="connsiteX7" fmla="*/ 1169361 w 2183774"/>
              <a:gd name="connsiteY7" fmla="*/ 52813 h 2164296"/>
              <a:gd name="connsiteX8" fmla="*/ 1202699 w 2183774"/>
              <a:gd name="connsiteY8" fmla="*/ 57575 h 2164296"/>
              <a:gd name="connsiteX9" fmla="*/ 1297949 w 2183774"/>
              <a:gd name="connsiteY9" fmla="*/ 71863 h 2164296"/>
              <a:gd name="connsiteX10" fmla="*/ 1469399 w 2183774"/>
              <a:gd name="connsiteY10" fmla="*/ 109963 h 2164296"/>
              <a:gd name="connsiteX11" fmla="*/ 1493211 w 2183774"/>
              <a:gd name="connsiteY11" fmla="*/ 114725 h 2164296"/>
              <a:gd name="connsiteX12" fmla="*/ 1631324 w 2183774"/>
              <a:gd name="connsiteY12" fmla="*/ 124250 h 2164296"/>
              <a:gd name="connsiteX13" fmla="*/ 1664661 w 2183774"/>
              <a:gd name="connsiteY13" fmla="*/ 129013 h 2164296"/>
              <a:gd name="connsiteX14" fmla="*/ 1688474 w 2183774"/>
              <a:gd name="connsiteY14" fmla="*/ 133775 h 2164296"/>
              <a:gd name="connsiteX15" fmla="*/ 1736099 w 2183774"/>
              <a:gd name="connsiteY15" fmla="*/ 138538 h 2164296"/>
              <a:gd name="connsiteX16" fmla="*/ 1774199 w 2183774"/>
              <a:gd name="connsiteY16" fmla="*/ 152825 h 2164296"/>
              <a:gd name="connsiteX17" fmla="*/ 1788486 w 2183774"/>
              <a:gd name="connsiteY17" fmla="*/ 162350 h 2164296"/>
              <a:gd name="connsiteX18" fmla="*/ 1812299 w 2183774"/>
              <a:gd name="connsiteY18" fmla="*/ 167113 h 2164296"/>
              <a:gd name="connsiteX19" fmla="*/ 1836111 w 2183774"/>
              <a:gd name="connsiteY19" fmla="*/ 181400 h 2164296"/>
              <a:gd name="connsiteX20" fmla="*/ 1859924 w 2183774"/>
              <a:gd name="connsiteY20" fmla="*/ 190925 h 2164296"/>
              <a:gd name="connsiteX21" fmla="*/ 1874211 w 2183774"/>
              <a:gd name="connsiteY21" fmla="*/ 205213 h 2164296"/>
              <a:gd name="connsiteX22" fmla="*/ 1907549 w 2183774"/>
              <a:gd name="connsiteY22" fmla="*/ 229025 h 2164296"/>
              <a:gd name="connsiteX23" fmla="*/ 1959936 w 2183774"/>
              <a:gd name="connsiteY23" fmla="*/ 267125 h 2164296"/>
              <a:gd name="connsiteX24" fmla="*/ 1983749 w 2183774"/>
              <a:gd name="connsiteY24" fmla="*/ 295700 h 2164296"/>
              <a:gd name="connsiteX25" fmla="*/ 2017086 w 2183774"/>
              <a:gd name="connsiteY25" fmla="*/ 348088 h 2164296"/>
              <a:gd name="connsiteX26" fmla="*/ 2036136 w 2183774"/>
              <a:gd name="connsiteY26" fmla="*/ 410000 h 2164296"/>
              <a:gd name="connsiteX27" fmla="*/ 2045661 w 2183774"/>
              <a:gd name="connsiteY27" fmla="*/ 443338 h 2164296"/>
              <a:gd name="connsiteX28" fmla="*/ 2050424 w 2183774"/>
              <a:gd name="connsiteY28" fmla="*/ 457625 h 2164296"/>
              <a:gd name="connsiteX29" fmla="*/ 2059949 w 2183774"/>
              <a:gd name="connsiteY29" fmla="*/ 476675 h 2164296"/>
              <a:gd name="connsiteX30" fmla="*/ 2078999 w 2183774"/>
              <a:gd name="connsiteY30" fmla="*/ 548113 h 2164296"/>
              <a:gd name="connsiteX31" fmla="*/ 2093286 w 2183774"/>
              <a:gd name="connsiteY31" fmla="*/ 610025 h 2164296"/>
              <a:gd name="connsiteX32" fmla="*/ 2098049 w 2183774"/>
              <a:gd name="connsiteY32" fmla="*/ 914825 h 2164296"/>
              <a:gd name="connsiteX33" fmla="*/ 2136149 w 2183774"/>
              <a:gd name="connsiteY33" fmla="*/ 1086275 h 2164296"/>
              <a:gd name="connsiteX34" fmla="*/ 2140911 w 2183774"/>
              <a:gd name="connsiteY34" fmla="*/ 1148188 h 2164296"/>
              <a:gd name="connsiteX35" fmla="*/ 2155199 w 2183774"/>
              <a:gd name="connsiteY35" fmla="*/ 1191050 h 2164296"/>
              <a:gd name="connsiteX36" fmla="*/ 2159961 w 2183774"/>
              <a:gd name="connsiteY36" fmla="*/ 1224388 h 2164296"/>
              <a:gd name="connsiteX37" fmla="*/ 2179011 w 2183774"/>
              <a:gd name="connsiteY37" fmla="*/ 1276775 h 2164296"/>
              <a:gd name="connsiteX38" fmla="*/ 2183774 w 2183774"/>
              <a:gd name="connsiteY38" fmla="*/ 1300588 h 2164296"/>
              <a:gd name="connsiteX39" fmla="*/ 2179011 w 2183774"/>
              <a:gd name="connsiteY39" fmla="*/ 1514900 h 2164296"/>
              <a:gd name="connsiteX40" fmla="*/ 2169486 w 2183774"/>
              <a:gd name="connsiteY40" fmla="*/ 1529188 h 2164296"/>
              <a:gd name="connsiteX41" fmla="*/ 2159961 w 2183774"/>
              <a:gd name="connsiteY41" fmla="*/ 1562525 h 2164296"/>
              <a:gd name="connsiteX42" fmla="*/ 2150436 w 2183774"/>
              <a:gd name="connsiteY42" fmla="*/ 1576813 h 2164296"/>
              <a:gd name="connsiteX43" fmla="*/ 2145674 w 2183774"/>
              <a:gd name="connsiteY43" fmla="*/ 1600625 h 2164296"/>
              <a:gd name="connsiteX44" fmla="*/ 2131386 w 2183774"/>
              <a:gd name="connsiteY44" fmla="*/ 1614913 h 2164296"/>
              <a:gd name="connsiteX45" fmla="*/ 2121861 w 2183774"/>
              <a:gd name="connsiteY45" fmla="*/ 1629200 h 2164296"/>
              <a:gd name="connsiteX46" fmla="*/ 2093286 w 2183774"/>
              <a:gd name="connsiteY46" fmla="*/ 1657775 h 2164296"/>
              <a:gd name="connsiteX47" fmla="*/ 2064711 w 2183774"/>
              <a:gd name="connsiteY47" fmla="*/ 1686350 h 2164296"/>
              <a:gd name="connsiteX48" fmla="*/ 2055186 w 2183774"/>
              <a:gd name="connsiteY48" fmla="*/ 1700638 h 2164296"/>
              <a:gd name="connsiteX49" fmla="*/ 2040899 w 2183774"/>
              <a:gd name="connsiteY49" fmla="*/ 1710163 h 2164296"/>
              <a:gd name="connsiteX50" fmla="*/ 2017086 w 2183774"/>
              <a:gd name="connsiteY50" fmla="*/ 1724450 h 2164296"/>
              <a:gd name="connsiteX51" fmla="*/ 1993274 w 2183774"/>
              <a:gd name="connsiteY51" fmla="*/ 1743500 h 2164296"/>
              <a:gd name="connsiteX52" fmla="*/ 1921836 w 2183774"/>
              <a:gd name="connsiteY52" fmla="*/ 1772075 h 2164296"/>
              <a:gd name="connsiteX53" fmla="*/ 1902786 w 2183774"/>
              <a:gd name="connsiteY53" fmla="*/ 1786363 h 2164296"/>
              <a:gd name="connsiteX54" fmla="*/ 1855161 w 2183774"/>
              <a:gd name="connsiteY54" fmla="*/ 1814938 h 2164296"/>
              <a:gd name="connsiteX55" fmla="*/ 1840874 w 2183774"/>
              <a:gd name="connsiteY55" fmla="*/ 1833988 h 2164296"/>
              <a:gd name="connsiteX56" fmla="*/ 1788486 w 2183774"/>
              <a:gd name="connsiteY56" fmla="*/ 1862563 h 2164296"/>
              <a:gd name="connsiteX57" fmla="*/ 1645612 w 2183774"/>
              <a:gd name="connsiteY57" fmla="*/ 1891137 h 2164296"/>
              <a:gd name="connsiteX58" fmla="*/ 1397961 w 2183774"/>
              <a:gd name="connsiteY58" fmla="*/ 2014962 h 2164296"/>
              <a:gd name="connsiteX59" fmla="*/ 1345574 w 2183774"/>
              <a:gd name="connsiteY59" fmla="*/ 2053063 h 2164296"/>
              <a:gd name="connsiteX60" fmla="*/ 1331286 w 2183774"/>
              <a:gd name="connsiteY60" fmla="*/ 2062588 h 2164296"/>
              <a:gd name="connsiteX61" fmla="*/ 1293186 w 2183774"/>
              <a:gd name="connsiteY61" fmla="*/ 2072113 h 2164296"/>
              <a:gd name="connsiteX62" fmla="*/ 1269374 w 2183774"/>
              <a:gd name="connsiteY62" fmla="*/ 2086400 h 2164296"/>
              <a:gd name="connsiteX63" fmla="*/ 1216986 w 2183774"/>
              <a:gd name="connsiteY63" fmla="*/ 2100688 h 2164296"/>
              <a:gd name="connsiteX64" fmla="*/ 1174124 w 2183774"/>
              <a:gd name="connsiteY64" fmla="*/ 2119738 h 2164296"/>
              <a:gd name="connsiteX65" fmla="*/ 1155074 w 2183774"/>
              <a:gd name="connsiteY65" fmla="*/ 2134025 h 2164296"/>
              <a:gd name="connsiteX66" fmla="*/ 1083636 w 2183774"/>
              <a:gd name="connsiteY66" fmla="*/ 2148313 h 2164296"/>
              <a:gd name="connsiteX67" fmla="*/ 1055061 w 2183774"/>
              <a:gd name="connsiteY67" fmla="*/ 2162600 h 2164296"/>
              <a:gd name="connsiteX68" fmla="*/ 921711 w 2183774"/>
              <a:gd name="connsiteY68" fmla="*/ 2157838 h 2164296"/>
              <a:gd name="connsiteX69" fmla="*/ 812174 w 2183774"/>
              <a:gd name="connsiteY69" fmla="*/ 2105450 h 2164296"/>
              <a:gd name="connsiteX70" fmla="*/ 774074 w 2183774"/>
              <a:gd name="connsiteY70" fmla="*/ 2091163 h 2164296"/>
              <a:gd name="connsiteX71" fmla="*/ 726449 w 2183774"/>
              <a:gd name="connsiteY71" fmla="*/ 2062588 h 2164296"/>
              <a:gd name="connsiteX72" fmla="*/ 669299 w 2183774"/>
              <a:gd name="connsiteY72" fmla="*/ 2038775 h 2164296"/>
              <a:gd name="connsiteX73" fmla="*/ 635961 w 2183774"/>
              <a:gd name="connsiteY73" fmla="*/ 2005438 h 2164296"/>
              <a:gd name="connsiteX74" fmla="*/ 597861 w 2183774"/>
              <a:gd name="connsiteY74" fmla="*/ 1976863 h 2164296"/>
              <a:gd name="connsiteX75" fmla="*/ 583574 w 2183774"/>
              <a:gd name="connsiteY75" fmla="*/ 1957813 h 2164296"/>
              <a:gd name="connsiteX76" fmla="*/ 569286 w 2183774"/>
              <a:gd name="connsiteY76" fmla="*/ 1934000 h 2164296"/>
              <a:gd name="connsiteX77" fmla="*/ 535949 w 2183774"/>
              <a:gd name="connsiteY77" fmla="*/ 1895900 h 2164296"/>
              <a:gd name="connsiteX78" fmla="*/ 393074 w 2183774"/>
              <a:gd name="connsiteY78" fmla="*/ 1705400 h 2164296"/>
              <a:gd name="connsiteX79" fmla="*/ 378786 w 2183774"/>
              <a:gd name="connsiteY79" fmla="*/ 1686350 h 2164296"/>
              <a:gd name="connsiteX80" fmla="*/ 359736 w 2183774"/>
              <a:gd name="connsiteY80" fmla="*/ 1657775 h 2164296"/>
              <a:gd name="connsiteX81" fmla="*/ 302586 w 2183774"/>
              <a:gd name="connsiteY81" fmla="*/ 1600625 h 2164296"/>
              <a:gd name="connsiteX82" fmla="*/ 278774 w 2183774"/>
              <a:gd name="connsiteY82" fmla="*/ 1576813 h 2164296"/>
              <a:gd name="connsiteX83" fmla="*/ 264486 w 2183774"/>
              <a:gd name="connsiteY83" fmla="*/ 1562525 h 2164296"/>
              <a:gd name="connsiteX84" fmla="*/ 226386 w 2183774"/>
              <a:gd name="connsiteY84" fmla="*/ 1538713 h 2164296"/>
              <a:gd name="connsiteX85" fmla="*/ 202574 w 2183774"/>
              <a:gd name="connsiteY85" fmla="*/ 1510138 h 2164296"/>
              <a:gd name="connsiteX86" fmla="*/ 178761 w 2183774"/>
              <a:gd name="connsiteY86" fmla="*/ 1491088 h 2164296"/>
              <a:gd name="connsiteX87" fmla="*/ 159711 w 2183774"/>
              <a:gd name="connsiteY87" fmla="*/ 1462513 h 2164296"/>
              <a:gd name="connsiteX88" fmla="*/ 135899 w 2183774"/>
              <a:gd name="connsiteY88" fmla="*/ 1438700 h 2164296"/>
              <a:gd name="connsiteX89" fmla="*/ 126374 w 2183774"/>
              <a:gd name="connsiteY89" fmla="*/ 1424413 h 2164296"/>
              <a:gd name="connsiteX90" fmla="*/ 107324 w 2183774"/>
              <a:gd name="connsiteY90" fmla="*/ 1405363 h 2164296"/>
              <a:gd name="connsiteX91" fmla="*/ 88274 w 2183774"/>
              <a:gd name="connsiteY91" fmla="*/ 1376788 h 2164296"/>
              <a:gd name="connsiteX92" fmla="*/ 73986 w 2183774"/>
              <a:gd name="connsiteY92" fmla="*/ 1362500 h 2164296"/>
              <a:gd name="connsiteX93" fmla="*/ 64461 w 2183774"/>
              <a:gd name="connsiteY93" fmla="*/ 1348213 h 2164296"/>
              <a:gd name="connsiteX94" fmla="*/ 50174 w 2183774"/>
              <a:gd name="connsiteY94" fmla="*/ 1329163 h 2164296"/>
              <a:gd name="connsiteX95" fmla="*/ 45411 w 2183774"/>
              <a:gd name="connsiteY95" fmla="*/ 1305350 h 2164296"/>
              <a:gd name="connsiteX96" fmla="*/ 21599 w 2183774"/>
              <a:gd name="connsiteY96" fmla="*/ 1257725 h 2164296"/>
              <a:gd name="connsiteX97" fmla="*/ 12074 w 2183774"/>
              <a:gd name="connsiteY97" fmla="*/ 1200575 h 2164296"/>
              <a:gd name="connsiteX98" fmla="*/ 16836 w 2183774"/>
              <a:gd name="connsiteY98" fmla="*/ 991025 h 2164296"/>
              <a:gd name="connsiteX99" fmla="*/ 54936 w 2183774"/>
              <a:gd name="connsiteY99" fmla="*/ 929113 h 2164296"/>
              <a:gd name="connsiteX100" fmla="*/ 78749 w 2183774"/>
              <a:gd name="connsiteY100" fmla="*/ 891013 h 2164296"/>
              <a:gd name="connsiteX101" fmla="*/ 97799 w 2183774"/>
              <a:gd name="connsiteY101" fmla="*/ 848150 h 2164296"/>
              <a:gd name="connsiteX102" fmla="*/ 159711 w 2183774"/>
              <a:gd name="connsiteY102" fmla="*/ 733850 h 2164296"/>
              <a:gd name="connsiteX103" fmla="*/ 221624 w 2183774"/>
              <a:gd name="connsiteY103" fmla="*/ 610025 h 2164296"/>
              <a:gd name="connsiteX104" fmla="*/ 226386 w 2183774"/>
              <a:gd name="connsiteY104" fmla="*/ 581450 h 2164296"/>
              <a:gd name="connsiteX105" fmla="*/ 250199 w 2183774"/>
              <a:gd name="connsiteY105" fmla="*/ 538588 h 2164296"/>
              <a:gd name="connsiteX106" fmla="*/ 264486 w 2183774"/>
              <a:gd name="connsiteY106" fmla="*/ 500488 h 2164296"/>
              <a:gd name="connsiteX107" fmla="*/ 278774 w 2183774"/>
              <a:gd name="connsiteY107" fmla="*/ 471913 h 2164296"/>
              <a:gd name="connsiteX108" fmla="*/ 288299 w 2183774"/>
              <a:gd name="connsiteY108" fmla="*/ 443338 h 2164296"/>
              <a:gd name="connsiteX109" fmla="*/ 297824 w 2183774"/>
              <a:gd name="connsiteY109" fmla="*/ 429050 h 2164296"/>
              <a:gd name="connsiteX110" fmla="*/ 307349 w 2183774"/>
              <a:gd name="connsiteY110" fmla="*/ 405238 h 2164296"/>
              <a:gd name="connsiteX111" fmla="*/ 326399 w 2183774"/>
              <a:gd name="connsiteY111" fmla="*/ 381425 h 2164296"/>
              <a:gd name="connsiteX112" fmla="*/ 345449 w 2183774"/>
              <a:gd name="connsiteY112" fmla="*/ 333800 h 2164296"/>
              <a:gd name="connsiteX113" fmla="*/ 374024 w 2183774"/>
              <a:gd name="connsiteY113" fmla="*/ 290938 h 2164296"/>
              <a:gd name="connsiteX114" fmla="*/ 397836 w 2183774"/>
              <a:gd name="connsiteY114" fmla="*/ 248075 h 2164296"/>
              <a:gd name="connsiteX115" fmla="*/ 412124 w 2183774"/>
              <a:gd name="connsiteY115" fmla="*/ 229025 h 2164296"/>
              <a:gd name="connsiteX116" fmla="*/ 435936 w 2183774"/>
              <a:gd name="connsiteY116" fmla="*/ 214738 h 2164296"/>
              <a:gd name="connsiteX117" fmla="*/ 459749 w 2183774"/>
              <a:gd name="connsiteY117" fmla="*/ 190925 h 2164296"/>
              <a:gd name="connsiteX118" fmla="*/ 474036 w 2183774"/>
              <a:gd name="connsiteY118" fmla="*/ 181400 h 2164296"/>
              <a:gd name="connsiteX119" fmla="*/ 507374 w 2183774"/>
              <a:gd name="connsiteY119" fmla="*/ 143300 h 2164296"/>
              <a:gd name="connsiteX120" fmla="*/ 521661 w 2183774"/>
              <a:gd name="connsiteY120" fmla="*/ 133775 h 2164296"/>
              <a:gd name="connsiteX121" fmla="*/ 631199 w 2183774"/>
              <a:gd name="connsiteY121" fmla="*/ 71863 h 2164296"/>
              <a:gd name="connsiteX122" fmla="*/ 645486 w 2183774"/>
              <a:gd name="connsiteY122" fmla="*/ 52813 h 2164296"/>
              <a:gd name="connsiteX123" fmla="*/ 664536 w 2183774"/>
              <a:gd name="connsiteY123" fmla="*/ 48050 h 2164296"/>
              <a:gd name="connsiteX124" fmla="*/ 688349 w 2183774"/>
              <a:gd name="connsiteY124" fmla="*/ 38525 h 2164296"/>
              <a:gd name="connsiteX125" fmla="*/ 731211 w 2183774"/>
              <a:gd name="connsiteY125" fmla="*/ 24238 h 2164296"/>
              <a:gd name="connsiteX126" fmla="*/ 759786 w 2183774"/>
              <a:gd name="connsiteY126" fmla="*/ 14713 h 2164296"/>
              <a:gd name="connsiteX127" fmla="*/ 807411 w 2183774"/>
              <a:gd name="connsiteY127" fmla="*/ 9950 h 2164296"/>
              <a:gd name="connsiteX128" fmla="*/ 878849 w 2183774"/>
              <a:gd name="connsiteY128" fmla="*/ 425 h 2164296"/>
              <a:gd name="connsiteX0" fmla="*/ 797660 w 2169260"/>
              <a:gd name="connsiteY0" fmla="*/ 425 h 2164296"/>
              <a:gd name="connsiteX1" fmla="*/ 950060 w 2169260"/>
              <a:gd name="connsiteY1" fmla="*/ 5188 h 2164296"/>
              <a:gd name="connsiteX2" fmla="*/ 973872 w 2169260"/>
              <a:gd name="connsiteY2" fmla="*/ 9950 h 2164296"/>
              <a:gd name="connsiteX3" fmla="*/ 1040547 w 2169260"/>
              <a:gd name="connsiteY3" fmla="*/ 19475 h 2164296"/>
              <a:gd name="connsiteX4" fmla="*/ 1069122 w 2169260"/>
              <a:gd name="connsiteY4" fmla="*/ 24238 h 2164296"/>
              <a:gd name="connsiteX5" fmla="*/ 1092935 w 2169260"/>
              <a:gd name="connsiteY5" fmla="*/ 38525 h 2164296"/>
              <a:gd name="connsiteX6" fmla="*/ 1135797 w 2169260"/>
              <a:gd name="connsiteY6" fmla="*/ 48050 h 2164296"/>
              <a:gd name="connsiteX7" fmla="*/ 1154847 w 2169260"/>
              <a:gd name="connsiteY7" fmla="*/ 52813 h 2164296"/>
              <a:gd name="connsiteX8" fmla="*/ 1188185 w 2169260"/>
              <a:gd name="connsiteY8" fmla="*/ 57575 h 2164296"/>
              <a:gd name="connsiteX9" fmla="*/ 1283435 w 2169260"/>
              <a:gd name="connsiteY9" fmla="*/ 71863 h 2164296"/>
              <a:gd name="connsiteX10" fmla="*/ 1454885 w 2169260"/>
              <a:gd name="connsiteY10" fmla="*/ 109963 h 2164296"/>
              <a:gd name="connsiteX11" fmla="*/ 1478697 w 2169260"/>
              <a:gd name="connsiteY11" fmla="*/ 114725 h 2164296"/>
              <a:gd name="connsiteX12" fmla="*/ 1616810 w 2169260"/>
              <a:gd name="connsiteY12" fmla="*/ 124250 h 2164296"/>
              <a:gd name="connsiteX13" fmla="*/ 1650147 w 2169260"/>
              <a:gd name="connsiteY13" fmla="*/ 129013 h 2164296"/>
              <a:gd name="connsiteX14" fmla="*/ 1673960 w 2169260"/>
              <a:gd name="connsiteY14" fmla="*/ 133775 h 2164296"/>
              <a:gd name="connsiteX15" fmla="*/ 1721585 w 2169260"/>
              <a:gd name="connsiteY15" fmla="*/ 138538 h 2164296"/>
              <a:gd name="connsiteX16" fmla="*/ 1759685 w 2169260"/>
              <a:gd name="connsiteY16" fmla="*/ 152825 h 2164296"/>
              <a:gd name="connsiteX17" fmla="*/ 1773972 w 2169260"/>
              <a:gd name="connsiteY17" fmla="*/ 162350 h 2164296"/>
              <a:gd name="connsiteX18" fmla="*/ 1797785 w 2169260"/>
              <a:gd name="connsiteY18" fmla="*/ 167113 h 2164296"/>
              <a:gd name="connsiteX19" fmla="*/ 1821597 w 2169260"/>
              <a:gd name="connsiteY19" fmla="*/ 181400 h 2164296"/>
              <a:gd name="connsiteX20" fmla="*/ 1845410 w 2169260"/>
              <a:gd name="connsiteY20" fmla="*/ 190925 h 2164296"/>
              <a:gd name="connsiteX21" fmla="*/ 1859697 w 2169260"/>
              <a:gd name="connsiteY21" fmla="*/ 205213 h 2164296"/>
              <a:gd name="connsiteX22" fmla="*/ 1893035 w 2169260"/>
              <a:gd name="connsiteY22" fmla="*/ 229025 h 2164296"/>
              <a:gd name="connsiteX23" fmla="*/ 1945422 w 2169260"/>
              <a:gd name="connsiteY23" fmla="*/ 267125 h 2164296"/>
              <a:gd name="connsiteX24" fmla="*/ 1969235 w 2169260"/>
              <a:gd name="connsiteY24" fmla="*/ 295700 h 2164296"/>
              <a:gd name="connsiteX25" fmla="*/ 2002572 w 2169260"/>
              <a:gd name="connsiteY25" fmla="*/ 348088 h 2164296"/>
              <a:gd name="connsiteX26" fmla="*/ 2021622 w 2169260"/>
              <a:gd name="connsiteY26" fmla="*/ 410000 h 2164296"/>
              <a:gd name="connsiteX27" fmla="*/ 2031147 w 2169260"/>
              <a:gd name="connsiteY27" fmla="*/ 443338 h 2164296"/>
              <a:gd name="connsiteX28" fmla="*/ 2035910 w 2169260"/>
              <a:gd name="connsiteY28" fmla="*/ 457625 h 2164296"/>
              <a:gd name="connsiteX29" fmla="*/ 2045435 w 2169260"/>
              <a:gd name="connsiteY29" fmla="*/ 476675 h 2164296"/>
              <a:gd name="connsiteX30" fmla="*/ 2064485 w 2169260"/>
              <a:gd name="connsiteY30" fmla="*/ 548113 h 2164296"/>
              <a:gd name="connsiteX31" fmla="*/ 2078772 w 2169260"/>
              <a:gd name="connsiteY31" fmla="*/ 610025 h 2164296"/>
              <a:gd name="connsiteX32" fmla="*/ 2083535 w 2169260"/>
              <a:gd name="connsiteY32" fmla="*/ 914825 h 2164296"/>
              <a:gd name="connsiteX33" fmla="*/ 2121635 w 2169260"/>
              <a:gd name="connsiteY33" fmla="*/ 1086275 h 2164296"/>
              <a:gd name="connsiteX34" fmla="*/ 2126397 w 2169260"/>
              <a:gd name="connsiteY34" fmla="*/ 1148188 h 2164296"/>
              <a:gd name="connsiteX35" fmla="*/ 2140685 w 2169260"/>
              <a:gd name="connsiteY35" fmla="*/ 1191050 h 2164296"/>
              <a:gd name="connsiteX36" fmla="*/ 2145447 w 2169260"/>
              <a:gd name="connsiteY36" fmla="*/ 1224388 h 2164296"/>
              <a:gd name="connsiteX37" fmla="*/ 2164497 w 2169260"/>
              <a:gd name="connsiteY37" fmla="*/ 1276775 h 2164296"/>
              <a:gd name="connsiteX38" fmla="*/ 2169260 w 2169260"/>
              <a:gd name="connsiteY38" fmla="*/ 1300588 h 2164296"/>
              <a:gd name="connsiteX39" fmla="*/ 2164497 w 2169260"/>
              <a:gd name="connsiteY39" fmla="*/ 1514900 h 2164296"/>
              <a:gd name="connsiteX40" fmla="*/ 2154972 w 2169260"/>
              <a:gd name="connsiteY40" fmla="*/ 1529188 h 2164296"/>
              <a:gd name="connsiteX41" fmla="*/ 2145447 w 2169260"/>
              <a:gd name="connsiteY41" fmla="*/ 1562525 h 2164296"/>
              <a:gd name="connsiteX42" fmla="*/ 2135922 w 2169260"/>
              <a:gd name="connsiteY42" fmla="*/ 1576813 h 2164296"/>
              <a:gd name="connsiteX43" fmla="*/ 2131160 w 2169260"/>
              <a:gd name="connsiteY43" fmla="*/ 1600625 h 2164296"/>
              <a:gd name="connsiteX44" fmla="*/ 2116872 w 2169260"/>
              <a:gd name="connsiteY44" fmla="*/ 1614913 h 2164296"/>
              <a:gd name="connsiteX45" fmla="*/ 2107347 w 2169260"/>
              <a:gd name="connsiteY45" fmla="*/ 1629200 h 2164296"/>
              <a:gd name="connsiteX46" fmla="*/ 2078772 w 2169260"/>
              <a:gd name="connsiteY46" fmla="*/ 1657775 h 2164296"/>
              <a:gd name="connsiteX47" fmla="*/ 2050197 w 2169260"/>
              <a:gd name="connsiteY47" fmla="*/ 1686350 h 2164296"/>
              <a:gd name="connsiteX48" fmla="*/ 2040672 w 2169260"/>
              <a:gd name="connsiteY48" fmla="*/ 1700638 h 2164296"/>
              <a:gd name="connsiteX49" fmla="*/ 2026385 w 2169260"/>
              <a:gd name="connsiteY49" fmla="*/ 1710163 h 2164296"/>
              <a:gd name="connsiteX50" fmla="*/ 2002572 w 2169260"/>
              <a:gd name="connsiteY50" fmla="*/ 1724450 h 2164296"/>
              <a:gd name="connsiteX51" fmla="*/ 1978760 w 2169260"/>
              <a:gd name="connsiteY51" fmla="*/ 1743500 h 2164296"/>
              <a:gd name="connsiteX52" fmla="*/ 1907322 w 2169260"/>
              <a:gd name="connsiteY52" fmla="*/ 1772075 h 2164296"/>
              <a:gd name="connsiteX53" fmla="*/ 1888272 w 2169260"/>
              <a:gd name="connsiteY53" fmla="*/ 1786363 h 2164296"/>
              <a:gd name="connsiteX54" fmla="*/ 1840647 w 2169260"/>
              <a:gd name="connsiteY54" fmla="*/ 1814938 h 2164296"/>
              <a:gd name="connsiteX55" fmla="*/ 1826360 w 2169260"/>
              <a:gd name="connsiteY55" fmla="*/ 1833988 h 2164296"/>
              <a:gd name="connsiteX56" fmla="*/ 1773972 w 2169260"/>
              <a:gd name="connsiteY56" fmla="*/ 1862563 h 2164296"/>
              <a:gd name="connsiteX57" fmla="*/ 1631098 w 2169260"/>
              <a:gd name="connsiteY57" fmla="*/ 1891137 h 2164296"/>
              <a:gd name="connsiteX58" fmla="*/ 1383447 w 2169260"/>
              <a:gd name="connsiteY58" fmla="*/ 2014962 h 2164296"/>
              <a:gd name="connsiteX59" fmla="*/ 1331060 w 2169260"/>
              <a:gd name="connsiteY59" fmla="*/ 2053063 h 2164296"/>
              <a:gd name="connsiteX60" fmla="*/ 1316772 w 2169260"/>
              <a:gd name="connsiteY60" fmla="*/ 2062588 h 2164296"/>
              <a:gd name="connsiteX61" fmla="*/ 1278672 w 2169260"/>
              <a:gd name="connsiteY61" fmla="*/ 2072113 h 2164296"/>
              <a:gd name="connsiteX62" fmla="*/ 1254860 w 2169260"/>
              <a:gd name="connsiteY62" fmla="*/ 2086400 h 2164296"/>
              <a:gd name="connsiteX63" fmla="*/ 1202472 w 2169260"/>
              <a:gd name="connsiteY63" fmla="*/ 2100688 h 2164296"/>
              <a:gd name="connsiteX64" fmla="*/ 1159610 w 2169260"/>
              <a:gd name="connsiteY64" fmla="*/ 2119738 h 2164296"/>
              <a:gd name="connsiteX65" fmla="*/ 1140560 w 2169260"/>
              <a:gd name="connsiteY65" fmla="*/ 2134025 h 2164296"/>
              <a:gd name="connsiteX66" fmla="*/ 1069122 w 2169260"/>
              <a:gd name="connsiteY66" fmla="*/ 2148313 h 2164296"/>
              <a:gd name="connsiteX67" fmla="*/ 1040547 w 2169260"/>
              <a:gd name="connsiteY67" fmla="*/ 2162600 h 2164296"/>
              <a:gd name="connsiteX68" fmla="*/ 907197 w 2169260"/>
              <a:gd name="connsiteY68" fmla="*/ 2157838 h 2164296"/>
              <a:gd name="connsiteX69" fmla="*/ 797660 w 2169260"/>
              <a:gd name="connsiteY69" fmla="*/ 2105450 h 2164296"/>
              <a:gd name="connsiteX70" fmla="*/ 759560 w 2169260"/>
              <a:gd name="connsiteY70" fmla="*/ 2091163 h 2164296"/>
              <a:gd name="connsiteX71" fmla="*/ 711935 w 2169260"/>
              <a:gd name="connsiteY71" fmla="*/ 2062588 h 2164296"/>
              <a:gd name="connsiteX72" fmla="*/ 654785 w 2169260"/>
              <a:gd name="connsiteY72" fmla="*/ 2038775 h 2164296"/>
              <a:gd name="connsiteX73" fmla="*/ 621447 w 2169260"/>
              <a:gd name="connsiteY73" fmla="*/ 2005438 h 2164296"/>
              <a:gd name="connsiteX74" fmla="*/ 583347 w 2169260"/>
              <a:gd name="connsiteY74" fmla="*/ 1976863 h 2164296"/>
              <a:gd name="connsiteX75" fmla="*/ 569060 w 2169260"/>
              <a:gd name="connsiteY75" fmla="*/ 1957813 h 2164296"/>
              <a:gd name="connsiteX76" fmla="*/ 554772 w 2169260"/>
              <a:gd name="connsiteY76" fmla="*/ 1934000 h 2164296"/>
              <a:gd name="connsiteX77" fmla="*/ 521435 w 2169260"/>
              <a:gd name="connsiteY77" fmla="*/ 1895900 h 2164296"/>
              <a:gd name="connsiteX78" fmla="*/ 378560 w 2169260"/>
              <a:gd name="connsiteY78" fmla="*/ 1705400 h 2164296"/>
              <a:gd name="connsiteX79" fmla="*/ 364272 w 2169260"/>
              <a:gd name="connsiteY79" fmla="*/ 1686350 h 2164296"/>
              <a:gd name="connsiteX80" fmla="*/ 345222 w 2169260"/>
              <a:gd name="connsiteY80" fmla="*/ 1657775 h 2164296"/>
              <a:gd name="connsiteX81" fmla="*/ 288072 w 2169260"/>
              <a:gd name="connsiteY81" fmla="*/ 1600625 h 2164296"/>
              <a:gd name="connsiteX82" fmla="*/ 264260 w 2169260"/>
              <a:gd name="connsiteY82" fmla="*/ 1576813 h 2164296"/>
              <a:gd name="connsiteX83" fmla="*/ 249972 w 2169260"/>
              <a:gd name="connsiteY83" fmla="*/ 1562525 h 2164296"/>
              <a:gd name="connsiteX84" fmla="*/ 211872 w 2169260"/>
              <a:gd name="connsiteY84" fmla="*/ 1538713 h 2164296"/>
              <a:gd name="connsiteX85" fmla="*/ 188060 w 2169260"/>
              <a:gd name="connsiteY85" fmla="*/ 1510138 h 2164296"/>
              <a:gd name="connsiteX86" fmla="*/ 164247 w 2169260"/>
              <a:gd name="connsiteY86" fmla="*/ 1491088 h 2164296"/>
              <a:gd name="connsiteX87" fmla="*/ 145197 w 2169260"/>
              <a:gd name="connsiteY87" fmla="*/ 1462513 h 2164296"/>
              <a:gd name="connsiteX88" fmla="*/ 121385 w 2169260"/>
              <a:gd name="connsiteY88" fmla="*/ 1438700 h 2164296"/>
              <a:gd name="connsiteX89" fmla="*/ 111860 w 2169260"/>
              <a:gd name="connsiteY89" fmla="*/ 1424413 h 2164296"/>
              <a:gd name="connsiteX90" fmla="*/ 92810 w 2169260"/>
              <a:gd name="connsiteY90" fmla="*/ 1405363 h 2164296"/>
              <a:gd name="connsiteX91" fmla="*/ 73760 w 2169260"/>
              <a:gd name="connsiteY91" fmla="*/ 1376788 h 2164296"/>
              <a:gd name="connsiteX92" fmla="*/ 59472 w 2169260"/>
              <a:gd name="connsiteY92" fmla="*/ 1362500 h 2164296"/>
              <a:gd name="connsiteX93" fmla="*/ 49947 w 2169260"/>
              <a:gd name="connsiteY93" fmla="*/ 1348213 h 2164296"/>
              <a:gd name="connsiteX94" fmla="*/ 35660 w 2169260"/>
              <a:gd name="connsiteY94" fmla="*/ 1329163 h 2164296"/>
              <a:gd name="connsiteX95" fmla="*/ 30897 w 2169260"/>
              <a:gd name="connsiteY95" fmla="*/ 1305350 h 2164296"/>
              <a:gd name="connsiteX96" fmla="*/ 7085 w 2169260"/>
              <a:gd name="connsiteY96" fmla="*/ 1257725 h 2164296"/>
              <a:gd name="connsiteX97" fmla="*/ 2322 w 2169260"/>
              <a:gd name="connsiteY97" fmla="*/ 991025 h 2164296"/>
              <a:gd name="connsiteX98" fmla="*/ 40422 w 2169260"/>
              <a:gd name="connsiteY98" fmla="*/ 929113 h 2164296"/>
              <a:gd name="connsiteX99" fmla="*/ 64235 w 2169260"/>
              <a:gd name="connsiteY99" fmla="*/ 891013 h 2164296"/>
              <a:gd name="connsiteX100" fmla="*/ 83285 w 2169260"/>
              <a:gd name="connsiteY100" fmla="*/ 848150 h 2164296"/>
              <a:gd name="connsiteX101" fmla="*/ 145197 w 2169260"/>
              <a:gd name="connsiteY101" fmla="*/ 733850 h 2164296"/>
              <a:gd name="connsiteX102" fmla="*/ 207110 w 2169260"/>
              <a:gd name="connsiteY102" fmla="*/ 610025 h 2164296"/>
              <a:gd name="connsiteX103" fmla="*/ 211872 w 2169260"/>
              <a:gd name="connsiteY103" fmla="*/ 581450 h 2164296"/>
              <a:gd name="connsiteX104" fmla="*/ 235685 w 2169260"/>
              <a:gd name="connsiteY104" fmla="*/ 538588 h 2164296"/>
              <a:gd name="connsiteX105" fmla="*/ 249972 w 2169260"/>
              <a:gd name="connsiteY105" fmla="*/ 500488 h 2164296"/>
              <a:gd name="connsiteX106" fmla="*/ 264260 w 2169260"/>
              <a:gd name="connsiteY106" fmla="*/ 471913 h 2164296"/>
              <a:gd name="connsiteX107" fmla="*/ 273785 w 2169260"/>
              <a:gd name="connsiteY107" fmla="*/ 443338 h 2164296"/>
              <a:gd name="connsiteX108" fmla="*/ 283310 w 2169260"/>
              <a:gd name="connsiteY108" fmla="*/ 429050 h 2164296"/>
              <a:gd name="connsiteX109" fmla="*/ 292835 w 2169260"/>
              <a:gd name="connsiteY109" fmla="*/ 405238 h 2164296"/>
              <a:gd name="connsiteX110" fmla="*/ 311885 w 2169260"/>
              <a:gd name="connsiteY110" fmla="*/ 381425 h 2164296"/>
              <a:gd name="connsiteX111" fmla="*/ 330935 w 2169260"/>
              <a:gd name="connsiteY111" fmla="*/ 333800 h 2164296"/>
              <a:gd name="connsiteX112" fmla="*/ 359510 w 2169260"/>
              <a:gd name="connsiteY112" fmla="*/ 290938 h 2164296"/>
              <a:gd name="connsiteX113" fmla="*/ 383322 w 2169260"/>
              <a:gd name="connsiteY113" fmla="*/ 248075 h 2164296"/>
              <a:gd name="connsiteX114" fmla="*/ 397610 w 2169260"/>
              <a:gd name="connsiteY114" fmla="*/ 229025 h 2164296"/>
              <a:gd name="connsiteX115" fmla="*/ 421422 w 2169260"/>
              <a:gd name="connsiteY115" fmla="*/ 214738 h 2164296"/>
              <a:gd name="connsiteX116" fmla="*/ 445235 w 2169260"/>
              <a:gd name="connsiteY116" fmla="*/ 190925 h 2164296"/>
              <a:gd name="connsiteX117" fmla="*/ 459522 w 2169260"/>
              <a:gd name="connsiteY117" fmla="*/ 181400 h 2164296"/>
              <a:gd name="connsiteX118" fmla="*/ 492860 w 2169260"/>
              <a:gd name="connsiteY118" fmla="*/ 143300 h 2164296"/>
              <a:gd name="connsiteX119" fmla="*/ 507147 w 2169260"/>
              <a:gd name="connsiteY119" fmla="*/ 133775 h 2164296"/>
              <a:gd name="connsiteX120" fmla="*/ 616685 w 2169260"/>
              <a:gd name="connsiteY120" fmla="*/ 71863 h 2164296"/>
              <a:gd name="connsiteX121" fmla="*/ 630972 w 2169260"/>
              <a:gd name="connsiteY121" fmla="*/ 52813 h 2164296"/>
              <a:gd name="connsiteX122" fmla="*/ 650022 w 2169260"/>
              <a:gd name="connsiteY122" fmla="*/ 48050 h 2164296"/>
              <a:gd name="connsiteX123" fmla="*/ 673835 w 2169260"/>
              <a:gd name="connsiteY123" fmla="*/ 38525 h 2164296"/>
              <a:gd name="connsiteX124" fmla="*/ 716697 w 2169260"/>
              <a:gd name="connsiteY124" fmla="*/ 24238 h 2164296"/>
              <a:gd name="connsiteX125" fmla="*/ 745272 w 2169260"/>
              <a:gd name="connsiteY125" fmla="*/ 14713 h 2164296"/>
              <a:gd name="connsiteX126" fmla="*/ 792897 w 2169260"/>
              <a:gd name="connsiteY126" fmla="*/ 9950 h 2164296"/>
              <a:gd name="connsiteX127" fmla="*/ 864335 w 2169260"/>
              <a:gd name="connsiteY127" fmla="*/ 425 h 2164296"/>
              <a:gd name="connsiteX0" fmla="*/ 829383 w 2200983"/>
              <a:gd name="connsiteY0" fmla="*/ 425 h 2164296"/>
              <a:gd name="connsiteX1" fmla="*/ 981783 w 2200983"/>
              <a:gd name="connsiteY1" fmla="*/ 5188 h 2164296"/>
              <a:gd name="connsiteX2" fmla="*/ 1005595 w 2200983"/>
              <a:gd name="connsiteY2" fmla="*/ 9950 h 2164296"/>
              <a:gd name="connsiteX3" fmla="*/ 1072270 w 2200983"/>
              <a:gd name="connsiteY3" fmla="*/ 19475 h 2164296"/>
              <a:gd name="connsiteX4" fmla="*/ 1100845 w 2200983"/>
              <a:gd name="connsiteY4" fmla="*/ 24238 h 2164296"/>
              <a:gd name="connsiteX5" fmla="*/ 1124658 w 2200983"/>
              <a:gd name="connsiteY5" fmla="*/ 38525 h 2164296"/>
              <a:gd name="connsiteX6" fmla="*/ 1167520 w 2200983"/>
              <a:gd name="connsiteY6" fmla="*/ 48050 h 2164296"/>
              <a:gd name="connsiteX7" fmla="*/ 1186570 w 2200983"/>
              <a:gd name="connsiteY7" fmla="*/ 52813 h 2164296"/>
              <a:gd name="connsiteX8" fmla="*/ 1219908 w 2200983"/>
              <a:gd name="connsiteY8" fmla="*/ 57575 h 2164296"/>
              <a:gd name="connsiteX9" fmla="*/ 1315158 w 2200983"/>
              <a:gd name="connsiteY9" fmla="*/ 71863 h 2164296"/>
              <a:gd name="connsiteX10" fmla="*/ 1486608 w 2200983"/>
              <a:gd name="connsiteY10" fmla="*/ 109963 h 2164296"/>
              <a:gd name="connsiteX11" fmla="*/ 1510420 w 2200983"/>
              <a:gd name="connsiteY11" fmla="*/ 114725 h 2164296"/>
              <a:gd name="connsiteX12" fmla="*/ 1648533 w 2200983"/>
              <a:gd name="connsiteY12" fmla="*/ 124250 h 2164296"/>
              <a:gd name="connsiteX13" fmla="*/ 1681870 w 2200983"/>
              <a:gd name="connsiteY13" fmla="*/ 129013 h 2164296"/>
              <a:gd name="connsiteX14" fmla="*/ 1705683 w 2200983"/>
              <a:gd name="connsiteY14" fmla="*/ 133775 h 2164296"/>
              <a:gd name="connsiteX15" fmla="*/ 1753308 w 2200983"/>
              <a:gd name="connsiteY15" fmla="*/ 138538 h 2164296"/>
              <a:gd name="connsiteX16" fmla="*/ 1791408 w 2200983"/>
              <a:gd name="connsiteY16" fmla="*/ 152825 h 2164296"/>
              <a:gd name="connsiteX17" fmla="*/ 1805695 w 2200983"/>
              <a:gd name="connsiteY17" fmla="*/ 162350 h 2164296"/>
              <a:gd name="connsiteX18" fmla="*/ 1829508 w 2200983"/>
              <a:gd name="connsiteY18" fmla="*/ 167113 h 2164296"/>
              <a:gd name="connsiteX19" fmla="*/ 1853320 w 2200983"/>
              <a:gd name="connsiteY19" fmla="*/ 181400 h 2164296"/>
              <a:gd name="connsiteX20" fmla="*/ 1877133 w 2200983"/>
              <a:gd name="connsiteY20" fmla="*/ 190925 h 2164296"/>
              <a:gd name="connsiteX21" fmla="*/ 1891420 w 2200983"/>
              <a:gd name="connsiteY21" fmla="*/ 205213 h 2164296"/>
              <a:gd name="connsiteX22" fmla="*/ 1924758 w 2200983"/>
              <a:gd name="connsiteY22" fmla="*/ 229025 h 2164296"/>
              <a:gd name="connsiteX23" fmla="*/ 1977145 w 2200983"/>
              <a:gd name="connsiteY23" fmla="*/ 267125 h 2164296"/>
              <a:gd name="connsiteX24" fmla="*/ 2000958 w 2200983"/>
              <a:gd name="connsiteY24" fmla="*/ 295700 h 2164296"/>
              <a:gd name="connsiteX25" fmla="*/ 2034295 w 2200983"/>
              <a:gd name="connsiteY25" fmla="*/ 348088 h 2164296"/>
              <a:gd name="connsiteX26" fmla="*/ 2053345 w 2200983"/>
              <a:gd name="connsiteY26" fmla="*/ 410000 h 2164296"/>
              <a:gd name="connsiteX27" fmla="*/ 2062870 w 2200983"/>
              <a:gd name="connsiteY27" fmla="*/ 443338 h 2164296"/>
              <a:gd name="connsiteX28" fmla="*/ 2067633 w 2200983"/>
              <a:gd name="connsiteY28" fmla="*/ 457625 h 2164296"/>
              <a:gd name="connsiteX29" fmla="*/ 2077158 w 2200983"/>
              <a:gd name="connsiteY29" fmla="*/ 476675 h 2164296"/>
              <a:gd name="connsiteX30" fmla="*/ 2096208 w 2200983"/>
              <a:gd name="connsiteY30" fmla="*/ 548113 h 2164296"/>
              <a:gd name="connsiteX31" fmla="*/ 2110495 w 2200983"/>
              <a:gd name="connsiteY31" fmla="*/ 610025 h 2164296"/>
              <a:gd name="connsiteX32" fmla="*/ 2115258 w 2200983"/>
              <a:gd name="connsiteY32" fmla="*/ 914825 h 2164296"/>
              <a:gd name="connsiteX33" fmla="*/ 2153358 w 2200983"/>
              <a:gd name="connsiteY33" fmla="*/ 1086275 h 2164296"/>
              <a:gd name="connsiteX34" fmla="*/ 2158120 w 2200983"/>
              <a:gd name="connsiteY34" fmla="*/ 1148188 h 2164296"/>
              <a:gd name="connsiteX35" fmla="*/ 2172408 w 2200983"/>
              <a:gd name="connsiteY35" fmla="*/ 1191050 h 2164296"/>
              <a:gd name="connsiteX36" fmla="*/ 2177170 w 2200983"/>
              <a:gd name="connsiteY36" fmla="*/ 1224388 h 2164296"/>
              <a:gd name="connsiteX37" fmla="*/ 2196220 w 2200983"/>
              <a:gd name="connsiteY37" fmla="*/ 1276775 h 2164296"/>
              <a:gd name="connsiteX38" fmla="*/ 2200983 w 2200983"/>
              <a:gd name="connsiteY38" fmla="*/ 1300588 h 2164296"/>
              <a:gd name="connsiteX39" fmla="*/ 2196220 w 2200983"/>
              <a:gd name="connsiteY39" fmla="*/ 1514900 h 2164296"/>
              <a:gd name="connsiteX40" fmla="*/ 2186695 w 2200983"/>
              <a:gd name="connsiteY40" fmla="*/ 1529188 h 2164296"/>
              <a:gd name="connsiteX41" fmla="*/ 2177170 w 2200983"/>
              <a:gd name="connsiteY41" fmla="*/ 1562525 h 2164296"/>
              <a:gd name="connsiteX42" fmla="*/ 2167645 w 2200983"/>
              <a:gd name="connsiteY42" fmla="*/ 1576813 h 2164296"/>
              <a:gd name="connsiteX43" fmla="*/ 2162883 w 2200983"/>
              <a:gd name="connsiteY43" fmla="*/ 1600625 h 2164296"/>
              <a:gd name="connsiteX44" fmla="*/ 2148595 w 2200983"/>
              <a:gd name="connsiteY44" fmla="*/ 1614913 h 2164296"/>
              <a:gd name="connsiteX45" fmla="*/ 2139070 w 2200983"/>
              <a:gd name="connsiteY45" fmla="*/ 1629200 h 2164296"/>
              <a:gd name="connsiteX46" fmla="*/ 2110495 w 2200983"/>
              <a:gd name="connsiteY46" fmla="*/ 1657775 h 2164296"/>
              <a:gd name="connsiteX47" fmla="*/ 2081920 w 2200983"/>
              <a:gd name="connsiteY47" fmla="*/ 1686350 h 2164296"/>
              <a:gd name="connsiteX48" fmla="*/ 2072395 w 2200983"/>
              <a:gd name="connsiteY48" fmla="*/ 1700638 h 2164296"/>
              <a:gd name="connsiteX49" fmla="*/ 2058108 w 2200983"/>
              <a:gd name="connsiteY49" fmla="*/ 1710163 h 2164296"/>
              <a:gd name="connsiteX50" fmla="*/ 2034295 w 2200983"/>
              <a:gd name="connsiteY50" fmla="*/ 1724450 h 2164296"/>
              <a:gd name="connsiteX51" fmla="*/ 2010483 w 2200983"/>
              <a:gd name="connsiteY51" fmla="*/ 1743500 h 2164296"/>
              <a:gd name="connsiteX52" fmla="*/ 1939045 w 2200983"/>
              <a:gd name="connsiteY52" fmla="*/ 1772075 h 2164296"/>
              <a:gd name="connsiteX53" fmla="*/ 1919995 w 2200983"/>
              <a:gd name="connsiteY53" fmla="*/ 1786363 h 2164296"/>
              <a:gd name="connsiteX54" fmla="*/ 1872370 w 2200983"/>
              <a:gd name="connsiteY54" fmla="*/ 1814938 h 2164296"/>
              <a:gd name="connsiteX55" fmla="*/ 1858083 w 2200983"/>
              <a:gd name="connsiteY55" fmla="*/ 1833988 h 2164296"/>
              <a:gd name="connsiteX56" fmla="*/ 1805695 w 2200983"/>
              <a:gd name="connsiteY56" fmla="*/ 1862563 h 2164296"/>
              <a:gd name="connsiteX57" fmla="*/ 1662821 w 2200983"/>
              <a:gd name="connsiteY57" fmla="*/ 1891137 h 2164296"/>
              <a:gd name="connsiteX58" fmla="*/ 1415170 w 2200983"/>
              <a:gd name="connsiteY58" fmla="*/ 2014962 h 2164296"/>
              <a:gd name="connsiteX59" fmla="*/ 1362783 w 2200983"/>
              <a:gd name="connsiteY59" fmla="*/ 2053063 h 2164296"/>
              <a:gd name="connsiteX60" fmla="*/ 1348495 w 2200983"/>
              <a:gd name="connsiteY60" fmla="*/ 2062588 h 2164296"/>
              <a:gd name="connsiteX61" fmla="*/ 1310395 w 2200983"/>
              <a:gd name="connsiteY61" fmla="*/ 2072113 h 2164296"/>
              <a:gd name="connsiteX62" fmla="*/ 1286583 w 2200983"/>
              <a:gd name="connsiteY62" fmla="*/ 2086400 h 2164296"/>
              <a:gd name="connsiteX63" fmla="*/ 1234195 w 2200983"/>
              <a:gd name="connsiteY63" fmla="*/ 2100688 h 2164296"/>
              <a:gd name="connsiteX64" fmla="*/ 1191333 w 2200983"/>
              <a:gd name="connsiteY64" fmla="*/ 2119738 h 2164296"/>
              <a:gd name="connsiteX65" fmla="*/ 1172283 w 2200983"/>
              <a:gd name="connsiteY65" fmla="*/ 2134025 h 2164296"/>
              <a:gd name="connsiteX66" fmla="*/ 1100845 w 2200983"/>
              <a:gd name="connsiteY66" fmla="*/ 2148313 h 2164296"/>
              <a:gd name="connsiteX67" fmla="*/ 1072270 w 2200983"/>
              <a:gd name="connsiteY67" fmla="*/ 2162600 h 2164296"/>
              <a:gd name="connsiteX68" fmla="*/ 938920 w 2200983"/>
              <a:gd name="connsiteY68" fmla="*/ 2157838 h 2164296"/>
              <a:gd name="connsiteX69" fmla="*/ 829383 w 2200983"/>
              <a:gd name="connsiteY69" fmla="*/ 2105450 h 2164296"/>
              <a:gd name="connsiteX70" fmla="*/ 791283 w 2200983"/>
              <a:gd name="connsiteY70" fmla="*/ 2091163 h 2164296"/>
              <a:gd name="connsiteX71" fmla="*/ 743658 w 2200983"/>
              <a:gd name="connsiteY71" fmla="*/ 2062588 h 2164296"/>
              <a:gd name="connsiteX72" fmla="*/ 686508 w 2200983"/>
              <a:gd name="connsiteY72" fmla="*/ 2038775 h 2164296"/>
              <a:gd name="connsiteX73" fmla="*/ 653170 w 2200983"/>
              <a:gd name="connsiteY73" fmla="*/ 2005438 h 2164296"/>
              <a:gd name="connsiteX74" fmla="*/ 615070 w 2200983"/>
              <a:gd name="connsiteY74" fmla="*/ 1976863 h 2164296"/>
              <a:gd name="connsiteX75" fmla="*/ 600783 w 2200983"/>
              <a:gd name="connsiteY75" fmla="*/ 1957813 h 2164296"/>
              <a:gd name="connsiteX76" fmla="*/ 586495 w 2200983"/>
              <a:gd name="connsiteY76" fmla="*/ 1934000 h 2164296"/>
              <a:gd name="connsiteX77" fmla="*/ 553158 w 2200983"/>
              <a:gd name="connsiteY77" fmla="*/ 1895900 h 2164296"/>
              <a:gd name="connsiteX78" fmla="*/ 410283 w 2200983"/>
              <a:gd name="connsiteY78" fmla="*/ 1705400 h 2164296"/>
              <a:gd name="connsiteX79" fmla="*/ 395995 w 2200983"/>
              <a:gd name="connsiteY79" fmla="*/ 1686350 h 2164296"/>
              <a:gd name="connsiteX80" fmla="*/ 376945 w 2200983"/>
              <a:gd name="connsiteY80" fmla="*/ 1657775 h 2164296"/>
              <a:gd name="connsiteX81" fmla="*/ 319795 w 2200983"/>
              <a:gd name="connsiteY81" fmla="*/ 1600625 h 2164296"/>
              <a:gd name="connsiteX82" fmla="*/ 295983 w 2200983"/>
              <a:gd name="connsiteY82" fmla="*/ 1576813 h 2164296"/>
              <a:gd name="connsiteX83" fmla="*/ 281695 w 2200983"/>
              <a:gd name="connsiteY83" fmla="*/ 1562525 h 2164296"/>
              <a:gd name="connsiteX84" fmla="*/ 243595 w 2200983"/>
              <a:gd name="connsiteY84" fmla="*/ 1538713 h 2164296"/>
              <a:gd name="connsiteX85" fmla="*/ 219783 w 2200983"/>
              <a:gd name="connsiteY85" fmla="*/ 1510138 h 2164296"/>
              <a:gd name="connsiteX86" fmla="*/ 195970 w 2200983"/>
              <a:gd name="connsiteY86" fmla="*/ 1491088 h 2164296"/>
              <a:gd name="connsiteX87" fmla="*/ 176920 w 2200983"/>
              <a:gd name="connsiteY87" fmla="*/ 1462513 h 2164296"/>
              <a:gd name="connsiteX88" fmla="*/ 153108 w 2200983"/>
              <a:gd name="connsiteY88" fmla="*/ 1438700 h 2164296"/>
              <a:gd name="connsiteX89" fmla="*/ 143583 w 2200983"/>
              <a:gd name="connsiteY89" fmla="*/ 1424413 h 2164296"/>
              <a:gd name="connsiteX90" fmla="*/ 124533 w 2200983"/>
              <a:gd name="connsiteY90" fmla="*/ 1405363 h 2164296"/>
              <a:gd name="connsiteX91" fmla="*/ 105483 w 2200983"/>
              <a:gd name="connsiteY91" fmla="*/ 1376788 h 2164296"/>
              <a:gd name="connsiteX92" fmla="*/ 91195 w 2200983"/>
              <a:gd name="connsiteY92" fmla="*/ 1362500 h 2164296"/>
              <a:gd name="connsiteX93" fmla="*/ 81670 w 2200983"/>
              <a:gd name="connsiteY93" fmla="*/ 1348213 h 2164296"/>
              <a:gd name="connsiteX94" fmla="*/ 67383 w 2200983"/>
              <a:gd name="connsiteY94" fmla="*/ 1329163 h 2164296"/>
              <a:gd name="connsiteX95" fmla="*/ 62620 w 2200983"/>
              <a:gd name="connsiteY95" fmla="*/ 1305350 h 2164296"/>
              <a:gd name="connsiteX96" fmla="*/ 38808 w 2200983"/>
              <a:gd name="connsiteY96" fmla="*/ 1257725 h 2164296"/>
              <a:gd name="connsiteX97" fmla="*/ 34045 w 2200983"/>
              <a:gd name="connsiteY97" fmla="*/ 991025 h 2164296"/>
              <a:gd name="connsiteX98" fmla="*/ 72145 w 2200983"/>
              <a:gd name="connsiteY98" fmla="*/ 929113 h 2164296"/>
              <a:gd name="connsiteX99" fmla="*/ 95958 w 2200983"/>
              <a:gd name="connsiteY99" fmla="*/ 891013 h 2164296"/>
              <a:gd name="connsiteX100" fmla="*/ 115008 w 2200983"/>
              <a:gd name="connsiteY100" fmla="*/ 848150 h 2164296"/>
              <a:gd name="connsiteX101" fmla="*/ 176920 w 2200983"/>
              <a:gd name="connsiteY101" fmla="*/ 733850 h 2164296"/>
              <a:gd name="connsiteX102" fmla="*/ 238833 w 2200983"/>
              <a:gd name="connsiteY102" fmla="*/ 610025 h 2164296"/>
              <a:gd name="connsiteX103" fmla="*/ 243595 w 2200983"/>
              <a:gd name="connsiteY103" fmla="*/ 581450 h 2164296"/>
              <a:gd name="connsiteX104" fmla="*/ 267408 w 2200983"/>
              <a:gd name="connsiteY104" fmla="*/ 538588 h 2164296"/>
              <a:gd name="connsiteX105" fmla="*/ 281695 w 2200983"/>
              <a:gd name="connsiteY105" fmla="*/ 500488 h 2164296"/>
              <a:gd name="connsiteX106" fmla="*/ 295983 w 2200983"/>
              <a:gd name="connsiteY106" fmla="*/ 471913 h 2164296"/>
              <a:gd name="connsiteX107" fmla="*/ 305508 w 2200983"/>
              <a:gd name="connsiteY107" fmla="*/ 443338 h 2164296"/>
              <a:gd name="connsiteX108" fmla="*/ 315033 w 2200983"/>
              <a:gd name="connsiteY108" fmla="*/ 429050 h 2164296"/>
              <a:gd name="connsiteX109" fmla="*/ 324558 w 2200983"/>
              <a:gd name="connsiteY109" fmla="*/ 405238 h 2164296"/>
              <a:gd name="connsiteX110" fmla="*/ 343608 w 2200983"/>
              <a:gd name="connsiteY110" fmla="*/ 381425 h 2164296"/>
              <a:gd name="connsiteX111" fmla="*/ 362658 w 2200983"/>
              <a:gd name="connsiteY111" fmla="*/ 333800 h 2164296"/>
              <a:gd name="connsiteX112" fmla="*/ 391233 w 2200983"/>
              <a:gd name="connsiteY112" fmla="*/ 290938 h 2164296"/>
              <a:gd name="connsiteX113" fmla="*/ 415045 w 2200983"/>
              <a:gd name="connsiteY113" fmla="*/ 248075 h 2164296"/>
              <a:gd name="connsiteX114" fmla="*/ 429333 w 2200983"/>
              <a:gd name="connsiteY114" fmla="*/ 229025 h 2164296"/>
              <a:gd name="connsiteX115" fmla="*/ 453145 w 2200983"/>
              <a:gd name="connsiteY115" fmla="*/ 214738 h 2164296"/>
              <a:gd name="connsiteX116" fmla="*/ 476958 w 2200983"/>
              <a:gd name="connsiteY116" fmla="*/ 190925 h 2164296"/>
              <a:gd name="connsiteX117" fmla="*/ 491245 w 2200983"/>
              <a:gd name="connsiteY117" fmla="*/ 181400 h 2164296"/>
              <a:gd name="connsiteX118" fmla="*/ 524583 w 2200983"/>
              <a:gd name="connsiteY118" fmla="*/ 143300 h 2164296"/>
              <a:gd name="connsiteX119" fmla="*/ 538870 w 2200983"/>
              <a:gd name="connsiteY119" fmla="*/ 133775 h 2164296"/>
              <a:gd name="connsiteX120" fmla="*/ 648408 w 2200983"/>
              <a:gd name="connsiteY120" fmla="*/ 71863 h 2164296"/>
              <a:gd name="connsiteX121" fmla="*/ 662695 w 2200983"/>
              <a:gd name="connsiteY121" fmla="*/ 52813 h 2164296"/>
              <a:gd name="connsiteX122" fmla="*/ 681745 w 2200983"/>
              <a:gd name="connsiteY122" fmla="*/ 48050 h 2164296"/>
              <a:gd name="connsiteX123" fmla="*/ 705558 w 2200983"/>
              <a:gd name="connsiteY123" fmla="*/ 38525 h 2164296"/>
              <a:gd name="connsiteX124" fmla="*/ 748420 w 2200983"/>
              <a:gd name="connsiteY124" fmla="*/ 24238 h 2164296"/>
              <a:gd name="connsiteX125" fmla="*/ 776995 w 2200983"/>
              <a:gd name="connsiteY125" fmla="*/ 14713 h 2164296"/>
              <a:gd name="connsiteX126" fmla="*/ 824620 w 2200983"/>
              <a:gd name="connsiteY126" fmla="*/ 9950 h 2164296"/>
              <a:gd name="connsiteX127" fmla="*/ 896058 w 2200983"/>
              <a:gd name="connsiteY127" fmla="*/ 425 h 2164296"/>
              <a:gd name="connsiteX0" fmla="*/ 795412 w 2167012"/>
              <a:gd name="connsiteY0" fmla="*/ 425 h 2164296"/>
              <a:gd name="connsiteX1" fmla="*/ 947812 w 2167012"/>
              <a:gd name="connsiteY1" fmla="*/ 5188 h 2164296"/>
              <a:gd name="connsiteX2" fmla="*/ 971624 w 2167012"/>
              <a:gd name="connsiteY2" fmla="*/ 9950 h 2164296"/>
              <a:gd name="connsiteX3" fmla="*/ 1038299 w 2167012"/>
              <a:gd name="connsiteY3" fmla="*/ 19475 h 2164296"/>
              <a:gd name="connsiteX4" fmla="*/ 1066874 w 2167012"/>
              <a:gd name="connsiteY4" fmla="*/ 24238 h 2164296"/>
              <a:gd name="connsiteX5" fmla="*/ 1090687 w 2167012"/>
              <a:gd name="connsiteY5" fmla="*/ 38525 h 2164296"/>
              <a:gd name="connsiteX6" fmla="*/ 1133549 w 2167012"/>
              <a:gd name="connsiteY6" fmla="*/ 48050 h 2164296"/>
              <a:gd name="connsiteX7" fmla="*/ 1152599 w 2167012"/>
              <a:gd name="connsiteY7" fmla="*/ 52813 h 2164296"/>
              <a:gd name="connsiteX8" fmla="*/ 1185937 w 2167012"/>
              <a:gd name="connsiteY8" fmla="*/ 57575 h 2164296"/>
              <a:gd name="connsiteX9" fmla="*/ 1281187 w 2167012"/>
              <a:gd name="connsiteY9" fmla="*/ 71863 h 2164296"/>
              <a:gd name="connsiteX10" fmla="*/ 1452637 w 2167012"/>
              <a:gd name="connsiteY10" fmla="*/ 109963 h 2164296"/>
              <a:gd name="connsiteX11" fmla="*/ 1476449 w 2167012"/>
              <a:gd name="connsiteY11" fmla="*/ 114725 h 2164296"/>
              <a:gd name="connsiteX12" fmla="*/ 1614562 w 2167012"/>
              <a:gd name="connsiteY12" fmla="*/ 124250 h 2164296"/>
              <a:gd name="connsiteX13" fmla="*/ 1647899 w 2167012"/>
              <a:gd name="connsiteY13" fmla="*/ 129013 h 2164296"/>
              <a:gd name="connsiteX14" fmla="*/ 1671712 w 2167012"/>
              <a:gd name="connsiteY14" fmla="*/ 133775 h 2164296"/>
              <a:gd name="connsiteX15" fmla="*/ 1719337 w 2167012"/>
              <a:gd name="connsiteY15" fmla="*/ 138538 h 2164296"/>
              <a:gd name="connsiteX16" fmla="*/ 1757437 w 2167012"/>
              <a:gd name="connsiteY16" fmla="*/ 152825 h 2164296"/>
              <a:gd name="connsiteX17" fmla="*/ 1771724 w 2167012"/>
              <a:gd name="connsiteY17" fmla="*/ 162350 h 2164296"/>
              <a:gd name="connsiteX18" fmla="*/ 1795537 w 2167012"/>
              <a:gd name="connsiteY18" fmla="*/ 167113 h 2164296"/>
              <a:gd name="connsiteX19" fmla="*/ 1819349 w 2167012"/>
              <a:gd name="connsiteY19" fmla="*/ 181400 h 2164296"/>
              <a:gd name="connsiteX20" fmla="*/ 1843162 w 2167012"/>
              <a:gd name="connsiteY20" fmla="*/ 190925 h 2164296"/>
              <a:gd name="connsiteX21" fmla="*/ 1857449 w 2167012"/>
              <a:gd name="connsiteY21" fmla="*/ 205213 h 2164296"/>
              <a:gd name="connsiteX22" fmla="*/ 1890787 w 2167012"/>
              <a:gd name="connsiteY22" fmla="*/ 229025 h 2164296"/>
              <a:gd name="connsiteX23" fmla="*/ 1943174 w 2167012"/>
              <a:gd name="connsiteY23" fmla="*/ 267125 h 2164296"/>
              <a:gd name="connsiteX24" fmla="*/ 1966987 w 2167012"/>
              <a:gd name="connsiteY24" fmla="*/ 295700 h 2164296"/>
              <a:gd name="connsiteX25" fmla="*/ 2000324 w 2167012"/>
              <a:gd name="connsiteY25" fmla="*/ 348088 h 2164296"/>
              <a:gd name="connsiteX26" fmla="*/ 2019374 w 2167012"/>
              <a:gd name="connsiteY26" fmla="*/ 410000 h 2164296"/>
              <a:gd name="connsiteX27" fmla="*/ 2028899 w 2167012"/>
              <a:gd name="connsiteY27" fmla="*/ 443338 h 2164296"/>
              <a:gd name="connsiteX28" fmla="*/ 2033662 w 2167012"/>
              <a:gd name="connsiteY28" fmla="*/ 457625 h 2164296"/>
              <a:gd name="connsiteX29" fmla="*/ 2043187 w 2167012"/>
              <a:gd name="connsiteY29" fmla="*/ 476675 h 2164296"/>
              <a:gd name="connsiteX30" fmla="*/ 2062237 w 2167012"/>
              <a:gd name="connsiteY30" fmla="*/ 548113 h 2164296"/>
              <a:gd name="connsiteX31" fmla="*/ 2076524 w 2167012"/>
              <a:gd name="connsiteY31" fmla="*/ 610025 h 2164296"/>
              <a:gd name="connsiteX32" fmla="*/ 2081287 w 2167012"/>
              <a:gd name="connsiteY32" fmla="*/ 914825 h 2164296"/>
              <a:gd name="connsiteX33" fmla="*/ 2119387 w 2167012"/>
              <a:gd name="connsiteY33" fmla="*/ 1086275 h 2164296"/>
              <a:gd name="connsiteX34" fmla="*/ 2124149 w 2167012"/>
              <a:gd name="connsiteY34" fmla="*/ 1148188 h 2164296"/>
              <a:gd name="connsiteX35" fmla="*/ 2138437 w 2167012"/>
              <a:gd name="connsiteY35" fmla="*/ 1191050 h 2164296"/>
              <a:gd name="connsiteX36" fmla="*/ 2143199 w 2167012"/>
              <a:gd name="connsiteY36" fmla="*/ 1224388 h 2164296"/>
              <a:gd name="connsiteX37" fmla="*/ 2162249 w 2167012"/>
              <a:gd name="connsiteY37" fmla="*/ 1276775 h 2164296"/>
              <a:gd name="connsiteX38" fmla="*/ 2167012 w 2167012"/>
              <a:gd name="connsiteY38" fmla="*/ 1300588 h 2164296"/>
              <a:gd name="connsiteX39" fmla="*/ 2162249 w 2167012"/>
              <a:gd name="connsiteY39" fmla="*/ 1514900 h 2164296"/>
              <a:gd name="connsiteX40" fmla="*/ 2152724 w 2167012"/>
              <a:gd name="connsiteY40" fmla="*/ 1529188 h 2164296"/>
              <a:gd name="connsiteX41" fmla="*/ 2143199 w 2167012"/>
              <a:gd name="connsiteY41" fmla="*/ 1562525 h 2164296"/>
              <a:gd name="connsiteX42" fmla="*/ 2133674 w 2167012"/>
              <a:gd name="connsiteY42" fmla="*/ 1576813 h 2164296"/>
              <a:gd name="connsiteX43" fmla="*/ 2128912 w 2167012"/>
              <a:gd name="connsiteY43" fmla="*/ 1600625 h 2164296"/>
              <a:gd name="connsiteX44" fmla="*/ 2114624 w 2167012"/>
              <a:gd name="connsiteY44" fmla="*/ 1614913 h 2164296"/>
              <a:gd name="connsiteX45" fmla="*/ 2105099 w 2167012"/>
              <a:gd name="connsiteY45" fmla="*/ 1629200 h 2164296"/>
              <a:gd name="connsiteX46" fmla="*/ 2076524 w 2167012"/>
              <a:gd name="connsiteY46" fmla="*/ 1657775 h 2164296"/>
              <a:gd name="connsiteX47" fmla="*/ 2047949 w 2167012"/>
              <a:gd name="connsiteY47" fmla="*/ 1686350 h 2164296"/>
              <a:gd name="connsiteX48" fmla="*/ 2038424 w 2167012"/>
              <a:gd name="connsiteY48" fmla="*/ 1700638 h 2164296"/>
              <a:gd name="connsiteX49" fmla="*/ 2024137 w 2167012"/>
              <a:gd name="connsiteY49" fmla="*/ 1710163 h 2164296"/>
              <a:gd name="connsiteX50" fmla="*/ 2000324 w 2167012"/>
              <a:gd name="connsiteY50" fmla="*/ 1724450 h 2164296"/>
              <a:gd name="connsiteX51" fmla="*/ 1976512 w 2167012"/>
              <a:gd name="connsiteY51" fmla="*/ 1743500 h 2164296"/>
              <a:gd name="connsiteX52" fmla="*/ 1905074 w 2167012"/>
              <a:gd name="connsiteY52" fmla="*/ 1772075 h 2164296"/>
              <a:gd name="connsiteX53" fmla="*/ 1886024 w 2167012"/>
              <a:gd name="connsiteY53" fmla="*/ 1786363 h 2164296"/>
              <a:gd name="connsiteX54" fmla="*/ 1838399 w 2167012"/>
              <a:gd name="connsiteY54" fmla="*/ 1814938 h 2164296"/>
              <a:gd name="connsiteX55" fmla="*/ 1824112 w 2167012"/>
              <a:gd name="connsiteY55" fmla="*/ 1833988 h 2164296"/>
              <a:gd name="connsiteX56" fmla="*/ 1771724 w 2167012"/>
              <a:gd name="connsiteY56" fmla="*/ 1862563 h 2164296"/>
              <a:gd name="connsiteX57" fmla="*/ 1628850 w 2167012"/>
              <a:gd name="connsiteY57" fmla="*/ 1891137 h 2164296"/>
              <a:gd name="connsiteX58" fmla="*/ 1381199 w 2167012"/>
              <a:gd name="connsiteY58" fmla="*/ 2014962 h 2164296"/>
              <a:gd name="connsiteX59" fmla="*/ 1328812 w 2167012"/>
              <a:gd name="connsiteY59" fmla="*/ 2053063 h 2164296"/>
              <a:gd name="connsiteX60" fmla="*/ 1314524 w 2167012"/>
              <a:gd name="connsiteY60" fmla="*/ 2062588 h 2164296"/>
              <a:gd name="connsiteX61" fmla="*/ 1276424 w 2167012"/>
              <a:gd name="connsiteY61" fmla="*/ 2072113 h 2164296"/>
              <a:gd name="connsiteX62" fmla="*/ 1252612 w 2167012"/>
              <a:gd name="connsiteY62" fmla="*/ 2086400 h 2164296"/>
              <a:gd name="connsiteX63" fmla="*/ 1200224 w 2167012"/>
              <a:gd name="connsiteY63" fmla="*/ 2100688 h 2164296"/>
              <a:gd name="connsiteX64" fmla="*/ 1157362 w 2167012"/>
              <a:gd name="connsiteY64" fmla="*/ 2119738 h 2164296"/>
              <a:gd name="connsiteX65" fmla="*/ 1138312 w 2167012"/>
              <a:gd name="connsiteY65" fmla="*/ 2134025 h 2164296"/>
              <a:gd name="connsiteX66" fmla="*/ 1066874 w 2167012"/>
              <a:gd name="connsiteY66" fmla="*/ 2148313 h 2164296"/>
              <a:gd name="connsiteX67" fmla="*/ 1038299 w 2167012"/>
              <a:gd name="connsiteY67" fmla="*/ 2162600 h 2164296"/>
              <a:gd name="connsiteX68" fmla="*/ 904949 w 2167012"/>
              <a:gd name="connsiteY68" fmla="*/ 2157838 h 2164296"/>
              <a:gd name="connsiteX69" fmla="*/ 795412 w 2167012"/>
              <a:gd name="connsiteY69" fmla="*/ 2105450 h 2164296"/>
              <a:gd name="connsiteX70" fmla="*/ 757312 w 2167012"/>
              <a:gd name="connsiteY70" fmla="*/ 2091163 h 2164296"/>
              <a:gd name="connsiteX71" fmla="*/ 709687 w 2167012"/>
              <a:gd name="connsiteY71" fmla="*/ 2062588 h 2164296"/>
              <a:gd name="connsiteX72" fmla="*/ 652537 w 2167012"/>
              <a:gd name="connsiteY72" fmla="*/ 2038775 h 2164296"/>
              <a:gd name="connsiteX73" fmla="*/ 619199 w 2167012"/>
              <a:gd name="connsiteY73" fmla="*/ 2005438 h 2164296"/>
              <a:gd name="connsiteX74" fmla="*/ 581099 w 2167012"/>
              <a:gd name="connsiteY74" fmla="*/ 1976863 h 2164296"/>
              <a:gd name="connsiteX75" fmla="*/ 566812 w 2167012"/>
              <a:gd name="connsiteY75" fmla="*/ 1957813 h 2164296"/>
              <a:gd name="connsiteX76" fmla="*/ 552524 w 2167012"/>
              <a:gd name="connsiteY76" fmla="*/ 1934000 h 2164296"/>
              <a:gd name="connsiteX77" fmla="*/ 519187 w 2167012"/>
              <a:gd name="connsiteY77" fmla="*/ 1895900 h 2164296"/>
              <a:gd name="connsiteX78" fmla="*/ 376312 w 2167012"/>
              <a:gd name="connsiteY78" fmla="*/ 1705400 h 2164296"/>
              <a:gd name="connsiteX79" fmla="*/ 362024 w 2167012"/>
              <a:gd name="connsiteY79" fmla="*/ 1686350 h 2164296"/>
              <a:gd name="connsiteX80" fmla="*/ 342974 w 2167012"/>
              <a:gd name="connsiteY80" fmla="*/ 1657775 h 2164296"/>
              <a:gd name="connsiteX81" fmla="*/ 285824 w 2167012"/>
              <a:gd name="connsiteY81" fmla="*/ 1600625 h 2164296"/>
              <a:gd name="connsiteX82" fmla="*/ 262012 w 2167012"/>
              <a:gd name="connsiteY82" fmla="*/ 1576813 h 2164296"/>
              <a:gd name="connsiteX83" fmla="*/ 247724 w 2167012"/>
              <a:gd name="connsiteY83" fmla="*/ 1562525 h 2164296"/>
              <a:gd name="connsiteX84" fmla="*/ 209624 w 2167012"/>
              <a:gd name="connsiteY84" fmla="*/ 1538713 h 2164296"/>
              <a:gd name="connsiteX85" fmla="*/ 185812 w 2167012"/>
              <a:gd name="connsiteY85" fmla="*/ 1510138 h 2164296"/>
              <a:gd name="connsiteX86" fmla="*/ 161999 w 2167012"/>
              <a:gd name="connsiteY86" fmla="*/ 1491088 h 2164296"/>
              <a:gd name="connsiteX87" fmla="*/ 142949 w 2167012"/>
              <a:gd name="connsiteY87" fmla="*/ 1462513 h 2164296"/>
              <a:gd name="connsiteX88" fmla="*/ 119137 w 2167012"/>
              <a:gd name="connsiteY88" fmla="*/ 1438700 h 2164296"/>
              <a:gd name="connsiteX89" fmla="*/ 109612 w 2167012"/>
              <a:gd name="connsiteY89" fmla="*/ 1424413 h 2164296"/>
              <a:gd name="connsiteX90" fmla="*/ 90562 w 2167012"/>
              <a:gd name="connsiteY90" fmla="*/ 1405363 h 2164296"/>
              <a:gd name="connsiteX91" fmla="*/ 71512 w 2167012"/>
              <a:gd name="connsiteY91" fmla="*/ 1376788 h 2164296"/>
              <a:gd name="connsiteX92" fmla="*/ 57224 w 2167012"/>
              <a:gd name="connsiteY92" fmla="*/ 1362500 h 2164296"/>
              <a:gd name="connsiteX93" fmla="*/ 47699 w 2167012"/>
              <a:gd name="connsiteY93" fmla="*/ 1348213 h 2164296"/>
              <a:gd name="connsiteX94" fmla="*/ 33412 w 2167012"/>
              <a:gd name="connsiteY94" fmla="*/ 1329163 h 2164296"/>
              <a:gd name="connsiteX95" fmla="*/ 28649 w 2167012"/>
              <a:gd name="connsiteY95" fmla="*/ 1305350 h 2164296"/>
              <a:gd name="connsiteX96" fmla="*/ 74 w 2167012"/>
              <a:gd name="connsiteY96" fmla="*/ 991025 h 2164296"/>
              <a:gd name="connsiteX97" fmla="*/ 38174 w 2167012"/>
              <a:gd name="connsiteY97" fmla="*/ 929113 h 2164296"/>
              <a:gd name="connsiteX98" fmla="*/ 61987 w 2167012"/>
              <a:gd name="connsiteY98" fmla="*/ 891013 h 2164296"/>
              <a:gd name="connsiteX99" fmla="*/ 81037 w 2167012"/>
              <a:gd name="connsiteY99" fmla="*/ 848150 h 2164296"/>
              <a:gd name="connsiteX100" fmla="*/ 142949 w 2167012"/>
              <a:gd name="connsiteY100" fmla="*/ 733850 h 2164296"/>
              <a:gd name="connsiteX101" fmla="*/ 204862 w 2167012"/>
              <a:gd name="connsiteY101" fmla="*/ 610025 h 2164296"/>
              <a:gd name="connsiteX102" fmla="*/ 209624 w 2167012"/>
              <a:gd name="connsiteY102" fmla="*/ 581450 h 2164296"/>
              <a:gd name="connsiteX103" fmla="*/ 233437 w 2167012"/>
              <a:gd name="connsiteY103" fmla="*/ 538588 h 2164296"/>
              <a:gd name="connsiteX104" fmla="*/ 247724 w 2167012"/>
              <a:gd name="connsiteY104" fmla="*/ 500488 h 2164296"/>
              <a:gd name="connsiteX105" fmla="*/ 262012 w 2167012"/>
              <a:gd name="connsiteY105" fmla="*/ 471913 h 2164296"/>
              <a:gd name="connsiteX106" fmla="*/ 271537 w 2167012"/>
              <a:gd name="connsiteY106" fmla="*/ 443338 h 2164296"/>
              <a:gd name="connsiteX107" fmla="*/ 281062 w 2167012"/>
              <a:gd name="connsiteY107" fmla="*/ 429050 h 2164296"/>
              <a:gd name="connsiteX108" fmla="*/ 290587 w 2167012"/>
              <a:gd name="connsiteY108" fmla="*/ 405238 h 2164296"/>
              <a:gd name="connsiteX109" fmla="*/ 309637 w 2167012"/>
              <a:gd name="connsiteY109" fmla="*/ 381425 h 2164296"/>
              <a:gd name="connsiteX110" fmla="*/ 328687 w 2167012"/>
              <a:gd name="connsiteY110" fmla="*/ 333800 h 2164296"/>
              <a:gd name="connsiteX111" fmla="*/ 357262 w 2167012"/>
              <a:gd name="connsiteY111" fmla="*/ 290938 h 2164296"/>
              <a:gd name="connsiteX112" fmla="*/ 381074 w 2167012"/>
              <a:gd name="connsiteY112" fmla="*/ 248075 h 2164296"/>
              <a:gd name="connsiteX113" fmla="*/ 395362 w 2167012"/>
              <a:gd name="connsiteY113" fmla="*/ 229025 h 2164296"/>
              <a:gd name="connsiteX114" fmla="*/ 419174 w 2167012"/>
              <a:gd name="connsiteY114" fmla="*/ 214738 h 2164296"/>
              <a:gd name="connsiteX115" fmla="*/ 442987 w 2167012"/>
              <a:gd name="connsiteY115" fmla="*/ 190925 h 2164296"/>
              <a:gd name="connsiteX116" fmla="*/ 457274 w 2167012"/>
              <a:gd name="connsiteY116" fmla="*/ 181400 h 2164296"/>
              <a:gd name="connsiteX117" fmla="*/ 490612 w 2167012"/>
              <a:gd name="connsiteY117" fmla="*/ 143300 h 2164296"/>
              <a:gd name="connsiteX118" fmla="*/ 504899 w 2167012"/>
              <a:gd name="connsiteY118" fmla="*/ 133775 h 2164296"/>
              <a:gd name="connsiteX119" fmla="*/ 614437 w 2167012"/>
              <a:gd name="connsiteY119" fmla="*/ 71863 h 2164296"/>
              <a:gd name="connsiteX120" fmla="*/ 628724 w 2167012"/>
              <a:gd name="connsiteY120" fmla="*/ 52813 h 2164296"/>
              <a:gd name="connsiteX121" fmla="*/ 647774 w 2167012"/>
              <a:gd name="connsiteY121" fmla="*/ 48050 h 2164296"/>
              <a:gd name="connsiteX122" fmla="*/ 671587 w 2167012"/>
              <a:gd name="connsiteY122" fmla="*/ 38525 h 2164296"/>
              <a:gd name="connsiteX123" fmla="*/ 714449 w 2167012"/>
              <a:gd name="connsiteY123" fmla="*/ 24238 h 2164296"/>
              <a:gd name="connsiteX124" fmla="*/ 743024 w 2167012"/>
              <a:gd name="connsiteY124" fmla="*/ 14713 h 2164296"/>
              <a:gd name="connsiteX125" fmla="*/ 790649 w 2167012"/>
              <a:gd name="connsiteY125" fmla="*/ 9950 h 2164296"/>
              <a:gd name="connsiteX126" fmla="*/ 862087 w 2167012"/>
              <a:gd name="connsiteY126" fmla="*/ 425 h 2164296"/>
              <a:gd name="connsiteX0" fmla="*/ 826759 w 2198359"/>
              <a:gd name="connsiteY0" fmla="*/ 425 h 2164296"/>
              <a:gd name="connsiteX1" fmla="*/ 979159 w 2198359"/>
              <a:gd name="connsiteY1" fmla="*/ 5188 h 2164296"/>
              <a:gd name="connsiteX2" fmla="*/ 1002971 w 2198359"/>
              <a:gd name="connsiteY2" fmla="*/ 9950 h 2164296"/>
              <a:gd name="connsiteX3" fmla="*/ 1069646 w 2198359"/>
              <a:gd name="connsiteY3" fmla="*/ 19475 h 2164296"/>
              <a:gd name="connsiteX4" fmla="*/ 1098221 w 2198359"/>
              <a:gd name="connsiteY4" fmla="*/ 24238 h 2164296"/>
              <a:gd name="connsiteX5" fmla="*/ 1122034 w 2198359"/>
              <a:gd name="connsiteY5" fmla="*/ 38525 h 2164296"/>
              <a:gd name="connsiteX6" fmla="*/ 1164896 w 2198359"/>
              <a:gd name="connsiteY6" fmla="*/ 48050 h 2164296"/>
              <a:gd name="connsiteX7" fmla="*/ 1183946 w 2198359"/>
              <a:gd name="connsiteY7" fmla="*/ 52813 h 2164296"/>
              <a:gd name="connsiteX8" fmla="*/ 1217284 w 2198359"/>
              <a:gd name="connsiteY8" fmla="*/ 57575 h 2164296"/>
              <a:gd name="connsiteX9" fmla="*/ 1312534 w 2198359"/>
              <a:gd name="connsiteY9" fmla="*/ 71863 h 2164296"/>
              <a:gd name="connsiteX10" fmla="*/ 1483984 w 2198359"/>
              <a:gd name="connsiteY10" fmla="*/ 109963 h 2164296"/>
              <a:gd name="connsiteX11" fmla="*/ 1507796 w 2198359"/>
              <a:gd name="connsiteY11" fmla="*/ 114725 h 2164296"/>
              <a:gd name="connsiteX12" fmla="*/ 1645909 w 2198359"/>
              <a:gd name="connsiteY12" fmla="*/ 124250 h 2164296"/>
              <a:gd name="connsiteX13" fmla="*/ 1679246 w 2198359"/>
              <a:gd name="connsiteY13" fmla="*/ 129013 h 2164296"/>
              <a:gd name="connsiteX14" fmla="*/ 1703059 w 2198359"/>
              <a:gd name="connsiteY14" fmla="*/ 133775 h 2164296"/>
              <a:gd name="connsiteX15" fmla="*/ 1750684 w 2198359"/>
              <a:gd name="connsiteY15" fmla="*/ 138538 h 2164296"/>
              <a:gd name="connsiteX16" fmla="*/ 1788784 w 2198359"/>
              <a:gd name="connsiteY16" fmla="*/ 152825 h 2164296"/>
              <a:gd name="connsiteX17" fmla="*/ 1803071 w 2198359"/>
              <a:gd name="connsiteY17" fmla="*/ 162350 h 2164296"/>
              <a:gd name="connsiteX18" fmla="*/ 1826884 w 2198359"/>
              <a:gd name="connsiteY18" fmla="*/ 167113 h 2164296"/>
              <a:gd name="connsiteX19" fmla="*/ 1850696 w 2198359"/>
              <a:gd name="connsiteY19" fmla="*/ 181400 h 2164296"/>
              <a:gd name="connsiteX20" fmla="*/ 1874509 w 2198359"/>
              <a:gd name="connsiteY20" fmla="*/ 190925 h 2164296"/>
              <a:gd name="connsiteX21" fmla="*/ 1888796 w 2198359"/>
              <a:gd name="connsiteY21" fmla="*/ 205213 h 2164296"/>
              <a:gd name="connsiteX22" fmla="*/ 1922134 w 2198359"/>
              <a:gd name="connsiteY22" fmla="*/ 229025 h 2164296"/>
              <a:gd name="connsiteX23" fmla="*/ 1974521 w 2198359"/>
              <a:gd name="connsiteY23" fmla="*/ 267125 h 2164296"/>
              <a:gd name="connsiteX24" fmla="*/ 1998334 w 2198359"/>
              <a:gd name="connsiteY24" fmla="*/ 295700 h 2164296"/>
              <a:gd name="connsiteX25" fmla="*/ 2031671 w 2198359"/>
              <a:gd name="connsiteY25" fmla="*/ 348088 h 2164296"/>
              <a:gd name="connsiteX26" fmla="*/ 2050721 w 2198359"/>
              <a:gd name="connsiteY26" fmla="*/ 410000 h 2164296"/>
              <a:gd name="connsiteX27" fmla="*/ 2060246 w 2198359"/>
              <a:gd name="connsiteY27" fmla="*/ 443338 h 2164296"/>
              <a:gd name="connsiteX28" fmla="*/ 2065009 w 2198359"/>
              <a:gd name="connsiteY28" fmla="*/ 457625 h 2164296"/>
              <a:gd name="connsiteX29" fmla="*/ 2074534 w 2198359"/>
              <a:gd name="connsiteY29" fmla="*/ 476675 h 2164296"/>
              <a:gd name="connsiteX30" fmla="*/ 2093584 w 2198359"/>
              <a:gd name="connsiteY30" fmla="*/ 548113 h 2164296"/>
              <a:gd name="connsiteX31" fmla="*/ 2107871 w 2198359"/>
              <a:gd name="connsiteY31" fmla="*/ 610025 h 2164296"/>
              <a:gd name="connsiteX32" fmla="*/ 2112634 w 2198359"/>
              <a:gd name="connsiteY32" fmla="*/ 914825 h 2164296"/>
              <a:gd name="connsiteX33" fmla="*/ 2150734 w 2198359"/>
              <a:gd name="connsiteY33" fmla="*/ 1086275 h 2164296"/>
              <a:gd name="connsiteX34" fmla="*/ 2155496 w 2198359"/>
              <a:gd name="connsiteY34" fmla="*/ 1148188 h 2164296"/>
              <a:gd name="connsiteX35" fmla="*/ 2169784 w 2198359"/>
              <a:gd name="connsiteY35" fmla="*/ 1191050 h 2164296"/>
              <a:gd name="connsiteX36" fmla="*/ 2174546 w 2198359"/>
              <a:gd name="connsiteY36" fmla="*/ 1224388 h 2164296"/>
              <a:gd name="connsiteX37" fmla="*/ 2193596 w 2198359"/>
              <a:gd name="connsiteY37" fmla="*/ 1276775 h 2164296"/>
              <a:gd name="connsiteX38" fmla="*/ 2198359 w 2198359"/>
              <a:gd name="connsiteY38" fmla="*/ 1300588 h 2164296"/>
              <a:gd name="connsiteX39" fmla="*/ 2193596 w 2198359"/>
              <a:gd name="connsiteY39" fmla="*/ 1514900 h 2164296"/>
              <a:gd name="connsiteX40" fmla="*/ 2184071 w 2198359"/>
              <a:gd name="connsiteY40" fmla="*/ 1529188 h 2164296"/>
              <a:gd name="connsiteX41" fmla="*/ 2174546 w 2198359"/>
              <a:gd name="connsiteY41" fmla="*/ 1562525 h 2164296"/>
              <a:gd name="connsiteX42" fmla="*/ 2165021 w 2198359"/>
              <a:gd name="connsiteY42" fmla="*/ 1576813 h 2164296"/>
              <a:gd name="connsiteX43" fmla="*/ 2160259 w 2198359"/>
              <a:gd name="connsiteY43" fmla="*/ 1600625 h 2164296"/>
              <a:gd name="connsiteX44" fmla="*/ 2145971 w 2198359"/>
              <a:gd name="connsiteY44" fmla="*/ 1614913 h 2164296"/>
              <a:gd name="connsiteX45" fmla="*/ 2136446 w 2198359"/>
              <a:gd name="connsiteY45" fmla="*/ 1629200 h 2164296"/>
              <a:gd name="connsiteX46" fmla="*/ 2107871 w 2198359"/>
              <a:gd name="connsiteY46" fmla="*/ 1657775 h 2164296"/>
              <a:gd name="connsiteX47" fmla="*/ 2079296 w 2198359"/>
              <a:gd name="connsiteY47" fmla="*/ 1686350 h 2164296"/>
              <a:gd name="connsiteX48" fmla="*/ 2069771 w 2198359"/>
              <a:gd name="connsiteY48" fmla="*/ 1700638 h 2164296"/>
              <a:gd name="connsiteX49" fmla="*/ 2055484 w 2198359"/>
              <a:gd name="connsiteY49" fmla="*/ 1710163 h 2164296"/>
              <a:gd name="connsiteX50" fmla="*/ 2031671 w 2198359"/>
              <a:gd name="connsiteY50" fmla="*/ 1724450 h 2164296"/>
              <a:gd name="connsiteX51" fmla="*/ 2007859 w 2198359"/>
              <a:gd name="connsiteY51" fmla="*/ 1743500 h 2164296"/>
              <a:gd name="connsiteX52" fmla="*/ 1936421 w 2198359"/>
              <a:gd name="connsiteY52" fmla="*/ 1772075 h 2164296"/>
              <a:gd name="connsiteX53" fmla="*/ 1917371 w 2198359"/>
              <a:gd name="connsiteY53" fmla="*/ 1786363 h 2164296"/>
              <a:gd name="connsiteX54" fmla="*/ 1869746 w 2198359"/>
              <a:gd name="connsiteY54" fmla="*/ 1814938 h 2164296"/>
              <a:gd name="connsiteX55" fmla="*/ 1855459 w 2198359"/>
              <a:gd name="connsiteY55" fmla="*/ 1833988 h 2164296"/>
              <a:gd name="connsiteX56" fmla="*/ 1803071 w 2198359"/>
              <a:gd name="connsiteY56" fmla="*/ 1862563 h 2164296"/>
              <a:gd name="connsiteX57" fmla="*/ 1660197 w 2198359"/>
              <a:gd name="connsiteY57" fmla="*/ 1891137 h 2164296"/>
              <a:gd name="connsiteX58" fmla="*/ 1412546 w 2198359"/>
              <a:gd name="connsiteY58" fmla="*/ 2014962 h 2164296"/>
              <a:gd name="connsiteX59" fmla="*/ 1360159 w 2198359"/>
              <a:gd name="connsiteY59" fmla="*/ 2053063 h 2164296"/>
              <a:gd name="connsiteX60" fmla="*/ 1345871 w 2198359"/>
              <a:gd name="connsiteY60" fmla="*/ 2062588 h 2164296"/>
              <a:gd name="connsiteX61" fmla="*/ 1307771 w 2198359"/>
              <a:gd name="connsiteY61" fmla="*/ 2072113 h 2164296"/>
              <a:gd name="connsiteX62" fmla="*/ 1283959 w 2198359"/>
              <a:gd name="connsiteY62" fmla="*/ 2086400 h 2164296"/>
              <a:gd name="connsiteX63" fmla="*/ 1231571 w 2198359"/>
              <a:gd name="connsiteY63" fmla="*/ 2100688 h 2164296"/>
              <a:gd name="connsiteX64" fmla="*/ 1188709 w 2198359"/>
              <a:gd name="connsiteY64" fmla="*/ 2119738 h 2164296"/>
              <a:gd name="connsiteX65" fmla="*/ 1169659 w 2198359"/>
              <a:gd name="connsiteY65" fmla="*/ 2134025 h 2164296"/>
              <a:gd name="connsiteX66" fmla="*/ 1098221 w 2198359"/>
              <a:gd name="connsiteY66" fmla="*/ 2148313 h 2164296"/>
              <a:gd name="connsiteX67" fmla="*/ 1069646 w 2198359"/>
              <a:gd name="connsiteY67" fmla="*/ 2162600 h 2164296"/>
              <a:gd name="connsiteX68" fmla="*/ 936296 w 2198359"/>
              <a:gd name="connsiteY68" fmla="*/ 2157838 h 2164296"/>
              <a:gd name="connsiteX69" fmla="*/ 826759 w 2198359"/>
              <a:gd name="connsiteY69" fmla="*/ 2105450 h 2164296"/>
              <a:gd name="connsiteX70" fmla="*/ 788659 w 2198359"/>
              <a:gd name="connsiteY70" fmla="*/ 2091163 h 2164296"/>
              <a:gd name="connsiteX71" fmla="*/ 741034 w 2198359"/>
              <a:gd name="connsiteY71" fmla="*/ 2062588 h 2164296"/>
              <a:gd name="connsiteX72" fmla="*/ 683884 w 2198359"/>
              <a:gd name="connsiteY72" fmla="*/ 2038775 h 2164296"/>
              <a:gd name="connsiteX73" fmla="*/ 650546 w 2198359"/>
              <a:gd name="connsiteY73" fmla="*/ 2005438 h 2164296"/>
              <a:gd name="connsiteX74" fmla="*/ 612446 w 2198359"/>
              <a:gd name="connsiteY74" fmla="*/ 1976863 h 2164296"/>
              <a:gd name="connsiteX75" fmla="*/ 598159 w 2198359"/>
              <a:gd name="connsiteY75" fmla="*/ 1957813 h 2164296"/>
              <a:gd name="connsiteX76" fmla="*/ 583871 w 2198359"/>
              <a:gd name="connsiteY76" fmla="*/ 1934000 h 2164296"/>
              <a:gd name="connsiteX77" fmla="*/ 550534 w 2198359"/>
              <a:gd name="connsiteY77" fmla="*/ 1895900 h 2164296"/>
              <a:gd name="connsiteX78" fmla="*/ 407659 w 2198359"/>
              <a:gd name="connsiteY78" fmla="*/ 1705400 h 2164296"/>
              <a:gd name="connsiteX79" fmla="*/ 393371 w 2198359"/>
              <a:gd name="connsiteY79" fmla="*/ 1686350 h 2164296"/>
              <a:gd name="connsiteX80" fmla="*/ 374321 w 2198359"/>
              <a:gd name="connsiteY80" fmla="*/ 1657775 h 2164296"/>
              <a:gd name="connsiteX81" fmla="*/ 317171 w 2198359"/>
              <a:gd name="connsiteY81" fmla="*/ 1600625 h 2164296"/>
              <a:gd name="connsiteX82" fmla="*/ 293359 w 2198359"/>
              <a:gd name="connsiteY82" fmla="*/ 1576813 h 2164296"/>
              <a:gd name="connsiteX83" fmla="*/ 279071 w 2198359"/>
              <a:gd name="connsiteY83" fmla="*/ 1562525 h 2164296"/>
              <a:gd name="connsiteX84" fmla="*/ 240971 w 2198359"/>
              <a:gd name="connsiteY84" fmla="*/ 1538713 h 2164296"/>
              <a:gd name="connsiteX85" fmla="*/ 217159 w 2198359"/>
              <a:gd name="connsiteY85" fmla="*/ 1510138 h 2164296"/>
              <a:gd name="connsiteX86" fmla="*/ 193346 w 2198359"/>
              <a:gd name="connsiteY86" fmla="*/ 1491088 h 2164296"/>
              <a:gd name="connsiteX87" fmla="*/ 174296 w 2198359"/>
              <a:gd name="connsiteY87" fmla="*/ 1462513 h 2164296"/>
              <a:gd name="connsiteX88" fmla="*/ 150484 w 2198359"/>
              <a:gd name="connsiteY88" fmla="*/ 1438700 h 2164296"/>
              <a:gd name="connsiteX89" fmla="*/ 140959 w 2198359"/>
              <a:gd name="connsiteY89" fmla="*/ 1424413 h 2164296"/>
              <a:gd name="connsiteX90" fmla="*/ 121909 w 2198359"/>
              <a:gd name="connsiteY90" fmla="*/ 1405363 h 2164296"/>
              <a:gd name="connsiteX91" fmla="*/ 102859 w 2198359"/>
              <a:gd name="connsiteY91" fmla="*/ 1376788 h 2164296"/>
              <a:gd name="connsiteX92" fmla="*/ 88571 w 2198359"/>
              <a:gd name="connsiteY92" fmla="*/ 1362500 h 2164296"/>
              <a:gd name="connsiteX93" fmla="*/ 79046 w 2198359"/>
              <a:gd name="connsiteY93" fmla="*/ 1348213 h 2164296"/>
              <a:gd name="connsiteX94" fmla="*/ 64759 w 2198359"/>
              <a:gd name="connsiteY94" fmla="*/ 1329163 h 2164296"/>
              <a:gd name="connsiteX95" fmla="*/ 59996 w 2198359"/>
              <a:gd name="connsiteY95" fmla="*/ 1305350 h 2164296"/>
              <a:gd name="connsiteX96" fmla="*/ 31421 w 2198359"/>
              <a:gd name="connsiteY96" fmla="*/ 991025 h 2164296"/>
              <a:gd name="connsiteX97" fmla="*/ 69521 w 2198359"/>
              <a:gd name="connsiteY97" fmla="*/ 929113 h 2164296"/>
              <a:gd name="connsiteX98" fmla="*/ 93334 w 2198359"/>
              <a:gd name="connsiteY98" fmla="*/ 891013 h 2164296"/>
              <a:gd name="connsiteX99" fmla="*/ 112384 w 2198359"/>
              <a:gd name="connsiteY99" fmla="*/ 848150 h 2164296"/>
              <a:gd name="connsiteX100" fmla="*/ 174296 w 2198359"/>
              <a:gd name="connsiteY100" fmla="*/ 733850 h 2164296"/>
              <a:gd name="connsiteX101" fmla="*/ 236209 w 2198359"/>
              <a:gd name="connsiteY101" fmla="*/ 610025 h 2164296"/>
              <a:gd name="connsiteX102" fmla="*/ 240971 w 2198359"/>
              <a:gd name="connsiteY102" fmla="*/ 581450 h 2164296"/>
              <a:gd name="connsiteX103" fmla="*/ 264784 w 2198359"/>
              <a:gd name="connsiteY103" fmla="*/ 538588 h 2164296"/>
              <a:gd name="connsiteX104" fmla="*/ 279071 w 2198359"/>
              <a:gd name="connsiteY104" fmla="*/ 500488 h 2164296"/>
              <a:gd name="connsiteX105" fmla="*/ 293359 w 2198359"/>
              <a:gd name="connsiteY105" fmla="*/ 471913 h 2164296"/>
              <a:gd name="connsiteX106" fmla="*/ 302884 w 2198359"/>
              <a:gd name="connsiteY106" fmla="*/ 443338 h 2164296"/>
              <a:gd name="connsiteX107" fmla="*/ 312409 w 2198359"/>
              <a:gd name="connsiteY107" fmla="*/ 429050 h 2164296"/>
              <a:gd name="connsiteX108" fmla="*/ 321934 w 2198359"/>
              <a:gd name="connsiteY108" fmla="*/ 405238 h 2164296"/>
              <a:gd name="connsiteX109" fmla="*/ 340984 w 2198359"/>
              <a:gd name="connsiteY109" fmla="*/ 381425 h 2164296"/>
              <a:gd name="connsiteX110" fmla="*/ 360034 w 2198359"/>
              <a:gd name="connsiteY110" fmla="*/ 333800 h 2164296"/>
              <a:gd name="connsiteX111" fmla="*/ 388609 w 2198359"/>
              <a:gd name="connsiteY111" fmla="*/ 290938 h 2164296"/>
              <a:gd name="connsiteX112" fmla="*/ 412421 w 2198359"/>
              <a:gd name="connsiteY112" fmla="*/ 248075 h 2164296"/>
              <a:gd name="connsiteX113" fmla="*/ 426709 w 2198359"/>
              <a:gd name="connsiteY113" fmla="*/ 229025 h 2164296"/>
              <a:gd name="connsiteX114" fmla="*/ 450521 w 2198359"/>
              <a:gd name="connsiteY114" fmla="*/ 214738 h 2164296"/>
              <a:gd name="connsiteX115" fmla="*/ 474334 w 2198359"/>
              <a:gd name="connsiteY115" fmla="*/ 190925 h 2164296"/>
              <a:gd name="connsiteX116" fmla="*/ 488621 w 2198359"/>
              <a:gd name="connsiteY116" fmla="*/ 181400 h 2164296"/>
              <a:gd name="connsiteX117" fmla="*/ 521959 w 2198359"/>
              <a:gd name="connsiteY117" fmla="*/ 143300 h 2164296"/>
              <a:gd name="connsiteX118" fmla="*/ 536246 w 2198359"/>
              <a:gd name="connsiteY118" fmla="*/ 133775 h 2164296"/>
              <a:gd name="connsiteX119" fmla="*/ 645784 w 2198359"/>
              <a:gd name="connsiteY119" fmla="*/ 71863 h 2164296"/>
              <a:gd name="connsiteX120" fmla="*/ 660071 w 2198359"/>
              <a:gd name="connsiteY120" fmla="*/ 52813 h 2164296"/>
              <a:gd name="connsiteX121" fmla="*/ 679121 w 2198359"/>
              <a:gd name="connsiteY121" fmla="*/ 48050 h 2164296"/>
              <a:gd name="connsiteX122" fmla="*/ 702934 w 2198359"/>
              <a:gd name="connsiteY122" fmla="*/ 38525 h 2164296"/>
              <a:gd name="connsiteX123" fmla="*/ 745796 w 2198359"/>
              <a:gd name="connsiteY123" fmla="*/ 24238 h 2164296"/>
              <a:gd name="connsiteX124" fmla="*/ 774371 w 2198359"/>
              <a:gd name="connsiteY124" fmla="*/ 14713 h 2164296"/>
              <a:gd name="connsiteX125" fmla="*/ 821996 w 2198359"/>
              <a:gd name="connsiteY125" fmla="*/ 9950 h 2164296"/>
              <a:gd name="connsiteX126" fmla="*/ 893434 w 2198359"/>
              <a:gd name="connsiteY126" fmla="*/ 425 h 2164296"/>
              <a:gd name="connsiteX0" fmla="*/ 827164 w 2198764"/>
              <a:gd name="connsiteY0" fmla="*/ 425 h 2164296"/>
              <a:gd name="connsiteX1" fmla="*/ 979564 w 2198764"/>
              <a:gd name="connsiteY1" fmla="*/ 5188 h 2164296"/>
              <a:gd name="connsiteX2" fmla="*/ 1003376 w 2198764"/>
              <a:gd name="connsiteY2" fmla="*/ 9950 h 2164296"/>
              <a:gd name="connsiteX3" fmla="*/ 1070051 w 2198764"/>
              <a:gd name="connsiteY3" fmla="*/ 19475 h 2164296"/>
              <a:gd name="connsiteX4" fmla="*/ 1098626 w 2198764"/>
              <a:gd name="connsiteY4" fmla="*/ 24238 h 2164296"/>
              <a:gd name="connsiteX5" fmla="*/ 1122439 w 2198764"/>
              <a:gd name="connsiteY5" fmla="*/ 38525 h 2164296"/>
              <a:gd name="connsiteX6" fmla="*/ 1165301 w 2198764"/>
              <a:gd name="connsiteY6" fmla="*/ 48050 h 2164296"/>
              <a:gd name="connsiteX7" fmla="*/ 1184351 w 2198764"/>
              <a:gd name="connsiteY7" fmla="*/ 52813 h 2164296"/>
              <a:gd name="connsiteX8" fmla="*/ 1217689 w 2198764"/>
              <a:gd name="connsiteY8" fmla="*/ 57575 h 2164296"/>
              <a:gd name="connsiteX9" fmla="*/ 1312939 w 2198764"/>
              <a:gd name="connsiteY9" fmla="*/ 71863 h 2164296"/>
              <a:gd name="connsiteX10" fmla="*/ 1484389 w 2198764"/>
              <a:gd name="connsiteY10" fmla="*/ 109963 h 2164296"/>
              <a:gd name="connsiteX11" fmla="*/ 1508201 w 2198764"/>
              <a:gd name="connsiteY11" fmla="*/ 114725 h 2164296"/>
              <a:gd name="connsiteX12" fmla="*/ 1646314 w 2198764"/>
              <a:gd name="connsiteY12" fmla="*/ 124250 h 2164296"/>
              <a:gd name="connsiteX13" fmla="*/ 1679651 w 2198764"/>
              <a:gd name="connsiteY13" fmla="*/ 129013 h 2164296"/>
              <a:gd name="connsiteX14" fmla="*/ 1703464 w 2198764"/>
              <a:gd name="connsiteY14" fmla="*/ 133775 h 2164296"/>
              <a:gd name="connsiteX15" fmla="*/ 1751089 w 2198764"/>
              <a:gd name="connsiteY15" fmla="*/ 138538 h 2164296"/>
              <a:gd name="connsiteX16" fmla="*/ 1789189 w 2198764"/>
              <a:gd name="connsiteY16" fmla="*/ 152825 h 2164296"/>
              <a:gd name="connsiteX17" fmla="*/ 1803476 w 2198764"/>
              <a:gd name="connsiteY17" fmla="*/ 162350 h 2164296"/>
              <a:gd name="connsiteX18" fmla="*/ 1827289 w 2198764"/>
              <a:gd name="connsiteY18" fmla="*/ 167113 h 2164296"/>
              <a:gd name="connsiteX19" fmla="*/ 1851101 w 2198764"/>
              <a:gd name="connsiteY19" fmla="*/ 181400 h 2164296"/>
              <a:gd name="connsiteX20" fmla="*/ 1874914 w 2198764"/>
              <a:gd name="connsiteY20" fmla="*/ 190925 h 2164296"/>
              <a:gd name="connsiteX21" fmla="*/ 1889201 w 2198764"/>
              <a:gd name="connsiteY21" fmla="*/ 205213 h 2164296"/>
              <a:gd name="connsiteX22" fmla="*/ 1922539 w 2198764"/>
              <a:gd name="connsiteY22" fmla="*/ 229025 h 2164296"/>
              <a:gd name="connsiteX23" fmla="*/ 1974926 w 2198764"/>
              <a:gd name="connsiteY23" fmla="*/ 267125 h 2164296"/>
              <a:gd name="connsiteX24" fmla="*/ 1998739 w 2198764"/>
              <a:gd name="connsiteY24" fmla="*/ 295700 h 2164296"/>
              <a:gd name="connsiteX25" fmla="*/ 2032076 w 2198764"/>
              <a:gd name="connsiteY25" fmla="*/ 348088 h 2164296"/>
              <a:gd name="connsiteX26" fmla="*/ 2051126 w 2198764"/>
              <a:gd name="connsiteY26" fmla="*/ 410000 h 2164296"/>
              <a:gd name="connsiteX27" fmla="*/ 2060651 w 2198764"/>
              <a:gd name="connsiteY27" fmla="*/ 443338 h 2164296"/>
              <a:gd name="connsiteX28" fmla="*/ 2065414 w 2198764"/>
              <a:gd name="connsiteY28" fmla="*/ 457625 h 2164296"/>
              <a:gd name="connsiteX29" fmla="*/ 2074939 w 2198764"/>
              <a:gd name="connsiteY29" fmla="*/ 476675 h 2164296"/>
              <a:gd name="connsiteX30" fmla="*/ 2093989 w 2198764"/>
              <a:gd name="connsiteY30" fmla="*/ 548113 h 2164296"/>
              <a:gd name="connsiteX31" fmla="*/ 2108276 w 2198764"/>
              <a:gd name="connsiteY31" fmla="*/ 610025 h 2164296"/>
              <a:gd name="connsiteX32" fmla="*/ 2113039 w 2198764"/>
              <a:gd name="connsiteY32" fmla="*/ 914825 h 2164296"/>
              <a:gd name="connsiteX33" fmla="*/ 2151139 w 2198764"/>
              <a:gd name="connsiteY33" fmla="*/ 1086275 h 2164296"/>
              <a:gd name="connsiteX34" fmla="*/ 2155901 w 2198764"/>
              <a:gd name="connsiteY34" fmla="*/ 1148188 h 2164296"/>
              <a:gd name="connsiteX35" fmla="*/ 2170189 w 2198764"/>
              <a:gd name="connsiteY35" fmla="*/ 1191050 h 2164296"/>
              <a:gd name="connsiteX36" fmla="*/ 2174951 w 2198764"/>
              <a:gd name="connsiteY36" fmla="*/ 1224388 h 2164296"/>
              <a:gd name="connsiteX37" fmla="*/ 2194001 w 2198764"/>
              <a:gd name="connsiteY37" fmla="*/ 1276775 h 2164296"/>
              <a:gd name="connsiteX38" fmla="*/ 2198764 w 2198764"/>
              <a:gd name="connsiteY38" fmla="*/ 1300588 h 2164296"/>
              <a:gd name="connsiteX39" fmla="*/ 2194001 w 2198764"/>
              <a:gd name="connsiteY39" fmla="*/ 1514900 h 2164296"/>
              <a:gd name="connsiteX40" fmla="*/ 2184476 w 2198764"/>
              <a:gd name="connsiteY40" fmla="*/ 1529188 h 2164296"/>
              <a:gd name="connsiteX41" fmla="*/ 2174951 w 2198764"/>
              <a:gd name="connsiteY41" fmla="*/ 1562525 h 2164296"/>
              <a:gd name="connsiteX42" fmla="*/ 2165426 w 2198764"/>
              <a:gd name="connsiteY42" fmla="*/ 1576813 h 2164296"/>
              <a:gd name="connsiteX43" fmla="*/ 2160664 w 2198764"/>
              <a:gd name="connsiteY43" fmla="*/ 1600625 h 2164296"/>
              <a:gd name="connsiteX44" fmla="*/ 2146376 w 2198764"/>
              <a:gd name="connsiteY44" fmla="*/ 1614913 h 2164296"/>
              <a:gd name="connsiteX45" fmla="*/ 2136851 w 2198764"/>
              <a:gd name="connsiteY45" fmla="*/ 1629200 h 2164296"/>
              <a:gd name="connsiteX46" fmla="*/ 2108276 w 2198764"/>
              <a:gd name="connsiteY46" fmla="*/ 1657775 h 2164296"/>
              <a:gd name="connsiteX47" fmla="*/ 2079701 w 2198764"/>
              <a:gd name="connsiteY47" fmla="*/ 1686350 h 2164296"/>
              <a:gd name="connsiteX48" fmla="*/ 2070176 w 2198764"/>
              <a:gd name="connsiteY48" fmla="*/ 1700638 h 2164296"/>
              <a:gd name="connsiteX49" fmla="*/ 2055889 w 2198764"/>
              <a:gd name="connsiteY49" fmla="*/ 1710163 h 2164296"/>
              <a:gd name="connsiteX50" fmla="*/ 2032076 w 2198764"/>
              <a:gd name="connsiteY50" fmla="*/ 1724450 h 2164296"/>
              <a:gd name="connsiteX51" fmla="*/ 2008264 w 2198764"/>
              <a:gd name="connsiteY51" fmla="*/ 1743500 h 2164296"/>
              <a:gd name="connsiteX52" fmla="*/ 1936826 w 2198764"/>
              <a:gd name="connsiteY52" fmla="*/ 1772075 h 2164296"/>
              <a:gd name="connsiteX53" fmla="*/ 1917776 w 2198764"/>
              <a:gd name="connsiteY53" fmla="*/ 1786363 h 2164296"/>
              <a:gd name="connsiteX54" fmla="*/ 1870151 w 2198764"/>
              <a:gd name="connsiteY54" fmla="*/ 1814938 h 2164296"/>
              <a:gd name="connsiteX55" fmla="*/ 1855864 w 2198764"/>
              <a:gd name="connsiteY55" fmla="*/ 1833988 h 2164296"/>
              <a:gd name="connsiteX56" fmla="*/ 1803476 w 2198764"/>
              <a:gd name="connsiteY56" fmla="*/ 1862563 h 2164296"/>
              <a:gd name="connsiteX57" fmla="*/ 1660602 w 2198764"/>
              <a:gd name="connsiteY57" fmla="*/ 1891137 h 2164296"/>
              <a:gd name="connsiteX58" fmla="*/ 1412951 w 2198764"/>
              <a:gd name="connsiteY58" fmla="*/ 2014962 h 2164296"/>
              <a:gd name="connsiteX59" fmla="*/ 1360564 w 2198764"/>
              <a:gd name="connsiteY59" fmla="*/ 2053063 h 2164296"/>
              <a:gd name="connsiteX60" fmla="*/ 1346276 w 2198764"/>
              <a:gd name="connsiteY60" fmla="*/ 2062588 h 2164296"/>
              <a:gd name="connsiteX61" fmla="*/ 1308176 w 2198764"/>
              <a:gd name="connsiteY61" fmla="*/ 2072113 h 2164296"/>
              <a:gd name="connsiteX62" fmla="*/ 1284364 w 2198764"/>
              <a:gd name="connsiteY62" fmla="*/ 2086400 h 2164296"/>
              <a:gd name="connsiteX63" fmla="*/ 1231976 w 2198764"/>
              <a:gd name="connsiteY63" fmla="*/ 2100688 h 2164296"/>
              <a:gd name="connsiteX64" fmla="*/ 1189114 w 2198764"/>
              <a:gd name="connsiteY64" fmla="*/ 2119738 h 2164296"/>
              <a:gd name="connsiteX65" fmla="*/ 1170064 w 2198764"/>
              <a:gd name="connsiteY65" fmla="*/ 2134025 h 2164296"/>
              <a:gd name="connsiteX66" fmla="*/ 1098626 w 2198764"/>
              <a:gd name="connsiteY66" fmla="*/ 2148313 h 2164296"/>
              <a:gd name="connsiteX67" fmla="*/ 1070051 w 2198764"/>
              <a:gd name="connsiteY67" fmla="*/ 2162600 h 2164296"/>
              <a:gd name="connsiteX68" fmla="*/ 936701 w 2198764"/>
              <a:gd name="connsiteY68" fmla="*/ 2157838 h 2164296"/>
              <a:gd name="connsiteX69" fmla="*/ 827164 w 2198764"/>
              <a:gd name="connsiteY69" fmla="*/ 2105450 h 2164296"/>
              <a:gd name="connsiteX70" fmla="*/ 789064 w 2198764"/>
              <a:gd name="connsiteY70" fmla="*/ 2091163 h 2164296"/>
              <a:gd name="connsiteX71" fmla="*/ 741439 w 2198764"/>
              <a:gd name="connsiteY71" fmla="*/ 2062588 h 2164296"/>
              <a:gd name="connsiteX72" fmla="*/ 684289 w 2198764"/>
              <a:gd name="connsiteY72" fmla="*/ 2038775 h 2164296"/>
              <a:gd name="connsiteX73" fmla="*/ 650951 w 2198764"/>
              <a:gd name="connsiteY73" fmla="*/ 2005438 h 2164296"/>
              <a:gd name="connsiteX74" fmla="*/ 612851 w 2198764"/>
              <a:gd name="connsiteY74" fmla="*/ 1976863 h 2164296"/>
              <a:gd name="connsiteX75" fmla="*/ 598564 w 2198764"/>
              <a:gd name="connsiteY75" fmla="*/ 1957813 h 2164296"/>
              <a:gd name="connsiteX76" fmla="*/ 584276 w 2198764"/>
              <a:gd name="connsiteY76" fmla="*/ 1934000 h 2164296"/>
              <a:gd name="connsiteX77" fmla="*/ 550939 w 2198764"/>
              <a:gd name="connsiteY77" fmla="*/ 1895900 h 2164296"/>
              <a:gd name="connsiteX78" fmla="*/ 408064 w 2198764"/>
              <a:gd name="connsiteY78" fmla="*/ 1705400 h 2164296"/>
              <a:gd name="connsiteX79" fmla="*/ 393776 w 2198764"/>
              <a:gd name="connsiteY79" fmla="*/ 1686350 h 2164296"/>
              <a:gd name="connsiteX80" fmla="*/ 374726 w 2198764"/>
              <a:gd name="connsiteY80" fmla="*/ 1657775 h 2164296"/>
              <a:gd name="connsiteX81" fmla="*/ 317576 w 2198764"/>
              <a:gd name="connsiteY81" fmla="*/ 1600625 h 2164296"/>
              <a:gd name="connsiteX82" fmla="*/ 293764 w 2198764"/>
              <a:gd name="connsiteY82" fmla="*/ 1576813 h 2164296"/>
              <a:gd name="connsiteX83" fmla="*/ 279476 w 2198764"/>
              <a:gd name="connsiteY83" fmla="*/ 1562525 h 2164296"/>
              <a:gd name="connsiteX84" fmla="*/ 241376 w 2198764"/>
              <a:gd name="connsiteY84" fmla="*/ 1538713 h 2164296"/>
              <a:gd name="connsiteX85" fmla="*/ 217564 w 2198764"/>
              <a:gd name="connsiteY85" fmla="*/ 1510138 h 2164296"/>
              <a:gd name="connsiteX86" fmla="*/ 193751 w 2198764"/>
              <a:gd name="connsiteY86" fmla="*/ 1491088 h 2164296"/>
              <a:gd name="connsiteX87" fmla="*/ 174701 w 2198764"/>
              <a:gd name="connsiteY87" fmla="*/ 1462513 h 2164296"/>
              <a:gd name="connsiteX88" fmla="*/ 150889 w 2198764"/>
              <a:gd name="connsiteY88" fmla="*/ 1438700 h 2164296"/>
              <a:gd name="connsiteX89" fmla="*/ 141364 w 2198764"/>
              <a:gd name="connsiteY89" fmla="*/ 1424413 h 2164296"/>
              <a:gd name="connsiteX90" fmla="*/ 122314 w 2198764"/>
              <a:gd name="connsiteY90" fmla="*/ 1405363 h 2164296"/>
              <a:gd name="connsiteX91" fmla="*/ 103264 w 2198764"/>
              <a:gd name="connsiteY91" fmla="*/ 1376788 h 2164296"/>
              <a:gd name="connsiteX92" fmla="*/ 88976 w 2198764"/>
              <a:gd name="connsiteY92" fmla="*/ 1362500 h 2164296"/>
              <a:gd name="connsiteX93" fmla="*/ 79451 w 2198764"/>
              <a:gd name="connsiteY93" fmla="*/ 1348213 h 2164296"/>
              <a:gd name="connsiteX94" fmla="*/ 60401 w 2198764"/>
              <a:gd name="connsiteY94" fmla="*/ 1305350 h 2164296"/>
              <a:gd name="connsiteX95" fmla="*/ 31826 w 2198764"/>
              <a:gd name="connsiteY95" fmla="*/ 991025 h 2164296"/>
              <a:gd name="connsiteX96" fmla="*/ 69926 w 2198764"/>
              <a:gd name="connsiteY96" fmla="*/ 929113 h 2164296"/>
              <a:gd name="connsiteX97" fmla="*/ 93739 w 2198764"/>
              <a:gd name="connsiteY97" fmla="*/ 891013 h 2164296"/>
              <a:gd name="connsiteX98" fmla="*/ 112789 w 2198764"/>
              <a:gd name="connsiteY98" fmla="*/ 848150 h 2164296"/>
              <a:gd name="connsiteX99" fmla="*/ 174701 w 2198764"/>
              <a:gd name="connsiteY99" fmla="*/ 733850 h 2164296"/>
              <a:gd name="connsiteX100" fmla="*/ 236614 w 2198764"/>
              <a:gd name="connsiteY100" fmla="*/ 610025 h 2164296"/>
              <a:gd name="connsiteX101" fmla="*/ 241376 w 2198764"/>
              <a:gd name="connsiteY101" fmla="*/ 581450 h 2164296"/>
              <a:gd name="connsiteX102" fmla="*/ 265189 w 2198764"/>
              <a:gd name="connsiteY102" fmla="*/ 538588 h 2164296"/>
              <a:gd name="connsiteX103" fmla="*/ 279476 w 2198764"/>
              <a:gd name="connsiteY103" fmla="*/ 500488 h 2164296"/>
              <a:gd name="connsiteX104" fmla="*/ 293764 w 2198764"/>
              <a:gd name="connsiteY104" fmla="*/ 471913 h 2164296"/>
              <a:gd name="connsiteX105" fmla="*/ 303289 w 2198764"/>
              <a:gd name="connsiteY105" fmla="*/ 443338 h 2164296"/>
              <a:gd name="connsiteX106" fmla="*/ 312814 w 2198764"/>
              <a:gd name="connsiteY106" fmla="*/ 429050 h 2164296"/>
              <a:gd name="connsiteX107" fmla="*/ 322339 w 2198764"/>
              <a:gd name="connsiteY107" fmla="*/ 405238 h 2164296"/>
              <a:gd name="connsiteX108" fmla="*/ 341389 w 2198764"/>
              <a:gd name="connsiteY108" fmla="*/ 381425 h 2164296"/>
              <a:gd name="connsiteX109" fmla="*/ 360439 w 2198764"/>
              <a:gd name="connsiteY109" fmla="*/ 333800 h 2164296"/>
              <a:gd name="connsiteX110" fmla="*/ 389014 w 2198764"/>
              <a:gd name="connsiteY110" fmla="*/ 290938 h 2164296"/>
              <a:gd name="connsiteX111" fmla="*/ 412826 w 2198764"/>
              <a:gd name="connsiteY111" fmla="*/ 248075 h 2164296"/>
              <a:gd name="connsiteX112" fmla="*/ 427114 w 2198764"/>
              <a:gd name="connsiteY112" fmla="*/ 229025 h 2164296"/>
              <a:gd name="connsiteX113" fmla="*/ 450926 w 2198764"/>
              <a:gd name="connsiteY113" fmla="*/ 214738 h 2164296"/>
              <a:gd name="connsiteX114" fmla="*/ 474739 w 2198764"/>
              <a:gd name="connsiteY114" fmla="*/ 190925 h 2164296"/>
              <a:gd name="connsiteX115" fmla="*/ 489026 w 2198764"/>
              <a:gd name="connsiteY115" fmla="*/ 181400 h 2164296"/>
              <a:gd name="connsiteX116" fmla="*/ 522364 w 2198764"/>
              <a:gd name="connsiteY116" fmla="*/ 143300 h 2164296"/>
              <a:gd name="connsiteX117" fmla="*/ 536651 w 2198764"/>
              <a:gd name="connsiteY117" fmla="*/ 133775 h 2164296"/>
              <a:gd name="connsiteX118" fmla="*/ 646189 w 2198764"/>
              <a:gd name="connsiteY118" fmla="*/ 71863 h 2164296"/>
              <a:gd name="connsiteX119" fmla="*/ 660476 w 2198764"/>
              <a:gd name="connsiteY119" fmla="*/ 52813 h 2164296"/>
              <a:gd name="connsiteX120" fmla="*/ 679526 w 2198764"/>
              <a:gd name="connsiteY120" fmla="*/ 48050 h 2164296"/>
              <a:gd name="connsiteX121" fmla="*/ 703339 w 2198764"/>
              <a:gd name="connsiteY121" fmla="*/ 38525 h 2164296"/>
              <a:gd name="connsiteX122" fmla="*/ 746201 w 2198764"/>
              <a:gd name="connsiteY122" fmla="*/ 24238 h 2164296"/>
              <a:gd name="connsiteX123" fmla="*/ 774776 w 2198764"/>
              <a:gd name="connsiteY123" fmla="*/ 14713 h 2164296"/>
              <a:gd name="connsiteX124" fmla="*/ 822401 w 2198764"/>
              <a:gd name="connsiteY124" fmla="*/ 9950 h 2164296"/>
              <a:gd name="connsiteX125" fmla="*/ 893839 w 2198764"/>
              <a:gd name="connsiteY125" fmla="*/ 425 h 2164296"/>
              <a:gd name="connsiteX0" fmla="*/ 831710 w 2203310"/>
              <a:gd name="connsiteY0" fmla="*/ 425 h 2164296"/>
              <a:gd name="connsiteX1" fmla="*/ 984110 w 2203310"/>
              <a:gd name="connsiteY1" fmla="*/ 5188 h 2164296"/>
              <a:gd name="connsiteX2" fmla="*/ 1007922 w 2203310"/>
              <a:gd name="connsiteY2" fmla="*/ 9950 h 2164296"/>
              <a:gd name="connsiteX3" fmla="*/ 1074597 w 2203310"/>
              <a:gd name="connsiteY3" fmla="*/ 19475 h 2164296"/>
              <a:gd name="connsiteX4" fmla="*/ 1103172 w 2203310"/>
              <a:gd name="connsiteY4" fmla="*/ 24238 h 2164296"/>
              <a:gd name="connsiteX5" fmla="*/ 1126985 w 2203310"/>
              <a:gd name="connsiteY5" fmla="*/ 38525 h 2164296"/>
              <a:gd name="connsiteX6" fmla="*/ 1169847 w 2203310"/>
              <a:gd name="connsiteY6" fmla="*/ 48050 h 2164296"/>
              <a:gd name="connsiteX7" fmla="*/ 1188897 w 2203310"/>
              <a:gd name="connsiteY7" fmla="*/ 52813 h 2164296"/>
              <a:gd name="connsiteX8" fmla="*/ 1222235 w 2203310"/>
              <a:gd name="connsiteY8" fmla="*/ 57575 h 2164296"/>
              <a:gd name="connsiteX9" fmla="*/ 1317485 w 2203310"/>
              <a:gd name="connsiteY9" fmla="*/ 71863 h 2164296"/>
              <a:gd name="connsiteX10" fmla="*/ 1488935 w 2203310"/>
              <a:gd name="connsiteY10" fmla="*/ 109963 h 2164296"/>
              <a:gd name="connsiteX11" fmla="*/ 1512747 w 2203310"/>
              <a:gd name="connsiteY11" fmla="*/ 114725 h 2164296"/>
              <a:gd name="connsiteX12" fmla="*/ 1650860 w 2203310"/>
              <a:gd name="connsiteY12" fmla="*/ 124250 h 2164296"/>
              <a:gd name="connsiteX13" fmla="*/ 1684197 w 2203310"/>
              <a:gd name="connsiteY13" fmla="*/ 129013 h 2164296"/>
              <a:gd name="connsiteX14" fmla="*/ 1708010 w 2203310"/>
              <a:gd name="connsiteY14" fmla="*/ 133775 h 2164296"/>
              <a:gd name="connsiteX15" fmla="*/ 1755635 w 2203310"/>
              <a:gd name="connsiteY15" fmla="*/ 138538 h 2164296"/>
              <a:gd name="connsiteX16" fmla="*/ 1793735 w 2203310"/>
              <a:gd name="connsiteY16" fmla="*/ 152825 h 2164296"/>
              <a:gd name="connsiteX17" fmla="*/ 1808022 w 2203310"/>
              <a:gd name="connsiteY17" fmla="*/ 162350 h 2164296"/>
              <a:gd name="connsiteX18" fmla="*/ 1831835 w 2203310"/>
              <a:gd name="connsiteY18" fmla="*/ 167113 h 2164296"/>
              <a:gd name="connsiteX19" fmla="*/ 1855647 w 2203310"/>
              <a:gd name="connsiteY19" fmla="*/ 181400 h 2164296"/>
              <a:gd name="connsiteX20" fmla="*/ 1879460 w 2203310"/>
              <a:gd name="connsiteY20" fmla="*/ 190925 h 2164296"/>
              <a:gd name="connsiteX21" fmla="*/ 1893747 w 2203310"/>
              <a:gd name="connsiteY21" fmla="*/ 205213 h 2164296"/>
              <a:gd name="connsiteX22" fmla="*/ 1927085 w 2203310"/>
              <a:gd name="connsiteY22" fmla="*/ 229025 h 2164296"/>
              <a:gd name="connsiteX23" fmla="*/ 1979472 w 2203310"/>
              <a:gd name="connsiteY23" fmla="*/ 267125 h 2164296"/>
              <a:gd name="connsiteX24" fmla="*/ 2003285 w 2203310"/>
              <a:gd name="connsiteY24" fmla="*/ 295700 h 2164296"/>
              <a:gd name="connsiteX25" fmla="*/ 2036622 w 2203310"/>
              <a:gd name="connsiteY25" fmla="*/ 348088 h 2164296"/>
              <a:gd name="connsiteX26" fmla="*/ 2055672 w 2203310"/>
              <a:gd name="connsiteY26" fmla="*/ 410000 h 2164296"/>
              <a:gd name="connsiteX27" fmla="*/ 2065197 w 2203310"/>
              <a:gd name="connsiteY27" fmla="*/ 443338 h 2164296"/>
              <a:gd name="connsiteX28" fmla="*/ 2069960 w 2203310"/>
              <a:gd name="connsiteY28" fmla="*/ 457625 h 2164296"/>
              <a:gd name="connsiteX29" fmla="*/ 2079485 w 2203310"/>
              <a:gd name="connsiteY29" fmla="*/ 476675 h 2164296"/>
              <a:gd name="connsiteX30" fmla="*/ 2098535 w 2203310"/>
              <a:gd name="connsiteY30" fmla="*/ 548113 h 2164296"/>
              <a:gd name="connsiteX31" fmla="*/ 2112822 w 2203310"/>
              <a:gd name="connsiteY31" fmla="*/ 610025 h 2164296"/>
              <a:gd name="connsiteX32" fmla="*/ 2117585 w 2203310"/>
              <a:gd name="connsiteY32" fmla="*/ 914825 h 2164296"/>
              <a:gd name="connsiteX33" fmla="*/ 2155685 w 2203310"/>
              <a:gd name="connsiteY33" fmla="*/ 1086275 h 2164296"/>
              <a:gd name="connsiteX34" fmla="*/ 2160447 w 2203310"/>
              <a:gd name="connsiteY34" fmla="*/ 1148188 h 2164296"/>
              <a:gd name="connsiteX35" fmla="*/ 2174735 w 2203310"/>
              <a:gd name="connsiteY35" fmla="*/ 1191050 h 2164296"/>
              <a:gd name="connsiteX36" fmla="*/ 2179497 w 2203310"/>
              <a:gd name="connsiteY36" fmla="*/ 1224388 h 2164296"/>
              <a:gd name="connsiteX37" fmla="*/ 2198547 w 2203310"/>
              <a:gd name="connsiteY37" fmla="*/ 1276775 h 2164296"/>
              <a:gd name="connsiteX38" fmla="*/ 2203310 w 2203310"/>
              <a:gd name="connsiteY38" fmla="*/ 1300588 h 2164296"/>
              <a:gd name="connsiteX39" fmla="*/ 2198547 w 2203310"/>
              <a:gd name="connsiteY39" fmla="*/ 1514900 h 2164296"/>
              <a:gd name="connsiteX40" fmla="*/ 2189022 w 2203310"/>
              <a:gd name="connsiteY40" fmla="*/ 1529188 h 2164296"/>
              <a:gd name="connsiteX41" fmla="*/ 2179497 w 2203310"/>
              <a:gd name="connsiteY41" fmla="*/ 1562525 h 2164296"/>
              <a:gd name="connsiteX42" fmla="*/ 2169972 w 2203310"/>
              <a:gd name="connsiteY42" fmla="*/ 1576813 h 2164296"/>
              <a:gd name="connsiteX43" fmla="*/ 2165210 w 2203310"/>
              <a:gd name="connsiteY43" fmla="*/ 1600625 h 2164296"/>
              <a:gd name="connsiteX44" fmla="*/ 2150922 w 2203310"/>
              <a:gd name="connsiteY44" fmla="*/ 1614913 h 2164296"/>
              <a:gd name="connsiteX45" fmla="*/ 2141397 w 2203310"/>
              <a:gd name="connsiteY45" fmla="*/ 1629200 h 2164296"/>
              <a:gd name="connsiteX46" fmla="*/ 2112822 w 2203310"/>
              <a:gd name="connsiteY46" fmla="*/ 1657775 h 2164296"/>
              <a:gd name="connsiteX47" fmla="*/ 2084247 w 2203310"/>
              <a:gd name="connsiteY47" fmla="*/ 1686350 h 2164296"/>
              <a:gd name="connsiteX48" fmla="*/ 2074722 w 2203310"/>
              <a:gd name="connsiteY48" fmla="*/ 1700638 h 2164296"/>
              <a:gd name="connsiteX49" fmla="*/ 2060435 w 2203310"/>
              <a:gd name="connsiteY49" fmla="*/ 1710163 h 2164296"/>
              <a:gd name="connsiteX50" fmla="*/ 2036622 w 2203310"/>
              <a:gd name="connsiteY50" fmla="*/ 1724450 h 2164296"/>
              <a:gd name="connsiteX51" fmla="*/ 2012810 w 2203310"/>
              <a:gd name="connsiteY51" fmla="*/ 1743500 h 2164296"/>
              <a:gd name="connsiteX52" fmla="*/ 1941372 w 2203310"/>
              <a:gd name="connsiteY52" fmla="*/ 1772075 h 2164296"/>
              <a:gd name="connsiteX53" fmla="*/ 1922322 w 2203310"/>
              <a:gd name="connsiteY53" fmla="*/ 1786363 h 2164296"/>
              <a:gd name="connsiteX54" fmla="*/ 1874697 w 2203310"/>
              <a:gd name="connsiteY54" fmla="*/ 1814938 h 2164296"/>
              <a:gd name="connsiteX55" fmla="*/ 1860410 w 2203310"/>
              <a:gd name="connsiteY55" fmla="*/ 1833988 h 2164296"/>
              <a:gd name="connsiteX56" fmla="*/ 1808022 w 2203310"/>
              <a:gd name="connsiteY56" fmla="*/ 1862563 h 2164296"/>
              <a:gd name="connsiteX57" fmla="*/ 1665148 w 2203310"/>
              <a:gd name="connsiteY57" fmla="*/ 1891137 h 2164296"/>
              <a:gd name="connsiteX58" fmla="*/ 1417497 w 2203310"/>
              <a:gd name="connsiteY58" fmla="*/ 2014962 h 2164296"/>
              <a:gd name="connsiteX59" fmla="*/ 1365110 w 2203310"/>
              <a:gd name="connsiteY59" fmla="*/ 2053063 h 2164296"/>
              <a:gd name="connsiteX60" fmla="*/ 1350822 w 2203310"/>
              <a:gd name="connsiteY60" fmla="*/ 2062588 h 2164296"/>
              <a:gd name="connsiteX61" fmla="*/ 1312722 w 2203310"/>
              <a:gd name="connsiteY61" fmla="*/ 2072113 h 2164296"/>
              <a:gd name="connsiteX62" fmla="*/ 1288910 w 2203310"/>
              <a:gd name="connsiteY62" fmla="*/ 2086400 h 2164296"/>
              <a:gd name="connsiteX63" fmla="*/ 1236522 w 2203310"/>
              <a:gd name="connsiteY63" fmla="*/ 2100688 h 2164296"/>
              <a:gd name="connsiteX64" fmla="*/ 1193660 w 2203310"/>
              <a:gd name="connsiteY64" fmla="*/ 2119738 h 2164296"/>
              <a:gd name="connsiteX65" fmla="*/ 1174610 w 2203310"/>
              <a:gd name="connsiteY65" fmla="*/ 2134025 h 2164296"/>
              <a:gd name="connsiteX66" fmla="*/ 1103172 w 2203310"/>
              <a:gd name="connsiteY66" fmla="*/ 2148313 h 2164296"/>
              <a:gd name="connsiteX67" fmla="*/ 1074597 w 2203310"/>
              <a:gd name="connsiteY67" fmla="*/ 2162600 h 2164296"/>
              <a:gd name="connsiteX68" fmla="*/ 941247 w 2203310"/>
              <a:gd name="connsiteY68" fmla="*/ 2157838 h 2164296"/>
              <a:gd name="connsiteX69" fmla="*/ 831710 w 2203310"/>
              <a:gd name="connsiteY69" fmla="*/ 2105450 h 2164296"/>
              <a:gd name="connsiteX70" fmla="*/ 793610 w 2203310"/>
              <a:gd name="connsiteY70" fmla="*/ 2091163 h 2164296"/>
              <a:gd name="connsiteX71" fmla="*/ 745985 w 2203310"/>
              <a:gd name="connsiteY71" fmla="*/ 2062588 h 2164296"/>
              <a:gd name="connsiteX72" fmla="*/ 688835 w 2203310"/>
              <a:gd name="connsiteY72" fmla="*/ 2038775 h 2164296"/>
              <a:gd name="connsiteX73" fmla="*/ 655497 w 2203310"/>
              <a:gd name="connsiteY73" fmla="*/ 2005438 h 2164296"/>
              <a:gd name="connsiteX74" fmla="*/ 617397 w 2203310"/>
              <a:gd name="connsiteY74" fmla="*/ 1976863 h 2164296"/>
              <a:gd name="connsiteX75" fmla="*/ 603110 w 2203310"/>
              <a:gd name="connsiteY75" fmla="*/ 1957813 h 2164296"/>
              <a:gd name="connsiteX76" fmla="*/ 588822 w 2203310"/>
              <a:gd name="connsiteY76" fmla="*/ 1934000 h 2164296"/>
              <a:gd name="connsiteX77" fmla="*/ 555485 w 2203310"/>
              <a:gd name="connsiteY77" fmla="*/ 1895900 h 2164296"/>
              <a:gd name="connsiteX78" fmla="*/ 412610 w 2203310"/>
              <a:gd name="connsiteY78" fmla="*/ 1705400 h 2164296"/>
              <a:gd name="connsiteX79" fmla="*/ 398322 w 2203310"/>
              <a:gd name="connsiteY79" fmla="*/ 1686350 h 2164296"/>
              <a:gd name="connsiteX80" fmla="*/ 379272 w 2203310"/>
              <a:gd name="connsiteY80" fmla="*/ 1657775 h 2164296"/>
              <a:gd name="connsiteX81" fmla="*/ 322122 w 2203310"/>
              <a:gd name="connsiteY81" fmla="*/ 1600625 h 2164296"/>
              <a:gd name="connsiteX82" fmla="*/ 298310 w 2203310"/>
              <a:gd name="connsiteY82" fmla="*/ 1576813 h 2164296"/>
              <a:gd name="connsiteX83" fmla="*/ 284022 w 2203310"/>
              <a:gd name="connsiteY83" fmla="*/ 1562525 h 2164296"/>
              <a:gd name="connsiteX84" fmla="*/ 245922 w 2203310"/>
              <a:gd name="connsiteY84" fmla="*/ 1538713 h 2164296"/>
              <a:gd name="connsiteX85" fmla="*/ 222110 w 2203310"/>
              <a:gd name="connsiteY85" fmla="*/ 1510138 h 2164296"/>
              <a:gd name="connsiteX86" fmla="*/ 198297 w 2203310"/>
              <a:gd name="connsiteY86" fmla="*/ 1491088 h 2164296"/>
              <a:gd name="connsiteX87" fmla="*/ 179247 w 2203310"/>
              <a:gd name="connsiteY87" fmla="*/ 1462513 h 2164296"/>
              <a:gd name="connsiteX88" fmla="*/ 155435 w 2203310"/>
              <a:gd name="connsiteY88" fmla="*/ 1438700 h 2164296"/>
              <a:gd name="connsiteX89" fmla="*/ 145910 w 2203310"/>
              <a:gd name="connsiteY89" fmla="*/ 1424413 h 2164296"/>
              <a:gd name="connsiteX90" fmla="*/ 126860 w 2203310"/>
              <a:gd name="connsiteY90" fmla="*/ 1405363 h 2164296"/>
              <a:gd name="connsiteX91" fmla="*/ 107810 w 2203310"/>
              <a:gd name="connsiteY91" fmla="*/ 1376788 h 2164296"/>
              <a:gd name="connsiteX92" fmla="*/ 93522 w 2203310"/>
              <a:gd name="connsiteY92" fmla="*/ 1362500 h 2164296"/>
              <a:gd name="connsiteX93" fmla="*/ 83997 w 2203310"/>
              <a:gd name="connsiteY93" fmla="*/ 1348213 h 2164296"/>
              <a:gd name="connsiteX94" fmla="*/ 64947 w 2203310"/>
              <a:gd name="connsiteY94" fmla="*/ 1305350 h 2164296"/>
              <a:gd name="connsiteX95" fmla="*/ 36372 w 2203310"/>
              <a:gd name="connsiteY95" fmla="*/ 991025 h 2164296"/>
              <a:gd name="connsiteX96" fmla="*/ 74472 w 2203310"/>
              <a:gd name="connsiteY96" fmla="*/ 929113 h 2164296"/>
              <a:gd name="connsiteX97" fmla="*/ 98285 w 2203310"/>
              <a:gd name="connsiteY97" fmla="*/ 891013 h 2164296"/>
              <a:gd name="connsiteX98" fmla="*/ 117335 w 2203310"/>
              <a:gd name="connsiteY98" fmla="*/ 848150 h 2164296"/>
              <a:gd name="connsiteX99" fmla="*/ 179247 w 2203310"/>
              <a:gd name="connsiteY99" fmla="*/ 733850 h 2164296"/>
              <a:gd name="connsiteX100" fmla="*/ 241160 w 2203310"/>
              <a:gd name="connsiteY100" fmla="*/ 610025 h 2164296"/>
              <a:gd name="connsiteX101" fmla="*/ 245922 w 2203310"/>
              <a:gd name="connsiteY101" fmla="*/ 581450 h 2164296"/>
              <a:gd name="connsiteX102" fmla="*/ 269735 w 2203310"/>
              <a:gd name="connsiteY102" fmla="*/ 538588 h 2164296"/>
              <a:gd name="connsiteX103" fmla="*/ 284022 w 2203310"/>
              <a:gd name="connsiteY103" fmla="*/ 500488 h 2164296"/>
              <a:gd name="connsiteX104" fmla="*/ 298310 w 2203310"/>
              <a:gd name="connsiteY104" fmla="*/ 471913 h 2164296"/>
              <a:gd name="connsiteX105" fmla="*/ 307835 w 2203310"/>
              <a:gd name="connsiteY105" fmla="*/ 443338 h 2164296"/>
              <a:gd name="connsiteX106" fmla="*/ 317360 w 2203310"/>
              <a:gd name="connsiteY106" fmla="*/ 429050 h 2164296"/>
              <a:gd name="connsiteX107" fmla="*/ 326885 w 2203310"/>
              <a:gd name="connsiteY107" fmla="*/ 405238 h 2164296"/>
              <a:gd name="connsiteX108" fmla="*/ 345935 w 2203310"/>
              <a:gd name="connsiteY108" fmla="*/ 381425 h 2164296"/>
              <a:gd name="connsiteX109" fmla="*/ 364985 w 2203310"/>
              <a:gd name="connsiteY109" fmla="*/ 333800 h 2164296"/>
              <a:gd name="connsiteX110" fmla="*/ 393560 w 2203310"/>
              <a:gd name="connsiteY110" fmla="*/ 290938 h 2164296"/>
              <a:gd name="connsiteX111" fmla="*/ 417372 w 2203310"/>
              <a:gd name="connsiteY111" fmla="*/ 248075 h 2164296"/>
              <a:gd name="connsiteX112" fmla="*/ 431660 w 2203310"/>
              <a:gd name="connsiteY112" fmla="*/ 229025 h 2164296"/>
              <a:gd name="connsiteX113" fmla="*/ 455472 w 2203310"/>
              <a:gd name="connsiteY113" fmla="*/ 214738 h 2164296"/>
              <a:gd name="connsiteX114" fmla="*/ 479285 w 2203310"/>
              <a:gd name="connsiteY114" fmla="*/ 190925 h 2164296"/>
              <a:gd name="connsiteX115" fmla="*/ 493572 w 2203310"/>
              <a:gd name="connsiteY115" fmla="*/ 181400 h 2164296"/>
              <a:gd name="connsiteX116" fmla="*/ 526910 w 2203310"/>
              <a:gd name="connsiteY116" fmla="*/ 143300 h 2164296"/>
              <a:gd name="connsiteX117" fmla="*/ 541197 w 2203310"/>
              <a:gd name="connsiteY117" fmla="*/ 133775 h 2164296"/>
              <a:gd name="connsiteX118" fmla="*/ 650735 w 2203310"/>
              <a:gd name="connsiteY118" fmla="*/ 71863 h 2164296"/>
              <a:gd name="connsiteX119" fmla="*/ 665022 w 2203310"/>
              <a:gd name="connsiteY119" fmla="*/ 52813 h 2164296"/>
              <a:gd name="connsiteX120" fmla="*/ 684072 w 2203310"/>
              <a:gd name="connsiteY120" fmla="*/ 48050 h 2164296"/>
              <a:gd name="connsiteX121" fmla="*/ 707885 w 2203310"/>
              <a:gd name="connsiteY121" fmla="*/ 38525 h 2164296"/>
              <a:gd name="connsiteX122" fmla="*/ 750747 w 2203310"/>
              <a:gd name="connsiteY122" fmla="*/ 24238 h 2164296"/>
              <a:gd name="connsiteX123" fmla="*/ 779322 w 2203310"/>
              <a:gd name="connsiteY123" fmla="*/ 14713 h 2164296"/>
              <a:gd name="connsiteX124" fmla="*/ 826947 w 2203310"/>
              <a:gd name="connsiteY124" fmla="*/ 9950 h 2164296"/>
              <a:gd name="connsiteX125" fmla="*/ 898385 w 2203310"/>
              <a:gd name="connsiteY125" fmla="*/ 425 h 2164296"/>
              <a:gd name="connsiteX0" fmla="*/ 827440 w 2199040"/>
              <a:gd name="connsiteY0" fmla="*/ 425 h 2164296"/>
              <a:gd name="connsiteX1" fmla="*/ 979840 w 2199040"/>
              <a:gd name="connsiteY1" fmla="*/ 5188 h 2164296"/>
              <a:gd name="connsiteX2" fmla="*/ 1003652 w 2199040"/>
              <a:gd name="connsiteY2" fmla="*/ 9950 h 2164296"/>
              <a:gd name="connsiteX3" fmla="*/ 1070327 w 2199040"/>
              <a:gd name="connsiteY3" fmla="*/ 19475 h 2164296"/>
              <a:gd name="connsiteX4" fmla="*/ 1098902 w 2199040"/>
              <a:gd name="connsiteY4" fmla="*/ 24238 h 2164296"/>
              <a:gd name="connsiteX5" fmla="*/ 1122715 w 2199040"/>
              <a:gd name="connsiteY5" fmla="*/ 38525 h 2164296"/>
              <a:gd name="connsiteX6" fmla="*/ 1165577 w 2199040"/>
              <a:gd name="connsiteY6" fmla="*/ 48050 h 2164296"/>
              <a:gd name="connsiteX7" fmla="*/ 1184627 w 2199040"/>
              <a:gd name="connsiteY7" fmla="*/ 52813 h 2164296"/>
              <a:gd name="connsiteX8" fmla="*/ 1217965 w 2199040"/>
              <a:gd name="connsiteY8" fmla="*/ 57575 h 2164296"/>
              <a:gd name="connsiteX9" fmla="*/ 1313215 w 2199040"/>
              <a:gd name="connsiteY9" fmla="*/ 71863 h 2164296"/>
              <a:gd name="connsiteX10" fmla="*/ 1484665 w 2199040"/>
              <a:gd name="connsiteY10" fmla="*/ 109963 h 2164296"/>
              <a:gd name="connsiteX11" fmla="*/ 1508477 w 2199040"/>
              <a:gd name="connsiteY11" fmla="*/ 114725 h 2164296"/>
              <a:gd name="connsiteX12" fmla="*/ 1646590 w 2199040"/>
              <a:gd name="connsiteY12" fmla="*/ 124250 h 2164296"/>
              <a:gd name="connsiteX13" fmla="*/ 1679927 w 2199040"/>
              <a:gd name="connsiteY13" fmla="*/ 129013 h 2164296"/>
              <a:gd name="connsiteX14" fmla="*/ 1703740 w 2199040"/>
              <a:gd name="connsiteY14" fmla="*/ 133775 h 2164296"/>
              <a:gd name="connsiteX15" fmla="*/ 1751365 w 2199040"/>
              <a:gd name="connsiteY15" fmla="*/ 138538 h 2164296"/>
              <a:gd name="connsiteX16" fmla="*/ 1789465 w 2199040"/>
              <a:gd name="connsiteY16" fmla="*/ 152825 h 2164296"/>
              <a:gd name="connsiteX17" fmla="*/ 1803752 w 2199040"/>
              <a:gd name="connsiteY17" fmla="*/ 162350 h 2164296"/>
              <a:gd name="connsiteX18" fmla="*/ 1827565 w 2199040"/>
              <a:gd name="connsiteY18" fmla="*/ 167113 h 2164296"/>
              <a:gd name="connsiteX19" fmla="*/ 1851377 w 2199040"/>
              <a:gd name="connsiteY19" fmla="*/ 181400 h 2164296"/>
              <a:gd name="connsiteX20" fmla="*/ 1875190 w 2199040"/>
              <a:gd name="connsiteY20" fmla="*/ 190925 h 2164296"/>
              <a:gd name="connsiteX21" fmla="*/ 1889477 w 2199040"/>
              <a:gd name="connsiteY21" fmla="*/ 205213 h 2164296"/>
              <a:gd name="connsiteX22" fmla="*/ 1922815 w 2199040"/>
              <a:gd name="connsiteY22" fmla="*/ 229025 h 2164296"/>
              <a:gd name="connsiteX23" fmla="*/ 1975202 w 2199040"/>
              <a:gd name="connsiteY23" fmla="*/ 267125 h 2164296"/>
              <a:gd name="connsiteX24" fmla="*/ 1999015 w 2199040"/>
              <a:gd name="connsiteY24" fmla="*/ 295700 h 2164296"/>
              <a:gd name="connsiteX25" fmla="*/ 2032352 w 2199040"/>
              <a:gd name="connsiteY25" fmla="*/ 348088 h 2164296"/>
              <a:gd name="connsiteX26" fmla="*/ 2051402 w 2199040"/>
              <a:gd name="connsiteY26" fmla="*/ 410000 h 2164296"/>
              <a:gd name="connsiteX27" fmla="*/ 2060927 w 2199040"/>
              <a:gd name="connsiteY27" fmla="*/ 443338 h 2164296"/>
              <a:gd name="connsiteX28" fmla="*/ 2065690 w 2199040"/>
              <a:gd name="connsiteY28" fmla="*/ 457625 h 2164296"/>
              <a:gd name="connsiteX29" fmla="*/ 2075215 w 2199040"/>
              <a:gd name="connsiteY29" fmla="*/ 476675 h 2164296"/>
              <a:gd name="connsiteX30" fmla="*/ 2094265 w 2199040"/>
              <a:gd name="connsiteY30" fmla="*/ 548113 h 2164296"/>
              <a:gd name="connsiteX31" fmla="*/ 2108552 w 2199040"/>
              <a:gd name="connsiteY31" fmla="*/ 610025 h 2164296"/>
              <a:gd name="connsiteX32" fmla="*/ 2113315 w 2199040"/>
              <a:gd name="connsiteY32" fmla="*/ 914825 h 2164296"/>
              <a:gd name="connsiteX33" fmla="*/ 2151415 w 2199040"/>
              <a:gd name="connsiteY33" fmla="*/ 1086275 h 2164296"/>
              <a:gd name="connsiteX34" fmla="*/ 2156177 w 2199040"/>
              <a:gd name="connsiteY34" fmla="*/ 1148188 h 2164296"/>
              <a:gd name="connsiteX35" fmla="*/ 2170465 w 2199040"/>
              <a:gd name="connsiteY35" fmla="*/ 1191050 h 2164296"/>
              <a:gd name="connsiteX36" fmla="*/ 2175227 w 2199040"/>
              <a:gd name="connsiteY36" fmla="*/ 1224388 h 2164296"/>
              <a:gd name="connsiteX37" fmla="*/ 2194277 w 2199040"/>
              <a:gd name="connsiteY37" fmla="*/ 1276775 h 2164296"/>
              <a:gd name="connsiteX38" fmla="*/ 2199040 w 2199040"/>
              <a:gd name="connsiteY38" fmla="*/ 1300588 h 2164296"/>
              <a:gd name="connsiteX39" fmla="*/ 2194277 w 2199040"/>
              <a:gd name="connsiteY39" fmla="*/ 1514900 h 2164296"/>
              <a:gd name="connsiteX40" fmla="*/ 2184752 w 2199040"/>
              <a:gd name="connsiteY40" fmla="*/ 1529188 h 2164296"/>
              <a:gd name="connsiteX41" fmla="*/ 2175227 w 2199040"/>
              <a:gd name="connsiteY41" fmla="*/ 1562525 h 2164296"/>
              <a:gd name="connsiteX42" fmla="*/ 2165702 w 2199040"/>
              <a:gd name="connsiteY42" fmla="*/ 1576813 h 2164296"/>
              <a:gd name="connsiteX43" fmla="*/ 2160940 w 2199040"/>
              <a:gd name="connsiteY43" fmla="*/ 1600625 h 2164296"/>
              <a:gd name="connsiteX44" fmla="*/ 2146652 w 2199040"/>
              <a:gd name="connsiteY44" fmla="*/ 1614913 h 2164296"/>
              <a:gd name="connsiteX45" fmla="*/ 2137127 w 2199040"/>
              <a:gd name="connsiteY45" fmla="*/ 1629200 h 2164296"/>
              <a:gd name="connsiteX46" fmla="*/ 2108552 w 2199040"/>
              <a:gd name="connsiteY46" fmla="*/ 1657775 h 2164296"/>
              <a:gd name="connsiteX47" fmla="*/ 2079977 w 2199040"/>
              <a:gd name="connsiteY47" fmla="*/ 1686350 h 2164296"/>
              <a:gd name="connsiteX48" fmla="*/ 2070452 w 2199040"/>
              <a:gd name="connsiteY48" fmla="*/ 1700638 h 2164296"/>
              <a:gd name="connsiteX49" fmla="*/ 2056165 w 2199040"/>
              <a:gd name="connsiteY49" fmla="*/ 1710163 h 2164296"/>
              <a:gd name="connsiteX50" fmla="*/ 2032352 w 2199040"/>
              <a:gd name="connsiteY50" fmla="*/ 1724450 h 2164296"/>
              <a:gd name="connsiteX51" fmla="*/ 2008540 w 2199040"/>
              <a:gd name="connsiteY51" fmla="*/ 1743500 h 2164296"/>
              <a:gd name="connsiteX52" fmla="*/ 1937102 w 2199040"/>
              <a:gd name="connsiteY52" fmla="*/ 1772075 h 2164296"/>
              <a:gd name="connsiteX53" fmla="*/ 1918052 w 2199040"/>
              <a:gd name="connsiteY53" fmla="*/ 1786363 h 2164296"/>
              <a:gd name="connsiteX54" fmla="*/ 1870427 w 2199040"/>
              <a:gd name="connsiteY54" fmla="*/ 1814938 h 2164296"/>
              <a:gd name="connsiteX55" fmla="*/ 1856140 w 2199040"/>
              <a:gd name="connsiteY55" fmla="*/ 1833988 h 2164296"/>
              <a:gd name="connsiteX56" fmla="*/ 1803752 w 2199040"/>
              <a:gd name="connsiteY56" fmla="*/ 1862563 h 2164296"/>
              <a:gd name="connsiteX57" fmla="*/ 1660878 w 2199040"/>
              <a:gd name="connsiteY57" fmla="*/ 1891137 h 2164296"/>
              <a:gd name="connsiteX58" fmla="*/ 1413227 w 2199040"/>
              <a:gd name="connsiteY58" fmla="*/ 2014962 h 2164296"/>
              <a:gd name="connsiteX59" fmla="*/ 1360840 w 2199040"/>
              <a:gd name="connsiteY59" fmla="*/ 2053063 h 2164296"/>
              <a:gd name="connsiteX60" fmla="*/ 1346552 w 2199040"/>
              <a:gd name="connsiteY60" fmla="*/ 2062588 h 2164296"/>
              <a:gd name="connsiteX61" fmla="*/ 1308452 w 2199040"/>
              <a:gd name="connsiteY61" fmla="*/ 2072113 h 2164296"/>
              <a:gd name="connsiteX62" fmla="*/ 1284640 w 2199040"/>
              <a:gd name="connsiteY62" fmla="*/ 2086400 h 2164296"/>
              <a:gd name="connsiteX63" fmla="*/ 1232252 w 2199040"/>
              <a:gd name="connsiteY63" fmla="*/ 2100688 h 2164296"/>
              <a:gd name="connsiteX64" fmla="*/ 1189390 w 2199040"/>
              <a:gd name="connsiteY64" fmla="*/ 2119738 h 2164296"/>
              <a:gd name="connsiteX65" fmla="*/ 1170340 w 2199040"/>
              <a:gd name="connsiteY65" fmla="*/ 2134025 h 2164296"/>
              <a:gd name="connsiteX66" fmla="*/ 1098902 w 2199040"/>
              <a:gd name="connsiteY66" fmla="*/ 2148313 h 2164296"/>
              <a:gd name="connsiteX67" fmla="*/ 1070327 w 2199040"/>
              <a:gd name="connsiteY67" fmla="*/ 2162600 h 2164296"/>
              <a:gd name="connsiteX68" fmla="*/ 936977 w 2199040"/>
              <a:gd name="connsiteY68" fmla="*/ 2157838 h 2164296"/>
              <a:gd name="connsiteX69" fmla="*/ 827440 w 2199040"/>
              <a:gd name="connsiteY69" fmla="*/ 2105450 h 2164296"/>
              <a:gd name="connsiteX70" fmla="*/ 789340 w 2199040"/>
              <a:gd name="connsiteY70" fmla="*/ 2091163 h 2164296"/>
              <a:gd name="connsiteX71" fmla="*/ 741715 w 2199040"/>
              <a:gd name="connsiteY71" fmla="*/ 2062588 h 2164296"/>
              <a:gd name="connsiteX72" fmla="*/ 684565 w 2199040"/>
              <a:gd name="connsiteY72" fmla="*/ 2038775 h 2164296"/>
              <a:gd name="connsiteX73" fmla="*/ 651227 w 2199040"/>
              <a:gd name="connsiteY73" fmla="*/ 2005438 h 2164296"/>
              <a:gd name="connsiteX74" fmla="*/ 613127 w 2199040"/>
              <a:gd name="connsiteY74" fmla="*/ 1976863 h 2164296"/>
              <a:gd name="connsiteX75" fmla="*/ 598840 w 2199040"/>
              <a:gd name="connsiteY75" fmla="*/ 1957813 h 2164296"/>
              <a:gd name="connsiteX76" fmla="*/ 584552 w 2199040"/>
              <a:gd name="connsiteY76" fmla="*/ 1934000 h 2164296"/>
              <a:gd name="connsiteX77" fmla="*/ 551215 w 2199040"/>
              <a:gd name="connsiteY77" fmla="*/ 1895900 h 2164296"/>
              <a:gd name="connsiteX78" fmla="*/ 408340 w 2199040"/>
              <a:gd name="connsiteY78" fmla="*/ 1705400 h 2164296"/>
              <a:gd name="connsiteX79" fmla="*/ 394052 w 2199040"/>
              <a:gd name="connsiteY79" fmla="*/ 1686350 h 2164296"/>
              <a:gd name="connsiteX80" fmla="*/ 375002 w 2199040"/>
              <a:gd name="connsiteY80" fmla="*/ 1657775 h 2164296"/>
              <a:gd name="connsiteX81" fmla="*/ 317852 w 2199040"/>
              <a:gd name="connsiteY81" fmla="*/ 1600625 h 2164296"/>
              <a:gd name="connsiteX82" fmla="*/ 294040 w 2199040"/>
              <a:gd name="connsiteY82" fmla="*/ 1576813 h 2164296"/>
              <a:gd name="connsiteX83" fmla="*/ 279752 w 2199040"/>
              <a:gd name="connsiteY83" fmla="*/ 1562525 h 2164296"/>
              <a:gd name="connsiteX84" fmla="*/ 241652 w 2199040"/>
              <a:gd name="connsiteY84" fmla="*/ 1538713 h 2164296"/>
              <a:gd name="connsiteX85" fmla="*/ 217840 w 2199040"/>
              <a:gd name="connsiteY85" fmla="*/ 1510138 h 2164296"/>
              <a:gd name="connsiteX86" fmla="*/ 194027 w 2199040"/>
              <a:gd name="connsiteY86" fmla="*/ 1491088 h 2164296"/>
              <a:gd name="connsiteX87" fmla="*/ 174977 w 2199040"/>
              <a:gd name="connsiteY87" fmla="*/ 1462513 h 2164296"/>
              <a:gd name="connsiteX88" fmla="*/ 151165 w 2199040"/>
              <a:gd name="connsiteY88" fmla="*/ 1438700 h 2164296"/>
              <a:gd name="connsiteX89" fmla="*/ 141640 w 2199040"/>
              <a:gd name="connsiteY89" fmla="*/ 1424413 h 2164296"/>
              <a:gd name="connsiteX90" fmla="*/ 122590 w 2199040"/>
              <a:gd name="connsiteY90" fmla="*/ 1405363 h 2164296"/>
              <a:gd name="connsiteX91" fmla="*/ 103540 w 2199040"/>
              <a:gd name="connsiteY91" fmla="*/ 1376788 h 2164296"/>
              <a:gd name="connsiteX92" fmla="*/ 89252 w 2199040"/>
              <a:gd name="connsiteY92" fmla="*/ 1362500 h 2164296"/>
              <a:gd name="connsiteX93" fmla="*/ 60677 w 2199040"/>
              <a:gd name="connsiteY93" fmla="*/ 1305350 h 2164296"/>
              <a:gd name="connsiteX94" fmla="*/ 32102 w 2199040"/>
              <a:gd name="connsiteY94" fmla="*/ 991025 h 2164296"/>
              <a:gd name="connsiteX95" fmla="*/ 70202 w 2199040"/>
              <a:gd name="connsiteY95" fmla="*/ 929113 h 2164296"/>
              <a:gd name="connsiteX96" fmla="*/ 94015 w 2199040"/>
              <a:gd name="connsiteY96" fmla="*/ 891013 h 2164296"/>
              <a:gd name="connsiteX97" fmla="*/ 113065 w 2199040"/>
              <a:gd name="connsiteY97" fmla="*/ 848150 h 2164296"/>
              <a:gd name="connsiteX98" fmla="*/ 174977 w 2199040"/>
              <a:gd name="connsiteY98" fmla="*/ 733850 h 2164296"/>
              <a:gd name="connsiteX99" fmla="*/ 236890 w 2199040"/>
              <a:gd name="connsiteY99" fmla="*/ 610025 h 2164296"/>
              <a:gd name="connsiteX100" fmla="*/ 241652 w 2199040"/>
              <a:gd name="connsiteY100" fmla="*/ 581450 h 2164296"/>
              <a:gd name="connsiteX101" fmla="*/ 265465 w 2199040"/>
              <a:gd name="connsiteY101" fmla="*/ 538588 h 2164296"/>
              <a:gd name="connsiteX102" fmla="*/ 279752 w 2199040"/>
              <a:gd name="connsiteY102" fmla="*/ 500488 h 2164296"/>
              <a:gd name="connsiteX103" fmla="*/ 294040 w 2199040"/>
              <a:gd name="connsiteY103" fmla="*/ 471913 h 2164296"/>
              <a:gd name="connsiteX104" fmla="*/ 303565 w 2199040"/>
              <a:gd name="connsiteY104" fmla="*/ 443338 h 2164296"/>
              <a:gd name="connsiteX105" fmla="*/ 313090 w 2199040"/>
              <a:gd name="connsiteY105" fmla="*/ 429050 h 2164296"/>
              <a:gd name="connsiteX106" fmla="*/ 322615 w 2199040"/>
              <a:gd name="connsiteY106" fmla="*/ 405238 h 2164296"/>
              <a:gd name="connsiteX107" fmla="*/ 341665 w 2199040"/>
              <a:gd name="connsiteY107" fmla="*/ 381425 h 2164296"/>
              <a:gd name="connsiteX108" fmla="*/ 360715 w 2199040"/>
              <a:gd name="connsiteY108" fmla="*/ 333800 h 2164296"/>
              <a:gd name="connsiteX109" fmla="*/ 389290 w 2199040"/>
              <a:gd name="connsiteY109" fmla="*/ 290938 h 2164296"/>
              <a:gd name="connsiteX110" fmla="*/ 413102 w 2199040"/>
              <a:gd name="connsiteY110" fmla="*/ 248075 h 2164296"/>
              <a:gd name="connsiteX111" fmla="*/ 427390 w 2199040"/>
              <a:gd name="connsiteY111" fmla="*/ 229025 h 2164296"/>
              <a:gd name="connsiteX112" fmla="*/ 451202 w 2199040"/>
              <a:gd name="connsiteY112" fmla="*/ 214738 h 2164296"/>
              <a:gd name="connsiteX113" fmla="*/ 475015 w 2199040"/>
              <a:gd name="connsiteY113" fmla="*/ 190925 h 2164296"/>
              <a:gd name="connsiteX114" fmla="*/ 489302 w 2199040"/>
              <a:gd name="connsiteY114" fmla="*/ 181400 h 2164296"/>
              <a:gd name="connsiteX115" fmla="*/ 522640 w 2199040"/>
              <a:gd name="connsiteY115" fmla="*/ 143300 h 2164296"/>
              <a:gd name="connsiteX116" fmla="*/ 536927 w 2199040"/>
              <a:gd name="connsiteY116" fmla="*/ 133775 h 2164296"/>
              <a:gd name="connsiteX117" fmla="*/ 646465 w 2199040"/>
              <a:gd name="connsiteY117" fmla="*/ 71863 h 2164296"/>
              <a:gd name="connsiteX118" fmla="*/ 660752 w 2199040"/>
              <a:gd name="connsiteY118" fmla="*/ 52813 h 2164296"/>
              <a:gd name="connsiteX119" fmla="*/ 679802 w 2199040"/>
              <a:gd name="connsiteY119" fmla="*/ 48050 h 2164296"/>
              <a:gd name="connsiteX120" fmla="*/ 703615 w 2199040"/>
              <a:gd name="connsiteY120" fmla="*/ 38525 h 2164296"/>
              <a:gd name="connsiteX121" fmla="*/ 746477 w 2199040"/>
              <a:gd name="connsiteY121" fmla="*/ 24238 h 2164296"/>
              <a:gd name="connsiteX122" fmla="*/ 775052 w 2199040"/>
              <a:gd name="connsiteY122" fmla="*/ 14713 h 2164296"/>
              <a:gd name="connsiteX123" fmla="*/ 822677 w 2199040"/>
              <a:gd name="connsiteY123" fmla="*/ 9950 h 2164296"/>
              <a:gd name="connsiteX124" fmla="*/ 894115 w 2199040"/>
              <a:gd name="connsiteY124" fmla="*/ 425 h 2164296"/>
              <a:gd name="connsiteX0" fmla="*/ 827859 w 2199459"/>
              <a:gd name="connsiteY0" fmla="*/ 425 h 2164296"/>
              <a:gd name="connsiteX1" fmla="*/ 980259 w 2199459"/>
              <a:gd name="connsiteY1" fmla="*/ 5188 h 2164296"/>
              <a:gd name="connsiteX2" fmla="*/ 1004071 w 2199459"/>
              <a:gd name="connsiteY2" fmla="*/ 9950 h 2164296"/>
              <a:gd name="connsiteX3" fmla="*/ 1070746 w 2199459"/>
              <a:gd name="connsiteY3" fmla="*/ 19475 h 2164296"/>
              <a:gd name="connsiteX4" fmla="*/ 1099321 w 2199459"/>
              <a:gd name="connsiteY4" fmla="*/ 24238 h 2164296"/>
              <a:gd name="connsiteX5" fmla="*/ 1123134 w 2199459"/>
              <a:gd name="connsiteY5" fmla="*/ 38525 h 2164296"/>
              <a:gd name="connsiteX6" fmla="*/ 1165996 w 2199459"/>
              <a:gd name="connsiteY6" fmla="*/ 48050 h 2164296"/>
              <a:gd name="connsiteX7" fmla="*/ 1185046 w 2199459"/>
              <a:gd name="connsiteY7" fmla="*/ 52813 h 2164296"/>
              <a:gd name="connsiteX8" fmla="*/ 1218384 w 2199459"/>
              <a:gd name="connsiteY8" fmla="*/ 57575 h 2164296"/>
              <a:gd name="connsiteX9" fmla="*/ 1313634 w 2199459"/>
              <a:gd name="connsiteY9" fmla="*/ 71863 h 2164296"/>
              <a:gd name="connsiteX10" fmla="*/ 1485084 w 2199459"/>
              <a:gd name="connsiteY10" fmla="*/ 109963 h 2164296"/>
              <a:gd name="connsiteX11" fmla="*/ 1508896 w 2199459"/>
              <a:gd name="connsiteY11" fmla="*/ 114725 h 2164296"/>
              <a:gd name="connsiteX12" fmla="*/ 1647009 w 2199459"/>
              <a:gd name="connsiteY12" fmla="*/ 124250 h 2164296"/>
              <a:gd name="connsiteX13" fmla="*/ 1680346 w 2199459"/>
              <a:gd name="connsiteY13" fmla="*/ 129013 h 2164296"/>
              <a:gd name="connsiteX14" fmla="*/ 1704159 w 2199459"/>
              <a:gd name="connsiteY14" fmla="*/ 133775 h 2164296"/>
              <a:gd name="connsiteX15" fmla="*/ 1751784 w 2199459"/>
              <a:gd name="connsiteY15" fmla="*/ 138538 h 2164296"/>
              <a:gd name="connsiteX16" fmla="*/ 1789884 w 2199459"/>
              <a:gd name="connsiteY16" fmla="*/ 152825 h 2164296"/>
              <a:gd name="connsiteX17" fmla="*/ 1804171 w 2199459"/>
              <a:gd name="connsiteY17" fmla="*/ 162350 h 2164296"/>
              <a:gd name="connsiteX18" fmla="*/ 1827984 w 2199459"/>
              <a:gd name="connsiteY18" fmla="*/ 167113 h 2164296"/>
              <a:gd name="connsiteX19" fmla="*/ 1851796 w 2199459"/>
              <a:gd name="connsiteY19" fmla="*/ 181400 h 2164296"/>
              <a:gd name="connsiteX20" fmla="*/ 1875609 w 2199459"/>
              <a:gd name="connsiteY20" fmla="*/ 190925 h 2164296"/>
              <a:gd name="connsiteX21" fmla="*/ 1889896 w 2199459"/>
              <a:gd name="connsiteY21" fmla="*/ 205213 h 2164296"/>
              <a:gd name="connsiteX22" fmla="*/ 1923234 w 2199459"/>
              <a:gd name="connsiteY22" fmla="*/ 229025 h 2164296"/>
              <a:gd name="connsiteX23" fmla="*/ 1975621 w 2199459"/>
              <a:gd name="connsiteY23" fmla="*/ 267125 h 2164296"/>
              <a:gd name="connsiteX24" fmla="*/ 1999434 w 2199459"/>
              <a:gd name="connsiteY24" fmla="*/ 295700 h 2164296"/>
              <a:gd name="connsiteX25" fmla="*/ 2032771 w 2199459"/>
              <a:gd name="connsiteY25" fmla="*/ 348088 h 2164296"/>
              <a:gd name="connsiteX26" fmla="*/ 2051821 w 2199459"/>
              <a:gd name="connsiteY26" fmla="*/ 410000 h 2164296"/>
              <a:gd name="connsiteX27" fmla="*/ 2061346 w 2199459"/>
              <a:gd name="connsiteY27" fmla="*/ 443338 h 2164296"/>
              <a:gd name="connsiteX28" fmla="*/ 2066109 w 2199459"/>
              <a:gd name="connsiteY28" fmla="*/ 457625 h 2164296"/>
              <a:gd name="connsiteX29" fmla="*/ 2075634 w 2199459"/>
              <a:gd name="connsiteY29" fmla="*/ 476675 h 2164296"/>
              <a:gd name="connsiteX30" fmla="*/ 2094684 w 2199459"/>
              <a:gd name="connsiteY30" fmla="*/ 548113 h 2164296"/>
              <a:gd name="connsiteX31" fmla="*/ 2108971 w 2199459"/>
              <a:gd name="connsiteY31" fmla="*/ 610025 h 2164296"/>
              <a:gd name="connsiteX32" fmla="*/ 2113734 w 2199459"/>
              <a:gd name="connsiteY32" fmla="*/ 914825 h 2164296"/>
              <a:gd name="connsiteX33" fmla="*/ 2151834 w 2199459"/>
              <a:gd name="connsiteY33" fmla="*/ 1086275 h 2164296"/>
              <a:gd name="connsiteX34" fmla="*/ 2156596 w 2199459"/>
              <a:gd name="connsiteY34" fmla="*/ 1148188 h 2164296"/>
              <a:gd name="connsiteX35" fmla="*/ 2170884 w 2199459"/>
              <a:gd name="connsiteY35" fmla="*/ 1191050 h 2164296"/>
              <a:gd name="connsiteX36" fmla="*/ 2175646 w 2199459"/>
              <a:gd name="connsiteY36" fmla="*/ 1224388 h 2164296"/>
              <a:gd name="connsiteX37" fmla="*/ 2194696 w 2199459"/>
              <a:gd name="connsiteY37" fmla="*/ 1276775 h 2164296"/>
              <a:gd name="connsiteX38" fmla="*/ 2199459 w 2199459"/>
              <a:gd name="connsiteY38" fmla="*/ 1300588 h 2164296"/>
              <a:gd name="connsiteX39" fmla="*/ 2194696 w 2199459"/>
              <a:gd name="connsiteY39" fmla="*/ 1514900 h 2164296"/>
              <a:gd name="connsiteX40" fmla="*/ 2185171 w 2199459"/>
              <a:gd name="connsiteY40" fmla="*/ 1529188 h 2164296"/>
              <a:gd name="connsiteX41" fmla="*/ 2175646 w 2199459"/>
              <a:gd name="connsiteY41" fmla="*/ 1562525 h 2164296"/>
              <a:gd name="connsiteX42" fmla="*/ 2166121 w 2199459"/>
              <a:gd name="connsiteY42" fmla="*/ 1576813 h 2164296"/>
              <a:gd name="connsiteX43" fmla="*/ 2161359 w 2199459"/>
              <a:gd name="connsiteY43" fmla="*/ 1600625 h 2164296"/>
              <a:gd name="connsiteX44" fmla="*/ 2147071 w 2199459"/>
              <a:gd name="connsiteY44" fmla="*/ 1614913 h 2164296"/>
              <a:gd name="connsiteX45" fmla="*/ 2137546 w 2199459"/>
              <a:gd name="connsiteY45" fmla="*/ 1629200 h 2164296"/>
              <a:gd name="connsiteX46" fmla="*/ 2108971 w 2199459"/>
              <a:gd name="connsiteY46" fmla="*/ 1657775 h 2164296"/>
              <a:gd name="connsiteX47" fmla="*/ 2080396 w 2199459"/>
              <a:gd name="connsiteY47" fmla="*/ 1686350 h 2164296"/>
              <a:gd name="connsiteX48" fmla="*/ 2070871 w 2199459"/>
              <a:gd name="connsiteY48" fmla="*/ 1700638 h 2164296"/>
              <a:gd name="connsiteX49" fmla="*/ 2056584 w 2199459"/>
              <a:gd name="connsiteY49" fmla="*/ 1710163 h 2164296"/>
              <a:gd name="connsiteX50" fmla="*/ 2032771 w 2199459"/>
              <a:gd name="connsiteY50" fmla="*/ 1724450 h 2164296"/>
              <a:gd name="connsiteX51" fmla="*/ 2008959 w 2199459"/>
              <a:gd name="connsiteY51" fmla="*/ 1743500 h 2164296"/>
              <a:gd name="connsiteX52" fmla="*/ 1937521 w 2199459"/>
              <a:gd name="connsiteY52" fmla="*/ 1772075 h 2164296"/>
              <a:gd name="connsiteX53" fmla="*/ 1918471 w 2199459"/>
              <a:gd name="connsiteY53" fmla="*/ 1786363 h 2164296"/>
              <a:gd name="connsiteX54" fmla="*/ 1870846 w 2199459"/>
              <a:gd name="connsiteY54" fmla="*/ 1814938 h 2164296"/>
              <a:gd name="connsiteX55" fmla="*/ 1856559 w 2199459"/>
              <a:gd name="connsiteY55" fmla="*/ 1833988 h 2164296"/>
              <a:gd name="connsiteX56" fmla="*/ 1804171 w 2199459"/>
              <a:gd name="connsiteY56" fmla="*/ 1862563 h 2164296"/>
              <a:gd name="connsiteX57" fmla="*/ 1661297 w 2199459"/>
              <a:gd name="connsiteY57" fmla="*/ 1891137 h 2164296"/>
              <a:gd name="connsiteX58" fmla="*/ 1413646 w 2199459"/>
              <a:gd name="connsiteY58" fmla="*/ 2014962 h 2164296"/>
              <a:gd name="connsiteX59" fmla="*/ 1361259 w 2199459"/>
              <a:gd name="connsiteY59" fmla="*/ 2053063 h 2164296"/>
              <a:gd name="connsiteX60" fmla="*/ 1346971 w 2199459"/>
              <a:gd name="connsiteY60" fmla="*/ 2062588 h 2164296"/>
              <a:gd name="connsiteX61" fmla="*/ 1308871 w 2199459"/>
              <a:gd name="connsiteY61" fmla="*/ 2072113 h 2164296"/>
              <a:gd name="connsiteX62" fmla="*/ 1285059 w 2199459"/>
              <a:gd name="connsiteY62" fmla="*/ 2086400 h 2164296"/>
              <a:gd name="connsiteX63" fmla="*/ 1232671 w 2199459"/>
              <a:gd name="connsiteY63" fmla="*/ 2100688 h 2164296"/>
              <a:gd name="connsiteX64" fmla="*/ 1189809 w 2199459"/>
              <a:gd name="connsiteY64" fmla="*/ 2119738 h 2164296"/>
              <a:gd name="connsiteX65" fmla="*/ 1170759 w 2199459"/>
              <a:gd name="connsiteY65" fmla="*/ 2134025 h 2164296"/>
              <a:gd name="connsiteX66" fmla="*/ 1099321 w 2199459"/>
              <a:gd name="connsiteY66" fmla="*/ 2148313 h 2164296"/>
              <a:gd name="connsiteX67" fmla="*/ 1070746 w 2199459"/>
              <a:gd name="connsiteY67" fmla="*/ 2162600 h 2164296"/>
              <a:gd name="connsiteX68" fmla="*/ 937396 w 2199459"/>
              <a:gd name="connsiteY68" fmla="*/ 2157838 h 2164296"/>
              <a:gd name="connsiteX69" fmla="*/ 827859 w 2199459"/>
              <a:gd name="connsiteY69" fmla="*/ 2105450 h 2164296"/>
              <a:gd name="connsiteX70" fmla="*/ 789759 w 2199459"/>
              <a:gd name="connsiteY70" fmla="*/ 2091163 h 2164296"/>
              <a:gd name="connsiteX71" fmla="*/ 742134 w 2199459"/>
              <a:gd name="connsiteY71" fmla="*/ 2062588 h 2164296"/>
              <a:gd name="connsiteX72" fmla="*/ 684984 w 2199459"/>
              <a:gd name="connsiteY72" fmla="*/ 2038775 h 2164296"/>
              <a:gd name="connsiteX73" fmla="*/ 651646 w 2199459"/>
              <a:gd name="connsiteY73" fmla="*/ 2005438 h 2164296"/>
              <a:gd name="connsiteX74" fmla="*/ 613546 w 2199459"/>
              <a:gd name="connsiteY74" fmla="*/ 1976863 h 2164296"/>
              <a:gd name="connsiteX75" fmla="*/ 599259 w 2199459"/>
              <a:gd name="connsiteY75" fmla="*/ 1957813 h 2164296"/>
              <a:gd name="connsiteX76" fmla="*/ 584971 w 2199459"/>
              <a:gd name="connsiteY76" fmla="*/ 1934000 h 2164296"/>
              <a:gd name="connsiteX77" fmla="*/ 551634 w 2199459"/>
              <a:gd name="connsiteY77" fmla="*/ 1895900 h 2164296"/>
              <a:gd name="connsiteX78" fmla="*/ 408759 w 2199459"/>
              <a:gd name="connsiteY78" fmla="*/ 1705400 h 2164296"/>
              <a:gd name="connsiteX79" fmla="*/ 394471 w 2199459"/>
              <a:gd name="connsiteY79" fmla="*/ 1686350 h 2164296"/>
              <a:gd name="connsiteX80" fmla="*/ 375421 w 2199459"/>
              <a:gd name="connsiteY80" fmla="*/ 1657775 h 2164296"/>
              <a:gd name="connsiteX81" fmla="*/ 318271 w 2199459"/>
              <a:gd name="connsiteY81" fmla="*/ 1600625 h 2164296"/>
              <a:gd name="connsiteX82" fmla="*/ 294459 w 2199459"/>
              <a:gd name="connsiteY82" fmla="*/ 1576813 h 2164296"/>
              <a:gd name="connsiteX83" fmla="*/ 280171 w 2199459"/>
              <a:gd name="connsiteY83" fmla="*/ 1562525 h 2164296"/>
              <a:gd name="connsiteX84" fmla="*/ 242071 w 2199459"/>
              <a:gd name="connsiteY84" fmla="*/ 1538713 h 2164296"/>
              <a:gd name="connsiteX85" fmla="*/ 218259 w 2199459"/>
              <a:gd name="connsiteY85" fmla="*/ 1510138 h 2164296"/>
              <a:gd name="connsiteX86" fmla="*/ 194446 w 2199459"/>
              <a:gd name="connsiteY86" fmla="*/ 1491088 h 2164296"/>
              <a:gd name="connsiteX87" fmla="*/ 175396 w 2199459"/>
              <a:gd name="connsiteY87" fmla="*/ 1462513 h 2164296"/>
              <a:gd name="connsiteX88" fmla="*/ 151584 w 2199459"/>
              <a:gd name="connsiteY88" fmla="*/ 1438700 h 2164296"/>
              <a:gd name="connsiteX89" fmla="*/ 142059 w 2199459"/>
              <a:gd name="connsiteY89" fmla="*/ 1424413 h 2164296"/>
              <a:gd name="connsiteX90" fmla="*/ 123009 w 2199459"/>
              <a:gd name="connsiteY90" fmla="*/ 1405363 h 2164296"/>
              <a:gd name="connsiteX91" fmla="*/ 103959 w 2199459"/>
              <a:gd name="connsiteY91" fmla="*/ 1376788 h 2164296"/>
              <a:gd name="connsiteX92" fmla="*/ 61096 w 2199459"/>
              <a:gd name="connsiteY92" fmla="*/ 1305350 h 2164296"/>
              <a:gd name="connsiteX93" fmla="*/ 32521 w 2199459"/>
              <a:gd name="connsiteY93" fmla="*/ 991025 h 2164296"/>
              <a:gd name="connsiteX94" fmla="*/ 70621 w 2199459"/>
              <a:gd name="connsiteY94" fmla="*/ 929113 h 2164296"/>
              <a:gd name="connsiteX95" fmla="*/ 94434 w 2199459"/>
              <a:gd name="connsiteY95" fmla="*/ 891013 h 2164296"/>
              <a:gd name="connsiteX96" fmla="*/ 113484 w 2199459"/>
              <a:gd name="connsiteY96" fmla="*/ 848150 h 2164296"/>
              <a:gd name="connsiteX97" fmla="*/ 175396 w 2199459"/>
              <a:gd name="connsiteY97" fmla="*/ 733850 h 2164296"/>
              <a:gd name="connsiteX98" fmla="*/ 237309 w 2199459"/>
              <a:gd name="connsiteY98" fmla="*/ 610025 h 2164296"/>
              <a:gd name="connsiteX99" fmla="*/ 242071 w 2199459"/>
              <a:gd name="connsiteY99" fmla="*/ 581450 h 2164296"/>
              <a:gd name="connsiteX100" fmla="*/ 265884 w 2199459"/>
              <a:gd name="connsiteY100" fmla="*/ 538588 h 2164296"/>
              <a:gd name="connsiteX101" fmla="*/ 280171 w 2199459"/>
              <a:gd name="connsiteY101" fmla="*/ 500488 h 2164296"/>
              <a:gd name="connsiteX102" fmla="*/ 294459 w 2199459"/>
              <a:gd name="connsiteY102" fmla="*/ 471913 h 2164296"/>
              <a:gd name="connsiteX103" fmla="*/ 303984 w 2199459"/>
              <a:gd name="connsiteY103" fmla="*/ 443338 h 2164296"/>
              <a:gd name="connsiteX104" fmla="*/ 313509 w 2199459"/>
              <a:gd name="connsiteY104" fmla="*/ 429050 h 2164296"/>
              <a:gd name="connsiteX105" fmla="*/ 323034 w 2199459"/>
              <a:gd name="connsiteY105" fmla="*/ 405238 h 2164296"/>
              <a:gd name="connsiteX106" fmla="*/ 342084 w 2199459"/>
              <a:gd name="connsiteY106" fmla="*/ 381425 h 2164296"/>
              <a:gd name="connsiteX107" fmla="*/ 361134 w 2199459"/>
              <a:gd name="connsiteY107" fmla="*/ 333800 h 2164296"/>
              <a:gd name="connsiteX108" fmla="*/ 389709 w 2199459"/>
              <a:gd name="connsiteY108" fmla="*/ 290938 h 2164296"/>
              <a:gd name="connsiteX109" fmla="*/ 413521 w 2199459"/>
              <a:gd name="connsiteY109" fmla="*/ 248075 h 2164296"/>
              <a:gd name="connsiteX110" fmla="*/ 427809 w 2199459"/>
              <a:gd name="connsiteY110" fmla="*/ 229025 h 2164296"/>
              <a:gd name="connsiteX111" fmla="*/ 451621 w 2199459"/>
              <a:gd name="connsiteY111" fmla="*/ 214738 h 2164296"/>
              <a:gd name="connsiteX112" fmla="*/ 475434 w 2199459"/>
              <a:gd name="connsiteY112" fmla="*/ 190925 h 2164296"/>
              <a:gd name="connsiteX113" fmla="*/ 489721 w 2199459"/>
              <a:gd name="connsiteY113" fmla="*/ 181400 h 2164296"/>
              <a:gd name="connsiteX114" fmla="*/ 523059 w 2199459"/>
              <a:gd name="connsiteY114" fmla="*/ 143300 h 2164296"/>
              <a:gd name="connsiteX115" fmla="*/ 537346 w 2199459"/>
              <a:gd name="connsiteY115" fmla="*/ 133775 h 2164296"/>
              <a:gd name="connsiteX116" fmla="*/ 646884 w 2199459"/>
              <a:gd name="connsiteY116" fmla="*/ 71863 h 2164296"/>
              <a:gd name="connsiteX117" fmla="*/ 661171 w 2199459"/>
              <a:gd name="connsiteY117" fmla="*/ 52813 h 2164296"/>
              <a:gd name="connsiteX118" fmla="*/ 680221 w 2199459"/>
              <a:gd name="connsiteY118" fmla="*/ 48050 h 2164296"/>
              <a:gd name="connsiteX119" fmla="*/ 704034 w 2199459"/>
              <a:gd name="connsiteY119" fmla="*/ 38525 h 2164296"/>
              <a:gd name="connsiteX120" fmla="*/ 746896 w 2199459"/>
              <a:gd name="connsiteY120" fmla="*/ 24238 h 2164296"/>
              <a:gd name="connsiteX121" fmla="*/ 775471 w 2199459"/>
              <a:gd name="connsiteY121" fmla="*/ 14713 h 2164296"/>
              <a:gd name="connsiteX122" fmla="*/ 823096 w 2199459"/>
              <a:gd name="connsiteY122" fmla="*/ 9950 h 2164296"/>
              <a:gd name="connsiteX123" fmla="*/ 894534 w 2199459"/>
              <a:gd name="connsiteY123" fmla="*/ 425 h 2164296"/>
              <a:gd name="connsiteX0" fmla="*/ 828432 w 2200032"/>
              <a:gd name="connsiteY0" fmla="*/ 425 h 2164296"/>
              <a:gd name="connsiteX1" fmla="*/ 980832 w 2200032"/>
              <a:gd name="connsiteY1" fmla="*/ 5188 h 2164296"/>
              <a:gd name="connsiteX2" fmla="*/ 1004644 w 2200032"/>
              <a:gd name="connsiteY2" fmla="*/ 9950 h 2164296"/>
              <a:gd name="connsiteX3" fmla="*/ 1071319 w 2200032"/>
              <a:gd name="connsiteY3" fmla="*/ 19475 h 2164296"/>
              <a:gd name="connsiteX4" fmla="*/ 1099894 w 2200032"/>
              <a:gd name="connsiteY4" fmla="*/ 24238 h 2164296"/>
              <a:gd name="connsiteX5" fmla="*/ 1123707 w 2200032"/>
              <a:gd name="connsiteY5" fmla="*/ 38525 h 2164296"/>
              <a:gd name="connsiteX6" fmla="*/ 1166569 w 2200032"/>
              <a:gd name="connsiteY6" fmla="*/ 48050 h 2164296"/>
              <a:gd name="connsiteX7" fmla="*/ 1185619 w 2200032"/>
              <a:gd name="connsiteY7" fmla="*/ 52813 h 2164296"/>
              <a:gd name="connsiteX8" fmla="*/ 1218957 w 2200032"/>
              <a:gd name="connsiteY8" fmla="*/ 57575 h 2164296"/>
              <a:gd name="connsiteX9" fmla="*/ 1314207 w 2200032"/>
              <a:gd name="connsiteY9" fmla="*/ 71863 h 2164296"/>
              <a:gd name="connsiteX10" fmla="*/ 1485657 w 2200032"/>
              <a:gd name="connsiteY10" fmla="*/ 109963 h 2164296"/>
              <a:gd name="connsiteX11" fmla="*/ 1509469 w 2200032"/>
              <a:gd name="connsiteY11" fmla="*/ 114725 h 2164296"/>
              <a:gd name="connsiteX12" fmla="*/ 1647582 w 2200032"/>
              <a:gd name="connsiteY12" fmla="*/ 124250 h 2164296"/>
              <a:gd name="connsiteX13" fmla="*/ 1680919 w 2200032"/>
              <a:gd name="connsiteY13" fmla="*/ 129013 h 2164296"/>
              <a:gd name="connsiteX14" fmla="*/ 1704732 w 2200032"/>
              <a:gd name="connsiteY14" fmla="*/ 133775 h 2164296"/>
              <a:gd name="connsiteX15" fmla="*/ 1752357 w 2200032"/>
              <a:gd name="connsiteY15" fmla="*/ 138538 h 2164296"/>
              <a:gd name="connsiteX16" fmla="*/ 1790457 w 2200032"/>
              <a:gd name="connsiteY16" fmla="*/ 152825 h 2164296"/>
              <a:gd name="connsiteX17" fmla="*/ 1804744 w 2200032"/>
              <a:gd name="connsiteY17" fmla="*/ 162350 h 2164296"/>
              <a:gd name="connsiteX18" fmla="*/ 1828557 w 2200032"/>
              <a:gd name="connsiteY18" fmla="*/ 167113 h 2164296"/>
              <a:gd name="connsiteX19" fmla="*/ 1852369 w 2200032"/>
              <a:gd name="connsiteY19" fmla="*/ 181400 h 2164296"/>
              <a:gd name="connsiteX20" fmla="*/ 1876182 w 2200032"/>
              <a:gd name="connsiteY20" fmla="*/ 190925 h 2164296"/>
              <a:gd name="connsiteX21" fmla="*/ 1890469 w 2200032"/>
              <a:gd name="connsiteY21" fmla="*/ 205213 h 2164296"/>
              <a:gd name="connsiteX22" fmla="*/ 1923807 w 2200032"/>
              <a:gd name="connsiteY22" fmla="*/ 229025 h 2164296"/>
              <a:gd name="connsiteX23" fmla="*/ 1976194 w 2200032"/>
              <a:gd name="connsiteY23" fmla="*/ 267125 h 2164296"/>
              <a:gd name="connsiteX24" fmla="*/ 2000007 w 2200032"/>
              <a:gd name="connsiteY24" fmla="*/ 295700 h 2164296"/>
              <a:gd name="connsiteX25" fmla="*/ 2033344 w 2200032"/>
              <a:gd name="connsiteY25" fmla="*/ 348088 h 2164296"/>
              <a:gd name="connsiteX26" fmla="*/ 2052394 w 2200032"/>
              <a:gd name="connsiteY26" fmla="*/ 410000 h 2164296"/>
              <a:gd name="connsiteX27" fmla="*/ 2061919 w 2200032"/>
              <a:gd name="connsiteY27" fmla="*/ 443338 h 2164296"/>
              <a:gd name="connsiteX28" fmla="*/ 2066682 w 2200032"/>
              <a:gd name="connsiteY28" fmla="*/ 457625 h 2164296"/>
              <a:gd name="connsiteX29" fmla="*/ 2076207 w 2200032"/>
              <a:gd name="connsiteY29" fmla="*/ 476675 h 2164296"/>
              <a:gd name="connsiteX30" fmla="*/ 2095257 w 2200032"/>
              <a:gd name="connsiteY30" fmla="*/ 548113 h 2164296"/>
              <a:gd name="connsiteX31" fmla="*/ 2109544 w 2200032"/>
              <a:gd name="connsiteY31" fmla="*/ 610025 h 2164296"/>
              <a:gd name="connsiteX32" fmla="*/ 2114307 w 2200032"/>
              <a:gd name="connsiteY32" fmla="*/ 914825 h 2164296"/>
              <a:gd name="connsiteX33" fmla="*/ 2152407 w 2200032"/>
              <a:gd name="connsiteY33" fmla="*/ 1086275 h 2164296"/>
              <a:gd name="connsiteX34" fmla="*/ 2157169 w 2200032"/>
              <a:gd name="connsiteY34" fmla="*/ 1148188 h 2164296"/>
              <a:gd name="connsiteX35" fmla="*/ 2171457 w 2200032"/>
              <a:gd name="connsiteY35" fmla="*/ 1191050 h 2164296"/>
              <a:gd name="connsiteX36" fmla="*/ 2176219 w 2200032"/>
              <a:gd name="connsiteY36" fmla="*/ 1224388 h 2164296"/>
              <a:gd name="connsiteX37" fmla="*/ 2195269 w 2200032"/>
              <a:gd name="connsiteY37" fmla="*/ 1276775 h 2164296"/>
              <a:gd name="connsiteX38" fmla="*/ 2200032 w 2200032"/>
              <a:gd name="connsiteY38" fmla="*/ 1300588 h 2164296"/>
              <a:gd name="connsiteX39" fmla="*/ 2195269 w 2200032"/>
              <a:gd name="connsiteY39" fmla="*/ 1514900 h 2164296"/>
              <a:gd name="connsiteX40" fmla="*/ 2185744 w 2200032"/>
              <a:gd name="connsiteY40" fmla="*/ 1529188 h 2164296"/>
              <a:gd name="connsiteX41" fmla="*/ 2176219 w 2200032"/>
              <a:gd name="connsiteY41" fmla="*/ 1562525 h 2164296"/>
              <a:gd name="connsiteX42" fmla="*/ 2166694 w 2200032"/>
              <a:gd name="connsiteY42" fmla="*/ 1576813 h 2164296"/>
              <a:gd name="connsiteX43" fmla="*/ 2161932 w 2200032"/>
              <a:gd name="connsiteY43" fmla="*/ 1600625 h 2164296"/>
              <a:gd name="connsiteX44" fmla="*/ 2147644 w 2200032"/>
              <a:gd name="connsiteY44" fmla="*/ 1614913 h 2164296"/>
              <a:gd name="connsiteX45" fmla="*/ 2138119 w 2200032"/>
              <a:gd name="connsiteY45" fmla="*/ 1629200 h 2164296"/>
              <a:gd name="connsiteX46" fmla="*/ 2109544 w 2200032"/>
              <a:gd name="connsiteY46" fmla="*/ 1657775 h 2164296"/>
              <a:gd name="connsiteX47" fmla="*/ 2080969 w 2200032"/>
              <a:gd name="connsiteY47" fmla="*/ 1686350 h 2164296"/>
              <a:gd name="connsiteX48" fmla="*/ 2071444 w 2200032"/>
              <a:gd name="connsiteY48" fmla="*/ 1700638 h 2164296"/>
              <a:gd name="connsiteX49" fmla="*/ 2057157 w 2200032"/>
              <a:gd name="connsiteY49" fmla="*/ 1710163 h 2164296"/>
              <a:gd name="connsiteX50" fmla="*/ 2033344 w 2200032"/>
              <a:gd name="connsiteY50" fmla="*/ 1724450 h 2164296"/>
              <a:gd name="connsiteX51" fmla="*/ 2009532 w 2200032"/>
              <a:gd name="connsiteY51" fmla="*/ 1743500 h 2164296"/>
              <a:gd name="connsiteX52" fmla="*/ 1938094 w 2200032"/>
              <a:gd name="connsiteY52" fmla="*/ 1772075 h 2164296"/>
              <a:gd name="connsiteX53" fmla="*/ 1919044 w 2200032"/>
              <a:gd name="connsiteY53" fmla="*/ 1786363 h 2164296"/>
              <a:gd name="connsiteX54" fmla="*/ 1871419 w 2200032"/>
              <a:gd name="connsiteY54" fmla="*/ 1814938 h 2164296"/>
              <a:gd name="connsiteX55" fmla="*/ 1857132 w 2200032"/>
              <a:gd name="connsiteY55" fmla="*/ 1833988 h 2164296"/>
              <a:gd name="connsiteX56" fmla="*/ 1804744 w 2200032"/>
              <a:gd name="connsiteY56" fmla="*/ 1862563 h 2164296"/>
              <a:gd name="connsiteX57" fmla="*/ 1661870 w 2200032"/>
              <a:gd name="connsiteY57" fmla="*/ 1891137 h 2164296"/>
              <a:gd name="connsiteX58" fmla="*/ 1414219 w 2200032"/>
              <a:gd name="connsiteY58" fmla="*/ 2014962 h 2164296"/>
              <a:gd name="connsiteX59" fmla="*/ 1361832 w 2200032"/>
              <a:gd name="connsiteY59" fmla="*/ 2053063 h 2164296"/>
              <a:gd name="connsiteX60" fmla="*/ 1347544 w 2200032"/>
              <a:gd name="connsiteY60" fmla="*/ 2062588 h 2164296"/>
              <a:gd name="connsiteX61" fmla="*/ 1309444 w 2200032"/>
              <a:gd name="connsiteY61" fmla="*/ 2072113 h 2164296"/>
              <a:gd name="connsiteX62" fmla="*/ 1285632 w 2200032"/>
              <a:gd name="connsiteY62" fmla="*/ 2086400 h 2164296"/>
              <a:gd name="connsiteX63" fmla="*/ 1233244 w 2200032"/>
              <a:gd name="connsiteY63" fmla="*/ 2100688 h 2164296"/>
              <a:gd name="connsiteX64" fmla="*/ 1190382 w 2200032"/>
              <a:gd name="connsiteY64" fmla="*/ 2119738 h 2164296"/>
              <a:gd name="connsiteX65" fmla="*/ 1171332 w 2200032"/>
              <a:gd name="connsiteY65" fmla="*/ 2134025 h 2164296"/>
              <a:gd name="connsiteX66" fmla="*/ 1099894 w 2200032"/>
              <a:gd name="connsiteY66" fmla="*/ 2148313 h 2164296"/>
              <a:gd name="connsiteX67" fmla="*/ 1071319 w 2200032"/>
              <a:gd name="connsiteY67" fmla="*/ 2162600 h 2164296"/>
              <a:gd name="connsiteX68" fmla="*/ 937969 w 2200032"/>
              <a:gd name="connsiteY68" fmla="*/ 2157838 h 2164296"/>
              <a:gd name="connsiteX69" fmla="*/ 828432 w 2200032"/>
              <a:gd name="connsiteY69" fmla="*/ 2105450 h 2164296"/>
              <a:gd name="connsiteX70" fmla="*/ 790332 w 2200032"/>
              <a:gd name="connsiteY70" fmla="*/ 2091163 h 2164296"/>
              <a:gd name="connsiteX71" fmla="*/ 742707 w 2200032"/>
              <a:gd name="connsiteY71" fmla="*/ 2062588 h 2164296"/>
              <a:gd name="connsiteX72" fmla="*/ 685557 w 2200032"/>
              <a:gd name="connsiteY72" fmla="*/ 2038775 h 2164296"/>
              <a:gd name="connsiteX73" fmla="*/ 652219 w 2200032"/>
              <a:gd name="connsiteY73" fmla="*/ 2005438 h 2164296"/>
              <a:gd name="connsiteX74" fmla="*/ 614119 w 2200032"/>
              <a:gd name="connsiteY74" fmla="*/ 1976863 h 2164296"/>
              <a:gd name="connsiteX75" fmla="*/ 599832 w 2200032"/>
              <a:gd name="connsiteY75" fmla="*/ 1957813 h 2164296"/>
              <a:gd name="connsiteX76" fmla="*/ 585544 w 2200032"/>
              <a:gd name="connsiteY76" fmla="*/ 1934000 h 2164296"/>
              <a:gd name="connsiteX77" fmla="*/ 552207 w 2200032"/>
              <a:gd name="connsiteY77" fmla="*/ 1895900 h 2164296"/>
              <a:gd name="connsiteX78" fmla="*/ 409332 w 2200032"/>
              <a:gd name="connsiteY78" fmla="*/ 1705400 h 2164296"/>
              <a:gd name="connsiteX79" fmla="*/ 395044 w 2200032"/>
              <a:gd name="connsiteY79" fmla="*/ 1686350 h 2164296"/>
              <a:gd name="connsiteX80" fmla="*/ 375994 w 2200032"/>
              <a:gd name="connsiteY80" fmla="*/ 1657775 h 2164296"/>
              <a:gd name="connsiteX81" fmla="*/ 318844 w 2200032"/>
              <a:gd name="connsiteY81" fmla="*/ 1600625 h 2164296"/>
              <a:gd name="connsiteX82" fmla="*/ 295032 w 2200032"/>
              <a:gd name="connsiteY82" fmla="*/ 1576813 h 2164296"/>
              <a:gd name="connsiteX83" fmla="*/ 280744 w 2200032"/>
              <a:gd name="connsiteY83" fmla="*/ 1562525 h 2164296"/>
              <a:gd name="connsiteX84" fmla="*/ 242644 w 2200032"/>
              <a:gd name="connsiteY84" fmla="*/ 1538713 h 2164296"/>
              <a:gd name="connsiteX85" fmla="*/ 218832 w 2200032"/>
              <a:gd name="connsiteY85" fmla="*/ 1510138 h 2164296"/>
              <a:gd name="connsiteX86" fmla="*/ 195019 w 2200032"/>
              <a:gd name="connsiteY86" fmla="*/ 1491088 h 2164296"/>
              <a:gd name="connsiteX87" fmla="*/ 175969 w 2200032"/>
              <a:gd name="connsiteY87" fmla="*/ 1462513 h 2164296"/>
              <a:gd name="connsiteX88" fmla="*/ 152157 w 2200032"/>
              <a:gd name="connsiteY88" fmla="*/ 1438700 h 2164296"/>
              <a:gd name="connsiteX89" fmla="*/ 142632 w 2200032"/>
              <a:gd name="connsiteY89" fmla="*/ 1424413 h 2164296"/>
              <a:gd name="connsiteX90" fmla="*/ 123582 w 2200032"/>
              <a:gd name="connsiteY90" fmla="*/ 1405363 h 2164296"/>
              <a:gd name="connsiteX91" fmla="*/ 61669 w 2200032"/>
              <a:gd name="connsiteY91" fmla="*/ 1305350 h 2164296"/>
              <a:gd name="connsiteX92" fmla="*/ 33094 w 2200032"/>
              <a:gd name="connsiteY92" fmla="*/ 991025 h 2164296"/>
              <a:gd name="connsiteX93" fmla="*/ 71194 w 2200032"/>
              <a:gd name="connsiteY93" fmla="*/ 929113 h 2164296"/>
              <a:gd name="connsiteX94" fmla="*/ 95007 w 2200032"/>
              <a:gd name="connsiteY94" fmla="*/ 891013 h 2164296"/>
              <a:gd name="connsiteX95" fmla="*/ 114057 w 2200032"/>
              <a:gd name="connsiteY95" fmla="*/ 848150 h 2164296"/>
              <a:gd name="connsiteX96" fmla="*/ 175969 w 2200032"/>
              <a:gd name="connsiteY96" fmla="*/ 733850 h 2164296"/>
              <a:gd name="connsiteX97" fmla="*/ 237882 w 2200032"/>
              <a:gd name="connsiteY97" fmla="*/ 610025 h 2164296"/>
              <a:gd name="connsiteX98" fmla="*/ 242644 w 2200032"/>
              <a:gd name="connsiteY98" fmla="*/ 581450 h 2164296"/>
              <a:gd name="connsiteX99" fmla="*/ 266457 w 2200032"/>
              <a:gd name="connsiteY99" fmla="*/ 538588 h 2164296"/>
              <a:gd name="connsiteX100" fmla="*/ 280744 w 2200032"/>
              <a:gd name="connsiteY100" fmla="*/ 500488 h 2164296"/>
              <a:gd name="connsiteX101" fmla="*/ 295032 w 2200032"/>
              <a:gd name="connsiteY101" fmla="*/ 471913 h 2164296"/>
              <a:gd name="connsiteX102" fmla="*/ 304557 w 2200032"/>
              <a:gd name="connsiteY102" fmla="*/ 443338 h 2164296"/>
              <a:gd name="connsiteX103" fmla="*/ 314082 w 2200032"/>
              <a:gd name="connsiteY103" fmla="*/ 429050 h 2164296"/>
              <a:gd name="connsiteX104" fmla="*/ 323607 w 2200032"/>
              <a:gd name="connsiteY104" fmla="*/ 405238 h 2164296"/>
              <a:gd name="connsiteX105" fmla="*/ 342657 w 2200032"/>
              <a:gd name="connsiteY105" fmla="*/ 381425 h 2164296"/>
              <a:gd name="connsiteX106" fmla="*/ 361707 w 2200032"/>
              <a:gd name="connsiteY106" fmla="*/ 333800 h 2164296"/>
              <a:gd name="connsiteX107" fmla="*/ 390282 w 2200032"/>
              <a:gd name="connsiteY107" fmla="*/ 290938 h 2164296"/>
              <a:gd name="connsiteX108" fmla="*/ 414094 w 2200032"/>
              <a:gd name="connsiteY108" fmla="*/ 248075 h 2164296"/>
              <a:gd name="connsiteX109" fmla="*/ 428382 w 2200032"/>
              <a:gd name="connsiteY109" fmla="*/ 229025 h 2164296"/>
              <a:gd name="connsiteX110" fmla="*/ 452194 w 2200032"/>
              <a:gd name="connsiteY110" fmla="*/ 214738 h 2164296"/>
              <a:gd name="connsiteX111" fmla="*/ 476007 w 2200032"/>
              <a:gd name="connsiteY111" fmla="*/ 190925 h 2164296"/>
              <a:gd name="connsiteX112" fmla="*/ 490294 w 2200032"/>
              <a:gd name="connsiteY112" fmla="*/ 181400 h 2164296"/>
              <a:gd name="connsiteX113" fmla="*/ 523632 w 2200032"/>
              <a:gd name="connsiteY113" fmla="*/ 143300 h 2164296"/>
              <a:gd name="connsiteX114" fmla="*/ 537919 w 2200032"/>
              <a:gd name="connsiteY114" fmla="*/ 133775 h 2164296"/>
              <a:gd name="connsiteX115" fmla="*/ 647457 w 2200032"/>
              <a:gd name="connsiteY115" fmla="*/ 71863 h 2164296"/>
              <a:gd name="connsiteX116" fmla="*/ 661744 w 2200032"/>
              <a:gd name="connsiteY116" fmla="*/ 52813 h 2164296"/>
              <a:gd name="connsiteX117" fmla="*/ 680794 w 2200032"/>
              <a:gd name="connsiteY117" fmla="*/ 48050 h 2164296"/>
              <a:gd name="connsiteX118" fmla="*/ 704607 w 2200032"/>
              <a:gd name="connsiteY118" fmla="*/ 38525 h 2164296"/>
              <a:gd name="connsiteX119" fmla="*/ 747469 w 2200032"/>
              <a:gd name="connsiteY119" fmla="*/ 24238 h 2164296"/>
              <a:gd name="connsiteX120" fmla="*/ 776044 w 2200032"/>
              <a:gd name="connsiteY120" fmla="*/ 14713 h 2164296"/>
              <a:gd name="connsiteX121" fmla="*/ 823669 w 2200032"/>
              <a:gd name="connsiteY121" fmla="*/ 9950 h 2164296"/>
              <a:gd name="connsiteX122" fmla="*/ 895107 w 2200032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810660 w 2205948"/>
              <a:gd name="connsiteY56" fmla="*/ 1862563 h 2164296"/>
              <a:gd name="connsiteX57" fmla="*/ 1667786 w 2205948"/>
              <a:gd name="connsiteY57" fmla="*/ 1891137 h 2164296"/>
              <a:gd name="connsiteX58" fmla="*/ 1420135 w 2205948"/>
              <a:gd name="connsiteY58" fmla="*/ 2014962 h 2164296"/>
              <a:gd name="connsiteX59" fmla="*/ 1367748 w 2205948"/>
              <a:gd name="connsiteY59" fmla="*/ 2053063 h 2164296"/>
              <a:gd name="connsiteX60" fmla="*/ 1353460 w 2205948"/>
              <a:gd name="connsiteY60" fmla="*/ 2062588 h 2164296"/>
              <a:gd name="connsiteX61" fmla="*/ 1315360 w 2205948"/>
              <a:gd name="connsiteY61" fmla="*/ 2072113 h 2164296"/>
              <a:gd name="connsiteX62" fmla="*/ 1291548 w 2205948"/>
              <a:gd name="connsiteY62" fmla="*/ 2086400 h 2164296"/>
              <a:gd name="connsiteX63" fmla="*/ 1239160 w 2205948"/>
              <a:gd name="connsiteY63" fmla="*/ 2100688 h 2164296"/>
              <a:gd name="connsiteX64" fmla="*/ 1196298 w 2205948"/>
              <a:gd name="connsiteY64" fmla="*/ 2119738 h 2164296"/>
              <a:gd name="connsiteX65" fmla="*/ 1177248 w 2205948"/>
              <a:gd name="connsiteY65" fmla="*/ 2134025 h 2164296"/>
              <a:gd name="connsiteX66" fmla="*/ 1105810 w 2205948"/>
              <a:gd name="connsiteY66" fmla="*/ 2148313 h 2164296"/>
              <a:gd name="connsiteX67" fmla="*/ 1077235 w 2205948"/>
              <a:gd name="connsiteY67" fmla="*/ 2162600 h 2164296"/>
              <a:gd name="connsiteX68" fmla="*/ 943885 w 2205948"/>
              <a:gd name="connsiteY68" fmla="*/ 2157838 h 2164296"/>
              <a:gd name="connsiteX69" fmla="*/ 834348 w 2205948"/>
              <a:gd name="connsiteY69" fmla="*/ 2105450 h 2164296"/>
              <a:gd name="connsiteX70" fmla="*/ 796248 w 2205948"/>
              <a:gd name="connsiteY70" fmla="*/ 2091163 h 2164296"/>
              <a:gd name="connsiteX71" fmla="*/ 748623 w 2205948"/>
              <a:gd name="connsiteY71" fmla="*/ 2062588 h 2164296"/>
              <a:gd name="connsiteX72" fmla="*/ 691473 w 2205948"/>
              <a:gd name="connsiteY72" fmla="*/ 2038775 h 2164296"/>
              <a:gd name="connsiteX73" fmla="*/ 658135 w 2205948"/>
              <a:gd name="connsiteY73" fmla="*/ 2005438 h 2164296"/>
              <a:gd name="connsiteX74" fmla="*/ 620035 w 2205948"/>
              <a:gd name="connsiteY74" fmla="*/ 1976863 h 2164296"/>
              <a:gd name="connsiteX75" fmla="*/ 605748 w 2205948"/>
              <a:gd name="connsiteY75" fmla="*/ 1957813 h 2164296"/>
              <a:gd name="connsiteX76" fmla="*/ 591460 w 2205948"/>
              <a:gd name="connsiteY76" fmla="*/ 1934000 h 2164296"/>
              <a:gd name="connsiteX77" fmla="*/ 558123 w 2205948"/>
              <a:gd name="connsiteY77" fmla="*/ 1895900 h 2164296"/>
              <a:gd name="connsiteX78" fmla="*/ 415248 w 2205948"/>
              <a:gd name="connsiteY78" fmla="*/ 1705400 h 2164296"/>
              <a:gd name="connsiteX79" fmla="*/ 400960 w 2205948"/>
              <a:gd name="connsiteY79" fmla="*/ 1686350 h 2164296"/>
              <a:gd name="connsiteX80" fmla="*/ 381910 w 2205948"/>
              <a:gd name="connsiteY80" fmla="*/ 1657775 h 2164296"/>
              <a:gd name="connsiteX81" fmla="*/ 324760 w 2205948"/>
              <a:gd name="connsiteY81" fmla="*/ 1600625 h 2164296"/>
              <a:gd name="connsiteX82" fmla="*/ 300948 w 2205948"/>
              <a:gd name="connsiteY82" fmla="*/ 1576813 h 2164296"/>
              <a:gd name="connsiteX83" fmla="*/ 286660 w 2205948"/>
              <a:gd name="connsiteY83" fmla="*/ 1562525 h 2164296"/>
              <a:gd name="connsiteX84" fmla="*/ 248560 w 2205948"/>
              <a:gd name="connsiteY84" fmla="*/ 1538713 h 2164296"/>
              <a:gd name="connsiteX85" fmla="*/ 224748 w 2205948"/>
              <a:gd name="connsiteY85" fmla="*/ 1510138 h 2164296"/>
              <a:gd name="connsiteX86" fmla="*/ 200935 w 2205948"/>
              <a:gd name="connsiteY86" fmla="*/ 1491088 h 2164296"/>
              <a:gd name="connsiteX87" fmla="*/ 181885 w 2205948"/>
              <a:gd name="connsiteY87" fmla="*/ 1462513 h 2164296"/>
              <a:gd name="connsiteX88" fmla="*/ 158073 w 2205948"/>
              <a:gd name="connsiteY88" fmla="*/ 1438700 h 2164296"/>
              <a:gd name="connsiteX89" fmla="*/ 148548 w 2205948"/>
              <a:gd name="connsiteY89" fmla="*/ 1424413 h 2164296"/>
              <a:gd name="connsiteX90" fmla="*/ 129498 w 2205948"/>
              <a:gd name="connsiteY90" fmla="*/ 1405363 h 2164296"/>
              <a:gd name="connsiteX91" fmla="*/ 67585 w 2205948"/>
              <a:gd name="connsiteY91" fmla="*/ 1305350 h 2164296"/>
              <a:gd name="connsiteX92" fmla="*/ 39010 w 2205948"/>
              <a:gd name="connsiteY92" fmla="*/ 991025 h 2164296"/>
              <a:gd name="connsiteX93" fmla="*/ 77110 w 2205948"/>
              <a:gd name="connsiteY93" fmla="*/ 929113 h 2164296"/>
              <a:gd name="connsiteX94" fmla="*/ 100923 w 2205948"/>
              <a:gd name="connsiteY94" fmla="*/ 891013 h 2164296"/>
              <a:gd name="connsiteX95" fmla="*/ 119973 w 2205948"/>
              <a:gd name="connsiteY95" fmla="*/ 848150 h 2164296"/>
              <a:gd name="connsiteX96" fmla="*/ 181885 w 2205948"/>
              <a:gd name="connsiteY96" fmla="*/ 733850 h 2164296"/>
              <a:gd name="connsiteX97" fmla="*/ 243798 w 2205948"/>
              <a:gd name="connsiteY97" fmla="*/ 610025 h 2164296"/>
              <a:gd name="connsiteX98" fmla="*/ 248560 w 2205948"/>
              <a:gd name="connsiteY98" fmla="*/ 581450 h 2164296"/>
              <a:gd name="connsiteX99" fmla="*/ 272373 w 2205948"/>
              <a:gd name="connsiteY99" fmla="*/ 538588 h 2164296"/>
              <a:gd name="connsiteX100" fmla="*/ 286660 w 2205948"/>
              <a:gd name="connsiteY100" fmla="*/ 500488 h 2164296"/>
              <a:gd name="connsiteX101" fmla="*/ 300948 w 2205948"/>
              <a:gd name="connsiteY101" fmla="*/ 471913 h 2164296"/>
              <a:gd name="connsiteX102" fmla="*/ 310473 w 2205948"/>
              <a:gd name="connsiteY102" fmla="*/ 443338 h 2164296"/>
              <a:gd name="connsiteX103" fmla="*/ 319998 w 2205948"/>
              <a:gd name="connsiteY103" fmla="*/ 429050 h 2164296"/>
              <a:gd name="connsiteX104" fmla="*/ 329523 w 2205948"/>
              <a:gd name="connsiteY104" fmla="*/ 405238 h 2164296"/>
              <a:gd name="connsiteX105" fmla="*/ 348573 w 2205948"/>
              <a:gd name="connsiteY105" fmla="*/ 381425 h 2164296"/>
              <a:gd name="connsiteX106" fmla="*/ 367623 w 2205948"/>
              <a:gd name="connsiteY106" fmla="*/ 333800 h 2164296"/>
              <a:gd name="connsiteX107" fmla="*/ 396198 w 2205948"/>
              <a:gd name="connsiteY107" fmla="*/ 290938 h 2164296"/>
              <a:gd name="connsiteX108" fmla="*/ 420010 w 2205948"/>
              <a:gd name="connsiteY108" fmla="*/ 248075 h 2164296"/>
              <a:gd name="connsiteX109" fmla="*/ 434298 w 2205948"/>
              <a:gd name="connsiteY109" fmla="*/ 229025 h 2164296"/>
              <a:gd name="connsiteX110" fmla="*/ 458110 w 2205948"/>
              <a:gd name="connsiteY110" fmla="*/ 214738 h 2164296"/>
              <a:gd name="connsiteX111" fmla="*/ 481923 w 2205948"/>
              <a:gd name="connsiteY111" fmla="*/ 190925 h 2164296"/>
              <a:gd name="connsiteX112" fmla="*/ 496210 w 2205948"/>
              <a:gd name="connsiteY112" fmla="*/ 181400 h 2164296"/>
              <a:gd name="connsiteX113" fmla="*/ 529548 w 2205948"/>
              <a:gd name="connsiteY113" fmla="*/ 143300 h 2164296"/>
              <a:gd name="connsiteX114" fmla="*/ 543835 w 2205948"/>
              <a:gd name="connsiteY114" fmla="*/ 133775 h 2164296"/>
              <a:gd name="connsiteX115" fmla="*/ 653373 w 2205948"/>
              <a:gd name="connsiteY115" fmla="*/ 71863 h 2164296"/>
              <a:gd name="connsiteX116" fmla="*/ 667660 w 2205948"/>
              <a:gd name="connsiteY116" fmla="*/ 52813 h 2164296"/>
              <a:gd name="connsiteX117" fmla="*/ 686710 w 2205948"/>
              <a:gd name="connsiteY117" fmla="*/ 48050 h 2164296"/>
              <a:gd name="connsiteX118" fmla="*/ 710523 w 2205948"/>
              <a:gd name="connsiteY118" fmla="*/ 38525 h 2164296"/>
              <a:gd name="connsiteX119" fmla="*/ 753385 w 2205948"/>
              <a:gd name="connsiteY119" fmla="*/ 24238 h 2164296"/>
              <a:gd name="connsiteX120" fmla="*/ 781960 w 2205948"/>
              <a:gd name="connsiteY120" fmla="*/ 14713 h 2164296"/>
              <a:gd name="connsiteX121" fmla="*/ 829585 w 2205948"/>
              <a:gd name="connsiteY121" fmla="*/ 9950 h 2164296"/>
              <a:gd name="connsiteX122" fmla="*/ 901023 w 2205948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667786 w 2205948"/>
              <a:gd name="connsiteY56" fmla="*/ 1891137 h 2164296"/>
              <a:gd name="connsiteX57" fmla="*/ 1420135 w 2205948"/>
              <a:gd name="connsiteY57" fmla="*/ 2014962 h 2164296"/>
              <a:gd name="connsiteX58" fmla="*/ 1367748 w 2205948"/>
              <a:gd name="connsiteY58" fmla="*/ 2053063 h 2164296"/>
              <a:gd name="connsiteX59" fmla="*/ 1353460 w 2205948"/>
              <a:gd name="connsiteY59" fmla="*/ 2062588 h 2164296"/>
              <a:gd name="connsiteX60" fmla="*/ 1315360 w 2205948"/>
              <a:gd name="connsiteY60" fmla="*/ 2072113 h 2164296"/>
              <a:gd name="connsiteX61" fmla="*/ 1291548 w 2205948"/>
              <a:gd name="connsiteY61" fmla="*/ 2086400 h 2164296"/>
              <a:gd name="connsiteX62" fmla="*/ 1239160 w 2205948"/>
              <a:gd name="connsiteY62" fmla="*/ 2100688 h 2164296"/>
              <a:gd name="connsiteX63" fmla="*/ 1196298 w 2205948"/>
              <a:gd name="connsiteY63" fmla="*/ 2119738 h 2164296"/>
              <a:gd name="connsiteX64" fmla="*/ 1177248 w 2205948"/>
              <a:gd name="connsiteY64" fmla="*/ 2134025 h 2164296"/>
              <a:gd name="connsiteX65" fmla="*/ 1105810 w 2205948"/>
              <a:gd name="connsiteY65" fmla="*/ 2148313 h 2164296"/>
              <a:gd name="connsiteX66" fmla="*/ 1077235 w 2205948"/>
              <a:gd name="connsiteY66" fmla="*/ 2162600 h 2164296"/>
              <a:gd name="connsiteX67" fmla="*/ 943885 w 2205948"/>
              <a:gd name="connsiteY67" fmla="*/ 2157838 h 2164296"/>
              <a:gd name="connsiteX68" fmla="*/ 834348 w 2205948"/>
              <a:gd name="connsiteY68" fmla="*/ 2105450 h 2164296"/>
              <a:gd name="connsiteX69" fmla="*/ 796248 w 2205948"/>
              <a:gd name="connsiteY69" fmla="*/ 2091163 h 2164296"/>
              <a:gd name="connsiteX70" fmla="*/ 748623 w 2205948"/>
              <a:gd name="connsiteY70" fmla="*/ 2062588 h 2164296"/>
              <a:gd name="connsiteX71" fmla="*/ 691473 w 2205948"/>
              <a:gd name="connsiteY71" fmla="*/ 2038775 h 2164296"/>
              <a:gd name="connsiteX72" fmla="*/ 658135 w 2205948"/>
              <a:gd name="connsiteY72" fmla="*/ 2005438 h 2164296"/>
              <a:gd name="connsiteX73" fmla="*/ 620035 w 2205948"/>
              <a:gd name="connsiteY73" fmla="*/ 1976863 h 2164296"/>
              <a:gd name="connsiteX74" fmla="*/ 605748 w 2205948"/>
              <a:gd name="connsiteY74" fmla="*/ 1957813 h 2164296"/>
              <a:gd name="connsiteX75" fmla="*/ 591460 w 2205948"/>
              <a:gd name="connsiteY75" fmla="*/ 1934000 h 2164296"/>
              <a:gd name="connsiteX76" fmla="*/ 558123 w 2205948"/>
              <a:gd name="connsiteY76" fmla="*/ 1895900 h 2164296"/>
              <a:gd name="connsiteX77" fmla="*/ 415248 w 2205948"/>
              <a:gd name="connsiteY77" fmla="*/ 1705400 h 2164296"/>
              <a:gd name="connsiteX78" fmla="*/ 400960 w 2205948"/>
              <a:gd name="connsiteY78" fmla="*/ 1686350 h 2164296"/>
              <a:gd name="connsiteX79" fmla="*/ 381910 w 2205948"/>
              <a:gd name="connsiteY79" fmla="*/ 1657775 h 2164296"/>
              <a:gd name="connsiteX80" fmla="*/ 324760 w 2205948"/>
              <a:gd name="connsiteY80" fmla="*/ 1600625 h 2164296"/>
              <a:gd name="connsiteX81" fmla="*/ 300948 w 2205948"/>
              <a:gd name="connsiteY81" fmla="*/ 1576813 h 2164296"/>
              <a:gd name="connsiteX82" fmla="*/ 286660 w 2205948"/>
              <a:gd name="connsiteY82" fmla="*/ 1562525 h 2164296"/>
              <a:gd name="connsiteX83" fmla="*/ 248560 w 2205948"/>
              <a:gd name="connsiteY83" fmla="*/ 1538713 h 2164296"/>
              <a:gd name="connsiteX84" fmla="*/ 224748 w 2205948"/>
              <a:gd name="connsiteY84" fmla="*/ 1510138 h 2164296"/>
              <a:gd name="connsiteX85" fmla="*/ 200935 w 2205948"/>
              <a:gd name="connsiteY85" fmla="*/ 1491088 h 2164296"/>
              <a:gd name="connsiteX86" fmla="*/ 181885 w 2205948"/>
              <a:gd name="connsiteY86" fmla="*/ 1462513 h 2164296"/>
              <a:gd name="connsiteX87" fmla="*/ 158073 w 2205948"/>
              <a:gd name="connsiteY87" fmla="*/ 1438700 h 2164296"/>
              <a:gd name="connsiteX88" fmla="*/ 148548 w 2205948"/>
              <a:gd name="connsiteY88" fmla="*/ 1424413 h 2164296"/>
              <a:gd name="connsiteX89" fmla="*/ 129498 w 2205948"/>
              <a:gd name="connsiteY89" fmla="*/ 1405363 h 2164296"/>
              <a:gd name="connsiteX90" fmla="*/ 67585 w 2205948"/>
              <a:gd name="connsiteY90" fmla="*/ 1305350 h 2164296"/>
              <a:gd name="connsiteX91" fmla="*/ 39010 w 2205948"/>
              <a:gd name="connsiteY91" fmla="*/ 991025 h 2164296"/>
              <a:gd name="connsiteX92" fmla="*/ 77110 w 2205948"/>
              <a:gd name="connsiteY92" fmla="*/ 929113 h 2164296"/>
              <a:gd name="connsiteX93" fmla="*/ 100923 w 2205948"/>
              <a:gd name="connsiteY93" fmla="*/ 891013 h 2164296"/>
              <a:gd name="connsiteX94" fmla="*/ 119973 w 2205948"/>
              <a:gd name="connsiteY94" fmla="*/ 848150 h 2164296"/>
              <a:gd name="connsiteX95" fmla="*/ 181885 w 2205948"/>
              <a:gd name="connsiteY95" fmla="*/ 733850 h 2164296"/>
              <a:gd name="connsiteX96" fmla="*/ 243798 w 2205948"/>
              <a:gd name="connsiteY96" fmla="*/ 610025 h 2164296"/>
              <a:gd name="connsiteX97" fmla="*/ 248560 w 2205948"/>
              <a:gd name="connsiteY97" fmla="*/ 581450 h 2164296"/>
              <a:gd name="connsiteX98" fmla="*/ 272373 w 2205948"/>
              <a:gd name="connsiteY98" fmla="*/ 538588 h 2164296"/>
              <a:gd name="connsiteX99" fmla="*/ 286660 w 2205948"/>
              <a:gd name="connsiteY99" fmla="*/ 500488 h 2164296"/>
              <a:gd name="connsiteX100" fmla="*/ 300948 w 2205948"/>
              <a:gd name="connsiteY100" fmla="*/ 471913 h 2164296"/>
              <a:gd name="connsiteX101" fmla="*/ 310473 w 2205948"/>
              <a:gd name="connsiteY101" fmla="*/ 443338 h 2164296"/>
              <a:gd name="connsiteX102" fmla="*/ 319998 w 2205948"/>
              <a:gd name="connsiteY102" fmla="*/ 429050 h 2164296"/>
              <a:gd name="connsiteX103" fmla="*/ 329523 w 2205948"/>
              <a:gd name="connsiteY103" fmla="*/ 405238 h 2164296"/>
              <a:gd name="connsiteX104" fmla="*/ 348573 w 2205948"/>
              <a:gd name="connsiteY104" fmla="*/ 381425 h 2164296"/>
              <a:gd name="connsiteX105" fmla="*/ 367623 w 2205948"/>
              <a:gd name="connsiteY105" fmla="*/ 333800 h 2164296"/>
              <a:gd name="connsiteX106" fmla="*/ 396198 w 2205948"/>
              <a:gd name="connsiteY106" fmla="*/ 290938 h 2164296"/>
              <a:gd name="connsiteX107" fmla="*/ 420010 w 2205948"/>
              <a:gd name="connsiteY107" fmla="*/ 248075 h 2164296"/>
              <a:gd name="connsiteX108" fmla="*/ 434298 w 2205948"/>
              <a:gd name="connsiteY108" fmla="*/ 229025 h 2164296"/>
              <a:gd name="connsiteX109" fmla="*/ 458110 w 2205948"/>
              <a:gd name="connsiteY109" fmla="*/ 214738 h 2164296"/>
              <a:gd name="connsiteX110" fmla="*/ 481923 w 2205948"/>
              <a:gd name="connsiteY110" fmla="*/ 190925 h 2164296"/>
              <a:gd name="connsiteX111" fmla="*/ 496210 w 2205948"/>
              <a:gd name="connsiteY111" fmla="*/ 181400 h 2164296"/>
              <a:gd name="connsiteX112" fmla="*/ 529548 w 2205948"/>
              <a:gd name="connsiteY112" fmla="*/ 143300 h 2164296"/>
              <a:gd name="connsiteX113" fmla="*/ 543835 w 2205948"/>
              <a:gd name="connsiteY113" fmla="*/ 133775 h 2164296"/>
              <a:gd name="connsiteX114" fmla="*/ 653373 w 2205948"/>
              <a:gd name="connsiteY114" fmla="*/ 71863 h 2164296"/>
              <a:gd name="connsiteX115" fmla="*/ 667660 w 2205948"/>
              <a:gd name="connsiteY115" fmla="*/ 52813 h 2164296"/>
              <a:gd name="connsiteX116" fmla="*/ 686710 w 2205948"/>
              <a:gd name="connsiteY116" fmla="*/ 48050 h 2164296"/>
              <a:gd name="connsiteX117" fmla="*/ 710523 w 2205948"/>
              <a:gd name="connsiteY117" fmla="*/ 38525 h 2164296"/>
              <a:gd name="connsiteX118" fmla="*/ 753385 w 2205948"/>
              <a:gd name="connsiteY118" fmla="*/ 24238 h 2164296"/>
              <a:gd name="connsiteX119" fmla="*/ 781960 w 2205948"/>
              <a:gd name="connsiteY119" fmla="*/ 14713 h 2164296"/>
              <a:gd name="connsiteX120" fmla="*/ 829585 w 2205948"/>
              <a:gd name="connsiteY120" fmla="*/ 9950 h 2164296"/>
              <a:gd name="connsiteX121" fmla="*/ 901023 w 2205948"/>
              <a:gd name="connsiteY121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67786 w 2205948"/>
              <a:gd name="connsiteY55" fmla="*/ 189113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96173 w 2205948"/>
              <a:gd name="connsiteY94" fmla="*/ 75290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205948" h="2164296">
                <a:moveTo>
                  <a:pt x="834348" y="425"/>
                </a:moveTo>
                <a:cubicBezTo>
                  <a:pt x="885148" y="2013"/>
                  <a:pt x="935997" y="2445"/>
                  <a:pt x="986748" y="5188"/>
                </a:cubicBezTo>
                <a:cubicBezTo>
                  <a:pt x="994831" y="5625"/>
                  <a:pt x="1002565" y="8688"/>
                  <a:pt x="1010560" y="9950"/>
                </a:cubicBezTo>
                <a:cubicBezTo>
                  <a:pt x="1032736" y="13451"/>
                  <a:pt x="1055010" y="16300"/>
                  <a:pt x="1077235" y="19475"/>
                </a:cubicBezTo>
                <a:cubicBezTo>
                  <a:pt x="1086794" y="20841"/>
                  <a:pt x="1096285" y="22650"/>
                  <a:pt x="1105810" y="24238"/>
                </a:cubicBezTo>
                <a:cubicBezTo>
                  <a:pt x="1113748" y="29000"/>
                  <a:pt x="1121344" y="34385"/>
                  <a:pt x="1129623" y="38525"/>
                </a:cubicBezTo>
                <a:cubicBezTo>
                  <a:pt x="1141985" y="44706"/>
                  <a:pt x="1160282" y="45609"/>
                  <a:pt x="1172485" y="48050"/>
                </a:cubicBezTo>
                <a:cubicBezTo>
                  <a:pt x="1178903" y="49334"/>
                  <a:pt x="1185095" y="51642"/>
                  <a:pt x="1191535" y="52813"/>
                </a:cubicBezTo>
                <a:cubicBezTo>
                  <a:pt x="1202579" y="54821"/>
                  <a:pt x="1213800" y="55730"/>
                  <a:pt x="1224873" y="57575"/>
                </a:cubicBezTo>
                <a:cubicBezTo>
                  <a:pt x="1309563" y="71689"/>
                  <a:pt x="1244912" y="63505"/>
                  <a:pt x="1320123" y="71863"/>
                </a:cubicBezTo>
                <a:cubicBezTo>
                  <a:pt x="1364573" y="80594"/>
                  <a:pt x="1459029" y="102819"/>
                  <a:pt x="1491573" y="109963"/>
                </a:cubicBezTo>
                <a:cubicBezTo>
                  <a:pt x="1524117" y="117107"/>
                  <a:pt x="1507340" y="113831"/>
                  <a:pt x="1515385" y="114725"/>
                </a:cubicBezTo>
                <a:cubicBezTo>
                  <a:pt x="1541305" y="117605"/>
                  <a:pt x="1632093" y="122912"/>
                  <a:pt x="1653498" y="124250"/>
                </a:cubicBezTo>
                <a:cubicBezTo>
                  <a:pt x="1664610" y="125838"/>
                  <a:pt x="1675763" y="127168"/>
                  <a:pt x="1686835" y="129013"/>
                </a:cubicBezTo>
                <a:cubicBezTo>
                  <a:pt x="1694820" y="130344"/>
                  <a:pt x="1702624" y="132705"/>
                  <a:pt x="1710648" y="133775"/>
                </a:cubicBezTo>
                <a:cubicBezTo>
                  <a:pt x="1726462" y="135884"/>
                  <a:pt x="1742398" y="136950"/>
                  <a:pt x="1758273" y="138538"/>
                </a:cubicBezTo>
                <a:cubicBezTo>
                  <a:pt x="1770973" y="143300"/>
                  <a:pt x="1784025" y="147212"/>
                  <a:pt x="1796373" y="152825"/>
                </a:cubicBezTo>
                <a:cubicBezTo>
                  <a:pt x="1801584" y="155193"/>
                  <a:pt x="1805301" y="160340"/>
                  <a:pt x="1810660" y="162350"/>
                </a:cubicBezTo>
                <a:cubicBezTo>
                  <a:pt x="1818239" y="165192"/>
                  <a:pt x="1826535" y="165525"/>
                  <a:pt x="1834473" y="167113"/>
                </a:cubicBezTo>
                <a:cubicBezTo>
                  <a:pt x="1842410" y="171875"/>
                  <a:pt x="1850006" y="177260"/>
                  <a:pt x="1858285" y="181400"/>
                </a:cubicBezTo>
                <a:cubicBezTo>
                  <a:pt x="1865932" y="185223"/>
                  <a:pt x="1874848" y="186394"/>
                  <a:pt x="1882098" y="190925"/>
                </a:cubicBezTo>
                <a:cubicBezTo>
                  <a:pt x="1887809" y="194495"/>
                  <a:pt x="1891271" y="200830"/>
                  <a:pt x="1896385" y="205213"/>
                </a:cubicBezTo>
                <a:cubicBezTo>
                  <a:pt x="1911948" y="218553"/>
                  <a:pt x="1914647" y="218257"/>
                  <a:pt x="1929723" y="229025"/>
                </a:cubicBezTo>
                <a:cubicBezTo>
                  <a:pt x="1947293" y="241575"/>
                  <a:pt x="1968287" y="250538"/>
                  <a:pt x="1982110" y="267125"/>
                </a:cubicBezTo>
                <a:cubicBezTo>
                  <a:pt x="1990048" y="276650"/>
                  <a:pt x="1998484" y="285781"/>
                  <a:pt x="2005923" y="295700"/>
                </a:cubicBezTo>
                <a:cubicBezTo>
                  <a:pt x="2018018" y="311827"/>
                  <a:pt x="2028859" y="330752"/>
                  <a:pt x="2039260" y="348088"/>
                </a:cubicBezTo>
                <a:cubicBezTo>
                  <a:pt x="2066720" y="444198"/>
                  <a:pt x="2031945" y="324314"/>
                  <a:pt x="2058310" y="410000"/>
                </a:cubicBezTo>
                <a:cubicBezTo>
                  <a:pt x="2061709" y="421046"/>
                  <a:pt x="2064514" y="432268"/>
                  <a:pt x="2067835" y="443338"/>
                </a:cubicBezTo>
                <a:cubicBezTo>
                  <a:pt x="2069278" y="448146"/>
                  <a:pt x="2070620" y="453011"/>
                  <a:pt x="2072598" y="457625"/>
                </a:cubicBezTo>
                <a:cubicBezTo>
                  <a:pt x="2075395" y="464150"/>
                  <a:pt x="2078948" y="470325"/>
                  <a:pt x="2082123" y="476675"/>
                </a:cubicBezTo>
                <a:cubicBezTo>
                  <a:pt x="2094919" y="553458"/>
                  <a:pt x="2075163" y="444071"/>
                  <a:pt x="2101173" y="548113"/>
                </a:cubicBezTo>
                <a:cubicBezTo>
                  <a:pt x="2112661" y="594066"/>
                  <a:pt x="2108131" y="573376"/>
                  <a:pt x="2115460" y="610025"/>
                </a:cubicBezTo>
                <a:cubicBezTo>
                  <a:pt x="2117048" y="711625"/>
                  <a:pt x="2113079" y="835450"/>
                  <a:pt x="2120223" y="914825"/>
                </a:cubicBezTo>
                <a:cubicBezTo>
                  <a:pt x="2127367" y="994200"/>
                  <a:pt x="2151179" y="1047381"/>
                  <a:pt x="2158323" y="1086275"/>
                </a:cubicBezTo>
                <a:cubicBezTo>
                  <a:pt x="2165467" y="1125169"/>
                  <a:pt x="2159382" y="1127823"/>
                  <a:pt x="2163085" y="1148188"/>
                </a:cubicBezTo>
                <a:cubicBezTo>
                  <a:pt x="2165779" y="1163005"/>
                  <a:pt x="2172610" y="1176763"/>
                  <a:pt x="2177373" y="1191050"/>
                </a:cubicBezTo>
                <a:cubicBezTo>
                  <a:pt x="2178960" y="1202163"/>
                  <a:pt x="2179611" y="1213450"/>
                  <a:pt x="2182135" y="1224388"/>
                </a:cubicBezTo>
                <a:cubicBezTo>
                  <a:pt x="2191028" y="1262928"/>
                  <a:pt x="2190771" y="1242062"/>
                  <a:pt x="2201185" y="1276775"/>
                </a:cubicBezTo>
                <a:cubicBezTo>
                  <a:pt x="2203511" y="1284528"/>
                  <a:pt x="2204360" y="1292650"/>
                  <a:pt x="2205948" y="1300588"/>
                </a:cubicBezTo>
                <a:cubicBezTo>
                  <a:pt x="2204360" y="1372025"/>
                  <a:pt x="2205642" y="1443584"/>
                  <a:pt x="2201185" y="1514900"/>
                </a:cubicBezTo>
                <a:cubicBezTo>
                  <a:pt x="2200828" y="1520613"/>
                  <a:pt x="2194220" y="1524068"/>
                  <a:pt x="2191660" y="1529188"/>
                </a:cubicBezTo>
                <a:cubicBezTo>
                  <a:pt x="2182397" y="1547715"/>
                  <a:pt x="2191286" y="1541174"/>
                  <a:pt x="2182135" y="1562525"/>
                </a:cubicBezTo>
                <a:cubicBezTo>
                  <a:pt x="2179880" y="1567786"/>
                  <a:pt x="2175785" y="1572050"/>
                  <a:pt x="2172610" y="1576813"/>
                </a:cubicBezTo>
                <a:cubicBezTo>
                  <a:pt x="2171023" y="1584750"/>
                  <a:pt x="2171468" y="1593385"/>
                  <a:pt x="2167848" y="1600625"/>
                </a:cubicBezTo>
                <a:cubicBezTo>
                  <a:pt x="2164836" y="1606649"/>
                  <a:pt x="2157872" y="1609739"/>
                  <a:pt x="2153560" y="1614913"/>
                </a:cubicBezTo>
                <a:cubicBezTo>
                  <a:pt x="2149896" y="1619310"/>
                  <a:pt x="2147838" y="1624922"/>
                  <a:pt x="2144035" y="1629200"/>
                </a:cubicBezTo>
                <a:cubicBezTo>
                  <a:pt x="2135086" y="1639268"/>
                  <a:pt x="2123542" y="1646999"/>
                  <a:pt x="2115460" y="1657775"/>
                </a:cubicBezTo>
                <a:cubicBezTo>
                  <a:pt x="2097739" y="1681404"/>
                  <a:pt x="2107777" y="1672422"/>
                  <a:pt x="2086885" y="1686350"/>
                </a:cubicBezTo>
                <a:cubicBezTo>
                  <a:pt x="2083710" y="1691113"/>
                  <a:pt x="2081407" y="1696590"/>
                  <a:pt x="2077360" y="1700638"/>
                </a:cubicBezTo>
                <a:cubicBezTo>
                  <a:pt x="2073313" y="1704685"/>
                  <a:pt x="2067927" y="1707130"/>
                  <a:pt x="2063073" y="1710163"/>
                </a:cubicBezTo>
                <a:cubicBezTo>
                  <a:pt x="2055223" y="1715069"/>
                  <a:pt x="2046843" y="1719142"/>
                  <a:pt x="2039260" y="1724450"/>
                </a:cubicBezTo>
                <a:cubicBezTo>
                  <a:pt x="2030933" y="1730279"/>
                  <a:pt x="2024432" y="1738744"/>
                  <a:pt x="2015448" y="1743500"/>
                </a:cubicBezTo>
                <a:cubicBezTo>
                  <a:pt x="1989180" y="1757407"/>
                  <a:pt x="1969237" y="1763667"/>
                  <a:pt x="1944010" y="1772075"/>
                </a:cubicBezTo>
                <a:cubicBezTo>
                  <a:pt x="1937660" y="1776838"/>
                  <a:pt x="1931637" y="1782071"/>
                  <a:pt x="1924960" y="1786363"/>
                </a:cubicBezTo>
                <a:cubicBezTo>
                  <a:pt x="1909387" y="1796374"/>
                  <a:pt x="1922578" y="1800651"/>
                  <a:pt x="1877335" y="1814938"/>
                </a:cubicBezTo>
                <a:cubicBezTo>
                  <a:pt x="1832092" y="1829225"/>
                  <a:pt x="1729699" y="1838750"/>
                  <a:pt x="1653499" y="1872087"/>
                </a:cubicBezTo>
                <a:cubicBezTo>
                  <a:pt x="1534436" y="1924474"/>
                  <a:pt x="1467760" y="1984799"/>
                  <a:pt x="1420135" y="2014962"/>
                </a:cubicBezTo>
                <a:cubicBezTo>
                  <a:pt x="1372510" y="2045125"/>
                  <a:pt x="1393576" y="2046605"/>
                  <a:pt x="1367748" y="2053063"/>
                </a:cubicBezTo>
                <a:cubicBezTo>
                  <a:pt x="1362985" y="2056238"/>
                  <a:pt x="1358580" y="2060028"/>
                  <a:pt x="1353460" y="2062588"/>
                </a:cubicBezTo>
                <a:cubicBezTo>
                  <a:pt x="1343699" y="2067468"/>
                  <a:pt x="1324413" y="2070302"/>
                  <a:pt x="1315360" y="2072113"/>
                </a:cubicBezTo>
                <a:cubicBezTo>
                  <a:pt x="1307423" y="2076875"/>
                  <a:pt x="1299975" y="2082570"/>
                  <a:pt x="1291548" y="2086400"/>
                </a:cubicBezTo>
                <a:cubicBezTo>
                  <a:pt x="1272558" y="2095032"/>
                  <a:pt x="1258899" y="2096740"/>
                  <a:pt x="1239160" y="2100688"/>
                </a:cubicBezTo>
                <a:cubicBezTo>
                  <a:pt x="1188848" y="2138420"/>
                  <a:pt x="1253170" y="2094461"/>
                  <a:pt x="1196298" y="2119738"/>
                </a:cubicBezTo>
                <a:cubicBezTo>
                  <a:pt x="1189045" y="2122962"/>
                  <a:pt x="1184187" y="2130170"/>
                  <a:pt x="1177248" y="2134025"/>
                </a:cubicBezTo>
                <a:cubicBezTo>
                  <a:pt x="1151811" y="2148156"/>
                  <a:pt x="1137328" y="2145161"/>
                  <a:pt x="1105810" y="2148313"/>
                </a:cubicBezTo>
                <a:cubicBezTo>
                  <a:pt x="1096285" y="2153075"/>
                  <a:pt x="1087866" y="2161975"/>
                  <a:pt x="1077235" y="2162600"/>
                </a:cubicBezTo>
                <a:cubicBezTo>
                  <a:pt x="1032833" y="2165212"/>
                  <a:pt x="987677" y="2165623"/>
                  <a:pt x="943885" y="2157838"/>
                </a:cubicBezTo>
                <a:cubicBezTo>
                  <a:pt x="849110" y="2140989"/>
                  <a:pt x="888473" y="2132512"/>
                  <a:pt x="834348" y="2105450"/>
                </a:cubicBezTo>
                <a:cubicBezTo>
                  <a:pt x="822216" y="2099384"/>
                  <a:pt x="808380" y="2097229"/>
                  <a:pt x="796248" y="2091163"/>
                </a:cubicBezTo>
                <a:cubicBezTo>
                  <a:pt x="779689" y="2082884"/>
                  <a:pt x="765182" y="2070868"/>
                  <a:pt x="748623" y="2062588"/>
                </a:cubicBezTo>
                <a:cubicBezTo>
                  <a:pt x="711068" y="2043810"/>
                  <a:pt x="730151" y="2051668"/>
                  <a:pt x="691473" y="2038775"/>
                </a:cubicBezTo>
                <a:cubicBezTo>
                  <a:pt x="680360" y="2027663"/>
                  <a:pt x="670011" y="2015730"/>
                  <a:pt x="658135" y="2005438"/>
                </a:cubicBezTo>
                <a:cubicBezTo>
                  <a:pt x="646138" y="1995041"/>
                  <a:pt x="629560" y="1989563"/>
                  <a:pt x="620035" y="1976863"/>
                </a:cubicBezTo>
                <a:cubicBezTo>
                  <a:pt x="615273" y="1970513"/>
                  <a:pt x="610151" y="1964417"/>
                  <a:pt x="605748" y="1957813"/>
                </a:cubicBezTo>
                <a:cubicBezTo>
                  <a:pt x="600613" y="1950111"/>
                  <a:pt x="597104" y="1941337"/>
                  <a:pt x="591460" y="1934000"/>
                </a:cubicBezTo>
                <a:cubicBezTo>
                  <a:pt x="581171" y="1920624"/>
                  <a:pt x="587492" y="1934000"/>
                  <a:pt x="558123" y="1895900"/>
                </a:cubicBezTo>
                <a:cubicBezTo>
                  <a:pt x="528754" y="1857800"/>
                  <a:pt x="441442" y="1740325"/>
                  <a:pt x="415248" y="1705400"/>
                </a:cubicBezTo>
                <a:cubicBezTo>
                  <a:pt x="389054" y="1670475"/>
                  <a:pt x="405512" y="1692853"/>
                  <a:pt x="400960" y="1686350"/>
                </a:cubicBezTo>
                <a:cubicBezTo>
                  <a:pt x="394395" y="1676972"/>
                  <a:pt x="389407" y="1666426"/>
                  <a:pt x="381910" y="1657775"/>
                </a:cubicBezTo>
                <a:lnTo>
                  <a:pt x="324760" y="1600625"/>
                </a:lnTo>
                <a:lnTo>
                  <a:pt x="300948" y="1576813"/>
                </a:lnTo>
                <a:cubicBezTo>
                  <a:pt x="296185" y="1572050"/>
                  <a:pt x="292372" y="1566095"/>
                  <a:pt x="286660" y="1562525"/>
                </a:cubicBezTo>
                <a:lnTo>
                  <a:pt x="248560" y="1538713"/>
                </a:lnTo>
                <a:cubicBezTo>
                  <a:pt x="238416" y="1523496"/>
                  <a:pt x="239416" y="1522972"/>
                  <a:pt x="224748" y="1510138"/>
                </a:cubicBezTo>
                <a:cubicBezTo>
                  <a:pt x="217098" y="1503444"/>
                  <a:pt x="207735" y="1498644"/>
                  <a:pt x="200935" y="1491088"/>
                </a:cubicBezTo>
                <a:cubicBezTo>
                  <a:pt x="193277" y="1482579"/>
                  <a:pt x="189134" y="1471373"/>
                  <a:pt x="181885" y="1462513"/>
                </a:cubicBezTo>
                <a:cubicBezTo>
                  <a:pt x="174777" y="1453825"/>
                  <a:pt x="165465" y="1447148"/>
                  <a:pt x="158073" y="1438700"/>
                </a:cubicBezTo>
                <a:cubicBezTo>
                  <a:pt x="154304" y="1434392"/>
                  <a:pt x="152273" y="1428759"/>
                  <a:pt x="148548" y="1424413"/>
                </a:cubicBezTo>
                <a:cubicBezTo>
                  <a:pt x="142704" y="1417595"/>
                  <a:pt x="142992" y="1425207"/>
                  <a:pt x="129498" y="1405363"/>
                </a:cubicBezTo>
                <a:cubicBezTo>
                  <a:pt x="116004" y="1385519"/>
                  <a:pt x="105355" y="1365096"/>
                  <a:pt x="67585" y="1305350"/>
                </a:cubicBezTo>
                <a:cubicBezTo>
                  <a:pt x="23929" y="1236294"/>
                  <a:pt x="-43540" y="1163268"/>
                  <a:pt x="39010" y="991025"/>
                </a:cubicBezTo>
                <a:cubicBezTo>
                  <a:pt x="121560" y="818782"/>
                  <a:pt x="69200" y="948889"/>
                  <a:pt x="77110" y="929113"/>
                </a:cubicBezTo>
                <a:cubicBezTo>
                  <a:pt x="89136" y="899047"/>
                  <a:pt x="80590" y="911345"/>
                  <a:pt x="100923" y="891013"/>
                </a:cubicBezTo>
                <a:cubicBezTo>
                  <a:pt x="111746" y="869367"/>
                  <a:pt x="104098" y="871169"/>
                  <a:pt x="119973" y="848150"/>
                </a:cubicBezTo>
                <a:cubicBezTo>
                  <a:pt x="135848" y="825131"/>
                  <a:pt x="175536" y="792588"/>
                  <a:pt x="196173" y="752900"/>
                </a:cubicBezTo>
                <a:cubicBezTo>
                  <a:pt x="216811" y="713213"/>
                  <a:pt x="210512" y="665500"/>
                  <a:pt x="243798" y="610025"/>
                </a:cubicBezTo>
                <a:cubicBezTo>
                  <a:pt x="245385" y="600500"/>
                  <a:pt x="245785" y="590699"/>
                  <a:pt x="248560" y="581450"/>
                </a:cubicBezTo>
                <a:cubicBezTo>
                  <a:pt x="252506" y="568297"/>
                  <a:pt x="267104" y="550004"/>
                  <a:pt x="272373" y="538588"/>
                </a:cubicBezTo>
                <a:cubicBezTo>
                  <a:pt x="278057" y="526273"/>
                  <a:pt x="281317" y="512955"/>
                  <a:pt x="286660" y="500488"/>
                </a:cubicBezTo>
                <a:cubicBezTo>
                  <a:pt x="290855" y="490700"/>
                  <a:pt x="296852" y="481743"/>
                  <a:pt x="300948" y="471913"/>
                </a:cubicBezTo>
                <a:cubicBezTo>
                  <a:pt x="304810" y="462645"/>
                  <a:pt x="306395" y="452513"/>
                  <a:pt x="310473" y="443338"/>
                </a:cubicBezTo>
                <a:cubicBezTo>
                  <a:pt x="312798" y="438107"/>
                  <a:pt x="317438" y="434170"/>
                  <a:pt x="319998" y="429050"/>
                </a:cubicBezTo>
                <a:cubicBezTo>
                  <a:pt x="323821" y="421404"/>
                  <a:pt x="325125" y="412569"/>
                  <a:pt x="329523" y="405238"/>
                </a:cubicBezTo>
                <a:cubicBezTo>
                  <a:pt x="334753" y="396522"/>
                  <a:pt x="342223" y="389363"/>
                  <a:pt x="348573" y="381425"/>
                </a:cubicBezTo>
                <a:cubicBezTo>
                  <a:pt x="354406" y="358089"/>
                  <a:pt x="352866" y="358394"/>
                  <a:pt x="367623" y="333800"/>
                </a:cubicBezTo>
                <a:cubicBezTo>
                  <a:pt x="376458" y="319076"/>
                  <a:pt x="388519" y="306296"/>
                  <a:pt x="396198" y="290938"/>
                </a:cubicBezTo>
                <a:cubicBezTo>
                  <a:pt x="405274" y="272786"/>
                  <a:pt x="408053" y="266010"/>
                  <a:pt x="420010" y="248075"/>
                </a:cubicBezTo>
                <a:cubicBezTo>
                  <a:pt x="424413" y="241470"/>
                  <a:pt x="428324" y="234252"/>
                  <a:pt x="434298" y="229025"/>
                </a:cubicBezTo>
                <a:cubicBezTo>
                  <a:pt x="441264" y="222930"/>
                  <a:pt x="450882" y="220520"/>
                  <a:pt x="458110" y="214738"/>
                </a:cubicBezTo>
                <a:cubicBezTo>
                  <a:pt x="466876" y="207725"/>
                  <a:pt x="473475" y="198317"/>
                  <a:pt x="481923" y="190925"/>
                </a:cubicBezTo>
                <a:cubicBezTo>
                  <a:pt x="486230" y="187156"/>
                  <a:pt x="491813" y="185064"/>
                  <a:pt x="496210" y="181400"/>
                </a:cubicBezTo>
                <a:cubicBezTo>
                  <a:pt x="519331" y="162133"/>
                  <a:pt x="503808" y="169040"/>
                  <a:pt x="529548" y="143300"/>
                </a:cubicBezTo>
                <a:cubicBezTo>
                  <a:pt x="533595" y="139253"/>
                  <a:pt x="523197" y="145681"/>
                  <a:pt x="543835" y="133775"/>
                </a:cubicBezTo>
                <a:cubicBezTo>
                  <a:pt x="564473" y="121869"/>
                  <a:pt x="632736" y="85357"/>
                  <a:pt x="653373" y="71863"/>
                </a:cubicBezTo>
                <a:cubicBezTo>
                  <a:pt x="658135" y="65513"/>
                  <a:pt x="661201" y="57427"/>
                  <a:pt x="667660" y="52813"/>
                </a:cubicBezTo>
                <a:cubicBezTo>
                  <a:pt x="672986" y="49008"/>
                  <a:pt x="680500" y="50120"/>
                  <a:pt x="686710" y="48050"/>
                </a:cubicBezTo>
                <a:cubicBezTo>
                  <a:pt x="694820" y="45346"/>
                  <a:pt x="702711" y="41997"/>
                  <a:pt x="710523" y="38525"/>
                </a:cubicBezTo>
                <a:cubicBezTo>
                  <a:pt x="756752" y="17979"/>
                  <a:pt x="699878" y="38831"/>
                  <a:pt x="753385" y="24238"/>
                </a:cubicBezTo>
                <a:cubicBezTo>
                  <a:pt x="763071" y="21596"/>
                  <a:pt x="772092" y="16563"/>
                  <a:pt x="781960" y="14713"/>
                </a:cubicBezTo>
                <a:cubicBezTo>
                  <a:pt x="797641" y="11773"/>
                  <a:pt x="813710" y="11538"/>
                  <a:pt x="829585" y="9950"/>
                </a:cubicBezTo>
                <a:cubicBezTo>
                  <a:pt x="875134" y="-3064"/>
                  <a:pt x="851366" y="425"/>
                  <a:pt x="901023" y="425"/>
                </a:cubicBezTo>
              </a:path>
            </a:pathLst>
          </a:custGeom>
          <a:solidFill>
            <a:srgbClr val="51597F">
              <a:alpha val="17000"/>
            </a:srgb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5" name="Graphic 37">
            <a:extLst>
              <a:ext uri="{FF2B5EF4-FFF2-40B4-BE49-F238E27FC236}">
                <a16:creationId xmlns:a16="http://schemas.microsoft.com/office/drawing/2014/main" id="{31B00DF9-9381-75DD-4236-0B46C4B6D54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7235" y="236429"/>
            <a:ext cx="612000" cy="478958"/>
          </a:xfrm>
          <a:prstGeom prst="rect">
            <a:avLst/>
          </a:prstGeom>
        </p:spPr>
      </p:pic>
      <p:pic>
        <p:nvPicPr>
          <p:cNvPr id="26" name="Graphic 49">
            <a:extLst>
              <a:ext uri="{FF2B5EF4-FFF2-40B4-BE49-F238E27FC236}">
                <a16:creationId xmlns:a16="http://schemas.microsoft.com/office/drawing/2014/main" id="{65A2EE87-34C9-656B-F013-32F7F3407D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19656" y="84963"/>
            <a:ext cx="612000" cy="590155"/>
          </a:xfrm>
          <a:prstGeom prst="rect">
            <a:avLst/>
          </a:prstGeom>
        </p:spPr>
      </p:pic>
      <p:pic>
        <p:nvPicPr>
          <p:cNvPr id="27" name="Graphic 55">
            <a:extLst>
              <a:ext uri="{FF2B5EF4-FFF2-40B4-BE49-F238E27FC236}">
                <a16:creationId xmlns:a16="http://schemas.microsoft.com/office/drawing/2014/main" id="{729ED5DB-5F5C-8B8A-B729-F7A15F597C2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48057" y="116888"/>
            <a:ext cx="540000" cy="483660"/>
          </a:xfrm>
          <a:prstGeom prst="rect">
            <a:avLst/>
          </a:prstGeom>
        </p:spPr>
      </p:pic>
      <p:pic>
        <p:nvPicPr>
          <p:cNvPr id="1280" name="Graphic 57">
            <a:extLst>
              <a:ext uri="{FF2B5EF4-FFF2-40B4-BE49-F238E27FC236}">
                <a16:creationId xmlns:a16="http://schemas.microsoft.com/office/drawing/2014/main" id="{7CE155EA-C8FE-2A76-D85C-B6156AB0718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23074" y="162134"/>
            <a:ext cx="612000" cy="457657"/>
          </a:xfrm>
          <a:prstGeom prst="rect">
            <a:avLst/>
          </a:prstGeom>
        </p:spPr>
      </p:pic>
      <p:pic>
        <p:nvPicPr>
          <p:cNvPr id="1281" name="Graphic 59">
            <a:extLst>
              <a:ext uri="{FF2B5EF4-FFF2-40B4-BE49-F238E27FC236}">
                <a16:creationId xmlns:a16="http://schemas.microsoft.com/office/drawing/2014/main" id="{1A3E5652-4CBA-D7B7-7212-9C2B17A382A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475494" y="120133"/>
            <a:ext cx="612000" cy="646969"/>
          </a:xfrm>
          <a:prstGeom prst="rect">
            <a:avLst/>
          </a:prstGeom>
        </p:spPr>
      </p:pic>
      <p:pic>
        <p:nvPicPr>
          <p:cNvPr id="1282" name="Graphic 61">
            <a:extLst>
              <a:ext uri="{FF2B5EF4-FFF2-40B4-BE49-F238E27FC236}">
                <a16:creationId xmlns:a16="http://schemas.microsoft.com/office/drawing/2014/main" id="{01BFFC9E-1EFA-1599-F559-EE8AB195348F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507117" y="84963"/>
            <a:ext cx="540000" cy="612000"/>
          </a:xfrm>
          <a:prstGeom prst="rect">
            <a:avLst/>
          </a:prstGeom>
        </p:spPr>
      </p:pic>
      <p:pic>
        <p:nvPicPr>
          <p:cNvPr id="1283" name="Grafik 1282">
            <a:extLst>
              <a:ext uri="{FF2B5EF4-FFF2-40B4-BE49-F238E27FC236}">
                <a16:creationId xmlns:a16="http://schemas.microsoft.com/office/drawing/2014/main" id="{17002CE4-F55D-C9AF-4738-275D41B228F0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379279" y="48963"/>
            <a:ext cx="648000" cy="648000"/>
          </a:xfrm>
          <a:prstGeom prst="rect">
            <a:avLst/>
          </a:prstGeom>
        </p:spPr>
      </p:pic>
      <p:pic>
        <p:nvPicPr>
          <p:cNvPr id="1284" name="Grafik 1283">
            <a:extLst>
              <a:ext uri="{FF2B5EF4-FFF2-40B4-BE49-F238E27FC236}">
                <a16:creationId xmlns:a16="http://schemas.microsoft.com/office/drawing/2014/main" id="{74649D07-36BD-8CC1-FB57-729809B10D58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365220" y="84963"/>
            <a:ext cx="612000" cy="612000"/>
          </a:xfrm>
          <a:prstGeom prst="rect">
            <a:avLst/>
          </a:prstGeom>
        </p:spPr>
      </p:pic>
      <p:pic>
        <p:nvPicPr>
          <p:cNvPr id="1285" name="Grafik 1284">
            <a:extLst>
              <a:ext uri="{FF2B5EF4-FFF2-40B4-BE49-F238E27FC236}">
                <a16:creationId xmlns:a16="http://schemas.microsoft.com/office/drawing/2014/main" id="{41F32C83-8127-9488-8F0B-02892F146597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445252" y="120133"/>
            <a:ext cx="612000" cy="612000"/>
          </a:xfrm>
          <a:prstGeom prst="rect">
            <a:avLst/>
          </a:prstGeom>
        </p:spPr>
      </p:pic>
      <p:pic>
        <p:nvPicPr>
          <p:cNvPr id="1286" name="Graphic 62">
            <a:extLst>
              <a:ext uri="{FF2B5EF4-FFF2-40B4-BE49-F238E27FC236}">
                <a16:creationId xmlns:a16="http://schemas.microsoft.com/office/drawing/2014/main" id="{A2FAC93D-39D0-BB07-C8ED-B42716A86A0B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424556" y="168026"/>
            <a:ext cx="540000" cy="445875"/>
          </a:xfrm>
          <a:prstGeom prst="rect">
            <a:avLst/>
          </a:prstGeom>
        </p:spPr>
      </p:pic>
      <p:pic>
        <p:nvPicPr>
          <p:cNvPr id="1287" name="Grafik 1286">
            <a:extLst>
              <a:ext uri="{FF2B5EF4-FFF2-40B4-BE49-F238E27FC236}">
                <a16:creationId xmlns:a16="http://schemas.microsoft.com/office/drawing/2014/main" id="{06C11C34-AC44-78BC-9401-DB7E9F42DD82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1473043" y="109064"/>
            <a:ext cx="612000" cy="612000"/>
          </a:xfrm>
          <a:prstGeom prst="rect">
            <a:avLst/>
          </a:prstGeom>
        </p:spPr>
      </p:pic>
      <p:pic>
        <p:nvPicPr>
          <p:cNvPr id="1288" name="Grafik 1287">
            <a:extLst>
              <a:ext uri="{FF2B5EF4-FFF2-40B4-BE49-F238E27FC236}">
                <a16:creationId xmlns:a16="http://schemas.microsoft.com/office/drawing/2014/main" id="{E8C045E1-2D84-C667-9C81-408BAACD0064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392301" y="84963"/>
            <a:ext cx="612000" cy="612000"/>
          </a:xfrm>
          <a:prstGeom prst="rect">
            <a:avLst/>
          </a:prstGeom>
        </p:spPr>
      </p:pic>
      <p:pic>
        <p:nvPicPr>
          <p:cNvPr id="1289" name="Graphic 39">
            <a:extLst>
              <a:ext uri="{FF2B5EF4-FFF2-40B4-BE49-F238E27FC236}">
                <a16:creationId xmlns:a16="http://schemas.microsoft.com/office/drawing/2014/main" id="{9F56B364-1402-5724-B75C-96CD4DE0BB99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8564823" y="6129641"/>
            <a:ext cx="612000" cy="612000"/>
          </a:xfrm>
          <a:prstGeom prst="rect">
            <a:avLst/>
          </a:prstGeom>
        </p:spPr>
      </p:pic>
      <p:pic>
        <p:nvPicPr>
          <p:cNvPr id="1290" name="Graphic 41">
            <a:extLst>
              <a:ext uri="{FF2B5EF4-FFF2-40B4-BE49-F238E27FC236}">
                <a16:creationId xmlns:a16="http://schemas.microsoft.com/office/drawing/2014/main" id="{5C1B3FF8-DC19-A148-7F8A-4B81C87EC9C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386010" y="6117289"/>
            <a:ext cx="612000" cy="612000"/>
          </a:xfrm>
          <a:prstGeom prst="rect">
            <a:avLst/>
          </a:prstGeom>
        </p:spPr>
      </p:pic>
      <p:pic>
        <p:nvPicPr>
          <p:cNvPr id="1292" name="Graphic 43">
            <a:extLst>
              <a:ext uri="{FF2B5EF4-FFF2-40B4-BE49-F238E27FC236}">
                <a16:creationId xmlns:a16="http://schemas.microsoft.com/office/drawing/2014/main" id="{018C9713-2EF6-A0D1-FA96-E3E8715B239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6255432" y="6128235"/>
            <a:ext cx="612000" cy="612000"/>
          </a:xfrm>
          <a:prstGeom prst="rect">
            <a:avLst/>
          </a:prstGeom>
        </p:spPr>
      </p:pic>
      <p:pic>
        <p:nvPicPr>
          <p:cNvPr id="1293" name="Graphic 45">
            <a:extLst>
              <a:ext uri="{FF2B5EF4-FFF2-40B4-BE49-F238E27FC236}">
                <a16:creationId xmlns:a16="http://schemas.microsoft.com/office/drawing/2014/main" id="{F5121910-2DD7-7C65-81EC-EBF06EE51EB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946041" y="6128235"/>
            <a:ext cx="612000" cy="612000"/>
          </a:xfrm>
          <a:prstGeom prst="rect">
            <a:avLst/>
          </a:prstGeom>
        </p:spPr>
      </p:pic>
      <p:pic>
        <p:nvPicPr>
          <p:cNvPr id="1294" name="Graphic 47">
            <a:extLst>
              <a:ext uri="{FF2B5EF4-FFF2-40B4-BE49-F238E27FC236}">
                <a16:creationId xmlns:a16="http://schemas.microsoft.com/office/drawing/2014/main" id="{8CBB8638-D3F4-383C-2DE5-35052C753A45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751252" y="6116705"/>
            <a:ext cx="612000" cy="612000"/>
          </a:xfrm>
          <a:prstGeom prst="rect">
            <a:avLst/>
          </a:prstGeom>
        </p:spPr>
      </p:pic>
      <p:pic>
        <p:nvPicPr>
          <p:cNvPr id="1295" name="Grafik 1294">
            <a:extLst>
              <a:ext uri="{FF2B5EF4-FFF2-40B4-BE49-F238E27FC236}">
                <a16:creationId xmlns:a16="http://schemas.microsoft.com/office/drawing/2014/main" id="{A69BCF55-532F-FB68-0036-82F473B5799A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9643021" y="6128235"/>
            <a:ext cx="612000" cy="612000"/>
          </a:xfrm>
          <a:prstGeom prst="rect">
            <a:avLst/>
          </a:prstGeom>
        </p:spPr>
      </p:pic>
      <p:pic>
        <p:nvPicPr>
          <p:cNvPr id="1296" name="Grafik 1295">
            <a:extLst>
              <a:ext uri="{FF2B5EF4-FFF2-40B4-BE49-F238E27FC236}">
                <a16:creationId xmlns:a16="http://schemas.microsoft.com/office/drawing/2014/main" id="{8A19596D-14DB-B70A-CF5E-2D77EDA1C139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778720" y="6138308"/>
            <a:ext cx="612000" cy="612000"/>
          </a:xfrm>
          <a:prstGeom prst="rect">
            <a:avLst/>
          </a:prstGeom>
        </p:spPr>
      </p:pic>
      <p:pic>
        <p:nvPicPr>
          <p:cNvPr id="1297" name="Grafik 1296">
            <a:extLst>
              <a:ext uri="{FF2B5EF4-FFF2-40B4-BE49-F238E27FC236}">
                <a16:creationId xmlns:a16="http://schemas.microsoft.com/office/drawing/2014/main" id="{0ECC9EC8-54A3-3D48-ACE9-A201E3738C2A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5145369" y="6140504"/>
            <a:ext cx="612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684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1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6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4pt Medium" pitchFamily="2" charset="0"/>
              </a:defRPr>
            </a:lvl1pPr>
          </a:lstStyle>
          <a:p>
            <a:pPr lvl="0"/>
            <a:r>
              <a:rPr lang="da-DK"/>
              <a:t>Underoverskrift, DM Sans Medium, 20 pt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8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>
                <a:latin typeface="+mj-lt"/>
              </a:defRPr>
            </a:lvl1pPr>
          </a:lstStyle>
          <a:p>
            <a:pPr lvl="0"/>
            <a:r>
              <a:rPr lang="da-DK"/>
              <a:t>TITEL, DM SANS EXTRABOLD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9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4pt" pitchFamily="2" charset="0"/>
              </a:defRPr>
            </a:lvl1pPr>
          </a:lstStyle>
          <a:p>
            <a:pPr lvl="0"/>
            <a:r>
              <a:rPr lang="da-DK"/>
              <a:t>Dato, DM Sans 16 pts</a:t>
            </a:r>
          </a:p>
        </p:txBody>
      </p:sp>
    </p:spTree>
    <p:extLst>
      <p:ext uri="{BB962C8B-B14F-4D97-AF65-F5344CB8AC3E}">
        <p14:creationId xmlns:p14="http://schemas.microsoft.com/office/powerpoint/2010/main" val="3707835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1537724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1537724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87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2065284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41B3374-721C-DA35-EAB5-51F36F8F4B4F}"/>
              </a:ext>
            </a:extLst>
          </p:cNvPr>
          <p:cNvGrpSpPr/>
          <p:nvPr userDrawn="1"/>
        </p:nvGrpSpPr>
        <p:grpSpPr>
          <a:xfrm>
            <a:off x="6159984" y="916886"/>
            <a:ext cx="4708276" cy="4957523"/>
            <a:chOff x="2321514" y="434564"/>
            <a:chExt cx="4708276" cy="495752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A4B125EC-7481-2234-B824-3284FE6E3F83}"/>
                </a:ext>
              </a:extLst>
            </p:cNvPr>
            <p:cNvSpPr/>
            <p:nvPr/>
          </p:nvSpPr>
          <p:spPr>
            <a:xfrm>
              <a:off x="3856876" y="2200105"/>
              <a:ext cx="2743949" cy="2342989"/>
            </a:xfrm>
            <a:custGeom>
              <a:avLst/>
              <a:gdLst>
                <a:gd name="connsiteX0" fmla="*/ 2742815 w 2743949"/>
                <a:gd name="connsiteY0" fmla="*/ 0 h 2342989"/>
                <a:gd name="connsiteX1" fmla="*/ 2742815 w 2743949"/>
                <a:gd name="connsiteY1" fmla="*/ 1385546 h 2342989"/>
                <a:gd name="connsiteX2" fmla="*/ 2743949 w 2743949"/>
                <a:gd name="connsiteY2" fmla="*/ 1385543 h 2342989"/>
                <a:gd name="connsiteX3" fmla="*/ 2743949 w 2743949"/>
                <a:gd name="connsiteY3" fmla="*/ 2342989 h 2342989"/>
                <a:gd name="connsiteX4" fmla="*/ 2742815 w 2743949"/>
                <a:gd name="connsiteY4" fmla="*/ 2342976 h 2342989"/>
                <a:gd name="connsiteX5" fmla="*/ 0 w 2743949"/>
                <a:gd name="connsiteY5" fmla="*/ 2342976 h 2342989"/>
                <a:gd name="connsiteX6" fmla="*/ 0 w 2743949"/>
                <a:gd name="connsiteY6" fmla="*/ 1902955 h 2342989"/>
                <a:gd name="connsiteX7" fmla="*/ 44151 w 2743949"/>
                <a:gd name="connsiteY7" fmla="*/ 1902955 h 2342989"/>
                <a:gd name="connsiteX8" fmla="*/ 44151 w 2743949"/>
                <a:gd name="connsiteY8" fmla="*/ 1889561 h 2342989"/>
                <a:gd name="connsiteX9" fmla="*/ 0 w 2743949"/>
                <a:gd name="connsiteY9" fmla="*/ 1888072 h 2342989"/>
                <a:gd name="connsiteX10" fmla="*/ 0 w 2743949"/>
                <a:gd name="connsiteY10" fmla="*/ 53080 h 2342989"/>
                <a:gd name="connsiteX11" fmla="*/ 2690231 w 2743949"/>
                <a:gd name="connsiteY11" fmla="*/ 53080 h 2342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43949" h="2342989">
                  <a:moveTo>
                    <a:pt x="2742815" y="0"/>
                  </a:moveTo>
                  <a:lnTo>
                    <a:pt x="2742815" y="1385546"/>
                  </a:lnTo>
                  <a:lnTo>
                    <a:pt x="2743949" y="1385543"/>
                  </a:lnTo>
                  <a:lnTo>
                    <a:pt x="2743949" y="2342989"/>
                  </a:lnTo>
                  <a:lnTo>
                    <a:pt x="2742815" y="2342976"/>
                  </a:lnTo>
                  <a:lnTo>
                    <a:pt x="0" y="2342976"/>
                  </a:lnTo>
                  <a:lnTo>
                    <a:pt x="0" y="1902955"/>
                  </a:lnTo>
                  <a:lnTo>
                    <a:pt x="44151" y="1902955"/>
                  </a:lnTo>
                  <a:lnTo>
                    <a:pt x="44151" y="1889561"/>
                  </a:lnTo>
                  <a:lnTo>
                    <a:pt x="0" y="1888072"/>
                  </a:lnTo>
                  <a:lnTo>
                    <a:pt x="0" y="53080"/>
                  </a:lnTo>
                  <a:lnTo>
                    <a:pt x="2690231" y="53080"/>
                  </a:lnTo>
                  <a:close/>
                </a:path>
              </a:pathLst>
            </a:custGeom>
            <a:solidFill>
              <a:srgbClr val="FFFFF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E94F6F-F061-C0F9-DD8C-DD8A755BEDC4}"/>
                </a:ext>
              </a:extLst>
            </p:cNvPr>
            <p:cNvSpPr/>
            <p:nvPr/>
          </p:nvSpPr>
          <p:spPr>
            <a:xfrm>
              <a:off x="3735336" y="4170030"/>
              <a:ext cx="136421" cy="378507"/>
            </a:xfrm>
            <a:custGeom>
              <a:avLst/>
              <a:gdLst>
                <a:gd name="connsiteX0" fmla="*/ 0 w 136421"/>
                <a:gd name="connsiteY0" fmla="*/ 0 h 378507"/>
                <a:gd name="connsiteX1" fmla="*/ 136421 w 136421"/>
                <a:gd name="connsiteY1" fmla="*/ 0 h 378507"/>
                <a:gd name="connsiteX2" fmla="*/ 136421 w 136421"/>
                <a:gd name="connsiteY2" fmla="*/ 378507 h 378507"/>
                <a:gd name="connsiteX3" fmla="*/ 0 w 136421"/>
                <a:gd name="connsiteY3" fmla="*/ 378507 h 378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421" h="378507">
                  <a:moveTo>
                    <a:pt x="0" y="0"/>
                  </a:moveTo>
                  <a:lnTo>
                    <a:pt x="136421" y="0"/>
                  </a:lnTo>
                  <a:lnTo>
                    <a:pt x="136421" y="378507"/>
                  </a:lnTo>
                  <a:lnTo>
                    <a:pt x="0" y="378507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9D105D9-5CFF-EF76-9BF3-79600647E2DF}"/>
                </a:ext>
              </a:extLst>
            </p:cNvPr>
            <p:cNvSpPr/>
            <p:nvPr/>
          </p:nvSpPr>
          <p:spPr>
            <a:xfrm>
              <a:off x="6454340" y="887979"/>
              <a:ext cx="537010" cy="892444"/>
            </a:xfrm>
            <a:custGeom>
              <a:avLst/>
              <a:gdLst>
                <a:gd name="connsiteX0" fmla="*/ 509472 w 537010"/>
                <a:gd name="connsiteY0" fmla="*/ 0 h 892444"/>
                <a:gd name="connsiteX1" fmla="*/ 537010 w 537010"/>
                <a:gd name="connsiteY1" fmla="*/ 2778 h 892444"/>
                <a:gd name="connsiteX2" fmla="*/ 537010 w 537010"/>
                <a:gd name="connsiteY2" fmla="*/ 891521 h 892444"/>
                <a:gd name="connsiteX3" fmla="*/ 173627 w 537010"/>
                <a:gd name="connsiteY3" fmla="*/ 892444 h 892444"/>
                <a:gd name="connsiteX4" fmla="*/ 0 w 537010"/>
                <a:gd name="connsiteY4" fmla="*/ 509472 h 892444"/>
                <a:gd name="connsiteX5" fmla="*/ 509472 w 537010"/>
                <a:gd name="connsiteY5" fmla="*/ 0 h 892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7010" h="892444">
                  <a:moveTo>
                    <a:pt x="509472" y="0"/>
                  </a:moveTo>
                  <a:lnTo>
                    <a:pt x="537010" y="2778"/>
                  </a:lnTo>
                  <a:lnTo>
                    <a:pt x="537010" y="891521"/>
                  </a:lnTo>
                  <a:lnTo>
                    <a:pt x="173627" y="892444"/>
                  </a:lnTo>
                  <a:cubicBezTo>
                    <a:pt x="66971" y="799182"/>
                    <a:pt x="0" y="662264"/>
                    <a:pt x="0" y="509472"/>
                  </a:cubicBezTo>
                  <a:cubicBezTo>
                    <a:pt x="0" y="228196"/>
                    <a:pt x="228196" y="0"/>
                    <a:pt x="509472" y="0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151C77A-2874-63FC-ABB5-CB5B72F6709D}"/>
                </a:ext>
              </a:extLst>
            </p:cNvPr>
            <p:cNvSpPr/>
            <p:nvPr/>
          </p:nvSpPr>
          <p:spPr>
            <a:xfrm>
              <a:off x="5855573" y="3586643"/>
              <a:ext cx="859552" cy="956438"/>
            </a:xfrm>
            <a:custGeom>
              <a:avLst/>
              <a:gdLst>
                <a:gd name="connsiteX0" fmla="*/ 0 w 764302"/>
                <a:gd name="connsiteY0" fmla="*/ 0 h 956438"/>
                <a:gd name="connsiteX1" fmla="*/ 764302 w 764302"/>
                <a:gd name="connsiteY1" fmla="*/ 0 h 956438"/>
                <a:gd name="connsiteX2" fmla="*/ 764302 w 764302"/>
                <a:gd name="connsiteY2" fmla="*/ 956438 h 956438"/>
                <a:gd name="connsiteX3" fmla="*/ 0 w 764302"/>
                <a:gd name="connsiteY3" fmla="*/ 956438 h 956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4302" h="956438">
                  <a:moveTo>
                    <a:pt x="0" y="0"/>
                  </a:moveTo>
                  <a:lnTo>
                    <a:pt x="764302" y="0"/>
                  </a:lnTo>
                  <a:lnTo>
                    <a:pt x="764302" y="956438"/>
                  </a:lnTo>
                  <a:lnTo>
                    <a:pt x="0" y="956438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8B2D0F3-9D96-090F-A4D5-298B6C5DFFDA}"/>
                </a:ext>
              </a:extLst>
            </p:cNvPr>
            <p:cNvSpPr/>
            <p:nvPr/>
          </p:nvSpPr>
          <p:spPr>
            <a:xfrm>
              <a:off x="4258050" y="1276904"/>
              <a:ext cx="1673048" cy="503595"/>
            </a:xfrm>
            <a:custGeom>
              <a:avLst/>
              <a:gdLst>
                <a:gd name="connsiteX0" fmla="*/ 4121 w 1673048"/>
                <a:gd name="connsiteY0" fmla="*/ 502527 h 503595"/>
                <a:gd name="connsiteX1" fmla="*/ 29917 w 1673048"/>
                <a:gd name="connsiteY1" fmla="*/ 277308 h 503595"/>
                <a:gd name="connsiteX2" fmla="*/ 435709 w 1673048"/>
                <a:gd name="connsiteY2" fmla="*/ 0 h 503595"/>
                <a:gd name="connsiteX3" fmla="*/ 791893 w 1673048"/>
                <a:gd name="connsiteY3" fmla="*/ 238117 h 503595"/>
                <a:gd name="connsiteX4" fmla="*/ 1322200 w 1673048"/>
                <a:gd name="connsiteY4" fmla="*/ 96735 h 503595"/>
                <a:gd name="connsiteX5" fmla="*/ 1360399 w 1673048"/>
                <a:gd name="connsiteY5" fmla="*/ 320962 h 503595"/>
                <a:gd name="connsiteX6" fmla="*/ 1636218 w 1673048"/>
                <a:gd name="connsiteY6" fmla="*/ 503519 h 503595"/>
                <a:gd name="connsiteX7" fmla="*/ 4121 w 1673048"/>
                <a:gd name="connsiteY7" fmla="*/ 502527 h 50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73048" h="503595">
                  <a:moveTo>
                    <a:pt x="4121" y="502527"/>
                  </a:moveTo>
                  <a:cubicBezTo>
                    <a:pt x="4121" y="502527"/>
                    <a:pt x="-15226" y="395374"/>
                    <a:pt x="29917" y="277308"/>
                  </a:cubicBezTo>
                  <a:cubicBezTo>
                    <a:pt x="81013" y="144855"/>
                    <a:pt x="209001" y="0"/>
                    <a:pt x="435709" y="0"/>
                  </a:cubicBezTo>
                  <a:cubicBezTo>
                    <a:pt x="771058" y="0"/>
                    <a:pt x="791893" y="238117"/>
                    <a:pt x="791893" y="238117"/>
                  </a:cubicBezTo>
                  <a:cubicBezTo>
                    <a:pt x="791893" y="238117"/>
                    <a:pt x="1130714" y="-34725"/>
                    <a:pt x="1322200" y="96735"/>
                  </a:cubicBezTo>
                  <a:cubicBezTo>
                    <a:pt x="1388675" y="142374"/>
                    <a:pt x="1389667" y="222243"/>
                    <a:pt x="1360399" y="320962"/>
                  </a:cubicBezTo>
                  <a:cubicBezTo>
                    <a:pt x="1715590" y="218274"/>
                    <a:pt x="1702196" y="508976"/>
                    <a:pt x="1636218" y="503519"/>
                  </a:cubicBezTo>
                  <a:lnTo>
                    <a:pt x="4121" y="502527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1BEA090-F8BC-4DFE-06C8-66F6EDB8DB1E}"/>
                </a:ext>
              </a:extLst>
            </p:cNvPr>
            <p:cNvSpPr/>
            <p:nvPr/>
          </p:nvSpPr>
          <p:spPr>
            <a:xfrm>
              <a:off x="3719462" y="1715933"/>
              <a:ext cx="3298422" cy="538244"/>
            </a:xfrm>
            <a:custGeom>
              <a:avLst/>
              <a:gdLst>
                <a:gd name="connsiteX0" fmla="*/ 0 w 3298422"/>
                <a:gd name="connsiteY0" fmla="*/ 538245 h 538244"/>
                <a:gd name="connsiteX1" fmla="*/ 474251 w 3298422"/>
                <a:gd name="connsiteY1" fmla="*/ 63994 h 538244"/>
                <a:gd name="connsiteX2" fmla="*/ 1617710 w 3298422"/>
                <a:gd name="connsiteY2" fmla="*/ 63994 h 538244"/>
                <a:gd name="connsiteX3" fmla="*/ 1621679 w 3298422"/>
                <a:gd name="connsiteY3" fmla="*/ 0 h 538244"/>
                <a:gd name="connsiteX4" fmla="*/ 1847394 w 3298422"/>
                <a:gd name="connsiteY4" fmla="*/ 0 h 538244"/>
                <a:gd name="connsiteX5" fmla="*/ 1847394 w 3298422"/>
                <a:gd name="connsiteY5" fmla="*/ 64986 h 538244"/>
                <a:gd name="connsiteX6" fmla="*/ 3298422 w 3298422"/>
                <a:gd name="connsiteY6" fmla="*/ 63994 h 538244"/>
                <a:gd name="connsiteX7" fmla="*/ 2824172 w 3298422"/>
                <a:gd name="connsiteY7" fmla="*/ 538245 h 538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98422" h="538244">
                  <a:moveTo>
                    <a:pt x="0" y="538245"/>
                  </a:moveTo>
                  <a:lnTo>
                    <a:pt x="474251" y="63994"/>
                  </a:lnTo>
                  <a:lnTo>
                    <a:pt x="1617710" y="63994"/>
                  </a:lnTo>
                  <a:lnTo>
                    <a:pt x="1621679" y="0"/>
                  </a:lnTo>
                  <a:lnTo>
                    <a:pt x="1847394" y="0"/>
                  </a:lnTo>
                  <a:lnTo>
                    <a:pt x="1847394" y="64986"/>
                  </a:lnTo>
                  <a:lnTo>
                    <a:pt x="3298422" y="63994"/>
                  </a:lnTo>
                  <a:lnTo>
                    <a:pt x="2824172" y="538245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C2B3CA7-5F47-3F7F-2591-23D9FA23BB5B}"/>
                </a:ext>
              </a:extLst>
            </p:cNvPr>
            <p:cNvSpPr/>
            <p:nvPr/>
          </p:nvSpPr>
          <p:spPr>
            <a:xfrm>
              <a:off x="5810926" y="3095030"/>
              <a:ext cx="913724" cy="491613"/>
            </a:xfrm>
            <a:custGeom>
              <a:avLst/>
              <a:gdLst>
                <a:gd name="connsiteX0" fmla="*/ 491614 w 913724"/>
                <a:gd name="connsiteY0" fmla="*/ 0 h 491613"/>
                <a:gd name="connsiteX1" fmla="*/ 913724 w 913724"/>
                <a:gd name="connsiteY1" fmla="*/ 0 h 491613"/>
                <a:gd name="connsiteX2" fmla="*/ 913724 w 913724"/>
                <a:gd name="connsiteY2" fmla="*/ 490650 h 491613"/>
                <a:gd name="connsiteX3" fmla="*/ 0 w 913724"/>
                <a:gd name="connsiteY3" fmla="*/ 491613 h 491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3724" h="491613">
                  <a:moveTo>
                    <a:pt x="491614" y="0"/>
                  </a:moveTo>
                  <a:lnTo>
                    <a:pt x="913724" y="0"/>
                  </a:lnTo>
                  <a:lnTo>
                    <a:pt x="913724" y="490650"/>
                  </a:lnTo>
                  <a:lnTo>
                    <a:pt x="0" y="491613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784101C-13FB-7933-1022-B6FF2DA3D6C1}"/>
                </a:ext>
              </a:extLst>
            </p:cNvPr>
            <p:cNvSpPr/>
            <p:nvPr/>
          </p:nvSpPr>
          <p:spPr>
            <a:xfrm>
              <a:off x="3692674" y="3952748"/>
              <a:ext cx="130964" cy="82349"/>
            </a:xfrm>
            <a:custGeom>
              <a:avLst/>
              <a:gdLst>
                <a:gd name="connsiteX0" fmla="*/ 0 w 130964"/>
                <a:gd name="connsiteY0" fmla="*/ 82349 h 82349"/>
                <a:gd name="connsiteX1" fmla="*/ 95247 w 130964"/>
                <a:gd name="connsiteY1" fmla="*/ 82349 h 82349"/>
                <a:gd name="connsiteX2" fmla="*/ 130964 w 130964"/>
                <a:gd name="connsiteY2" fmla="*/ 992 h 82349"/>
                <a:gd name="connsiteX3" fmla="*/ 46135 w 130964"/>
                <a:gd name="connsiteY3" fmla="*/ 0 h 82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82349">
                  <a:moveTo>
                    <a:pt x="0" y="82349"/>
                  </a:moveTo>
                  <a:lnTo>
                    <a:pt x="95247" y="82349"/>
                  </a:lnTo>
                  <a:lnTo>
                    <a:pt x="130964" y="992"/>
                  </a:lnTo>
                  <a:lnTo>
                    <a:pt x="46135" y="0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BB2CC0F-DED4-5639-3CD2-5FA75AB8809D}"/>
                </a:ext>
              </a:extLst>
            </p:cNvPr>
            <p:cNvSpPr/>
            <p:nvPr/>
          </p:nvSpPr>
          <p:spPr>
            <a:xfrm>
              <a:off x="5469129" y="1779927"/>
              <a:ext cx="328899" cy="173131"/>
            </a:xfrm>
            <a:custGeom>
              <a:avLst/>
              <a:gdLst>
                <a:gd name="connsiteX0" fmla="*/ 0 w 328899"/>
                <a:gd name="connsiteY0" fmla="*/ 173131 h 173131"/>
                <a:gd name="connsiteX1" fmla="*/ 262425 w 328899"/>
                <a:gd name="connsiteY1" fmla="*/ 62010 h 173131"/>
                <a:gd name="connsiteX2" fmla="*/ 328900 w 328899"/>
                <a:gd name="connsiteY2" fmla="*/ 992 h 173131"/>
                <a:gd name="connsiteX3" fmla="*/ 98720 w 328899"/>
                <a:gd name="connsiteY3" fmla="*/ 0 h 173131"/>
                <a:gd name="connsiteX4" fmla="*/ 99216 w 328899"/>
                <a:gd name="connsiteY4" fmla="*/ 48616 h 173131"/>
                <a:gd name="connsiteX5" fmla="*/ 99216 w 328899"/>
                <a:gd name="connsiteY5" fmla="*/ 75404 h 173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899" h="173131">
                  <a:moveTo>
                    <a:pt x="0" y="173131"/>
                  </a:moveTo>
                  <a:lnTo>
                    <a:pt x="262425" y="62010"/>
                  </a:lnTo>
                  <a:lnTo>
                    <a:pt x="328900" y="992"/>
                  </a:lnTo>
                  <a:lnTo>
                    <a:pt x="98720" y="0"/>
                  </a:lnTo>
                  <a:lnTo>
                    <a:pt x="99216" y="48616"/>
                  </a:lnTo>
                  <a:lnTo>
                    <a:pt x="99216" y="75404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CCF7985-547B-C54F-831A-D72CD7C99588}"/>
                </a:ext>
              </a:extLst>
            </p:cNvPr>
            <p:cNvSpPr/>
            <p:nvPr/>
          </p:nvSpPr>
          <p:spPr>
            <a:xfrm>
              <a:off x="3182616" y="2474187"/>
              <a:ext cx="799210" cy="859155"/>
            </a:xfrm>
            <a:custGeom>
              <a:avLst/>
              <a:gdLst>
                <a:gd name="connsiteX0" fmla="*/ 143456 w 799210"/>
                <a:gd name="connsiteY0" fmla="*/ 209099 h 859155"/>
                <a:gd name="connsiteX1" fmla="*/ 393479 w 799210"/>
                <a:gd name="connsiteY1" fmla="*/ 73173 h 859155"/>
                <a:gd name="connsiteX2" fmla="*/ 599351 w 799210"/>
                <a:gd name="connsiteY2" fmla="*/ 104922 h 859155"/>
                <a:gd name="connsiteX3" fmla="*/ 699559 w 799210"/>
                <a:gd name="connsiteY3" fmla="*/ 286983 h 859155"/>
                <a:gd name="connsiteX4" fmla="*/ 672275 w 799210"/>
                <a:gd name="connsiteY4" fmla="*/ 316251 h 859155"/>
                <a:gd name="connsiteX5" fmla="*/ 674259 w 799210"/>
                <a:gd name="connsiteY5" fmla="*/ 522124 h 859155"/>
                <a:gd name="connsiteX6" fmla="*/ 721387 w 799210"/>
                <a:gd name="connsiteY6" fmla="*/ 531549 h 859155"/>
                <a:gd name="connsiteX7" fmla="*/ 763553 w 799210"/>
                <a:gd name="connsiteY7" fmla="*/ 607945 h 859155"/>
                <a:gd name="connsiteX8" fmla="*/ 760081 w 799210"/>
                <a:gd name="connsiteY8" fmla="*/ 720059 h 859155"/>
                <a:gd name="connsiteX9" fmla="*/ 728332 w 799210"/>
                <a:gd name="connsiteY9" fmla="*/ 781076 h 859155"/>
                <a:gd name="connsiteX10" fmla="*/ 684181 w 799210"/>
                <a:gd name="connsiteY10" fmla="*/ 791494 h 859155"/>
                <a:gd name="connsiteX11" fmla="*/ 622171 w 799210"/>
                <a:gd name="connsiteY11" fmla="*/ 803400 h 859155"/>
                <a:gd name="connsiteX12" fmla="*/ 473348 w 799210"/>
                <a:gd name="connsiteY12" fmla="*/ 808857 h 859155"/>
                <a:gd name="connsiteX13" fmla="*/ 344864 w 799210"/>
                <a:gd name="connsiteY13" fmla="*/ 809353 h 859155"/>
                <a:gd name="connsiteX14" fmla="*/ 318075 w 799210"/>
                <a:gd name="connsiteY14" fmla="*/ 683349 h 859155"/>
                <a:gd name="connsiteX15" fmla="*/ 293271 w 799210"/>
                <a:gd name="connsiteY15" fmla="*/ 678884 h 859155"/>
                <a:gd name="connsiteX16" fmla="*/ 268467 w 799210"/>
                <a:gd name="connsiteY16" fmla="*/ 650112 h 859155"/>
                <a:gd name="connsiteX17" fmla="*/ 140975 w 799210"/>
                <a:gd name="connsiteY17" fmla="*/ 651104 h 859155"/>
                <a:gd name="connsiteX18" fmla="*/ 140975 w 799210"/>
                <a:gd name="connsiteY18" fmla="*/ 509722 h 859155"/>
                <a:gd name="connsiteX19" fmla="*/ 89 w 799210"/>
                <a:gd name="connsiteY19" fmla="*/ 369332 h 859155"/>
                <a:gd name="connsiteX20" fmla="*/ 143456 w 799210"/>
                <a:gd name="connsiteY20" fmla="*/ 209099 h 85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99210" h="859155">
                  <a:moveTo>
                    <a:pt x="143456" y="209099"/>
                  </a:moveTo>
                  <a:cubicBezTo>
                    <a:pt x="112203" y="100953"/>
                    <a:pt x="259538" y="-42909"/>
                    <a:pt x="393479" y="73173"/>
                  </a:cubicBezTo>
                  <a:cubicBezTo>
                    <a:pt x="453504" y="-62752"/>
                    <a:pt x="610265" y="16124"/>
                    <a:pt x="599351" y="104922"/>
                  </a:cubicBezTo>
                  <a:cubicBezTo>
                    <a:pt x="731308" y="114844"/>
                    <a:pt x="730812" y="246800"/>
                    <a:pt x="699559" y="286983"/>
                  </a:cubicBezTo>
                  <a:cubicBezTo>
                    <a:pt x="677236" y="317739"/>
                    <a:pt x="672275" y="316251"/>
                    <a:pt x="672275" y="316251"/>
                  </a:cubicBezTo>
                  <a:lnTo>
                    <a:pt x="674259" y="522124"/>
                  </a:lnTo>
                  <a:cubicBezTo>
                    <a:pt x="691622" y="521131"/>
                    <a:pt x="707496" y="524604"/>
                    <a:pt x="721387" y="531549"/>
                  </a:cubicBezTo>
                  <a:cubicBezTo>
                    <a:pt x="747183" y="545439"/>
                    <a:pt x="763057" y="569747"/>
                    <a:pt x="763553" y="607945"/>
                  </a:cubicBezTo>
                  <a:cubicBezTo>
                    <a:pt x="809192" y="625804"/>
                    <a:pt x="814153" y="692278"/>
                    <a:pt x="760081" y="720059"/>
                  </a:cubicBezTo>
                  <a:cubicBezTo>
                    <a:pt x="787365" y="751808"/>
                    <a:pt x="760577" y="782565"/>
                    <a:pt x="728332" y="781076"/>
                  </a:cubicBezTo>
                  <a:cubicBezTo>
                    <a:pt x="736765" y="821259"/>
                    <a:pt x="691622" y="824731"/>
                    <a:pt x="684181" y="791494"/>
                  </a:cubicBezTo>
                  <a:cubicBezTo>
                    <a:pt x="684181" y="791494"/>
                    <a:pt x="633581" y="769667"/>
                    <a:pt x="622171" y="803400"/>
                  </a:cubicBezTo>
                  <a:cubicBezTo>
                    <a:pt x="617210" y="845566"/>
                    <a:pt x="521467" y="901623"/>
                    <a:pt x="473348" y="808857"/>
                  </a:cubicBezTo>
                  <a:cubicBezTo>
                    <a:pt x="471363" y="812825"/>
                    <a:pt x="418283" y="861441"/>
                    <a:pt x="344864" y="809353"/>
                  </a:cubicBezTo>
                  <a:cubicBezTo>
                    <a:pt x="281862" y="750815"/>
                    <a:pt x="318075" y="683349"/>
                    <a:pt x="318075" y="683349"/>
                  </a:cubicBezTo>
                  <a:lnTo>
                    <a:pt x="293271" y="678884"/>
                  </a:lnTo>
                  <a:cubicBezTo>
                    <a:pt x="293271" y="678884"/>
                    <a:pt x="273924" y="669459"/>
                    <a:pt x="268467" y="650112"/>
                  </a:cubicBezTo>
                  <a:cubicBezTo>
                    <a:pt x="211914" y="695255"/>
                    <a:pt x="158834" y="668467"/>
                    <a:pt x="140975" y="651104"/>
                  </a:cubicBezTo>
                  <a:cubicBezTo>
                    <a:pt x="123117" y="633741"/>
                    <a:pt x="78470" y="565778"/>
                    <a:pt x="140975" y="509722"/>
                  </a:cubicBezTo>
                  <a:cubicBezTo>
                    <a:pt x="101289" y="503769"/>
                    <a:pt x="11499" y="478469"/>
                    <a:pt x="89" y="369332"/>
                  </a:cubicBezTo>
                  <a:cubicBezTo>
                    <a:pt x="-407" y="356930"/>
                    <a:pt x="-3383" y="224477"/>
                    <a:pt x="143456" y="209099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8EF810D-EED6-E46C-D555-F455C1B35854}"/>
                </a:ext>
              </a:extLst>
            </p:cNvPr>
            <p:cNvSpPr/>
            <p:nvPr/>
          </p:nvSpPr>
          <p:spPr>
            <a:xfrm>
              <a:off x="3207412" y="2502703"/>
              <a:ext cx="774415" cy="830639"/>
            </a:xfrm>
            <a:custGeom>
              <a:avLst/>
              <a:gdLst>
                <a:gd name="connsiteX0" fmla="*/ 143464 w 774415"/>
                <a:gd name="connsiteY0" fmla="*/ 199929 h 830639"/>
                <a:gd name="connsiteX1" fmla="*/ 378605 w 774415"/>
                <a:gd name="connsiteY1" fmla="*/ 84343 h 830639"/>
                <a:gd name="connsiteX2" fmla="*/ 554713 w 774415"/>
                <a:gd name="connsiteY2" fmla="*/ 86327 h 830639"/>
                <a:gd name="connsiteX3" fmla="*/ 674764 w 774415"/>
                <a:gd name="connsiteY3" fmla="*/ 258466 h 830639"/>
                <a:gd name="connsiteX4" fmla="*/ 647479 w 774415"/>
                <a:gd name="connsiteY4" fmla="*/ 287735 h 830639"/>
                <a:gd name="connsiteX5" fmla="*/ 649463 w 774415"/>
                <a:gd name="connsiteY5" fmla="*/ 493607 h 830639"/>
                <a:gd name="connsiteX6" fmla="*/ 696591 w 774415"/>
                <a:gd name="connsiteY6" fmla="*/ 503033 h 830639"/>
                <a:gd name="connsiteX7" fmla="*/ 738758 w 774415"/>
                <a:gd name="connsiteY7" fmla="*/ 579429 h 830639"/>
                <a:gd name="connsiteX8" fmla="*/ 735285 w 774415"/>
                <a:gd name="connsiteY8" fmla="*/ 691542 h 830639"/>
                <a:gd name="connsiteX9" fmla="*/ 703536 w 774415"/>
                <a:gd name="connsiteY9" fmla="*/ 752560 h 830639"/>
                <a:gd name="connsiteX10" fmla="*/ 659385 w 774415"/>
                <a:gd name="connsiteY10" fmla="*/ 762977 h 830639"/>
                <a:gd name="connsiteX11" fmla="*/ 597375 w 774415"/>
                <a:gd name="connsiteY11" fmla="*/ 774883 h 830639"/>
                <a:gd name="connsiteX12" fmla="*/ 448552 w 774415"/>
                <a:gd name="connsiteY12" fmla="*/ 780340 h 830639"/>
                <a:gd name="connsiteX13" fmla="*/ 320068 w 774415"/>
                <a:gd name="connsiteY13" fmla="*/ 780836 h 830639"/>
                <a:gd name="connsiteX14" fmla="*/ 293280 w 774415"/>
                <a:gd name="connsiteY14" fmla="*/ 654833 h 830639"/>
                <a:gd name="connsiteX15" fmla="*/ 268476 w 774415"/>
                <a:gd name="connsiteY15" fmla="*/ 650368 h 830639"/>
                <a:gd name="connsiteX16" fmla="*/ 243672 w 774415"/>
                <a:gd name="connsiteY16" fmla="*/ 621595 h 830639"/>
                <a:gd name="connsiteX17" fmla="*/ 116180 w 774415"/>
                <a:gd name="connsiteY17" fmla="*/ 622587 h 830639"/>
                <a:gd name="connsiteX18" fmla="*/ 116180 w 774415"/>
                <a:gd name="connsiteY18" fmla="*/ 481205 h 830639"/>
                <a:gd name="connsiteX19" fmla="*/ 97 w 774415"/>
                <a:gd name="connsiteY19" fmla="*/ 340815 h 830639"/>
                <a:gd name="connsiteX20" fmla="*/ 143464 w 774415"/>
                <a:gd name="connsiteY20" fmla="*/ 199929 h 83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4415" h="830639">
                  <a:moveTo>
                    <a:pt x="143464" y="199929"/>
                  </a:moveTo>
                  <a:cubicBezTo>
                    <a:pt x="112211" y="91784"/>
                    <a:pt x="244664" y="-31739"/>
                    <a:pt x="378605" y="84343"/>
                  </a:cubicBezTo>
                  <a:cubicBezTo>
                    <a:pt x="438630" y="-51582"/>
                    <a:pt x="565627" y="-2471"/>
                    <a:pt x="554713" y="86327"/>
                  </a:cubicBezTo>
                  <a:cubicBezTo>
                    <a:pt x="686669" y="96249"/>
                    <a:pt x="706016" y="218284"/>
                    <a:pt x="674764" y="258466"/>
                  </a:cubicBezTo>
                  <a:cubicBezTo>
                    <a:pt x="652440" y="289223"/>
                    <a:pt x="647479" y="287735"/>
                    <a:pt x="647479" y="287735"/>
                  </a:cubicBezTo>
                  <a:lnTo>
                    <a:pt x="649463" y="493607"/>
                  </a:lnTo>
                  <a:cubicBezTo>
                    <a:pt x="666826" y="492615"/>
                    <a:pt x="682701" y="496088"/>
                    <a:pt x="696591" y="503033"/>
                  </a:cubicBezTo>
                  <a:cubicBezTo>
                    <a:pt x="722387" y="516923"/>
                    <a:pt x="738262" y="541231"/>
                    <a:pt x="738758" y="579429"/>
                  </a:cubicBezTo>
                  <a:cubicBezTo>
                    <a:pt x="784397" y="597288"/>
                    <a:pt x="789358" y="663762"/>
                    <a:pt x="735285" y="691542"/>
                  </a:cubicBezTo>
                  <a:cubicBezTo>
                    <a:pt x="762569" y="723291"/>
                    <a:pt x="735781" y="754048"/>
                    <a:pt x="703536" y="752560"/>
                  </a:cubicBezTo>
                  <a:cubicBezTo>
                    <a:pt x="711969" y="792742"/>
                    <a:pt x="666826" y="796215"/>
                    <a:pt x="659385" y="762977"/>
                  </a:cubicBezTo>
                  <a:cubicBezTo>
                    <a:pt x="659385" y="762977"/>
                    <a:pt x="608785" y="741150"/>
                    <a:pt x="597375" y="774883"/>
                  </a:cubicBezTo>
                  <a:cubicBezTo>
                    <a:pt x="592415" y="817050"/>
                    <a:pt x="496672" y="873107"/>
                    <a:pt x="448552" y="780340"/>
                  </a:cubicBezTo>
                  <a:cubicBezTo>
                    <a:pt x="446568" y="784309"/>
                    <a:pt x="393487" y="832925"/>
                    <a:pt x="320068" y="780836"/>
                  </a:cubicBezTo>
                  <a:cubicBezTo>
                    <a:pt x="257066" y="722299"/>
                    <a:pt x="293280" y="654833"/>
                    <a:pt x="293280" y="654833"/>
                  </a:cubicBezTo>
                  <a:lnTo>
                    <a:pt x="268476" y="650368"/>
                  </a:lnTo>
                  <a:cubicBezTo>
                    <a:pt x="268476" y="650368"/>
                    <a:pt x="249129" y="640942"/>
                    <a:pt x="243672" y="621595"/>
                  </a:cubicBezTo>
                  <a:cubicBezTo>
                    <a:pt x="187119" y="666739"/>
                    <a:pt x="134039" y="639950"/>
                    <a:pt x="116180" y="622587"/>
                  </a:cubicBezTo>
                  <a:cubicBezTo>
                    <a:pt x="98321" y="605225"/>
                    <a:pt x="53674" y="537262"/>
                    <a:pt x="116180" y="481205"/>
                  </a:cubicBezTo>
                  <a:cubicBezTo>
                    <a:pt x="76493" y="475252"/>
                    <a:pt x="11507" y="449952"/>
                    <a:pt x="97" y="340815"/>
                  </a:cubicBezTo>
                  <a:cubicBezTo>
                    <a:pt x="-399" y="328413"/>
                    <a:pt x="-3871" y="214811"/>
                    <a:pt x="143464" y="199929"/>
                  </a:cubicBezTo>
                  <a:close/>
                </a:path>
              </a:pathLst>
            </a:custGeom>
            <a:solidFill>
              <a:srgbClr val="88BCAC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FA54A9-1C30-C42F-9B0B-C965E9E4DE09}"/>
                </a:ext>
              </a:extLst>
            </p:cNvPr>
            <p:cNvSpPr/>
            <p:nvPr/>
          </p:nvSpPr>
          <p:spPr>
            <a:xfrm>
              <a:off x="3177671" y="3921991"/>
              <a:ext cx="258107" cy="495086"/>
            </a:xfrm>
            <a:custGeom>
              <a:avLst/>
              <a:gdLst>
                <a:gd name="connsiteX0" fmla="*/ 129054 w 258107"/>
                <a:gd name="connsiteY0" fmla="*/ 495086 h 495086"/>
                <a:gd name="connsiteX1" fmla="*/ 218348 w 258107"/>
                <a:gd name="connsiteY1" fmla="*/ 405792 h 495086"/>
                <a:gd name="connsiteX2" fmla="*/ 245632 w 258107"/>
                <a:gd name="connsiteY2" fmla="*/ 252504 h 495086"/>
                <a:gd name="connsiteX3" fmla="*/ 129550 w 258107"/>
                <a:gd name="connsiteY3" fmla="*/ 0 h 495086"/>
                <a:gd name="connsiteX4" fmla="*/ 128558 w 258107"/>
                <a:gd name="connsiteY4" fmla="*/ 0 h 495086"/>
                <a:gd name="connsiteX5" fmla="*/ 12475 w 258107"/>
                <a:gd name="connsiteY5" fmla="*/ 252504 h 495086"/>
                <a:gd name="connsiteX6" fmla="*/ 39760 w 258107"/>
                <a:gd name="connsiteY6" fmla="*/ 405792 h 495086"/>
                <a:gd name="connsiteX7" fmla="*/ 86887 w 258107"/>
                <a:gd name="connsiteY7" fmla="*/ 452919 h 495086"/>
                <a:gd name="connsiteX8" fmla="*/ 129054 w 258107"/>
                <a:gd name="connsiteY8" fmla="*/ 495086 h 495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07" h="495086">
                  <a:moveTo>
                    <a:pt x="129054" y="495086"/>
                  </a:moveTo>
                  <a:lnTo>
                    <a:pt x="218348" y="405792"/>
                  </a:lnTo>
                  <a:cubicBezTo>
                    <a:pt x="258530" y="365610"/>
                    <a:pt x="269444" y="304096"/>
                    <a:pt x="245632" y="252504"/>
                  </a:cubicBezTo>
                  <a:lnTo>
                    <a:pt x="129550" y="0"/>
                  </a:lnTo>
                  <a:lnTo>
                    <a:pt x="128558" y="0"/>
                  </a:lnTo>
                  <a:lnTo>
                    <a:pt x="12475" y="252504"/>
                  </a:lnTo>
                  <a:cubicBezTo>
                    <a:pt x="-11336" y="304096"/>
                    <a:pt x="-423" y="365610"/>
                    <a:pt x="39760" y="405792"/>
                  </a:cubicBezTo>
                  <a:lnTo>
                    <a:pt x="86887" y="452919"/>
                  </a:lnTo>
                  <a:lnTo>
                    <a:pt x="129054" y="495086"/>
                  </a:ln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AD68EE8-7C9F-F4BC-19CC-A79FA771A985}"/>
                </a:ext>
              </a:extLst>
            </p:cNvPr>
            <p:cNvSpPr/>
            <p:nvPr/>
          </p:nvSpPr>
          <p:spPr>
            <a:xfrm>
              <a:off x="4058779" y="2634173"/>
              <a:ext cx="295166" cy="161225"/>
            </a:xfrm>
            <a:custGeom>
              <a:avLst/>
              <a:gdLst>
                <a:gd name="connsiteX0" fmla="*/ 294670 w 295166"/>
                <a:gd name="connsiteY0" fmla="*/ 159241 h 161225"/>
                <a:gd name="connsiteX1" fmla="*/ 215794 w 295166"/>
                <a:gd name="connsiteY1" fmla="*/ 161225 h 161225"/>
                <a:gd name="connsiteX2" fmla="*/ 211825 w 295166"/>
                <a:gd name="connsiteY2" fmla="*/ 138406 h 161225"/>
                <a:gd name="connsiteX3" fmla="*/ 115090 w 295166"/>
                <a:gd name="connsiteY3" fmla="*/ 133941 h 161225"/>
                <a:gd name="connsiteX4" fmla="*/ 99712 w 295166"/>
                <a:gd name="connsiteY4" fmla="*/ 140390 h 161225"/>
                <a:gd name="connsiteX5" fmla="*/ 62506 w 295166"/>
                <a:gd name="connsiteY5" fmla="*/ 153288 h 161225"/>
                <a:gd name="connsiteX6" fmla="*/ 48616 w 295166"/>
                <a:gd name="connsiteY6" fmla="*/ 159241 h 161225"/>
                <a:gd name="connsiteX7" fmla="*/ 0 w 295166"/>
                <a:gd name="connsiteY7" fmla="*/ 159241 h 161225"/>
                <a:gd name="connsiteX8" fmla="*/ 0 w 295166"/>
                <a:gd name="connsiteY8" fmla="*/ 0 h 161225"/>
                <a:gd name="connsiteX9" fmla="*/ 295166 w 295166"/>
                <a:gd name="connsiteY9" fmla="*/ 0 h 161225"/>
                <a:gd name="connsiteX10" fmla="*/ 295166 w 295166"/>
                <a:gd name="connsiteY10" fmla="*/ 159241 h 16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6" h="161225">
                  <a:moveTo>
                    <a:pt x="294670" y="159241"/>
                  </a:moveTo>
                  <a:lnTo>
                    <a:pt x="215794" y="161225"/>
                  </a:lnTo>
                  <a:lnTo>
                    <a:pt x="211825" y="138406"/>
                  </a:lnTo>
                  <a:cubicBezTo>
                    <a:pt x="211825" y="138406"/>
                    <a:pt x="135925" y="124019"/>
                    <a:pt x="115090" y="133941"/>
                  </a:cubicBezTo>
                  <a:cubicBezTo>
                    <a:pt x="110129" y="136421"/>
                    <a:pt x="104672" y="138406"/>
                    <a:pt x="99712" y="140390"/>
                  </a:cubicBezTo>
                  <a:cubicBezTo>
                    <a:pt x="81853" y="139894"/>
                    <a:pt x="70939" y="147831"/>
                    <a:pt x="62506" y="153288"/>
                  </a:cubicBezTo>
                  <a:cubicBezTo>
                    <a:pt x="55561" y="157257"/>
                    <a:pt x="48616" y="159241"/>
                    <a:pt x="48616" y="159241"/>
                  </a:cubicBezTo>
                  <a:lnTo>
                    <a:pt x="0" y="159241"/>
                  </a:lnTo>
                  <a:lnTo>
                    <a:pt x="0" y="0"/>
                  </a:lnTo>
                  <a:lnTo>
                    <a:pt x="295166" y="0"/>
                  </a:lnTo>
                  <a:lnTo>
                    <a:pt x="295166" y="159241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5FE0DBB-FD31-1991-3DF2-351CB2B1861C}"/>
                </a:ext>
              </a:extLst>
            </p:cNvPr>
            <p:cNvSpPr/>
            <p:nvPr/>
          </p:nvSpPr>
          <p:spPr>
            <a:xfrm>
              <a:off x="4533526" y="2634669"/>
              <a:ext cx="141382" cy="161721"/>
            </a:xfrm>
            <a:custGeom>
              <a:avLst/>
              <a:gdLst>
                <a:gd name="connsiteX0" fmla="*/ 121539 w 141382"/>
                <a:gd name="connsiteY0" fmla="*/ 161225 h 161721"/>
                <a:gd name="connsiteX1" fmla="*/ 0 w 141382"/>
                <a:gd name="connsiteY1" fmla="*/ 159737 h 161721"/>
                <a:gd name="connsiteX2" fmla="*/ 0 w 141382"/>
                <a:gd name="connsiteY2" fmla="*/ 0 h 161721"/>
                <a:gd name="connsiteX3" fmla="*/ 87806 w 141382"/>
                <a:gd name="connsiteY3" fmla="*/ 0 h 161721"/>
                <a:gd name="connsiteX4" fmla="*/ 85821 w 141382"/>
                <a:gd name="connsiteY4" fmla="*/ 21332 h 161721"/>
                <a:gd name="connsiteX5" fmla="*/ 82349 w 141382"/>
                <a:gd name="connsiteY5" fmla="*/ 40678 h 161721"/>
                <a:gd name="connsiteX6" fmla="*/ 90286 w 141382"/>
                <a:gd name="connsiteY6" fmla="*/ 52584 h 161721"/>
                <a:gd name="connsiteX7" fmla="*/ 101696 w 141382"/>
                <a:gd name="connsiteY7" fmla="*/ 52584 h 161721"/>
                <a:gd name="connsiteX8" fmla="*/ 107153 w 141382"/>
                <a:gd name="connsiteY8" fmla="*/ 78381 h 161721"/>
                <a:gd name="connsiteX9" fmla="*/ 122531 w 141382"/>
                <a:gd name="connsiteY9" fmla="*/ 106161 h 161721"/>
                <a:gd name="connsiteX10" fmla="*/ 126004 w 141382"/>
                <a:gd name="connsiteY10" fmla="*/ 130965 h 161721"/>
                <a:gd name="connsiteX11" fmla="*/ 110129 w 141382"/>
                <a:gd name="connsiteY11" fmla="*/ 130965 h 161721"/>
                <a:gd name="connsiteX12" fmla="*/ 106160 w 141382"/>
                <a:gd name="connsiteY12" fmla="*/ 147335 h 161721"/>
                <a:gd name="connsiteX13" fmla="*/ 109137 w 141382"/>
                <a:gd name="connsiteY13" fmla="*/ 151800 h 161721"/>
                <a:gd name="connsiteX14" fmla="*/ 128980 w 141382"/>
                <a:gd name="connsiteY14" fmla="*/ 150808 h 161721"/>
                <a:gd name="connsiteX15" fmla="*/ 141382 w 141382"/>
                <a:gd name="connsiteY15" fmla="*/ 161722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1382" h="161721">
                  <a:moveTo>
                    <a:pt x="121539" y="161225"/>
                  </a:moveTo>
                  <a:lnTo>
                    <a:pt x="0" y="159737"/>
                  </a:lnTo>
                  <a:lnTo>
                    <a:pt x="0" y="0"/>
                  </a:lnTo>
                  <a:lnTo>
                    <a:pt x="87806" y="0"/>
                  </a:lnTo>
                  <a:lnTo>
                    <a:pt x="85821" y="21332"/>
                  </a:lnTo>
                  <a:lnTo>
                    <a:pt x="82349" y="40678"/>
                  </a:lnTo>
                  <a:lnTo>
                    <a:pt x="90286" y="52584"/>
                  </a:lnTo>
                  <a:lnTo>
                    <a:pt x="101696" y="52584"/>
                  </a:lnTo>
                  <a:lnTo>
                    <a:pt x="107153" y="78381"/>
                  </a:lnTo>
                  <a:lnTo>
                    <a:pt x="122531" y="106161"/>
                  </a:lnTo>
                  <a:lnTo>
                    <a:pt x="126004" y="130965"/>
                  </a:lnTo>
                  <a:lnTo>
                    <a:pt x="110129" y="130965"/>
                  </a:lnTo>
                  <a:lnTo>
                    <a:pt x="106160" y="147335"/>
                  </a:lnTo>
                  <a:lnTo>
                    <a:pt x="109137" y="151800"/>
                  </a:lnTo>
                  <a:lnTo>
                    <a:pt x="128980" y="150808"/>
                  </a:lnTo>
                  <a:lnTo>
                    <a:pt x="141382" y="16172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7FFE6A-58CD-4245-E0BE-9894A81FD0ED}"/>
                </a:ext>
              </a:extLst>
            </p:cNvPr>
            <p:cNvSpPr/>
            <p:nvPr/>
          </p:nvSpPr>
          <p:spPr>
            <a:xfrm>
              <a:off x="4554857" y="3266177"/>
              <a:ext cx="294670" cy="158744"/>
            </a:xfrm>
            <a:custGeom>
              <a:avLst/>
              <a:gdLst>
                <a:gd name="connsiteX0" fmla="*/ 0 w 294670"/>
                <a:gd name="connsiteY0" fmla="*/ 0 h 158744"/>
                <a:gd name="connsiteX1" fmla="*/ 294670 w 294670"/>
                <a:gd name="connsiteY1" fmla="*/ 0 h 158744"/>
                <a:gd name="connsiteX2" fmla="*/ 294670 w 294670"/>
                <a:gd name="connsiteY2" fmla="*/ 158745 h 158744"/>
                <a:gd name="connsiteX3" fmla="*/ 0 w 294670"/>
                <a:gd name="connsiteY3" fmla="*/ 158745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58744">
                  <a:moveTo>
                    <a:pt x="0" y="0"/>
                  </a:moveTo>
                  <a:lnTo>
                    <a:pt x="294670" y="0"/>
                  </a:lnTo>
                  <a:lnTo>
                    <a:pt x="294670" y="158745"/>
                  </a:lnTo>
                  <a:lnTo>
                    <a:pt x="0" y="158745"/>
                  </a:lnTo>
                  <a:close/>
                </a:path>
              </a:pathLst>
            </a:custGeom>
            <a:solidFill>
              <a:srgbClr val="E2EC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A22BB1B-5B77-249C-11C5-6D9B3492C284}"/>
                </a:ext>
              </a:extLst>
            </p:cNvPr>
            <p:cNvSpPr/>
            <p:nvPr/>
          </p:nvSpPr>
          <p:spPr>
            <a:xfrm>
              <a:off x="5557431" y="3266177"/>
              <a:ext cx="294670" cy="158744"/>
            </a:xfrm>
            <a:custGeom>
              <a:avLst/>
              <a:gdLst>
                <a:gd name="connsiteX0" fmla="*/ 0 w 294670"/>
                <a:gd name="connsiteY0" fmla="*/ 0 h 158744"/>
                <a:gd name="connsiteX1" fmla="*/ 294670 w 294670"/>
                <a:gd name="connsiteY1" fmla="*/ 0 h 158744"/>
                <a:gd name="connsiteX2" fmla="*/ 294670 w 294670"/>
                <a:gd name="connsiteY2" fmla="*/ 158745 h 158744"/>
                <a:gd name="connsiteX3" fmla="*/ 0 w 294670"/>
                <a:gd name="connsiteY3" fmla="*/ 158745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58744">
                  <a:moveTo>
                    <a:pt x="0" y="0"/>
                  </a:moveTo>
                  <a:lnTo>
                    <a:pt x="294670" y="0"/>
                  </a:lnTo>
                  <a:lnTo>
                    <a:pt x="294670" y="158745"/>
                  </a:lnTo>
                  <a:lnTo>
                    <a:pt x="0" y="158745"/>
                  </a:lnTo>
                  <a:close/>
                </a:path>
              </a:pathLst>
            </a:custGeom>
            <a:solidFill>
              <a:srgbClr val="E2EC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845CD34-A1C2-DD25-E29A-972588E20A6C}"/>
                </a:ext>
              </a:extLst>
            </p:cNvPr>
            <p:cNvSpPr/>
            <p:nvPr/>
          </p:nvSpPr>
          <p:spPr>
            <a:xfrm>
              <a:off x="3796850" y="3953741"/>
              <a:ext cx="66474" cy="216289"/>
            </a:xfrm>
            <a:custGeom>
              <a:avLst/>
              <a:gdLst>
                <a:gd name="connsiteX0" fmla="*/ 0 w 66474"/>
                <a:gd name="connsiteY0" fmla="*/ 65978 h 216289"/>
                <a:gd name="connsiteX1" fmla="*/ 26788 w 66474"/>
                <a:gd name="connsiteY1" fmla="*/ 0 h 216289"/>
                <a:gd name="connsiteX2" fmla="*/ 65482 w 66474"/>
                <a:gd name="connsiteY2" fmla="*/ 55561 h 216289"/>
                <a:gd name="connsiteX3" fmla="*/ 65978 w 66474"/>
                <a:gd name="connsiteY3" fmla="*/ 132949 h 216289"/>
                <a:gd name="connsiteX4" fmla="*/ 32245 w 66474"/>
                <a:gd name="connsiteY4" fmla="*/ 132949 h 216289"/>
                <a:gd name="connsiteX5" fmla="*/ 29765 w 66474"/>
                <a:gd name="connsiteY5" fmla="*/ 141382 h 216289"/>
                <a:gd name="connsiteX6" fmla="*/ 30757 w 66474"/>
                <a:gd name="connsiteY6" fmla="*/ 147831 h 216289"/>
                <a:gd name="connsiteX7" fmla="*/ 66474 w 66474"/>
                <a:gd name="connsiteY7" fmla="*/ 150312 h 216289"/>
                <a:gd name="connsiteX8" fmla="*/ 65482 w 66474"/>
                <a:gd name="connsiteY8" fmla="*/ 214306 h 216289"/>
                <a:gd name="connsiteX9" fmla="*/ 0 w 66474"/>
                <a:gd name="connsiteY9" fmla="*/ 216290 h 21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474" h="216289">
                  <a:moveTo>
                    <a:pt x="0" y="65978"/>
                  </a:moveTo>
                  <a:lnTo>
                    <a:pt x="26788" y="0"/>
                  </a:lnTo>
                  <a:lnTo>
                    <a:pt x="65482" y="55561"/>
                  </a:lnTo>
                  <a:lnTo>
                    <a:pt x="65978" y="132949"/>
                  </a:lnTo>
                  <a:lnTo>
                    <a:pt x="32245" y="132949"/>
                  </a:lnTo>
                  <a:lnTo>
                    <a:pt x="29765" y="141382"/>
                  </a:lnTo>
                  <a:lnTo>
                    <a:pt x="30757" y="147831"/>
                  </a:lnTo>
                  <a:lnTo>
                    <a:pt x="66474" y="150312"/>
                  </a:lnTo>
                  <a:lnTo>
                    <a:pt x="65482" y="214306"/>
                  </a:lnTo>
                  <a:lnTo>
                    <a:pt x="0" y="216290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A6D0D17-C5B5-5206-51BB-83A118238932}"/>
                </a:ext>
              </a:extLst>
            </p:cNvPr>
            <p:cNvSpPr/>
            <p:nvPr/>
          </p:nvSpPr>
          <p:spPr>
            <a:xfrm>
              <a:off x="3528968" y="4920100"/>
              <a:ext cx="52088" cy="96735"/>
            </a:xfrm>
            <a:custGeom>
              <a:avLst/>
              <a:gdLst>
                <a:gd name="connsiteX0" fmla="*/ 0 w 52088"/>
                <a:gd name="connsiteY0" fmla="*/ 96735 h 96735"/>
                <a:gd name="connsiteX1" fmla="*/ 496 w 52088"/>
                <a:gd name="connsiteY1" fmla="*/ 24308 h 96735"/>
                <a:gd name="connsiteX2" fmla="*/ 24804 w 52088"/>
                <a:gd name="connsiteY2" fmla="*/ 0 h 96735"/>
                <a:gd name="connsiteX3" fmla="*/ 52088 w 52088"/>
                <a:gd name="connsiteY3" fmla="*/ 25300 h 96735"/>
                <a:gd name="connsiteX4" fmla="*/ 52088 w 52088"/>
                <a:gd name="connsiteY4" fmla="*/ 96735 h 9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88" h="96735">
                  <a:moveTo>
                    <a:pt x="0" y="96735"/>
                  </a:moveTo>
                  <a:lnTo>
                    <a:pt x="496" y="24308"/>
                  </a:lnTo>
                  <a:lnTo>
                    <a:pt x="24804" y="0"/>
                  </a:lnTo>
                  <a:lnTo>
                    <a:pt x="52088" y="25300"/>
                  </a:lnTo>
                  <a:lnTo>
                    <a:pt x="52088" y="96735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7186056-5C26-854D-2F02-F88C611F1F5A}"/>
                </a:ext>
              </a:extLst>
            </p:cNvPr>
            <p:cNvSpPr/>
            <p:nvPr/>
          </p:nvSpPr>
          <p:spPr>
            <a:xfrm>
              <a:off x="4298881" y="4522437"/>
              <a:ext cx="437053" cy="864472"/>
            </a:xfrm>
            <a:custGeom>
              <a:avLst/>
              <a:gdLst>
                <a:gd name="connsiteX0" fmla="*/ 127988 w 437053"/>
                <a:gd name="connsiteY0" fmla="*/ 786092 h 864472"/>
                <a:gd name="connsiteX1" fmla="*/ 0 w 437053"/>
                <a:gd name="connsiteY1" fmla="*/ 853063 h 864472"/>
                <a:gd name="connsiteX2" fmla="*/ 86814 w 437053"/>
                <a:gd name="connsiteY2" fmla="*/ 863480 h 864472"/>
                <a:gd name="connsiteX3" fmla="*/ 98719 w 437053"/>
                <a:gd name="connsiteY3" fmla="*/ 844630 h 864472"/>
                <a:gd name="connsiteX4" fmla="*/ 112609 w 437053"/>
                <a:gd name="connsiteY4" fmla="*/ 864473 h 864472"/>
                <a:gd name="connsiteX5" fmla="*/ 127988 w 437053"/>
                <a:gd name="connsiteY5" fmla="*/ 864473 h 864472"/>
                <a:gd name="connsiteX6" fmla="*/ 134437 w 437053"/>
                <a:gd name="connsiteY6" fmla="*/ 831732 h 864472"/>
                <a:gd name="connsiteX7" fmla="*/ 160729 w 437053"/>
                <a:gd name="connsiteY7" fmla="*/ 828259 h 864472"/>
                <a:gd name="connsiteX8" fmla="*/ 166682 w 437053"/>
                <a:gd name="connsiteY8" fmla="*/ 863977 h 864472"/>
                <a:gd name="connsiteX9" fmla="*/ 182060 w 437053"/>
                <a:gd name="connsiteY9" fmla="*/ 860504 h 864472"/>
                <a:gd name="connsiteX10" fmla="*/ 197935 w 437053"/>
                <a:gd name="connsiteY10" fmla="*/ 838676 h 864472"/>
                <a:gd name="connsiteX11" fmla="*/ 208849 w 437053"/>
                <a:gd name="connsiteY11" fmla="*/ 860504 h 864472"/>
                <a:gd name="connsiteX12" fmla="*/ 294670 w 437053"/>
                <a:gd name="connsiteY12" fmla="*/ 851078 h 864472"/>
                <a:gd name="connsiteX13" fmla="*/ 166186 w 437053"/>
                <a:gd name="connsiteY13" fmla="*/ 782620 h 864472"/>
                <a:gd name="connsiteX14" fmla="*/ 221251 w 437053"/>
                <a:gd name="connsiteY14" fmla="*/ 508785 h 864472"/>
                <a:gd name="connsiteX15" fmla="*/ 416705 w 437053"/>
                <a:gd name="connsiteY15" fmla="*/ 509281 h 864472"/>
                <a:gd name="connsiteX16" fmla="*/ 416705 w 437053"/>
                <a:gd name="connsiteY16" fmla="*/ 460169 h 864472"/>
                <a:gd name="connsiteX17" fmla="*/ 437045 w 437053"/>
                <a:gd name="connsiteY17" fmla="*/ 421475 h 864472"/>
                <a:gd name="connsiteX18" fmla="*/ 416209 w 437053"/>
                <a:gd name="connsiteY18" fmla="*/ 387742 h 864472"/>
                <a:gd name="connsiteX19" fmla="*/ 417201 w 437053"/>
                <a:gd name="connsiteY19" fmla="*/ 326228 h 864472"/>
                <a:gd name="connsiteX20" fmla="*/ 376523 w 437053"/>
                <a:gd name="connsiteY20" fmla="*/ 285550 h 864472"/>
                <a:gd name="connsiteX21" fmla="*/ 418690 w 437053"/>
                <a:gd name="connsiteY21" fmla="*/ 201216 h 864472"/>
                <a:gd name="connsiteX22" fmla="*/ 378011 w 437053"/>
                <a:gd name="connsiteY22" fmla="*/ 191791 h 864472"/>
                <a:gd name="connsiteX23" fmla="*/ 341798 w 437053"/>
                <a:gd name="connsiteY23" fmla="*/ 263226 h 864472"/>
                <a:gd name="connsiteX24" fmla="*/ 309552 w 437053"/>
                <a:gd name="connsiteY24" fmla="*/ 263226 h 864472"/>
                <a:gd name="connsiteX25" fmla="*/ 303599 w 437053"/>
                <a:gd name="connsiteY25" fmla="*/ 269179 h 864472"/>
                <a:gd name="connsiteX26" fmla="*/ 302111 w 437053"/>
                <a:gd name="connsiteY26" fmla="*/ 287534 h 864472"/>
                <a:gd name="connsiteX27" fmla="*/ 286733 w 437053"/>
                <a:gd name="connsiteY27" fmla="*/ 268187 h 864472"/>
                <a:gd name="connsiteX28" fmla="*/ 266394 w 437053"/>
                <a:gd name="connsiteY28" fmla="*/ 261738 h 864472"/>
                <a:gd name="connsiteX29" fmla="*/ 213314 w 437053"/>
                <a:gd name="connsiteY29" fmla="*/ 220563 h 864472"/>
                <a:gd name="connsiteX30" fmla="*/ 206368 w 437053"/>
                <a:gd name="connsiteY30" fmla="*/ 16675 h 864472"/>
                <a:gd name="connsiteX31" fmla="*/ 101200 w 437053"/>
                <a:gd name="connsiteY31" fmla="*/ 212130 h 864472"/>
                <a:gd name="connsiteX32" fmla="*/ 73915 w 437053"/>
                <a:gd name="connsiteY32" fmla="*/ 267195 h 864472"/>
                <a:gd name="connsiteX33" fmla="*/ 30261 w 437053"/>
                <a:gd name="connsiteY33" fmla="*/ 408577 h 864472"/>
                <a:gd name="connsiteX34" fmla="*/ 64986 w 437053"/>
                <a:gd name="connsiteY34" fmla="*/ 430405 h 864472"/>
                <a:gd name="connsiteX35" fmla="*/ 64986 w 437053"/>
                <a:gd name="connsiteY35" fmla="*/ 512753 h 864472"/>
                <a:gd name="connsiteX36" fmla="*/ 127988 w 437053"/>
                <a:gd name="connsiteY36" fmla="*/ 786092 h 864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7053" h="864472">
                  <a:moveTo>
                    <a:pt x="127988" y="786092"/>
                  </a:moveTo>
                  <a:cubicBezTo>
                    <a:pt x="127988" y="786092"/>
                    <a:pt x="19347" y="829747"/>
                    <a:pt x="0" y="853063"/>
                  </a:cubicBezTo>
                  <a:cubicBezTo>
                    <a:pt x="5457" y="863977"/>
                    <a:pt x="45639" y="864969"/>
                    <a:pt x="86814" y="863480"/>
                  </a:cubicBezTo>
                  <a:lnTo>
                    <a:pt x="98719" y="844630"/>
                  </a:lnTo>
                  <a:lnTo>
                    <a:pt x="112609" y="864473"/>
                  </a:lnTo>
                  <a:lnTo>
                    <a:pt x="127988" y="864473"/>
                  </a:lnTo>
                  <a:lnTo>
                    <a:pt x="134437" y="831732"/>
                  </a:lnTo>
                  <a:lnTo>
                    <a:pt x="160729" y="828259"/>
                  </a:lnTo>
                  <a:lnTo>
                    <a:pt x="166682" y="863977"/>
                  </a:lnTo>
                  <a:lnTo>
                    <a:pt x="182060" y="860504"/>
                  </a:lnTo>
                  <a:lnTo>
                    <a:pt x="197935" y="838676"/>
                  </a:lnTo>
                  <a:lnTo>
                    <a:pt x="208849" y="860504"/>
                  </a:lnTo>
                  <a:cubicBezTo>
                    <a:pt x="208849" y="860504"/>
                    <a:pt x="284749" y="863480"/>
                    <a:pt x="294670" y="851078"/>
                  </a:cubicBezTo>
                  <a:cubicBezTo>
                    <a:pt x="304592" y="838180"/>
                    <a:pt x="166186" y="782620"/>
                    <a:pt x="166186" y="782620"/>
                  </a:cubicBezTo>
                  <a:lnTo>
                    <a:pt x="221251" y="508785"/>
                  </a:lnTo>
                  <a:lnTo>
                    <a:pt x="416705" y="509281"/>
                  </a:lnTo>
                  <a:lnTo>
                    <a:pt x="416705" y="460169"/>
                  </a:lnTo>
                  <a:cubicBezTo>
                    <a:pt x="416705" y="460169"/>
                    <a:pt x="437541" y="456697"/>
                    <a:pt x="437045" y="421475"/>
                  </a:cubicBezTo>
                  <a:cubicBezTo>
                    <a:pt x="436549" y="386253"/>
                    <a:pt x="416209" y="387742"/>
                    <a:pt x="416209" y="387742"/>
                  </a:cubicBezTo>
                  <a:lnTo>
                    <a:pt x="417201" y="326228"/>
                  </a:lnTo>
                  <a:lnTo>
                    <a:pt x="376523" y="285550"/>
                  </a:lnTo>
                  <a:lnTo>
                    <a:pt x="418690" y="201216"/>
                  </a:lnTo>
                  <a:cubicBezTo>
                    <a:pt x="418690" y="201216"/>
                    <a:pt x="405792" y="182862"/>
                    <a:pt x="378011" y="191791"/>
                  </a:cubicBezTo>
                  <a:lnTo>
                    <a:pt x="341798" y="263226"/>
                  </a:lnTo>
                  <a:lnTo>
                    <a:pt x="309552" y="263226"/>
                  </a:lnTo>
                  <a:lnTo>
                    <a:pt x="303599" y="269179"/>
                  </a:lnTo>
                  <a:lnTo>
                    <a:pt x="302111" y="287534"/>
                  </a:lnTo>
                  <a:lnTo>
                    <a:pt x="286733" y="268187"/>
                  </a:lnTo>
                  <a:lnTo>
                    <a:pt x="266394" y="261738"/>
                  </a:lnTo>
                  <a:lnTo>
                    <a:pt x="213314" y="220563"/>
                  </a:lnTo>
                  <a:cubicBezTo>
                    <a:pt x="229684" y="212130"/>
                    <a:pt x="296158" y="102001"/>
                    <a:pt x="206368" y="16675"/>
                  </a:cubicBezTo>
                  <a:cubicBezTo>
                    <a:pt x="98719" y="-56744"/>
                    <a:pt x="24308" y="131269"/>
                    <a:pt x="101200" y="212130"/>
                  </a:cubicBezTo>
                  <a:cubicBezTo>
                    <a:pt x="89790" y="239415"/>
                    <a:pt x="73915" y="267195"/>
                    <a:pt x="73915" y="267195"/>
                  </a:cubicBezTo>
                  <a:cubicBezTo>
                    <a:pt x="73915" y="267195"/>
                    <a:pt x="15378" y="388238"/>
                    <a:pt x="30261" y="408577"/>
                  </a:cubicBezTo>
                  <a:cubicBezTo>
                    <a:pt x="44647" y="428916"/>
                    <a:pt x="64986" y="430405"/>
                    <a:pt x="64986" y="430405"/>
                  </a:cubicBezTo>
                  <a:lnTo>
                    <a:pt x="64986" y="512753"/>
                  </a:lnTo>
                  <a:lnTo>
                    <a:pt x="127988" y="78609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36F5BDC-5ABA-8737-819E-016DBBDE8941}"/>
                </a:ext>
              </a:extLst>
            </p:cNvPr>
            <p:cNvSpPr/>
            <p:nvPr/>
          </p:nvSpPr>
          <p:spPr>
            <a:xfrm>
              <a:off x="6053509" y="4935975"/>
              <a:ext cx="39686" cy="39686"/>
            </a:xfrm>
            <a:custGeom>
              <a:avLst/>
              <a:gdLst>
                <a:gd name="connsiteX0" fmla="*/ 39686 w 39686"/>
                <a:gd name="connsiteY0" fmla="*/ 19843 h 39686"/>
                <a:gd name="connsiteX1" fmla="*/ 19843 w 39686"/>
                <a:gd name="connsiteY1" fmla="*/ 39686 h 39686"/>
                <a:gd name="connsiteX2" fmla="*/ 0 w 39686"/>
                <a:gd name="connsiteY2" fmla="*/ 19843 h 39686"/>
                <a:gd name="connsiteX3" fmla="*/ 19843 w 39686"/>
                <a:gd name="connsiteY3" fmla="*/ 0 h 39686"/>
                <a:gd name="connsiteX4" fmla="*/ 39686 w 39686"/>
                <a:gd name="connsiteY4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6" h="39686">
                  <a:moveTo>
                    <a:pt x="39686" y="19843"/>
                  </a:moveTo>
                  <a:cubicBezTo>
                    <a:pt x="39686" y="30802"/>
                    <a:pt x="30802" y="39686"/>
                    <a:pt x="19843" y="39686"/>
                  </a:cubicBezTo>
                  <a:cubicBezTo>
                    <a:pt x="8884" y="39686"/>
                    <a:pt x="0" y="30802"/>
                    <a:pt x="0" y="19843"/>
                  </a:cubicBezTo>
                  <a:cubicBezTo>
                    <a:pt x="0" y="8884"/>
                    <a:pt x="8884" y="0"/>
                    <a:pt x="19843" y="0"/>
                  </a:cubicBezTo>
                  <a:cubicBezTo>
                    <a:pt x="30802" y="0"/>
                    <a:pt x="39686" y="8884"/>
                    <a:pt x="39686" y="19843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E5594BE-B8CA-2D25-8B83-3C551D53D5A1}"/>
                </a:ext>
              </a:extLst>
            </p:cNvPr>
            <p:cNvSpPr/>
            <p:nvPr/>
          </p:nvSpPr>
          <p:spPr>
            <a:xfrm>
              <a:off x="4363371" y="5034694"/>
              <a:ext cx="153784" cy="298142"/>
            </a:xfrm>
            <a:custGeom>
              <a:avLst/>
              <a:gdLst>
                <a:gd name="connsiteX0" fmla="*/ 0 w 153784"/>
                <a:gd name="connsiteY0" fmla="*/ 0 h 298142"/>
                <a:gd name="connsiteX1" fmla="*/ 67962 w 153784"/>
                <a:gd name="connsiteY1" fmla="*/ 292190 h 298142"/>
                <a:gd name="connsiteX2" fmla="*/ 69947 w 153784"/>
                <a:gd name="connsiteY2" fmla="*/ 298143 h 298142"/>
                <a:gd name="connsiteX3" fmla="*/ 96735 w 153784"/>
                <a:gd name="connsiteY3" fmla="*/ 296654 h 298142"/>
                <a:gd name="connsiteX4" fmla="*/ 153784 w 153784"/>
                <a:gd name="connsiteY4" fmla="*/ 17363 h 298142"/>
                <a:gd name="connsiteX5" fmla="*/ 145847 w 153784"/>
                <a:gd name="connsiteY5" fmla="*/ 11410 h 298142"/>
                <a:gd name="connsiteX6" fmla="*/ 0 w 153784"/>
                <a:gd name="connsiteY6" fmla="*/ 0 h 298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784" h="298142">
                  <a:moveTo>
                    <a:pt x="0" y="0"/>
                  </a:moveTo>
                  <a:lnTo>
                    <a:pt x="67962" y="292190"/>
                  </a:lnTo>
                  <a:lnTo>
                    <a:pt x="69947" y="298143"/>
                  </a:lnTo>
                  <a:lnTo>
                    <a:pt x="96735" y="296654"/>
                  </a:lnTo>
                  <a:lnTo>
                    <a:pt x="153784" y="17363"/>
                  </a:lnTo>
                  <a:cubicBezTo>
                    <a:pt x="153784" y="17363"/>
                    <a:pt x="149815" y="11906"/>
                    <a:pt x="145847" y="11410"/>
                  </a:cubicBezTo>
                  <a:cubicBezTo>
                    <a:pt x="142374" y="114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C03439F7-AB7B-16C0-C20F-B4B6EF2378B1}"/>
                </a:ext>
              </a:extLst>
            </p:cNvPr>
            <p:cNvSpPr/>
            <p:nvPr/>
          </p:nvSpPr>
          <p:spPr>
            <a:xfrm>
              <a:off x="5818766" y="4589119"/>
              <a:ext cx="76095" cy="65677"/>
            </a:xfrm>
            <a:custGeom>
              <a:avLst/>
              <a:gdLst>
                <a:gd name="connsiteX0" fmla="*/ 64588 w 76095"/>
                <a:gd name="connsiteY0" fmla="*/ 45241 h 65677"/>
                <a:gd name="connsiteX1" fmla="*/ 37304 w 76095"/>
                <a:gd name="connsiteY1" fmla="*/ 62107 h 65677"/>
                <a:gd name="connsiteX2" fmla="*/ 3570 w 76095"/>
                <a:gd name="connsiteY2" fmla="*/ 54170 h 65677"/>
                <a:gd name="connsiteX3" fmla="*/ 3570 w 76095"/>
                <a:gd name="connsiteY3" fmla="*/ 54170 h 65677"/>
                <a:gd name="connsiteX4" fmla="*/ 11507 w 76095"/>
                <a:gd name="connsiteY4" fmla="*/ 20437 h 65677"/>
                <a:gd name="connsiteX5" fmla="*/ 38792 w 76095"/>
                <a:gd name="connsiteY5" fmla="*/ 3570 h 65677"/>
                <a:gd name="connsiteX6" fmla="*/ 72525 w 76095"/>
                <a:gd name="connsiteY6" fmla="*/ 11508 h 65677"/>
                <a:gd name="connsiteX7" fmla="*/ 72525 w 76095"/>
                <a:gd name="connsiteY7" fmla="*/ 11508 h 65677"/>
                <a:gd name="connsiteX8" fmla="*/ 64588 w 76095"/>
                <a:gd name="connsiteY8" fmla="*/ 45241 h 65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095" h="65677">
                  <a:moveTo>
                    <a:pt x="64588" y="45241"/>
                  </a:moveTo>
                  <a:lnTo>
                    <a:pt x="37304" y="62107"/>
                  </a:lnTo>
                  <a:cubicBezTo>
                    <a:pt x="25894" y="69053"/>
                    <a:pt x="10516" y="65580"/>
                    <a:pt x="3570" y="54170"/>
                  </a:cubicBezTo>
                  <a:lnTo>
                    <a:pt x="3570" y="54170"/>
                  </a:lnTo>
                  <a:cubicBezTo>
                    <a:pt x="-3375" y="42761"/>
                    <a:pt x="98" y="27382"/>
                    <a:pt x="11507" y="20437"/>
                  </a:cubicBezTo>
                  <a:lnTo>
                    <a:pt x="38792" y="3570"/>
                  </a:lnTo>
                  <a:cubicBezTo>
                    <a:pt x="50202" y="-3375"/>
                    <a:pt x="65580" y="98"/>
                    <a:pt x="72525" y="11508"/>
                  </a:cubicBezTo>
                  <a:lnTo>
                    <a:pt x="72525" y="11508"/>
                  </a:lnTo>
                  <a:cubicBezTo>
                    <a:pt x="79471" y="22917"/>
                    <a:pt x="75998" y="37800"/>
                    <a:pt x="64588" y="45241"/>
                  </a:cubicBez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139CA7B2-3C10-010E-FDBE-80A519EDCBB7}"/>
                </a:ext>
              </a:extLst>
            </p:cNvPr>
            <p:cNvSpPr/>
            <p:nvPr/>
          </p:nvSpPr>
          <p:spPr>
            <a:xfrm>
              <a:off x="5785682" y="4561786"/>
              <a:ext cx="51040" cy="44296"/>
            </a:xfrm>
            <a:custGeom>
              <a:avLst/>
              <a:gdLst>
                <a:gd name="connsiteX0" fmla="*/ 28717 w 51040"/>
                <a:gd name="connsiteY0" fmla="*/ 7091 h 44296"/>
                <a:gd name="connsiteX1" fmla="*/ 51040 w 51040"/>
                <a:gd name="connsiteY1" fmla="*/ 44297 h 44296"/>
                <a:gd name="connsiteX2" fmla="*/ 10361 w 51040"/>
                <a:gd name="connsiteY2" fmla="*/ 29910 h 44296"/>
                <a:gd name="connsiteX3" fmla="*/ 3417 w 51040"/>
                <a:gd name="connsiteY3" fmla="*/ 5603 h 44296"/>
                <a:gd name="connsiteX4" fmla="*/ 28717 w 51040"/>
                <a:gd name="connsiteY4" fmla="*/ 7091 h 4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40" h="44296">
                  <a:moveTo>
                    <a:pt x="28717" y="7091"/>
                  </a:moveTo>
                  <a:cubicBezTo>
                    <a:pt x="41615" y="18004"/>
                    <a:pt x="51040" y="44297"/>
                    <a:pt x="51040" y="44297"/>
                  </a:cubicBezTo>
                  <a:cubicBezTo>
                    <a:pt x="51040" y="44297"/>
                    <a:pt x="23756" y="40824"/>
                    <a:pt x="10361" y="29910"/>
                  </a:cubicBezTo>
                  <a:cubicBezTo>
                    <a:pt x="-2536" y="18997"/>
                    <a:pt x="-1544" y="11556"/>
                    <a:pt x="3417" y="5603"/>
                  </a:cubicBezTo>
                  <a:cubicBezTo>
                    <a:pt x="8378" y="-350"/>
                    <a:pt x="15322" y="-3823"/>
                    <a:pt x="28717" y="709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3D6B519D-BB40-BA7D-D633-1FA08442CE13}"/>
                </a:ext>
              </a:extLst>
            </p:cNvPr>
            <p:cNvSpPr/>
            <p:nvPr/>
          </p:nvSpPr>
          <p:spPr>
            <a:xfrm>
              <a:off x="5820012" y="4536480"/>
              <a:ext cx="34261" cy="71090"/>
            </a:xfrm>
            <a:custGeom>
              <a:avLst/>
              <a:gdLst>
                <a:gd name="connsiteX0" fmla="*/ 34074 w 34261"/>
                <a:gd name="connsiteY0" fmla="*/ 22475 h 71090"/>
                <a:gd name="connsiteX1" fmla="*/ 21672 w 34261"/>
                <a:gd name="connsiteY1" fmla="*/ 71091 h 71090"/>
                <a:gd name="connsiteX2" fmla="*/ 340 w 34261"/>
                <a:gd name="connsiteY2" fmla="*/ 25948 h 71090"/>
                <a:gd name="connsiteX3" fmla="*/ 14727 w 34261"/>
                <a:gd name="connsiteY3" fmla="*/ 152 h 71090"/>
                <a:gd name="connsiteX4" fmla="*/ 34074 w 34261"/>
                <a:gd name="connsiteY4" fmla="*/ 22475 h 7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61" h="71090">
                  <a:moveTo>
                    <a:pt x="34074" y="22475"/>
                  </a:moveTo>
                  <a:cubicBezTo>
                    <a:pt x="36058" y="41823"/>
                    <a:pt x="21672" y="71091"/>
                    <a:pt x="21672" y="71091"/>
                  </a:cubicBezTo>
                  <a:cubicBezTo>
                    <a:pt x="21672" y="71091"/>
                    <a:pt x="2325" y="45295"/>
                    <a:pt x="340" y="25948"/>
                  </a:cubicBezTo>
                  <a:cubicBezTo>
                    <a:pt x="-1644" y="6601"/>
                    <a:pt x="5301" y="1144"/>
                    <a:pt x="14727" y="152"/>
                  </a:cubicBezTo>
                  <a:cubicBezTo>
                    <a:pt x="24152" y="-840"/>
                    <a:pt x="32089" y="2632"/>
                    <a:pt x="34074" y="22475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618B1893-3C4A-C28D-3C80-A5BDC82A49E6}"/>
                </a:ext>
              </a:extLst>
            </p:cNvPr>
            <p:cNvSpPr/>
            <p:nvPr/>
          </p:nvSpPr>
          <p:spPr>
            <a:xfrm>
              <a:off x="6021318" y="4735529"/>
              <a:ext cx="77860" cy="63062"/>
            </a:xfrm>
            <a:custGeom>
              <a:avLst/>
              <a:gdLst>
                <a:gd name="connsiteX0" fmla="*/ 13836 w 77860"/>
                <a:gd name="connsiteY0" fmla="*/ 46662 h 63062"/>
                <a:gd name="connsiteX1" fmla="*/ 42608 w 77860"/>
                <a:gd name="connsiteY1" fmla="*/ 60552 h 63062"/>
                <a:gd name="connsiteX2" fmla="*/ 75350 w 77860"/>
                <a:gd name="connsiteY2" fmla="*/ 49142 h 63062"/>
                <a:gd name="connsiteX3" fmla="*/ 75350 w 77860"/>
                <a:gd name="connsiteY3" fmla="*/ 49142 h 63062"/>
                <a:gd name="connsiteX4" fmla="*/ 63940 w 77860"/>
                <a:gd name="connsiteY4" fmla="*/ 16401 h 63062"/>
                <a:gd name="connsiteX5" fmla="*/ 35167 w 77860"/>
                <a:gd name="connsiteY5" fmla="*/ 2511 h 63062"/>
                <a:gd name="connsiteX6" fmla="*/ 2426 w 77860"/>
                <a:gd name="connsiteY6" fmla="*/ 13921 h 63062"/>
                <a:gd name="connsiteX7" fmla="*/ 2426 w 77860"/>
                <a:gd name="connsiteY7" fmla="*/ 13921 h 63062"/>
                <a:gd name="connsiteX8" fmla="*/ 13836 w 77860"/>
                <a:gd name="connsiteY8" fmla="*/ 46662 h 6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860" h="63062">
                  <a:moveTo>
                    <a:pt x="13836" y="46662"/>
                  </a:moveTo>
                  <a:lnTo>
                    <a:pt x="42608" y="60552"/>
                  </a:lnTo>
                  <a:cubicBezTo>
                    <a:pt x="55010" y="66505"/>
                    <a:pt x="69396" y="61544"/>
                    <a:pt x="75350" y="49142"/>
                  </a:cubicBezTo>
                  <a:lnTo>
                    <a:pt x="75350" y="49142"/>
                  </a:lnTo>
                  <a:cubicBezTo>
                    <a:pt x="81302" y="36740"/>
                    <a:pt x="76342" y="22354"/>
                    <a:pt x="63940" y="16401"/>
                  </a:cubicBezTo>
                  <a:lnTo>
                    <a:pt x="35167" y="2511"/>
                  </a:lnTo>
                  <a:cubicBezTo>
                    <a:pt x="22765" y="-3442"/>
                    <a:pt x="8379" y="1519"/>
                    <a:pt x="2426" y="13921"/>
                  </a:cubicBezTo>
                  <a:lnTo>
                    <a:pt x="2426" y="13921"/>
                  </a:lnTo>
                  <a:cubicBezTo>
                    <a:pt x="-3527" y="26323"/>
                    <a:pt x="1930" y="40709"/>
                    <a:pt x="13836" y="46662"/>
                  </a:cubicBez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98092DDA-73BB-D8D6-3053-0B63664C57E5}"/>
                </a:ext>
              </a:extLst>
            </p:cNvPr>
            <p:cNvSpPr/>
            <p:nvPr/>
          </p:nvSpPr>
          <p:spPr>
            <a:xfrm>
              <a:off x="6078808" y="4700616"/>
              <a:ext cx="47396" cy="48337"/>
            </a:xfrm>
            <a:custGeom>
              <a:avLst/>
              <a:gdLst>
                <a:gd name="connsiteX0" fmla="*/ 17859 w 47396"/>
                <a:gd name="connsiteY0" fmla="*/ 9147 h 48337"/>
                <a:gd name="connsiteX1" fmla="*/ 0 w 47396"/>
                <a:gd name="connsiteY1" fmla="*/ 48337 h 48337"/>
                <a:gd name="connsiteX2" fmla="*/ 38694 w 47396"/>
                <a:gd name="connsiteY2" fmla="*/ 29486 h 48337"/>
                <a:gd name="connsiteX3" fmla="*/ 42663 w 47396"/>
                <a:gd name="connsiteY3" fmla="*/ 4683 h 48337"/>
                <a:gd name="connsiteX4" fmla="*/ 17859 w 47396"/>
                <a:gd name="connsiteY4" fmla="*/ 9147 h 4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96" h="48337">
                  <a:moveTo>
                    <a:pt x="17859" y="9147"/>
                  </a:moveTo>
                  <a:cubicBezTo>
                    <a:pt x="5953" y="21053"/>
                    <a:pt x="0" y="48337"/>
                    <a:pt x="0" y="48337"/>
                  </a:cubicBezTo>
                  <a:cubicBezTo>
                    <a:pt x="0" y="48337"/>
                    <a:pt x="26788" y="41888"/>
                    <a:pt x="38694" y="29486"/>
                  </a:cubicBezTo>
                  <a:cubicBezTo>
                    <a:pt x="50600" y="17580"/>
                    <a:pt x="48616" y="10139"/>
                    <a:pt x="42663" y="4683"/>
                  </a:cubicBezTo>
                  <a:cubicBezTo>
                    <a:pt x="37206" y="-1270"/>
                    <a:pt x="29765" y="-3255"/>
                    <a:pt x="17859" y="9147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AC9108BF-BC2F-7817-ED5E-2C8E42CF5A42}"/>
                </a:ext>
              </a:extLst>
            </p:cNvPr>
            <p:cNvSpPr/>
            <p:nvPr/>
          </p:nvSpPr>
          <p:spPr>
            <a:xfrm>
              <a:off x="6055989" y="4680459"/>
              <a:ext cx="33744" cy="70975"/>
            </a:xfrm>
            <a:custGeom>
              <a:avLst/>
              <a:gdLst>
                <a:gd name="connsiteX0" fmla="*/ 0 w 33744"/>
                <a:gd name="connsiteY0" fmla="*/ 23848 h 70975"/>
                <a:gd name="connsiteX1" fmla="*/ 17363 w 33744"/>
                <a:gd name="connsiteY1" fmla="*/ 70975 h 70975"/>
                <a:gd name="connsiteX2" fmla="*/ 33734 w 33744"/>
                <a:gd name="connsiteY2" fmla="*/ 23848 h 70975"/>
                <a:gd name="connsiteX3" fmla="*/ 16371 w 33744"/>
                <a:gd name="connsiteY3" fmla="*/ 36 h 70975"/>
                <a:gd name="connsiteX4" fmla="*/ 0 w 33744"/>
                <a:gd name="connsiteY4" fmla="*/ 23848 h 7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44" h="70975">
                  <a:moveTo>
                    <a:pt x="0" y="23848"/>
                  </a:moveTo>
                  <a:cubicBezTo>
                    <a:pt x="0" y="43691"/>
                    <a:pt x="17363" y="70975"/>
                    <a:pt x="17363" y="70975"/>
                  </a:cubicBezTo>
                  <a:cubicBezTo>
                    <a:pt x="17363" y="70975"/>
                    <a:pt x="34230" y="43195"/>
                    <a:pt x="33734" y="23848"/>
                  </a:cubicBezTo>
                  <a:cubicBezTo>
                    <a:pt x="33238" y="4501"/>
                    <a:pt x="25796" y="36"/>
                    <a:pt x="16371" y="36"/>
                  </a:cubicBezTo>
                  <a:cubicBezTo>
                    <a:pt x="7441" y="-460"/>
                    <a:pt x="0" y="4005"/>
                    <a:pt x="0" y="23848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903FD3C1-575A-F608-4888-6099A796E77D}"/>
                </a:ext>
              </a:extLst>
            </p:cNvPr>
            <p:cNvSpPr/>
            <p:nvPr/>
          </p:nvSpPr>
          <p:spPr>
            <a:xfrm>
              <a:off x="6017295" y="4900753"/>
              <a:ext cx="103679" cy="112113"/>
            </a:xfrm>
            <a:custGeom>
              <a:avLst/>
              <a:gdLst>
                <a:gd name="connsiteX0" fmla="*/ 90286 w 103679"/>
                <a:gd name="connsiteY0" fmla="*/ 56057 h 112113"/>
                <a:gd name="connsiteX1" fmla="*/ 103680 w 103679"/>
                <a:gd name="connsiteY1" fmla="*/ 37702 h 112113"/>
                <a:gd name="connsiteX2" fmla="*/ 84333 w 103679"/>
                <a:gd name="connsiteY2" fmla="*/ 18851 h 112113"/>
                <a:gd name="connsiteX3" fmla="*/ 70939 w 103679"/>
                <a:gd name="connsiteY3" fmla="*/ 24308 h 112113"/>
                <a:gd name="connsiteX4" fmla="*/ 71435 w 103679"/>
                <a:gd name="connsiteY4" fmla="*/ 19347 h 112113"/>
                <a:gd name="connsiteX5" fmla="*/ 52088 w 103679"/>
                <a:gd name="connsiteY5" fmla="*/ 0 h 112113"/>
                <a:gd name="connsiteX6" fmla="*/ 32741 w 103679"/>
                <a:gd name="connsiteY6" fmla="*/ 19347 h 112113"/>
                <a:gd name="connsiteX7" fmla="*/ 33237 w 103679"/>
                <a:gd name="connsiteY7" fmla="*/ 23812 h 112113"/>
                <a:gd name="connsiteX8" fmla="*/ 19843 w 103679"/>
                <a:gd name="connsiteY8" fmla="*/ 18355 h 112113"/>
                <a:gd name="connsiteX9" fmla="*/ 496 w 103679"/>
                <a:gd name="connsiteY9" fmla="*/ 37702 h 112113"/>
                <a:gd name="connsiteX10" fmla="*/ 14386 w 103679"/>
                <a:gd name="connsiteY10" fmla="*/ 56057 h 112113"/>
                <a:gd name="connsiteX11" fmla="*/ 0 w 103679"/>
                <a:gd name="connsiteY11" fmla="*/ 74412 h 112113"/>
                <a:gd name="connsiteX12" fmla="*/ 19347 w 103679"/>
                <a:gd name="connsiteY12" fmla="*/ 93759 h 112113"/>
                <a:gd name="connsiteX13" fmla="*/ 32741 w 103679"/>
                <a:gd name="connsiteY13" fmla="*/ 88302 h 112113"/>
                <a:gd name="connsiteX14" fmla="*/ 32245 w 103679"/>
                <a:gd name="connsiteY14" fmla="*/ 92766 h 112113"/>
                <a:gd name="connsiteX15" fmla="*/ 51592 w 103679"/>
                <a:gd name="connsiteY15" fmla="*/ 112113 h 112113"/>
                <a:gd name="connsiteX16" fmla="*/ 70939 w 103679"/>
                <a:gd name="connsiteY16" fmla="*/ 92766 h 112113"/>
                <a:gd name="connsiteX17" fmla="*/ 70443 w 103679"/>
                <a:gd name="connsiteY17" fmla="*/ 87806 h 112113"/>
                <a:gd name="connsiteX18" fmla="*/ 83837 w 103679"/>
                <a:gd name="connsiteY18" fmla="*/ 93263 h 112113"/>
                <a:gd name="connsiteX19" fmla="*/ 103184 w 103679"/>
                <a:gd name="connsiteY19" fmla="*/ 73915 h 112113"/>
                <a:gd name="connsiteX20" fmla="*/ 90286 w 103679"/>
                <a:gd name="connsiteY20" fmla="*/ 56057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3679" h="112113">
                  <a:moveTo>
                    <a:pt x="90286" y="56057"/>
                  </a:moveTo>
                  <a:cubicBezTo>
                    <a:pt x="98223" y="53576"/>
                    <a:pt x="103680" y="46631"/>
                    <a:pt x="103680" y="37702"/>
                  </a:cubicBezTo>
                  <a:cubicBezTo>
                    <a:pt x="103680" y="27284"/>
                    <a:pt x="95247" y="18851"/>
                    <a:pt x="84333" y="18851"/>
                  </a:cubicBezTo>
                  <a:cubicBezTo>
                    <a:pt x="79372" y="18851"/>
                    <a:pt x="74412" y="20835"/>
                    <a:pt x="70939" y="24308"/>
                  </a:cubicBezTo>
                  <a:cubicBezTo>
                    <a:pt x="71435" y="22819"/>
                    <a:pt x="71435" y="21331"/>
                    <a:pt x="71435" y="19347"/>
                  </a:cubicBezTo>
                  <a:cubicBezTo>
                    <a:pt x="71435" y="8929"/>
                    <a:pt x="63002" y="0"/>
                    <a:pt x="52088" y="0"/>
                  </a:cubicBezTo>
                  <a:cubicBezTo>
                    <a:pt x="41670" y="0"/>
                    <a:pt x="32741" y="8433"/>
                    <a:pt x="32741" y="19347"/>
                  </a:cubicBezTo>
                  <a:cubicBezTo>
                    <a:pt x="32741" y="20835"/>
                    <a:pt x="32741" y="22324"/>
                    <a:pt x="33237" y="23812"/>
                  </a:cubicBezTo>
                  <a:cubicBezTo>
                    <a:pt x="29765" y="20339"/>
                    <a:pt x="25300" y="18355"/>
                    <a:pt x="19843" y="18355"/>
                  </a:cubicBezTo>
                  <a:cubicBezTo>
                    <a:pt x="9425" y="18355"/>
                    <a:pt x="496" y="26788"/>
                    <a:pt x="496" y="37702"/>
                  </a:cubicBezTo>
                  <a:cubicBezTo>
                    <a:pt x="496" y="46631"/>
                    <a:pt x="6449" y="54072"/>
                    <a:pt x="14386" y="56057"/>
                  </a:cubicBezTo>
                  <a:cubicBezTo>
                    <a:pt x="6449" y="58041"/>
                    <a:pt x="0" y="65482"/>
                    <a:pt x="0" y="74412"/>
                  </a:cubicBezTo>
                  <a:cubicBezTo>
                    <a:pt x="0" y="84829"/>
                    <a:pt x="8433" y="93759"/>
                    <a:pt x="19347" y="93759"/>
                  </a:cubicBezTo>
                  <a:cubicBezTo>
                    <a:pt x="24307" y="93759"/>
                    <a:pt x="29268" y="91774"/>
                    <a:pt x="32741" y="88302"/>
                  </a:cubicBezTo>
                  <a:cubicBezTo>
                    <a:pt x="32245" y="89790"/>
                    <a:pt x="32245" y="91278"/>
                    <a:pt x="32245" y="92766"/>
                  </a:cubicBezTo>
                  <a:cubicBezTo>
                    <a:pt x="32245" y="103184"/>
                    <a:pt x="40678" y="112113"/>
                    <a:pt x="51592" y="112113"/>
                  </a:cubicBezTo>
                  <a:cubicBezTo>
                    <a:pt x="62010" y="112113"/>
                    <a:pt x="70939" y="103680"/>
                    <a:pt x="70939" y="92766"/>
                  </a:cubicBezTo>
                  <a:cubicBezTo>
                    <a:pt x="70939" y="91278"/>
                    <a:pt x="70939" y="89294"/>
                    <a:pt x="70443" y="87806"/>
                  </a:cubicBezTo>
                  <a:cubicBezTo>
                    <a:pt x="73915" y="91278"/>
                    <a:pt x="78380" y="93263"/>
                    <a:pt x="83837" y="93263"/>
                  </a:cubicBezTo>
                  <a:cubicBezTo>
                    <a:pt x="94255" y="93263"/>
                    <a:pt x="103184" y="84829"/>
                    <a:pt x="103184" y="73915"/>
                  </a:cubicBezTo>
                  <a:cubicBezTo>
                    <a:pt x="103680" y="65978"/>
                    <a:pt x="98223" y="58537"/>
                    <a:pt x="90286" y="56057"/>
                  </a:cubicBez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09590594-C333-C534-2DA2-8B866F0FB9A7}"/>
                </a:ext>
              </a:extLst>
            </p:cNvPr>
            <p:cNvSpPr/>
            <p:nvPr/>
          </p:nvSpPr>
          <p:spPr>
            <a:xfrm>
              <a:off x="6053509" y="4935975"/>
              <a:ext cx="39686" cy="39686"/>
            </a:xfrm>
            <a:custGeom>
              <a:avLst/>
              <a:gdLst>
                <a:gd name="connsiteX0" fmla="*/ 39686 w 39686"/>
                <a:gd name="connsiteY0" fmla="*/ 19843 h 39686"/>
                <a:gd name="connsiteX1" fmla="*/ 19843 w 39686"/>
                <a:gd name="connsiteY1" fmla="*/ 39686 h 39686"/>
                <a:gd name="connsiteX2" fmla="*/ 0 w 39686"/>
                <a:gd name="connsiteY2" fmla="*/ 19843 h 39686"/>
                <a:gd name="connsiteX3" fmla="*/ 19843 w 39686"/>
                <a:gd name="connsiteY3" fmla="*/ 0 h 39686"/>
                <a:gd name="connsiteX4" fmla="*/ 39686 w 39686"/>
                <a:gd name="connsiteY4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6" h="39686">
                  <a:moveTo>
                    <a:pt x="39686" y="19843"/>
                  </a:moveTo>
                  <a:cubicBezTo>
                    <a:pt x="39686" y="30802"/>
                    <a:pt x="30802" y="39686"/>
                    <a:pt x="19843" y="39686"/>
                  </a:cubicBezTo>
                  <a:cubicBezTo>
                    <a:pt x="8884" y="39686"/>
                    <a:pt x="0" y="30802"/>
                    <a:pt x="0" y="19843"/>
                  </a:cubicBezTo>
                  <a:cubicBezTo>
                    <a:pt x="0" y="8884"/>
                    <a:pt x="8884" y="0"/>
                    <a:pt x="19843" y="0"/>
                  </a:cubicBezTo>
                  <a:cubicBezTo>
                    <a:pt x="30802" y="0"/>
                    <a:pt x="39686" y="8884"/>
                    <a:pt x="39686" y="19843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8" name="Freeform: Shape 967">
              <a:extLst>
                <a:ext uri="{FF2B5EF4-FFF2-40B4-BE49-F238E27FC236}">
                  <a16:creationId xmlns:a16="http://schemas.microsoft.com/office/drawing/2014/main" id="{734D49E5-BA0C-C32E-0FF7-9BD1DC123684}"/>
                </a:ext>
              </a:extLst>
            </p:cNvPr>
            <p:cNvSpPr/>
            <p:nvPr/>
          </p:nvSpPr>
          <p:spPr>
            <a:xfrm>
              <a:off x="6062762" y="5091144"/>
              <a:ext cx="49455" cy="49386"/>
            </a:xfrm>
            <a:custGeom>
              <a:avLst/>
              <a:gdLst>
                <a:gd name="connsiteX0" fmla="*/ 172 w 49455"/>
                <a:gd name="connsiteY0" fmla="*/ 49215 h 49386"/>
                <a:gd name="connsiteX1" fmla="*/ 11582 w 49455"/>
                <a:gd name="connsiteY1" fmla="*/ 11513 h 49386"/>
                <a:gd name="connsiteX2" fmla="*/ 49284 w 49455"/>
                <a:gd name="connsiteY2" fmla="*/ 104 h 49386"/>
                <a:gd name="connsiteX3" fmla="*/ 37874 w 49455"/>
                <a:gd name="connsiteY3" fmla="*/ 37805 h 49386"/>
                <a:gd name="connsiteX4" fmla="*/ 172 w 49455"/>
                <a:gd name="connsiteY4" fmla="*/ 49215 h 49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55" h="49386">
                  <a:moveTo>
                    <a:pt x="172" y="49215"/>
                  </a:moveTo>
                  <a:cubicBezTo>
                    <a:pt x="172" y="49215"/>
                    <a:pt x="-2309" y="24908"/>
                    <a:pt x="11582" y="11513"/>
                  </a:cubicBezTo>
                  <a:cubicBezTo>
                    <a:pt x="25472" y="-1881"/>
                    <a:pt x="49284" y="104"/>
                    <a:pt x="49284" y="104"/>
                  </a:cubicBezTo>
                  <a:cubicBezTo>
                    <a:pt x="49284" y="104"/>
                    <a:pt x="51764" y="24411"/>
                    <a:pt x="37874" y="37805"/>
                  </a:cubicBezTo>
                  <a:cubicBezTo>
                    <a:pt x="24480" y="51695"/>
                    <a:pt x="172" y="49215"/>
                    <a:pt x="172" y="49215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D4ABA20F-1BE4-5C8C-F634-38E85F3B041A}"/>
                </a:ext>
              </a:extLst>
            </p:cNvPr>
            <p:cNvSpPr/>
            <p:nvPr/>
          </p:nvSpPr>
          <p:spPr>
            <a:xfrm>
              <a:off x="5900545" y="4925315"/>
              <a:ext cx="69793" cy="69935"/>
            </a:xfrm>
            <a:custGeom>
              <a:avLst/>
              <a:gdLst>
                <a:gd name="connsiteX0" fmla="*/ 172 w 69793"/>
                <a:gd name="connsiteY0" fmla="*/ 69693 h 69935"/>
                <a:gd name="connsiteX1" fmla="*/ 16046 w 69793"/>
                <a:gd name="connsiteY1" fmla="*/ 16117 h 69935"/>
                <a:gd name="connsiteX2" fmla="*/ 69622 w 69793"/>
                <a:gd name="connsiteY2" fmla="*/ 242 h 69935"/>
                <a:gd name="connsiteX3" fmla="*/ 53748 w 69793"/>
                <a:gd name="connsiteY3" fmla="*/ 53819 h 69935"/>
                <a:gd name="connsiteX4" fmla="*/ 172 w 69793"/>
                <a:gd name="connsiteY4" fmla="*/ 69693 h 69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793" h="69935">
                  <a:moveTo>
                    <a:pt x="172" y="69693"/>
                  </a:moveTo>
                  <a:cubicBezTo>
                    <a:pt x="172" y="69693"/>
                    <a:pt x="-2805" y="35464"/>
                    <a:pt x="16046" y="16117"/>
                  </a:cubicBezTo>
                  <a:cubicBezTo>
                    <a:pt x="34897" y="-3230"/>
                    <a:pt x="69622" y="242"/>
                    <a:pt x="69622" y="242"/>
                  </a:cubicBezTo>
                  <a:cubicBezTo>
                    <a:pt x="69622" y="242"/>
                    <a:pt x="72599" y="34472"/>
                    <a:pt x="53748" y="53819"/>
                  </a:cubicBezTo>
                  <a:cubicBezTo>
                    <a:pt x="34897" y="73166"/>
                    <a:pt x="172" y="69693"/>
                    <a:pt x="172" y="69693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FABC9B76-DAD8-90AA-A406-807098E4A4C1}"/>
                </a:ext>
              </a:extLst>
            </p:cNvPr>
            <p:cNvSpPr/>
            <p:nvPr/>
          </p:nvSpPr>
          <p:spPr>
            <a:xfrm>
              <a:off x="6012163" y="5157054"/>
              <a:ext cx="49454" cy="49387"/>
            </a:xfrm>
            <a:custGeom>
              <a:avLst/>
              <a:gdLst>
                <a:gd name="connsiteX0" fmla="*/ 172 w 49454"/>
                <a:gd name="connsiteY0" fmla="*/ 172 h 49387"/>
                <a:gd name="connsiteX1" fmla="*/ 11581 w 49454"/>
                <a:gd name="connsiteY1" fmla="*/ 37874 h 49387"/>
                <a:gd name="connsiteX2" fmla="*/ 49283 w 49454"/>
                <a:gd name="connsiteY2" fmla="*/ 49284 h 49387"/>
                <a:gd name="connsiteX3" fmla="*/ 37874 w 49454"/>
                <a:gd name="connsiteY3" fmla="*/ 11582 h 49387"/>
                <a:gd name="connsiteX4" fmla="*/ 172 w 49454"/>
                <a:gd name="connsiteY4" fmla="*/ 172 h 49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54" h="49387">
                  <a:moveTo>
                    <a:pt x="172" y="172"/>
                  </a:moveTo>
                  <a:cubicBezTo>
                    <a:pt x="172" y="172"/>
                    <a:pt x="-2309" y="24480"/>
                    <a:pt x="11581" y="37874"/>
                  </a:cubicBezTo>
                  <a:cubicBezTo>
                    <a:pt x="24976" y="51268"/>
                    <a:pt x="49283" y="49284"/>
                    <a:pt x="49283" y="49284"/>
                  </a:cubicBezTo>
                  <a:cubicBezTo>
                    <a:pt x="49283" y="49284"/>
                    <a:pt x="51763" y="24976"/>
                    <a:pt x="37874" y="11582"/>
                  </a:cubicBezTo>
                  <a:cubicBezTo>
                    <a:pt x="24479" y="-2309"/>
                    <a:pt x="172" y="172"/>
                    <a:pt x="172" y="172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299812B0-F36B-1959-2764-B595636356CF}"/>
                </a:ext>
              </a:extLst>
            </p:cNvPr>
            <p:cNvSpPr/>
            <p:nvPr/>
          </p:nvSpPr>
          <p:spPr>
            <a:xfrm>
              <a:off x="5560407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3C202FB6-D40A-F59F-987A-E31D24A68A06}"/>
                </a:ext>
              </a:extLst>
            </p:cNvPr>
            <p:cNvSpPr/>
            <p:nvPr/>
          </p:nvSpPr>
          <p:spPr>
            <a:xfrm>
              <a:off x="4058779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C53A1E7C-E93A-0D33-6F26-F724160759EB}"/>
                </a:ext>
              </a:extLst>
            </p:cNvPr>
            <p:cNvSpPr/>
            <p:nvPr/>
          </p:nvSpPr>
          <p:spPr>
            <a:xfrm>
              <a:off x="4533526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02023E6A-AA10-97CC-43E9-1AF9353D739E}"/>
                </a:ext>
              </a:extLst>
            </p:cNvPr>
            <p:cNvSpPr/>
            <p:nvPr/>
          </p:nvSpPr>
          <p:spPr>
            <a:xfrm>
              <a:off x="6080793" y="2492295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4EB50BF3-F2BD-C719-C52C-5CEEC711B1C7}"/>
                </a:ext>
              </a:extLst>
            </p:cNvPr>
            <p:cNvSpPr/>
            <p:nvPr/>
          </p:nvSpPr>
          <p:spPr>
            <a:xfrm>
              <a:off x="6254420" y="2492295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5 w 124515"/>
                <a:gd name="connsiteY1" fmla="*/ 0 h 106160"/>
                <a:gd name="connsiteX2" fmla="*/ 124515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5" y="0"/>
                  </a:lnTo>
                  <a:lnTo>
                    <a:pt x="12451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98BCD595-48FF-6301-95A2-F8B0D3AB58B4}"/>
                </a:ext>
              </a:extLst>
            </p:cNvPr>
            <p:cNvSpPr/>
            <p:nvPr/>
          </p:nvSpPr>
          <p:spPr>
            <a:xfrm>
              <a:off x="6080793" y="2636654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D39288D-8353-9F65-7780-3992D6B6EDE2}"/>
                </a:ext>
              </a:extLst>
            </p:cNvPr>
            <p:cNvSpPr/>
            <p:nvPr/>
          </p:nvSpPr>
          <p:spPr>
            <a:xfrm>
              <a:off x="6254420" y="2636654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5 w 124515"/>
                <a:gd name="connsiteY1" fmla="*/ 0 h 152295"/>
                <a:gd name="connsiteX2" fmla="*/ 124515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5" y="0"/>
                  </a:lnTo>
                  <a:lnTo>
                    <a:pt x="12451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5201841F-605E-9E6E-3FA7-65485613BD1E}"/>
                </a:ext>
              </a:extLst>
            </p:cNvPr>
            <p:cNvSpPr/>
            <p:nvPr/>
          </p:nvSpPr>
          <p:spPr>
            <a:xfrm>
              <a:off x="4067709" y="3121818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87DDABF0-4F7F-91D2-27CC-E138CBC4F6B7}"/>
                </a:ext>
              </a:extLst>
            </p:cNvPr>
            <p:cNvSpPr/>
            <p:nvPr/>
          </p:nvSpPr>
          <p:spPr>
            <a:xfrm>
              <a:off x="4241336" y="3121818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5 w 124515"/>
                <a:gd name="connsiteY1" fmla="*/ 0 h 106160"/>
                <a:gd name="connsiteX2" fmla="*/ 124515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5" y="0"/>
                  </a:lnTo>
                  <a:lnTo>
                    <a:pt x="12451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56E5F8D7-7769-14A8-1950-E2B89C2385A0}"/>
                </a:ext>
              </a:extLst>
            </p:cNvPr>
            <p:cNvSpPr/>
            <p:nvPr/>
          </p:nvSpPr>
          <p:spPr>
            <a:xfrm>
              <a:off x="4067709" y="3266177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4A63CCBA-2D4D-2B32-0F1C-07252351E226}"/>
                </a:ext>
              </a:extLst>
            </p:cNvPr>
            <p:cNvSpPr/>
            <p:nvPr/>
          </p:nvSpPr>
          <p:spPr>
            <a:xfrm>
              <a:off x="4241336" y="3266177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5 w 124515"/>
                <a:gd name="connsiteY1" fmla="*/ 0 h 152295"/>
                <a:gd name="connsiteX2" fmla="*/ 124515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5" y="0"/>
                  </a:lnTo>
                  <a:lnTo>
                    <a:pt x="12451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44623CCB-2A89-6BDE-6BD3-04BAC8B27992}"/>
                </a:ext>
              </a:extLst>
            </p:cNvPr>
            <p:cNvSpPr/>
            <p:nvPr/>
          </p:nvSpPr>
          <p:spPr>
            <a:xfrm>
              <a:off x="5033076" y="2492295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8C1D091-3676-755B-461C-47A614C31AD9}"/>
                </a:ext>
              </a:extLst>
            </p:cNvPr>
            <p:cNvSpPr/>
            <p:nvPr/>
          </p:nvSpPr>
          <p:spPr>
            <a:xfrm>
              <a:off x="5206704" y="2492295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6 w 124515"/>
                <a:gd name="connsiteY1" fmla="*/ 0 h 106160"/>
                <a:gd name="connsiteX2" fmla="*/ 124516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6" y="0"/>
                  </a:lnTo>
                  <a:lnTo>
                    <a:pt x="124516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549DB407-0349-EF38-44E6-9B9933247F4E}"/>
                </a:ext>
              </a:extLst>
            </p:cNvPr>
            <p:cNvSpPr/>
            <p:nvPr/>
          </p:nvSpPr>
          <p:spPr>
            <a:xfrm>
              <a:off x="5033076" y="2636654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601DCC46-CBC0-12AA-525D-6ACD8C30124B}"/>
                </a:ext>
              </a:extLst>
            </p:cNvPr>
            <p:cNvSpPr/>
            <p:nvPr/>
          </p:nvSpPr>
          <p:spPr>
            <a:xfrm>
              <a:off x="5206704" y="2636654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6 w 124515"/>
                <a:gd name="connsiteY1" fmla="*/ 0 h 152295"/>
                <a:gd name="connsiteX2" fmla="*/ 124516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6" y="0"/>
                  </a:lnTo>
                  <a:lnTo>
                    <a:pt x="124516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28D6BCB4-93BA-65A4-ECB5-38299ABFA1B3}"/>
                </a:ext>
              </a:extLst>
            </p:cNvPr>
            <p:cNvSpPr/>
            <p:nvPr/>
          </p:nvSpPr>
          <p:spPr>
            <a:xfrm>
              <a:off x="4801096" y="4611540"/>
              <a:ext cx="388921" cy="777354"/>
            </a:xfrm>
            <a:custGeom>
              <a:avLst/>
              <a:gdLst>
                <a:gd name="connsiteX0" fmla="*/ 119866 w 388921"/>
                <a:gd name="connsiteY0" fmla="*/ 777354 h 777354"/>
                <a:gd name="connsiteX1" fmla="*/ 173939 w 388921"/>
                <a:gd name="connsiteY1" fmla="*/ 698974 h 777354"/>
                <a:gd name="connsiteX2" fmla="*/ 119866 w 388921"/>
                <a:gd name="connsiteY2" fmla="*/ 464329 h 777354"/>
                <a:gd name="connsiteX3" fmla="*/ 123339 w 388921"/>
                <a:gd name="connsiteY3" fmla="*/ 308561 h 777354"/>
                <a:gd name="connsiteX4" fmla="*/ 115402 w 388921"/>
                <a:gd name="connsiteY4" fmla="*/ 290206 h 777354"/>
                <a:gd name="connsiteX5" fmla="*/ 37021 w 388921"/>
                <a:gd name="connsiteY5" fmla="*/ 294174 h 777354"/>
                <a:gd name="connsiteX6" fmla="*/ 1304 w 388921"/>
                <a:gd name="connsiteY6" fmla="*/ 130965 h 777354"/>
                <a:gd name="connsiteX7" fmla="*/ 55872 w 388921"/>
                <a:gd name="connsiteY7" fmla="*/ 257961 h 777354"/>
                <a:gd name="connsiteX8" fmla="*/ 122843 w 388921"/>
                <a:gd name="connsiteY8" fmla="*/ 243078 h 777354"/>
                <a:gd name="connsiteX9" fmla="*/ 122843 w 388921"/>
                <a:gd name="connsiteY9" fmla="*/ 208849 h 777354"/>
                <a:gd name="connsiteX10" fmla="*/ 94566 w 388921"/>
                <a:gd name="connsiteY10" fmla="*/ 117075 h 777354"/>
                <a:gd name="connsiteX11" fmla="*/ 185349 w 388921"/>
                <a:gd name="connsiteY11" fmla="*/ 0 h 777354"/>
                <a:gd name="connsiteX12" fmla="*/ 273650 w 388921"/>
                <a:gd name="connsiteY12" fmla="*/ 95247 h 777354"/>
                <a:gd name="connsiteX13" fmla="*/ 296470 w 388921"/>
                <a:gd name="connsiteY13" fmla="*/ 184045 h 777354"/>
                <a:gd name="connsiteX14" fmla="*/ 387748 w 388921"/>
                <a:gd name="connsiteY14" fmla="*/ 215298 h 777354"/>
                <a:gd name="connsiteX15" fmla="*/ 273650 w 388921"/>
                <a:gd name="connsiteY15" fmla="*/ 283757 h 777354"/>
                <a:gd name="connsiteX16" fmla="*/ 271170 w 388921"/>
                <a:gd name="connsiteY16" fmla="*/ 291694 h 777354"/>
                <a:gd name="connsiteX17" fmla="*/ 339133 w 388921"/>
                <a:gd name="connsiteY17" fmla="*/ 383964 h 777354"/>
                <a:gd name="connsiteX18" fmla="*/ 267201 w 388921"/>
                <a:gd name="connsiteY18" fmla="*/ 500047 h 777354"/>
                <a:gd name="connsiteX19" fmla="*/ 297958 w 388921"/>
                <a:gd name="connsiteY19" fmla="*/ 378011 h 777354"/>
                <a:gd name="connsiteX20" fmla="*/ 229996 w 388921"/>
                <a:gd name="connsiteY20" fmla="*/ 306576 h 777354"/>
                <a:gd name="connsiteX21" fmla="*/ 209656 w 388921"/>
                <a:gd name="connsiteY21" fmla="*/ 477227 h 777354"/>
                <a:gd name="connsiteX22" fmla="*/ 189813 w 388921"/>
                <a:gd name="connsiteY22" fmla="*/ 695998 h 777354"/>
                <a:gd name="connsiteX23" fmla="*/ 256288 w 388921"/>
                <a:gd name="connsiteY23" fmla="*/ 775370 h 777354"/>
                <a:gd name="connsiteX24" fmla="*/ 207176 w 388921"/>
                <a:gd name="connsiteY24" fmla="*/ 762968 h 777354"/>
                <a:gd name="connsiteX25" fmla="*/ 198246 w 388921"/>
                <a:gd name="connsiteY25" fmla="*/ 744613 h 777354"/>
                <a:gd name="connsiteX26" fmla="*/ 191302 w 388921"/>
                <a:gd name="connsiteY26" fmla="*/ 763960 h 777354"/>
                <a:gd name="connsiteX27" fmla="*/ 180884 w 388921"/>
                <a:gd name="connsiteY27" fmla="*/ 702446 h 777354"/>
                <a:gd name="connsiteX28" fmla="*/ 177411 w 388921"/>
                <a:gd name="connsiteY28" fmla="*/ 757511 h 777354"/>
                <a:gd name="connsiteX29" fmla="*/ 173443 w 388921"/>
                <a:gd name="connsiteY29" fmla="*/ 748582 h 777354"/>
                <a:gd name="connsiteX30" fmla="*/ 158064 w 388921"/>
                <a:gd name="connsiteY30" fmla="*/ 769417 h 777354"/>
                <a:gd name="connsiteX31" fmla="*/ 119866 w 388921"/>
                <a:gd name="connsiteY31" fmla="*/ 777354 h 77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88921" h="777354">
                  <a:moveTo>
                    <a:pt x="119866" y="777354"/>
                  </a:moveTo>
                  <a:lnTo>
                    <a:pt x="173939" y="698974"/>
                  </a:lnTo>
                  <a:lnTo>
                    <a:pt x="119866" y="464329"/>
                  </a:lnTo>
                  <a:lnTo>
                    <a:pt x="123339" y="308561"/>
                  </a:lnTo>
                  <a:lnTo>
                    <a:pt x="115402" y="290206"/>
                  </a:lnTo>
                  <a:cubicBezTo>
                    <a:pt x="115402" y="290206"/>
                    <a:pt x="60833" y="306080"/>
                    <a:pt x="37021" y="294174"/>
                  </a:cubicBezTo>
                  <a:cubicBezTo>
                    <a:pt x="13209" y="282268"/>
                    <a:pt x="-5146" y="156761"/>
                    <a:pt x="1304" y="130965"/>
                  </a:cubicBezTo>
                  <a:cubicBezTo>
                    <a:pt x="7753" y="105169"/>
                    <a:pt x="35037" y="239606"/>
                    <a:pt x="55872" y="257961"/>
                  </a:cubicBezTo>
                  <a:cubicBezTo>
                    <a:pt x="71747" y="253992"/>
                    <a:pt x="122843" y="243078"/>
                    <a:pt x="122843" y="243078"/>
                  </a:cubicBezTo>
                  <a:lnTo>
                    <a:pt x="122843" y="208849"/>
                  </a:lnTo>
                  <a:cubicBezTo>
                    <a:pt x="122843" y="208849"/>
                    <a:pt x="94566" y="182557"/>
                    <a:pt x="94566" y="117075"/>
                  </a:cubicBezTo>
                  <a:cubicBezTo>
                    <a:pt x="94566" y="51592"/>
                    <a:pt x="138717" y="0"/>
                    <a:pt x="185349" y="0"/>
                  </a:cubicBezTo>
                  <a:cubicBezTo>
                    <a:pt x="231980" y="0"/>
                    <a:pt x="273650" y="55065"/>
                    <a:pt x="273650" y="95247"/>
                  </a:cubicBezTo>
                  <a:cubicBezTo>
                    <a:pt x="279107" y="99712"/>
                    <a:pt x="301431" y="133445"/>
                    <a:pt x="296470" y="184045"/>
                  </a:cubicBezTo>
                  <a:cubicBezTo>
                    <a:pt x="291509" y="234645"/>
                    <a:pt x="391221" y="297151"/>
                    <a:pt x="387748" y="215298"/>
                  </a:cubicBezTo>
                  <a:cubicBezTo>
                    <a:pt x="395189" y="255480"/>
                    <a:pt x="368401" y="370074"/>
                    <a:pt x="273650" y="283757"/>
                  </a:cubicBezTo>
                  <a:lnTo>
                    <a:pt x="271170" y="291694"/>
                  </a:lnTo>
                  <a:cubicBezTo>
                    <a:pt x="271170" y="291694"/>
                    <a:pt x="339133" y="377019"/>
                    <a:pt x="339133" y="383964"/>
                  </a:cubicBezTo>
                  <a:cubicBezTo>
                    <a:pt x="335660" y="391902"/>
                    <a:pt x="277123" y="505999"/>
                    <a:pt x="267201" y="500047"/>
                  </a:cubicBezTo>
                  <a:cubicBezTo>
                    <a:pt x="268194" y="483180"/>
                    <a:pt x="297958" y="378011"/>
                    <a:pt x="297958" y="378011"/>
                  </a:cubicBezTo>
                  <a:lnTo>
                    <a:pt x="229996" y="306576"/>
                  </a:lnTo>
                  <a:lnTo>
                    <a:pt x="209656" y="477227"/>
                  </a:lnTo>
                  <a:lnTo>
                    <a:pt x="189813" y="695998"/>
                  </a:lnTo>
                  <a:lnTo>
                    <a:pt x="256288" y="775370"/>
                  </a:lnTo>
                  <a:lnTo>
                    <a:pt x="207176" y="762968"/>
                  </a:lnTo>
                  <a:lnTo>
                    <a:pt x="198246" y="744613"/>
                  </a:lnTo>
                  <a:lnTo>
                    <a:pt x="191302" y="763960"/>
                  </a:lnTo>
                  <a:lnTo>
                    <a:pt x="180884" y="702446"/>
                  </a:lnTo>
                  <a:lnTo>
                    <a:pt x="177411" y="757511"/>
                  </a:lnTo>
                  <a:lnTo>
                    <a:pt x="173443" y="748582"/>
                  </a:lnTo>
                  <a:lnTo>
                    <a:pt x="158064" y="769417"/>
                  </a:lnTo>
                  <a:lnTo>
                    <a:pt x="119866" y="777354"/>
                  </a:ln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E136558A-EB07-1D65-09E3-00519AD29CE6}"/>
                </a:ext>
              </a:extLst>
            </p:cNvPr>
            <p:cNvSpPr/>
            <p:nvPr/>
          </p:nvSpPr>
          <p:spPr>
            <a:xfrm>
              <a:off x="5560407" y="2633677"/>
              <a:ext cx="294670" cy="161721"/>
            </a:xfrm>
            <a:custGeom>
              <a:avLst/>
              <a:gdLst>
                <a:gd name="connsiteX0" fmla="*/ 0 w 294670"/>
                <a:gd name="connsiteY0" fmla="*/ 0 h 161721"/>
                <a:gd name="connsiteX1" fmla="*/ 294670 w 294670"/>
                <a:gd name="connsiteY1" fmla="*/ 0 h 161721"/>
                <a:gd name="connsiteX2" fmla="*/ 294670 w 294670"/>
                <a:gd name="connsiteY2" fmla="*/ 161721 h 161721"/>
                <a:gd name="connsiteX3" fmla="*/ 0 w 294670"/>
                <a:gd name="connsiteY3" fmla="*/ 161721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61721">
                  <a:moveTo>
                    <a:pt x="0" y="0"/>
                  </a:moveTo>
                  <a:lnTo>
                    <a:pt x="294670" y="0"/>
                  </a:lnTo>
                  <a:lnTo>
                    <a:pt x="294670" y="161721"/>
                  </a:lnTo>
                  <a:lnTo>
                    <a:pt x="0" y="16172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8" name="Freeform: Shape 987">
              <a:extLst>
                <a:ext uri="{FF2B5EF4-FFF2-40B4-BE49-F238E27FC236}">
                  <a16:creationId xmlns:a16="http://schemas.microsoft.com/office/drawing/2014/main" id="{52647AAC-74F4-592B-574A-3AFF303EB534}"/>
                </a:ext>
              </a:extLst>
            </p:cNvPr>
            <p:cNvSpPr/>
            <p:nvPr/>
          </p:nvSpPr>
          <p:spPr>
            <a:xfrm>
              <a:off x="5905677" y="3637739"/>
              <a:ext cx="423650" cy="791244"/>
            </a:xfrm>
            <a:custGeom>
              <a:avLst/>
              <a:gdLst>
                <a:gd name="connsiteX0" fmla="*/ 0 w 423650"/>
                <a:gd name="connsiteY0" fmla="*/ 0 h 791244"/>
                <a:gd name="connsiteX1" fmla="*/ 423651 w 423650"/>
                <a:gd name="connsiteY1" fmla="*/ 0 h 791244"/>
                <a:gd name="connsiteX2" fmla="*/ 423651 w 423650"/>
                <a:gd name="connsiteY2" fmla="*/ 791244 h 791244"/>
                <a:gd name="connsiteX3" fmla="*/ 0 w 423650"/>
                <a:gd name="connsiteY3" fmla="*/ 791244 h 79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650" h="791244">
                  <a:moveTo>
                    <a:pt x="0" y="0"/>
                  </a:moveTo>
                  <a:lnTo>
                    <a:pt x="423651" y="0"/>
                  </a:lnTo>
                  <a:lnTo>
                    <a:pt x="423651" y="791244"/>
                  </a:lnTo>
                  <a:lnTo>
                    <a:pt x="0" y="791244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410259C9-428B-4222-5AD0-C13784514941}"/>
                </a:ext>
              </a:extLst>
            </p:cNvPr>
            <p:cNvSpPr/>
            <p:nvPr/>
          </p:nvSpPr>
          <p:spPr>
            <a:xfrm>
              <a:off x="5030596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1 w 294670"/>
                <a:gd name="connsiteY1" fmla="*/ 0 h 106160"/>
                <a:gd name="connsiteX2" fmla="*/ 294671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1" y="0"/>
                  </a:lnTo>
                  <a:lnTo>
                    <a:pt x="294671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74B1C180-4003-CD46-CD32-DA7F5286A108}"/>
                </a:ext>
              </a:extLst>
            </p:cNvPr>
            <p:cNvSpPr/>
            <p:nvPr/>
          </p:nvSpPr>
          <p:spPr>
            <a:xfrm>
              <a:off x="5557431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B40EBB4C-42E3-8E76-D0BF-049F8295D2E1}"/>
                </a:ext>
              </a:extLst>
            </p:cNvPr>
            <p:cNvSpPr/>
            <p:nvPr/>
          </p:nvSpPr>
          <p:spPr>
            <a:xfrm>
              <a:off x="4552873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5A3EE06C-DCF0-CD56-497B-FCDDE82CB935}"/>
                </a:ext>
              </a:extLst>
            </p:cNvPr>
            <p:cNvSpPr/>
            <p:nvPr/>
          </p:nvSpPr>
          <p:spPr>
            <a:xfrm>
              <a:off x="5030596" y="3265184"/>
              <a:ext cx="294670" cy="161721"/>
            </a:xfrm>
            <a:custGeom>
              <a:avLst/>
              <a:gdLst>
                <a:gd name="connsiteX0" fmla="*/ 0 w 294670"/>
                <a:gd name="connsiteY0" fmla="*/ 0 h 161721"/>
                <a:gd name="connsiteX1" fmla="*/ 294671 w 294670"/>
                <a:gd name="connsiteY1" fmla="*/ 0 h 161721"/>
                <a:gd name="connsiteX2" fmla="*/ 294671 w 294670"/>
                <a:gd name="connsiteY2" fmla="*/ 161721 h 161721"/>
                <a:gd name="connsiteX3" fmla="*/ 0 w 294670"/>
                <a:gd name="connsiteY3" fmla="*/ 161721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61721">
                  <a:moveTo>
                    <a:pt x="0" y="0"/>
                  </a:moveTo>
                  <a:lnTo>
                    <a:pt x="294671" y="0"/>
                  </a:lnTo>
                  <a:lnTo>
                    <a:pt x="294671" y="161721"/>
                  </a:lnTo>
                  <a:lnTo>
                    <a:pt x="0" y="16172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C4F7FAF-B826-0C50-6028-C40D1AA785A7}"/>
                </a:ext>
              </a:extLst>
            </p:cNvPr>
            <p:cNvSpPr/>
            <p:nvPr/>
          </p:nvSpPr>
          <p:spPr>
            <a:xfrm>
              <a:off x="4627781" y="1856323"/>
              <a:ext cx="385948" cy="341797"/>
            </a:xfrm>
            <a:custGeom>
              <a:avLst/>
              <a:gdLst>
                <a:gd name="connsiteX0" fmla="*/ 0 w 385948"/>
                <a:gd name="connsiteY0" fmla="*/ 341798 h 341797"/>
                <a:gd name="connsiteX1" fmla="*/ 44151 w 385948"/>
                <a:gd name="connsiteY1" fmla="*/ 341798 h 341797"/>
                <a:gd name="connsiteX2" fmla="*/ 385949 w 385948"/>
                <a:gd name="connsiteY2" fmla="*/ 0 h 341797"/>
                <a:gd name="connsiteX3" fmla="*/ 345766 w 385948"/>
                <a:gd name="connsiteY3" fmla="*/ 0 h 34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948" h="341797">
                  <a:moveTo>
                    <a:pt x="0" y="341798"/>
                  </a:moveTo>
                  <a:lnTo>
                    <a:pt x="44151" y="341798"/>
                  </a:lnTo>
                  <a:lnTo>
                    <a:pt x="385949" y="0"/>
                  </a:lnTo>
                  <a:lnTo>
                    <a:pt x="345766" y="0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4575242D-5AD2-1973-EE46-DD4CD8398B1F}"/>
                </a:ext>
              </a:extLst>
            </p:cNvPr>
            <p:cNvSpPr/>
            <p:nvPr/>
          </p:nvSpPr>
          <p:spPr>
            <a:xfrm>
              <a:off x="5048951" y="1988280"/>
              <a:ext cx="252503" cy="214305"/>
            </a:xfrm>
            <a:custGeom>
              <a:avLst/>
              <a:gdLst>
                <a:gd name="connsiteX0" fmla="*/ 0 w 252503"/>
                <a:gd name="connsiteY0" fmla="*/ 214306 h 214305"/>
                <a:gd name="connsiteX1" fmla="*/ 44151 w 252503"/>
                <a:gd name="connsiteY1" fmla="*/ 214306 h 214305"/>
                <a:gd name="connsiteX2" fmla="*/ 252504 w 252503"/>
                <a:gd name="connsiteY2" fmla="*/ 0 h 214305"/>
                <a:gd name="connsiteX3" fmla="*/ 212322 w 252503"/>
                <a:gd name="connsiteY3" fmla="*/ 0 h 214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503" h="214305">
                  <a:moveTo>
                    <a:pt x="0" y="214306"/>
                  </a:moveTo>
                  <a:lnTo>
                    <a:pt x="44151" y="214306"/>
                  </a:lnTo>
                  <a:lnTo>
                    <a:pt x="252504" y="0"/>
                  </a:lnTo>
                  <a:lnTo>
                    <a:pt x="212322" y="0"/>
                  </a:lnTo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C53A8C9B-3C91-CA98-2D28-C1009B8F63F3}"/>
                </a:ext>
              </a:extLst>
            </p:cNvPr>
            <p:cNvSpPr/>
            <p:nvPr/>
          </p:nvSpPr>
          <p:spPr>
            <a:xfrm>
              <a:off x="6394314" y="3200198"/>
              <a:ext cx="345270" cy="307568"/>
            </a:xfrm>
            <a:custGeom>
              <a:avLst/>
              <a:gdLst>
                <a:gd name="connsiteX0" fmla="*/ 0 w 345270"/>
                <a:gd name="connsiteY0" fmla="*/ 307568 h 307568"/>
                <a:gd name="connsiteX1" fmla="*/ 44150 w 345270"/>
                <a:gd name="connsiteY1" fmla="*/ 307568 h 307568"/>
                <a:gd name="connsiteX2" fmla="*/ 345270 w 345270"/>
                <a:gd name="connsiteY2" fmla="*/ 0 h 307568"/>
                <a:gd name="connsiteX3" fmla="*/ 305088 w 345270"/>
                <a:gd name="connsiteY3" fmla="*/ 0 h 307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5270" h="307568">
                  <a:moveTo>
                    <a:pt x="0" y="307568"/>
                  </a:moveTo>
                  <a:lnTo>
                    <a:pt x="44150" y="307568"/>
                  </a:lnTo>
                  <a:lnTo>
                    <a:pt x="345270" y="0"/>
                  </a:lnTo>
                  <a:lnTo>
                    <a:pt x="305088" y="0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213ACD24-DCC4-D241-FC53-D10181281653}"/>
                </a:ext>
              </a:extLst>
            </p:cNvPr>
            <p:cNvSpPr/>
            <p:nvPr/>
          </p:nvSpPr>
          <p:spPr>
            <a:xfrm>
              <a:off x="2329948" y="4544569"/>
              <a:ext cx="1164790" cy="674170"/>
            </a:xfrm>
            <a:custGeom>
              <a:avLst/>
              <a:gdLst>
                <a:gd name="connsiteX0" fmla="*/ 1078474 w 1164790"/>
                <a:gd name="connsiteY0" fmla="*/ 472266 h 674170"/>
                <a:gd name="connsiteX1" fmla="*/ 854742 w 1164790"/>
                <a:gd name="connsiteY1" fmla="*/ 674170 h 674170"/>
                <a:gd name="connsiteX2" fmla="*/ 274827 w 1164790"/>
                <a:gd name="connsiteY2" fmla="*/ 674170 h 674170"/>
                <a:gd name="connsiteX3" fmla="*/ 0 w 1164790"/>
                <a:gd name="connsiteY3" fmla="*/ 483676 h 674170"/>
                <a:gd name="connsiteX4" fmla="*/ 0 w 1164790"/>
                <a:gd name="connsiteY4" fmla="*/ 483676 h 674170"/>
                <a:gd name="connsiteX5" fmla="*/ 274827 w 1164790"/>
                <a:gd name="connsiteY5" fmla="*/ 293182 h 674170"/>
                <a:gd name="connsiteX6" fmla="*/ 517409 w 1164790"/>
                <a:gd name="connsiteY6" fmla="*/ 293182 h 674170"/>
                <a:gd name="connsiteX7" fmla="*/ 552631 w 1164790"/>
                <a:gd name="connsiteY7" fmla="*/ 268874 h 674170"/>
                <a:gd name="connsiteX8" fmla="*/ 552631 w 1164790"/>
                <a:gd name="connsiteY8" fmla="*/ 268874 h 674170"/>
                <a:gd name="connsiteX9" fmla="*/ 517409 w 1164790"/>
                <a:gd name="connsiteY9" fmla="*/ 244567 h 674170"/>
                <a:gd name="connsiteX10" fmla="*/ 510960 w 1164790"/>
                <a:gd name="connsiteY10" fmla="*/ 244567 h 674170"/>
                <a:gd name="connsiteX11" fmla="*/ 337333 w 1164790"/>
                <a:gd name="connsiteY11" fmla="*/ 124019 h 674170"/>
                <a:gd name="connsiteX12" fmla="*/ 337333 w 1164790"/>
                <a:gd name="connsiteY12" fmla="*/ 124019 h 674170"/>
                <a:gd name="connsiteX13" fmla="*/ 510960 w 1164790"/>
                <a:gd name="connsiteY13" fmla="*/ 3473 h 674170"/>
                <a:gd name="connsiteX14" fmla="*/ 1121632 w 1164790"/>
                <a:gd name="connsiteY14" fmla="*/ 0 h 674170"/>
                <a:gd name="connsiteX15" fmla="*/ 1164791 w 1164790"/>
                <a:gd name="connsiteY15" fmla="*/ 82845 h 674170"/>
                <a:gd name="connsiteX16" fmla="*/ 1113695 w 1164790"/>
                <a:gd name="connsiteY16" fmla="*/ 329396 h 674170"/>
                <a:gd name="connsiteX17" fmla="*/ 1107246 w 1164790"/>
                <a:gd name="connsiteY17" fmla="*/ 375531 h 674170"/>
                <a:gd name="connsiteX18" fmla="*/ 1039283 w 1164790"/>
                <a:gd name="connsiteY18" fmla="*/ 375531 h 674170"/>
                <a:gd name="connsiteX19" fmla="*/ 1013983 w 1164790"/>
                <a:gd name="connsiteY19" fmla="*/ 400831 h 674170"/>
                <a:gd name="connsiteX20" fmla="*/ 1013487 w 1164790"/>
                <a:gd name="connsiteY20" fmla="*/ 473258 h 674170"/>
                <a:gd name="connsiteX21" fmla="*/ 1078474 w 1164790"/>
                <a:gd name="connsiteY21" fmla="*/ 472266 h 674170"/>
                <a:gd name="connsiteX22" fmla="*/ 1078474 w 1164790"/>
                <a:gd name="connsiteY22" fmla="*/ 472266 h 6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64790" h="674170">
                  <a:moveTo>
                    <a:pt x="1078474" y="472266"/>
                  </a:moveTo>
                  <a:cubicBezTo>
                    <a:pt x="1066568" y="586860"/>
                    <a:pt x="970328" y="674170"/>
                    <a:pt x="854742" y="674170"/>
                  </a:cubicBezTo>
                  <a:lnTo>
                    <a:pt x="274827" y="674170"/>
                  </a:lnTo>
                  <a:cubicBezTo>
                    <a:pt x="123027" y="674170"/>
                    <a:pt x="0" y="588845"/>
                    <a:pt x="0" y="483676"/>
                  </a:cubicBezTo>
                  <a:lnTo>
                    <a:pt x="0" y="483676"/>
                  </a:lnTo>
                  <a:cubicBezTo>
                    <a:pt x="0" y="378508"/>
                    <a:pt x="123027" y="293182"/>
                    <a:pt x="274827" y="293182"/>
                  </a:cubicBezTo>
                  <a:lnTo>
                    <a:pt x="517409" y="293182"/>
                  </a:lnTo>
                  <a:cubicBezTo>
                    <a:pt x="536756" y="293182"/>
                    <a:pt x="552631" y="282268"/>
                    <a:pt x="552631" y="268874"/>
                  </a:cubicBezTo>
                  <a:lnTo>
                    <a:pt x="552631" y="268874"/>
                  </a:lnTo>
                  <a:cubicBezTo>
                    <a:pt x="552631" y="255480"/>
                    <a:pt x="536756" y="244567"/>
                    <a:pt x="517409" y="244567"/>
                  </a:cubicBezTo>
                  <a:lnTo>
                    <a:pt x="510960" y="244567"/>
                  </a:lnTo>
                  <a:cubicBezTo>
                    <a:pt x="414721" y="244567"/>
                    <a:pt x="337333" y="190494"/>
                    <a:pt x="337333" y="124019"/>
                  </a:cubicBezTo>
                  <a:lnTo>
                    <a:pt x="337333" y="124019"/>
                  </a:lnTo>
                  <a:cubicBezTo>
                    <a:pt x="337333" y="57545"/>
                    <a:pt x="415217" y="3473"/>
                    <a:pt x="510960" y="3473"/>
                  </a:cubicBezTo>
                  <a:lnTo>
                    <a:pt x="1121632" y="0"/>
                  </a:lnTo>
                  <a:cubicBezTo>
                    <a:pt x="1129073" y="51096"/>
                    <a:pt x="1164791" y="82845"/>
                    <a:pt x="1164791" y="82845"/>
                  </a:cubicBezTo>
                  <a:cubicBezTo>
                    <a:pt x="1135026" y="177100"/>
                    <a:pt x="1114687" y="262425"/>
                    <a:pt x="1113695" y="329396"/>
                  </a:cubicBezTo>
                  <a:lnTo>
                    <a:pt x="1107246" y="375531"/>
                  </a:lnTo>
                  <a:lnTo>
                    <a:pt x="1039283" y="375531"/>
                  </a:lnTo>
                  <a:lnTo>
                    <a:pt x="1013983" y="400831"/>
                  </a:lnTo>
                  <a:lnTo>
                    <a:pt x="1013487" y="473258"/>
                  </a:lnTo>
                  <a:lnTo>
                    <a:pt x="1078474" y="472266"/>
                  </a:lnTo>
                  <a:lnTo>
                    <a:pt x="1078474" y="472266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66A6CF20-AA7D-859E-41FC-44DABEE2C688}"/>
                </a:ext>
              </a:extLst>
            </p:cNvPr>
            <p:cNvSpPr/>
            <p:nvPr/>
          </p:nvSpPr>
          <p:spPr>
            <a:xfrm>
              <a:off x="4655065" y="363724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0E6AD8E8-CD00-E230-352B-5D633CB5DC2D}"/>
                </a:ext>
              </a:extLst>
            </p:cNvPr>
            <p:cNvSpPr/>
            <p:nvPr/>
          </p:nvSpPr>
          <p:spPr>
            <a:xfrm>
              <a:off x="4012644" y="3762255"/>
              <a:ext cx="120546" cy="47623"/>
            </a:xfrm>
            <a:custGeom>
              <a:avLst/>
              <a:gdLst>
                <a:gd name="connsiteX0" fmla="*/ 120547 w 120546"/>
                <a:gd name="connsiteY0" fmla="*/ 35717 h 47623"/>
                <a:gd name="connsiteX1" fmla="*/ 40182 w 120546"/>
                <a:gd name="connsiteY1" fmla="*/ 35717 h 47623"/>
                <a:gd name="connsiteX2" fmla="*/ 0 w 120546"/>
                <a:gd name="connsiteY2" fmla="*/ 47623 h 47623"/>
                <a:gd name="connsiteX3" fmla="*/ 0 w 120546"/>
                <a:gd name="connsiteY3" fmla="*/ 0 h 47623"/>
                <a:gd name="connsiteX4" fmla="*/ 120547 w 120546"/>
                <a:gd name="connsiteY4" fmla="*/ 0 h 4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546" h="47623">
                  <a:moveTo>
                    <a:pt x="120547" y="35717"/>
                  </a:moveTo>
                  <a:lnTo>
                    <a:pt x="40182" y="35717"/>
                  </a:lnTo>
                  <a:lnTo>
                    <a:pt x="0" y="47623"/>
                  </a:lnTo>
                  <a:lnTo>
                    <a:pt x="0" y="0"/>
                  </a:lnTo>
                  <a:lnTo>
                    <a:pt x="120547" y="0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223B85F6-66E1-22E2-E3A5-B788E6D36437}"/>
                </a:ext>
              </a:extLst>
            </p:cNvPr>
            <p:cNvSpPr/>
            <p:nvPr/>
          </p:nvSpPr>
          <p:spPr>
            <a:xfrm>
              <a:off x="4655561" y="3831209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59279C1D-9F13-DB3E-423D-16081ECAF4B6}"/>
                </a:ext>
              </a:extLst>
            </p:cNvPr>
            <p:cNvSpPr/>
            <p:nvPr/>
          </p:nvSpPr>
          <p:spPr>
            <a:xfrm>
              <a:off x="4789502" y="3831209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8BEF6BDB-FAAD-55CA-3884-AF7F02F4FFBB}"/>
                </a:ext>
              </a:extLst>
            </p:cNvPr>
            <p:cNvSpPr/>
            <p:nvPr/>
          </p:nvSpPr>
          <p:spPr>
            <a:xfrm>
              <a:off x="4715586" y="389272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2" name="Freeform: Shape 1001">
              <a:extLst>
                <a:ext uri="{FF2B5EF4-FFF2-40B4-BE49-F238E27FC236}">
                  <a16:creationId xmlns:a16="http://schemas.microsoft.com/office/drawing/2014/main" id="{8D556CA1-4A62-D44D-B6AD-C3CCEE0241FF}"/>
                </a:ext>
              </a:extLst>
            </p:cNvPr>
            <p:cNvSpPr/>
            <p:nvPr/>
          </p:nvSpPr>
          <p:spPr>
            <a:xfrm>
              <a:off x="5839203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9E2DECBC-0FE7-7AF8-5817-349023461AFB}"/>
                </a:ext>
              </a:extLst>
            </p:cNvPr>
            <p:cNvSpPr/>
            <p:nvPr/>
          </p:nvSpPr>
          <p:spPr>
            <a:xfrm>
              <a:off x="5973144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0C09DA38-9974-D0F2-B1E7-5E3F5DF5E430}"/>
                </a:ext>
              </a:extLst>
            </p:cNvPr>
            <p:cNvSpPr/>
            <p:nvPr/>
          </p:nvSpPr>
          <p:spPr>
            <a:xfrm>
              <a:off x="5899228" y="2380181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E7F1FDB4-27AE-13AD-BD11-CFF6BB2FD27C}"/>
                </a:ext>
              </a:extLst>
            </p:cNvPr>
            <p:cNvSpPr/>
            <p:nvPr/>
          </p:nvSpPr>
          <p:spPr>
            <a:xfrm>
              <a:off x="6461781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0548ADA1-53BA-CDF5-943B-E22A952DF334}"/>
                </a:ext>
              </a:extLst>
            </p:cNvPr>
            <p:cNvSpPr/>
            <p:nvPr/>
          </p:nvSpPr>
          <p:spPr>
            <a:xfrm>
              <a:off x="6521310" y="2380181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1F6AFB96-D729-CE09-C5D5-6CDD063015A3}"/>
                </a:ext>
              </a:extLst>
            </p:cNvPr>
            <p:cNvSpPr/>
            <p:nvPr/>
          </p:nvSpPr>
          <p:spPr>
            <a:xfrm>
              <a:off x="4611906" y="4012774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8 h 47127"/>
                <a:gd name="connsiteX3" fmla="*/ 0 w 120546"/>
                <a:gd name="connsiteY3" fmla="*/ 47128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8"/>
                  </a:lnTo>
                  <a:lnTo>
                    <a:pt x="0" y="47128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02506891-A19F-D3B3-FED5-099C89913881}"/>
                </a:ext>
              </a:extLst>
            </p:cNvPr>
            <p:cNvSpPr/>
            <p:nvPr/>
          </p:nvSpPr>
          <p:spPr>
            <a:xfrm>
              <a:off x="4791486" y="363724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819F1A62-98E8-EBDF-A5A8-88ABCCD92789}"/>
                </a:ext>
              </a:extLst>
            </p:cNvPr>
            <p:cNvSpPr/>
            <p:nvPr/>
          </p:nvSpPr>
          <p:spPr>
            <a:xfrm>
              <a:off x="4722532" y="369826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9C47D63D-C20A-C865-5324-B92E7BBD16D5}"/>
                </a:ext>
              </a:extLst>
            </p:cNvPr>
            <p:cNvSpPr/>
            <p:nvPr/>
          </p:nvSpPr>
          <p:spPr>
            <a:xfrm>
              <a:off x="4531045" y="39522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41D442F1-947F-79AC-F1AB-95E363DACD35}"/>
                </a:ext>
              </a:extLst>
            </p:cNvPr>
            <p:cNvSpPr/>
            <p:nvPr/>
          </p:nvSpPr>
          <p:spPr>
            <a:xfrm>
              <a:off x="4475485" y="401178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0FF85FEA-199B-A595-42DC-1090EBBE6D9A}"/>
                </a:ext>
              </a:extLst>
            </p:cNvPr>
            <p:cNvSpPr/>
            <p:nvPr/>
          </p:nvSpPr>
          <p:spPr>
            <a:xfrm>
              <a:off x="4856969" y="369826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AEB5F353-D034-96C5-5A1C-8AEE530A36C5}"/>
                </a:ext>
              </a:extLst>
            </p:cNvPr>
            <p:cNvSpPr/>
            <p:nvPr/>
          </p:nvSpPr>
          <p:spPr>
            <a:xfrm>
              <a:off x="5132739" y="3592570"/>
              <a:ext cx="721842" cy="950015"/>
            </a:xfrm>
            <a:custGeom>
              <a:avLst/>
              <a:gdLst>
                <a:gd name="connsiteX0" fmla="*/ 670746 w 721842"/>
                <a:gd name="connsiteY0" fmla="*/ 25822 h 950015"/>
                <a:gd name="connsiteX1" fmla="*/ 590381 w 721842"/>
                <a:gd name="connsiteY1" fmla="*/ 13420 h 950015"/>
                <a:gd name="connsiteX2" fmla="*/ 569546 w 721842"/>
                <a:gd name="connsiteY2" fmla="*/ 11932 h 950015"/>
                <a:gd name="connsiteX3" fmla="*/ 553176 w 721842"/>
                <a:gd name="connsiteY3" fmla="*/ 14412 h 950015"/>
                <a:gd name="connsiteX4" fmla="*/ 494638 w 721842"/>
                <a:gd name="connsiteY4" fmla="*/ 18877 h 950015"/>
                <a:gd name="connsiteX5" fmla="*/ 445527 w 721842"/>
                <a:gd name="connsiteY5" fmla="*/ 39216 h 950015"/>
                <a:gd name="connsiteX6" fmla="*/ 402368 w 721842"/>
                <a:gd name="connsiteY6" fmla="*/ 13420 h 950015"/>
                <a:gd name="connsiteX7" fmla="*/ 394927 w 721842"/>
                <a:gd name="connsiteY7" fmla="*/ 30287 h 950015"/>
                <a:gd name="connsiteX8" fmla="*/ 378556 w 721842"/>
                <a:gd name="connsiteY8" fmla="*/ 6971 h 950015"/>
                <a:gd name="connsiteX9" fmla="*/ 313074 w 721842"/>
                <a:gd name="connsiteY9" fmla="*/ 3499 h 950015"/>
                <a:gd name="connsiteX10" fmla="*/ 212866 w 721842"/>
                <a:gd name="connsiteY10" fmla="*/ 20861 h 950015"/>
                <a:gd name="connsiteX11" fmla="*/ 149864 w 721842"/>
                <a:gd name="connsiteY11" fmla="*/ 16397 h 950015"/>
                <a:gd name="connsiteX12" fmla="*/ 92815 w 721842"/>
                <a:gd name="connsiteY12" fmla="*/ 7467 h 950015"/>
                <a:gd name="connsiteX13" fmla="*/ 71980 w 721842"/>
                <a:gd name="connsiteY13" fmla="*/ 5483 h 950015"/>
                <a:gd name="connsiteX14" fmla="*/ 56602 w 721842"/>
                <a:gd name="connsiteY14" fmla="*/ 11932 h 950015"/>
                <a:gd name="connsiteX15" fmla="*/ 24357 w 721842"/>
                <a:gd name="connsiteY15" fmla="*/ 6971 h 950015"/>
                <a:gd name="connsiteX16" fmla="*/ 49 w 721842"/>
                <a:gd name="connsiteY16" fmla="*/ 21357 h 950015"/>
                <a:gd name="connsiteX17" fmla="*/ 12451 w 721842"/>
                <a:gd name="connsiteY17" fmla="*/ 35744 h 950015"/>
                <a:gd name="connsiteX18" fmla="*/ 102737 w 721842"/>
                <a:gd name="connsiteY18" fmla="*/ 64516 h 950015"/>
                <a:gd name="connsiteX19" fmla="*/ 115139 w 721842"/>
                <a:gd name="connsiteY19" fmla="*/ 90312 h 950015"/>
                <a:gd name="connsiteX20" fmla="*/ 142919 w 721842"/>
                <a:gd name="connsiteY20" fmla="*/ 107179 h 950015"/>
                <a:gd name="connsiteX21" fmla="*/ 145399 w 721842"/>
                <a:gd name="connsiteY21" fmla="*/ 114124 h 950015"/>
                <a:gd name="connsiteX22" fmla="*/ 151848 w 721842"/>
                <a:gd name="connsiteY22" fmla="*/ 129006 h 950015"/>
                <a:gd name="connsiteX23" fmla="*/ 195503 w 721842"/>
                <a:gd name="connsiteY23" fmla="*/ 154802 h 950015"/>
                <a:gd name="connsiteX24" fmla="*/ 213362 w 721842"/>
                <a:gd name="connsiteY24" fmla="*/ 117100 h 950015"/>
                <a:gd name="connsiteX25" fmla="*/ 313074 w 721842"/>
                <a:gd name="connsiteY25" fmla="*/ 125534 h 950015"/>
                <a:gd name="connsiteX26" fmla="*/ 312082 w 721842"/>
                <a:gd name="connsiteY26" fmla="*/ 144881 h 950015"/>
                <a:gd name="connsiteX27" fmla="*/ 333413 w 721842"/>
                <a:gd name="connsiteY27" fmla="*/ 157779 h 950015"/>
                <a:gd name="connsiteX28" fmla="*/ 345815 w 721842"/>
                <a:gd name="connsiteY28" fmla="*/ 180598 h 950015"/>
                <a:gd name="connsiteX29" fmla="*/ 361690 w 721842"/>
                <a:gd name="connsiteY29" fmla="*/ 194489 h 950015"/>
                <a:gd name="connsiteX30" fmla="*/ 352760 w 721842"/>
                <a:gd name="connsiteY30" fmla="*/ 221277 h 950015"/>
                <a:gd name="connsiteX31" fmla="*/ 395423 w 721842"/>
                <a:gd name="connsiteY31" fmla="*/ 279814 h 950015"/>
                <a:gd name="connsiteX32" fmla="*/ 382525 w 721842"/>
                <a:gd name="connsiteY32" fmla="*/ 310571 h 950015"/>
                <a:gd name="connsiteX33" fmla="*/ 393935 w 721842"/>
                <a:gd name="connsiteY33" fmla="*/ 314539 h 950015"/>
                <a:gd name="connsiteX34" fmla="*/ 458921 w 721842"/>
                <a:gd name="connsiteY34" fmla="*/ 319996 h 950015"/>
                <a:gd name="connsiteX35" fmla="*/ 462393 w 721842"/>
                <a:gd name="connsiteY35" fmla="*/ 394904 h 950015"/>
                <a:gd name="connsiteX36" fmla="*/ 476779 w 721842"/>
                <a:gd name="connsiteY36" fmla="*/ 407306 h 950015"/>
                <a:gd name="connsiteX37" fmla="*/ 485213 w 721842"/>
                <a:gd name="connsiteY37" fmla="*/ 422684 h 950015"/>
                <a:gd name="connsiteX38" fmla="*/ 533332 w 721842"/>
                <a:gd name="connsiteY38" fmla="*/ 455426 h 950015"/>
                <a:gd name="connsiteX39" fmla="*/ 522915 w 721842"/>
                <a:gd name="connsiteY39" fmla="*/ 507514 h 950015"/>
                <a:gd name="connsiteX40" fmla="*/ 521426 w 721842"/>
                <a:gd name="connsiteY40" fmla="*/ 523884 h 950015"/>
                <a:gd name="connsiteX41" fmla="*/ 531348 w 721842"/>
                <a:gd name="connsiteY41" fmla="*/ 548688 h 950015"/>
                <a:gd name="connsiteX42" fmla="*/ 545238 w 721842"/>
                <a:gd name="connsiteY42" fmla="*/ 639967 h 950015"/>
                <a:gd name="connsiteX43" fmla="*/ 577484 w 721842"/>
                <a:gd name="connsiteY43" fmla="*/ 724300 h 950015"/>
                <a:gd name="connsiteX44" fmla="*/ 594846 w 721842"/>
                <a:gd name="connsiteY44" fmla="*/ 748112 h 950015"/>
                <a:gd name="connsiteX45" fmla="*/ 583932 w 721842"/>
                <a:gd name="connsiteY45" fmla="*/ 769443 h 950015"/>
                <a:gd name="connsiteX46" fmla="*/ 592366 w 721842"/>
                <a:gd name="connsiteY46" fmla="*/ 790278 h 950015"/>
                <a:gd name="connsiteX47" fmla="*/ 635524 w 721842"/>
                <a:gd name="connsiteY47" fmla="*/ 887509 h 950015"/>
                <a:gd name="connsiteX48" fmla="*/ 638005 w 721842"/>
                <a:gd name="connsiteY48" fmla="*/ 950015 h 950015"/>
                <a:gd name="connsiteX49" fmla="*/ 689101 w 721842"/>
                <a:gd name="connsiteY49" fmla="*/ 950015 h 950015"/>
                <a:gd name="connsiteX50" fmla="*/ 693566 w 721842"/>
                <a:gd name="connsiteY50" fmla="*/ 945055 h 950015"/>
                <a:gd name="connsiteX51" fmla="*/ 711425 w 721842"/>
                <a:gd name="connsiteY51" fmla="*/ 943070 h 950015"/>
                <a:gd name="connsiteX52" fmla="*/ 715393 w 721842"/>
                <a:gd name="connsiteY52" fmla="*/ 950015 h 950015"/>
                <a:gd name="connsiteX53" fmla="*/ 721842 w 721842"/>
                <a:gd name="connsiteY53" fmla="*/ 950015 h 950015"/>
                <a:gd name="connsiteX54" fmla="*/ 721842 w 721842"/>
                <a:gd name="connsiteY54" fmla="*/ 35247 h 950015"/>
                <a:gd name="connsiteX55" fmla="*/ 670746 w 721842"/>
                <a:gd name="connsiteY55" fmla="*/ 25822 h 95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721842" h="950015">
                  <a:moveTo>
                    <a:pt x="670746" y="25822"/>
                  </a:moveTo>
                  <a:cubicBezTo>
                    <a:pt x="643958" y="21853"/>
                    <a:pt x="617170" y="17389"/>
                    <a:pt x="590381" y="13420"/>
                  </a:cubicBezTo>
                  <a:cubicBezTo>
                    <a:pt x="583436" y="12428"/>
                    <a:pt x="576491" y="11436"/>
                    <a:pt x="569546" y="11932"/>
                  </a:cubicBezTo>
                  <a:cubicBezTo>
                    <a:pt x="564089" y="12428"/>
                    <a:pt x="558632" y="13916"/>
                    <a:pt x="553176" y="14412"/>
                  </a:cubicBezTo>
                  <a:cubicBezTo>
                    <a:pt x="532340" y="15901"/>
                    <a:pt x="514482" y="26318"/>
                    <a:pt x="494638" y="18877"/>
                  </a:cubicBezTo>
                  <a:cubicBezTo>
                    <a:pt x="475291" y="11932"/>
                    <a:pt x="446023" y="18877"/>
                    <a:pt x="445527" y="39216"/>
                  </a:cubicBezTo>
                  <a:cubicBezTo>
                    <a:pt x="431141" y="30783"/>
                    <a:pt x="416754" y="21853"/>
                    <a:pt x="402368" y="13420"/>
                  </a:cubicBezTo>
                  <a:cubicBezTo>
                    <a:pt x="399887" y="18877"/>
                    <a:pt x="397407" y="24830"/>
                    <a:pt x="394927" y="30287"/>
                  </a:cubicBezTo>
                  <a:cubicBezTo>
                    <a:pt x="401872" y="21357"/>
                    <a:pt x="389470" y="10444"/>
                    <a:pt x="378556" y="6971"/>
                  </a:cubicBezTo>
                  <a:cubicBezTo>
                    <a:pt x="357721" y="522"/>
                    <a:pt x="334901" y="-470"/>
                    <a:pt x="313074" y="3499"/>
                  </a:cubicBezTo>
                  <a:cubicBezTo>
                    <a:pt x="281325" y="-7911"/>
                    <a:pt x="245607" y="11436"/>
                    <a:pt x="212866" y="20861"/>
                  </a:cubicBezTo>
                  <a:cubicBezTo>
                    <a:pt x="196992" y="5483"/>
                    <a:pt x="171692" y="14908"/>
                    <a:pt x="149864" y="16397"/>
                  </a:cubicBezTo>
                  <a:cubicBezTo>
                    <a:pt x="130517" y="17885"/>
                    <a:pt x="111170" y="12924"/>
                    <a:pt x="92815" y="7467"/>
                  </a:cubicBezTo>
                  <a:cubicBezTo>
                    <a:pt x="85870" y="5483"/>
                    <a:pt x="78925" y="3499"/>
                    <a:pt x="71980" y="5483"/>
                  </a:cubicBezTo>
                  <a:cubicBezTo>
                    <a:pt x="66523" y="6971"/>
                    <a:pt x="62058" y="10444"/>
                    <a:pt x="56602" y="11932"/>
                  </a:cubicBezTo>
                  <a:cubicBezTo>
                    <a:pt x="46184" y="14908"/>
                    <a:pt x="35270" y="8955"/>
                    <a:pt x="24357" y="6971"/>
                  </a:cubicBezTo>
                  <a:cubicBezTo>
                    <a:pt x="13443" y="4987"/>
                    <a:pt x="-944" y="10444"/>
                    <a:pt x="49" y="21357"/>
                  </a:cubicBezTo>
                  <a:cubicBezTo>
                    <a:pt x="545" y="27806"/>
                    <a:pt x="6994" y="32767"/>
                    <a:pt x="12451" y="35744"/>
                  </a:cubicBezTo>
                  <a:cubicBezTo>
                    <a:pt x="40231" y="52114"/>
                    <a:pt x="70988" y="58563"/>
                    <a:pt x="102737" y="64516"/>
                  </a:cubicBezTo>
                  <a:cubicBezTo>
                    <a:pt x="95296" y="72950"/>
                    <a:pt x="104721" y="85847"/>
                    <a:pt x="115139" y="90312"/>
                  </a:cubicBezTo>
                  <a:cubicBezTo>
                    <a:pt x="125556" y="94777"/>
                    <a:pt x="137958" y="97257"/>
                    <a:pt x="142919" y="107179"/>
                  </a:cubicBezTo>
                  <a:cubicBezTo>
                    <a:pt x="146888" y="115116"/>
                    <a:pt x="143415" y="105195"/>
                    <a:pt x="145399" y="114124"/>
                  </a:cubicBezTo>
                  <a:cubicBezTo>
                    <a:pt x="146392" y="119581"/>
                    <a:pt x="148872" y="124046"/>
                    <a:pt x="151848" y="129006"/>
                  </a:cubicBezTo>
                  <a:cubicBezTo>
                    <a:pt x="161274" y="144881"/>
                    <a:pt x="178637" y="162740"/>
                    <a:pt x="195503" y="154802"/>
                  </a:cubicBezTo>
                  <a:cubicBezTo>
                    <a:pt x="203441" y="151330"/>
                    <a:pt x="207905" y="123549"/>
                    <a:pt x="213362" y="117100"/>
                  </a:cubicBezTo>
                  <a:cubicBezTo>
                    <a:pt x="238662" y="90808"/>
                    <a:pt x="284798" y="102218"/>
                    <a:pt x="313074" y="125534"/>
                  </a:cubicBezTo>
                  <a:cubicBezTo>
                    <a:pt x="304641" y="126030"/>
                    <a:pt x="305137" y="139920"/>
                    <a:pt x="312082" y="144881"/>
                  </a:cubicBezTo>
                  <a:cubicBezTo>
                    <a:pt x="318531" y="150338"/>
                    <a:pt x="327956" y="151826"/>
                    <a:pt x="333413" y="157779"/>
                  </a:cubicBezTo>
                  <a:cubicBezTo>
                    <a:pt x="339366" y="164228"/>
                    <a:pt x="339862" y="174646"/>
                    <a:pt x="345815" y="180598"/>
                  </a:cubicBezTo>
                  <a:cubicBezTo>
                    <a:pt x="350776" y="185559"/>
                    <a:pt x="359209" y="188039"/>
                    <a:pt x="361690" y="194489"/>
                  </a:cubicBezTo>
                  <a:cubicBezTo>
                    <a:pt x="365162" y="203418"/>
                    <a:pt x="354248" y="211851"/>
                    <a:pt x="352760" y="221277"/>
                  </a:cubicBezTo>
                  <a:cubicBezTo>
                    <a:pt x="347799" y="247073"/>
                    <a:pt x="403856" y="255010"/>
                    <a:pt x="395423" y="279814"/>
                  </a:cubicBezTo>
                  <a:cubicBezTo>
                    <a:pt x="391454" y="291224"/>
                    <a:pt x="374588" y="301641"/>
                    <a:pt x="382525" y="310571"/>
                  </a:cubicBezTo>
                  <a:cubicBezTo>
                    <a:pt x="385005" y="313547"/>
                    <a:pt x="389966" y="314539"/>
                    <a:pt x="393935" y="314539"/>
                  </a:cubicBezTo>
                  <a:cubicBezTo>
                    <a:pt x="415762" y="316524"/>
                    <a:pt x="437093" y="318508"/>
                    <a:pt x="458921" y="319996"/>
                  </a:cubicBezTo>
                  <a:cubicBezTo>
                    <a:pt x="439078" y="339839"/>
                    <a:pt x="441062" y="376549"/>
                    <a:pt x="462393" y="394904"/>
                  </a:cubicBezTo>
                  <a:cubicBezTo>
                    <a:pt x="467354" y="398873"/>
                    <a:pt x="472811" y="402345"/>
                    <a:pt x="476779" y="407306"/>
                  </a:cubicBezTo>
                  <a:cubicBezTo>
                    <a:pt x="480748" y="411771"/>
                    <a:pt x="482236" y="417724"/>
                    <a:pt x="485213" y="422684"/>
                  </a:cubicBezTo>
                  <a:cubicBezTo>
                    <a:pt x="495134" y="439551"/>
                    <a:pt x="514978" y="447984"/>
                    <a:pt x="533332" y="455426"/>
                  </a:cubicBezTo>
                  <a:cubicBezTo>
                    <a:pt x="529860" y="472788"/>
                    <a:pt x="526387" y="490151"/>
                    <a:pt x="522915" y="507514"/>
                  </a:cubicBezTo>
                  <a:cubicBezTo>
                    <a:pt x="521923" y="512970"/>
                    <a:pt x="520931" y="518427"/>
                    <a:pt x="521426" y="523884"/>
                  </a:cubicBezTo>
                  <a:cubicBezTo>
                    <a:pt x="522419" y="532814"/>
                    <a:pt x="527379" y="540255"/>
                    <a:pt x="531348" y="548688"/>
                  </a:cubicBezTo>
                  <a:cubicBezTo>
                    <a:pt x="545238" y="576469"/>
                    <a:pt x="543750" y="609210"/>
                    <a:pt x="545238" y="639967"/>
                  </a:cubicBezTo>
                  <a:cubicBezTo>
                    <a:pt x="546727" y="670723"/>
                    <a:pt x="553176" y="704953"/>
                    <a:pt x="577484" y="724300"/>
                  </a:cubicBezTo>
                  <a:cubicBezTo>
                    <a:pt x="585421" y="730749"/>
                    <a:pt x="596334" y="738190"/>
                    <a:pt x="594846" y="748112"/>
                  </a:cubicBezTo>
                  <a:cubicBezTo>
                    <a:pt x="593854" y="756049"/>
                    <a:pt x="585421" y="761506"/>
                    <a:pt x="583932" y="769443"/>
                  </a:cubicBezTo>
                  <a:cubicBezTo>
                    <a:pt x="582444" y="776884"/>
                    <a:pt x="587901" y="784325"/>
                    <a:pt x="592366" y="790278"/>
                  </a:cubicBezTo>
                  <a:cubicBezTo>
                    <a:pt x="614193" y="818555"/>
                    <a:pt x="629075" y="852288"/>
                    <a:pt x="635524" y="887509"/>
                  </a:cubicBezTo>
                  <a:lnTo>
                    <a:pt x="638005" y="950015"/>
                  </a:lnTo>
                  <a:lnTo>
                    <a:pt x="689101" y="950015"/>
                  </a:lnTo>
                  <a:lnTo>
                    <a:pt x="693566" y="945055"/>
                  </a:lnTo>
                  <a:lnTo>
                    <a:pt x="711425" y="943070"/>
                  </a:lnTo>
                  <a:lnTo>
                    <a:pt x="715393" y="950015"/>
                  </a:lnTo>
                  <a:lnTo>
                    <a:pt x="721842" y="950015"/>
                  </a:lnTo>
                  <a:lnTo>
                    <a:pt x="721842" y="35247"/>
                  </a:lnTo>
                  <a:lnTo>
                    <a:pt x="670746" y="25822"/>
                  </a:ln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85D29EE7-FEB6-FC47-6AFF-67D9A84926A8}"/>
                </a:ext>
              </a:extLst>
            </p:cNvPr>
            <p:cNvSpPr/>
            <p:nvPr/>
          </p:nvSpPr>
          <p:spPr>
            <a:xfrm>
              <a:off x="3528166" y="3401110"/>
              <a:ext cx="345977" cy="669705"/>
            </a:xfrm>
            <a:custGeom>
              <a:avLst/>
              <a:gdLst>
                <a:gd name="connsiteX0" fmla="*/ 118869 w 345977"/>
                <a:gd name="connsiteY0" fmla="*/ 669705 h 669705"/>
                <a:gd name="connsiteX1" fmla="*/ 306 w 345977"/>
                <a:gd name="connsiteY1" fmla="*/ 383468 h 669705"/>
                <a:gd name="connsiteX2" fmla="*/ 163516 w 345977"/>
                <a:gd name="connsiteY2" fmla="*/ 0 h 669705"/>
                <a:gd name="connsiteX3" fmla="*/ 337143 w 345977"/>
                <a:gd name="connsiteY3" fmla="*/ 267882 h 669705"/>
                <a:gd name="connsiteX4" fmla="*/ 268188 w 345977"/>
                <a:gd name="connsiteY4" fmla="*/ 551143 h 669705"/>
                <a:gd name="connsiteX5" fmla="*/ 210147 w 345977"/>
                <a:gd name="connsiteY5" fmla="*/ 551143 h 669705"/>
                <a:gd name="connsiteX6" fmla="*/ 118869 w 345977"/>
                <a:gd name="connsiteY6" fmla="*/ 669705 h 66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5977" h="669705">
                  <a:moveTo>
                    <a:pt x="118869" y="669705"/>
                  </a:moveTo>
                  <a:cubicBezTo>
                    <a:pt x="40488" y="614145"/>
                    <a:pt x="-4159" y="501535"/>
                    <a:pt x="306" y="383468"/>
                  </a:cubicBezTo>
                  <a:cubicBezTo>
                    <a:pt x="6259" y="216786"/>
                    <a:pt x="91584" y="39686"/>
                    <a:pt x="163516" y="0"/>
                  </a:cubicBezTo>
                  <a:cubicBezTo>
                    <a:pt x="207667" y="22324"/>
                    <a:pt x="309859" y="148327"/>
                    <a:pt x="337143" y="267882"/>
                  </a:cubicBezTo>
                  <a:cubicBezTo>
                    <a:pt x="359962" y="370074"/>
                    <a:pt x="339127" y="510464"/>
                    <a:pt x="268188" y="551143"/>
                  </a:cubicBezTo>
                  <a:lnTo>
                    <a:pt x="210147" y="551143"/>
                  </a:lnTo>
                  <a:cubicBezTo>
                    <a:pt x="202210" y="566025"/>
                    <a:pt x="125318" y="624066"/>
                    <a:pt x="118869" y="669705"/>
                  </a:cubicBez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A6339ABD-5462-7F36-CB99-7CA6249D2FC6}"/>
                </a:ext>
              </a:extLst>
            </p:cNvPr>
            <p:cNvSpPr/>
            <p:nvPr/>
          </p:nvSpPr>
          <p:spPr>
            <a:xfrm>
              <a:off x="3593040" y="3635755"/>
              <a:ext cx="210513" cy="446966"/>
            </a:xfrm>
            <a:custGeom>
              <a:avLst/>
              <a:gdLst>
                <a:gd name="connsiteX0" fmla="*/ 53995 w 210513"/>
                <a:gd name="connsiteY0" fmla="*/ 446966 h 446966"/>
                <a:gd name="connsiteX1" fmla="*/ 53995 w 210513"/>
                <a:gd name="connsiteY1" fmla="*/ 314513 h 446966"/>
                <a:gd name="connsiteX2" fmla="*/ 418 w 210513"/>
                <a:gd name="connsiteY2" fmla="*/ 162714 h 446966"/>
                <a:gd name="connsiteX3" fmla="*/ 53499 w 210513"/>
                <a:gd name="connsiteY3" fmla="*/ 247047 h 446966"/>
                <a:gd name="connsiteX4" fmla="*/ 53995 w 210513"/>
                <a:gd name="connsiteY4" fmla="*/ 166682 h 446966"/>
                <a:gd name="connsiteX5" fmla="*/ 106579 w 210513"/>
                <a:gd name="connsiteY5" fmla="*/ 71931 h 446966"/>
                <a:gd name="connsiteX6" fmla="*/ 112532 w 210513"/>
                <a:gd name="connsiteY6" fmla="*/ 22324 h 446966"/>
                <a:gd name="connsiteX7" fmla="*/ 138328 w 210513"/>
                <a:gd name="connsiteY7" fmla="*/ 0 h 446966"/>
                <a:gd name="connsiteX8" fmla="*/ 138328 w 210513"/>
                <a:gd name="connsiteY8" fmla="*/ 183053 h 446966"/>
                <a:gd name="connsiteX9" fmla="*/ 208771 w 210513"/>
                <a:gd name="connsiteY9" fmla="*/ 63994 h 446966"/>
                <a:gd name="connsiteX10" fmla="*/ 138328 w 210513"/>
                <a:gd name="connsiteY10" fmla="*/ 258952 h 446966"/>
                <a:gd name="connsiteX11" fmla="*/ 138328 w 210513"/>
                <a:gd name="connsiteY11" fmla="*/ 333860 h 446966"/>
                <a:gd name="connsiteX12" fmla="*/ 53995 w 210513"/>
                <a:gd name="connsiteY12" fmla="*/ 446966 h 44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513" h="446966">
                  <a:moveTo>
                    <a:pt x="53995" y="446966"/>
                  </a:moveTo>
                  <a:lnTo>
                    <a:pt x="53995" y="314513"/>
                  </a:lnTo>
                  <a:cubicBezTo>
                    <a:pt x="53995" y="314513"/>
                    <a:pt x="-5535" y="165690"/>
                    <a:pt x="418" y="162714"/>
                  </a:cubicBezTo>
                  <a:cubicBezTo>
                    <a:pt x="6371" y="159737"/>
                    <a:pt x="53499" y="247047"/>
                    <a:pt x="53499" y="247047"/>
                  </a:cubicBezTo>
                  <a:lnTo>
                    <a:pt x="53995" y="166682"/>
                  </a:lnTo>
                  <a:cubicBezTo>
                    <a:pt x="53995" y="166682"/>
                    <a:pt x="128407" y="99216"/>
                    <a:pt x="106579" y="71931"/>
                  </a:cubicBezTo>
                  <a:cubicBezTo>
                    <a:pt x="84752" y="44647"/>
                    <a:pt x="112532" y="22324"/>
                    <a:pt x="112532" y="22324"/>
                  </a:cubicBezTo>
                  <a:lnTo>
                    <a:pt x="138328" y="0"/>
                  </a:lnTo>
                  <a:lnTo>
                    <a:pt x="138328" y="183053"/>
                  </a:lnTo>
                  <a:cubicBezTo>
                    <a:pt x="138328" y="183053"/>
                    <a:pt x="193889" y="79372"/>
                    <a:pt x="208771" y="63994"/>
                  </a:cubicBezTo>
                  <a:cubicBezTo>
                    <a:pt x="223654" y="48616"/>
                    <a:pt x="138328" y="258952"/>
                    <a:pt x="138328" y="258952"/>
                  </a:cubicBezTo>
                  <a:lnTo>
                    <a:pt x="138328" y="333860"/>
                  </a:lnTo>
                  <a:lnTo>
                    <a:pt x="53995" y="446966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6" name="Freeform: Shape 1015">
              <a:extLst>
                <a:ext uri="{FF2B5EF4-FFF2-40B4-BE49-F238E27FC236}">
                  <a16:creationId xmlns:a16="http://schemas.microsoft.com/office/drawing/2014/main" id="{04124004-3ABF-27FC-B757-FFA3991456F9}"/>
                </a:ext>
              </a:extLst>
            </p:cNvPr>
            <p:cNvSpPr/>
            <p:nvPr/>
          </p:nvSpPr>
          <p:spPr>
            <a:xfrm>
              <a:off x="4129718" y="2492295"/>
              <a:ext cx="199423" cy="106160"/>
            </a:xfrm>
            <a:custGeom>
              <a:avLst/>
              <a:gdLst>
                <a:gd name="connsiteX0" fmla="*/ 0 w 199423"/>
                <a:gd name="connsiteY0" fmla="*/ 106161 h 106160"/>
                <a:gd name="connsiteX1" fmla="*/ 145351 w 199423"/>
                <a:gd name="connsiteY1" fmla="*/ 0 h 106160"/>
                <a:gd name="connsiteX2" fmla="*/ 199423 w 199423"/>
                <a:gd name="connsiteY2" fmla="*/ 0 h 106160"/>
                <a:gd name="connsiteX3" fmla="*/ 68955 w 199423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23" h="106160">
                  <a:moveTo>
                    <a:pt x="0" y="106161"/>
                  </a:moveTo>
                  <a:lnTo>
                    <a:pt x="145351" y="0"/>
                  </a:lnTo>
                  <a:lnTo>
                    <a:pt x="199423" y="0"/>
                  </a:lnTo>
                  <a:lnTo>
                    <a:pt x="68955" y="106161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2079F757-0FE4-D61D-8159-CDA8E7F73567}"/>
                </a:ext>
              </a:extLst>
            </p:cNvPr>
            <p:cNvSpPr/>
            <p:nvPr/>
          </p:nvSpPr>
          <p:spPr>
            <a:xfrm>
              <a:off x="4533526" y="2492295"/>
              <a:ext cx="160729" cy="106160"/>
            </a:xfrm>
            <a:custGeom>
              <a:avLst/>
              <a:gdLst>
                <a:gd name="connsiteX0" fmla="*/ 96239 w 160729"/>
                <a:gd name="connsiteY0" fmla="*/ 0 h 106160"/>
                <a:gd name="connsiteX1" fmla="*/ 0 w 160729"/>
                <a:gd name="connsiteY1" fmla="*/ 85822 h 106160"/>
                <a:gd name="connsiteX2" fmla="*/ 0 w 160729"/>
                <a:gd name="connsiteY2" fmla="*/ 106161 h 106160"/>
                <a:gd name="connsiteX3" fmla="*/ 41670 w 160729"/>
                <a:gd name="connsiteY3" fmla="*/ 106161 h 106160"/>
                <a:gd name="connsiteX4" fmla="*/ 160729 w 160729"/>
                <a:gd name="connsiteY4" fmla="*/ 496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29" h="106160">
                  <a:moveTo>
                    <a:pt x="96239" y="0"/>
                  </a:moveTo>
                  <a:lnTo>
                    <a:pt x="0" y="85822"/>
                  </a:lnTo>
                  <a:lnTo>
                    <a:pt x="0" y="106161"/>
                  </a:lnTo>
                  <a:lnTo>
                    <a:pt x="41670" y="106161"/>
                  </a:lnTo>
                  <a:lnTo>
                    <a:pt x="160729" y="496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5683395D-86E9-271D-AE7B-37DB5B18D963}"/>
                </a:ext>
              </a:extLst>
            </p:cNvPr>
            <p:cNvSpPr/>
            <p:nvPr/>
          </p:nvSpPr>
          <p:spPr>
            <a:xfrm>
              <a:off x="5560903" y="2633181"/>
              <a:ext cx="229684" cy="163705"/>
            </a:xfrm>
            <a:custGeom>
              <a:avLst/>
              <a:gdLst>
                <a:gd name="connsiteX0" fmla="*/ 165194 w 229684"/>
                <a:gd name="connsiteY0" fmla="*/ 0 h 163705"/>
                <a:gd name="connsiteX1" fmla="*/ 0 w 229684"/>
                <a:gd name="connsiteY1" fmla="*/ 143367 h 163705"/>
                <a:gd name="connsiteX2" fmla="*/ 0 w 229684"/>
                <a:gd name="connsiteY2" fmla="*/ 163706 h 163705"/>
                <a:gd name="connsiteX3" fmla="*/ 41671 w 229684"/>
                <a:gd name="connsiteY3" fmla="*/ 163706 h 163705"/>
                <a:gd name="connsiteX4" fmla="*/ 229684 w 229684"/>
                <a:gd name="connsiteY4" fmla="*/ 992 h 163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684" h="163705">
                  <a:moveTo>
                    <a:pt x="165194" y="0"/>
                  </a:moveTo>
                  <a:lnTo>
                    <a:pt x="0" y="143367"/>
                  </a:lnTo>
                  <a:lnTo>
                    <a:pt x="0" y="163706"/>
                  </a:lnTo>
                  <a:lnTo>
                    <a:pt x="41671" y="163706"/>
                  </a:lnTo>
                  <a:lnTo>
                    <a:pt x="229684" y="992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DBB86572-9FF3-C1BD-109E-7AC60617C7D2}"/>
                </a:ext>
              </a:extLst>
            </p:cNvPr>
            <p:cNvSpPr/>
            <p:nvPr/>
          </p:nvSpPr>
          <p:spPr>
            <a:xfrm>
              <a:off x="6392330" y="4839240"/>
              <a:ext cx="153784" cy="199423"/>
            </a:xfrm>
            <a:custGeom>
              <a:avLst/>
              <a:gdLst>
                <a:gd name="connsiteX0" fmla="*/ 153784 w 153784"/>
                <a:gd name="connsiteY0" fmla="*/ 99712 h 199423"/>
                <a:gd name="connsiteX1" fmla="*/ 76892 w 153784"/>
                <a:gd name="connsiteY1" fmla="*/ 199423 h 199423"/>
                <a:gd name="connsiteX2" fmla="*/ 0 w 153784"/>
                <a:gd name="connsiteY2" fmla="*/ 99712 h 199423"/>
                <a:gd name="connsiteX3" fmla="*/ 76892 w 153784"/>
                <a:gd name="connsiteY3" fmla="*/ 0 h 199423"/>
                <a:gd name="connsiteX4" fmla="*/ 153784 w 153784"/>
                <a:gd name="connsiteY4" fmla="*/ 99712 h 19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784" h="199423">
                  <a:moveTo>
                    <a:pt x="153784" y="99712"/>
                  </a:moveTo>
                  <a:cubicBezTo>
                    <a:pt x="153784" y="154781"/>
                    <a:pt x="119359" y="199423"/>
                    <a:pt x="76892" y="199423"/>
                  </a:cubicBezTo>
                  <a:cubicBezTo>
                    <a:pt x="34426" y="199423"/>
                    <a:pt x="0" y="154781"/>
                    <a:pt x="0" y="99712"/>
                  </a:cubicBezTo>
                  <a:cubicBezTo>
                    <a:pt x="0" y="44642"/>
                    <a:pt x="34426" y="0"/>
                    <a:pt x="76892" y="0"/>
                  </a:cubicBezTo>
                  <a:cubicBezTo>
                    <a:pt x="119359" y="0"/>
                    <a:pt x="153784" y="44642"/>
                    <a:pt x="153784" y="99712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EC713A29-B4BA-E778-BB70-4B4B920373A5}"/>
                </a:ext>
              </a:extLst>
            </p:cNvPr>
            <p:cNvSpPr/>
            <p:nvPr/>
          </p:nvSpPr>
          <p:spPr>
            <a:xfrm>
              <a:off x="6396298" y="4857542"/>
              <a:ext cx="119555" cy="50652"/>
            </a:xfrm>
            <a:custGeom>
              <a:avLst/>
              <a:gdLst>
                <a:gd name="connsiteX0" fmla="*/ 0 w 119555"/>
                <a:gd name="connsiteY0" fmla="*/ 50652 h 50652"/>
                <a:gd name="connsiteX1" fmla="*/ 119555 w 119555"/>
                <a:gd name="connsiteY1" fmla="*/ 1540 h 5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555" h="50652">
                  <a:moveTo>
                    <a:pt x="0" y="50652"/>
                  </a:moveTo>
                  <a:cubicBezTo>
                    <a:pt x="0" y="50652"/>
                    <a:pt x="62010" y="-10366"/>
                    <a:pt x="119555" y="1540"/>
                  </a:cubicBezTo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1" name="Freeform: Shape 1020">
              <a:extLst>
                <a:ext uri="{FF2B5EF4-FFF2-40B4-BE49-F238E27FC236}">
                  <a16:creationId xmlns:a16="http://schemas.microsoft.com/office/drawing/2014/main" id="{B770D9CB-23CC-02FA-B55B-F209B914CBEE}"/>
                </a:ext>
              </a:extLst>
            </p:cNvPr>
            <p:cNvSpPr/>
            <p:nvPr/>
          </p:nvSpPr>
          <p:spPr>
            <a:xfrm>
              <a:off x="6353479" y="4870335"/>
              <a:ext cx="33551" cy="42480"/>
            </a:xfrm>
            <a:custGeom>
              <a:avLst/>
              <a:gdLst>
                <a:gd name="connsiteX0" fmla="*/ 8094 w 33551"/>
                <a:gd name="connsiteY0" fmla="*/ 41331 h 42480"/>
                <a:gd name="connsiteX1" fmla="*/ 8094 w 33551"/>
                <a:gd name="connsiteY1" fmla="*/ 41331 h 42480"/>
                <a:gd name="connsiteX2" fmla="*/ 1150 w 33551"/>
                <a:gd name="connsiteY2" fmla="*/ 23969 h 42480"/>
                <a:gd name="connsiteX3" fmla="*/ 8094 w 33551"/>
                <a:gd name="connsiteY3" fmla="*/ 8094 h 42480"/>
                <a:gd name="connsiteX4" fmla="*/ 25457 w 33551"/>
                <a:gd name="connsiteY4" fmla="*/ 1149 h 42480"/>
                <a:gd name="connsiteX5" fmla="*/ 25457 w 33551"/>
                <a:gd name="connsiteY5" fmla="*/ 1149 h 42480"/>
                <a:gd name="connsiteX6" fmla="*/ 32402 w 33551"/>
                <a:gd name="connsiteY6" fmla="*/ 18512 h 42480"/>
                <a:gd name="connsiteX7" fmla="*/ 25457 w 33551"/>
                <a:gd name="connsiteY7" fmla="*/ 34387 h 42480"/>
                <a:gd name="connsiteX8" fmla="*/ 8094 w 33551"/>
                <a:gd name="connsiteY8" fmla="*/ 41331 h 4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551" h="42480">
                  <a:moveTo>
                    <a:pt x="8094" y="41331"/>
                  </a:moveTo>
                  <a:lnTo>
                    <a:pt x="8094" y="41331"/>
                  </a:lnTo>
                  <a:cubicBezTo>
                    <a:pt x="1150" y="38355"/>
                    <a:pt x="-1827" y="30418"/>
                    <a:pt x="1150" y="23969"/>
                  </a:cubicBezTo>
                  <a:lnTo>
                    <a:pt x="8094" y="8094"/>
                  </a:lnTo>
                  <a:cubicBezTo>
                    <a:pt x="11071" y="1149"/>
                    <a:pt x="19008" y="-1827"/>
                    <a:pt x="25457" y="1149"/>
                  </a:cubicBezTo>
                  <a:lnTo>
                    <a:pt x="25457" y="1149"/>
                  </a:lnTo>
                  <a:cubicBezTo>
                    <a:pt x="32402" y="4126"/>
                    <a:pt x="35378" y="12063"/>
                    <a:pt x="32402" y="18512"/>
                  </a:cubicBezTo>
                  <a:lnTo>
                    <a:pt x="25457" y="34387"/>
                  </a:lnTo>
                  <a:cubicBezTo>
                    <a:pt x="22976" y="41331"/>
                    <a:pt x="15039" y="44308"/>
                    <a:pt x="8094" y="41331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8451A563-47D4-3C20-BA61-FB16A532EAB3}"/>
                </a:ext>
              </a:extLst>
            </p:cNvPr>
            <p:cNvSpPr/>
            <p:nvPr/>
          </p:nvSpPr>
          <p:spPr>
            <a:xfrm>
              <a:off x="6285174" y="4812860"/>
              <a:ext cx="64493" cy="57146"/>
            </a:xfrm>
            <a:custGeom>
              <a:avLst/>
              <a:gdLst>
                <a:gd name="connsiteX0" fmla="*/ 64494 w 64493"/>
                <a:gd name="connsiteY0" fmla="*/ 54656 h 57146"/>
                <a:gd name="connsiteX1" fmla="*/ 18358 w 64493"/>
                <a:gd name="connsiteY1" fmla="*/ 87 h 57146"/>
                <a:gd name="connsiteX2" fmla="*/ 64494 w 64493"/>
                <a:gd name="connsiteY2" fmla="*/ 54656 h 5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493" h="57146">
                  <a:moveTo>
                    <a:pt x="64494" y="54656"/>
                  </a:moveTo>
                  <a:cubicBezTo>
                    <a:pt x="64494" y="54656"/>
                    <a:pt x="55564" y="3560"/>
                    <a:pt x="18358" y="87"/>
                  </a:cubicBezTo>
                  <a:cubicBezTo>
                    <a:pt x="-19839" y="-2890"/>
                    <a:pt x="4468" y="71522"/>
                    <a:pt x="64494" y="54656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0EC21A49-F4CD-BC6C-F389-D963A69A37CC}"/>
                </a:ext>
              </a:extLst>
            </p:cNvPr>
            <p:cNvSpPr/>
            <p:nvPr/>
          </p:nvSpPr>
          <p:spPr>
            <a:xfrm>
              <a:off x="6356116" y="5005922"/>
              <a:ext cx="135429" cy="166682"/>
            </a:xfrm>
            <a:custGeom>
              <a:avLst/>
              <a:gdLst>
                <a:gd name="connsiteX0" fmla="*/ 56057 w 135429"/>
                <a:gd name="connsiteY0" fmla="*/ 0 h 166682"/>
                <a:gd name="connsiteX1" fmla="*/ 0 w 135429"/>
                <a:gd name="connsiteY1" fmla="*/ 119555 h 166682"/>
                <a:gd name="connsiteX2" fmla="*/ 113106 w 135429"/>
                <a:gd name="connsiteY2" fmla="*/ 166682 h 166682"/>
                <a:gd name="connsiteX3" fmla="*/ 135430 w 135429"/>
                <a:gd name="connsiteY3" fmla="*/ 18851 h 16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429" h="166682">
                  <a:moveTo>
                    <a:pt x="56057" y="0"/>
                  </a:moveTo>
                  <a:lnTo>
                    <a:pt x="0" y="119555"/>
                  </a:lnTo>
                  <a:lnTo>
                    <a:pt x="113106" y="166682"/>
                  </a:lnTo>
                  <a:lnTo>
                    <a:pt x="135430" y="18851"/>
                  </a:lnTo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204DAE97-C130-B12D-DEC1-F2B2A817F60B}"/>
                </a:ext>
              </a:extLst>
            </p:cNvPr>
            <p:cNvSpPr/>
            <p:nvPr/>
          </p:nvSpPr>
          <p:spPr>
            <a:xfrm>
              <a:off x="6383400" y="5136390"/>
              <a:ext cx="96241" cy="119554"/>
            </a:xfrm>
            <a:custGeom>
              <a:avLst/>
              <a:gdLst>
                <a:gd name="connsiteX0" fmla="*/ 96239 w 96241"/>
                <a:gd name="connsiteY0" fmla="*/ 119555 h 119554"/>
                <a:gd name="connsiteX1" fmla="*/ 0 w 96241"/>
                <a:gd name="connsiteY1" fmla="*/ 0 h 119554"/>
                <a:gd name="connsiteX2" fmla="*/ 86318 w 96241"/>
                <a:gd name="connsiteY2" fmla="*/ 35717 h 119554"/>
                <a:gd name="connsiteX3" fmla="*/ 96239 w 96241"/>
                <a:gd name="connsiteY3" fmla="*/ 119555 h 119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41" h="119554">
                  <a:moveTo>
                    <a:pt x="96239" y="119555"/>
                  </a:moveTo>
                  <a:cubicBezTo>
                    <a:pt x="96735" y="117074"/>
                    <a:pt x="0" y="0"/>
                    <a:pt x="0" y="0"/>
                  </a:cubicBezTo>
                  <a:lnTo>
                    <a:pt x="86318" y="35717"/>
                  </a:lnTo>
                  <a:lnTo>
                    <a:pt x="96239" y="119555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12FFDEA0-3E1F-DACC-1D3A-2E4F154A0947}"/>
                </a:ext>
              </a:extLst>
            </p:cNvPr>
            <p:cNvSpPr/>
            <p:nvPr/>
          </p:nvSpPr>
          <p:spPr>
            <a:xfrm>
              <a:off x="6271783" y="5125476"/>
              <a:ext cx="136421" cy="59529"/>
            </a:xfrm>
            <a:custGeom>
              <a:avLst/>
              <a:gdLst>
                <a:gd name="connsiteX0" fmla="*/ 0 w 136421"/>
                <a:gd name="connsiteY0" fmla="*/ 47127 h 59529"/>
                <a:gd name="connsiteX1" fmla="*/ 84333 w 136421"/>
                <a:gd name="connsiteY1" fmla="*/ 0 h 59529"/>
                <a:gd name="connsiteX2" fmla="*/ 111122 w 136421"/>
                <a:gd name="connsiteY2" fmla="*/ 11410 h 59529"/>
                <a:gd name="connsiteX3" fmla="*/ 136421 w 136421"/>
                <a:gd name="connsiteY3" fmla="*/ 42167 h 59529"/>
                <a:gd name="connsiteX4" fmla="*/ 3473 w 136421"/>
                <a:gd name="connsiteY4" fmla="*/ 59529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421" h="59529">
                  <a:moveTo>
                    <a:pt x="0" y="47127"/>
                  </a:moveTo>
                  <a:lnTo>
                    <a:pt x="84333" y="0"/>
                  </a:lnTo>
                  <a:lnTo>
                    <a:pt x="111122" y="11410"/>
                  </a:lnTo>
                  <a:lnTo>
                    <a:pt x="136421" y="42167"/>
                  </a:lnTo>
                  <a:lnTo>
                    <a:pt x="3473" y="59529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BB45EB49-358B-9170-77BF-D62242CD5116}"/>
                </a:ext>
              </a:extLst>
            </p:cNvPr>
            <p:cNvSpPr/>
            <p:nvPr/>
          </p:nvSpPr>
          <p:spPr>
            <a:xfrm>
              <a:off x="3512101" y="2745836"/>
              <a:ext cx="336837" cy="281726"/>
            </a:xfrm>
            <a:custGeom>
              <a:avLst/>
              <a:gdLst>
                <a:gd name="connsiteX0" fmla="*/ 6449 w 336837"/>
                <a:gd name="connsiteY0" fmla="*/ 5907 h 281726"/>
                <a:gd name="connsiteX1" fmla="*/ 0 w 336837"/>
                <a:gd name="connsiteY1" fmla="*/ 13845 h 281726"/>
                <a:gd name="connsiteX2" fmla="*/ 13394 w 336837"/>
                <a:gd name="connsiteY2" fmla="*/ 38152 h 281726"/>
                <a:gd name="connsiteX3" fmla="*/ 108145 w 336837"/>
                <a:gd name="connsiteY3" fmla="*/ 87760 h 281726"/>
                <a:gd name="connsiteX4" fmla="*/ 212321 w 336837"/>
                <a:gd name="connsiteY4" fmla="*/ 209299 h 281726"/>
                <a:gd name="connsiteX5" fmla="*/ 231668 w 336837"/>
                <a:gd name="connsiteY5" fmla="*/ 218229 h 281726"/>
                <a:gd name="connsiteX6" fmla="*/ 247047 w 336837"/>
                <a:gd name="connsiteY6" fmla="*/ 227654 h 281726"/>
                <a:gd name="connsiteX7" fmla="*/ 275323 w 336837"/>
                <a:gd name="connsiteY7" fmla="*/ 259403 h 281726"/>
                <a:gd name="connsiteX8" fmla="*/ 286237 w 336837"/>
                <a:gd name="connsiteY8" fmla="*/ 281727 h 281726"/>
                <a:gd name="connsiteX9" fmla="*/ 302112 w 336837"/>
                <a:gd name="connsiteY9" fmla="*/ 267837 h 281726"/>
                <a:gd name="connsiteX10" fmla="*/ 325923 w 336837"/>
                <a:gd name="connsiteY10" fmla="*/ 254442 h 281726"/>
                <a:gd name="connsiteX11" fmla="*/ 336837 w 336837"/>
                <a:gd name="connsiteY11" fmla="*/ 252954 h 281726"/>
                <a:gd name="connsiteX12" fmla="*/ 212818 w 336837"/>
                <a:gd name="connsiteY12" fmla="*/ 116037 h 281726"/>
                <a:gd name="connsiteX13" fmla="*/ 213314 w 336837"/>
                <a:gd name="connsiteY13" fmla="*/ 50058 h 281726"/>
                <a:gd name="connsiteX14" fmla="*/ 196447 w 336837"/>
                <a:gd name="connsiteY14" fmla="*/ 6403 h 281726"/>
                <a:gd name="connsiteX15" fmla="*/ 172139 w 336837"/>
                <a:gd name="connsiteY15" fmla="*/ 16325 h 281726"/>
                <a:gd name="connsiteX16" fmla="*/ 184045 w 336837"/>
                <a:gd name="connsiteY16" fmla="*/ 118517 h 281726"/>
                <a:gd name="connsiteX17" fmla="*/ 109137 w 336837"/>
                <a:gd name="connsiteY17" fmla="*/ 65437 h 281726"/>
                <a:gd name="connsiteX18" fmla="*/ 6449 w 336837"/>
                <a:gd name="connsiteY18" fmla="*/ 5907 h 28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6837" h="281726">
                  <a:moveTo>
                    <a:pt x="6449" y="5907"/>
                  </a:moveTo>
                  <a:lnTo>
                    <a:pt x="0" y="13845"/>
                  </a:lnTo>
                  <a:cubicBezTo>
                    <a:pt x="0" y="13845"/>
                    <a:pt x="12402" y="27735"/>
                    <a:pt x="13394" y="38152"/>
                  </a:cubicBezTo>
                  <a:lnTo>
                    <a:pt x="108145" y="87760"/>
                  </a:lnTo>
                  <a:lnTo>
                    <a:pt x="212321" y="209299"/>
                  </a:lnTo>
                  <a:lnTo>
                    <a:pt x="231668" y="218229"/>
                  </a:lnTo>
                  <a:lnTo>
                    <a:pt x="247047" y="227654"/>
                  </a:lnTo>
                  <a:lnTo>
                    <a:pt x="275323" y="259403"/>
                  </a:lnTo>
                  <a:lnTo>
                    <a:pt x="286237" y="281727"/>
                  </a:lnTo>
                  <a:lnTo>
                    <a:pt x="302112" y="267837"/>
                  </a:lnTo>
                  <a:lnTo>
                    <a:pt x="325923" y="254442"/>
                  </a:lnTo>
                  <a:lnTo>
                    <a:pt x="336837" y="252954"/>
                  </a:lnTo>
                  <a:lnTo>
                    <a:pt x="212818" y="116037"/>
                  </a:lnTo>
                  <a:lnTo>
                    <a:pt x="213314" y="50058"/>
                  </a:lnTo>
                  <a:cubicBezTo>
                    <a:pt x="213314" y="50058"/>
                    <a:pt x="195455" y="25254"/>
                    <a:pt x="196447" y="6403"/>
                  </a:cubicBezTo>
                  <a:cubicBezTo>
                    <a:pt x="197439" y="-12448"/>
                    <a:pt x="172139" y="16325"/>
                    <a:pt x="172139" y="16325"/>
                  </a:cubicBezTo>
                  <a:lnTo>
                    <a:pt x="184045" y="118517"/>
                  </a:lnTo>
                  <a:lnTo>
                    <a:pt x="109137" y="65437"/>
                  </a:lnTo>
                  <a:lnTo>
                    <a:pt x="6449" y="5907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AB0D6E09-7E3A-7F68-0B97-261996685A8F}"/>
                </a:ext>
              </a:extLst>
            </p:cNvPr>
            <p:cNvSpPr/>
            <p:nvPr/>
          </p:nvSpPr>
          <p:spPr>
            <a:xfrm>
              <a:off x="4069197" y="3825752"/>
              <a:ext cx="127492" cy="369578"/>
            </a:xfrm>
            <a:custGeom>
              <a:avLst/>
              <a:gdLst>
                <a:gd name="connsiteX0" fmla="*/ 127492 w 127492"/>
                <a:gd name="connsiteY0" fmla="*/ 369578 h 369578"/>
                <a:gd name="connsiteX1" fmla="*/ 34230 w 127492"/>
                <a:gd name="connsiteY1" fmla="*/ 369578 h 369578"/>
                <a:gd name="connsiteX2" fmla="*/ 0 w 127492"/>
                <a:gd name="connsiteY2" fmla="*/ 312033 h 369578"/>
                <a:gd name="connsiteX3" fmla="*/ 0 w 127492"/>
                <a:gd name="connsiteY3" fmla="*/ 0 h 369578"/>
                <a:gd name="connsiteX4" fmla="*/ 127492 w 127492"/>
                <a:gd name="connsiteY4" fmla="*/ 0 h 369578"/>
                <a:gd name="connsiteX5" fmla="*/ 127492 w 127492"/>
                <a:gd name="connsiteY5" fmla="*/ 369578 h 369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492" h="369578">
                  <a:moveTo>
                    <a:pt x="127492" y="369578"/>
                  </a:moveTo>
                  <a:lnTo>
                    <a:pt x="34230" y="369578"/>
                  </a:lnTo>
                  <a:cubicBezTo>
                    <a:pt x="26292" y="349239"/>
                    <a:pt x="14882" y="329892"/>
                    <a:pt x="0" y="312033"/>
                  </a:cubicBezTo>
                  <a:lnTo>
                    <a:pt x="0" y="0"/>
                  </a:lnTo>
                  <a:lnTo>
                    <a:pt x="127492" y="0"/>
                  </a:lnTo>
                  <a:lnTo>
                    <a:pt x="127492" y="369578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14F635F5-A9A1-21F2-E8C6-585FAD6F8374}"/>
                </a:ext>
              </a:extLst>
            </p:cNvPr>
            <p:cNvSpPr/>
            <p:nvPr/>
          </p:nvSpPr>
          <p:spPr>
            <a:xfrm>
              <a:off x="3810244" y="4121003"/>
              <a:ext cx="438532" cy="907738"/>
            </a:xfrm>
            <a:custGeom>
              <a:avLst/>
              <a:gdLst>
                <a:gd name="connsiteX0" fmla="*/ 438533 w 438532"/>
                <a:gd name="connsiteY0" fmla="*/ 553043 h 907738"/>
                <a:gd name="connsiteX1" fmla="*/ 438533 w 438532"/>
                <a:gd name="connsiteY1" fmla="*/ 525262 h 907738"/>
                <a:gd name="connsiteX2" fmla="*/ 354199 w 438532"/>
                <a:gd name="connsiteY2" fmla="*/ 525262 h 907738"/>
                <a:gd name="connsiteX3" fmla="*/ 419186 w 438532"/>
                <a:gd name="connsiteY3" fmla="*/ 380408 h 907738"/>
                <a:gd name="connsiteX4" fmla="*/ 322451 w 438532"/>
                <a:gd name="connsiteY4" fmla="*/ 272263 h 907738"/>
                <a:gd name="connsiteX5" fmla="*/ 367098 w 438532"/>
                <a:gd name="connsiteY5" fmla="*/ 228112 h 907738"/>
                <a:gd name="connsiteX6" fmla="*/ 380988 w 438532"/>
                <a:gd name="connsiteY6" fmla="*/ 195370 h 907738"/>
                <a:gd name="connsiteX7" fmla="*/ 409264 w 438532"/>
                <a:gd name="connsiteY7" fmla="*/ 134353 h 907738"/>
                <a:gd name="connsiteX8" fmla="*/ 333364 w 438532"/>
                <a:gd name="connsiteY8" fmla="*/ 61429 h 907738"/>
                <a:gd name="connsiteX9" fmla="*/ 290206 w 438532"/>
                <a:gd name="connsiteY9" fmla="*/ 74328 h 907738"/>
                <a:gd name="connsiteX10" fmla="*/ 280780 w 438532"/>
                <a:gd name="connsiteY10" fmla="*/ 48036 h 907738"/>
                <a:gd name="connsiteX11" fmla="*/ 218770 w 438532"/>
                <a:gd name="connsiteY11" fmla="*/ 3389 h 907738"/>
                <a:gd name="connsiteX12" fmla="*/ 258952 w 438532"/>
                <a:gd name="connsiteY12" fmla="*/ 96155 h 907738"/>
                <a:gd name="connsiteX13" fmla="*/ 216290 w 438532"/>
                <a:gd name="connsiteY13" fmla="*/ 199339 h 907738"/>
                <a:gd name="connsiteX14" fmla="*/ 59529 w 438532"/>
                <a:gd name="connsiteY14" fmla="*/ 45555 h 907738"/>
                <a:gd name="connsiteX15" fmla="*/ 0 w 438532"/>
                <a:gd name="connsiteY15" fmla="*/ 48036 h 907738"/>
                <a:gd name="connsiteX16" fmla="*/ 41670 w 438532"/>
                <a:gd name="connsiteY16" fmla="*/ 63910 h 907738"/>
                <a:gd name="connsiteX17" fmla="*/ 206368 w 438532"/>
                <a:gd name="connsiteY17" fmla="*/ 791656 h 907738"/>
                <a:gd name="connsiteX18" fmla="*/ 115090 w 438532"/>
                <a:gd name="connsiteY18" fmla="*/ 832335 h 907738"/>
                <a:gd name="connsiteX19" fmla="*/ 200912 w 438532"/>
                <a:gd name="connsiteY19" fmla="*/ 840768 h 907738"/>
                <a:gd name="connsiteX20" fmla="*/ 210337 w 438532"/>
                <a:gd name="connsiteY20" fmla="*/ 829358 h 907738"/>
                <a:gd name="connsiteX21" fmla="*/ 224227 w 438532"/>
                <a:gd name="connsiteY21" fmla="*/ 846225 h 907738"/>
                <a:gd name="connsiteX22" fmla="*/ 238117 w 438532"/>
                <a:gd name="connsiteY22" fmla="*/ 847217 h 907738"/>
                <a:gd name="connsiteX23" fmla="*/ 239109 w 438532"/>
                <a:gd name="connsiteY23" fmla="*/ 806539 h 907738"/>
                <a:gd name="connsiteX24" fmla="*/ 285245 w 438532"/>
                <a:gd name="connsiteY24" fmla="*/ 907739 h 907738"/>
                <a:gd name="connsiteX25" fmla="*/ 323939 w 438532"/>
                <a:gd name="connsiteY25" fmla="*/ 907739 h 907738"/>
                <a:gd name="connsiteX26" fmla="*/ 319970 w 438532"/>
                <a:gd name="connsiteY26" fmla="*/ 880454 h 907738"/>
                <a:gd name="connsiteX27" fmla="*/ 268378 w 438532"/>
                <a:gd name="connsiteY27" fmla="*/ 788680 h 907738"/>
                <a:gd name="connsiteX28" fmla="*/ 307568 w 438532"/>
                <a:gd name="connsiteY28" fmla="*/ 552547 h 907738"/>
                <a:gd name="connsiteX29" fmla="*/ 438533 w 438532"/>
                <a:gd name="connsiteY29" fmla="*/ 552547 h 907738"/>
                <a:gd name="connsiteX30" fmla="*/ 319970 w 438532"/>
                <a:gd name="connsiteY30" fmla="*/ 359572 h 907738"/>
                <a:gd name="connsiteX31" fmla="*/ 357672 w 438532"/>
                <a:gd name="connsiteY31" fmla="*/ 412157 h 907738"/>
                <a:gd name="connsiteX32" fmla="*/ 343782 w 438532"/>
                <a:gd name="connsiteY32" fmla="*/ 524766 h 907738"/>
                <a:gd name="connsiteX33" fmla="*/ 309057 w 438532"/>
                <a:gd name="connsiteY33" fmla="*/ 524766 h 907738"/>
                <a:gd name="connsiteX34" fmla="*/ 319970 w 438532"/>
                <a:gd name="connsiteY34" fmla="*/ 359572 h 90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38532" h="907738">
                  <a:moveTo>
                    <a:pt x="438533" y="553043"/>
                  </a:moveTo>
                  <a:lnTo>
                    <a:pt x="438533" y="525262"/>
                  </a:lnTo>
                  <a:lnTo>
                    <a:pt x="354199" y="525262"/>
                  </a:lnTo>
                  <a:lnTo>
                    <a:pt x="419186" y="380408"/>
                  </a:lnTo>
                  <a:cubicBezTo>
                    <a:pt x="416705" y="367510"/>
                    <a:pt x="322451" y="274743"/>
                    <a:pt x="322451" y="272263"/>
                  </a:cubicBezTo>
                  <a:cubicBezTo>
                    <a:pt x="341302" y="263333"/>
                    <a:pt x="367098" y="228112"/>
                    <a:pt x="367098" y="228112"/>
                  </a:cubicBezTo>
                  <a:lnTo>
                    <a:pt x="380988" y="195370"/>
                  </a:lnTo>
                  <a:cubicBezTo>
                    <a:pt x="380988" y="195370"/>
                    <a:pt x="412241" y="166598"/>
                    <a:pt x="409264" y="134353"/>
                  </a:cubicBezTo>
                  <a:cubicBezTo>
                    <a:pt x="403311" y="74824"/>
                    <a:pt x="349735" y="63910"/>
                    <a:pt x="333364" y="61429"/>
                  </a:cubicBezTo>
                  <a:cubicBezTo>
                    <a:pt x="316994" y="58949"/>
                    <a:pt x="290206" y="74328"/>
                    <a:pt x="290206" y="74328"/>
                  </a:cubicBezTo>
                  <a:cubicBezTo>
                    <a:pt x="290206" y="74328"/>
                    <a:pt x="284253" y="64902"/>
                    <a:pt x="280780" y="48036"/>
                  </a:cubicBezTo>
                  <a:cubicBezTo>
                    <a:pt x="277307" y="31665"/>
                    <a:pt x="238117" y="-12486"/>
                    <a:pt x="218770" y="3389"/>
                  </a:cubicBezTo>
                  <a:cubicBezTo>
                    <a:pt x="199423" y="19263"/>
                    <a:pt x="233157" y="59941"/>
                    <a:pt x="258952" y="96155"/>
                  </a:cubicBezTo>
                  <a:cubicBezTo>
                    <a:pt x="216290" y="135345"/>
                    <a:pt x="216290" y="199339"/>
                    <a:pt x="216290" y="199339"/>
                  </a:cubicBezTo>
                  <a:lnTo>
                    <a:pt x="59529" y="45555"/>
                  </a:lnTo>
                  <a:lnTo>
                    <a:pt x="0" y="48036"/>
                  </a:lnTo>
                  <a:cubicBezTo>
                    <a:pt x="4465" y="58949"/>
                    <a:pt x="7937" y="56965"/>
                    <a:pt x="41670" y="63910"/>
                  </a:cubicBezTo>
                  <a:cubicBezTo>
                    <a:pt x="216290" y="378919"/>
                    <a:pt x="206368" y="791656"/>
                    <a:pt x="206368" y="791656"/>
                  </a:cubicBezTo>
                  <a:cubicBezTo>
                    <a:pt x="206368" y="791656"/>
                    <a:pt x="115586" y="829358"/>
                    <a:pt x="115090" y="832335"/>
                  </a:cubicBezTo>
                  <a:cubicBezTo>
                    <a:pt x="130964" y="840272"/>
                    <a:pt x="200912" y="840768"/>
                    <a:pt x="200912" y="840768"/>
                  </a:cubicBezTo>
                  <a:lnTo>
                    <a:pt x="210337" y="829358"/>
                  </a:lnTo>
                  <a:lnTo>
                    <a:pt x="224227" y="846225"/>
                  </a:lnTo>
                  <a:lnTo>
                    <a:pt x="238117" y="847217"/>
                  </a:lnTo>
                  <a:cubicBezTo>
                    <a:pt x="238117" y="847217"/>
                    <a:pt x="238613" y="822909"/>
                    <a:pt x="239109" y="806539"/>
                  </a:cubicBezTo>
                  <a:cubicBezTo>
                    <a:pt x="259449" y="885415"/>
                    <a:pt x="285245" y="907739"/>
                    <a:pt x="285245" y="907739"/>
                  </a:cubicBezTo>
                  <a:lnTo>
                    <a:pt x="323939" y="907739"/>
                  </a:lnTo>
                  <a:lnTo>
                    <a:pt x="319970" y="880454"/>
                  </a:lnTo>
                  <a:lnTo>
                    <a:pt x="268378" y="788680"/>
                  </a:lnTo>
                  <a:lnTo>
                    <a:pt x="307568" y="552547"/>
                  </a:lnTo>
                  <a:lnTo>
                    <a:pt x="438533" y="552547"/>
                  </a:lnTo>
                  <a:close/>
                  <a:moveTo>
                    <a:pt x="319970" y="359572"/>
                  </a:moveTo>
                  <a:cubicBezTo>
                    <a:pt x="319970" y="359572"/>
                    <a:pt x="362633" y="398762"/>
                    <a:pt x="357672" y="412157"/>
                  </a:cubicBezTo>
                  <a:cubicBezTo>
                    <a:pt x="352711" y="425551"/>
                    <a:pt x="343782" y="524766"/>
                    <a:pt x="343782" y="524766"/>
                  </a:cubicBezTo>
                  <a:lnTo>
                    <a:pt x="309057" y="524766"/>
                  </a:lnTo>
                  <a:lnTo>
                    <a:pt x="319970" y="35957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F7D319D7-751B-5EF0-BCCB-0CD4D6940A00}"/>
                </a:ext>
              </a:extLst>
            </p:cNvPr>
            <p:cNvSpPr/>
            <p:nvPr/>
          </p:nvSpPr>
          <p:spPr>
            <a:xfrm>
              <a:off x="4023282" y="4121003"/>
              <a:ext cx="196412" cy="194874"/>
            </a:xfrm>
            <a:custGeom>
              <a:avLst/>
              <a:gdLst>
                <a:gd name="connsiteX0" fmla="*/ 196226 w 196412"/>
                <a:gd name="connsiteY0" fmla="*/ 134353 h 194874"/>
                <a:gd name="connsiteX1" fmla="*/ 120326 w 196412"/>
                <a:gd name="connsiteY1" fmla="*/ 61429 h 194874"/>
                <a:gd name="connsiteX2" fmla="*/ 77168 w 196412"/>
                <a:gd name="connsiteY2" fmla="*/ 74328 h 194874"/>
                <a:gd name="connsiteX3" fmla="*/ 67742 w 196412"/>
                <a:gd name="connsiteY3" fmla="*/ 48036 h 194874"/>
                <a:gd name="connsiteX4" fmla="*/ 5732 w 196412"/>
                <a:gd name="connsiteY4" fmla="*/ 3389 h 194874"/>
                <a:gd name="connsiteX5" fmla="*/ 45915 w 196412"/>
                <a:gd name="connsiteY5" fmla="*/ 96155 h 194874"/>
                <a:gd name="connsiteX6" fmla="*/ 44426 w 196412"/>
                <a:gd name="connsiteY6" fmla="*/ 97643 h 194874"/>
                <a:gd name="connsiteX7" fmla="*/ 87585 w 196412"/>
                <a:gd name="connsiteY7" fmla="*/ 121951 h 194874"/>
                <a:gd name="connsiteX8" fmla="*/ 129752 w 196412"/>
                <a:gd name="connsiteY8" fmla="*/ 159157 h 194874"/>
                <a:gd name="connsiteX9" fmla="*/ 168446 w 196412"/>
                <a:gd name="connsiteY9" fmla="*/ 194875 h 194874"/>
                <a:gd name="connsiteX10" fmla="*/ 189281 w 196412"/>
                <a:gd name="connsiteY10" fmla="*/ 166102 h 194874"/>
                <a:gd name="connsiteX11" fmla="*/ 194738 w 196412"/>
                <a:gd name="connsiteY11" fmla="*/ 150228 h 194874"/>
                <a:gd name="connsiteX12" fmla="*/ 196226 w 196412"/>
                <a:gd name="connsiteY12" fmla="*/ 134353 h 194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412" h="194874">
                  <a:moveTo>
                    <a:pt x="196226" y="134353"/>
                  </a:moveTo>
                  <a:cubicBezTo>
                    <a:pt x="190274" y="74824"/>
                    <a:pt x="136697" y="63910"/>
                    <a:pt x="120326" y="61429"/>
                  </a:cubicBezTo>
                  <a:cubicBezTo>
                    <a:pt x="103956" y="58949"/>
                    <a:pt x="77168" y="74328"/>
                    <a:pt x="77168" y="74328"/>
                  </a:cubicBezTo>
                  <a:cubicBezTo>
                    <a:pt x="77168" y="74328"/>
                    <a:pt x="71215" y="64902"/>
                    <a:pt x="67742" y="48036"/>
                  </a:cubicBezTo>
                  <a:cubicBezTo>
                    <a:pt x="64270" y="31665"/>
                    <a:pt x="25080" y="-12486"/>
                    <a:pt x="5732" y="3389"/>
                  </a:cubicBezTo>
                  <a:cubicBezTo>
                    <a:pt x="-13615" y="19263"/>
                    <a:pt x="20119" y="59941"/>
                    <a:pt x="45915" y="96155"/>
                  </a:cubicBezTo>
                  <a:cubicBezTo>
                    <a:pt x="45419" y="96651"/>
                    <a:pt x="44923" y="97147"/>
                    <a:pt x="44426" y="97643"/>
                  </a:cubicBezTo>
                  <a:lnTo>
                    <a:pt x="87585" y="121951"/>
                  </a:lnTo>
                  <a:cubicBezTo>
                    <a:pt x="87585" y="121951"/>
                    <a:pt x="128760" y="158661"/>
                    <a:pt x="129752" y="159157"/>
                  </a:cubicBezTo>
                  <a:cubicBezTo>
                    <a:pt x="130248" y="159653"/>
                    <a:pt x="155052" y="182473"/>
                    <a:pt x="168446" y="194875"/>
                  </a:cubicBezTo>
                  <a:cubicBezTo>
                    <a:pt x="170926" y="192394"/>
                    <a:pt x="181840" y="181480"/>
                    <a:pt x="189281" y="166102"/>
                  </a:cubicBezTo>
                  <a:lnTo>
                    <a:pt x="194738" y="150228"/>
                  </a:lnTo>
                  <a:cubicBezTo>
                    <a:pt x="196226" y="145267"/>
                    <a:pt x="196722" y="139810"/>
                    <a:pt x="196226" y="134353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34F22EBD-CDA4-6C76-19C2-E260E06CC8D2}"/>
                </a:ext>
              </a:extLst>
            </p:cNvPr>
            <p:cNvSpPr/>
            <p:nvPr/>
          </p:nvSpPr>
          <p:spPr>
            <a:xfrm>
              <a:off x="3854891" y="2322140"/>
              <a:ext cx="215793" cy="1773974"/>
            </a:xfrm>
            <a:custGeom>
              <a:avLst/>
              <a:gdLst>
                <a:gd name="connsiteX0" fmla="*/ 25300 w 215793"/>
                <a:gd name="connsiteY0" fmla="*/ 967352 h 1773974"/>
                <a:gd name="connsiteX1" fmla="*/ 11410 w 215793"/>
                <a:gd name="connsiteY1" fmla="*/ 944036 h 1773974"/>
                <a:gd name="connsiteX2" fmla="*/ 0 w 215793"/>
                <a:gd name="connsiteY2" fmla="*/ 955942 h 1773974"/>
                <a:gd name="connsiteX3" fmla="*/ 1984 w 215793"/>
                <a:gd name="connsiteY3" fmla="*/ 1319567 h 1773974"/>
                <a:gd name="connsiteX4" fmla="*/ 1488 w 215793"/>
                <a:gd name="connsiteY4" fmla="*/ 1544787 h 1773974"/>
                <a:gd name="connsiteX5" fmla="*/ 1984 w 215793"/>
                <a:gd name="connsiteY5" fmla="*/ 1653924 h 1773974"/>
                <a:gd name="connsiteX6" fmla="*/ 20835 w 215793"/>
                <a:gd name="connsiteY6" fmla="*/ 1653924 h 1773974"/>
                <a:gd name="connsiteX7" fmla="*/ 181564 w 215793"/>
                <a:gd name="connsiteY7" fmla="*/ 1654420 h 1773974"/>
                <a:gd name="connsiteX8" fmla="*/ 181564 w 215793"/>
                <a:gd name="connsiteY8" fmla="*/ 1688153 h 1773974"/>
                <a:gd name="connsiteX9" fmla="*/ 197935 w 215793"/>
                <a:gd name="connsiteY9" fmla="*/ 1690634 h 1773974"/>
                <a:gd name="connsiteX10" fmla="*/ 196943 w 215793"/>
                <a:gd name="connsiteY10" fmla="*/ 1773975 h 1773974"/>
                <a:gd name="connsiteX11" fmla="*/ 196943 w 215793"/>
                <a:gd name="connsiteY11" fmla="*/ 1773975 h 1773974"/>
                <a:gd name="connsiteX12" fmla="*/ 197935 w 215793"/>
                <a:gd name="connsiteY12" fmla="*/ 1476328 h 1773974"/>
                <a:gd name="connsiteX13" fmla="*/ 205376 w 215793"/>
                <a:gd name="connsiteY13" fmla="*/ 1476328 h 1773974"/>
                <a:gd name="connsiteX14" fmla="*/ 205376 w 215793"/>
                <a:gd name="connsiteY14" fmla="*/ 1323040 h 1773974"/>
                <a:gd name="connsiteX15" fmla="*/ 155768 w 215793"/>
                <a:gd name="connsiteY15" fmla="*/ 1323536 h 1773974"/>
                <a:gd name="connsiteX16" fmla="*/ 135925 w 215793"/>
                <a:gd name="connsiteY16" fmla="*/ 1288811 h 1773974"/>
                <a:gd name="connsiteX17" fmla="*/ 144359 w 215793"/>
                <a:gd name="connsiteY17" fmla="*/ 1289802 h 1773974"/>
                <a:gd name="connsiteX18" fmla="*/ 145847 w 215793"/>
                <a:gd name="connsiteY18" fmla="*/ 1119648 h 1773974"/>
                <a:gd name="connsiteX19" fmla="*/ 138406 w 215793"/>
                <a:gd name="connsiteY19" fmla="*/ 1120640 h 1773974"/>
                <a:gd name="connsiteX20" fmla="*/ 131461 w 215793"/>
                <a:gd name="connsiteY20" fmla="*/ 1105758 h 1773974"/>
                <a:gd name="connsiteX21" fmla="*/ 205872 w 215793"/>
                <a:gd name="connsiteY21" fmla="*/ 1106254 h 1773974"/>
                <a:gd name="connsiteX22" fmla="*/ 205872 w 215793"/>
                <a:gd name="connsiteY22" fmla="*/ 533284 h 1773974"/>
                <a:gd name="connsiteX23" fmla="*/ 174619 w 215793"/>
                <a:gd name="connsiteY23" fmla="*/ 484172 h 1773974"/>
                <a:gd name="connsiteX24" fmla="*/ 174619 w 215793"/>
                <a:gd name="connsiteY24" fmla="*/ 473258 h 1773974"/>
                <a:gd name="connsiteX25" fmla="*/ 187517 w 215793"/>
                <a:gd name="connsiteY25" fmla="*/ 471770 h 1773974"/>
                <a:gd name="connsiteX26" fmla="*/ 187517 w 215793"/>
                <a:gd name="connsiteY26" fmla="*/ 142374 h 1773974"/>
                <a:gd name="connsiteX27" fmla="*/ 215794 w 215793"/>
                <a:gd name="connsiteY27" fmla="*/ 141878 h 1773974"/>
                <a:gd name="connsiteX28" fmla="*/ 215794 w 215793"/>
                <a:gd name="connsiteY28" fmla="*/ 1488 h 1773974"/>
                <a:gd name="connsiteX29" fmla="*/ 2480 w 215793"/>
                <a:gd name="connsiteY29" fmla="*/ 0 h 1773974"/>
                <a:gd name="connsiteX30" fmla="*/ 992 w 215793"/>
                <a:gd name="connsiteY30" fmla="*/ 283756 h 1773974"/>
                <a:gd name="connsiteX31" fmla="*/ 32741 w 215793"/>
                <a:gd name="connsiteY31" fmla="*/ 316002 h 1773974"/>
                <a:gd name="connsiteX32" fmla="*/ 48616 w 215793"/>
                <a:gd name="connsiteY32" fmla="*/ 365609 h 1773974"/>
                <a:gd name="connsiteX33" fmla="*/ 43159 w 215793"/>
                <a:gd name="connsiteY33" fmla="*/ 406784 h 1773974"/>
                <a:gd name="connsiteX34" fmla="*/ 2480 w 215793"/>
                <a:gd name="connsiteY34" fmla="*/ 466809 h 1773974"/>
                <a:gd name="connsiteX35" fmla="*/ 4465 w 215793"/>
                <a:gd name="connsiteY35" fmla="*/ 672682 h 1773974"/>
                <a:gd name="connsiteX36" fmla="*/ 26788 w 215793"/>
                <a:gd name="connsiteY36" fmla="*/ 674666 h 1773974"/>
                <a:gd name="connsiteX37" fmla="*/ 49608 w 215793"/>
                <a:gd name="connsiteY37" fmla="*/ 683595 h 1773974"/>
                <a:gd name="connsiteX38" fmla="*/ 71435 w 215793"/>
                <a:gd name="connsiteY38" fmla="*/ 701454 h 1773974"/>
                <a:gd name="connsiteX39" fmla="*/ 83341 w 215793"/>
                <a:gd name="connsiteY39" fmla="*/ 718817 h 1773974"/>
                <a:gd name="connsiteX40" fmla="*/ 89294 w 215793"/>
                <a:gd name="connsiteY40" fmla="*/ 739652 h 1773974"/>
                <a:gd name="connsiteX41" fmla="*/ 91774 w 215793"/>
                <a:gd name="connsiteY41" fmla="*/ 752550 h 1773974"/>
                <a:gd name="connsiteX42" fmla="*/ 91278 w 215793"/>
                <a:gd name="connsiteY42" fmla="*/ 759991 h 1773974"/>
                <a:gd name="connsiteX43" fmla="*/ 107649 w 215793"/>
                <a:gd name="connsiteY43" fmla="*/ 768921 h 1773974"/>
                <a:gd name="connsiteX44" fmla="*/ 87806 w 215793"/>
                <a:gd name="connsiteY44" fmla="*/ 872105 h 1773974"/>
                <a:gd name="connsiteX45" fmla="*/ 56057 w 215793"/>
                <a:gd name="connsiteY45" fmla="*/ 933123 h 1773974"/>
                <a:gd name="connsiteX46" fmla="*/ 25300 w 215793"/>
                <a:gd name="connsiteY46" fmla="*/ 967352 h 177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15793" h="1773974">
                  <a:moveTo>
                    <a:pt x="25300" y="967352"/>
                  </a:moveTo>
                  <a:cubicBezTo>
                    <a:pt x="13890" y="958919"/>
                    <a:pt x="11410" y="944036"/>
                    <a:pt x="11410" y="944036"/>
                  </a:cubicBezTo>
                  <a:cubicBezTo>
                    <a:pt x="4961" y="944036"/>
                    <a:pt x="0" y="949493"/>
                    <a:pt x="0" y="955942"/>
                  </a:cubicBezTo>
                  <a:lnTo>
                    <a:pt x="1984" y="1319567"/>
                  </a:lnTo>
                  <a:cubicBezTo>
                    <a:pt x="26788" y="1384057"/>
                    <a:pt x="25796" y="1482281"/>
                    <a:pt x="1488" y="1544787"/>
                  </a:cubicBezTo>
                  <a:lnTo>
                    <a:pt x="1984" y="1653924"/>
                  </a:lnTo>
                  <a:lnTo>
                    <a:pt x="20835" y="1653924"/>
                  </a:lnTo>
                  <a:cubicBezTo>
                    <a:pt x="56057" y="1653924"/>
                    <a:pt x="181564" y="1654420"/>
                    <a:pt x="181564" y="1654420"/>
                  </a:cubicBezTo>
                  <a:lnTo>
                    <a:pt x="181564" y="1688153"/>
                  </a:lnTo>
                  <a:lnTo>
                    <a:pt x="197935" y="1690634"/>
                  </a:lnTo>
                  <a:cubicBezTo>
                    <a:pt x="197935" y="1690634"/>
                    <a:pt x="197439" y="1747186"/>
                    <a:pt x="196943" y="1773975"/>
                  </a:cubicBezTo>
                  <a:lnTo>
                    <a:pt x="196943" y="1773975"/>
                  </a:lnTo>
                  <a:lnTo>
                    <a:pt x="197935" y="1476328"/>
                  </a:lnTo>
                  <a:lnTo>
                    <a:pt x="205376" y="1476328"/>
                  </a:lnTo>
                  <a:lnTo>
                    <a:pt x="205376" y="1323040"/>
                  </a:lnTo>
                  <a:lnTo>
                    <a:pt x="155768" y="1323536"/>
                  </a:lnTo>
                  <a:lnTo>
                    <a:pt x="135925" y="1288811"/>
                  </a:lnTo>
                  <a:lnTo>
                    <a:pt x="144359" y="1289802"/>
                  </a:lnTo>
                  <a:lnTo>
                    <a:pt x="145847" y="1119648"/>
                  </a:lnTo>
                  <a:lnTo>
                    <a:pt x="138406" y="1120640"/>
                  </a:lnTo>
                  <a:lnTo>
                    <a:pt x="131461" y="1105758"/>
                  </a:lnTo>
                  <a:lnTo>
                    <a:pt x="205872" y="1106254"/>
                  </a:lnTo>
                  <a:lnTo>
                    <a:pt x="205872" y="533284"/>
                  </a:lnTo>
                  <a:lnTo>
                    <a:pt x="174619" y="484172"/>
                  </a:lnTo>
                  <a:lnTo>
                    <a:pt x="174619" y="473258"/>
                  </a:lnTo>
                  <a:lnTo>
                    <a:pt x="187517" y="471770"/>
                  </a:lnTo>
                  <a:lnTo>
                    <a:pt x="187517" y="142374"/>
                  </a:lnTo>
                  <a:lnTo>
                    <a:pt x="215794" y="141878"/>
                  </a:lnTo>
                  <a:lnTo>
                    <a:pt x="215794" y="1488"/>
                  </a:lnTo>
                  <a:lnTo>
                    <a:pt x="2480" y="0"/>
                  </a:lnTo>
                  <a:lnTo>
                    <a:pt x="992" y="283756"/>
                  </a:lnTo>
                  <a:lnTo>
                    <a:pt x="32741" y="316002"/>
                  </a:lnTo>
                  <a:lnTo>
                    <a:pt x="48616" y="365609"/>
                  </a:lnTo>
                  <a:lnTo>
                    <a:pt x="43159" y="406784"/>
                  </a:lnTo>
                  <a:cubicBezTo>
                    <a:pt x="32245" y="433572"/>
                    <a:pt x="17859" y="453911"/>
                    <a:pt x="2480" y="466809"/>
                  </a:cubicBezTo>
                  <a:lnTo>
                    <a:pt x="4465" y="672682"/>
                  </a:lnTo>
                  <a:lnTo>
                    <a:pt x="26788" y="674666"/>
                  </a:lnTo>
                  <a:lnTo>
                    <a:pt x="49608" y="683595"/>
                  </a:lnTo>
                  <a:lnTo>
                    <a:pt x="71435" y="701454"/>
                  </a:lnTo>
                  <a:lnTo>
                    <a:pt x="83341" y="718817"/>
                  </a:lnTo>
                  <a:lnTo>
                    <a:pt x="89294" y="739652"/>
                  </a:lnTo>
                  <a:lnTo>
                    <a:pt x="91774" y="752550"/>
                  </a:lnTo>
                  <a:lnTo>
                    <a:pt x="91278" y="759991"/>
                  </a:lnTo>
                  <a:cubicBezTo>
                    <a:pt x="91278" y="759991"/>
                    <a:pt x="100704" y="764456"/>
                    <a:pt x="107649" y="768921"/>
                  </a:cubicBezTo>
                  <a:cubicBezTo>
                    <a:pt x="166186" y="836883"/>
                    <a:pt x="87806" y="872105"/>
                    <a:pt x="87806" y="872105"/>
                  </a:cubicBezTo>
                  <a:cubicBezTo>
                    <a:pt x="116578" y="902366"/>
                    <a:pt x="91774" y="937587"/>
                    <a:pt x="56057" y="933123"/>
                  </a:cubicBezTo>
                  <a:cubicBezTo>
                    <a:pt x="55560" y="933619"/>
                    <a:pt x="71435" y="975289"/>
                    <a:pt x="25300" y="967352"/>
                  </a:cubicBez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2D3E49A9-BCF7-3D38-1527-A574F8E77F74}"/>
                </a:ext>
              </a:extLst>
            </p:cNvPr>
            <p:cNvSpPr/>
            <p:nvPr/>
          </p:nvSpPr>
          <p:spPr>
            <a:xfrm>
              <a:off x="3443384" y="4350970"/>
              <a:ext cx="365372" cy="868774"/>
            </a:xfrm>
            <a:custGeom>
              <a:avLst/>
              <a:gdLst>
                <a:gd name="connsiteX0" fmla="*/ 259 w 365372"/>
                <a:gd name="connsiteY0" fmla="*/ 522003 h 868774"/>
                <a:gd name="connsiteX1" fmla="*/ 51355 w 365372"/>
                <a:gd name="connsiteY1" fmla="*/ 275452 h 868774"/>
                <a:gd name="connsiteX2" fmla="*/ 25559 w 365372"/>
                <a:gd name="connsiteY2" fmla="*/ 103809 h 868774"/>
                <a:gd name="connsiteX3" fmla="*/ 86577 w 365372"/>
                <a:gd name="connsiteY3" fmla="*/ 84958 h 868774"/>
                <a:gd name="connsiteX4" fmla="*/ 93522 w 365372"/>
                <a:gd name="connsiteY4" fmla="*/ 18980 h 868774"/>
                <a:gd name="connsiteX5" fmla="*/ 158508 w 365372"/>
                <a:gd name="connsiteY5" fmla="*/ 2113 h 868774"/>
                <a:gd name="connsiteX6" fmla="*/ 112372 w 365372"/>
                <a:gd name="connsiteY6" fmla="*/ 96368 h 868774"/>
                <a:gd name="connsiteX7" fmla="*/ 167933 w 365372"/>
                <a:gd name="connsiteY7" fmla="*/ 266026 h 868774"/>
                <a:gd name="connsiteX8" fmla="*/ 168925 w 365372"/>
                <a:gd name="connsiteY8" fmla="*/ 293807 h 868774"/>
                <a:gd name="connsiteX9" fmla="*/ 343545 w 365372"/>
                <a:gd name="connsiteY9" fmla="*/ 193103 h 868774"/>
                <a:gd name="connsiteX10" fmla="*/ 340568 w 365372"/>
                <a:gd name="connsiteY10" fmla="*/ 192607 h 868774"/>
                <a:gd name="connsiteX11" fmla="*/ 349002 w 365372"/>
                <a:gd name="connsiteY11" fmla="*/ 156393 h 868774"/>
                <a:gd name="connsiteX12" fmla="*/ 365372 w 365372"/>
                <a:gd name="connsiteY12" fmla="*/ 158873 h 868774"/>
                <a:gd name="connsiteX13" fmla="*/ 345033 w 365372"/>
                <a:gd name="connsiteY13" fmla="*/ 255113 h 868774"/>
                <a:gd name="connsiteX14" fmla="*/ 329159 w 365372"/>
                <a:gd name="connsiteY14" fmla="*/ 249160 h 868774"/>
                <a:gd name="connsiteX15" fmla="*/ 340072 w 365372"/>
                <a:gd name="connsiteY15" fmla="*/ 202529 h 868774"/>
                <a:gd name="connsiteX16" fmla="*/ 169918 w 365372"/>
                <a:gd name="connsiteY16" fmla="*/ 361273 h 868774"/>
                <a:gd name="connsiteX17" fmla="*/ 177855 w 365372"/>
                <a:gd name="connsiteY17" fmla="*/ 535893 h 868774"/>
                <a:gd name="connsiteX18" fmla="*/ 156028 w 365372"/>
                <a:gd name="connsiteY18" fmla="*/ 811712 h 868774"/>
                <a:gd name="connsiteX19" fmla="*/ 227463 w 365372"/>
                <a:gd name="connsiteY19" fmla="*/ 850406 h 868774"/>
                <a:gd name="connsiteX20" fmla="*/ 230935 w 365372"/>
                <a:gd name="connsiteY20" fmla="*/ 853383 h 868774"/>
                <a:gd name="connsiteX21" fmla="*/ 230935 w 365372"/>
                <a:gd name="connsiteY21" fmla="*/ 858343 h 868774"/>
                <a:gd name="connsiteX22" fmla="*/ 222006 w 365372"/>
                <a:gd name="connsiteY22" fmla="*/ 858343 h 868774"/>
                <a:gd name="connsiteX23" fmla="*/ 133704 w 365372"/>
                <a:gd name="connsiteY23" fmla="*/ 846437 h 868774"/>
                <a:gd name="connsiteX24" fmla="*/ 127751 w 365372"/>
                <a:gd name="connsiteY24" fmla="*/ 811712 h 868774"/>
                <a:gd name="connsiteX25" fmla="*/ 124774 w 365372"/>
                <a:gd name="connsiteY25" fmla="*/ 846437 h 868774"/>
                <a:gd name="connsiteX26" fmla="*/ 20598 w 365372"/>
                <a:gd name="connsiteY26" fmla="*/ 866777 h 868774"/>
                <a:gd name="connsiteX27" fmla="*/ 99971 w 365372"/>
                <a:gd name="connsiteY27" fmla="*/ 811712 h 868774"/>
                <a:gd name="connsiteX28" fmla="*/ 51851 w 365372"/>
                <a:gd name="connsiteY28" fmla="*/ 664873 h 868774"/>
                <a:gd name="connsiteX29" fmla="*/ 137673 w 365372"/>
                <a:gd name="connsiteY29" fmla="*/ 664873 h 868774"/>
                <a:gd name="connsiteX30" fmla="*/ 137673 w 365372"/>
                <a:gd name="connsiteY30" fmla="*/ 593438 h 868774"/>
                <a:gd name="connsiteX31" fmla="*/ 110388 w 365372"/>
                <a:gd name="connsiteY31" fmla="*/ 568138 h 868774"/>
                <a:gd name="connsiteX32" fmla="*/ 21590 w 365372"/>
                <a:gd name="connsiteY32" fmla="*/ 568138 h 868774"/>
                <a:gd name="connsiteX33" fmla="*/ 20102 w 365372"/>
                <a:gd name="connsiteY33" fmla="*/ 533412 h 868774"/>
                <a:gd name="connsiteX34" fmla="*/ 12165 w 365372"/>
                <a:gd name="connsiteY34" fmla="*/ 519026 h 868774"/>
                <a:gd name="connsiteX35" fmla="*/ 259 w 365372"/>
                <a:gd name="connsiteY35" fmla="*/ 522003 h 868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65372" h="868774">
                  <a:moveTo>
                    <a:pt x="259" y="522003"/>
                  </a:moveTo>
                  <a:cubicBezTo>
                    <a:pt x="259" y="522003"/>
                    <a:pt x="-6686" y="468426"/>
                    <a:pt x="51355" y="275452"/>
                  </a:cubicBezTo>
                  <a:cubicBezTo>
                    <a:pt x="21094" y="242711"/>
                    <a:pt x="-23553" y="176732"/>
                    <a:pt x="25559" y="103809"/>
                  </a:cubicBezTo>
                  <a:cubicBezTo>
                    <a:pt x="42922" y="77021"/>
                    <a:pt x="86577" y="84958"/>
                    <a:pt x="86577" y="84958"/>
                  </a:cubicBezTo>
                  <a:cubicBezTo>
                    <a:pt x="86577" y="84958"/>
                    <a:pt x="99475" y="55689"/>
                    <a:pt x="93522" y="18980"/>
                  </a:cubicBezTo>
                  <a:cubicBezTo>
                    <a:pt x="96994" y="-8801"/>
                    <a:pt x="158508" y="2113"/>
                    <a:pt x="158508" y="2113"/>
                  </a:cubicBezTo>
                  <a:cubicBezTo>
                    <a:pt x="158508" y="2113"/>
                    <a:pt x="150571" y="82478"/>
                    <a:pt x="112372" y="96368"/>
                  </a:cubicBezTo>
                  <a:cubicBezTo>
                    <a:pt x="134200" y="110258"/>
                    <a:pt x="204643" y="176732"/>
                    <a:pt x="167933" y="266026"/>
                  </a:cubicBezTo>
                  <a:cubicBezTo>
                    <a:pt x="168430" y="281405"/>
                    <a:pt x="168925" y="293807"/>
                    <a:pt x="168925" y="293807"/>
                  </a:cubicBezTo>
                  <a:cubicBezTo>
                    <a:pt x="168925" y="293807"/>
                    <a:pt x="300882" y="203024"/>
                    <a:pt x="343545" y="193103"/>
                  </a:cubicBezTo>
                  <a:lnTo>
                    <a:pt x="340568" y="192607"/>
                  </a:lnTo>
                  <a:lnTo>
                    <a:pt x="349002" y="156393"/>
                  </a:lnTo>
                  <a:lnTo>
                    <a:pt x="365372" y="158873"/>
                  </a:lnTo>
                  <a:lnTo>
                    <a:pt x="345033" y="255113"/>
                  </a:lnTo>
                  <a:lnTo>
                    <a:pt x="329159" y="249160"/>
                  </a:lnTo>
                  <a:lnTo>
                    <a:pt x="340072" y="202529"/>
                  </a:lnTo>
                  <a:cubicBezTo>
                    <a:pt x="340072" y="202529"/>
                    <a:pt x="202659" y="338454"/>
                    <a:pt x="169918" y="361273"/>
                  </a:cubicBezTo>
                  <a:cubicBezTo>
                    <a:pt x="171902" y="371195"/>
                    <a:pt x="177855" y="535893"/>
                    <a:pt x="177855" y="535893"/>
                  </a:cubicBezTo>
                  <a:lnTo>
                    <a:pt x="156028" y="811712"/>
                  </a:lnTo>
                  <a:lnTo>
                    <a:pt x="227463" y="850406"/>
                  </a:lnTo>
                  <a:lnTo>
                    <a:pt x="230935" y="853383"/>
                  </a:lnTo>
                  <a:lnTo>
                    <a:pt x="230935" y="858343"/>
                  </a:lnTo>
                  <a:lnTo>
                    <a:pt x="222006" y="858343"/>
                  </a:lnTo>
                  <a:cubicBezTo>
                    <a:pt x="222006" y="858343"/>
                    <a:pt x="142633" y="852391"/>
                    <a:pt x="133704" y="846437"/>
                  </a:cubicBezTo>
                  <a:cubicBezTo>
                    <a:pt x="130231" y="825106"/>
                    <a:pt x="127751" y="811712"/>
                    <a:pt x="127751" y="811712"/>
                  </a:cubicBezTo>
                  <a:lnTo>
                    <a:pt x="124774" y="846437"/>
                  </a:lnTo>
                  <a:cubicBezTo>
                    <a:pt x="124774" y="846437"/>
                    <a:pt x="33496" y="876699"/>
                    <a:pt x="20598" y="866777"/>
                  </a:cubicBezTo>
                  <a:cubicBezTo>
                    <a:pt x="7700" y="856855"/>
                    <a:pt x="99971" y="811712"/>
                    <a:pt x="99971" y="811712"/>
                  </a:cubicBezTo>
                  <a:lnTo>
                    <a:pt x="51851" y="664873"/>
                  </a:lnTo>
                  <a:lnTo>
                    <a:pt x="137673" y="664873"/>
                  </a:lnTo>
                  <a:lnTo>
                    <a:pt x="137673" y="593438"/>
                  </a:lnTo>
                  <a:lnTo>
                    <a:pt x="110388" y="568138"/>
                  </a:lnTo>
                  <a:lnTo>
                    <a:pt x="21590" y="568138"/>
                  </a:lnTo>
                  <a:lnTo>
                    <a:pt x="20102" y="533412"/>
                  </a:lnTo>
                  <a:lnTo>
                    <a:pt x="12165" y="519026"/>
                  </a:lnTo>
                  <a:lnTo>
                    <a:pt x="259" y="522003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C80A4869-3A0D-A83A-F5E5-1B79A8FC23C7}"/>
                </a:ext>
              </a:extLst>
            </p:cNvPr>
            <p:cNvSpPr/>
            <p:nvPr/>
          </p:nvSpPr>
          <p:spPr>
            <a:xfrm>
              <a:off x="5802741" y="4702074"/>
              <a:ext cx="188509" cy="188509"/>
            </a:xfrm>
            <a:custGeom>
              <a:avLst/>
              <a:gdLst>
                <a:gd name="connsiteX0" fmla="*/ 139646 w 188509"/>
                <a:gd name="connsiteY0" fmla="*/ 140142 h 188509"/>
                <a:gd name="connsiteX1" fmla="*/ 178836 w 188509"/>
                <a:gd name="connsiteY1" fmla="*/ 134189 h 188509"/>
                <a:gd name="connsiteX2" fmla="*/ 178836 w 188509"/>
                <a:gd name="connsiteY2" fmla="*/ 87558 h 188509"/>
                <a:gd name="connsiteX3" fmla="*/ 156016 w 188509"/>
                <a:gd name="connsiteY3" fmla="*/ 77636 h 188509"/>
                <a:gd name="connsiteX4" fmla="*/ 162466 w 188509"/>
                <a:gd name="connsiteY4" fmla="*/ 72675 h 188509"/>
                <a:gd name="connsiteX5" fmla="*/ 162466 w 188509"/>
                <a:gd name="connsiteY5" fmla="*/ 26044 h 188509"/>
                <a:gd name="connsiteX6" fmla="*/ 115834 w 188509"/>
                <a:gd name="connsiteY6" fmla="*/ 26044 h 188509"/>
                <a:gd name="connsiteX7" fmla="*/ 110873 w 188509"/>
                <a:gd name="connsiteY7" fmla="*/ 32493 h 188509"/>
                <a:gd name="connsiteX8" fmla="*/ 101448 w 188509"/>
                <a:gd name="connsiteY8" fmla="*/ 9673 h 188509"/>
                <a:gd name="connsiteX9" fmla="*/ 54816 w 188509"/>
                <a:gd name="connsiteY9" fmla="*/ 9673 h 188509"/>
                <a:gd name="connsiteX10" fmla="*/ 49360 w 188509"/>
                <a:gd name="connsiteY10" fmla="*/ 49360 h 188509"/>
                <a:gd name="connsiteX11" fmla="*/ 9673 w 188509"/>
                <a:gd name="connsiteY11" fmla="*/ 54817 h 188509"/>
                <a:gd name="connsiteX12" fmla="*/ 9673 w 188509"/>
                <a:gd name="connsiteY12" fmla="*/ 101448 h 188509"/>
                <a:gd name="connsiteX13" fmla="*/ 32493 w 188509"/>
                <a:gd name="connsiteY13" fmla="*/ 110873 h 188509"/>
                <a:gd name="connsiteX14" fmla="*/ 26044 w 188509"/>
                <a:gd name="connsiteY14" fmla="*/ 115834 h 188509"/>
                <a:gd name="connsiteX15" fmla="*/ 26044 w 188509"/>
                <a:gd name="connsiteY15" fmla="*/ 162465 h 188509"/>
                <a:gd name="connsiteX16" fmla="*/ 72675 w 188509"/>
                <a:gd name="connsiteY16" fmla="*/ 162465 h 188509"/>
                <a:gd name="connsiteX17" fmla="*/ 77636 w 188509"/>
                <a:gd name="connsiteY17" fmla="*/ 156016 h 188509"/>
                <a:gd name="connsiteX18" fmla="*/ 87061 w 188509"/>
                <a:gd name="connsiteY18" fmla="*/ 178836 h 188509"/>
                <a:gd name="connsiteX19" fmla="*/ 133693 w 188509"/>
                <a:gd name="connsiteY19" fmla="*/ 178836 h 188509"/>
                <a:gd name="connsiteX20" fmla="*/ 139646 w 188509"/>
                <a:gd name="connsiteY20" fmla="*/ 140142 h 188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509" h="188509">
                  <a:moveTo>
                    <a:pt x="139646" y="140142"/>
                  </a:moveTo>
                  <a:cubicBezTo>
                    <a:pt x="152048" y="147087"/>
                    <a:pt x="167922" y="145103"/>
                    <a:pt x="178836" y="134189"/>
                  </a:cubicBezTo>
                  <a:cubicBezTo>
                    <a:pt x="191734" y="121291"/>
                    <a:pt x="191734" y="100456"/>
                    <a:pt x="178836" y="87558"/>
                  </a:cubicBezTo>
                  <a:cubicBezTo>
                    <a:pt x="172387" y="81109"/>
                    <a:pt x="164450" y="78132"/>
                    <a:pt x="156016" y="77636"/>
                  </a:cubicBezTo>
                  <a:cubicBezTo>
                    <a:pt x="158497" y="76148"/>
                    <a:pt x="160481" y="74660"/>
                    <a:pt x="162466" y="72675"/>
                  </a:cubicBezTo>
                  <a:cubicBezTo>
                    <a:pt x="175364" y="59777"/>
                    <a:pt x="175364" y="38942"/>
                    <a:pt x="162466" y="26044"/>
                  </a:cubicBezTo>
                  <a:cubicBezTo>
                    <a:pt x="149567" y="13146"/>
                    <a:pt x="128732" y="13146"/>
                    <a:pt x="115834" y="26044"/>
                  </a:cubicBezTo>
                  <a:cubicBezTo>
                    <a:pt x="113850" y="28028"/>
                    <a:pt x="112361" y="30013"/>
                    <a:pt x="110873" y="32493"/>
                  </a:cubicBezTo>
                  <a:cubicBezTo>
                    <a:pt x="110873" y="24060"/>
                    <a:pt x="107401" y="16122"/>
                    <a:pt x="101448" y="9673"/>
                  </a:cubicBezTo>
                  <a:cubicBezTo>
                    <a:pt x="88550" y="-3224"/>
                    <a:pt x="67714" y="-3224"/>
                    <a:pt x="54816" y="9673"/>
                  </a:cubicBezTo>
                  <a:cubicBezTo>
                    <a:pt x="43903" y="20587"/>
                    <a:pt x="42414" y="36958"/>
                    <a:pt x="49360" y="49360"/>
                  </a:cubicBezTo>
                  <a:cubicBezTo>
                    <a:pt x="36958" y="41918"/>
                    <a:pt x="20091" y="43903"/>
                    <a:pt x="9673" y="54817"/>
                  </a:cubicBezTo>
                  <a:cubicBezTo>
                    <a:pt x="-3224" y="67715"/>
                    <a:pt x="-3224" y="88550"/>
                    <a:pt x="9673" y="101448"/>
                  </a:cubicBezTo>
                  <a:cubicBezTo>
                    <a:pt x="16123" y="107897"/>
                    <a:pt x="24060" y="110873"/>
                    <a:pt x="32493" y="110873"/>
                  </a:cubicBezTo>
                  <a:cubicBezTo>
                    <a:pt x="30013" y="112362"/>
                    <a:pt x="28028" y="113850"/>
                    <a:pt x="26044" y="115834"/>
                  </a:cubicBezTo>
                  <a:cubicBezTo>
                    <a:pt x="13146" y="128732"/>
                    <a:pt x="13146" y="149567"/>
                    <a:pt x="26044" y="162465"/>
                  </a:cubicBezTo>
                  <a:cubicBezTo>
                    <a:pt x="38942" y="175364"/>
                    <a:pt x="59777" y="175364"/>
                    <a:pt x="72675" y="162465"/>
                  </a:cubicBezTo>
                  <a:cubicBezTo>
                    <a:pt x="74660" y="160481"/>
                    <a:pt x="76148" y="158001"/>
                    <a:pt x="77636" y="156016"/>
                  </a:cubicBezTo>
                  <a:cubicBezTo>
                    <a:pt x="77636" y="164450"/>
                    <a:pt x="81109" y="172387"/>
                    <a:pt x="87061" y="178836"/>
                  </a:cubicBezTo>
                  <a:cubicBezTo>
                    <a:pt x="99959" y="191734"/>
                    <a:pt x="120795" y="191734"/>
                    <a:pt x="133693" y="178836"/>
                  </a:cubicBezTo>
                  <a:cubicBezTo>
                    <a:pt x="144110" y="168418"/>
                    <a:pt x="146095" y="152544"/>
                    <a:pt x="139646" y="140142"/>
                  </a:cubicBez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21504F72-A23B-291B-5051-CFF9405AA898}"/>
                </a:ext>
              </a:extLst>
            </p:cNvPr>
            <p:cNvSpPr/>
            <p:nvPr/>
          </p:nvSpPr>
          <p:spPr>
            <a:xfrm>
              <a:off x="3915413" y="395274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4B128D3A-01AD-F2F5-9339-DD03418A89D9}"/>
                </a:ext>
              </a:extLst>
            </p:cNvPr>
            <p:cNvSpPr/>
            <p:nvPr/>
          </p:nvSpPr>
          <p:spPr>
            <a:xfrm>
              <a:off x="3856876" y="3952748"/>
              <a:ext cx="39686" cy="47127"/>
            </a:xfrm>
            <a:custGeom>
              <a:avLst/>
              <a:gdLst>
                <a:gd name="connsiteX0" fmla="*/ 0 w 39686"/>
                <a:gd name="connsiteY0" fmla="*/ 0 h 47127"/>
                <a:gd name="connsiteX1" fmla="*/ 39686 w 39686"/>
                <a:gd name="connsiteY1" fmla="*/ 0 h 47127"/>
                <a:gd name="connsiteX2" fmla="*/ 39686 w 39686"/>
                <a:gd name="connsiteY2" fmla="*/ 47127 h 47127"/>
                <a:gd name="connsiteX3" fmla="*/ 0 w 3968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686" h="47127">
                  <a:moveTo>
                    <a:pt x="0" y="0"/>
                  </a:moveTo>
                  <a:lnTo>
                    <a:pt x="39686" y="0"/>
                  </a:lnTo>
                  <a:lnTo>
                    <a:pt x="39686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00B4E35B-8CCE-9A00-BDD2-91F75A8F2D40}"/>
                </a:ext>
              </a:extLst>
            </p:cNvPr>
            <p:cNvSpPr/>
            <p:nvPr/>
          </p:nvSpPr>
          <p:spPr>
            <a:xfrm>
              <a:off x="3856876" y="3884786"/>
              <a:ext cx="108641" cy="47127"/>
            </a:xfrm>
            <a:custGeom>
              <a:avLst/>
              <a:gdLst>
                <a:gd name="connsiteX0" fmla="*/ 0 w 108641"/>
                <a:gd name="connsiteY0" fmla="*/ 0 h 47127"/>
                <a:gd name="connsiteX1" fmla="*/ 108641 w 108641"/>
                <a:gd name="connsiteY1" fmla="*/ 0 h 47127"/>
                <a:gd name="connsiteX2" fmla="*/ 108641 w 108641"/>
                <a:gd name="connsiteY2" fmla="*/ 47127 h 47127"/>
                <a:gd name="connsiteX3" fmla="*/ 0 w 108641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641" h="47127">
                  <a:moveTo>
                    <a:pt x="0" y="0"/>
                  </a:moveTo>
                  <a:lnTo>
                    <a:pt x="108641" y="0"/>
                  </a:lnTo>
                  <a:lnTo>
                    <a:pt x="108641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3DD0C007-5615-944B-74DE-5D145B647A6E}"/>
                </a:ext>
              </a:extLst>
            </p:cNvPr>
            <p:cNvSpPr/>
            <p:nvPr/>
          </p:nvSpPr>
          <p:spPr>
            <a:xfrm>
              <a:off x="3982879" y="3884786"/>
              <a:ext cx="78876" cy="47127"/>
            </a:xfrm>
            <a:custGeom>
              <a:avLst/>
              <a:gdLst>
                <a:gd name="connsiteX0" fmla="*/ 0 w 78876"/>
                <a:gd name="connsiteY0" fmla="*/ 0 h 47127"/>
                <a:gd name="connsiteX1" fmla="*/ 78877 w 78876"/>
                <a:gd name="connsiteY1" fmla="*/ 0 h 47127"/>
                <a:gd name="connsiteX2" fmla="*/ 78877 w 78876"/>
                <a:gd name="connsiteY2" fmla="*/ 47127 h 47127"/>
                <a:gd name="connsiteX3" fmla="*/ 0 w 7887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876" h="47127">
                  <a:moveTo>
                    <a:pt x="0" y="0"/>
                  </a:moveTo>
                  <a:lnTo>
                    <a:pt x="78877" y="0"/>
                  </a:lnTo>
                  <a:lnTo>
                    <a:pt x="7887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CDAC8EE4-D220-F45D-3FAE-F087F9D5FE81}"/>
                </a:ext>
              </a:extLst>
            </p:cNvPr>
            <p:cNvSpPr/>
            <p:nvPr/>
          </p:nvSpPr>
          <p:spPr>
            <a:xfrm>
              <a:off x="3965517" y="233603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897588C3-DFB6-4E4C-4F1D-549902B8592F}"/>
                </a:ext>
              </a:extLst>
            </p:cNvPr>
            <p:cNvSpPr/>
            <p:nvPr/>
          </p:nvSpPr>
          <p:spPr>
            <a:xfrm>
              <a:off x="4029511" y="23965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7637B165-FF4A-ED79-30C1-11D8500FC61F}"/>
                </a:ext>
              </a:extLst>
            </p:cNvPr>
            <p:cNvSpPr/>
            <p:nvPr/>
          </p:nvSpPr>
          <p:spPr>
            <a:xfrm>
              <a:off x="3890609" y="23965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9DE1080D-F897-E384-A39E-60BD66EBD30F}"/>
                </a:ext>
              </a:extLst>
            </p:cNvPr>
            <p:cNvSpPr/>
            <p:nvPr/>
          </p:nvSpPr>
          <p:spPr>
            <a:xfrm>
              <a:off x="5456341" y="4547103"/>
              <a:ext cx="472652" cy="544144"/>
            </a:xfrm>
            <a:custGeom>
              <a:avLst/>
              <a:gdLst>
                <a:gd name="connsiteX0" fmla="*/ 250409 w 472652"/>
                <a:gd name="connsiteY0" fmla="*/ 544144 h 544144"/>
                <a:gd name="connsiteX1" fmla="*/ 245448 w 472652"/>
                <a:gd name="connsiteY1" fmla="*/ 353650 h 544144"/>
                <a:gd name="connsiteX2" fmla="*/ 427509 w 472652"/>
                <a:gd name="connsiteY2" fmla="*/ 507931 h 544144"/>
                <a:gd name="connsiteX3" fmla="*/ 445864 w 472652"/>
                <a:gd name="connsiteY3" fmla="*/ 542656 h 544144"/>
                <a:gd name="connsiteX4" fmla="*/ 472652 w 472652"/>
                <a:gd name="connsiteY4" fmla="*/ 508923 h 544144"/>
                <a:gd name="connsiteX5" fmla="*/ 450824 w 472652"/>
                <a:gd name="connsiteY5" fmla="*/ 474693 h 544144"/>
                <a:gd name="connsiteX6" fmla="*/ 437927 w 472652"/>
                <a:gd name="connsiteY6" fmla="*/ 481638 h 544144"/>
                <a:gd name="connsiteX7" fmla="*/ 317876 w 472652"/>
                <a:gd name="connsiteY7" fmla="*/ 349682 h 544144"/>
                <a:gd name="connsiteX8" fmla="*/ 220148 w 472652"/>
                <a:gd name="connsiteY8" fmla="*/ 190441 h 544144"/>
                <a:gd name="connsiteX9" fmla="*/ 224613 w 472652"/>
                <a:gd name="connsiteY9" fmla="*/ 88745 h 544144"/>
                <a:gd name="connsiteX10" fmla="*/ 258346 w 472652"/>
                <a:gd name="connsiteY10" fmla="*/ 21278 h 544144"/>
                <a:gd name="connsiteX11" fmla="*/ 150201 w 472652"/>
                <a:gd name="connsiteY11" fmla="*/ 30703 h 544144"/>
                <a:gd name="connsiteX12" fmla="*/ 72317 w 472652"/>
                <a:gd name="connsiteY12" fmla="*/ 5404 h 544144"/>
                <a:gd name="connsiteX13" fmla="*/ 46025 w 472652"/>
                <a:gd name="connsiteY13" fmla="*/ 98666 h 544144"/>
                <a:gd name="connsiteX14" fmla="*/ 6339 w 472652"/>
                <a:gd name="connsiteY14" fmla="*/ 182007 h 544144"/>
                <a:gd name="connsiteX15" fmla="*/ 57931 w 472652"/>
                <a:gd name="connsiteY15" fmla="*/ 184984 h 544144"/>
                <a:gd name="connsiteX16" fmla="*/ 80750 w 472652"/>
                <a:gd name="connsiteY16" fmla="*/ 225166 h 544144"/>
                <a:gd name="connsiteX17" fmla="*/ 386 w 472652"/>
                <a:gd name="connsiteY17" fmla="*/ 359107 h 544144"/>
                <a:gd name="connsiteX18" fmla="*/ 147225 w 472652"/>
                <a:gd name="connsiteY18" fmla="*/ 521325 h 544144"/>
                <a:gd name="connsiteX19" fmla="*/ 60907 w 472652"/>
                <a:gd name="connsiteY19" fmla="*/ 374982 h 544144"/>
                <a:gd name="connsiteX20" fmla="*/ 87199 w 472652"/>
                <a:gd name="connsiteY20" fmla="*/ 347697 h 544144"/>
                <a:gd name="connsiteX21" fmla="*/ 82735 w 472652"/>
                <a:gd name="connsiteY21" fmla="*/ 399786 h 544144"/>
                <a:gd name="connsiteX22" fmla="*/ 159131 w 472652"/>
                <a:gd name="connsiteY22" fmla="*/ 501978 h 544144"/>
                <a:gd name="connsiteX23" fmla="*/ 167068 w 472652"/>
                <a:gd name="connsiteY23" fmla="*/ 492552 h 544144"/>
                <a:gd name="connsiteX24" fmla="*/ 198817 w 472652"/>
                <a:gd name="connsiteY24" fmla="*/ 512891 h 544144"/>
                <a:gd name="connsiteX25" fmla="*/ 250409 w 472652"/>
                <a:gd name="connsiteY25" fmla="*/ 544144 h 544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72652" h="544144">
                  <a:moveTo>
                    <a:pt x="250409" y="544144"/>
                  </a:moveTo>
                  <a:lnTo>
                    <a:pt x="245448" y="353650"/>
                  </a:lnTo>
                  <a:lnTo>
                    <a:pt x="427509" y="507931"/>
                  </a:lnTo>
                  <a:cubicBezTo>
                    <a:pt x="427509" y="507931"/>
                    <a:pt x="433958" y="539680"/>
                    <a:pt x="445864" y="542656"/>
                  </a:cubicBezTo>
                  <a:cubicBezTo>
                    <a:pt x="457770" y="545632"/>
                    <a:pt x="472652" y="534223"/>
                    <a:pt x="472652" y="508923"/>
                  </a:cubicBezTo>
                  <a:cubicBezTo>
                    <a:pt x="472652" y="483623"/>
                    <a:pt x="458762" y="472213"/>
                    <a:pt x="450824" y="474693"/>
                  </a:cubicBezTo>
                  <a:cubicBezTo>
                    <a:pt x="442887" y="477174"/>
                    <a:pt x="437927" y="481638"/>
                    <a:pt x="437927" y="481638"/>
                  </a:cubicBezTo>
                  <a:lnTo>
                    <a:pt x="317876" y="349682"/>
                  </a:lnTo>
                  <a:lnTo>
                    <a:pt x="220148" y="190441"/>
                  </a:lnTo>
                  <a:cubicBezTo>
                    <a:pt x="220148" y="190441"/>
                    <a:pt x="241480" y="139841"/>
                    <a:pt x="224613" y="88745"/>
                  </a:cubicBezTo>
                  <a:cubicBezTo>
                    <a:pt x="237511" y="74855"/>
                    <a:pt x="269756" y="39137"/>
                    <a:pt x="258346" y="21278"/>
                  </a:cubicBezTo>
                  <a:cubicBezTo>
                    <a:pt x="246937" y="3419"/>
                    <a:pt x="214692" y="443"/>
                    <a:pt x="150201" y="30703"/>
                  </a:cubicBezTo>
                  <a:cubicBezTo>
                    <a:pt x="150201" y="30703"/>
                    <a:pt x="106050" y="-15432"/>
                    <a:pt x="72317" y="5404"/>
                  </a:cubicBezTo>
                  <a:cubicBezTo>
                    <a:pt x="38584" y="26735"/>
                    <a:pt x="47017" y="52035"/>
                    <a:pt x="46025" y="98666"/>
                  </a:cubicBezTo>
                  <a:cubicBezTo>
                    <a:pt x="46025" y="98666"/>
                    <a:pt x="-16481" y="154723"/>
                    <a:pt x="6339" y="182007"/>
                  </a:cubicBezTo>
                  <a:cubicBezTo>
                    <a:pt x="19733" y="197386"/>
                    <a:pt x="57931" y="184984"/>
                    <a:pt x="57931" y="184984"/>
                  </a:cubicBezTo>
                  <a:cubicBezTo>
                    <a:pt x="57931" y="184984"/>
                    <a:pt x="71325" y="219213"/>
                    <a:pt x="80750" y="225166"/>
                  </a:cubicBezTo>
                  <a:cubicBezTo>
                    <a:pt x="70333" y="233599"/>
                    <a:pt x="-6063" y="337776"/>
                    <a:pt x="386" y="359107"/>
                  </a:cubicBezTo>
                  <a:cubicBezTo>
                    <a:pt x="6835" y="380438"/>
                    <a:pt x="90672" y="497017"/>
                    <a:pt x="147225" y="521325"/>
                  </a:cubicBezTo>
                  <a:cubicBezTo>
                    <a:pt x="214196" y="550593"/>
                    <a:pt x="57931" y="382919"/>
                    <a:pt x="60907" y="374982"/>
                  </a:cubicBezTo>
                  <a:lnTo>
                    <a:pt x="87199" y="347697"/>
                  </a:lnTo>
                  <a:lnTo>
                    <a:pt x="82735" y="399786"/>
                  </a:lnTo>
                  <a:lnTo>
                    <a:pt x="159131" y="501978"/>
                  </a:lnTo>
                  <a:lnTo>
                    <a:pt x="167068" y="492552"/>
                  </a:lnTo>
                  <a:lnTo>
                    <a:pt x="198817" y="512891"/>
                  </a:lnTo>
                  <a:lnTo>
                    <a:pt x="250409" y="544144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6BB19918-77F5-AA89-9C4A-96ADF8B4F041}"/>
                </a:ext>
              </a:extLst>
            </p:cNvPr>
            <p:cNvSpPr/>
            <p:nvPr/>
          </p:nvSpPr>
          <p:spPr>
            <a:xfrm>
              <a:off x="5457172" y="4547103"/>
              <a:ext cx="259287" cy="189448"/>
            </a:xfrm>
            <a:custGeom>
              <a:avLst/>
              <a:gdLst>
                <a:gd name="connsiteX0" fmla="*/ 232216 w 259287"/>
                <a:gd name="connsiteY0" fmla="*/ 78327 h 189448"/>
                <a:gd name="connsiteX1" fmla="*/ 257019 w 259287"/>
                <a:gd name="connsiteY1" fmla="*/ 21278 h 189448"/>
                <a:gd name="connsiteX2" fmla="*/ 148875 w 259287"/>
                <a:gd name="connsiteY2" fmla="*/ 30703 h 189448"/>
                <a:gd name="connsiteX3" fmla="*/ 70990 w 259287"/>
                <a:gd name="connsiteY3" fmla="*/ 5404 h 189448"/>
                <a:gd name="connsiteX4" fmla="*/ 44698 w 259287"/>
                <a:gd name="connsiteY4" fmla="*/ 98666 h 189448"/>
                <a:gd name="connsiteX5" fmla="*/ 5012 w 259287"/>
                <a:gd name="connsiteY5" fmla="*/ 182007 h 189448"/>
                <a:gd name="connsiteX6" fmla="*/ 13941 w 259287"/>
                <a:gd name="connsiteY6" fmla="*/ 187464 h 189448"/>
                <a:gd name="connsiteX7" fmla="*/ 30808 w 259287"/>
                <a:gd name="connsiteY7" fmla="*/ 189448 h 189448"/>
                <a:gd name="connsiteX8" fmla="*/ 30808 w 259287"/>
                <a:gd name="connsiteY8" fmla="*/ 189448 h 189448"/>
                <a:gd name="connsiteX9" fmla="*/ 50651 w 259287"/>
                <a:gd name="connsiteY9" fmla="*/ 186472 h 189448"/>
                <a:gd name="connsiteX10" fmla="*/ 56604 w 259287"/>
                <a:gd name="connsiteY10" fmla="*/ 184984 h 189448"/>
                <a:gd name="connsiteX11" fmla="*/ 57100 w 259287"/>
                <a:gd name="connsiteY11" fmla="*/ 185480 h 189448"/>
                <a:gd name="connsiteX12" fmla="*/ 64541 w 259287"/>
                <a:gd name="connsiteY12" fmla="*/ 184488 h 189448"/>
                <a:gd name="connsiteX13" fmla="*/ 134984 w 259287"/>
                <a:gd name="connsiteY13" fmla="*/ 154227 h 189448"/>
                <a:gd name="connsiteX14" fmla="*/ 201955 w 259287"/>
                <a:gd name="connsiteY14" fmla="*/ 108092 h 189448"/>
                <a:gd name="connsiteX15" fmla="*/ 232216 w 259287"/>
                <a:gd name="connsiteY15" fmla="*/ 78327 h 18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9287" h="189448">
                  <a:moveTo>
                    <a:pt x="232216" y="78327"/>
                  </a:moveTo>
                  <a:cubicBezTo>
                    <a:pt x="246602" y="61460"/>
                    <a:pt x="265949" y="35664"/>
                    <a:pt x="257019" y="21278"/>
                  </a:cubicBezTo>
                  <a:cubicBezTo>
                    <a:pt x="245610" y="3419"/>
                    <a:pt x="213365" y="443"/>
                    <a:pt x="148875" y="30703"/>
                  </a:cubicBezTo>
                  <a:cubicBezTo>
                    <a:pt x="148875" y="30703"/>
                    <a:pt x="104723" y="-15432"/>
                    <a:pt x="70990" y="5404"/>
                  </a:cubicBezTo>
                  <a:cubicBezTo>
                    <a:pt x="37257" y="26735"/>
                    <a:pt x="45690" y="52035"/>
                    <a:pt x="44698" y="98666"/>
                  </a:cubicBezTo>
                  <a:cubicBezTo>
                    <a:pt x="44698" y="98666"/>
                    <a:pt x="-17808" y="154723"/>
                    <a:pt x="5012" y="182007"/>
                  </a:cubicBezTo>
                  <a:cubicBezTo>
                    <a:pt x="7492" y="184488"/>
                    <a:pt x="10469" y="186472"/>
                    <a:pt x="13941" y="187464"/>
                  </a:cubicBezTo>
                  <a:lnTo>
                    <a:pt x="30808" y="189448"/>
                  </a:lnTo>
                  <a:cubicBezTo>
                    <a:pt x="30808" y="189448"/>
                    <a:pt x="30808" y="189448"/>
                    <a:pt x="30808" y="189448"/>
                  </a:cubicBezTo>
                  <a:lnTo>
                    <a:pt x="50651" y="186472"/>
                  </a:lnTo>
                  <a:cubicBezTo>
                    <a:pt x="54123" y="185480"/>
                    <a:pt x="56604" y="184984"/>
                    <a:pt x="56604" y="184984"/>
                  </a:cubicBezTo>
                  <a:cubicBezTo>
                    <a:pt x="56604" y="184984"/>
                    <a:pt x="56604" y="185480"/>
                    <a:pt x="57100" y="185480"/>
                  </a:cubicBezTo>
                  <a:lnTo>
                    <a:pt x="64541" y="184488"/>
                  </a:lnTo>
                  <a:lnTo>
                    <a:pt x="134984" y="154227"/>
                  </a:lnTo>
                  <a:lnTo>
                    <a:pt x="201955" y="108092"/>
                  </a:lnTo>
                  <a:lnTo>
                    <a:pt x="232216" y="783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B9C782FB-57C6-F51A-E0F7-6EAE8F49E276}"/>
                </a:ext>
              </a:extLst>
            </p:cNvPr>
            <p:cNvSpPr/>
            <p:nvPr/>
          </p:nvSpPr>
          <p:spPr>
            <a:xfrm>
              <a:off x="5577274" y="5050569"/>
              <a:ext cx="205376" cy="153288"/>
            </a:xfrm>
            <a:custGeom>
              <a:avLst/>
              <a:gdLst>
                <a:gd name="connsiteX0" fmla="*/ 77388 w 205376"/>
                <a:gd name="connsiteY0" fmla="*/ 9922 h 153288"/>
                <a:gd name="connsiteX1" fmla="*/ 0 w 205376"/>
                <a:gd name="connsiteY1" fmla="*/ 80861 h 153288"/>
                <a:gd name="connsiteX2" fmla="*/ 74412 w 205376"/>
                <a:gd name="connsiteY2" fmla="*/ 153288 h 153288"/>
                <a:gd name="connsiteX3" fmla="*/ 105665 w 205376"/>
                <a:gd name="connsiteY3" fmla="*/ 117571 h 153288"/>
                <a:gd name="connsiteX4" fmla="*/ 173131 w 205376"/>
                <a:gd name="connsiteY4" fmla="*/ 118067 h 153288"/>
                <a:gd name="connsiteX5" fmla="*/ 205376 w 205376"/>
                <a:gd name="connsiteY5" fmla="*/ 135430 h 153288"/>
                <a:gd name="connsiteX6" fmla="*/ 205376 w 205376"/>
                <a:gd name="connsiteY6" fmla="*/ 77885 h 153288"/>
                <a:gd name="connsiteX7" fmla="*/ 175612 w 205376"/>
                <a:gd name="connsiteY7" fmla="*/ 94751 h 153288"/>
                <a:gd name="connsiteX8" fmla="*/ 130469 w 205376"/>
                <a:gd name="connsiteY8" fmla="*/ 91774 h 153288"/>
                <a:gd name="connsiteX9" fmla="*/ 152296 w 205376"/>
                <a:gd name="connsiteY9" fmla="*/ 63002 h 153288"/>
                <a:gd name="connsiteX10" fmla="*/ 129477 w 205376"/>
                <a:gd name="connsiteY10" fmla="*/ 41175 h 153288"/>
                <a:gd name="connsiteX11" fmla="*/ 89790 w 205376"/>
                <a:gd name="connsiteY11" fmla="*/ 0 h 153288"/>
                <a:gd name="connsiteX12" fmla="*/ 77388 w 205376"/>
                <a:gd name="connsiteY12" fmla="*/ 9922 h 15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376" h="153288">
                  <a:moveTo>
                    <a:pt x="77388" y="9922"/>
                  </a:moveTo>
                  <a:lnTo>
                    <a:pt x="0" y="80861"/>
                  </a:lnTo>
                  <a:lnTo>
                    <a:pt x="74412" y="153288"/>
                  </a:lnTo>
                  <a:lnTo>
                    <a:pt x="105665" y="117571"/>
                  </a:lnTo>
                  <a:lnTo>
                    <a:pt x="173131" y="118067"/>
                  </a:lnTo>
                  <a:cubicBezTo>
                    <a:pt x="173131" y="118067"/>
                    <a:pt x="191982" y="139894"/>
                    <a:pt x="205376" y="135430"/>
                  </a:cubicBezTo>
                  <a:cubicBezTo>
                    <a:pt x="205376" y="79868"/>
                    <a:pt x="205376" y="77885"/>
                    <a:pt x="205376" y="77885"/>
                  </a:cubicBezTo>
                  <a:cubicBezTo>
                    <a:pt x="205376" y="77885"/>
                    <a:pt x="187021" y="76396"/>
                    <a:pt x="175612" y="94751"/>
                  </a:cubicBezTo>
                  <a:cubicBezTo>
                    <a:pt x="152296" y="88302"/>
                    <a:pt x="130469" y="91774"/>
                    <a:pt x="130469" y="91774"/>
                  </a:cubicBezTo>
                  <a:cubicBezTo>
                    <a:pt x="128484" y="82845"/>
                    <a:pt x="155769" y="65979"/>
                    <a:pt x="152296" y="63002"/>
                  </a:cubicBezTo>
                  <a:cubicBezTo>
                    <a:pt x="156265" y="63002"/>
                    <a:pt x="129477" y="41175"/>
                    <a:pt x="129477" y="41175"/>
                  </a:cubicBezTo>
                  <a:lnTo>
                    <a:pt x="89790" y="0"/>
                  </a:lnTo>
                  <a:lnTo>
                    <a:pt x="77388" y="9922"/>
                  </a:ln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2431C180-6B12-F5EA-4BF3-F9BD1E45B825}"/>
                </a:ext>
              </a:extLst>
            </p:cNvPr>
            <p:cNvSpPr/>
            <p:nvPr/>
          </p:nvSpPr>
          <p:spPr>
            <a:xfrm>
              <a:off x="5868968" y="4765820"/>
              <a:ext cx="66474" cy="66474"/>
            </a:xfrm>
            <a:custGeom>
              <a:avLst/>
              <a:gdLst>
                <a:gd name="connsiteX0" fmla="*/ 66475 w 66474"/>
                <a:gd name="connsiteY0" fmla="*/ 33237 h 66474"/>
                <a:gd name="connsiteX1" fmla="*/ 33238 w 66474"/>
                <a:gd name="connsiteY1" fmla="*/ 66475 h 66474"/>
                <a:gd name="connsiteX2" fmla="*/ 1 w 66474"/>
                <a:gd name="connsiteY2" fmla="*/ 33237 h 66474"/>
                <a:gd name="connsiteX3" fmla="*/ 33238 w 66474"/>
                <a:gd name="connsiteY3" fmla="*/ 0 h 66474"/>
                <a:gd name="connsiteX4" fmla="*/ 66475 w 66474"/>
                <a:gd name="connsiteY4" fmla="*/ 33237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74" h="66474">
                  <a:moveTo>
                    <a:pt x="66475" y="33237"/>
                  </a:moveTo>
                  <a:cubicBezTo>
                    <a:pt x="66475" y="51594"/>
                    <a:pt x="51594" y="66475"/>
                    <a:pt x="33238" y="66475"/>
                  </a:cubicBezTo>
                  <a:cubicBezTo>
                    <a:pt x="14881" y="66475"/>
                    <a:pt x="1" y="51594"/>
                    <a:pt x="1" y="33237"/>
                  </a:cubicBezTo>
                  <a:cubicBezTo>
                    <a:pt x="1" y="14881"/>
                    <a:pt x="14881" y="0"/>
                    <a:pt x="33238" y="0"/>
                  </a:cubicBezTo>
                  <a:cubicBezTo>
                    <a:pt x="51594" y="0"/>
                    <a:pt x="66475" y="14881"/>
                    <a:pt x="66475" y="33237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D195DD17-CBFD-CC46-1CC4-BE1E0255CA9D}"/>
                </a:ext>
              </a:extLst>
            </p:cNvPr>
            <p:cNvSpPr/>
            <p:nvPr/>
          </p:nvSpPr>
          <p:spPr>
            <a:xfrm>
              <a:off x="4691775" y="2636154"/>
              <a:ext cx="102046" cy="91281"/>
            </a:xfrm>
            <a:custGeom>
              <a:avLst/>
              <a:gdLst>
                <a:gd name="connsiteX0" fmla="*/ 27284 w 102046"/>
                <a:gd name="connsiteY0" fmla="*/ 56556 h 91281"/>
                <a:gd name="connsiteX1" fmla="*/ 91278 w 102046"/>
                <a:gd name="connsiteY1" fmla="*/ 91282 h 91281"/>
                <a:gd name="connsiteX2" fmla="*/ 84333 w 102046"/>
                <a:gd name="connsiteY2" fmla="*/ 42666 h 91281"/>
                <a:gd name="connsiteX3" fmla="*/ 61514 w 102046"/>
                <a:gd name="connsiteY3" fmla="*/ 11413 h 91281"/>
                <a:gd name="connsiteX4" fmla="*/ 65482 w 102046"/>
                <a:gd name="connsiteY4" fmla="*/ 4 h 91281"/>
                <a:gd name="connsiteX5" fmla="*/ 0 w 102046"/>
                <a:gd name="connsiteY5" fmla="*/ 4 h 91281"/>
                <a:gd name="connsiteX6" fmla="*/ 27284 w 102046"/>
                <a:gd name="connsiteY6" fmla="*/ 56556 h 9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046" h="91281">
                  <a:moveTo>
                    <a:pt x="27284" y="56556"/>
                  </a:moveTo>
                  <a:cubicBezTo>
                    <a:pt x="79372" y="58045"/>
                    <a:pt x="79372" y="73919"/>
                    <a:pt x="91278" y="91282"/>
                  </a:cubicBezTo>
                  <a:cubicBezTo>
                    <a:pt x="114594" y="73919"/>
                    <a:pt x="94255" y="49611"/>
                    <a:pt x="84333" y="42666"/>
                  </a:cubicBezTo>
                  <a:cubicBezTo>
                    <a:pt x="74412" y="35225"/>
                    <a:pt x="62010" y="15382"/>
                    <a:pt x="61514" y="11413"/>
                  </a:cubicBezTo>
                  <a:cubicBezTo>
                    <a:pt x="61018" y="7445"/>
                    <a:pt x="65482" y="4"/>
                    <a:pt x="65482" y="4"/>
                  </a:cubicBezTo>
                  <a:lnTo>
                    <a:pt x="0" y="4"/>
                  </a:lnTo>
                  <a:cubicBezTo>
                    <a:pt x="0" y="-493"/>
                    <a:pt x="11410" y="49115"/>
                    <a:pt x="27284" y="56556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239D6C37-944E-FBBB-BE48-8FF873E19CAD}"/>
                </a:ext>
              </a:extLst>
            </p:cNvPr>
            <p:cNvSpPr/>
            <p:nvPr/>
          </p:nvSpPr>
          <p:spPr>
            <a:xfrm>
              <a:off x="4730965" y="2636654"/>
              <a:ext cx="97231" cy="158744"/>
            </a:xfrm>
            <a:custGeom>
              <a:avLst/>
              <a:gdLst>
                <a:gd name="connsiteX0" fmla="*/ 56057 w 97231"/>
                <a:gd name="connsiteY0" fmla="*/ 0 h 158744"/>
                <a:gd name="connsiteX1" fmla="*/ 97231 w 97231"/>
                <a:gd name="connsiteY1" fmla="*/ 0 h 158744"/>
                <a:gd name="connsiteX2" fmla="*/ 97231 w 97231"/>
                <a:gd name="connsiteY2" fmla="*/ 158745 h 158744"/>
                <a:gd name="connsiteX3" fmla="*/ 0 w 97231"/>
                <a:gd name="connsiteY3" fmla="*/ 158745 h 158744"/>
                <a:gd name="connsiteX4" fmla="*/ 3969 w 97231"/>
                <a:gd name="connsiteY4" fmla="*/ 153288 h 158744"/>
                <a:gd name="connsiteX5" fmla="*/ 35718 w 97231"/>
                <a:gd name="connsiteY5" fmla="*/ 150312 h 158744"/>
                <a:gd name="connsiteX6" fmla="*/ 51592 w 97231"/>
                <a:gd name="connsiteY6" fmla="*/ 142870 h 158744"/>
                <a:gd name="connsiteX7" fmla="*/ 69947 w 97231"/>
                <a:gd name="connsiteY7" fmla="*/ 123027 h 158744"/>
                <a:gd name="connsiteX8" fmla="*/ 80861 w 97231"/>
                <a:gd name="connsiteY8" fmla="*/ 101200 h 158744"/>
                <a:gd name="connsiteX9" fmla="*/ 83341 w 97231"/>
                <a:gd name="connsiteY9" fmla="*/ 80861 h 158744"/>
                <a:gd name="connsiteX10" fmla="*/ 79868 w 97231"/>
                <a:gd name="connsiteY10" fmla="*/ 52088 h 158744"/>
                <a:gd name="connsiteX11" fmla="*/ 67963 w 97231"/>
                <a:gd name="connsiteY11" fmla="*/ 36214 h 158744"/>
                <a:gd name="connsiteX12" fmla="*/ 48616 w 97231"/>
                <a:gd name="connsiteY12" fmla="*/ 21828 h 158744"/>
                <a:gd name="connsiteX13" fmla="*/ 45639 w 97231"/>
                <a:gd name="connsiteY13" fmla="*/ 13890 h 158744"/>
                <a:gd name="connsiteX14" fmla="*/ 50104 w 97231"/>
                <a:gd name="connsiteY14" fmla="*/ 3969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7231" h="158744">
                  <a:moveTo>
                    <a:pt x="56057" y="0"/>
                  </a:moveTo>
                  <a:lnTo>
                    <a:pt x="97231" y="0"/>
                  </a:lnTo>
                  <a:lnTo>
                    <a:pt x="97231" y="158745"/>
                  </a:lnTo>
                  <a:lnTo>
                    <a:pt x="0" y="158745"/>
                  </a:lnTo>
                  <a:lnTo>
                    <a:pt x="3969" y="153288"/>
                  </a:lnTo>
                  <a:lnTo>
                    <a:pt x="35718" y="150312"/>
                  </a:lnTo>
                  <a:lnTo>
                    <a:pt x="51592" y="142870"/>
                  </a:lnTo>
                  <a:lnTo>
                    <a:pt x="69947" y="123027"/>
                  </a:lnTo>
                  <a:lnTo>
                    <a:pt x="80861" y="101200"/>
                  </a:lnTo>
                  <a:lnTo>
                    <a:pt x="83341" y="80861"/>
                  </a:lnTo>
                  <a:lnTo>
                    <a:pt x="79868" y="52088"/>
                  </a:lnTo>
                  <a:lnTo>
                    <a:pt x="67963" y="36214"/>
                  </a:lnTo>
                  <a:lnTo>
                    <a:pt x="48616" y="21828"/>
                  </a:lnTo>
                  <a:lnTo>
                    <a:pt x="45639" y="13890"/>
                  </a:lnTo>
                  <a:lnTo>
                    <a:pt x="50104" y="3969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D066FE93-DF67-D6AB-6191-E180FF818573}"/>
                </a:ext>
              </a:extLst>
            </p:cNvPr>
            <p:cNvSpPr/>
            <p:nvPr/>
          </p:nvSpPr>
          <p:spPr>
            <a:xfrm>
              <a:off x="3989824" y="3750845"/>
              <a:ext cx="120546" cy="10913"/>
            </a:xfrm>
            <a:custGeom>
              <a:avLst/>
              <a:gdLst>
                <a:gd name="connsiteX0" fmla="*/ 0 w 120546"/>
                <a:gd name="connsiteY0" fmla="*/ 0 h 10913"/>
                <a:gd name="connsiteX1" fmla="*/ 120547 w 120546"/>
                <a:gd name="connsiteY1" fmla="*/ 0 h 10913"/>
                <a:gd name="connsiteX2" fmla="*/ 120547 w 120546"/>
                <a:gd name="connsiteY2" fmla="*/ 10914 h 10913"/>
                <a:gd name="connsiteX3" fmla="*/ 0 w 120546"/>
                <a:gd name="connsiteY3" fmla="*/ 10914 h 10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10913">
                  <a:moveTo>
                    <a:pt x="0" y="0"/>
                  </a:moveTo>
                  <a:lnTo>
                    <a:pt x="120547" y="0"/>
                  </a:lnTo>
                  <a:lnTo>
                    <a:pt x="120547" y="10914"/>
                  </a:lnTo>
                  <a:lnTo>
                    <a:pt x="0" y="10914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1685615E-EC4E-42D1-3FD2-E8F50D29C66C}"/>
                </a:ext>
              </a:extLst>
            </p:cNvPr>
            <p:cNvSpPr/>
            <p:nvPr/>
          </p:nvSpPr>
          <p:spPr>
            <a:xfrm>
              <a:off x="3959068" y="3700245"/>
              <a:ext cx="120546" cy="10913"/>
            </a:xfrm>
            <a:custGeom>
              <a:avLst/>
              <a:gdLst>
                <a:gd name="connsiteX0" fmla="*/ 0 w 120546"/>
                <a:gd name="connsiteY0" fmla="*/ 0 h 10913"/>
                <a:gd name="connsiteX1" fmla="*/ 120547 w 120546"/>
                <a:gd name="connsiteY1" fmla="*/ 0 h 10913"/>
                <a:gd name="connsiteX2" fmla="*/ 120547 w 120546"/>
                <a:gd name="connsiteY2" fmla="*/ 10914 h 10913"/>
                <a:gd name="connsiteX3" fmla="*/ 0 w 120546"/>
                <a:gd name="connsiteY3" fmla="*/ 10914 h 10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10913">
                  <a:moveTo>
                    <a:pt x="0" y="0"/>
                  </a:moveTo>
                  <a:lnTo>
                    <a:pt x="120547" y="0"/>
                  </a:lnTo>
                  <a:lnTo>
                    <a:pt x="120547" y="10914"/>
                  </a:lnTo>
                  <a:lnTo>
                    <a:pt x="0" y="10914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D734C57F-4BB2-047A-C671-1E717A57B03B}"/>
                </a:ext>
              </a:extLst>
            </p:cNvPr>
            <p:cNvSpPr/>
            <p:nvPr/>
          </p:nvSpPr>
          <p:spPr>
            <a:xfrm rot="5400000">
              <a:off x="3987989" y="3723733"/>
              <a:ext cx="45143" cy="12401"/>
            </a:xfrm>
            <a:custGeom>
              <a:avLst/>
              <a:gdLst>
                <a:gd name="connsiteX0" fmla="*/ 0 w 45143"/>
                <a:gd name="connsiteY0" fmla="*/ 0 h 12401"/>
                <a:gd name="connsiteX1" fmla="*/ 45143 w 45143"/>
                <a:gd name="connsiteY1" fmla="*/ 0 h 12401"/>
                <a:gd name="connsiteX2" fmla="*/ 45143 w 45143"/>
                <a:gd name="connsiteY2" fmla="*/ 12402 h 12401"/>
                <a:gd name="connsiteX3" fmla="*/ 0 w 45143"/>
                <a:gd name="connsiteY3" fmla="*/ 12402 h 1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43" h="12401">
                  <a:moveTo>
                    <a:pt x="0" y="0"/>
                  </a:moveTo>
                  <a:lnTo>
                    <a:pt x="45143" y="0"/>
                  </a:lnTo>
                  <a:lnTo>
                    <a:pt x="45143" y="12402"/>
                  </a:lnTo>
                  <a:lnTo>
                    <a:pt x="0" y="12402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33F26B5-205E-1148-8C9B-B4ADBD6F38E3}"/>
                </a:ext>
              </a:extLst>
            </p:cNvPr>
            <p:cNvSpPr/>
            <p:nvPr/>
          </p:nvSpPr>
          <p:spPr>
            <a:xfrm>
              <a:off x="3915413" y="1851362"/>
              <a:ext cx="1062598" cy="346758"/>
            </a:xfrm>
            <a:custGeom>
              <a:avLst/>
              <a:gdLst>
                <a:gd name="connsiteX0" fmla="*/ 343286 w 1062598"/>
                <a:gd name="connsiteY0" fmla="*/ 992 h 346758"/>
                <a:gd name="connsiteX1" fmla="*/ 0 w 1062598"/>
                <a:gd name="connsiteY1" fmla="*/ 346758 h 346758"/>
                <a:gd name="connsiteX2" fmla="*/ 714849 w 1062598"/>
                <a:gd name="connsiteY2" fmla="*/ 346758 h 346758"/>
                <a:gd name="connsiteX3" fmla="*/ 1062599 w 1062598"/>
                <a:gd name="connsiteY3" fmla="*/ 0 h 346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2598" h="346758">
                  <a:moveTo>
                    <a:pt x="343286" y="992"/>
                  </a:moveTo>
                  <a:lnTo>
                    <a:pt x="0" y="346758"/>
                  </a:lnTo>
                  <a:lnTo>
                    <a:pt x="714849" y="346758"/>
                  </a:lnTo>
                  <a:lnTo>
                    <a:pt x="1062599" y="0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4B2A2E27-88BF-6A7D-FA79-0949FAA0BD3D}"/>
                </a:ext>
              </a:extLst>
            </p:cNvPr>
            <p:cNvSpPr/>
            <p:nvPr/>
          </p:nvSpPr>
          <p:spPr>
            <a:xfrm>
              <a:off x="3448603" y="4350603"/>
              <a:ext cx="155768" cy="196942"/>
            </a:xfrm>
            <a:custGeom>
              <a:avLst/>
              <a:gdLst>
                <a:gd name="connsiteX0" fmla="*/ 3473 w 155768"/>
                <a:gd name="connsiteY0" fmla="*/ 196943 h 196942"/>
                <a:gd name="connsiteX1" fmla="*/ 18851 w 155768"/>
                <a:gd name="connsiteY1" fmla="*/ 175612 h 196942"/>
                <a:gd name="connsiteX2" fmla="*/ 51592 w 155768"/>
                <a:gd name="connsiteY2" fmla="*/ 134933 h 196942"/>
                <a:gd name="connsiteX3" fmla="*/ 73419 w 155768"/>
                <a:gd name="connsiteY3" fmla="*/ 116082 h 196942"/>
                <a:gd name="connsiteX4" fmla="*/ 91278 w 155768"/>
                <a:gd name="connsiteY4" fmla="*/ 101200 h 196942"/>
                <a:gd name="connsiteX5" fmla="*/ 116082 w 155768"/>
                <a:gd name="connsiteY5" fmla="*/ 91278 h 196942"/>
                <a:gd name="connsiteX6" fmla="*/ 131957 w 155768"/>
                <a:gd name="connsiteY6" fmla="*/ 78877 h 196942"/>
                <a:gd name="connsiteX7" fmla="*/ 142374 w 155768"/>
                <a:gd name="connsiteY7" fmla="*/ 61514 h 196942"/>
                <a:gd name="connsiteX8" fmla="*/ 152792 w 155768"/>
                <a:gd name="connsiteY8" fmla="*/ 25796 h 196942"/>
                <a:gd name="connsiteX9" fmla="*/ 155769 w 155768"/>
                <a:gd name="connsiteY9" fmla="*/ 9426 h 196942"/>
                <a:gd name="connsiteX10" fmla="*/ 150808 w 155768"/>
                <a:gd name="connsiteY10" fmla="*/ 0 h 196942"/>
                <a:gd name="connsiteX11" fmla="*/ 139894 w 155768"/>
                <a:gd name="connsiteY11" fmla="*/ 1488 h 196942"/>
                <a:gd name="connsiteX12" fmla="*/ 118066 w 155768"/>
                <a:gd name="connsiteY12" fmla="*/ 1488 h 196942"/>
                <a:gd name="connsiteX13" fmla="*/ 100208 w 155768"/>
                <a:gd name="connsiteY13" fmla="*/ 6449 h 196942"/>
                <a:gd name="connsiteX14" fmla="*/ 89790 w 155768"/>
                <a:gd name="connsiteY14" fmla="*/ 14386 h 196942"/>
                <a:gd name="connsiteX15" fmla="*/ 90782 w 155768"/>
                <a:gd name="connsiteY15" fmla="*/ 40678 h 196942"/>
                <a:gd name="connsiteX16" fmla="*/ 87806 w 155768"/>
                <a:gd name="connsiteY16" fmla="*/ 56553 h 196942"/>
                <a:gd name="connsiteX17" fmla="*/ 86318 w 155768"/>
                <a:gd name="connsiteY17" fmla="*/ 73916 h 196942"/>
                <a:gd name="connsiteX18" fmla="*/ 83341 w 155768"/>
                <a:gd name="connsiteY18" fmla="*/ 85325 h 196942"/>
                <a:gd name="connsiteX19" fmla="*/ 75404 w 155768"/>
                <a:gd name="connsiteY19" fmla="*/ 83341 h 196942"/>
                <a:gd name="connsiteX20" fmla="*/ 54073 w 155768"/>
                <a:gd name="connsiteY20" fmla="*/ 85325 h 196942"/>
                <a:gd name="connsiteX21" fmla="*/ 36710 w 155768"/>
                <a:gd name="connsiteY21" fmla="*/ 90286 h 196942"/>
                <a:gd name="connsiteX22" fmla="*/ 19347 w 155768"/>
                <a:gd name="connsiteY22" fmla="*/ 104176 h 196942"/>
                <a:gd name="connsiteX23" fmla="*/ 9922 w 155768"/>
                <a:gd name="connsiteY23" fmla="*/ 117571 h 196942"/>
                <a:gd name="connsiteX24" fmla="*/ 3473 w 155768"/>
                <a:gd name="connsiteY24" fmla="*/ 131957 h 196942"/>
                <a:gd name="connsiteX25" fmla="*/ 1488 w 155768"/>
                <a:gd name="connsiteY25" fmla="*/ 149319 h 196942"/>
                <a:gd name="connsiteX26" fmla="*/ 0 w 155768"/>
                <a:gd name="connsiteY26" fmla="*/ 176604 h 196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5768" h="196942">
                  <a:moveTo>
                    <a:pt x="3473" y="196943"/>
                  </a:moveTo>
                  <a:lnTo>
                    <a:pt x="18851" y="175612"/>
                  </a:lnTo>
                  <a:lnTo>
                    <a:pt x="51592" y="134933"/>
                  </a:lnTo>
                  <a:lnTo>
                    <a:pt x="73419" y="116082"/>
                  </a:lnTo>
                  <a:lnTo>
                    <a:pt x="91278" y="101200"/>
                  </a:lnTo>
                  <a:lnTo>
                    <a:pt x="116082" y="91278"/>
                  </a:lnTo>
                  <a:lnTo>
                    <a:pt x="131957" y="78877"/>
                  </a:lnTo>
                  <a:lnTo>
                    <a:pt x="142374" y="61514"/>
                  </a:lnTo>
                  <a:lnTo>
                    <a:pt x="152792" y="25796"/>
                  </a:lnTo>
                  <a:lnTo>
                    <a:pt x="155769" y="9426"/>
                  </a:lnTo>
                  <a:lnTo>
                    <a:pt x="150808" y="0"/>
                  </a:lnTo>
                  <a:lnTo>
                    <a:pt x="139894" y="1488"/>
                  </a:lnTo>
                  <a:lnTo>
                    <a:pt x="118066" y="1488"/>
                  </a:lnTo>
                  <a:lnTo>
                    <a:pt x="100208" y="6449"/>
                  </a:lnTo>
                  <a:lnTo>
                    <a:pt x="89790" y="14386"/>
                  </a:lnTo>
                  <a:lnTo>
                    <a:pt x="90782" y="40678"/>
                  </a:lnTo>
                  <a:lnTo>
                    <a:pt x="87806" y="56553"/>
                  </a:lnTo>
                  <a:lnTo>
                    <a:pt x="86318" y="73916"/>
                  </a:lnTo>
                  <a:lnTo>
                    <a:pt x="83341" y="85325"/>
                  </a:lnTo>
                  <a:lnTo>
                    <a:pt x="75404" y="83341"/>
                  </a:lnTo>
                  <a:lnTo>
                    <a:pt x="54073" y="85325"/>
                  </a:lnTo>
                  <a:lnTo>
                    <a:pt x="36710" y="90286"/>
                  </a:lnTo>
                  <a:lnTo>
                    <a:pt x="19347" y="104176"/>
                  </a:lnTo>
                  <a:lnTo>
                    <a:pt x="9922" y="117571"/>
                  </a:lnTo>
                  <a:lnTo>
                    <a:pt x="3473" y="131957"/>
                  </a:lnTo>
                  <a:lnTo>
                    <a:pt x="1488" y="149319"/>
                  </a:lnTo>
                  <a:lnTo>
                    <a:pt x="0" y="176604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D89D13C1-FC6F-D8CC-41C8-7D4699BDCE6D}"/>
                </a:ext>
              </a:extLst>
            </p:cNvPr>
            <p:cNvSpPr/>
            <p:nvPr/>
          </p:nvSpPr>
          <p:spPr>
            <a:xfrm>
              <a:off x="4789998" y="1988280"/>
              <a:ext cx="468793" cy="210337"/>
            </a:xfrm>
            <a:custGeom>
              <a:avLst/>
              <a:gdLst>
                <a:gd name="connsiteX0" fmla="*/ 0 w 468793"/>
                <a:gd name="connsiteY0" fmla="*/ 210337 h 210337"/>
                <a:gd name="connsiteX1" fmla="*/ 209841 w 468793"/>
                <a:gd name="connsiteY1" fmla="*/ 0 h 210337"/>
                <a:gd name="connsiteX2" fmla="*/ 468794 w 468793"/>
                <a:gd name="connsiteY2" fmla="*/ 0 h 210337"/>
                <a:gd name="connsiteX3" fmla="*/ 261929 w 468793"/>
                <a:gd name="connsiteY3" fmla="*/ 209841 h 21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793" h="210337">
                  <a:moveTo>
                    <a:pt x="0" y="210337"/>
                  </a:moveTo>
                  <a:lnTo>
                    <a:pt x="209841" y="0"/>
                  </a:lnTo>
                  <a:lnTo>
                    <a:pt x="468794" y="0"/>
                  </a:lnTo>
                  <a:lnTo>
                    <a:pt x="261929" y="209841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EDDD6E18-AFEC-9033-C2C1-049D16D7786A}"/>
                </a:ext>
              </a:extLst>
            </p:cNvPr>
            <p:cNvSpPr/>
            <p:nvPr/>
          </p:nvSpPr>
          <p:spPr>
            <a:xfrm>
              <a:off x="6012334" y="3198214"/>
              <a:ext cx="687067" cy="307072"/>
            </a:xfrm>
            <a:custGeom>
              <a:avLst/>
              <a:gdLst>
                <a:gd name="connsiteX0" fmla="*/ 308064 w 687067"/>
                <a:gd name="connsiteY0" fmla="*/ 0 h 307072"/>
                <a:gd name="connsiteX1" fmla="*/ 0 w 687067"/>
                <a:gd name="connsiteY1" fmla="*/ 307072 h 307072"/>
                <a:gd name="connsiteX2" fmla="*/ 381980 w 687067"/>
                <a:gd name="connsiteY2" fmla="*/ 306576 h 307072"/>
                <a:gd name="connsiteX3" fmla="*/ 687068 w 687067"/>
                <a:gd name="connsiteY3" fmla="*/ 1984 h 307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7067" h="307072">
                  <a:moveTo>
                    <a:pt x="308064" y="0"/>
                  </a:moveTo>
                  <a:lnTo>
                    <a:pt x="0" y="307072"/>
                  </a:lnTo>
                  <a:lnTo>
                    <a:pt x="381980" y="306576"/>
                  </a:lnTo>
                  <a:lnTo>
                    <a:pt x="687068" y="1984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3EBC412B-381B-EEB7-A680-388D98D2234A}"/>
                </a:ext>
              </a:extLst>
            </p:cNvPr>
            <p:cNvSpPr/>
            <p:nvPr/>
          </p:nvSpPr>
          <p:spPr>
            <a:xfrm>
              <a:off x="5027123" y="3825256"/>
              <a:ext cx="127492" cy="370074"/>
            </a:xfrm>
            <a:custGeom>
              <a:avLst/>
              <a:gdLst>
                <a:gd name="connsiteX0" fmla="*/ 0 w 127492"/>
                <a:gd name="connsiteY0" fmla="*/ 0 h 370074"/>
                <a:gd name="connsiteX1" fmla="*/ 127492 w 127492"/>
                <a:gd name="connsiteY1" fmla="*/ 0 h 370074"/>
                <a:gd name="connsiteX2" fmla="*/ 127492 w 127492"/>
                <a:gd name="connsiteY2" fmla="*/ 370074 h 370074"/>
                <a:gd name="connsiteX3" fmla="*/ 0 w 127492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492" h="370074">
                  <a:moveTo>
                    <a:pt x="0" y="0"/>
                  </a:moveTo>
                  <a:lnTo>
                    <a:pt x="127492" y="0"/>
                  </a:lnTo>
                  <a:lnTo>
                    <a:pt x="127492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39CFEC8B-CFE9-2BAE-6C59-ABC3EF1BE417}"/>
                </a:ext>
              </a:extLst>
            </p:cNvPr>
            <p:cNvSpPr/>
            <p:nvPr/>
          </p:nvSpPr>
          <p:spPr>
            <a:xfrm>
              <a:off x="5200255" y="3825256"/>
              <a:ext cx="122035" cy="370074"/>
            </a:xfrm>
            <a:custGeom>
              <a:avLst/>
              <a:gdLst>
                <a:gd name="connsiteX0" fmla="*/ 0 w 122035"/>
                <a:gd name="connsiteY0" fmla="*/ 0 h 370074"/>
                <a:gd name="connsiteX1" fmla="*/ 122035 w 122035"/>
                <a:gd name="connsiteY1" fmla="*/ 0 h 370074"/>
                <a:gd name="connsiteX2" fmla="*/ 122035 w 122035"/>
                <a:gd name="connsiteY2" fmla="*/ 370074 h 370074"/>
                <a:gd name="connsiteX3" fmla="*/ 0 w 122035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370074">
                  <a:moveTo>
                    <a:pt x="0" y="0"/>
                  </a:moveTo>
                  <a:lnTo>
                    <a:pt x="122035" y="0"/>
                  </a:lnTo>
                  <a:lnTo>
                    <a:pt x="122035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54CDFC0A-A6AD-BAEB-5B0D-372B3ED5CB79}"/>
                </a:ext>
              </a:extLst>
            </p:cNvPr>
            <p:cNvSpPr/>
            <p:nvPr/>
          </p:nvSpPr>
          <p:spPr>
            <a:xfrm>
              <a:off x="5027123" y="4245434"/>
              <a:ext cx="127492" cy="225219"/>
            </a:xfrm>
            <a:custGeom>
              <a:avLst/>
              <a:gdLst>
                <a:gd name="connsiteX0" fmla="*/ 0 w 127492"/>
                <a:gd name="connsiteY0" fmla="*/ 0 h 225219"/>
                <a:gd name="connsiteX1" fmla="*/ 127492 w 127492"/>
                <a:gd name="connsiteY1" fmla="*/ 0 h 225219"/>
                <a:gd name="connsiteX2" fmla="*/ 127492 w 127492"/>
                <a:gd name="connsiteY2" fmla="*/ 225219 h 225219"/>
                <a:gd name="connsiteX3" fmla="*/ 0 w 127492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492" h="225219">
                  <a:moveTo>
                    <a:pt x="0" y="0"/>
                  </a:moveTo>
                  <a:lnTo>
                    <a:pt x="127492" y="0"/>
                  </a:lnTo>
                  <a:lnTo>
                    <a:pt x="127492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55D4222A-7B30-1414-5EA9-828E206A995C}"/>
                </a:ext>
              </a:extLst>
            </p:cNvPr>
            <p:cNvSpPr/>
            <p:nvPr/>
          </p:nvSpPr>
          <p:spPr>
            <a:xfrm>
              <a:off x="5200255" y="4245434"/>
              <a:ext cx="122035" cy="225219"/>
            </a:xfrm>
            <a:custGeom>
              <a:avLst/>
              <a:gdLst>
                <a:gd name="connsiteX0" fmla="*/ 0 w 122035"/>
                <a:gd name="connsiteY0" fmla="*/ 0 h 225219"/>
                <a:gd name="connsiteX1" fmla="*/ 122035 w 122035"/>
                <a:gd name="connsiteY1" fmla="*/ 0 h 225219"/>
                <a:gd name="connsiteX2" fmla="*/ 122035 w 122035"/>
                <a:gd name="connsiteY2" fmla="*/ 225219 h 225219"/>
                <a:gd name="connsiteX3" fmla="*/ 0 w 122035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225219">
                  <a:moveTo>
                    <a:pt x="0" y="0"/>
                  </a:moveTo>
                  <a:lnTo>
                    <a:pt x="122035" y="0"/>
                  </a:lnTo>
                  <a:lnTo>
                    <a:pt x="122035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D01CD65C-41E8-52CE-DF13-74C8BE5464A4}"/>
                </a:ext>
              </a:extLst>
            </p:cNvPr>
            <p:cNvSpPr/>
            <p:nvPr/>
          </p:nvSpPr>
          <p:spPr>
            <a:xfrm>
              <a:off x="4242328" y="3825256"/>
              <a:ext cx="122035" cy="370074"/>
            </a:xfrm>
            <a:custGeom>
              <a:avLst/>
              <a:gdLst>
                <a:gd name="connsiteX0" fmla="*/ 0 w 122035"/>
                <a:gd name="connsiteY0" fmla="*/ 0 h 370074"/>
                <a:gd name="connsiteX1" fmla="*/ 122035 w 122035"/>
                <a:gd name="connsiteY1" fmla="*/ 0 h 370074"/>
                <a:gd name="connsiteX2" fmla="*/ 122035 w 122035"/>
                <a:gd name="connsiteY2" fmla="*/ 370074 h 370074"/>
                <a:gd name="connsiteX3" fmla="*/ 0 w 122035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370074">
                  <a:moveTo>
                    <a:pt x="0" y="0"/>
                  </a:moveTo>
                  <a:lnTo>
                    <a:pt x="122035" y="0"/>
                  </a:lnTo>
                  <a:lnTo>
                    <a:pt x="122035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DC895869-681D-17A7-A3AF-F21D18C6E0C5}"/>
                </a:ext>
              </a:extLst>
            </p:cNvPr>
            <p:cNvSpPr/>
            <p:nvPr/>
          </p:nvSpPr>
          <p:spPr>
            <a:xfrm>
              <a:off x="4242328" y="4245434"/>
              <a:ext cx="122035" cy="225219"/>
            </a:xfrm>
            <a:custGeom>
              <a:avLst/>
              <a:gdLst>
                <a:gd name="connsiteX0" fmla="*/ 0 w 122035"/>
                <a:gd name="connsiteY0" fmla="*/ 0 h 225219"/>
                <a:gd name="connsiteX1" fmla="*/ 122035 w 122035"/>
                <a:gd name="connsiteY1" fmla="*/ 0 h 225219"/>
                <a:gd name="connsiteX2" fmla="*/ 122035 w 122035"/>
                <a:gd name="connsiteY2" fmla="*/ 225219 h 225219"/>
                <a:gd name="connsiteX3" fmla="*/ 0 w 122035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225219">
                  <a:moveTo>
                    <a:pt x="0" y="0"/>
                  </a:moveTo>
                  <a:lnTo>
                    <a:pt x="122035" y="0"/>
                  </a:lnTo>
                  <a:lnTo>
                    <a:pt x="122035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8" name="Freeform: Shape 1327">
              <a:extLst>
                <a:ext uri="{FF2B5EF4-FFF2-40B4-BE49-F238E27FC236}">
                  <a16:creationId xmlns:a16="http://schemas.microsoft.com/office/drawing/2014/main" id="{2B3E726C-52F8-5CED-13CC-4B97035D58EB}"/>
                </a:ext>
              </a:extLst>
            </p:cNvPr>
            <p:cNvSpPr/>
            <p:nvPr/>
          </p:nvSpPr>
          <p:spPr>
            <a:xfrm>
              <a:off x="4109379" y="2763649"/>
              <a:ext cx="172139" cy="233156"/>
            </a:xfrm>
            <a:custGeom>
              <a:avLst/>
              <a:gdLst>
                <a:gd name="connsiteX0" fmla="*/ 0 w 172139"/>
                <a:gd name="connsiteY0" fmla="*/ 31749 h 233156"/>
                <a:gd name="connsiteX1" fmla="*/ 36214 w 172139"/>
                <a:gd name="connsiteY1" fmla="*/ 31749 h 233156"/>
                <a:gd name="connsiteX2" fmla="*/ 40678 w 172139"/>
                <a:gd name="connsiteY2" fmla="*/ 43655 h 233156"/>
                <a:gd name="connsiteX3" fmla="*/ 40678 w 172139"/>
                <a:gd name="connsiteY3" fmla="*/ 71931 h 233156"/>
                <a:gd name="connsiteX4" fmla="*/ 34229 w 172139"/>
                <a:gd name="connsiteY4" fmla="*/ 120547 h 233156"/>
                <a:gd name="connsiteX5" fmla="*/ 30757 w 172139"/>
                <a:gd name="connsiteY5" fmla="*/ 157753 h 233156"/>
                <a:gd name="connsiteX6" fmla="*/ 32741 w 172139"/>
                <a:gd name="connsiteY6" fmla="*/ 201904 h 233156"/>
                <a:gd name="connsiteX7" fmla="*/ 36710 w 172139"/>
                <a:gd name="connsiteY7" fmla="*/ 218274 h 233156"/>
                <a:gd name="connsiteX8" fmla="*/ 46135 w 172139"/>
                <a:gd name="connsiteY8" fmla="*/ 228196 h 233156"/>
                <a:gd name="connsiteX9" fmla="*/ 59033 w 172139"/>
                <a:gd name="connsiteY9" fmla="*/ 233157 h 233156"/>
                <a:gd name="connsiteX10" fmla="*/ 148327 w 172139"/>
                <a:gd name="connsiteY10" fmla="*/ 233157 h 233156"/>
                <a:gd name="connsiteX11" fmla="*/ 157257 w 172139"/>
                <a:gd name="connsiteY11" fmla="*/ 229684 h 233156"/>
                <a:gd name="connsiteX12" fmla="*/ 163209 w 172139"/>
                <a:gd name="connsiteY12" fmla="*/ 219763 h 233156"/>
                <a:gd name="connsiteX13" fmla="*/ 166186 w 172139"/>
                <a:gd name="connsiteY13" fmla="*/ 188014 h 233156"/>
                <a:gd name="connsiteX14" fmla="*/ 167178 w 172139"/>
                <a:gd name="connsiteY14" fmla="*/ 162218 h 233156"/>
                <a:gd name="connsiteX15" fmla="*/ 172139 w 172139"/>
                <a:gd name="connsiteY15" fmla="*/ 144855 h 233156"/>
                <a:gd name="connsiteX16" fmla="*/ 171643 w 172139"/>
                <a:gd name="connsiteY16" fmla="*/ 102192 h 233156"/>
                <a:gd name="connsiteX17" fmla="*/ 165690 w 172139"/>
                <a:gd name="connsiteY17" fmla="*/ 47127 h 233156"/>
                <a:gd name="connsiteX18" fmla="*/ 165194 w 172139"/>
                <a:gd name="connsiteY18" fmla="*/ 29269 h 233156"/>
                <a:gd name="connsiteX19" fmla="*/ 163706 w 172139"/>
                <a:gd name="connsiteY19" fmla="*/ 14386 h 233156"/>
                <a:gd name="connsiteX20" fmla="*/ 156265 w 172139"/>
                <a:gd name="connsiteY20" fmla="*/ 4465 h 233156"/>
                <a:gd name="connsiteX21" fmla="*/ 108145 w 172139"/>
                <a:gd name="connsiteY21" fmla="*/ 0 h 233156"/>
                <a:gd name="connsiteX22" fmla="*/ 71931 w 172139"/>
                <a:gd name="connsiteY22" fmla="*/ 992 h 233156"/>
                <a:gd name="connsiteX23" fmla="*/ 50600 w 172139"/>
                <a:gd name="connsiteY23" fmla="*/ 8433 h 233156"/>
                <a:gd name="connsiteX24" fmla="*/ 49112 w 172139"/>
                <a:gd name="connsiteY24" fmla="*/ 10914 h 233156"/>
                <a:gd name="connsiteX25" fmla="*/ 0 w 172139"/>
                <a:gd name="connsiteY25" fmla="*/ 31749 h 23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2139" h="233156">
                  <a:moveTo>
                    <a:pt x="0" y="31749"/>
                  </a:moveTo>
                  <a:lnTo>
                    <a:pt x="36214" y="31749"/>
                  </a:lnTo>
                  <a:lnTo>
                    <a:pt x="40678" y="43655"/>
                  </a:lnTo>
                  <a:lnTo>
                    <a:pt x="40678" y="71931"/>
                  </a:lnTo>
                  <a:lnTo>
                    <a:pt x="34229" y="120547"/>
                  </a:lnTo>
                  <a:lnTo>
                    <a:pt x="30757" y="157753"/>
                  </a:lnTo>
                  <a:lnTo>
                    <a:pt x="32741" y="201904"/>
                  </a:lnTo>
                  <a:lnTo>
                    <a:pt x="36710" y="218274"/>
                  </a:lnTo>
                  <a:lnTo>
                    <a:pt x="46135" y="228196"/>
                  </a:lnTo>
                  <a:lnTo>
                    <a:pt x="59033" y="233157"/>
                  </a:lnTo>
                  <a:lnTo>
                    <a:pt x="148327" y="233157"/>
                  </a:lnTo>
                  <a:lnTo>
                    <a:pt x="157257" y="229684"/>
                  </a:lnTo>
                  <a:lnTo>
                    <a:pt x="163209" y="219763"/>
                  </a:lnTo>
                  <a:lnTo>
                    <a:pt x="166186" y="188014"/>
                  </a:lnTo>
                  <a:lnTo>
                    <a:pt x="167178" y="162218"/>
                  </a:lnTo>
                  <a:lnTo>
                    <a:pt x="172139" y="144855"/>
                  </a:lnTo>
                  <a:lnTo>
                    <a:pt x="171643" y="102192"/>
                  </a:lnTo>
                  <a:lnTo>
                    <a:pt x="165690" y="47127"/>
                  </a:lnTo>
                  <a:lnTo>
                    <a:pt x="165194" y="29269"/>
                  </a:lnTo>
                  <a:lnTo>
                    <a:pt x="163706" y="14386"/>
                  </a:lnTo>
                  <a:lnTo>
                    <a:pt x="156265" y="4465"/>
                  </a:lnTo>
                  <a:lnTo>
                    <a:pt x="108145" y="0"/>
                  </a:lnTo>
                  <a:lnTo>
                    <a:pt x="71931" y="992"/>
                  </a:lnTo>
                  <a:lnTo>
                    <a:pt x="50600" y="8433"/>
                  </a:lnTo>
                  <a:cubicBezTo>
                    <a:pt x="50600" y="8433"/>
                    <a:pt x="50104" y="8433"/>
                    <a:pt x="49112" y="10914"/>
                  </a:cubicBezTo>
                  <a:cubicBezTo>
                    <a:pt x="21331" y="13394"/>
                    <a:pt x="0" y="31749"/>
                    <a:pt x="0" y="31749"/>
                  </a:cubicBezTo>
                  <a:close/>
                </a:path>
              </a:pathLst>
            </a:custGeom>
            <a:solidFill>
              <a:schemeClr val="bg1"/>
            </a:solidFill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2260D241-8955-A2BB-94D9-D21F903A9C6C}"/>
                </a:ext>
              </a:extLst>
            </p:cNvPr>
            <p:cNvSpPr/>
            <p:nvPr/>
          </p:nvSpPr>
          <p:spPr>
            <a:xfrm>
              <a:off x="4622820" y="4497938"/>
              <a:ext cx="112609" cy="53605"/>
            </a:xfrm>
            <a:custGeom>
              <a:avLst/>
              <a:gdLst>
                <a:gd name="connsiteX0" fmla="*/ 0 w 112609"/>
                <a:gd name="connsiteY0" fmla="*/ 51096 h 53605"/>
                <a:gd name="connsiteX1" fmla="*/ 73915 w 112609"/>
                <a:gd name="connsiteY1" fmla="*/ 0 h 53605"/>
                <a:gd name="connsiteX2" fmla="*/ 55065 w 112609"/>
                <a:gd name="connsiteY2" fmla="*/ 53576 h 53605"/>
                <a:gd name="connsiteX3" fmla="*/ 103680 w 112609"/>
                <a:gd name="connsiteY3" fmla="*/ 23812 h 53605"/>
                <a:gd name="connsiteX4" fmla="*/ 112610 w 112609"/>
                <a:gd name="connsiteY4" fmla="*/ 53576 h 53605"/>
                <a:gd name="connsiteX5" fmla="*/ 0 w 112609"/>
                <a:gd name="connsiteY5" fmla="*/ 51096 h 5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609" h="53605">
                  <a:moveTo>
                    <a:pt x="0" y="51096"/>
                  </a:moveTo>
                  <a:cubicBezTo>
                    <a:pt x="0" y="51096"/>
                    <a:pt x="68955" y="0"/>
                    <a:pt x="73915" y="0"/>
                  </a:cubicBezTo>
                  <a:cubicBezTo>
                    <a:pt x="78876" y="0"/>
                    <a:pt x="52088" y="55065"/>
                    <a:pt x="55065" y="53576"/>
                  </a:cubicBezTo>
                  <a:cubicBezTo>
                    <a:pt x="58537" y="52584"/>
                    <a:pt x="96735" y="23812"/>
                    <a:pt x="103680" y="23812"/>
                  </a:cubicBezTo>
                  <a:cubicBezTo>
                    <a:pt x="110625" y="23812"/>
                    <a:pt x="112610" y="53576"/>
                    <a:pt x="112610" y="53576"/>
                  </a:cubicBezTo>
                  <a:lnTo>
                    <a:pt x="0" y="51096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E9318650-1A2A-F47E-EE40-19E3DA20F7BA}"/>
                </a:ext>
              </a:extLst>
            </p:cNvPr>
            <p:cNvSpPr/>
            <p:nvPr/>
          </p:nvSpPr>
          <p:spPr>
            <a:xfrm>
              <a:off x="6005389" y="4118438"/>
              <a:ext cx="323938" cy="123027"/>
            </a:xfrm>
            <a:custGeom>
              <a:avLst/>
              <a:gdLst>
                <a:gd name="connsiteX0" fmla="*/ 323939 w 323938"/>
                <a:gd name="connsiteY0" fmla="*/ 123027 h 123027"/>
                <a:gd name="connsiteX1" fmla="*/ 0 w 323938"/>
                <a:gd name="connsiteY1" fmla="*/ 123027 h 123027"/>
                <a:gd name="connsiteX2" fmla="*/ 0 w 323938"/>
                <a:gd name="connsiteY2" fmla="*/ 0 h 123027"/>
                <a:gd name="connsiteX3" fmla="*/ 16867 w 323938"/>
                <a:gd name="connsiteY3" fmla="*/ 0 h 123027"/>
                <a:gd name="connsiteX4" fmla="*/ 77884 w 323938"/>
                <a:gd name="connsiteY4" fmla="*/ 91774 h 123027"/>
                <a:gd name="connsiteX5" fmla="*/ 107649 w 323938"/>
                <a:gd name="connsiteY5" fmla="*/ 79372 h 123027"/>
                <a:gd name="connsiteX6" fmla="*/ 122035 w 323938"/>
                <a:gd name="connsiteY6" fmla="*/ 60025 h 123027"/>
                <a:gd name="connsiteX7" fmla="*/ 107649 w 323938"/>
                <a:gd name="connsiteY7" fmla="*/ 54569 h 123027"/>
                <a:gd name="connsiteX8" fmla="*/ 79372 w 323938"/>
                <a:gd name="connsiteY8" fmla="*/ 59529 h 123027"/>
                <a:gd name="connsiteX9" fmla="*/ 49112 w 323938"/>
                <a:gd name="connsiteY9" fmla="*/ 0 h 123027"/>
                <a:gd name="connsiteX10" fmla="*/ 323939 w 323938"/>
                <a:gd name="connsiteY10" fmla="*/ 0 h 123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3938" h="123027">
                  <a:moveTo>
                    <a:pt x="323939" y="123027"/>
                  </a:moveTo>
                  <a:lnTo>
                    <a:pt x="0" y="123027"/>
                  </a:lnTo>
                  <a:lnTo>
                    <a:pt x="0" y="0"/>
                  </a:lnTo>
                  <a:lnTo>
                    <a:pt x="16867" y="0"/>
                  </a:lnTo>
                  <a:lnTo>
                    <a:pt x="77884" y="91774"/>
                  </a:lnTo>
                  <a:lnTo>
                    <a:pt x="107649" y="79372"/>
                  </a:lnTo>
                  <a:lnTo>
                    <a:pt x="122035" y="60025"/>
                  </a:lnTo>
                  <a:lnTo>
                    <a:pt x="107649" y="54569"/>
                  </a:lnTo>
                  <a:lnTo>
                    <a:pt x="79372" y="59529"/>
                  </a:lnTo>
                  <a:lnTo>
                    <a:pt x="49112" y="0"/>
                  </a:lnTo>
                  <a:lnTo>
                    <a:pt x="323939" y="0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A8A6A3D-BC67-FF60-4C6C-BD2E1DAFF5A9}"/>
                </a:ext>
              </a:extLst>
            </p:cNvPr>
            <p:cNvSpPr/>
            <p:nvPr/>
          </p:nvSpPr>
          <p:spPr>
            <a:xfrm>
              <a:off x="5601086" y="2492295"/>
              <a:ext cx="171642" cy="107648"/>
            </a:xfrm>
            <a:custGeom>
              <a:avLst/>
              <a:gdLst>
                <a:gd name="connsiteX0" fmla="*/ 112113 w 171642"/>
                <a:gd name="connsiteY0" fmla="*/ 0 h 107648"/>
                <a:gd name="connsiteX1" fmla="*/ 0 w 171642"/>
                <a:gd name="connsiteY1" fmla="*/ 107649 h 107648"/>
                <a:gd name="connsiteX2" fmla="*/ 57545 w 171642"/>
                <a:gd name="connsiteY2" fmla="*/ 107649 h 107648"/>
                <a:gd name="connsiteX3" fmla="*/ 171643 w 171642"/>
                <a:gd name="connsiteY3" fmla="*/ 0 h 10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642" h="107648">
                  <a:moveTo>
                    <a:pt x="112113" y="0"/>
                  </a:moveTo>
                  <a:lnTo>
                    <a:pt x="0" y="107649"/>
                  </a:lnTo>
                  <a:lnTo>
                    <a:pt x="57545" y="107649"/>
                  </a:lnTo>
                  <a:lnTo>
                    <a:pt x="171643" y="0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3183642E-51FF-52D0-CD45-2BC6093F60DD}"/>
                </a:ext>
              </a:extLst>
            </p:cNvPr>
            <p:cNvSpPr/>
            <p:nvPr/>
          </p:nvSpPr>
          <p:spPr>
            <a:xfrm>
              <a:off x="4520132" y="4846185"/>
              <a:ext cx="197935" cy="184540"/>
            </a:xfrm>
            <a:custGeom>
              <a:avLst/>
              <a:gdLst>
                <a:gd name="connsiteX0" fmla="*/ 0 w 197935"/>
                <a:gd name="connsiteY0" fmla="*/ 118066 h 184540"/>
                <a:gd name="connsiteX1" fmla="*/ 0 w 197935"/>
                <a:gd name="connsiteY1" fmla="*/ 0 h 184540"/>
                <a:gd name="connsiteX2" fmla="*/ 195951 w 197935"/>
                <a:gd name="connsiteY2" fmla="*/ 0 h 184540"/>
                <a:gd name="connsiteX3" fmla="*/ 196943 w 197935"/>
                <a:gd name="connsiteY3" fmla="*/ 64490 h 184540"/>
                <a:gd name="connsiteX4" fmla="*/ 185533 w 197935"/>
                <a:gd name="connsiteY4" fmla="*/ 65482 h 184540"/>
                <a:gd name="connsiteX5" fmla="*/ 175115 w 197935"/>
                <a:gd name="connsiteY5" fmla="*/ 78876 h 184540"/>
                <a:gd name="connsiteX6" fmla="*/ 172139 w 197935"/>
                <a:gd name="connsiteY6" fmla="*/ 100704 h 184540"/>
                <a:gd name="connsiteX7" fmla="*/ 182557 w 197935"/>
                <a:gd name="connsiteY7" fmla="*/ 133445 h 184540"/>
                <a:gd name="connsiteX8" fmla="*/ 197439 w 197935"/>
                <a:gd name="connsiteY8" fmla="*/ 136917 h 184540"/>
                <a:gd name="connsiteX9" fmla="*/ 197935 w 197935"/>
                <a:gd name="connsiteY9" fmla="*/ 184541 h 184540"/>
                <a:gd name="connsiteX10" fmla="*/ 0 w 197935"/>
                <a:gd name="connsiteY10" fmla="*/ 184541 h 184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935" h="184540">
                  <a:moveTo>
                    <a:pt x="0" y="118066"/>
                  </a:moveTo>
                  <a:lnTo>
                    <a:pt x="0" y="0"/>
                  </a:lnTo>
                  <a:lnTo>
                    <a:pt x="195951" y="0"/>
                  </a:lnTo>
                  <a:lnTo>
                    <a:pt x="196943" y="64490"/>
                  </a:lnTo>
                  <a:lnTo>
                    <a:pt x="185533" y="65482"/>
                  </a:lnTo>
                  <a:lnTo>
                    <a:pt x="175115" y="78876"/>
                  </a:lnTo>
                  <a:lnTo>
                    <a:pt x="172139" y="100704"/>
                  </a:lnTo>
                  <a:lnTo>
                    <a:pt x="182557" y="133445"/>
                  </a:lnTo>
                  <a:lnTo>
                    <a:pt x="197439" y="136917"/>
                  </a:lnTo>
                  <a:lnTo>
                    <a:pt x="197935" y="184541"/>
                  </a:lnTo>
                  <a:lnTo>
                    <a:pt x="0" y="184541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869C7C76-BC99-CAF8-5FAB-76454E67387E}"/>
                </a:ext>
              </a:extLst>
            </p:cNvPr>
            <p:cNvSpPr/>
            <p:nvPr/>
          </p:nvSpPr>
          <p:spPr>
            <a:xfrm>
              <a:off x="4920963" y="5075869"/>
              <a:ext cx="90286" cy="234644"/>
            </a:xfrm>
            <a:custGeom>
              <a:avLst/>
              <a:gdLst>
                <a:gd name="connsiteX0" fmla="*/ 0 w 90286"/>
                <a:gd name="connsiteY0" fmla="*/ 0 h 234644"/>
                <a:gd name="connsiteX1" fmla="*/ 90286 w 90286"/>
                <a:gd name="connsiteY1" fmla="*/ 12402 h 234644"/>
                <a:gd name="connsiteX2" fmla="*/ 70443 w 90286"/>
                <a:gd name="connsiteY2" fmla="*/ 231172 h 234644"/>
                <a:gd name="connsiteX3" fmla="*/ 54569 w 90286"/>
                <a:gd name="connsiteY3" fmla="*/ 234645 h 234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286" h="234644">
                  <a:moveTo>
                    <a:pt x="0" y="0"/>
                  </a:moveTo>
                  <a:lnTo>
                    <a:pt x="90286" y="12402"/>
                  </a:lnTo>
                  <a:lnTo>
                    <a:pt x="70443" y="231172"/>
                  </a:lnTo>
                  <a:lnTo>
                    <a:pt x="54569" y="234645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8390A28F-644D-5E10-ADA3-D40FE137782C}"/>
                </a:ext>
              </a:extLst>
            </p:cNvPr>
            <p:cNvSpPr/>
            <p:nvPr/>
          </p:nvSpPr>
          <p:spPr>
            <a:xfrm>
              <a:off x="6399275" y="4837255"/>
              <a:ext cx="114593" cy="66474"/>
            </a:xfrm>
            <a:custGeom>
              <a:avLst/>
              <a:gdLst>
                <a:gd name="connsiteX0" fmla="*/ 0 w 114593"/>
                <a:gd name="connsiteY0" fmla="*/ 66475 h 66474"/>
                <a:gd name="connsiteX1" fmla="*/ 32741 w 114593"/>
                <a:gd name="connsiteY1" fmla="*/ 40678 h 66474"/>
                <a:gd name="connsiteX2" fmla="*/ 74908 w 114593"/>
                <a:gd name="connsiteY2" fmla="*/ 24308 h 66474"/>
                <a:gd name="connsiteX3" fmla="*/ 94255 w 114593"/>
                <a:gd name="connsiteY3" fmla="*/ 20339 h 66474"/>
                <a:gd name="connsiteX4" fmla="*/ 114594 w 114593"/>
                <a:gd name="connsiteY4" fmla="*/ 20339 h 66474"/>
                <a:gd name="connsiteX5" fmla="*/ 102192 w 114593"/>
                <a:gd name="connsiteY5" fmla="*/ 8433 h 66474"/>
                <a:gd name="connsiteX6" fmla="*/ 66474 w 114593"/>
                <a:gd name="connsiteY6" fmla="*/ 0 h 66474"/>
                <a:gd name="connsiteX7" fmla="*/ 32741 w 114593"/>
                <a:gd name="connsiteY7" fmla="*/ 13890 h 66474"/>
                <a:gd name="connsiteX8" fmla="*/ 10913 w 114593"/>
                <a:gd name="connsiteY8" fmla="*/ 36214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593" h="66474">
                  <a:moveTo>
                    <a:pt x="0" y="66475"/>
                  </a:moveTo>
                  <a:lnTo>
                    <a:pt x="32741" y="40678"/>
                  </a:lnTo>
                  <a:lnTo>
                    <a:pt x="74908" y="24308"/>
                  </a:lnTo>
                  <a:lnTo>
                    <a:pt x="94255" y="20339"/>
                  </a:lnTo>
                  <a:lnTo>
                    <a:pt x="114594" y="20339"/>
                  </a:lnTo>
                  <a:lnTo>
                    <a:pt x="102192" y="8433"/>
                  </a:lnTo>
                  <a:lnTo>
                    <a:pt x="66474" y="0"/>
                  </a:lnTo>
                  <a:lnTo>
                    <a:pt x="32741" y="13890"/>
                  </a:lnTo>
                  <a:lnTo>
                    <a:pt x="10913" y="36214"/>
                  </a:ln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5" name="Freeform: Shape 1334">
              <a:extLst>
                <a:ext uri="{FF2B5EF4-FFF2-40B4-BE49-F238E27FC236}">
                  <a16:creationId xmlns:a16="http://schemas.microsoft.com/office/drawing/2014/main" id="{07805BF2-BF07-4C1A-9840-630B31D9B730}"/>
                </a:ext>
              </a:extLst>
            </p:cNvPr>
            <p:cNvSpPr/>
            <p:nvPr/>
          </p:nvSpPr>
          <p:spPr>
            <a:xfrm>
              <a:off x="4041417" y="2464515"/>
              <a:ext cx="330884" cy="330388"/>
            </a:xfrm>
            <a:custGeom>
              <a:avLst/>
              <a:gdLst>
                <a:gd name="connsiteX0" fmla="*/ 496 w 330884"/>
                <a:gd name="connsiteY0" fmla="*/ 0 h 330388"/>
                <a:gd name="connsiteX1" fmla="*/ 496 w 330884"/>
                <a:gd name="connsiteY1" fmla="*/ 16867 h 330388"/>
                <a:gd name="connsiteX2" fmla="*/ 0 w 330884"/>
                <a:gd name="connsiteY2" fmla="*/ 16867 h 330388"/>
                <a:gd name="connsiteX3" fmla="*/ 0 w 330884"/>
                <a:gd name="connsiteY3" fmla="*/ 330388 h 330388"/>
                <a:gd name="connsiteX4" fmla="*/ 16867 w 330884"/>
                <a:gd name="connsiteY4" fmla="*/ 330388 h 330388"/>
                <a:gd name="connsiteX5" fmla="*/ 16867 w 330884"/>
                <a:gd name="connsiteY5" fmla="*/ 169659 h 330388"/>
                <a:gd name="connsiteX6" fmla="*/ 311537 w 330884"/>
                <a:gd name="connsiteY6" fmla="*/ 169659 h 330388"/>
                <a:gd name="connsiteX7" fmla="*/ 311537 w 330884"/>
                <a:gd name="connsiteY7" fmla="*/ 328900 h 330388"/>
                <a:gd name="connsiteX8" fmla="*/ 330884 w 330884"/>
                <a:gd name="connsiteY8" fmla="*/ 328900 h 330388"/>
                <a:gd name="connsiteX9" fmla="*/ 330884 w 330884"/>
                <a:gd name="connsiteY9" fmla="*/ 169659 h 330388"/>
                <a:gd name="connsiteX10" fmla="*/ 330884 w 330884"/>
                <a:gd name="connsiteY10" fmla="*/ 133941 h 330388"/>
                <a:gd name="connsiteX11" fmla="*/ 330884 w 330884"/>
                <a:gd name="connsiteY11" fmla="*/ 27780 h 330388"/>
                <a:gd name="connsiteX12" fmla="*/ 330884 w 330884"/>
                <a:gd name="connsiteY12" fmla="*/ 17363 h 330388"/>
                <a:gd name="connsiteX13" fmla="*/ 330884 w 330884"/>
                <a:gd name="connsiteY13" fmla="*/ 496 h 330388"/>
                <a:gd name="connsiteX14" fmla="*/ 496 w 330884"/>
                <a:gd name="connsiteY14" fmla="*/ 496 h 330388"/>
                <a:gd name="connsiteX15" fmla="*/ 312033 w 330884"/>
                <a:gd name="connsiteY15" fmla="*/ 133941 h 330388"/>
                <a:gd name="connsiteX16" fmla="*/ 17363 w 330884"/>
                <a:gd name="connsiteY16" fmla="*/ 133941 h 330388"/>
                <a:gd name="connsiteX17" fmla="*/ 17363 w 330884"/>
                <a:gd name="connsiteY17" fmla="*/ 27780 h 330388"/>
                <a:gd name="connsiteX18" fmla="*/ 312033 w 330884"/>
                <a:gd name="connsiteY18" fmla="*/ 27780 h 330388"/>
                <a:gd name="connsiteX19" fmla="*/ 312033 w 330884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659"/>
                  </a:lnTo>
                  <a:lnTo>
                    <a:pt x="311537" y="169659"/>
                  </a:lnTo>
                  <a:lnTo>
                    <a:pt x="311537" y="328900"/>
                  </a:lnTo>
                  <a:lnTo>
                    <a:pt x="330884" y="328900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64297256-3749-63F6-811D-C0FC322E83D8}"/>
                </a:ext>
              </a:extLst>
            </p:cNvPr>
            <p:cNvSpPr/>
            <p:nvPr/>
          </p:nvSpPr>
          <p:spPr>
            <a:xfrm>
              <a:off x="4513187" y="2464515"/>
              <a:ext cx="331380" cy="330388"/>
            </a:xfrm>
            <a:custGeom>
              <a:avLst/>
              <a:gdLst>
                <a:gd name="connsiteX0" fmla="*/ 496 w 331380"/>
                <a:gd name="connsiteY0" fmla="*/ 0 h 330388"/>
                <a:gd name="connsiteX1" fmla="*/ 496 w 331380"/>
                <a:gd name="connsiteY1" fmla="*/ 16867 h 330388"/>
                <a:gd name="connsiteX2" fmla="*/ 0 w 331380"/>
                <a:gd name="connsiteY2" fmla="*/ 16867 h 330388"/>
                <a:gd name="connsiteX3" fmla="*/ 0 w 331380"/>
                <a:gd name="connsiteY3" fmla="*/ 330388 h 330388"/>
                <a:gd name="connsiteX4" fmla="*/ 16867 w 331380"/>
                <a:gd name="connsiteY4" fmla="*/ 330388 h 330388"/>
                <a:gd name="connsiteX5" fmla="*/ 16867 w 331380"/>
                <a:gd name="connsiteY5" fmla="*/ 169659 h 330388"/>
                <a:gd name="connsiteX6" fmla="*/ 312033 w 331380"/>
                <a:gd name="connsiteY6" fmla="*/ 169659 h 330388"/>
                <a:gd name="connsiteX7" fmla="*/ 312033 w 331380"/>
                <a:gd name="connsiteY7" fmla="*/ 328900 h 330388"/>
                <a:gd name="connsiteX8" fmla="*/ 331380 w 331380"/>
                <a:gd name="connsiteY8" fmla="*/ 328900 h 330388"/>
                <a:gd name="connsiteX9" fmla="*/ 331380 w 331380"/>
                <a:gd name="connsiteY9" fmla="*/ 169659 h 330388"/>
                <a:gd name="connsiteX10" fmla="*/ 331380 w 331380"/>
                <a:gd name="connsiteY10" fmla="*/ 133941 h 330388"/>
                <a:gd name="connsiteX11" fmla="*/ 331380 w 331380"/>
                <a:gd name="connsiteY11" fmla="*/ 27780 h 330388"/>
                <a:gd name="connsiteX12" fmla="*/ 331380 w 331380"/>
                <a:gd name="connsiteY12" fmla="*/ 17363 h 330388"/>
                <a:gd name="connsiteX13" fmla="*/ 331380 w 331380"/>
                <a:gd name="connsiteY13" fmla="*/ 496 h 330388"/>
                <a:gd name="connsiteX14" fmla="*/ 496 w 331380"/>
                <a:gd name="connsiteY14" fmla="*/ 496 h 330388"/>
                <a:gd name="connsiteX15" fmla="*/ 312033 w 331380"/>
                <a:gd name="connsiteY15" fmla="*/ 133941 h 330388"/>
                <a:gd name="connsiteX16" fmla="*/ 17363 w 331380"/>
                <a:gd name="connsiteY16" fmla="*/ 133941 h 330388"/>
                <a:gd name="connsiteX17" fmla="*/ 17363 w 331380"/>
                <a:gd name="connsiteY17" fmla="*/ 27780 h 330388"/>
                <a:gd name="connsiteX18" fmla="*/ 312033 w 331380"/>
                <a:gd name="connsiteY18" fmla="*/ 27780 h 330388"/>
                <a:gd name="connsiteX19" fmla="*/ 312033 w 331380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1380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659"/>
                  </a:lnTo>
                  <a:lnTo>
                    <a:pt x="312033" y="169659"/>
                  </a:lnTo>
                  <a:lnTo>
                    <a:pt x="312033" y="328900"/>
                  </a:lnTo>
                  <a:lnTo>
                    <a:pt x="331380" y="328900"/>
                  </a:lnTo>
                  <a:lnTo>
                    <a:pt x="331380" y="169659"/>
                  </a:lnTo>
                  <a:lnTo>
                    <a:pt x="331380" y="133941"/>
                  </a:lnTo>
                  <a:lnTo>
                    <a:pt x="331380" y="27780"/>
                  </a:lnTo>
                  <a:lnTo>
                    <a:pt x="331380" y="17363"/>
                  </a:lnTo>
                  <a:lnTo>
                    <a:pt x="331380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4933F698-2FCB-9DF5-A261-2018ECD9E7C1}"/>
                </a:ext>
              </a:extLst>
            </p:cNvPr>
            <p:cNvSpPr/>
            <p:nvPr/>
          </p:nvSpPr>
          <p:spPr>
            <a:xfrm>
              <a:off x="5543044" y="2464515"/>
              <a:ext cx="330884" cy="330388"/>
            </a:xfrm>
            <a:custGeom>
              <a:avLst/>
              <a:gdLst>
                <a:gd name="connsiteX0" fmla="*/ 496 w 330884"/>
                <a:gd name="connsiteY0" fmla="*/ 0 h 330388"/>
                <a:gd name="connsiteX1" fmla="*/ 496 w 330884"/>
                <a:gd name="connsiteY1" fmla="*/ 16867 h 330388"/>
                <a:gd name="connsiteX2" fmla="*/ 0 w 330884"/>
                <a:gd name="connsiteY2" fmla="*/ 16867 h 330388"/>
                <a:gd name="connsiteX3" fmla="*/ 0 w 330884"/>
                <a:gd name="connsiteY3" fmla="*/ 330388 h 330388"/>
                <a:gd name="connsiteX4" fmla="*/ 16866 w 330884"/>
                <a:gd name="connsiteY4" fmla="*/ 330388 h 330388"/>
                <a:gd name="connsiteX5" fmla="*/ 16866 w 330884"/>
                <a:gd name="connsiteY5" fmla="*/ 169659 h 330388"/>
                <a:gd name="connsiteX6" fmla="*/ 311537 w 330884"/>
                <a:gd name="connsiteY6" fmla="*/ 169659 h 330388"/>
                <a:gd name="connsiteX7" fmla="*/ 311537 w 330884"/>
                <a:gd name="connsiteY7" fmla="*/ 328900 h 330388"/>
                <a:gd name="connsiteX8" fmla="*/ 330884 w 330884"/>
                <a:gd name="connsiteY8" fmla="*/ 328900 h 330388"/>
                <a:gd name="connsiteX9" fmla="*/ 330884 w 330884"/>
                <a:gd name="connsiteY9" fmla="*/ 169659 h 330388"/>
                <a:gd name="connsiteX10" fmla="*/ 330884 w 330884"/>
                <a:gd name="connsiteY10" fmla="*/ 133941 h 330388"/>
                <a:gd name="connsiteX11" fmla="*/ 330884 w 330884"/>
                <a:gd name="connsiteY11" fmla="*/ 27780 h 330388"/>
                <a:gd name="connsiteX12" fmla="*/ 330884 w 330884"/>
                <a:gd name="connsiteY12" fmla="*/ 17363 h 330388"/>
                <a:gd name="connsiteX13" fmla="*/ 330884 w 330884"/>
                <a:gd name="connsiteY13" fmla="*/ 496 h 330388"/>
                <a:gd name="connsiteX14" fmla="*/ 496 w 330884"/>
                <a:gd name="connsiteY14" fmla="*/ 496 h 330388"/>
                <a:gd name="connsiteX15" fmla="*/ 312033 w 330884"/>
                <a:gd name="connsiteY15" fmla="*/ 133941 h 330388"/>
                <a:gd name="connsiteX16" fmla="*/ 17363 w 330884"/>
                <a:gd name="connsiteY16" fmla="*/ 133941 h 330388"/>
                <a:gd name="connsiteX17" fmla="*/ 17363 w 330884"/>
                <a:gd name="connsiteY17" fmla="*/ 27780 h 330388"/>
                <a:gd name="connsiteX18" fmla="*/ 312033 w 330884"/>
                <a:gd name="connsiteY18" fmla="*/ 27780 h 330388"/>
                <a:gd name="connsiteX19" fmla="*/ 312033 w 330884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659"/>
                  </a:lnTo>
                  <a:lnTo>
                    <a:pt x="311537" y="169659"/>
                  </a:lnTo>
                  <a:lnTo>
                    <a:pt x="311537" y="328900"/>
                  </a:lnTo>
                  <a:lnTo>
                    <a:pt x="330884" y="328900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A0129394-E89F-240B-18CB-7739550987C6}"/>
                </a:ext>
              </a:extLst>
            </p:cNvPr>
            <p:cNvSpPr/>
            <p:nvPr/>
          </p:nvSpPr>
          <p:spPr>
            <a:xfrm>
              <a:off x="5013233" y="3096518"/>
              <a:ext cx="330883" cy="330387"/>
            </a:xfrm>
            <a:custGeom>
              <a:avLst/>
              <a:gdLst>
                <a:gd name="connsiteX0" fmla="*/ 496 w 330883"/>
                <a:gd name="connsiteY0" fmla="*/ 0 h 330387"/>
                <a:gd name="connsiteX1" fmla="*/ 496 w 330883"/>
                <a:gd name="connsiteY1" fmla="*/ 16866 h 330387"/>
                <a:gd name="connsiteX2" fmla="*/ 0 w 330883"/>
                <a:gd name="connsiteY2" fmla="*/ 16866 h 330387"/>
                <a:gd name="connsiteX3" fmla="*/ 0 w 330883"/>
                <a:gd name="connsiteY3" fmla="*/ 330388 h 330387"/>
                <a:gd name="connsiteX4" fmla="*/ 16866 w 330883"/>
                <a:gd name="connsiteY4" fmla="*/ 330388 h 330387"/>
                <a:gd name="connsiteX5" fmla="*/ 16866 w 330883"/>
                <a:gd name="connsiteY5" fmla="*/ 169162 h 330387"/>
                <a:gd name="connsiteX6" fmla="*/ 311537 w 330883"/>
                <a:gd name="connsiteY6" fmla="*/ 169162 h 330387"/>
                <a:gd name="connsiteX7" fmla="*/ 311537 w 330883"/>
                <a:gd name="connsiteY7" fmla="*/ 328404 h 330387"/>
                <a:gd name="connsiteX8" fmla="*/ 330884 w 330883"/>
                <a:gd name="connsiteY8" fmla="*/ 328404 h 330387"/>
                <a:gd name="connsiteX9" fmla="*/ 330884 w 330883"/>
                <a:gd name="connsiteY9" fmla="*/ 169162 h 330387"/>
                <a:gd name="connsiteX10" fmla="*/ 330884 w 330883"/>
                <a:gd name="connsiteY10" fmla="*/ 133445 h 330387"/>
                <a:gd name="connsiteX11" fmla="*/ 330884 w 330883"/>
                <a:gd name="connsiteY11" fmla="*/ 27284 h 330387"/>
                <a:gd name="connsiteX12" fmla="*/ 330884 w 330883"/>
                <a:gd name="connsiteY12" fmla="*/ 16866 h 330387"/>
                <a:gd name="connsiteX13" fmla="*/ 330884 w 330883"/>
                <a:gd name="connsiteY13" fmla="*/ 0 h 330387"/>
                <a:gd name="connsiteX14" fmla="*/ 496 w 330883"/>
                <a:gd name="connsiteY14" fmla="*/ 0 h 330387"/>
                <a:gd name="connsiteX15" fmla="*/ 312033 w 330883"/>
                <a:gd name="connsiteY15" fmla="*/ 133445 h 330387"/>
                <a:gd name="connsiteX16" fmla="*/ 17363 w 330883"/>
                <a:gd name="connsiteY16" fmla="*/ 133445 h 330387"/>
                <a:gd name="connsiteX17" fmla="*/ 17363 w 330883"/>
                <a:gd name="connsiteY17" fmla="*/ 27284 h 330387"/>
                <a:gd name="connsiteX18" fmla="*/ 312033 w 330883"/>
                <a:gd name="connsiteY18" fmla="*/ 27284 h 330387"/>
                <a:gd name="connsiteX19" fmla="*/ 312033 w 330883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3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2033" y="133445"/>
                  </a:moveTo>
                  <a:lnTo>
                    <a:pt x="17363" y="133445"/>
                  </a:lnTo>
                  <a:lnTo>
                    <a:pt x="17363" y="27284"/>
                  </a:lnTo>
                  <a:lnTo>
                    <a:pt x="312033" y="27284"/>
                  </a:lnTo>
                  <a:lnTo>
                    <a:pt x="312033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3FDF6ADD-68AF-600E-DF45-34F2DAA89CFC}"/>
                </a:ext>
              </a:extLst>
            </p:cNvPr>
            <p:cNvSpPr/>
            <p:nvPr/>
          </p:nvSpPr>
          <p:spPr>
            <a:xfrm>
              <a:off x="4538487" y="3096518"/>
              <a:ext cx="330884" cy="330387"/>
            </a:xfrm>
            <a:custGeom>
              <a:avLst/>
              <a:gdLst>
                <a:gd name="connsiteX0" fmla="*/ 496 w 330884"/>
                <a:gd name="connsiteY0" fmla="*/ 0 h 330387"/>
                <a:gd name="connsiteX1" fmla="*/ 496 w 330884"/>
                <a:gd name="connsiteY1" fmla="*/ 16866 h 330387"/>
                <a:gd name="connsiteX2" fmla="*/ 0 w 330884"/>
                <a:gd name="connsiteY2" fmla="*/ 16866 h 330387"/>
                <a:gd name="connsiteX3" fmla="*/ 0 w 330884"/>
                <a:gd name="connsiteY3" fmla="*/ 330388 h 330387"/>
                <a:gd name="connsiteX4" fmla="*/ 16866 w 330884"/>
                <a:gd name="connsiteY4" fmla="*/ 330388 h 330387"/>
                <a:gd name="connsiteX5" fmla="*/ 16866 w 330884"/>
                <a:gd name="connsiteY5" fmla="*/ 169162 h 330387"/>
                <a:gd name="connsiteX6" fmla="*/ 311537 w 330884"/>
                <a:gd name="connsiteY6" fmla="*/ 169162 h 330387"/>
                <a:gd name="connsiteX7" fmla="*/ 311537 w 330884"/>
                <a:gd name="connsiteY7" fmla="*/ 328404 h 330387"/>
                <a:gd name="connsiteX8" fmla="*/ 330884 w 330884"/>
                <a:gd name="connsiteY8" fmla="*/ 328404 h 330387"/>
                <a:gd name="connsiteX9" fmla="*/ 330884 w 330884"/>
                <a:gd name="connsiteY9" fmla="*/ 169162 h 330387"/>
                <a:gd name="connsiteX10" fmla="*/ 330884 w 330884"/>
                <a:gd name="connsiteY10" fmla="*/ 133445 h 330387"/>
                <a:gd name="connsiteX11" fmla="*/ 330884 w 330884"/>
                <a:gd name="connsiteY11" fmla="*/ 27284 h 330387"/>
                <a:gd name="connsiteX12" fmla="*/ 330884 w 330884"/>
                <a:gd name="connsiteY12" fmla="*/ 16866 h 330387"/>
                <a:gd name="connsiteX13" fmla="*/ 330884 w 330884"/>
                <a:gd name="connsiteY13" fmla="*/ 0 h 330387"/>
                <a:gd name="connsiteX14" fmla="*/ 496 w 330884"/>
                <a:gd name="connsiteY14" fmla="*/ 0 h 330387"/>
                <a:gd name="connsiteX15" fmla="*/ 311537 w 330884"/>
                <a:gd name="connsiteY15" fmla="*/ 133445 h 330387"/>
                <a:gd name="connsiteX16" fmla="*/ 16866 w 330884"/>
                <a:gd name="connsiteY16" fmla="*/ 133445 h 330387"/>
                <a:gd name="connsiteX17" fmla="*/ 16866 w 330884"/>
                <a:gd name="connsiteY17" fmla="*/ 27284 h 330387"/>
                <a:gd name="connsiteX18" fmla="*/ 311537 w 330884"/>
                <a:gd name="connsiteY18" fmla="*/ 27284 h 330387"/>
                <a:gd name="connsiteX19" fmla="*/ 311537 w 330884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1537" y="133445"/>
                  </a:moveTo>
                  <a:lnTo>
                    <a:pt x="16866" y="133445"/>
                  </a:lnTo>
                  <a:lnTo>
                    <a:pt x="16866" y="27284"/>
                  </a:lnTo>
                  <a:lnTo>
                    <a:pt x="311537" y="27284"/>
                  </a:lnTo>
                  <a:lnTo>
                    <a:pt x="311537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C6A8815D-3DE7-EA9A-85DD-EA68B7D6A300}"/>
                </a:ext>
              </a:extLst>
            </p:cNvPr>
            <p:cNvSpPr/>
            <p:nvPr/>
          </p:nvSpPr>
          <p:spPr>
            <a:xfrm>
              <a:off x="5543540" y="3096518"/>
              <a:ext cx="330884" cy="330387"/>
            </a:xfrm>
            <a:custGeom>
              <a:avLst/>
              <a:gdLst>
                <a:gd name="connsiteX0" fmla="*/ 496 w 330884"/>
                <a:gd name="connsiteY0" fmla="*/ 0 h 330387"/>
                <a:gd name="connsiteX1" fmla="*/ 496 w 330884"/>
                <a:gd name="connsiteY1" fmla="*/ 16866 h 330387"/>
                <a:gd name="connsiteX2" fmla="*/ 0 w 330884"/>
                <a:gd name="connsiteY2" fmla="*/ 16866 h 330387"/>
                <a:gd name="connsiteX3" fmla="*/ 0 w 330884"/>
                <a:gd name="connsiteY3" fmla="*/ 330388 h 330387"/>
                <a:gd name="connsiteX4" fmla="*/ 16867 w 330884"/>
                <a:gd name="connsiteY4" fmla="*/ 330388 h 330387"/>
                <a:gd name="connsiteX5" fmla="*/ 16867 w 330884"/>
                <a:gd name="connsiteY5" fmla="*/ 169162 h 330387"/>
                <a:gd name="connsiteX6" fmla="*/ 311537 w 330884"/>
                <a:gd name="connsiteY6" fmla="*/ 169162 h 330387"/>
                <a:gd name="connsiteX7" fmla="*/ 311537 w 330884"/>
                <a:gd name="connsiteY7" fmla="*/ 328404 h 330387"/>
                <a:gd name="connsiteX8" fmla="*/ 330884 w 330884"/>
                <a:gd name="connsiteY8" fmla="*/ 328404 h 330387"/>
                <a:gd name="connsiteX9" fmla="*/ 330884 w 330884"/>
                <a:gd name="connsiteY9" fmla="*/ 169162 h 330387"/>
                <a:gd name="connsiteX10" fmla="*/ 330884 w 330884"/>
                <a:gd name="connsiteY10" fmla="*/ 133445 h 330387"/>
                <a:gd name="connsiteX11" fmla="*/ 330884 w 330884"/>
                <a:gd name="connsiteY11" fmla="*/ 27284 h 330387"/>
                <a:gd name="connsiteX12" fmla="*/ 330884 w 330884"/>
                <a:gd name="connsiteY12" fmla="*/ 16866 h 330387"/>
                <a:gd name="connsiteX13" fmla="*/ 330884 w 330884"/>
                <a:gd name="connsiteY13" fmla="*/ 0 h 330387"/>
                <a:gd name="connsiteX14" fmla="*/ 496 w 330884"/>
                <a:gd name="connsiteY14" fmla="*/ 0 h 330387"/>
                <a:gd name="connsiteX15" fmla="*/ 312033 w 330884"/>
                <a:gd name="connsiteY15" fmla="*/ 133445 h 330387"/>
                <a:gd name="connsiteX16" fmla="*/ 17363 w 330884"/>
                <a:gd name="connsiteY16" fmla="*/ 133445 h 330387"/>
                <a:gd name="connsiteX17" fmla="*/ 17363 w 330884"/>
                <a:gd name="connsiteY17" fmla="*/ 27284 h 330387"/>
                <a:gd name="connsiteX18" fmla="*/ 312033 w 330884"/>
                <a:gd name="connsiteY18" fmla="*/ 27284 h 330387"/>
                <a:gd name="connsiteX19" fmla="*/ 312033 w 330884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2033" y="133445"/>
                  </a:moveTo>
                  <a:lnTo>
                    <a:pt x="17363" y="133445"/>
                  </a:lnTo>
                  <a:lnTo>
                    <a:pt x="17363" y="27284"/>
                  </a:lnTo>
                  <a:lnTo>
                    <a:pt x="312033" y="27284"/>
                  </a:lnTo>
                  <a:lnTo>
                    <a:pt x="312033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23A7B63D-23AB-479F-E94D-CF7651132874}"/>
                </a:ext>
              </a:extLst>
            </p:cNvPr>
            <p:cNvSpPr/>
            <p:nvPr/>
          </p:nvSpPr>
          <p:spPr>
            <a:xfrm>
              <a:off x="5020674" y="2464515"/>
              <a:ext cx="330883" cy="325427"/>
            </a:xfrm>
            <a:custGeom>
              <a:avLst/>
              <a:gdLst>
                <a:gd name="connsiteX0" fmla="*/ 496 w 330883"/>
                <a:gd name="connsiteY0" fmla="*/ 0 h 325427"/>
                <a:gd name="connsiteX1" fmla="*/ 496 w 330883"/>
                <a:gd name="connsiteY1" fmla="*/ 16867 h 325427"/>
                <a:gd name="connsiteX2" fmla="*/ 0 w 330883"/>
                <a:gd name="connsiteY2" fmla="*/ 16867 h 325427"/>
                <a:gd name="connsiteX3" fmla="*/ 0 w 330883"/>
                <a:gd name="connsiteY3" fmla="*/ 324931 h 325427"/>
                <a:gd name="connsiteX4" fmla="*/ 16866 w 330883"/>
                <a:gd name="connsiteY4" fmla="*/ 324931 h 325427"/>
                <a:gd name="connsiteX5" fmla="*/ 16866 w 330883"/>
                <a:gd name="connsiteY5" fmla="*/ 169659 h 325427"/>
                <a:gd name="connsiteX6" fmla="*/ 142870 w 330883"/>
                <a:gd name="connsiteY6" fmla="*/ 169659 h 325427"/>
                <a:gd name="connsiteX7" fmla="*/ 142870 w 330883"/>
                <a:gd name="connsiteY7" fmla="*/ 325427 h 325427"/>
                <a:gd name="connsiteX8" fmla="*/ 188013 w 330883"/>
                <a:gd name="connsiteY8" fmla="*/ 325427 h 325427"/>
                <a:gd name="connsiteX9" fmla="*/ 188013 w 330883"/>
                <a:gd name="connsiteY9" fmla="*/ 169659 h 325427"/>
                <a:gd name="connsiteX10" fmla="*/ 311537 w 330883"/>
                <a:gd name="connsiteY10" fmla="*/ 169659 h 325427"/>
                <a:gd name="connsiteX11" fmla="*/ 311537 w 330883"/>
                <a:gd name="connsiteY11" fmla="*/ 325427 h 325427"/>
                <a:gd name="connsiteX12" fmla="*/ 330884 w 330883"/>
                <a:gd name="connsiteY12" fmla="*/ 325427 h 325427"/>
                <a:gd name="connsiteX13" fmla="*/ 330884 w 330883"/>
                <a:gd name="connsiteY13" fmla="*/ 169659 h 325427"/>
                <a:gd name="connsiteX14" fmla="*/ 330884 w 330883"/>
                <a:gd name="connsiteY14" fmla="*/ 133941 h 325427"/>
                <a:gd name="connsiteX15" fmla="*/ 330884 w 330883"/>
                <a:gd name="connsiteY15" fmla="*/ 27780 h 325427"/>
                <a:gd name="connsiteX16" fmla="*/ 330884 w 330883"/>
                <a:gd name="connsiteY16" fmla="*/ 17363 h 325427"/>
                <a:gd name="connsiteX17" fmla="*/ 330884 w 330883"/>
                <a:gd name="connsiteY17" fmla="*/ 496 h 325427"/>
                <a:gd name="connsiteX18" fmla="*/ 496 w 330883"/>
                <a:gd name="connsiteY18" fmla="*/ 496 h 325427"/>
                <a:gd name="connsiteX19" fmla="*/ 17363 w 330883"/>
                <a:gd name="connsiteY19" fmla="*/ 133941 h 325427"/>
                <a:gd name="connsiteX20" fmla="*/ 17363 w 330883"/>
                <a:gd name="connsiteY20" fmla="*/ 27780 h 325427"/>
                <a:gd name="connsiteX21" fmla="*/ 143366 w 330883"/>
                <a:gd name="connsiteY21" fmla="*/ 27780 h 325427"/>
                <a:gd name="connsiteX22" fmla="*/ 143366 w 330883"/>
                <a:gd name="connsiteY22" fmla="*/ 133941 h 325427"/>
                <a:gd name="connsiteX23" fmla="*/ 17363 w 330883"/>
                <a:gd name="connsiteY23" fmla="*/ 133941 h 325427"/>
                <a:gd name="connsiteX24" fmla="*/ 312033 w 330883"/>
                <a:gd name="connsiteY24" fmla="*/ 133941 h 325427"/>
                <a:gd name="connsiteX25" fmla="*/ 188510 w 330883"/>
                <a:gd name="connsiteY25" fmla="*/ 133941 h 325427"/>
                <a:gd name="connsiteX26" fmla="*/ 188510 w 330883"/>
                <a:gd name="connsiteY26" fmla="*/ 27780 h 325427"/>
                <a:gd name="connsiteX27" fmla="*/ 312033 w 330883"/>
                <a:gd name="connsiteY27" fmla="*/ 27780 h 325427"/>
                <a:gd name="connsiteX28" fmla="*/ 312033 w 330883"/>
                <a:gd name="connsiteY28" fmla="*/ 133941 h 32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0883" h="325427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24931"/>
                  </a:lnTo>
                  <a:lnTo>
                    <a:pt x="16866" y="324931"/>
                  </a:lnTo>
                  <a:lnTo>
                    <a:pt x="16866" y="169659"/>
                  </a:lnTo>
                  <a:lnTo>
                    <a:pt x="142870" y="169659"/>
                  </a:lnTo>
                  <a:lnTo>
                    <a:pt x="142870" y="325427"/>
                  </a:lnTo>
                  <a:lnTo>
                    <a:pt x="188013" y="325427"/>
                  </a:lnTo>
                  <a:lnTo>
                    <a:pt x="188013" y="169659"/>
                  </a:lnTo>
                  <a:lnTo>
                    <a:pt x="311537" y="169659"/>
                  </a:lnTo>
                  <a:lnTo>
                    <a:pt x="311537" y="325427"/>
                  </a:lnTo>
                  <a:lnTo>
                    <a:pt x="330884" y="325427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17363" y="133941"/>
                  </a:moveTo>
                  <a:lnTo>
                    <a:pt x="17363" y="27780"/>
                  </a:lnTo>
                  <a:lnTo>
                    <a:pt x="143366" y="27780"/>
                  </a:lnTo>
                  <a:lnTo>
                    <a:pt x="143366" y="133941"/>
                  </a:lnTo>
                  <a:lnTo>
                    <a:pt x="17363" y="133941"/>
                  </a:lnTo>
                  <a:close/>
                  <a:moveTo>
                    <a:pt x="312033" y="133941"/>
                  </a:moveTo>
                  <a:lnTo>
                    <a:pt x="188510" y="133941"/>
                  </a:lnTo>
                  <a:lnTo>
                    <a:pt x="188510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EF3438B7-4A22-DC01-E7FE-170BBB9673AE}"/>
                </a:ext>
              </a:extLst>
            </p:cNvPr>
            <p:cNvSpPr/>
            <p:nvPr/>
          </p:nvSpPr>
          <p:spPr>
            <a:xfrm>
              <a:off x="6066406" y="2467491"/>
              <a:ext cx="331380" cy="322450"/>
            </a:xfrm>
            <a:custGeom>
              <a:avLst/>
              <a:gdLst>
                <a:gd name="connsiteX0" fmla="*/ 497 w 331380"/>
                <a:gd name="connsiteY0" fmla="*/ 0 h 322450"/>
                <a:gd name="connsiteX1" fmla="*/ 497 w 331380"/>
                <a:gd name="connsiteY1" fmla="*/ 16867 h 322450"/>
                <a:gd name="connsiteX2" fmla="*/ 0 w 331380"/>
                <a:gd name="connsiteY2" fmla="*/ 16867 h 322450"/>
                <a:gd name="connsiteX3" fmla="*/ 0 w 331380"/>
                <a:gd name="connsiteY3" fmla="*/ 322451 h 322450"/>
                <a:gd name="connsiteX4" fmla="*/ 16867 w 331380"/>
                <a:gd name="connsiteY4" fmla="*/ 322451 h 322450"/>
                <a:gd name="connsiteX5" fmla="*/ 16867 w 331380"/>
                <a:gd name="connsiteY5" fmla="*/ 169163 h 322450"/>
                <a:gd name="connsiteX6" fmla="*/ 144359 w 331380"/>
                <a:gd name="connsiteY6" fmla="*/ 169163 h 322450"/>
                <a:gd name="connsiteX7" fmla="*/ 144359 w 331380"/>
                <a:gd name="connsiteY7" fmla="*/ 322451 h 322450"/>
                <a:gd name="connsiteX8" fmla="*/ 190494 w 331380"/>
                <a:gd name="connsiteY8" fmla="*/ 322451 h 322450"/>
                <a:gd name="connsiteX9" fmla="*/ 190494 w 331380"/>
                <a:gd name="connsiteY9" fmla="*/ 169163 h 322450"/>
                <a:gd name="connsiteX10" fmla="*/ 312033 w 331380"/>
                <a:gd name="connsiteY10" fmla="*/ 169163 h 322450"/>
                <a:gd name="connsiteX11" fmla="*/ 312033 w 331380"/>
                <a:gd name="connsiteY11" fmla="*/ 320962 h 322450"/>
                <a:gd name="connsiteX12" fmla="*/ 331380 w 331380"/>
                <a:gd name="connsiteY12" fmla="*/ 320962 h 322450"/>
                <a:gd name="connsiteX13" fmla="*/ 331380 w 331380"/>
                <a:gd name="connsiteY13" fmla="*/ 169163 h 322450"/>
                <a:gd name="connsiteX14" fmla="*/ 331380 w 331380"/>
                <a:gd name="connsiteY14" fmla="*/ 133445 h 322450"/>
                <a:gd name="connsiteX15" fmla="*/ 331380 w 331380"/>
                <a:gd name="connsiteY15" fmla="*/ 27284 h 322450"/>
                <a:gd name="connsiteX16" fmla="*/ 331380 w 331380"/>
                <a:gd name="connsiteY16" fmla="*/ 16867 h 322450"/>
                <a:gd name="connsiteX17" fmla="*/ 331380 w 331380"/>
                <a:gd name="connsiteY17" fmla="*/ 0 h 322450"/>
                <a:gd name="connsiteX18" fmla="*/ 497 w 331380"/>
                <a:gd name="connsiteY18" fmla="*/ 0 h 322450"/>
                <a:gd name="connsiteX19" fmla="*/ 16867 w 331380"/>
                <a:gd name="connsiteY19" fmla="*/ 133941 h 322450"/>
                <a:gd name="connsiteX20" fmla="*/ 16867 w 331380"/>
                <a:gd name="connsiteY20" fmla="*/ 27780 h 322450"/>
                <a:gd name="connsiteX21" fmla="*/ 144359 w 331380"/>
                <a:gd name="connsiteY21" fmla="*/ 27780 h 322450"/>
                <a:gd name="connsiteX22" fmla="*/ 144359 w 331380"/>
                <a:gd name="connsiteY22" fmla="*/ 133941 h 322450"/>
                <a:gd name="connsiteX23" fmla="*/ 16867 w 331380"/>
                <a:gd name="connsiteY23" fmla="*/ 133941 h 322450"/>
                <a:gd name="connsiteX24" fmla="*/ 312033 w 331380"/>
                <a:gd name="connsiteY24" fmla="*/ 133941 h 322450"/>
                <a:gd name="connsiteX25" fmla="*/ 190494 w 331380"/>
                <a:gd name="connsiteY25" fmla="*/ 133941 h 322450"/>
                <a:gd name="connsiteX26" fmla="*/ 190494 w 331380"/>
                <a:gd name="connsiteY26" fmla="*/ 27780 h 322450"/>
                <a:gd name="connsiteX27" fmla="*/ 312033 w 331380"/>
                <a:gd name="connsiteY27" fmla="*/ 27780 h 322450"/>
                <a:gd name="connsiteX28" fmla="*/ 312033 w 331380"/>
                <a:gd name="connsiteY28" fmla="*/ 133941 h 32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80" h="322450">
                  <a:moveTo>
                    <a:pt x="497" y="0"/>
                  </a:moveTo>
                  <a:lnTo>
                    <a:pt x="497" y="16867"/>
                  </a:lnTo>
                  <a:lnTo>
                    <a:pt x="0" y="16867"/>
                  </a:lnTo>
                  <a:lnTo>
                    <a:pt x="0" y="322451"/>
                  </a:lnTo>
                  <a:lnTo>
                    <a:pt x="16867" y="322451"/>
                  </a:lnTo>
                  <a:lnTo>
                    <a:pt x="16867" y="169163"/>
                  </a:lnTo>
                  <a:lnTo>
                    <a:pt x="144359" y="169163"/>
                  </a:lnTo>
                  <a:lnTo>
                    <a:pt x="144359" y="322451"/>
                  </a:lnTo>
                  <a:lnTo>
                    <a:pt x="190494" y="322451"/>
                  </a:lnTo>
                  <a:lnTo>
                    <a:pt x="190494" y="169163"/>
                  </a:lnTo>
                  <a:lnTo>
                    <a:pt x="312033" y="169163"/>
                  </a:lnTo>
                  <a:lnTo>
                    <a:pt x="312033" y="320962"/>
                  </a:lnTo>
                  <a:lnTo>
                    <a:pt x="331380" y="320962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7" y="0"/>
                  </a:lnTo>
                  <a:close/>
                  <a:moveTo>
                    <a:pt x="16867" y="133941"/>
                  </a:moveTo>
                  <a:lnTo>
                    <a:pt x="16867" y="27780"/>
                  </a:lnTo>
                  <a:lnTo>
                    <a:pt x="144359" y="27780"/>
                  </a:lnTo>
                  <a:lnTo>
                    <a:pt x="144359" y="133941"/>
                  </a:lnTo>
                  <a:lnTo>
                    <a:pt x="16867" y="133941"/>
                  </a:lnTo>
                  <a:close/>
                  <a:moveTo>
                    <a:pt x="312033" y="133941"/>
                  </a:moveTo>
                  <a:lnTo>
                    <a:pt x="190494" y="133941"/>
                  </a:lnTo>
                  <a:lnTo>
                    <a:pt x="190494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6AA37BD8-2095-0E29-83BC-CAC5EE36E7DF}"/>
                </a:ext>
              </a:extLst>
            </p:cNvPr>
            <p:cNvSpPr/>
            <p:nvPr/>
          </p:nvSpPr>
          <p:spPr>
            <a:xfrm>
              <a:off x="5009264" y="3796484"/>
              <a:ext cx="331380" cy="674170"/>
            </a:xfrm>
            <a:custGeom>
              <a:avLst/>
              <a:gdLst>
                <a:gd name="connsiteX0" fmla="*/ 496 w 331380"/>
                <a:gd name="connsiteY0" fmla="*/ 0 h 674170"/>
                <a:gd name="connsiteX1" fmla="*/ 496 w 331380"/>
                <a:gd name="connsiteY1" fmla="*/ 16867 h 674170"/>
                <a:gd name="connsiteX2" fmla="*/ 0 w 331380"/>
                <a:gd name="connsiteY2" fmla="*/ 16867 h 674170"/>
                <a:gd name="connsiteX3" fmla="*/ 0 w 331380"/>
                <a:gd name="connsiteY3" fmla="*/ 674170 h 674170"/>
                <a:gd name="connsiteX4" fmla="*/ 16867 w 331380"/>
                <a:gd name="connsiteY4" fmla="*/ 674170 h 674170"/>
                <a:gd name="connsiteX5" fmla="*/ 16867 w 331380"/>
                <a:gd name="connsiteY5" fmla="*/ 448951 h 674170"/>
                <a:gd name="connsiteX6" fmla="*/ 144359 w 331380"/>
                <a:gd name="connsiteY6" fmla="*/ 448951 h 674170"/>
                <a:gd name="connsiteX7" fmla="*/ 144359 w 331380"/>
                <a:gd name="connsiteY7" fmla="*/ 674170 h 674170"/>
                <a:gd name="connsiteX8" fmla="*/ 190494 w 331380"/>
                <a:gd name="connsiteY8" fmla="*/ 674170 h 674170"/>
                <a:gd name="connsiteX9" fmla="*/ 190494 w 331380"/>
                <a:gd name="connsiteY9" fmla="*/ 448951 h 674170"/>
                <a:gd name="connsiteX10" fmla="*/ 312033 w 331380"/>
                <a:gd name="connsiteY10" fmla="*/ 448951 h 674170"/>
                <a:gd name="connsiteX11" fmla="*/ 312033 w 331380"/>
                <a:gd name="connsiteY11" fmla="*/ 635972 h 674170"/>
                <a:gd name="connsiteX12" fmla="*/ 331380 w 331380"/>
                <a:gd name="connsiteY12" fmla="*/ 635972 h 674170"/>
                <a:gd name="connsiteX13" fmla="*/ 331380 w 331380"/>
                <a:gd name="connsiteY13" fmla="*/ 169163 h 674170"/>
                <a:gd name="connsiteX14" fmla="*/ 331380 w 331380"/>
                <a:gd name="connsiteY14" fmla="*/ 133445 h 674170"/>
                <a:gd name="connsiteX15" fmla="*/ 331380 w 331380"/>
                <a:gd name="connsiteY15" fmla="*/ 27284 h 674170"/>
                <a:gd name="connsiteX16" fmla="*/ 331380 w 331380"/>
                <a:gd name="connsiteY16" fmla="*/ 16867 h 674170"/>
                <a:gd name="connsiteX17" fmla="*/ 331380 w 331380"/>
                <a:gd name="connsiteY17" fmla="*/ 0 h 674170"/>
                <a:gd name="connsiteX18" fmla="*/ 496 w 331380"/>
                <a:gd name="connsiteY18" fmla="*/ 0 h 674170"/>
                <a:gd name="connsiteX19" fmla="*/ 16867 w 331380"/>
                <a:gd name="connsiteY19" fmla="*/ 398847 h 674170"/>
                <a:gd name="connsiteX20" fmla="*/ 16867 w 331380"/>
                <a:gd name="connsiteY20" fmla="*/ 27284 h 674170"/>
                <a:gd name="connsiteX21" fmla="*/ 144359 w 331380"/>
                <a:gd name="connsiteY21" fmla="*/ 27284 h 674170"/>
                <a:gd name="connsiteX22" fmla="*/ 144359 w 331380"/>
                <a:gd name="connsiteY22" fmla="*/ 398847 h 674170"/>
                <a:gd name="connsiteX23" fmla="*/ 16867 w 331380"/>
                <a:gd name="connsiteY23" fmla="*/ 398847 h 674170"/>
                <a:gd name="connsiteX24" fmla="*/ 311537 w 331380"/>
                <a:gd name="connsiteY24" fmla="*/ 398847 h 674170"/>
                <a:gd name="connsiteX25" fmla="*/ 189998 w 331380"/>
                <a:gd name="connsiteY25" fmla="*/ 398847 h 674170"/>
                <a:gd name="connsiteX26" fmla="*/ 189998 w 331380"/>
                <a:gd name="connsiteY26" fmla="*/ 27284 h 674170"/>
                <a:gd name="connsiteX27" fmla="*/ 311537 w 331380"/>
                <a:gd name="connsiteY27" fmla="*/ 27284 h 674170"/>
                <a:gd name="connsiteX28" fmla="*/ 311537 w 331380"/>
                <a:gd name="connsiteY28" fmla="*/ 398847 h 6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80" h="674170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674170"/>
                  </a:lnTo>
                  <a:lnTo>
                    <a:pt x="16867" y="674170"/>
                  </a:lnTo>
                  <a:lnTo>
                    <a:pt x="16867" y="448951"/>
                  </a:lnTo>
                  <a:lnTo>
                    <a:pt x="144359" y="448951"/>
                  </a:lnTo>
                  <a:lnTo>
                    <a:pt x="144359" y="674170"/>
                  </a:lnTo>
                  <a:lnTo>
                    <a:pt x="190494" y="674170"/>
                  </a:lnTo>
                  <a:lnTo>
                    <a:pt x="190494" y="448951"/>
                  </a:lnTo>
                  <a:lnTo>
                    <a:pt x="312033" y="448951"/>
                  </a:lnTo>
                  <a:lnTo>
                    <a:pt x="312033" y="635972"/>
                  </a:lnTo>
                  <a:lnTo>
                    <a:pt x="331380" y="635972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6" y="0"/>
                  </a:lnTo>
                  <a:close/>
                  <a:moveTo>
                    <a:pt x="16867" y="398847"/>
                  </a:moveTo>
                  <a:lnTo>
                    <a:pt x="16867" y="27284"/>
                  </a:lnTo>
                  <a:lnTo>
                    <a:pt x="144359" y="27284"/>
                  </a:lnTo>
                  <a:lnTo>
                    <a:pt x="144359" y="398847"/>
                  </a:lnTo>
                  <a:lnTo>
                    <a:pt x="16867" y="398847"/>
                  </a:lnTo>
                  <a:close/>
                  <a:moveTo>
                    <a:pt x="311537" y="398847"/>
                  </a:moveTo>
                  <a:lnTo>
                    <a:pt x="189998" y="398847"/>
                  </a:lnTo>
                  <a:lnTo>
                    <a:pt x="189998" y="27284"/>
                  </a:lnTo>
                  <a:lnTo>
                    <a:pt x="311537" y="27284"/>
                  </a:lnTo>
                  <a:lnTo>
                    <a:pt x="311537" y="398847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C2B53935-E4EE-DFEE-F0BE-8DE5680585B0}"/>
                </a:ext>
              </a:extLst>
            </p:cNvPr>
            <p:cNvSpPr/>
            <p:nvPr/>
          </p:nvSpPr>
          <p:spPr>
            <a:xfrm>
              <a:off x="4052330" y="3796484"/>
              <a:ext cx="331379" cy="675162"/>
            </a:xfrm>
            <a:custGeom>
              <a:avLst/>
              <a:gdLst>
                <a:gd name="connsiteX0" fmla="*/ 496 w 331379"/>
                <a:gd name="connsiteY0" fmla="*/ 0 h 675162"/>
                <a:gd name="connsiteX1" fmla="*/ 496 w 331379"/>
                <a:gd name="connsiteY1" fmla="*/ 16867 h 675162"/>
                <a:gd name="connsiteX2" fmla="*/ 0 w 331379"/>
                <a:gd name="connsiteY2" fmla="*/ 16867 h 675162"/>
                <a:gd name="connsiteX3" fmla="*/ 0 w 331379"/>
                <a:gd name="connsiteY3" fmla="*/ 299631 h 675162"/>
                <a:gd name="connsiteX4" fmla="*/ 16866 w 331379"/>
                <a:gd name="connsiteY4" fmla="*/ 300623 h 675162"/>
                <a:gd name="connsiteX5" fmla="*/ 16866 w 331379"/>
                <a:gd name="connsiteY5" fmla="*/ 27781 h 675162"/>
                <a:gd name="connsiteX6" fmla="*/ 144359 w 331379"/>
                <a:gd name="connsiteY6" fmla="*/ 27781 h 675162"/>
                <a:gd name="connsiteX7" fmla="*/ 144359 w 331379"/>
                <a:gd name="connsiteY7" fmla="*/ 399343 h 675162"/>
                <a:gd name="connsiteX8" fmla="*/ 127492 w 331379"/>
                <a:gd name="connsiteY8" fmla="*/ 399343 h 675162"/>
                <a:gd name="connsiteX9" fmla="*/ 127492 w 331379"/>
                <a:gd name="connsiteY9" fmla="*/ 399343 h 675162"/>
                <a:gd name="connsiteX10" fmla="*/ 154776 w 331379"/>
                <a:gd name="connsiteY10" fmla="*/ 421170 h 675162"/>
                <a:gd name="connsiteX11" fmla="*/ 165194 w 331379"/>
                <a:gd name="connsiteY11" fmla="*/ 452919 h 675162"/>
                <a:gd name="connsiteX12" fmla="*/ 164698 w 331379"/>
                <a:gd name="connsiteY12" fmla="*/ 483676 h 675162"/>
                <a:gd name="connsiteX13" fmla="*/ 144359 w 331379"/>
                <a:gd name="connsiteY13" fmla="*/ 516417 h 675162"/>
                <a:gd name="connsiteX14" fmla="*/ 144359 w 331379"/>
                <a:gd name="connsiteY14" fmla="*/ 675162 h 675162"/>
                <a:gd name="connsiteX15" fmla="*/ 190494 w 331379"/>
                <a:gd name="connsiteY15" fmla="*/ 675162 h 675162"/>
                <a:gd name="connsiteX16" fmla="*/ 190494 w 331379"/>
                <a:gd name="connsiteY16" fmla="*/ 449943 h 675162"/>
                <a:gd name="connsiteX17" fmla="*/ 312033 w 331379"/>
                <a:gd name="connsiteY17" fmla="*/ 449943 h 675162"/>
                <a:gd name="connsiteX18" fmla="*/ 312033 w 331379"/>
                <a:gd name="connsiteY18" fmla="*/ 636964 h 675162"/>
                <a:gd name="connsiteX19" fmla="*/ 331380 w 331379"/>
                <a:gd name="connsiteY19" fmla="*/ 636964 h 675162"/>
                <a:gd name="connsiteX20" fmla="*/ 331380 w 331379"/>
                <a:gd name="connsiteY20" fmla="*/ 170155 h 675162"/>
                <a:gd name="connsiteX21" fmla="*/ 331380 w 331379"/>
                <a:gd name="connsiteY21" fmla="*/ 134437 h 675162"/>
                <a:gd name="connsiteX22" fmla="*/ 331380 w 331379"/>
                <a:gd name="connsiteY22" fmla="*/ 28277 h 675162"/>
                <a:gd name="connsiteX23" fmla="*/ 331380 w 331379"/>
                <a:gd name="connsiteY23" fmla="*/ 17859 h 675162"/>
                <a:gd name="connsiteX24" fmla="*/ 331380 w 331379"/>
                <a:gd name="connsiteY24" fmla="*/ 992 h 675162"/>
                <a:gd name="connsiteX25" fmla="*/ 496 w 331379"/>
                <a:gd name="connsiteY25" fmla="*/ 992 h 675162"/>
                <a:gd name="connsiteX26" fmla="*/ 312033 w 331379"/>
                <a:gd name="connsiteY26" fmla="*/ 398847 h 675162"/>
                <a:gd name="connsiteX27" fmla="*/ 190494 w 331379"/>
                <a:gd name="connsiteY27" fmla="*/ 398847 h 675162"/>
                <a:gd name="connsiteX28" fmla="*/ 190494 w 331379"/>
                <a:gd name="connsiteY28" fmla="*/ 27284 h 675162"/>
                <a:gd name="connsiteX29" fmla="*/ 312033 w 331379"/>
                <a:gd name="connsiteY29" fmla="*/ 27284 h 675162"/>
                <a:gd name="connsiteX30" fmla="*/ 312033 w 331379"/>
                <a:gd name="connsiteY30" fmla="*/ 398847 h 67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31379" h="675162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299631"/>
                  </a:lnTo>
                  <a:lnTo>
                    <a:pt x="16866" y="300623"/>
                  </a:lnTo>
                  <a:lnTo>
                    <a:pt x="16866" y="27781"/>
                  </a:lnTo>
                  <a:lnTo>
                    <a:pt x="144359" y="27781"/>
                  </a:lnTo>
                  <a:lnTo>
                    <a:pt x="144359" y="399343"/>
                  </a:lnTo>
                  <a:lnTo>
                    <a:pt x="127492" y="399343"/>
                  </a:lnTo>
                  <a:lnTo>
                    <a:pt x="127492" y="399343"/>
                  </a:lnTo>
                  <a:lnTo>
                    <a:pt x="154776" y="421170"/>
                  </a:lnTo>
                  <a:lnTo>
                    <a:pt x="165194" y="452919"/>
                  </a:lnTo>
                  <a:lnTo>
                    <a:pt x="164698" y="483676"/>
                  </a:lnTo>
                  <a:lnTo>
                    <a:pt x="144359" y="516417"/>
                  </a:lnTo>
                  <a:lnTo>
                    <a:pt x="144359" y="675162"/>
                  </a:lnTo>
                  <a:lnTo>
                    <a:pt x="190494" y="675162"/>
                  </a:lnTo>
                  <a:lnTo>
                    <a:pt x="190494" y="449943"/>
                  </a:lnTo>
                  <a:lnTo>
                    <a:pt x="312033" y="449943"/>
                  </a:lnTo>
                  <a:lnTo>
                    <a:pt x="312033" y="636964"/>
                  </a:lnTo>
                  <a:lnTo>
                    <a:pt x="331380" y="636964"/>
                  </a:lnTo>
                  <a:lnTo>
                    <a:pt x="331380" y="170155"/>
                  </a:lnTo>
                  <a:lnTo>
                    <a:pt x="331380" y="134437"/>
                  </a:lnTo>
                  <a:lnTo>
                    <a:pt x="331380" y="28277"/>
                  </a:lnTo>
                  <a:lnTo>
                    <a:pt x="331380" y="17859"/>
                  </a:lnTo>
                  <a:lnTo>
                    <a:pt x="331380" y="992"/>
                  </a:lnTo>
                  <a:lnTo>
                    <a:pt x="496" y="992"/>
                  </a:lnTo>
                  <a:close/>
                  <a:moveTo>
                    <a:pt x="312033" y="398847"/>
                  </a:moveTo>
                  <a:lnTo>
                    <a:pt x="190494" y="398847"/>
                  </a:lnTo>
                  <a:lnTo>
                    <a:pt x="190494" y="27284"/>
                  </a:lnTo>
                  <a:lnTo>
                    <a:pt x="312033" y="27284"/>
                  </a:lnTo>
                  <a:lnTo>
                    <a:pt x="312033" y="398847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7F48DAC4-59BB-CD75-B92B-7897A32CBC0C}"/>
                </a:ext>
              </a:extLst>
            </p:cNvPr>
            <p:cNvSpPr/>
            <p:nvPr/>
          </p:nvSpPr>
          <p:spPr>
            <a:xfrm>
              <a:off x="4053323" y="3093541"/>
              <a:ext cx="331379" cy="325427"/>
            </a:xfrm>
            <a:custGeom>
              <a:avLst/>
              <a:gdLst>
                <a:gd name="connsiteX0" fmla="*/ 496 w 331379"/>
                <a:gd name="connsiteY0" fmla="*/ 0 h 325427"/>
                <a:gd name="connsiteX1" fmla="*/ 496 w 331379"/>
                <a:gd name="connsiteY1" fmla="*/ 16867 h 325427"/>
                <a:gd name="connsiteX2" fmla="*/ 0 w 331379"/>
                <a:gd name="connsiteY2" fmla="*/ 16867 h 325427"/>
                <a:gd name="connsiteX3" fmla="*/ 0 w 331379"/>
                <a:gd name="connsiteY3" fmla="*/ 325427 h 325427"/>
                <a:gd name="connsiteX4" fmla="*/ 16866 w 331379"/>
                <a:gd name="connsiteY4" fmla="*/ 325427 h 325427"/>
                <a:gd name="connsiteX5" fmla="*/ 16866 w 331379"/>
                <a:gd name="connsiteY5" fmla="*/ 169163 h 325427"/>
                <a:gd name="connsiteX6" fmla="*/ 144359 w 331379"/>
                <a:gd name="connsiteY6" fmla="*/ 169163 h 325427"/>
                <a:gd name="connsiteX7" fmla="*/ 144359 w 331379"/>
                <a:gd name="connsiteY7" fmla="*/ 324435 h 325427"/>
                <a:gd name="connsiteX8" fmla="*/ 188510 w 331379"/>
                <a:gd name="connsiteY8" fmla="*/ 324435 h 325427"/>
                <a:gd name="connsiteX9" fmla="*/ 188510 w 331379"/>
                <a:gd name="connsiteY9" fmla="*/ 169163 h 325427"/>
                <a:gd name="connsiteX10" fmla="*/ 312033 w 331379"/>
                <a:gd name="connsiteY10" fmla="*/ 169163 h 325427"/>
                <a:gd name="connsiteX11" fmla="*/ 312033 w 331379"/>
                <a:gd name="connsiteY11" fmla="*/ 323443 h 325427"/>
                <a:gd name="connsiteX12" fmla="*/ 331380 w 331379"/>
                <a:gd name="connsiteY12" fmla="*/ 323443 h 325427"/>
                <a:gd name="connsiteX13" fmla="*/ 331380 w 331379"/>
                <a:gd name="connsiteY13" fmla="*/ 169163 h 325427"/>
                <a:gd name="connsiteX14" fmla="*/ 331380 w 331379"/>
                <a:gd name="connsiteY14" fmla="*/ 133445 h 325427"/>
                <a:gd name="connsiteX15" fmla="*/ 331380 w 331379"/>
                <a:gd name="connsiteY15" fmla="*/ 27284 h 325427"/>
                <a:gd name="connsiteX16" fmla="*/ 331380 w 331379"/>
                <a:gd name="connsiteY16" fmla="*/ 16867 h 325427"/>
                <a:gd name="connsiteX17" fmla="*/ 331380 w 331379"/>
                <a:gd name="connsiteY17" fmla="*/ 0 h 325427"/>
                <a:gd name="connsiteX18" fmla="*/ 496 w 331379"/>
                <a:gd name="connsiteY18" fmla="*/ 0 h 325427"/>
                <a:gd name="connsiteX19" fmla="*/ 16866 w 331379"/>
                <a:gd name="connsiteY19" fmla="*/ 133941 h 325427"/>
                <a:gd name="connsiteX20" fmla="*/ 16866 w 331379"/>
                <a:gd name="connsiteY20" fmla="*/ 27781 h 325427"/>
                <a:gd name="connsiteX21" fmla="*/ 144359 w 331379"/>
                <a:gd name="connsiteY21" fmla="*/ 27781 h 325427"/>
                <a:gd name="connsiteX22" fmla="*/ 144359 w 331379"/>
                <a:gd name="connsiteY22" fmla="*/ 133941 h 325427"/>
                <a:gd name="connsiteX23" fmla="*/ 16866 w 331379"/>
                <a:gd name="connsiteY23" fmla="*/ 133941 h 325427"/>
                <a:gd name="connsiteX24" fmla="*/ 311537 w 331379"/>
                <a:gd name="connsiteY24" fmla="*/ 133941 h 325427"/>
                <a:gd name="connsiteX25" fmla="*/ 188013 w 331379"/>
                <a:gd name="connsiteY25" fmla="*/ 133941 h 325427"/>
                <a:gd name="connsiteX26" fmla="*/ 188013 w 331379"/>
                <a:gd name="connsiteY26" fmla="*/ 27781 h 325427"/>
                <a:gd name="connsiteX27" fmla="*/ 311537 w 331379"/>
                <a:gd name="connsiteY27" fmla="*/ 27781 h 325427"/>
                <a:gd name="connsiteX28" fmla="*/ 311537 w 331379"/>
                <a:gd name="connsiteY28" fmla="*/ 133941 h 32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79" h="325427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25427"/>
                  </a:lnTo>
                  <a:lnTo>
                    <a:pt x="16866" y="325427"/>
                  </a:lnTo>
                  <a:lnTo>
                    <a:pt x="16866" y="169163"/>
                  </a:lnTo>
                  <a:lnTo>
                    <a:pt x="144359" y="169163"/>
                  </a:lnTo>
                  <a:lnTo>
                    <a:pt x="144359" y="324435"/>
                  </a:lnTo>
                  <a:lnTo>
                    <a:pt x="188510" y="324435"/>
                  </a:lnTo>
                  <a:lnTo>
                    <a:pt x="188510" y="169163"/>
                  </a:lnTo>
                  <a:lnTo>
                    <a:pt x="312033" y="169163"/>
                  </a:lnTo>
                  <a:lnTo>
                    <a:pt x="312033" y="323443"/>
                  </a:lnTo>
                  <a:lnTo>
                    <a:pt x="331380" y="323443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6" y="0"/>
                  </a:lnTo>
                  <a:close/>
                  <a:moveTo>
                    <a:pt x="16866" y="133941"/>
                  </a:moveTo>
                  <a:lnTo>
                    <a:pt x="16866" y="27781"/>
                  </a:lnTo>
                  <a:lnTo>
                    <a:pt x="144359" y="27781"/>
                  </a:lnTo>
                  <a:lnTo>
                    <a:pt x="144359" y="133941"/>
                  </a:lnTo>
                  <a:lnTo>
                    <a:pt x="16866" y="133941"/>
                  </a:lnTo>
                  <a:close/>
                  <a:moveTo>
                    <a:pt x="311537" y="133941"/>
                  </a:moveTo>
                  <a:lnTo>
                    <a:pt x="188013" y="133941"/>
                  </a:lnTo>
                  <a:lnTo>
                    <a:pt x="188013" y="27781"/>
                  </a:lnTo>
                  <a:lnTo>
                    <a:pt x="311537" y="27781"/>
                  </a:lnTo>
                  <a:lnTo>
                    <a:pt x="311537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2D024269-4BB4-81C4-7B2D-C55533C7AE04}"/>
                </a:ext>
              </a:extLst>
            </p:cNvPr>
            <p:cNvSpPr/>
            <p:nvPr/>
          </p:nvSpPr>
          <p:spPr>
            <a:xfrm>
              <a:off x="4613891" y="2596471"/>
              <a:ext cx="200415" cy="199919"/>
            </a:xfrm>
            <a:custGeom>
              <a:avLst/>
              <a:gdLst>
                <a:gd name="connsiteX0" fmla="*/ 0 w 200415"/>
                <a:gd name="connsiteY0" fmla="*/ 7937 h 199919"/>
                <a:gd name="connsiteX1" fmla="*/ 11906 w 200415"/>
                <a:gd name="connsiteY1" fmla="*/ 31253 h 199919"/>
                <a:gd name="connsiteX2" fmla="*/ 6449 w 200415"/>
                <a:gd name="connsiteY2" fmla="*/ 50600 h 199919"/>
                <a:gd name="connsiteX3" fmla="*/ 3969 w 200415"/>
                <a:gd name="connsiteY3" fmla="*/ 68955 h 199919"/>
                <a:gd name="connsiteX4" fmla="*/ 496 w 200415"/>
                <a:gd name="connsiteY4" fmla="*/ 76396 h 199919"/>
                <a:gd name="connsiteX5" fmla="*/ 6449 w 200415"/>
                <a:gd name="connsiteY5" fmla="*/ 86814 h 199919"/>
                <a:gd name="connsiteX6" fmla="*/ 23812 w 200415"/>
                <a:gd name="connsiteY6" fmla="*/ 90782 h 199919"/>
                <a:gd name="connsiteX7" fmla="*/ 26292 w 200415"/>
                <a:gd name="connsiteY7" fmla="*/ 114098 h 199919"/>
                <a:gd name="connsiteX8" fmla="*/ 38198 w 200415"/>
                <a:gd name="connsiteY8" fmla="*/ 137910 h 199919"/>
                <a:gd name="connsiteX9" fmla="*/ 44647 w 200415"/>
                <a:gd name="connsiteY9" fmla="*/ 142870 h 199919"/>
                <a:gd name="connsiteX10" fmla="*/ 44151 w 200415"/>
                <a:gd name="connsiteY10" fmla="*/ 155768 h 199919"/>
                <a:gd name="connsiteX11" fmla="*/ 46135 w 200415"/>
                <a:gd name="connsiteY11" fmla="*/ 169162 h 199919"/>
                <a:gd name="connsiteX12" fmla="*/ 30757 w 200415"/>
                <a:gd name="connsiteY12" fmla="*/ 169162 h 199919"/>
                <a:gd name="connsiteX13" fmla="*/ 26788 w 200415"/>
                <a:gd name="connsiteY13" fmla="*/ 185533 h 199919"/>
                <a:gd name="connsiteX14" fmla="*/ 29765 w 200415"/>
                <a:gd name="connsiteY14" fmla="*/ 189998 h 199919"/>
                <a:gd name="connsiteX15" fmla="*/ 46631 w 200415"/>
                <a:gd name="connsiteY15" fmla="*/ 189502 h 199919"/>
                <a:gd name="connsiteX16" fmla="*/ 51096 w 200415"/>
                <a:gd name="connsiteY16" fmla="*/ 188510 h 199919"/>
                <a:gd name="connsiteX17" fmla="*/ 62506 w 200415"/>
                <a:gd name="connsiteY17" fmla="*/ 199919 h 199919"/>
                <a:gd name="connsiteX18" fmla="*/ 146839 w 200415"/>
                <a:gd name="connsiteY18" fmla="*/ 199919 h 199919"/>
                <a:gd name="connsiteX19" fmla="*/ 158745 w 200415"/>
                <a:gd name="connsiteY19" fmla="*/ 187517 h 199919"/>
                <a:gd name="connsiteX20" fmla="*/ 182060 w 200415"/>
                <a:gd name="connsiteY20" fmla="*/ 166186 h 199919"/>
                <a:gd name="connsiteX21" fmla="*/ 196943 w 200415"/>
                <a:gd name="connsiteY21" fmla="*/ 143366 h 199919"/>
                <a:gd name="connsiteX22" fmla="*/ 200415 w 200415"/>
                <a:gd name="connsiteY22" fmla="*/ 121539 h 199919"/>
                <a:gd name="connsiteX23" fmla="*/ 194959 w 200415"/>
                <a:gd name="connsiteY23" fmla="*/ 91278 h 199919"/>
                <a:gd name="connsiteX24" fmla="*/ 184541 w 200415"/>
                <a:gd name="connsiteY24" fmla="*/ 73419 h 199919"/>
                <a:gd name="connsiteX25" fmla="*/ 166682 w 200415"/>
                <a:gd name="connsiteY25" fmla="*/ 66971 h 199919"/>
                <a:gd name="connsiteX26" fmla="*/ 162217 w 200415"/>
                <a:gd name="connsiteY26" fmla="*/ 52584 h 199919"/>
                <a:gd name="connsiteX27" fmla="*/ 170651 w 200415"/>
                <a:gd name="connsiteY27" fmla="*/ 39190 h 199919"/>
                <a:gd name="connsiteX28" fmla="*/ 187021 w 200415"/>
                <a:gd name="connsiteY28" fmla="*/ 31253 h 199919"/>
                <a:gd name="connsiteX29" fmla="*/ 180076 w 200415"/>
                <a:gd name="connsiteY29" fmla="*/ 23812 h 199919"/>
                <a:gd name="connsiteX30" fmla="*/ 159737 w 200415"/>
                <a:gd name="connsiteY30" fmla="*/ 24804 h 199919"/>
                <a:gd name="connsiteX31" fmla="*/ 142374 w 200415"/>
                <a:gd name="connsiteY31" fmla="*/ 38198 h 199919"/>
                <a:gd name="connsiteX32" fmla="*/ 140390 w 200415"/>
                <a:gd name="connsiteY32" fmla="*/ 54569 h 199919"/>
                <a:gd name="connsiteX33" fmla="*/ 145847 w 200415"/>
                <a:gd name="connsiteY33" fmla="*/ 66474 h 199919"/>
                <a:gd name="connsiteX34" fmla="*/ 171643 w 200415"/>
                <a:gd name="connsiteY34" fmla="*/ 88798 h 199919"/>
                <a:gd name="connsiteX35" fmla="*/ 180076 w 200415"/>
                <a:gd name="connsiteY35" fmla="*/ 104176 h 199919"/>
                <a:gd name="connsiteX36" fmla="*/ 178092 w 200415"/>
                <a:gd name="connsiteY36" fmla="*/ 125011 h 199919"/>
                <a:gd name="connsiteX37" fmla="*/ 170155 w 200415"/>
                <a:gd name="connsiteY37" fmla="*/ 132949 h 199919"/>
                <a:gd name="connsiteX38" fmla="*/ 157753 w 200415"/>
                <a:gd name="connsiteY38" fmla="*/ 113602 h 199919"/>
                <a:gd name="connsiteX39" fmla="*/ 137413 w 200415"/>
                <a:gd name="connsiteY39" fmla="*/ 99712 h 199919"/>
                <a:gd name="connsiteX40" fmla="*/ 101200 w 200415"/>
                <a:gd name="connsiteY40" fmla="*/ 94751 h 199919"/>
                <a:gd name="connsiteX41" fmla="*/ 80364 w 200415"/>
                <a:gd name="connsiteY41" fmla="*/ 56057 h 199919"/>
                <a:gd name="connsiteX42" fmla="*/ 77884 w 200415"/>
                <a:gd name="connsiteY42" fmla="*/ 34725 h 199919"/>
                <a:gd name="connsiteX43" fmla="*/ 71435 w 200415"/>
                <a:gd name="connsiteY43" fmla="*/ 23812 h 199919"/>
                <a:gd name="connsiteX44" fmla="*/ 66474 w 200415"/>
                <a:gd name="connsiteY44" fmla="*/ 0 h 199919"/>
                <a:gd name="connsiteX45" fmla="*/ 45639 w 200415"/>
                <a:gd name="connsiteY45" fmla="*/ 14386 h 199919"/>
                <a:gd name="connsiteX46" fmla="*/ 26788 w 200415"/>
                <a:gd name="connsiteY46" fmla="*/ 18355 h 199919"/>
                <a:gd name="connsiteX47" fmla="*/ 8433 w 200415"/>
                <a:gd name="connsiteY47" fmla="*/ 8929 h 199919"/>
                <a:gd name="connsiteX48" fmla="*/ 0 w 200415"/>
                <a:gd name="connsiteY48" fmla="*/ 7937 h 199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00415" h="199919">
                  <a:moveTo>
                    <a:pt x="0" y="7937"/>
                  </a:moveTo>
                  <a:lnTo>
                    <a:pt x="11906" y="31253"/>
                  </a:lnTo>
                  <a:lnTo>
                    <a:pt x="6449" y="50600"/>
                  </a:lnTo>
                  <a:lnTo>
                    <a:pt x="3969" y="68955"/>
                  </a:lnTo>
                  <a:lnTo>
                    <a:pt x="496" y="76396"/>
                  </a:lnTo>
                  <a:lnTo>
                    <a:pt x="6449" y="86814"/>
                  </a:lnTo>
                  <a:lnTo>
                    <a:pt x="23812" y="90782"/>
                  </a:lnTo>
                  <a:lnTo>
                    <a:pt x="26292" y="114098"/>
                  </a:lnTo>
                  <a:lnTo>
                    <a:pt x="38198" y="137910"/>
                  </a:lnTo>
                  <a:lnTo>
                    <a:pt x="44647" y="142870"/>
                  </a:lnTo>
                  <a:lnTo>
                    <a:pt x="44151" y="155768"/>
                  </a:lnTo>
                  <a:lnTo>
                    <a:pt x="46135" y="169162"/>
                  </a:lnTo>
                  <a:lnTo>
                    <a:pt x="30757" y="169162"/>
                  </a:lnTo>
                  <a:lnTo>
                    <a:pt x="26788" y="185533"/>
                  </a:lnTo>
                  <a:lnTo>
                    <a:pt x="29765" y="189998"/>
                  </a:lnTo>
                  <a:lnTo>
                    <a:pt x="46631" y="189502"/>
                  </a:lnTo>
                  <a:lnTo>
                    <a:pt x="51096" y="188510"/>
                  </a:lnTo>
                  <a:lnTo>
                    <a:pt x="62506" y="199919"/>
                  </a:lnTo>
                  <a:lnTo>
                    <a:pt x="146839" y="199919"/>
                  </a:lnTo>
                  <a:lnTo>
                    <a:pt x="158745" y="187517"/>
                  </a:lnTo>
                  <a:lnTo>
                    <a:pt x="182060" y="166186"/>
                  </a:lnTo>
                  <a:lnTo>
                    <a:pt x="196943" y="143366"/>
                  </a:lnTo>
                  <a:lnTo>
                    <a:pt x="200415" y="121539"/>
                  </a:lnTo>
                  <a:lnTo>
                    <a:pt x="194959" y="91278"/>
                  </a:lnTo>
                  <a:lnTo>
                    <a:pt x="184541" y="73419"/>
                  </a:lnTo>
                  <a:lnTo>
                    <a:pt x="166682" y="66971"/>
                  </a:lnTo>
                  <a:lnTo>
                    <a:pt x="162217" y="52584"/>
                  </a:lnTo>
                  <a:lnTo>
                    <a:pt x="170651" y="39190"/>
                  </a:lnTo>
                  <a:lnTo>
                    <a:pt x="187021" y="31253"/>
                  </a:lnTo>
                  <a:lnTo>
                    <a:pt x="180076" y="23812"/>
                  </a:lnTo>
                  <a:cubicBezTo>
                    <a:pt x="180076" y="23812"/>
                    <a:pt x="160233" y="24308"/>
                    <a:pt x="159737" y="24804"/>
                  </a:cubicBezTo>
                  <a:cubicBezTo>
                    <a:pt x="158745" y="25300"/>
                    <a:pt x="142374" y="38198"/>
                    <a:pt x="142374" y="38198"/>
                  </a:cubicBezTo>
                  <a:lnTo>
                    <a:pt x="140390" y="54569"/>
                  </a:lnTo>
                  <a:lnTo>
                    <a:pt x="145847" y="66474"/>
                  </a:lnTo>
                  <a:lnTo>
                    <a:pt x="171643" y="88798"/>
                  </a:lnTo>
                  <a:lnTo>
                    <a:pt x="180076" y="104176"/>
                  </a:lnTo>
                  <a:lnTo>
                    <a:pt x="178092" y="125011"/>
                  </a:lnTo>
                  <a:lnTo>
                    <a:pt x="170155" y="132949"/>
                  </a:lnTo>
                  <a:lnTo>
                    <a:pt x="157753" y="113602"/>
                  </a:lnTo>
                  <a:lnTo>
                    <a:pt x="137413" y="99712"/>
                  </a:lnTo>
                  <a:lnTo>
                    <a:pt x="101200" y="94751"/>
                  </a:lnTo>
                  <a:lnTo>
                    <a:pt x="80364" y="56057"/>
                  </a:lnTo>
                  <a:lnTo>
                    <a:pt x="77884" y="34725"/>
                  </a:lnTo>
                  <a:lnTo>
                    <a:pt x="71435" y="23812"/>
                  </a:lnTo>
                  <a:lnTo>
                    <a:pt x="66474" y="0"/>
                  </a:lnTo>
                  <a:lnTo>
                    <a:pt x="45639" y="14386"/>
                  </a:lnTo>
                  <a:lnTo>
                    <a:pt x="26788" y="18355"/>
                  </a:lnTo>
                  <a:lnTo>
                    <a:pt x="8433" y="8929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1EF28F0D-865B-57BA-7445-365B892CD9DE}"/>
                </a:ext>
              </a:extLst>
            </p:cNvPr>
            <p:cNvSpPr/>
            <p:nvPr/>
          </p:nvSpPr>
          <p:spPr>
            <a:xfrm>
              <a:off x="4025542" y="2795399"/>
              <a:ext cx="125011" cy="62505"/>
            </a:xfrm>
            <a:custGeom>
              <a:avLst/>
              <a:gdLst>
                <a:gd name="connsiteX0" fmla="*/ 2977 w 125011"/>
                <a:gd name="connsiteY0" fmla="*/ 0 h 62505"/>
                <a:gd name="connsiteX1" fmla="*/ 120051 w 125011"/>
                <a:gd name="connsiteY1" fmla="*/ 0 h 62505"/>
                <a:gd name="connsiteX2" fmla="*/ 125012 w 125011"/>
                <a:gd name="connsiteY2" fmla="*/ 10418 h 62505"/>
                <a:gd name="connsiteX3" fmla="*/ 123524 w 125011"/>
                <a:gd name="connsiteY3" fmla="*/ 45639 h 62505"/>
                <a:gd name="connsiteX4" fmla="*/ 121539 w 125011"/>
                <a:gd name="connsiteY4" fmla="*/ 62506 h 62505"/>
                <a:gd name="connsiteX5" fmla="*/ 34230 w 125011"/>
                <a:gd name="connsiteY5" fmla="*/ 60025 h 62505"/>
                <a:gd name="connsiteX6" fmla="*/ 0 w 125011"/>
                <a:gd name="connsiteY6" fmla="*/ 5953 h 6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011" h="62505">
                  <a:moveTo>
                    <a:pt x="2977" y="0"/>
                  </a:moveTo>
                  <a:lnTo>
                    <a:pt x="120051" y="0"/>
                  </a:lnTo>
                  <a:lnTo>
                    <a:pt x="125012" y="10418"/>
                  </a:lnTo>
                  <a:lnTo>
                    <a:pt x="123524" y="45639"/>
                  </a:lnTo>
                  <a:lnTo>
                    <a:pt x="121539" y="62506"/>
                  </a:lnTo>
                  <a:lnTo>
                    <a:pt x="34230" y="60025"/>
                  </a:lnTo>
                  <a:lnTo>
                    <a:pt x="0" y="5953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498BAEC3-B89E-E7B1-D906-E6E326745875}"/>
                </a:ext>
              </a:extLst>
            </p:cNvPr>
            <p:cNvSpPr/>
            <p:nvPr/>
          </p:nvSpPr>
          <p:spPr>
            <a:xfrm>
              <a:off x="4500289" y="2793414"/>
              <a:ext cx="362136" cy="61017"/>
            </a:xfrm>
            <a:custGeom>
              <a:avLst/>
              <a:gdLst>
                <a:gd name="connsiteX0" fmla="*/ 6945 w 362136"/>
                <a:gd name="connsiteY0" fmla="*/ 0 h 61017"/>
                <a:gd name="connsiteX1" fmla="*/ 358168 w 362136"/>
                <a:gd name="connsiteY1" fmla="*/ 0 h 61017"/>
                <a:gd name="connsiteX2" fmla="*/ 362137 w 362136"/>
                <a:gd name="connsiteY2" fmla="*/ 2977 h 61017"/>
                <a:gd name="connsiteX3" fmla="*/ 334853 w 362136"/>
                <a:gd name="connsiteY3" fmla="*/ 61018 h 61017"/>
                <a:gd name="connsiteX4" fmla="*/ 33237 w 362136"/>
                <a:gd name="connsiteY4" fmla="*/ 61018 h 61017"/>
                <a:gd name="connsiteX5" fmla="*/ 26788 w 362136"/>
                <a:gd name="connsiteY5" fmla="*/ 50600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945" y="0"/>
                  </a:moveTo>
                  <a:lnTo>
                    <a:pt x="358168" y="0"/>
                  </a:lnTo>
                  <a:lnTo>
                    <a:pt x="362137" y="2977"/>
                  </a:lnTo>
                  <a:lnTo>
                    <a:pt x="334853" y="61018"/>
                  </a:lnTo>
                  <a:lnTo>
                    <a:pt x="33237" y="61018"/>
                  </a:lnTo>
                  <a:lnTo>
                    <a:pt x="26788" y="50600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C034E718-7B84-F3FB-A781-EED7BA42D275}"/>
                </a:ext>
              </a:extLst>
            </p:cNvPr>
            <p:cNvSpPr/>
            <p:nvPr/>
          </p:nvSpPr>
          <p:spPr>
            <a:xfrm>
              <a:off x="4519636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8168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3237 w 362136"/>
                <a:gd name="connsiteY4" fmla="*/ 61018 h 61017"/>
                <a:gd name="connsiteX5" fmla="*/ 26788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8168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3237" y="61018"/>
                  </a:lnTo>
                  <a:lnTo>
                    <a:pt x="26788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F24AAF5F-2EBE-2350-700B-1408924DF3D3}"/>
                </a:ext>
              </a:extLst>
            </p:cNvPr>
            <p:cNvSpPr/>
            <p:nvPr/>
          </p:nvSpPr>
          <p:spPr>
            <a:xfrm>
              <a:off x="5528162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2741" y="61018"/>
                  </a:lnTo>
                  <a:lnTo>
                    <a:pt x="26292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06CE8AED-0698-13E4-DB3B-A7CE524F8E94}"/>
                </a:ext>
              </a:extLst>
            </p:cNvPr>
            <p:cNvSpPr/>
            <p:nvPr/>
          </p:nvSpPr>
          <p:spPr>
            <a:xfrm>
              <a:off x="5528162" y="2794406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0600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2741" y="61018"/>
                  </a:lnTo>
                  <a:lnTo>
                    <a:pt x="26292" y="50600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E5EBEA49-21AC-3D47-3645-7C7D3895D8D9}"/>
                </a:ext>
              </a:extLst>
            </p:cNvPr>
            <p:cNvSpPr/>
            <p:nvPr/>
          </p:nvSpPr>
          <p:spPr>
            <a:xfrm>
              <a:off x="4952215" y="2982916"/>
              <a:ext cx="470778" cy="33733"/>
            </a:xfrm>
            <a:custGeom>
              <a:avLst/>
              <a:gdLst>
                <a:gd name="connsiteX0" fmla="*/ 8433 w 470778"/>
                <a:gd name="connsiteY0" fmla="*/ 0 h 33733"/>
                <a:gd name="connsiteX1" fmla="*/ 465817 w 470778"/>
                <a:gd name="connsiteY1" fmla="*/ 0 h 33733"/>
                <a:gd name="connsiteX2" fmla="*/ 470778 w 470778"/>
                <a:gd name="connsiteY2" fmla="*/ 1984 h 33733"/>
                <a:gd name="connsiteX3" fmla="*/ 455400 w 470778"/>
                <a:gd name="connsiteY3" fmla="*/ 33733 h 33733"/>
                <a:gd name="connsiteX4" fmla="*/ 25796 w 470778"/>
                <a:gd name="connsiteY4" fmla="*/ 33733 h 33733"/>
                <a:gd name="connsiteX5" fmla="*/ 0 w 470778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8" h="33733">
                  <a:moveTo>
                    <a:pt x="8433" y="0"/>
                  </a:moveTo>
                  <a:lnTo>
                    <a:pt x="465817" y="0"/>
                  </a:lnTo>
                  <a:lnTo>
                    <a:pt x="470778" y="1984"/>
                  </a:lnTo>
                  <a:lnTo>
                    <a:pt x="455400" y="33733"/>
                  </a:lnTo>
                  <a:lnTo>
                    <a:pt x="25796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754F6454-D0CD-F0E9-A834-057D1C00EE83}"/>
                </a:ext>
              </a:extLst>
            </p:cNvPr>
            <p:cNvSpPr/>
            <p:nvPr/>
          </p:nvSpPr>
          <p:spPr>
            <a:xfrm>
              <a:off x="3977919" y="3610951"/>
              <a:ext cx="470777" cy="33733"/>
            </a:xfrm>
            <a:custGeom>
              <a:avLst/>
              <a:gdLst>
                <a:gd name="connsiteX0" fmla="*/ 8433 w 470777"/>
                <a:gd name="connsiteY0" fmla="*/ 0 h 33733"/>
                <a:gd name="connsiteX1" fmla="*/ 465321 w 470777"/>
                <a:gd name="connsiteY1" fmla="*/ 0 h 33733"/>
                <a:gd name="connsiteX2" fmla="*/ 470778 w 470777"/>
                <a:gd name="connsiteY2" fmla="*/ 1488 h 33733"/>
                <a:gd name="connsiteX3" fmla="*/ 454904 w 470777"/>
                <a:gd name="connsiteY3" fmla="*/ 33733 h 33733"/>
                <a:gd name="connsiteX4" fmla="*/ 25300 w 470777"/>
                <a:gd name="connsiteY4" fmla="*/ 33733 h 33733"/>
                <a:gd name="connsiteX5" fmla="*/ 0 w 470777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7" h="33733">
                  <a:moveTo>
                    <a:pt x="8433" y="0"/>
                  </a:moveTo>
                  <a:lnTo>
                    <a:pt x="465321" y="0"/>
                  </a:lnTo>
                  <a:lnTo>
                    <a:pt x="470778" y="1488"/>
                  </a:lnTo>
                  <a:lnTo>
                    <a:pt x="454904" y="33733"/>
                  </a:lnTo>
                  <a:lnTo>
                    <a:pt x="25300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D6F644D8-D7BD-36D0-19AF-B4E2909EF9F4}"/>
                </a:ext>
              </a:extLst>
            </p:cNvPr>
            <p:cNvSpPr/>
            <p:nvPr/>
          </p:nvSpPr>
          <p:spPr>
            <a:xfrm>
              <a:off x="5998940" y="2982916"/>
              <a:ext cx="470778" cy="33733"/>
            </a:xfrm>
            <a:custGeom>
              <a:avLst/>
              <a:gdLst>
                <a:gd name="connsiteX0" fmla="*/ 8434 w 470778"/>
                <a:gd name="connsiteY0" fmla="*/ 0 h 33733"/>
                <a:gd name="connsiteX1" fmla="*/ 465817 w 470778"/>
                <a:gd name="connsiteY1" fmla="*/ 0 h 33733"/>
                <a:gd name="connsiteX2" fmla="*/ 470778 w 470778"/>
                <a:gd name="connsiteY2" fmla="*/ 1984 h 33733"/>
                <a:gd name="connsiteX3" fmla="*/ 455400 w 470778"/>
                <a:gd name="connsiteY3" fmla="*/ 33733 h 33733"/>
                <a:gd name="connsiteX4" fmla="*/ 25796 w 470778"/>
                <a:gd name="connsiteY4" fmla="*/ 33733 h 33733"/>
                <a:gd name="connsiteX5" fmla="*/ 0 w 470778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8" h="33733">
                  <a:moveTo>
                    <a:pt x="8434" y="0"/>
                  </a:moveTo>
                  <a:lnTo>
                    <a:pt x="465817" y="0"/>
                  </a:lnTo>
                  <a:lnTo>
                    <a:pt x="470778" y="1984"/>
                  </a:lnTo>
                  <a:lnTo>
                    <a:pt x="455400" y="33733"/>
                  </a:lnTo>
                  <a:lnTo>
                    <a:pt x="25796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B5F68B91-F9EF-26B9-24B9-32DB1AFB828A}"/>
                </a:ext>
              </a:extLst>
            </p:cNvPr>
            <p:cNvSpPr/>
            <p:nvPr/>
          </p:nvSpPr>
          <p:spPr>
            <a:xfrm>
              <a:off x="4996862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7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7" y="61018"/>
                  </a:lnTo>
                  <a:lnTo>
                    <a:pt x="32741" y="61018"/>
                  </a:lnTo>
                  <a:lnTo>
                    <a:pt x="26292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3DF2264B-CE9D-4848-94B6-4A5A2A593C09}"/>
                </a:ext>
              </a:extLst>
            </p:cNvPr>
            <p:cNvSpPr/>
            <p:nvPr/>
          </p:nvSpPr>
          <p:spPr>
            <a:xfrm>
              <a:off x="3975934" y="3415992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3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80203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94A0D455-246B-D6EB-4D37-DFE16F7CA392}"/>
                </a:ext>
              </a:extLst>
            </p:cNvPr>
            <p:cNvSpPr/>
            <p:nvPr/>
          </p:nvSpPr>
          <p:spPr>
            <a:xfrm>
              <a:off x="4942294" y="2788453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4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79707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67D4A4A5-9194-D96F-9C40-26C8DF0C31B3}"/>
                </a:ext>
              </a:extLst>
            </p:cNvPr>
            <p:cNvSpPr/>
            <p:nvPr/>
          </p:nvSpPr>
          <p:spPr>
            <a:xfrm>
              <a:off x="5991499" y="2788453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4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80204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9692BAA1-3C99-13F5-A5C4-9DA33EEFEF60}"/>
                </a:ext>
              </a:extLst>
            </p:cNvPr>
            <p:cNvSpPr/>
            <p:nvPr/>
          </p:nvSpPr>
          <p:spPr>
            <a:xfrm>
              <a:off x="4275069" y="2793414"/>
              <a:ext cx="112113" cy="64490"/>
            </a:xfrm>
            <a:custGeom>
              <a:avLst/>
              <a:gdLst>
                <a:gd name="connsiteX0" fmla="*/ 0 w 112113"/>
                <a:gd name="connsiteY0" fmla="*/ 1984 h 64490"/>
                <a:gd name="connsiteX1" fmla="*/ 105169 w 112113"/>
                <a:gd name="connsiteY1" fmla="*/ 0 h 64490"/>
                <a:gd name="connsiteX2" fmla="*/ 112114 w 112113"/>
                <a:gd name="connsiteY2" fmla="*/ 5457 h 64490"/>
                <a:gd name="connsiteX3" fmla="*/ 87310 w 112113"/>
                <a:gd name="connsiteY3" fmla="*/ 58537 h 64490"/>
                <a:gd name="connsiteX4" fmla="*/ 80861 w 112113"/>
                <a:gd name="connsiteY4" fmla="*/ 64490 h 64490"/>
                <a:gd name="connsiteX5" fmla="*/ 4465 w 112113"/>
                <a:gd name="connsiteY5" fmla="*/ 64490 h 6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13" h="64490">
                  <a:moveTo>
                    <a:pt x="0" y="1984"/>
                  </a:moveTo>
                  <a:lnTo>
                    <a:pt x="105169" y="0"/>
                  </a:lnTo>
                  <a:lnTo>
                    <a:pt x="112114" y="5457"/>
                  </a:lnTo>
                  <a:lnTo>
                    <a:pt x="87310" y="58537"/>
                  </a:lnTo>
                  <a:lnTo>
                    <a:pt x="80861" y="64490"/>
                  </a:lnTo>
                  <a:lnTo>
                    <a:pt x="4465" y="64490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F4F8B1D2-E0DC-865C-EA99-A9992C5F5CCA}"/>
                </a:ext>
              </a:extLst>
            </p:cNvPr>
            <p:cNvSpPr/>
            <p:nvPr/>
          </p:nvSpPr>
          <p:spPr>
            <a:xfrm>
              <a:off x="4896228" y="4612073"/>
              <a:ext cx="182107" cy="242783"/>
            </a:xfrm>
            <a:custGeom>
              <a:avLst/>
              <a:gdLst>
                <a:gd name="connsiteX0" fmla="*/ 55987 w 182107"/>
                <a:gd name="connsiteY0" fmla="*/ 8396 h 242783"/>
                <a:gd name="connsiteX1" fmla="*/ 31680 w 182107"/>
                <a:gd name="connsiteY1" fmla="*/ 27743 h 242783"/>
                <a:gd name="connsiteX2" fmla="*/ 12829 w 182107"/>
                <a:gd name="connsiteY2" fmla="*/ 58500 h 242783"/>
                <a:gd name="connsiteX3" fmla="*/ 3403 w 182107"/>
                <a:gd name="connsiteY3" fmla="*/ 87769 h 242783"/>
                <a:gd name="connsiteX4" fmla="*/ 427 w 182107"/>
                <a:gd name="connsiteY4" fmla="*/ 111084 h 242783"/>
                <a:gd name="connsiteX5" fmla="*/ 45074 w 182107"/>
                <a:gd name="connsiteY5" fmla="*/ 225678 h 242783"/>
                <a:gd name="connsiteX6" fmla="*/ 141313 w 182107"/>
                <a:gd name="connsiteY6" fmla="*/ 221710 h 242783"/>
                <a:gd name="connsiteX7" fmla="*/ 181495 w 182107"/>
                <a:gd name="connsiteY7" fmla="*/ 108604 h 242783"/>
                <a:gd name="connsiteX8" fmla="*/ 55987 w 182107"/>
                <a:gd name="connsiteY8" fmla="*/ 8396 h 24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107" h="242783">
                  <a:moveTo>
                    <a:pt x="55987" y="8396"/>
                  </a:moveTo>
                  <a:lnTo>
                    <a:pt x="31680" y="27743"/>
                  </a:lnTo>
                  <a:lnTo>
                    <a:pt x="12829" y="58500"/>
                  </a:lnTo>
                  <a:lnTo>
                    <a:pt x="3403" y="87769"/>
                  </a:lnTo>
                  <a:lnTo>
                    <a:pt x="427" y="111084"/>
                  </a:lnTo>
                  <a:cubicBezTo>
                    <a:pt x="427" y="111084"/>
                    <a:pt x="-7511" y="185000"/>
                    <a:pt x="45074" y="225678"/>
                  </a:cubicBezTo>
                  <a:cubicBezTo>
                    <a:pt x="97658" y="266357"/>
                    <a:pt x="141313" y="221710"/>
                    <a:pt x="141313" y="221710"/>
                  </a:cubicBezTo>
                  <a:cubicBezTo>
                    <a:pt x="141313" y="221710"/>
                    <a:pt x="187944" y="178055"/>
                    <a:pt x="181495" y="108604"/>
                  </a:cubicBezTo>
                  <a:cubicBezTo>
                    <a:pt x="175542" y="38161"/>
                    <a:pt x="124942" y="-22857"/>
                    <a:pt x="55987" y="8396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320BA6CB-BB9F-3FEB-6104-7D2137153FCB}"/>
                </a:ext>
              </a:extLst>
            </p:cNvPr>
            <p:cNvSpPr/>
            <p:nvPr/>
          </p:nvSpPr>
          <p:spPr>
            <a:xfrm>
              <a:off x="5026976" y="4699346"/>
              <a:ext cx="164349" cy="224571"/>
            </a:xfrm>
            <a:custGeom>
              <a:avLst/>
              <a:gdLst>
                <a:gd name="connsiteX0" fmla="*/ 47771 w 164349"/>
                <a:gd name="connsiteY0" fmla="*/ 0 h 224571"/>
                <a:gd name="connsiteX1" fmla="*/ 29416 w 164349"/>
                <a:gd name="connsiteY1" fmla="*/ 109633 h 224571"/>
                <a:gd name="connsiteX2" fmla="*/ 147 w 164349"/>
                <a:gd name="connsiteY2" fmla="*/ 139894 h 224571"/>
                <a:gd name="connsiteX3" fmla="*/ 43802 w 164349"/>
                <a:gd name="connsiteY3" fmla="*/ 198927 h 224571"/>
                <a:gd name="connsiteX4" fmla="*/ 51243 w 164349"/>
                <a:gd name="connsiteY4" fmla="*/ 197439 h 224571"/>
                <a:gd name="connsiteX5" fmla="*/ 118214 w 164349"/>
                <a:gd name="connsiteY5" fmla="*/ 223235 h 224571"/>
                <a:gd name="connsiteX6" fmla="*/ 164349 w 164349"/>
                <a:gd name="connsiteY6" fmla="*/ 132949 h 224571"/>
                <a:gd name="connsiteX7" fmla="*/ 120198 w 164349"/>
                <a:gd name="connsiteY7" fmla="*/ 165194 h 224571"/>
                <a:gd name="connsiteX8" fmla="*/ 70094 w 164349"/>
                <a:gd name="connsiteY8" fmla="*/ 58041 h 224571"/>
                <a:gd name="connsiteX9" fmla="*/ 47771 w 164349"/>
                <a:gd name="connsiteY9" fmla="*/ 0 h 22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349" h="224571">
                  <a:moveTo>
                    <a:pt x="47771" y="0"/>
                  </a:moveTo>
                  <a:cubicBezTo>
                    <a:pt x="47771" y="0"/>
                    <a:pt x="62653" y="59529"/>
                    <a:pt x="29416" y="109633"/>
                  </a:cubicBezTo>
                  <a:cubicBezTo>
                    <a:pt x="-3821" y="159737"/>
                    <a:pt x="147" y="139894"/>
                    <a:pt x="147" y="139894"/>
                  </a:cubicBezTo>
                  <a:lnTo>
                    <a:pt x="43802" y="198927"/>
                  </a:lnTo>
                  <a:lnTo>
                    <a:pt x="51243" y="197439"/>
                  </a:lnTo>
                  <a:cubicBezTo>
                    <a:pt x="51243" y="197439"/>
                    <a:pt x="82993" y="231668"/>
                    <a:pt x="118214" y="223235"/>
                  </a:cubicBezTo>
                  <a:cubicBezTo>
                    <a:pt x="153435" y="214802"/>
                    <a:pt x="161373" y="188014"/>
                    <a:pt x="164349" y="132949"/>
                  </a:cubicBezTo>
                  <a:cubicBezTo>
                    <a:pt x="158396" y="151304"/>
                    <a:pt x="151947" y="180572"/>
                    <a:pt x="120198" y="165194"/>
                  </a:cubicBezTo>
                  <a:cubicBezTo>
                    <a:pt x="88449" y="149816"/>
                    <a:pt x="70591" y="117075"/>
                    <a:pt x="70094" y="58041"/>
                  </a:cubicBezTo>
                  <a:cubicBezTo>
                    <a:pt x="70094" y="33733"/>
                    <a:pt x="47771" y="0"/>
                    <a:pt x="47771" y="0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659EDB2F-290A-126C-1E14-B06B1F6D52D5}"/>
                </a:ext>
              </a:extLst>
            </p:cNvPr>
            <p:cNvSpPr/>
            <p:nvPr/>
          </p:nvSpPr>
          <p:spPr>
            <a:xfrm>
              <a:off x="4043401" y="4600130"/>
              <a:ext cx="38694" cy="104176"/>
            </a:xfrm>
            <a:custGeom>
              <a:avLst/>
              <a:gdLst>
                <a:gd name="connsiteX0" fmla="*/ 0 w 38694"/>
                <a:gd name="connsiteY0" fmla="*/ 102192 h 104176"/>
                <a:gd name="connsiteX1" fmla="*/ 5953 w 38694"/>
                <a:gd name="connsiteY1" fmla="*/ 104176 h 104176"/>
                <a:gd name="connsiteX2" fmla="*/ 19347 w 38694"/>
                <a:gd name="connsiteY2" fmla="*/ 99712 h 104176"/>
                <a:gd name="connsiteX3" fmla="*/ 31749 w 38694"/>
                <a:gd name="connsiteY3" fmla="*/ 104176 h 104176"/>
                <a:gd name="connsiteX4" fmla="*/ 38694 w 38694"/>
                <a:gd name="connsiteY4" fmla="*/ 96735 h 104176"/>
                <a:gd name="connsiteX5" fmla="*/ 36710 w 38694"/>
                <a:gd name="connsiteY5" fmla="*/ 7441 h 104176"/>
                <a:gd name="connsiteX6" fmla="*/ 25796 w 38694"/>
                <a:gd name="connsiteY6" fmla="*/ 0 h 104176"/>
                <a:gd name="connsiteX7" fmla="*/ 13890 w 38694"/>
                <a:gd name="connsiteY7" fmla="*/ 6449 h 104176"/>
                <a:gd name="connsiteX8" fmla="*/ 13394 w 38694"/>
                <a:gd name="connsiteY8" fmla="*/ 22324 h 104176"/>
                <a:gd name="connsiteX9" fmla="*/ 992 w 38694"/>
                <a:gd name="connsiteY9" fmla="*/ 59529 h 104176"/>
                <a:gd name="connsiteX10" fmla="*/ 0 w 38694"/>
                <a:gd name="connsiteY10" fmla="*/ 88798 h 10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694" h="104176">
                  <a:moveTo>
                    <a:pt x="0" y="102192"/>
                  </a:moveTo>
                  <a:lnTo>
                    <a:pt x="5953" y="104176"/>
                  </a:lnTo>
                  <a:lnTo>
                    <a:pt x="19347" y="99712"/>
                  </a:lnTo>
                  <a:lnTo>
                    <a:pt x="31749" y="104176"/>
                  </a:lnTo>
                  <a:lnTo>
                    <a:pt x="38694" y="96735"/>
                  </a:lnTo>
                  <a:lnTo>
                    <a:pt x="36710" y="7441"/>
                  </a:lnTo>
                  <a:lnTo>
                    <a:pt x="25796" y="0"/>
                  </a:lnTo>
                  <a:lnTo>
                    <a:pt x="13890" y="6449"/>
                  </a:lnTo>
                  <a:lnTo>
                    <a:pt x="13394" y="22324"/>
                  </a:lnTo>
                  <a:lnTo>
                    <a:pt x="992" y="59529"/>
                  </a:lnTo>
                  <a:lnTo>
                    <a:pt x="0" y="88798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DA83C437-285B-CBD2-F110-41B3AFAED4F3}"/>
                </a:ext>
              </a:extLst>
            </p:cNvPr>
            <p:cNvSpPr/>
            <p:nvPr/>
          </p:nvSpPr>
          <p:spPr>
            <a:xfrm>
              <a:off x="3854891" y="3408551"/>
              <a:ext cx="1984" cy="178588"/>
            </a:xfrm>
            <a:custGeom>
              <a:avLst/>
              <a:gdLst>
                <a:gd name="connsiteX0" fmla="*/ 1488 w 1984"/>
                <a:gd name="connsiteY0" fmla="*/ 0 h 178588"/>
                <a:gd name="connsiteX1" fmla="*/ 1984 w 1984"/>
                <a:gd name="connsiteY1" fmla="*/ 16371 h 178588"/>
                <a:gd name="connsiteX2" fmla="*/ 1488 w 1984"/>
                <a:gd name="connsiteY2" fmla="*/ 32245 h 178588"/>
                <a:gd name="connsiteX3" fmla="*/ 496 w 1984"/>
                <a:gd name="connsiteY3" fmla="*/ 48120 h 178588"/>
                <a:gd name="connsiteX4" fmla="*/ 992 w 1984"/>
                <a:gd name="connsiteY4" fmla="*/ 64490 h 178588"/>
                <a:gd name="connsiteX5" fmla="*/ 1984 w 1984"/>
                <a:gd name="connsiteY5" fmla="*/ 80861 h 178588"/>
                <a:gd name="connsiteX6" fmla="*/ 1488 w 1984"/>
                <a:gd name="connsiteY6" fmla="*/ 96735 h 178588"/>
                <a:gd name="connsiteX7" fmla="*/ 1488 w 1984"/>
                <a:gd name="connsiteY7" fmla="*/ 113106 h 178588"/>
                <a:gd name="connsiteX8" fmla="*/ 992 w 1984"/>
                <a:gd name="connsiteY8" fmla="*/ 129477 h 178588"/>
                <a:gd name="connsiteX9" fmla="*/ 1488 w 1984"/>
                <a:gd name="connsiteY9" fmla="*/ 145847 h 178588"/>
                <a:gd name="connsiteX10" fmla="*/ 496 w 1984"/>
                <a:gd name="connsiteY10" fmla="*/ 162218 h 178588"/>
                <a:gd name="connsiteX11" fmla="*/ 0 w 1984"/>
                <a:gd name="connsiteY11" fmla="*/ 178588 h 178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4" h="178588">
                  <a:moveTo>
                    <a:pt x="1488" y="0"/>
                  </a:moveTo>
                  <a:cubicBezTo>
                    <a:pt x="1488" y="7937"/>
                    <a:pt x="1984" y="7937"/>
                    <a:pt x="1984" y="16371"/>
                  </a:cubicBezTo>
                  <a:cubicBezTo>
                    <a:pt x="1984" y="24308"/>
                    <a:pt x="1488" y="24308"/>
                    <a:pt x="1488" y="32245"/>
                  </a:cubicBezTo>
                  <a:cubicBezTo>
                    <a:pt x="1488" y="40182"/>
                    <a:pt x="496" y="40182"/>
                    <a:pt x="496" y="48120"/>
                  </a:cubicBezTo>
                  <a:cubicBezTo>
                    <a:pt x="496" y="56057"/>
                    <a:pt x="992" y="56057"/>
                    <a:pt x="992" y="64490"/>
                  </a:cubicBezTo>
                  <a:cubicBezTo>
                    <a:pt x="992" y="72924"/>
                    <a:pt x="1984" y="72428"/>
                    <a:pt x="1984" y="80861"/>
                  </a:cubicBezTo>
                  <a:cubicBezTo>
                    <a:pt x="1984" y="88798"/>
                    <a:pt x="1488" y="88798"/>
                    <a:pt x="1488" y="96735"/>
                  </a:cubicBezTo>
                  <a:cubicBezTo>
                    <a:pt x="1488" y="104673"/>
                    <a:pt x="1488" y="104673"/>
                    <a:pt x="1488" y="113106"/>
                  </a:cubicBezTo>
                  <a:cubicBezTo>
                    <a:pt x="1488" y="121043"/>
                    <a:pt x="992" y="121043"/>
                    <a:pt x="992" y="129477"/>
                  </a:cubicBezTo>
                  <a:cubicBezTo>
                    <a:pt x="992" y="137414"/>
                    <a:pt x="1488" y="137414"/>
                    <a:pt x="1488" y="145847"/>
                  </a:cubicBezTo>
                  <a:cubicBezTo>
                    <a:pt x="1488" y="153784"/>
                    <a:pt x="496" y="153784"/>
                    <a:pt x="496" y="162218"/>
                  </a:cubicBezTo>
                  <a:cubicBezTo>
                    <a:pt x="496" y="170155"/>
                    <a:pt x="0" y="170155"/>
                    <a:pt x="0" y="1785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AD4EC517-4FCB-AFED-B5A8-B0988B690F39}"/>
                </a:ext>
              </a:extLst>
            </p:cNvPr>
            <p:cNvSpPr/>
            <p:nvPr/>
          </p:nvSpPr>
          <p:spPr>
            <a:xfrm>
              <a:off x="3855387" y="2816234"/>
              <a:ext cx="1984" cy="180076"/>
            </a:xfrm>
            <a:custGeom>
              <a:avLst/>
              <a:gdLst>
                <a:gd name="connsiteX0" fmla="*/ 1488 w 1984"/>
                <a:gd name="connsiteY0" fmla="*/ 0 h 180076"/>
                <a:gd name="connsiteX1" fmla="*/ 496 w 1984"/>
                <a:gd name="connsiteY1" fmla="*/ 16371 h 180076"/>
                <a:gd name="connsiteX2" fmla="*/ 1488 w 1984"/>
                <a:gd name="connsiteY2" fmla="*/ 32741 h 180076"/>
                <a:gd name="connsiteX3" fmla="*/ 0 w 1984"/>
                <a:gd name="connsiteY3" fmla="*/ 49112 h 180076"/>
                <a:gd name="connsiteX4" fmla="*/ 1984 w 1984"/>
                <a:gd name="connsiteY4" fmla="*/ 65482 h 180076"/>
                <a:gd name="connsiteX5" fmla="*/ 1488 w 1984"/>
                <a:gd name="connsiteY5" fmla="*/ 81853 h 180076"/>
                <a:gd name="connsiteX6" fmla="*/ 1984 w 1984"/>
                <a:gd name="connsiteY6" fmla="*/ 98223 h 180076"/>
                <a:gd name="connsiteX7" fmla="*/ 992 w 1984"/>
                <a:gd name="connsiteY7" fmla="*/ 114594 h 180076"/>
                <a:gd name="connsiteX8" fmla="*/ 1984 w 1984"/>
                <a:gd name="connsiteY8" fmla="*/ 130964 h 180076"/>
                <a:gd name="connsiteX9" fmla="*/ 1984 w 1984"/>
                <a:gd name="connsiteY9" fmla="*/ 147335 h 180076"/>
                <a:gd name="connsiteX10" fmla="*/ 0 w 1984"/>
                <a:gd name="connsiteY10" fmla="*/ 163706 h 180076"/>
                <a:gd name="connsiteX11" fmla="*/ 0 w 1984"/>
                <a:gd name="connsiteY11" fmla="*/ 180076 h 18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4" h="180076">
                  <a:moveTo>
                    <a:pt x="1488" y="0"/>
                  </a:moveTo>
                  <a:cubicBezTo>
                    <a:pt x="1488" y="8433"/>
                    <a:pt x="496" y="8433"/>
                    <a:pt x="496" y="16371"/>
                  </a:cubicBezTo>
                  <a:cubicBezTo>
                    <a:pt x="496" y="24804"/>
                    <a:pt x="1488" y="24804"/>
                    <a:pt x="1488" y="32741"/>
                  </a:cubicBezTo>
                  <a:cubicBezTo>
                    <a:pt x="1488" y="41174"/>
                    <a:pt x="0" y="41174"/>
                    <a:pt x="0" y="49112"/>
                  </a:cubicBezTo>
                  <a:cubicBezTo>
                    <a:pt x="0" y="57545"/>
                    <a:pt x="1984" y="57545"/>
                    <a:pt x="1984" y="65482"/>
                  </a:cubicBezTo>
                  <a:cubicBezTo>
                    <a:pt x="1984" y="73915"/>
                    <a:pt x="1488" y="73915"/>
                    <a:pt x="1488" y="81853"/>
                  </a:cubicBezTo>
                  <a:cubicBezTo>
                    <a:pt x="1488" y="90286"/>
                    <a:pt x="1984" y="90286"/>
                    <a:pt x="1984" y="98223"/>
                  </a:cubicBezTo>
                  <a:cubicBezTo>
                    <a:pt x="1984" y="106657"/>
                    <a:pt x="992" y="106657"/>
                    <a:pt x="992" y="114594"/>
                  </a:cubicBezTo>
                  <a:cubicBezTo>
                    <a:pt x="992" y="123027"/>
                    <a:pt x="1984" y="123027"/>
                    <a:pt x="1984" y="130964"/>
                  </a:cubicBezTo>
                  <a:cubicBezTo>
                    <a:pt x="1984" y="139398"/>
                    <a:pt x="1984" y="139398"/>
                    <a:pt x="1984" y="147335"/>
                  </a:cubicBezTo>
                  <a:cubicBezTo>
                    <a:pt x="1984" y="155768"/>
                    <a:pt x="0" y="155768"/>
                    <a:pt x="0" y="163706"/>
                  </a:cubicBezTo>
                  <a:cubicBezTo>
                    <a:pt x="0" y="172139"/>
                    <a:pt x="0" y="172139"/>
                    <a:pt x="0" y="18007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BC00A990-85DD-E9D9-503D-B4C68333D152}"/>
                </a:ext>
              </a:extLst>
            </p:cNvPr>
            <p:cNvSpPr/>
            <p:nvPr/>
          </p:nvSpPr>
          <p:spPr>
            <a:xfrm>
              <a:off x="3855387" y="2254178"/>
              <a:ext cx="2976" cy="349238"/>
            </a:xfrm>
            <a:custGeom>
              <a:avLst/>
              <a:gdLst>
                <a:gd name="connsiteX0" fmla="*/ 992 w 2976"/>
                <a:gd name="connsiteY0" fmla="*/ 0 h 349238"/>
                <a:gd name="connsiteX1" fmla="*/ 1984 w 2976"/>
                <a:gd name="connsiteY1" fmla="*/ 15875 h 349238"/>
                <a:gd name="connsiteX2" fmla="*/ 992 w 2976"/>
                <a:gd name="connsiteY2" fmla="*/ 31749 h 349238"/>
                <a:gd name="connsiteX3" fmla="*/ 1488 w 2976"/>
                <a:gd name="connsiteY3" fmla="*/ 47624 h 349238"/>
                <a:gd name="connsiteX4" fmla="*/ 0 w 2976"/>
                <a:gd name="connsiteY4" fmla="*/ 63498 h 349238"/>
                <a:gd name="connsiteX5" fmla="*/ 1488 w 2976"/>
                <a:gd name="connsiteY5" fmla="*/ 79372 h 349238"/>
                <a:gd name="connsiteX6" fmla="*/ 0 w 2976"/>
                <a:gd name="connsiteY6" fmla="*/ 95247 h 349238"/>
                <a:gd name="connsiteX7" fmla="*/ 1488 w 2976"/>
                <a:gd name="connsiteY7" fmla="*/ 111121 h 349238"/>
                <a:gd name="connsiteX8" fmla="*/ 0 w 2976"/>
                <a:gd name="connsiteY8" fmla="*/ 126996 h 349238"/>
                <a:gd name="connsiteX9" fmla="*/ 992 w 2976"/>
                <a:gd name="connsiteY9" fmla="*/ 142871 h 349238"/>
                <a:gd name="connsiteX10" fmla="*/ 1984 w 2976"/>
                <a:gd name="connsiteY10" fmla="*/ 158745 h 349238"/>
                <a:gd name="connsiteX11" fmla="*/ 496 w 2976"/>
                <a:gd name="connsiteY11" fmla="*/ 174619 h 349238"/>
                <a:gd name="connsiteX12" fmla="*/ 1488 w 2976"/>
                <a:gd name="connsiteY12" fmla="*/ 190494 h 349238"/>
                <a:gd name="connsiteX13" fmla="*/ 992 w 2976"/>
                <a:gd name="connsiteY13" fmla="*/ 206368 h 349238"/>
                <a:gd name="connsiteX14" fmla="*/ 496 w 2976"/>
                <a:gd name="connsiteY14" fmla="*/ 222243 h 349238"/>
                <a:gd name="connsiteX15" fmla="*/ 496 w 2976"/>
                <a:gd name="connsiteY15" fmla="*/ 238117 h 349238"/>
                <a:gd name="connsiteX16" fmla="*/ 992 w 2976"/>
                <a:gd name="connsiteY16" fmla="*/ 253992 h 349238"/>
                <a:gd name="connsiteX17" fmla="*/ 2480 w 2976"/>
                <a:gd name="connsiteY17" fmla="*/ 269866 h 349238"/>
                <a:gd name="connsiteX18" fmla="*/ 2480 w 2976"/>
                <a:gd name="connsiteY18" fmla="*/ 285741 h 349238"/>
                <a:gd name="connsiteX19" fmla="*/ 1984 w 2976"/>
                <a:gd name="connsiteY19" fmla="*/ 301615 h 349238"/>
                <a:gd name="connsiteX20" fmla="*/ 2976 w 2976"/>
                <a:gd name="connsiteY20" fmla="*/ 317490 h 349238"/>
                <a:gd name="connsiteX21" fmla="*/ 2480 w 2976"/>
                <a:gd name="connsiteY21" fmla="*/ 333364 h 349238"/>
                <a:gd name="connsiteX22" fmla="*/ 1984 w 2976"/>
                <a:gd name="connsiteY22" fmla="*/ 349239 h 34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976" h="349238">
                  <a:moveTo>
                    <a:pt x="992" y="0"/>
                  </a:moveTo>
                  <a:cubicBezTo>
                    <a:pt x="992" y="7937"/>
                    <a:pt x="1984" y="7937"/>
                    <a:pt x="1984" y="15875"/>
                  </a:cubicBezTo>
                  <a:cubicBezTo>
                    <a:pt x="1984" y="23812"/>
                    <a:pt x="992" y="23812"/>
                    <a:pt x="992" y="31749"/>
                  </a:cubicBezTo>
                  <a:cubicBezTo>
                    <a:pt x="992" y="39686"/>
                    <a:pt x="1488" y="39686"/>
                    <a:pt x="1488" y="47624"/>
                  </a:cubicBezTo>
                  <a:cubicBezTo>
                    <a:pt x="1488" y="55561"/>
                    <a:pt x="0" y="55561"/>
                    <a:pt x="0" y="63498"/>
                  </a:cubicBezTo>
                  <a:cubicBezTo>
                    <a:pt x="0" y="71435"/>
                    <a:pt x="1488" y="71435"/>
                    <a:pt x="1488" y="79372"/>
                  </a:cubicBezTo>
                  <a:cubicBezTo>
                    <a:pt x="1488" y="87310"/>
                    <a:pt x="0" y="87310"/>
                    <a:pt x="0" y="95247"/>
                  </a:cubicBezTo>
                  <a:cubicBezTo>
                    <a:pt x="0" y="103184"/>
                    <a:pt x="1488" y="103184"/>
                    <a:pt x="1488" y="111121"/>
                  </a:cubicBezTo>
                  <a:cubicBezTo>
                    <a:pt x="1488" y="119059"/>
                    <a:pt x="0" y="119059"/>
                    <a:pt x="0" y="126996"/>
                  </a:cubicBezTo>
                  <a:cubicBezTo>
                    <a:pt x="0" y="134933"/>
                    <a:pt x="992" y="134933"/>
                    <a:pt x="992" y="142871"/>
                  </a:cubicBezTo>
                  <a:cubicBezTo>
                    <a:pt x="992" y="150808"/>
                    <a:pt x="1984" y="150808"/>
                    <a:pt x="1984" y="158745"/>
                  </a:cubicBezTo>
                  <a:cubicBezTo>
                    <a:pt x="1984" y="166682"/>
                    <a:pt x="496" y="166682"/>
                    <a:pt x="496" y="174619"/>
                  </a:cubicBezTo>
                  <a:cubicBezTo>
                    <a:pt x="496" y="182557"/>
                    <a:pt x="1488" y="182557"/>
                    <a:pt x="1488" y="190494"/>
                  </a:cubicBezTo>
                  <a:cubicBezTo>
                    <a:pt x="1488" y="198431"/>
                    <a:pt x="992" y="198431"/>
                    <a:pt x="992" y="206368"/>
                  </a:cubicBezTo>
                  <a:cubicBezTo>
                    <a:pt x="992" y="214306"/>
                    <a:pt x="496" y="214306"/>
                    <a:pt x="496" y="222243"/>
                  </a:cubicBezTo>
                  <a:cubicBezTo>
                    <a:pt x="496" y="230180"/>
                    <a:pt x="496" y="230180"/>
                    <a:pt x="496" y="238117"/>
                  </a:cubicBezTo>
                  <a:cubicBezTo>
                    <a:pt x="496" y="246055"/>
                    <a:pt x="992" y="246055"/>
                    <a:pt x="992" y="253992"/>
                  </a:cubicBezTo>
                  <a:cubicBezTo>
                    <a:pt x="992" y="261929"/>
                    <a:pt x="2480" y="261929"/>
                    <a:pt x="2480" y="269866"/>
                  </a:cubicBezTo>
                  <a:cubicBezTo>
                    <a:pt x="2480" y="277804"/>
                    <a:pt x="2480" y="277804"/>
                    <a:pt x="2480" y="285741"/>
                  </a:cubicBezTo>
                  <a:cubicBezTo>
                    <a:pt x="2480" y="293678"/>
                    <a:pt x="1984" y="293678"/>
                    <a:pt x="1984" y="301615"/>
                  </a:cubicBezTo>
                  <a:cubicBezTo>
                    <a:pt x="1984" y="309553"/>
                    <a:pt x="2976" y="309553"/>
                    <a:pt x="2976" y="317490"/>
                  </a:cubicBezTo>
                  <a:cubicBezTo>
                    <a:pt x="2976" y="325427"/>
                    <a:pt x="2480" y="325427"/>
                    <a:pt x="2480" y="333364"/>
                  </a:cubicBezTo>
                  <a:cubicBezTo>
                    <a:pt x="2480" y="341302"/>
                    <a:pt x="1984" y="341302"/>
                    <a:pt x="1984" y="34923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F9D6249E-8F63-980B-0462-CE46C3A52AF1}"/>
                </a:ext>
              </a:extLst>
            </p:cNvPr>
            <p:cNvSpPr/>
            <p:nvPr/>
          </p:nvSpPr>
          <p:spPr>
            <a:xfrm>
              <a:off x="4121285" y="2782096"/>
              <a:ext cx="155272" cy="217686"/>
            </a:xfrm>
            <a:custGeom>
              <a:avLst/>
              <a:gdLst>
                <a:gd name="connsiteX0" fmla="*/ 0 w 155272"/>
                <a:gd name="connsiteY0" fmla="*/ 4869 h 217686"/>
                <a:gd name="connsiteX1" fmla="*/ 17859 w 155272"/>
                <a:gd name="connsiteY1" fmla="*/ 1893 h 217686"/>
                <a:gd name="connsiteX2" fmla="*/ 26788 w 155272"/>
                <a:gd name="connsiteY2" fmla="*/ 17271 h 217686"/>
                <a:gd name="connsiteX3" fmla="*/ 28277 w 155272"/>
                <a:gd name="connsiteY3" fmla="*/ 35130 h 217686"/>
                <a:gd name="connsiteX4" fmla="*/ 29269 w 155272"/>
                <a:gd name="connsiteY4" fmla="*/ 51500 h 217686"/>
                <a:gd name="connsiteX5" fmla="*/ 26788 w 155272"/>
                <a:gd name="connsiteY5" fmla="*/ 67871 h 217686"/>
                <a:gd name="connsiteX6" fmla="*/ 25300 w 155272"/>
                <a:gd name="connsiteY6" fmla="*/ 84241 h 217686"/>
                <a:gd name="connsiteX7" fmla="*/ 22820 w 155272"/>
                <a:gd name="connsiteY7" fmla="*/ 100612 h 217686"/>
                <a:gd name="connsiteX8" fmla="*/ 21332 w 155272"/>
                <a:gd name="connsiteY8" fmla="*/ 116983 h 217686"/>
                <a:gd name="connsiteX9" fmla="*/ 19347 w 155272"/>
                <a:gd name="connsiteY9" fmla="*/ 133353 h 217686"/>
                <a:gd name="connsiteX10" fmla="*/ 19843 w 155272"/>
                <a:gd name="connsiteY10" fmla="*/ 149724 h 217686"/>
                <a:gd name="connsiteX11" fmla="*/ 19843 w 155272"/>
                <a:gd name="connsiteY11" fmla="*/ 166094 h 217686"/>
                <a:gd name="connsiteX12" fmla="*/ 20339 w 155272"/>
                <a:gd name="connsiteY12" fmla="*/ 182465 h 217686"/>
                <a:gd name="connsiteX13" fmla="*/ 23812 w 155272"/>
                <a:gd name="connsiteY13" fmla="*/ 198836 h 217686"/>
                <a:gd name="connsiteX14" fmla="*/ 35222 w 155272"/>
                <a:gd name="connsiteY14" fmla="*/ 210741 h 217686"/>
                <a:gd name="connsiteX15" fmla="*/ 50104 w 155272"/>
                <a:gd name="connsiteY15" fmla="*/ 216198 h 217686"/>
                <a:gd name="connsiteX16" fmla="*/ 67467 w 155272"/>
                <a:gd name="connsiteY16" fmla="*/ 216198 h 217686"/>
                <a:gd name="connsiteX17" fmla="*/ 84830 w 155272"/>
                <a:gd name="connsiteY17" fmla="*/ 215702 h 217686"/>
                <a:gd name="connsiteX18" fmla="*/ 102192 w 155272"/>
                <a:gd name="connsiteY18" fmla="*/ 215206 h 217686"/>
                <a:gd name="connsiteX19" fmla="*/ 119555 w 155272"/>
                <a:gd name="connsiteY19" fmla="*/ 217190 h 217686"/>
                <a:gd name="connsiteX20" fmla="*/ 136918 w 155272"/>
                <a:gd name="connsiteY20" fmla="*/ 217686 h 217686"/>
                <a:gd name="connsiteX21" fmla="*/ 150808 w 155272"/>
                <a:gd name="connsiteY21" fmla="*/ 206277 h 217686"/>
                <a:gd name="connsiteX22" fmla="*/ 154776 w 155272"/>
                <a:gd name="connsiteY22" fmla="*/ 187922 h 217686"/>
                <a:gd name="connsiteX23" fmla="*/ 155273 w 155272"/>
                <a:gd name="connsiteY23" fmla="*/ 169071 h 21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272" h="217686">
                  <a:moveTo>
                    <a:pt x="0" y="4869"/>
                  </a:moveTo>
                  <a:cubicBezTo>
                    <a:pt x="7441" y="-92"/>
                    <a:pt x="9922" y="-1580"/>
                    <a:pt x="17859" y="1893"/>
                  </a:cubicBezTo>
                  <a:cubicBezTo>
                    <a:pt x="21828" y="3381"/>
                    <a:pt x="24308" y="8837"/>
                    <a:pt x="26788" y="17271"/>
                  </a:cubicBezTo>
                  <a:cubicBezTo>
                    <a:pt x="27781" y="21736"/>
                    <a:pt x="28277" y="27689"/>
                    <a:pt x="28277" y="35130"/>
                  </a:cubicBezTo>
                  <a:cubicBezTo>
                    <a:pt x="28277" y="40091"/>
                    <a:pt x="29765" y="45547"/>
                    <a:pt x="29269" y="51500"/>
                  </a:cubicBezTo>
                  <a:cubicBezTo>
                    <a:pt x="28773" y="56461"/>
                    <a:pt x="27284" y="61918"/>
                    <a:pt x="26788" y="67871"/>
                  </a:cubicBezTo>
                  <a:cubicBezTo>
                    <a:pt x="26292" y="73328"/>
                    <a:pt x="26292" y="78785"/>
                    <a:pt x="25300" y="84241"/>
                  </a:cubicBezTo>
                  <a:cubicBezTo>
                    <a:pt x="24804" y="89698"/>
                    <a:pt x="23316" y="94659"/>
                    <a:pt x="22820" y="100612"/>
                  </a:cubicBezTo>
                  <a:cubicBezTo>
                    <a:pt x="22324" y="106069"/>
                    <a:pt x="21828" y="111526"/>
                    <a:pt x="21332" y="116983"/>
                  </a:cubicBezTo>
                  <a:cubicBezTo>
                    <a:pt x="20835" y="122439"/>
                    <a:pt x="19347" y="127896"/>
                    <a:pt x="19347" y="133353"/>
                  </a:cubicBezTo>
                  <a:cubicBezTo>
                    <a:pt x="18851" y="138810"/>
                    <a:pt x="19843" y="144267"/>
                    <a:pt x="19843" y="149724"/>
                  </a:cubicBezTo>
                  <a:cubicBezTo>
                    <a:pt x="19843" y="155180"/>
                    <a:pt x="19843" y="160638"/>
                    <a:pt x="19843" y="166094"/>
                  </a:cubicBezTo>
                  <a:cubicBezTo>
                    <a:pt x="20339" y="172047"/>
                    <a:pt x="19347" y="177504"/>
                    <a:pt x="20339" y="182465"/>
                  </a:cubicBezTo>
                  <a:cubicBezTo>
                    <a:pt x="21332" y="188418"/>
                    <a:pt x="21828" y="193875"/>
                    <a:pt x="23812" y="198836"/>
                  </a:cubicBezTo>
                  <a:cubicBezTo>
                    <a:pt x="26292" y="204292"/>
                    <a:pt x="30757" y="207765"/>
                    <a:pt x="35222" y="210741"/>
                  </a:cubicBezTo>
                  <a:cubicBezTo>
                    <a:pt x="39190" y="213718"/>
                    <a:pt x="44151" y="216198"/>
                    <a:pt x="50104" y="216198"/>
                  </a:cubicBezTo>
                  <a:cubicBezTo>
                    <a:pt x="56553" y="216198"/>
                    <a:pt x="62010" y="216198"/>
                    <a:pt x="67467" y="216198"/>
                  </a:cubicBezTo>
                  <a:cubicBezTo>
                    <a:pt x="73916" y="216198"/>
                    <a:pt x="79372" y="215702"/>
                    <a:pt x="84830" y="215702"/>
                  </a:cubicBezTo>
                  <a:cubicBezTo>
                    <a:pt x="91278" y="215702"/>
                    <a:pt x="97231" y="215206"/>
                    <a:pt x="102192" y="215206"/>
                  </a:cubicBezTo>
                  <a:cubicBezTo>
                    <a:pt x="109137" y="215206"/>
                    <a:pt x="114594" y="217190"/>
                    <a:pt x="119555" y="217190"/>
                  </a:cubicBezTo>
                  <a:cubicBezTo>
                    <a:pt x="126500" y="217190"/>
                    <a:pt x="131957" y="217686"/>
                    <a:pt x="136918" y="217686"/>
                  </a:cubicBezTo>
                  <a:cubicBezTo>
                    <a:pt x="143863" y="217686"/>
                    <a:pt x="148327" y="212229"/>
                    <a:pt x="150808" y="206277"/>
                  </a:cubicBezTo>
                  <a:cubicBezTo>
                    <a:pt x="153288" y="200820"/>
                    <a:pt x="154280" y="194371"/>
                    <a:pt x="154776" y="187922"/>
                  </a:cubicBezTo>
                  <a:cubicBezTo>
                    <a:pt x="155273" y="178000"/>
                    <a:pt x="155273" y="178496"/>
                    <a:pt x="155273" y="16907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904110C8-7138-537A-5BAF-531913A7DBE8}"/>
                </a:ext>
              </a:extLst>
            </p:cNvPr>
            <p:cNvSpPr/>
            <p:nvPr/>
          </p:nvSpPr>
          <p:spPr>
            <a:xfrm>
              <a:off x="4159483" y="2764540"/>
              <a:ext cx="122035" cy="175437"/>
            </a:xfrm>
            <a:custGeom>
              <a:avLst/>
              <a:gdLst>
                <a:gd name="connsiteX0" fmla="*/ 0 w 122035"/>
                <a:gd name="connsiteY0" fmla="*/ 9031 h 175437"/>
                <a:gd name="connsiteX1" fmla="*/ 17363 w 122035"/>
                <a:gd name="connsiteY1" fmla="*/ 7046 h 175437"/>
                <a:gd name="connsiteX2" fmla="*/ 26292 w 122035"/>
                <a:gd name="connsiteY2" fmla="*/ 21432 h 175437"/>
                <a:gd name="connsiteX3" fmla="*/ 29765 w 122035"/>
                <a:gd name="connsiteY3" fmla="*/ 39291 h 175437"/>
                <a:gd name="connsiteX4" fmla="*/ 27781 w 122035"/>
                <a:gd name="connsiteY4" fmla="*/ 56158 h 175437"/>
                <a:gd name="connsiteX5" fmla="*/ 27781 w 122035"/>
                <a:gd name="connsiteY5" fmla="*/ 73025 h 175437"/>
                <a:gd name="connsiteX6" fmla="*/ 25796 w 122035"/>
                <a:gd name="connsiteY6" fmla="*/ 89891 h 175437"/>
                <a:gd name="connsiteX7" fmla="*/ 23812 w 122035"/>
                <a:gd name="connsiteY7" fmla="*/ 106758 h 175437"/>
                <a:gd name="connsiteX8" fmla="*/ 22820 w 122035"/>
                <a:gd name="connsiteY8" fmla="*/ 123625 h 175437"/>
                <a:gd name="connsiteX9" fmla="*/ 21331 w 122035"/>
                <a:gd name="connsiteY9" fmla="*/ 140491 h 175437"/>
                <a:gd name="connsiteX10" fmla="*/ 26788 w 122035"/>
                <a:gd name="connsiteY10" fmla="*/ 156862 h 175437"/>
                <a:gd name="connsiteX11" fmla="*/ 36214 w 122035"/>
                <a:gd name="connsiteY11" fmla="*/ 170752 h 175437"/>
                <a:gd name="connsiteX12" fmla="*/ 52584 w 122035"/>
                <a:gd name="connsiteY12" fmla="*/ 175217 h 175437"/>
                <a:gd name="connsiteX13" fmla="*/ 68459 w 122035"/>
                <a:gd name="connsiteY13" fmla="*/ 175217 h 175437"/>
                <a:gd name="connsiteX14" fmla="*/ 84333 w 122035"/>
                <a:gd name="connsiteY14" fmla="*/ 175217 h 175437"/>
                <a:gd name="connsiteX15" fmla="*/ 99712 w 122035"/>
                <a:gd name="connsiteY15" fmla="*/ 172240 h 175437"/>
                <a:gd name="connsiteX16" fmla="*/ 113602 w 122035"/>
                <a:gd name="connsiteY16" fmla="*/ 165295 h 175437"/>
                <a:gd name="connsiteX17" fmla="*/ 120547 w 122035"/>
                <a:gd name="connsiteY17" fmla="*/ 151405 h 175437"/>
                <a:gd name="connsiteX18" fmla="*/ 121539 w 122035"/>
                <a:gd name="connsiteY18" fmla="*/ 135530 h 175437"/>
                <a:gd name="connsiteX19" fmla="*/ 122035 w 122035"/>
                <a:gd name="connsiteY19" fmla="*/ 119656 h 175437"/>
                <a:gd name="connsiteX20" fmla="*/ 121539 w 122035"/>
                <a:gd name="connsiteY20" fmla="*/ 103782 h 175437"/>
                <a:gd name="connsiteX21" fmla="*/ 120051 w 122035"/>
                <a:gd name="connsiteY21" fmla="*/ 87907 h 175437"/>
                <a:gd name="connsiteX22" fmla="*/ 118563 w 122035"/>
                <a:gd name="connsiteY22" fmla="*/ 72033 h 175437"/>
                <a:gd name="connsiteX23" fmla="*/ 117075 w 122035"/>
                <a:gd name="connsiteY23" fmla="*/ 56158 h 175437"/>
                <a:gd name="connsiteX24" fmla="*/ 115090 w 122035"/>
                <a:gd name="connsiteY24" fmla="*/ 40284 h 175437"/>
                <a:gd name="connsiteX25" fmla="*/ 115090 w 122035"/>
                <a:gd name="connsiteY25" fmla="*/ 24409 h 175437"/>
                <a:gd name="connsiteX26" fmla="*/ 110625 w 122035"/>
                <a:gd name="connsiteY26" fmla="*/ 9527 h 175437"/>
                <a:gd name="connsiteX27" fmla="*/ 95247 w 122035"/>
                <a:gd name="connsiteY27" fmla="*/ 5558 h 175437"/>
                <a:gd name="connsiteX28" fmla="*/ 78877 w 122035"/>
                <a:gd name="connsiteY28" fmla="*/ 4070 h 175437"/>
                <a:gd name="connsiteX29" fmla="*/ 63002 w 122035"/>
                <a:gd name="connsiteY29" fmla="*/ 101 h 175437"/>
                <a:gd name="connsiteX30" fmla="*/ 46631 w 122035"/>
                <a:gd name="connsiteY30" fmla="*/ 1093 h 175437"/>
                <a:gd name="connsiteX31" fmla="*/ 30261 w 122035"/>
                <a:gd name="connsiteY31" fmla="*/ 101 h 175437"/>
                <a:gd name="connsiteX32" fmla="*/ 13890 w 122035"/>
                <a:gd name="connsiteY32" fmla="*/ 2086 h 175437"/>
                <a:gd name="connsiteX33" fmla="*/ 0 w 122035"/>
                <a:gd name="connsiteY33" fmla="*/ 9031 h 17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22035" h="175437">
                  <a:moveTo>
                    <a:pt x="0" y="9031"/>
                  </a:moveTo>
                  <a:cubicBezTo>
                    <a:pt x="8433" y="6054"/>
                    <a:pt x="9426" y="3574"/>
                    <a:pt x="17363" y="7046"/>
                  </a:cubicBezTo>
                  <a:cubicBezTo>
                    <a:pt x="21331" y="8535"/>
                    <a:pt x="24308" y="12999"/>
                    <a:pt x="26292" y="21432"/>
                  </a:cubicBezTo>
                  <a:cubicBezTo>
                    <a:pt x="27284" y="25897"/>
                    <a:pt x="29765" y="31850"/>
                    <a:pt x="29765" y="39291"/>
                  </a:cubicBezTo>
                  <a:cubicBezTo>
                    <a:pt x="29765" y="44748"/>
                    <a:pt x="28277" y="50205"/>
                    <a:pt x="27781" y="56158"/>
                  </a:cubicBezTo>
                  <a:cubicBezTo>
                    <a:pt x="27284" y="61615"/>
                    <a:pt x="28772" y="67568"/>
                    <a:pt x="27781" y="73025"/>
                  </a:cubicBezTo>
                  <a:cubicBezTo>
                    <a:pt x="27284" y="78481"/>
                    <a:pt x="26788" y="84434"/>
                    <a:pt x="25796" y="89891"/>
                  </a:cubicBezTo>
                  <a:cubicBezTo>
                    <a:pt x="25300" y="95348"/>
                    <a:pt x="24308" y="101301"/>
                    <a:pt x="23812" y="106758"/>
                  </a:cubicBezTo>
                  <a:cubicBezTo>
                    <a:pt x="23316" y="112711"/>
                    <a:pt x="22820" y="118168"/>
                    <a:pt x="22820" y="123625"/>
                  </a:cubicBezTo>
                  <a:cubicBezTo>
                    <a:pt x="22820" y="129578"/>
                    <a:pt x="20835" y="135530"/>
                    <a:pt x="21331" y="140491"/>
                  </a:cubicBezTo>
                  <a:cubicBezTo>
                    <a:pt x="21828" y="146444"/>
                    <a:pt x="24804" y="151901"/>
                    <a:pt x="26788" y="156862"/>
                  </a:cubicBezTo>
                  <a:cubicBezTo>
                    <a:pt x="29269" y="162319"/>
                    <a:pt x="31749" y="167775"/>
                    <a:pt x="36214" y="170752"/>
                  </a:cubicBezTo>
                  <a:cubicBezTo>
                    <a:pt x="40182" y="173728"/>
                    <a:pt x="46135" y="175217"/>
                    <a:pt x="52584" y="175217"/>
                  </a:cubicBezTo>
                  <a:cubicBezTo>
                    <a:pt x="56553" y="175217"/>
                    <a:pt x="62010" y="175217"/>
                    <a:pt x="68459" y="175217"/>
                  </a:cubicBezTo>
                  <a:cubicBezTo>
                    <a:pt x="73419" y="175217"/>
                    <a:pt x="78877" y="175713"/>
                    <a:pt x="84333" y="175217"/>
                  </a:cubicBezTo>
                  <a:cubicBezTo>
                    <a:pt x="89294" y="174721"/>
                    <a:pt x="94751" y="173728"/>
                    <a:pt x="99712" y="172240"/>
                  </a:cubicBezTo>
                  <a:cubicBezTo>
                    <a:pt x="104673" y="170752"/>
                    <a:pt x="109137" y="168272"/>
                    <a:pt x="113602" y="165295"/>
                  </a:cubicBezTo>
                  <a:cubicBezTo>
                    <a:pt x="116578" y="163311"/>
                    <a:pt x="119059" y="158350"/>
                    <a:pt x="120547" y="151405"/>
                  </a:cubicBezTo>
                  <a:cubicBezTo>
                    <a:pt x="121539" y="146940"/>
                    <a:pt x="121539" y="141483"/>
                    <a:pt x="121539" y="135530"/>
                  </a:cubicBezTo>
                  <a:cubicBezTo>
                    <a:pt x="121539" y="130570"/>
                    <a:pt x="122035" y="125113"/>
                    <a:pt x="122035" y="119656"/>
                  </a:cubicBezTo>
                  <a:cubicBezTo>
                    <a:pt x="122035" y="114695"/>
                    <a:pt x="121539" y="109238"/>
                    <a:pt x="121539" y="103782"/>
                  </a:cubicBezTo>
                  <a:cubicBezTo>
                    <a:pt x="121043" y="98325"/>
                    <a:pt x="120547" y="93364"/>
                    <a:pt x="120051" y="87907"/>
                  </a:cubicBezTo>
                  <a:cubicBezTo>
                    <a:pt x="119555" y="82450"/>
                    <a:pt x="119059" y="77490"/>
                    <a:pt x="118563" y="72033"/>
                  </a:cubicBezTo>
                  <a:cubicBezTo>
                    <a:pt x="118066" y="66576"/>
                    <a:pt x="117571" y="61119"/>
                    <a:pt x="117075" y="56158"/>
                  </a:cubicBezTo>
                  <a:cubicBezTo>
                    <a:pt x="116578" y="50701"/>
                    <a:pt x="115586" y="45244"/>
                    <a:pt x="115090" y="40284"/>
                  </a:cubicBezTo>
                  <a:cubicBezTo>
                    <a:pt x="114594" y="34331"/>
                    <a:pt x="116082" y="28874"/>
                    <a:pt x="115090" y="24409"/>
                  </a:cubicBezTo>
                  <a:cubicBezTo>
                    <a:pt x="113602" y="14488"/>
                    <a:pt x="116578" y="15480"/>
                    <a:pt x="110625" y="9527"/>
                  </a:cubicBezTo>
                  <a:cubicBezTo>
                    <a:pt x="104673" y="3574"/>
                    <a:pt x="105169" y="7046"/>
                    <a:pt x="95247" y="5558"/>
                  </a:cubicBezTo>
                  <a:cubicBezTo>
                    <a:pt x="90782" y="4566"/>
                    <a:pt x="84830" y="5062"/>
                    <a:pt x="78877" y="4070"/>
                  </a:cubicBezTo>
                  <a:cubicBezTo>
                    <a:pt x="73916" y="3574"/>
                    <a:pt x="68459" y="597"/>
                    <a:pt x="63002" y="101"/>
                  </a:cubicBezTo>
                  <a:cubicBezTo>
                    <a:pt x="57545" y="-395"/>
                    <a:pt x="52088" y="1093"/>
                    <a:pt x="46631" y="1093"/>
                  </a:cubicBezTo>
                  <a:cubicBezTo>
                    <a:pt x="41174" y="1093"/>
                    <a:pt x="35718" y="101"/>
                    <a:pt x="30261" y="101"/>
                  </a:cubicBezTo>
                  <a:cubicBezTo>
                    <a:pt x="24308" y="597"/>
                    <a:pt x="18851" y="1093"/>
                    <a:pt x="13890" y="2086"/>
                  </a:cubicBezTo>
                  <a:cubicBezTo>
                    <a:pt x="7937" y="3574"/>
                    <a:pt x="2977" y="5558"/>
                    <a:pt x="0" y="9031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94C978-A1EB-15AF-7449-A199FFBA3A25}"/>
                </a:ext>
              </a:extLst>
            </p:cNvPr>
            <p:cNvSpPr/>
            <p:nvPr/>
          </p:nvSpPr>
          <p:spPr>
            <a:xfrm>
              <a:off x="4152042" y="2949679"/>
              <a:ext cx="32245" cy="30756"/>
            </a:xfrm>
            <a:custGeom>
              <a:avLst/>
              <a:gdLst>
                <a:gd name="connsiteX0" fmla="*/ 0 w 32245"/>
                <a:gd name="connsiteY0" fmla="*/ 0 h 30756"/>
                <a:gd name="connsiteX1" fmla="*/ 10418 w 32245"/>
                <a:gd name="connsiteY1" fmla="*/ 10418 h 30756"/>
                <a:gd name="connsiteX2" fmla="*/ 19843 w 32245"/>
                <a:gd name="connsiteY2" fmla="*/ 21828 h 30756"/>
                <a:gd name="connsiteX3" fmla="*/ 32245 w 32245"/>
                <a:gd name="connsiteY3" fmla="*/ 30757 h 30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45" h="30756">
                  <a:moveTo>
                    <a:pt x="0" y="0"/>
                  </a:moveTo>
                  <a:cubicBezTo>
                    <a:pt x="5457" y="5457"/>
                    <a:pt x="5457" y="5457"/>
                    <a:pt x="10418" y="10418"/>
                  </a:cubicBezTo>
                  <a:cubicBezTo>
                    <a:pt x="15875" y="15875"/>
                    <a:pt x="14882" y="16867"/>
                    <a:pt x="19843" y="21828"/>
                  </a:cubicBezTo>
                  <a:cubicBezTo>
                    <a:pt x="25300" y="27284"/>
                    <a:pt x="26788" y="25796"/>
                    <a:pt x="32245" y="3075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90233D3-87D5-542F-E1B3-C3941C6B4921}"/>
                </a:ext>
              </a:extLst>
            </p:cNvPr>
            <p:cNvSpPr/>
            <p:nvPr/>
          </p:nvSpPr>
          <p:spPr>
            <a:xfrm>
              <a:off x="4155514" y="2916442"/>
              <a:ext cx="59033" cy="60025"/>
            </a:xfrm>
            <a:custGeom>
              <a:avLst/>
              <a:gdLst>
                <a:gd name="connsiteX0" fmla="*/ 0 w 59033"/>
                <a:gd name="connsiteY0" fmla="*/ 0 h 60025"/>
                <a:gd name="connsiteX1" fmla="*/ 12402 w 59033"/>
                <a:gd name="connsiteY1" fmla="*/ 11410 h 60025"/>
                <a:gd name="connsiteX2" fmla="*/ 22819 w 59033"/>
                <a:gd name="connsiteY2" fmla="*/ 24804 h 60025"/>
                <a:gd name="connsiteX3" fmla="*/ 35718 w 59033"/>
                <a:gd name="connsiteY3" fmla="*/ 35717 h 60025"/>
                <a:gd name="connsiteX4" fmla="*/ 48120 w 59033"/>
                <a:gd name="connsiteY4" fmla="*/ 47127 h 60025"/>
                <a:gd name="connsiteX5" fmla="*/ 59033 w 59033"/>
                <a:gd name="connsiteY5" fmla="*/ 60025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033" h="60025">
                  <a:moveTo>
                    <a:pt x="0" y="0"/>
                  </a:moveTo>
                  <a:cubicBezTo>
                    <a:pt x="5953" y="5953"/>
                    <a:pt x="6449" y="5457"/>
                    <a:pt x="12402" y="11410"/>
                  </a:cubicBezTo>
                  <a:cubicBezTo>
                    <a:pt x="18355" y="17363"/>
                    <a:pt x="16867" y="18851"/>
                    <a:pt x="22819" y="24804"/>
                  </a:cubicBezTo>
                  <a:cubicBezTo>
                    <a:pt x="28772" y="30757"/>
                    <a:pt x="29765" y="29765"/>
                    <a:pt x="35718" y="35717"/>
                  </a:cubicBezTo>
                  <a:cubicBezTo>
                    <a:pt x="41671" y="41670"/>
                    <a:pt x="42167" y="41174"/>
                    <a:pt x="48120" y="47127"/>
                  </a:cubicBezTo>
                  <a:cubicBezTo>
                    <a:pt x="54073" y="53080"/>
                    <a:pt x="53080" y="54072"/>
                    <a:pt x="59033" y="600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191BF517-E75E-1184-92EF-54F5DF7A8A33}"/>
                </a:ext>
              </a:extLst>
            </p:cNvPr>
            <p:cNvSpPr/>
            <p:nvPr/>
          </p:nvSpPr>
          <p:spPr>
            <a:xfrm>
              <a:off x="4224965" y="2955632"/>
              <a:ext cx="22323" cy="19347"/>
            </a:xfrm>
            <a:custGeom>
              <a:avLst/>
              <a:gdLst>
                <a:gd name="connsiteX0" fmla="*/ 0 w 22323"/>
                <a:gd name="connsiteY0" fmla="*/ 0 h 19347"/>
                <a:gd name="connsiteX1" fmla="*/ 11906 w 22323"/>
                <a:gd name="connsiteY1" fmla="*/ 8929 h 19347"/>
                <a:gd name="connsiteX2" fmla="*/ 22324 w 22323"/>
                <a:gd name="connsiteY2" fmla="*/ 19347 h 1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23" h="19347">
                  <a:moveTo>
                    <a:pt x="0" y="0"/>
                  </a:moveTo>
                  <a:cubicBezTo>
                    <a:pt x="5457" y="4961"/>
                    <a:pt x="6449" y="3969"/>
                    <a:pt x="11906" y="8929"/>
                  </a:cubicBezTo>
                  <a:cubicBezTo>
                    <a:pt x="16867" y="13890"/>
                    <a:pt x="16867" y="14386"/>
                    <a:pt x="22324" y="1934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CD4484F6-55B7-3F76-8167-172D0349966B}"/>
                </a:ext>
              </a:extLst>
            </p:cNvPr>
            <p:cNvSpPr/>
            <p:nvPr/>
          </p:nvSpPr>
          <p:spPr>
            <a:xfrm>
              <a:off x="4256218" y="2951167"/>
              <a:ext cx="1984" cy="3472"/>
            </a:xfrm>
            <a:custGeom>
              <a:avLst/>
              <a:gdLst>
                <a:gd name="connsiteX0" fmla="*/ 0 w 1984"/>
                <a:gd name="connsiteY0" fmla="*/ 0 h 3472"/>
                <a:gd name="connsiteX1" fmla="*/ 1984 w 1984"/>
                <a:gd name="connsiteY1" fmla="*/ 3472 h 3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" h="3472">
                  <a:moveTo>
                    <a:pt x="0" y="0"/>
                  </a:moveTo>
                  <a:cubicBezTo>
                    <a:pt x="1488" y="1488"/>
                    <a:pt x="496" y="1984"/>
                    <a:pt x="1984" y="347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F06C5B3-F5CC-D4FB-038F-2199DB98D1C3}"/>
                </a:ext>
              </a:extLst>
            </p:cNvPr>
            <p:cNvSpPr/>
            <p:nvPr/>
          </p:nvSpPr>
          <p:spPr>
            <a:xfrm>
              <a:off x="4158491" y="2867330"/>
              <a:ext cx="7937" cy="8929"/>
            </a:xfrm>
            <a:custGeom>
              <a:avLst/>
              <a:gdLst>
                <a:gd name="connsiteX0" fmla="*/ 0 w 7937"/>
                <a:gd name="connsiteY0" fmla="*/ 0 h 8929"/>
                <a:gd name="connsiteX1" fmla="*/ 7937 w 7937"/>
                <a:gd name="connsiteY1" fmla="*/ 8929 h 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37" h="8929">
                  <a:moveTo>
                    <a:pt x="0" y="0"/>
                  </a:moveTo>
                  <a:cubicBezTo>
                    <a:pt x="3969" y="3969"/>
                    <a:pt x="3969" y="4465"/>
                    <a:pt x="7937" y="89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DE2FDBA3-B2E6-40CE-5418-5CC4DE77621B}"/>
                </a:ext>
              </a:extLst>
            </p:cNvPr>
            <p:cNvSpPr/>
            <p:nvPr/>
          </p:nvSpPr>
          <p:spPr>
            <a:xfrm>
              <a:off x="4161963" y="2830124"/>
              <a:ext cx="9425" cy="9425"/>
            </a:xfrm>
            <a:custGeom>
              <a:avLst/>
              <a:gdLst>
                <a:gd name="connsiteX0" fmla="*/ 0 w 9425"/>
                <a:gd name="connsiteY0" fmla="*/ 0 h 9425"/>
                <a:gd name="connsiteX1" fmla="*/ 9426 w 9425"/>
                <a:gd name="connsiteY1" fmla="*/ 9426 h 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5" h="9425">
                  <a:moveTo>
                    <a:pt x="0" y="0"/>
                  </a:moveTo>
                  <a:cubicBezTo>
                    <a:pt x="4961" y="4961"/>
                    <a:pt x="4961" y="4465"/>
                    <a:pt x="9426" y="942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B3E5E32C-AECF-E214-90F1-45DA4738C0F1}"/>
                </a:ext>
              </a:extLst>
            </p:cNvPr>
            <p:cNvSpPr/>
            <p:nvPr/>
          </p:nvSpPr>
          <p:spPr>
            <a:xfrm>
              <a:off x="4159979" y="2786469"/>
              <a:ext cx="13890" cy="14386"/>
            </a:xfrm>
            <a:custGeom>
              <a:avLst/>
              <a:gdLst>
                <a:gd name="connsiteX0" fmla="*/ 0 w 13890"/>
                <a:gd name="connsiteY0" fmla="*/ 0 h 14386"/>
                <a:gd name="connsiteX1" fmla="*/ 13890 w 13890"/>
                <a:gd name="connsiteY1" fmla="*/ 14386 h 1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90" h="14386">
                  <a:moveTo>
                    <a:pt x="0" y="0"/>
                  </a:moveTo>
                  <a:cubicBezTo>
                    <a:pt x="6945" y="6945"/>
                    <a:pt x="6945" y="7441"/>
                    <a:pt x="13890" y="1438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7BD22AF7-A32A-3DBE-CEF3-6D33DFEA8B77}"/>
                </a:ext>
              </a:extLst>
            </p:cNvPr>
            <p:cNvSpPr/>
            <p:nvPr/>
          </p:nvSpPr>
          <p:spPr>
            <a:xfrm>
              <a:off x="4246297" y="2893622"/>
              <a:ext cx="18850" cy="18354"/>
            </a:xfrm>
            <a:custGeom>
              <a:avLst/>
              <a:gdLst>
                <a:gd name="connsiteX0" fmla="*/ 18851 w 18850"/>
                <a:gd name="connsiteY0" fmla="*/ 9426 h 18354"/>
                <a:gd name="connsiteX1" fmla="*/ 9426 w 18850"/>
                <a:gd name="connsiteY1" fmla="*/ 18355 h 18354"/>
                <a:gd name="connsiteX2" fmla="*/ 0 w 18850"/>
                <a:gd name="connsiteY2" fmla="*/ 9426 h 18354"/>
                <a:gd name="connsiteX3" fmla="*/ 9426 w 18850"/>
                <a:gd name="connsiteY3" fmla="*/ 0 h 18354"/>
                <a:gd name="connsiteX4" fmla="*/ 18851 w 18850"/>
                <a:gd name="connsiteY4" fmla="*/ 9426 h 1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0" h="18354">
                  <a:moveTo>
                    <a:pt x="18851" y="9426"/>
                  </a:moveTo>
                  <a:cubicBezTo>
                    <a:pt x="18851" y="14882"/>
                    <a:pt x="14882" y="18355"/>
                    <a:pt x="9426" y="18355"/>
                  </a:cubicBezTo>
                  <a:cubicBezTo>
                    <a:pt x="3969" y="18355"/>
                    <a:pt x="0" y="14882"/>
                    <a:pt x="0" y="9426"/>
                  </a:cubicBezTo>
                  <a:cubicBezTo>
                    <a:pt x="0" y="3969"/>
                    <a:pt x="4465" y="0"/>
                    <a:pt x="9426" y="0"/>
                  </a:cubicBezTo>
                  <a:cubicBezTo>
                    <a:pt x="14386" y="0"/>
                    <a:pt x="18851" y="3969"/>
                    <a:pt x="18851" y="9426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502EC889-F596-BD17-1B67-24DFD2CA8D9E}"/>
                </a:ext>
              </a:extLst>
            </p:cNvPr>
            <p:cNvSpPr/>
            <p:nvPr/>
          </p:nvSpPr>
          <p:spPr>
            <a:xfrm>
              <a:off x="4202146" y="2782997"/>
              <a:ext cx="21827" cy="19347"/>
            </a:xfrm>
            <a:custGeom>
              <a:avLst/>
              <a:gdLst>
                <a:gd name="connsiteX0" fmla="*/ 21827 w 21827"/>
                <a:gd name="connsiteY0" fmla="*/ 10418 h 19347"/>
                <a:gd name="connsiteX1" fmla="*/ 10913 w 21827"/>
                <a:gd name="connsiteY1" fmla="*/ 19347 h 19347"/>
                <a:gd name="connsiteX2" fmla="*/ 0 w 21827"/>
                <a:gd name="connsiteY2" fmla="*/ 10418 h 19347"/>
                <a:gd name="connsiteX3" fmla="*/ 10913 w 21827"/>
                <a:gd name="connsiteY3" fmla="*/ 0 h 19347"/>
                <a:gd name="connsiteX4" fmla="*/ 21827 w 21827"/>
                <a:gd name="connsiteY4" fmla="*/ 10418 h 1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27" h="19347">
                  <a:moveTo>
                    <a:pt x="21827" y="10418"/>
                  </a:moveTo>
                  <a:cubicBezTo>
                    <a:pt x="21827" y="15875"/>
                    <a:pt x="16371" y="19347"/>
                    <a:pt x="10913" y="19347"/>
                  </a:cubicBezTo>
                  <a:cubicBezTo>
                    <a:pt x="5457" y="19347"/>
                    <a:pt x="0" y="15875"/>
                    <a:pt x="0" y="10418"/>
                  </a:cubicBezTo>
                  <a:cubicBezTo>
                    <a:pt x="0" y="4961"/>
                    <a:pt x="5457" y="0"/>
                    <a:pt x="10913" y="0"/>
                  </a:cubicBezTo>
                  <a:cubicBezTo>
                    <a:pt x="16371" y="0"/>
                    <a:pt x="21827" y="4961"/>
                    <a:pt x="21827" y="1041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AC38472C-7AF0-1931-6378-639C9E26CFE3}"/>
                </a:ext>
              </a:extLst>
            </p:cNvPr>
            <p:cNvSpPr/>
            <p:nvPr/>
          </p:nvSpPr>
          <p:spPr>
            <a:xfrm>
              <a:off x="4220997" y="2825659"/>
              <a:ext cx="19843" cy="19843"/>
            </a:xfrm>
            <a:custGeom>
              <a:avLst/>
              <a:gdLst>
                <a:gd name="connsiteX0" fmla="*/ 19843 w 19843"/>
                <a:gd name="connsiteY0" fmla="*/ 8930 h 19843"/>
                <a:gd name="connsiteX1" fmla="*/ 9425 w 19843"/>
                <a:gd name="connsiteY1" fmla="*/ 19843 h 19843"/>
                <a:gd name="connsiteX2" fmla="*/ 0 w 19843"/>
                <a:gd name="connsiteY2" fmla="*/ 8930 h 19843"/>
                <a:gd name="connsiteX3" fmla="*/ 9425 w 19843"/>
                <a:gd name="connsiteY3" fmla="*/ 0 h 19843"/>
                <a:gd name="connsiteX4" fmla="*/ 19843 w 19843"/>
                <a:gd name="connsiteY4" fmla="*/ 8930 h 1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3" h="19843">
                  <a:moveTo>
                    <a:pt x="19843" y="8930"/>
                  </a:moveTo>
                  <a:cubicBezTo>
                    <a:pt x="19843" y="14386"/>
                    <a:pt x="14882" y="19843"/>
                    <a:pt x="9425" y="19843"/>
                  </a:cubicBezTo>
                  <a:cubicBezTo>
                    <a:pt x="3969" y="19843"/>
                    <a:pt x="0" y="14386"/>
                    <a:pt x="0" y="8930"/>
                  </a:cubicBezTo>
                  <a:cubicBezTo>
                    <a:pt x="0" y="3473"/>
                    <a:pt x="3969" y="0"/>
                    <a:pt x="9425" y="0"/>
                  </a:cubicBezTo>
                  <a:cubicBezTo>
                    <a:pt x="14882" y="0"/>
                    <a:pt x="19843" y="3473"/>
                    <a:pt x="19843" y="8930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36343C8-86F9-4443-B31F-AE64F16C0FF2}"/>
                </a:ext>
              </a:extLst>
            </p:cNvPr>
            <p:cNvSpPr/>
            <p:nvPr/>
          </p:nvSpPr>
          <p:spPr>
            <a:xfrm>
              <a:off x="4221493" y="2864849"/>
              <a:ext cx="17858" cy="18850"/>
            </a:xfrm>
            <a:custGeom>
              <a:avLst/>
              <a:gdLst>
                <a:gd name="connsiteX0" fmla="*/ 17859 w 17858"/>
                <a:gd name="connsiteY0" fmla="*/ 8929 h 18850"/>
                <a:gd name="connsiteX1" fmla="*/ 8929 w 17858"/>
                <a:gd name="connsiteY1" fmla="*/ 18851 h 18850"/>
                <a:gd name="connsiteX2" fmla="*/ 0 w 17858"/>
                <a:gd name="connsiteY2" fmla="*/ 8929 h 18850"/>
                <a:gd name="connsiteX3" fmla="*/ 8929 w 17858"/>
                <a:gd name="connsiteY3" fmla="*/ 0 h 18850"/>
                <a:gd name="connsiteX4" fmla="*/ 17859 w 17858"/>
                <a:gd name="connsiteY4" fmla="*/ 8929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8" h="18850">
                  <a:moveTo>
                    <a:pt x="17859" y="8929"/>
                  </a:moveTo>
                  <a:cubicBezTo>
                    <a:pt x="17859" y="14386"/>
                    <a:pt x="14386" y="18851"/>
                    <a:pt x="8929" y="18851"/>
                  </a:cubicBezTo>
                  <a:cubicBezTo>
                    <a:pt x="3473" y="18851"/>
                    <a:pt x="0" y="14386"/>
                    <a:pt x="0" y="8929"/>
                  </a:cubicBezTo>
                  <a:cubicBezTo>
                    <a:pt x="0" y="3473"/>
                    <a:pt x="3473" y="0"/>
                    <a:pt x="8929" y="0"/>
                  </a:cubicBezTo>
                  <a:cubicBezTo>
                    <a:pt x="14386" y="0"/>
                    <a:pt x="17859" y="3473"/>
                    <a:pt x="17859" y="892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4F0EA4CF-449B-FEC1-B65D-F14196F8DA63}"/>
                </a:ext>
              </a:extLst>
            </p:cNvPr>
            <p:cNvSpPr/>
            <p:nvPr/>
          </p:nvSpPr>
          <p:spPr>
            <a:xfrm>
              <a:off x="4219509" y="2914457"/>
              <a:ext cx="18850" cy="9921"/>
            </a:xfrm>
            <a:custGeom>
              <a:avLst/>
              <a:gdLst>
                <a:gd name="connsiteX0" fmla="*/ 0 w 18850"/>
                <a:gd name="connsiteY0" fmla="*/ 9922 h 9921"/>
                <a:gd name="connsiteX1" fmla="*/ 8929 w 18850"/>
                <a:gd name="connsiteY1" fmla="*/ 0 h 9921"/>
                <a:gd name="connsiteX2" fmla="*/ 18851 w 18850"/>
                <a:gd name="connsiteY2" fmla="*/ 9922 h 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50" h="9921">
                  <a:moveTo>
                    <a:pt x="0" y="9922"/>
                  </a:moveTo>
                  <a:cubicBezTo>
                    <a:pt x="0" y="4465"/>
                    <a:pt x="3472" y="0"/>
                    <a:pt x="8929" y="0"/>
                  </a:cubicBezTo>
                  <a:cubicBezTo>
                    <a:pt x="14386" y="0"/>
                    <a:pt x="18851" y="4465"/>
                    <a:pt x="18851" y="99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58463C7B-29DD-B713-DB19-9B871EE77A02}"/>
                </a:ext>
              </a:extLst>
            </p:cNvPr>
            <p:cNvSpPr/>
            <p:nvPr/>
          </p:nvSpPr>
          <p:spPr>
            <a:xfrm>
              <a:off x="4236884" y="2773075"/>
              <a:ext cx="17846" cy="12253"/>
            </a:xfrm>
            <a:custGeom>
              <a:avLst/>
              <a:gdLst>
                <a:gd name="connsiteX0" fmla="*/ 17846 w 17846"/>
                <a:gd name="connsiteY0" fmla="*/ 4961 h 12253"/>
                <a:gd name="connsiteX1" fmla="*/ 5940 w 17846"/>
                <a:gd name="connsiteY1" fmla="*/ 11906 h 12253"/>
                <a:gd name="connsiteX2" fmla="*/ 483 w 17846"/>
                <a:gd name="connsiteY2" fmla="*/ 0 h 12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46" h="12253">
                  <a:moveTo>
                    <a:pt x="17846" y="4961"/>
                  </a:moveTo>
                  <a:cubicBezTo>
                    <a:pt x="16358" y="9922"/>
                    <a:pt x="10901" y="13394"/>
                    <a:pt x="5940" y="11906"/>
                  </a:cubicBezTo>
                  <a:cubicBezTo>
                    <a:pt x="979" y="10418"/>
                    <a:pt x="-1005" y="4961"/>
                    <a:pt x="48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D07F5EA8-4D51-AEBD-412C-DDF38B7F6F79}"/>
                </a:ext>
              </a:extLst>
            </p:cNvPr>
            <p:cNvSpPr/>
            <p:nvPr/>
          </p:nvSpPr>
          <p:spPr>
            <a:xfrm>
              <a:off x="4246793" y="2801352"/>
              <a:ext cx="10417" cy="20835"/>
            </a:xfrm>
            <a:custGeom>
              <a:avLst/>
              <a:gdLst>
                <a:gd name="connsiteX0" fmla="*/ 10418 w 10417"/>
                <a:gd name="connsiteY0" fmla="*/ 20835 h 20835"/>
                <a:gd name="connsiteX1" fmla="*/ 0 w 10417"/>
                <a:gd name="connsiteY1" fmla="*/ 9922 h 20835"/>
                <a:gd name="connsiteX2" fmla="*/ 10418 w 10417"/>
                <a:gd name="connsiteY2" fmla="*/ 0 h 2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17" h="20835">
                  <a:moveTo>
                    <a:pt x="10418" y="20835"/>
                  </a:moveTo>
                  <a:cubicBezTo>
                    <a:pt x="4961" y="20835"/>
                    <a:pt x="0" y="15378"/>
                    <a:pt x="0" y="9922"/>
                  </a:cubicBezTo>
                  <a:cubicBezTo>
                    <a:pt x="0" y="4465"/>
                    <a:pt x="4961" y="0"/>
                    <a:pt x="1041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86E74453-36FB-9C6D-9526-6FB43F80CB9D}"/>
                </a:ext>
              </a:extLst>
            </p:cNvPr>
            <p:cNvSpPr/>
            <p:nvPr/>
          </p:nvSpPr>
          <p:spPr>
            <a:xfrm>
              <a:off x="4198673" y="2850959"/>
              <a:ext cx="9425" cy="21827"/>
            </a:xfrm>
            <a:custGeom>
              <a:avLst/>
              <a:gdLst>
                <a:gd name="connsiteX0" fmla="*/ 0 w 9425"/>
                <a:gd name="connsiteY0" fmla="*/ 0 h 21827"/>
                <a:gd name="connsiteX1" fmla="*/ 9425 w 9425"/>
                <a:gd name="connsiteY1" fmla="*/ 10914 h 21827"/>
                <a:gd name="connsiteX2" fmla="*/ 0 w 9425"/>
                <a:gd name="connsiteY2" fmla="*/ 21827 h 2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25" h="21827">
                  <a:moveTo>
                    <a:pt x="0" y="0"/>
                  </a:moveTo>
                  <a:cubicBezTo>
                    <a:pt x="5457" y="0"/>
                    <a:pt x="9425" y="5457"/>
                    <a:pt x="9425" y="10914"/>
                  </a:cubicBezTo>
                  <a:cubicBezTo>
                    <a:pt x="9425" y="16371"/>
                    <a:pt x="5457" y="21827"/>
                    <a:pt x="0" y="218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596D28E7-224C-AA07-BB3C-97472FE6850F}"/>
                </a:ext>
              </a:extLst>
            </p:cNvPr>
            <p:cNvSpPr/>
            <p:nvPr/>
          </p:nvSpPr>
          <p:spPr>
            <a:xfrm>
              <a:off x="4198673" y="2894118"/>
              <a:ext cx="9425" cy="18850"/>
            </a:xfrm>
            <a:custGeom>
              <a:avLst/>
              <a:gdLst>
                <a:gd name="connsiteX0" fmla="*/ 0 w 9425"/>
                <a:gd name="connsiteY0" fmla="*/ 0 h 18850"/>
                <a:gd name="connsiteX1" fmla="*/ 9425 w 9425"/>
                <a:gd name="connsiteY1" fmla="*/ 8929 h 18850"/>
                <a:gd name="connsiteX2" fmla="*/ 0 w 9425"/>
                <a:gd name="connsiteY2" fmla="*/ 18851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25" h="18850">
                  <a:moveTo>
                    <a:pt x="0" y="0"/>
                  </a:moveTo>
                  <a:cubicBezTo>
                    <a:pt x="5457" y="0"/>
                    <a:pt x="9425" y="3472"/>
                    <a:pt x="9425" y="8929"/>
                  </a:cubicBezTo>
                  <a:cubicBezTo>
                    <a:pt x="9425" y="14386"/>
                    <a:pt x="5457" y="18851"/>
                    <a:pt x="0" y="188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2872DCF9-789F-992B-A607-DD151521C87F}"/>
                </a:ext>
              </a:extLst>
            </p:cNvPr>
            <p:cNvSpPr/>
            <p:nvPr/>
          </p:nvSpPr>
          <p:spPr>
            <a:xfrm>
              <a:off x="4251257" y="2844510"/>
              <a:ext cx="10913" cy="19346"/>
            </a:xfrm>
            <a:custGeom>
              <a:avLst/>
              <a:gdLst>
                <a:gd name="connsiteX0" fmla="*/ 10914 w 10913"/>
                <a:gd name="connsiteY0" fmla="*/ 19347 h 19346"/>
                <a:gd name="connsiteX1" fmla="*/ 0 w 10913"/>
                <a:gd name="connsiteY1" fmla="*/ 9425 h 19346"/>
                <a:gd name="connsiteX2" fmla="*/ 10914 w 10913"/>
                <a:gd name="connsiteY2" fmla="*/ 0 h 1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13" h="19346">
                  <a:moveTo>
                    <a:pt x="10914" y="19347"/>
                  </a:moveTo>
                  <a:cubicBezTo>
                    <a:pt x="5457" y="19347"/>
                    <a:pt x="0" y="14882"/>
                    <a:pt x="0" y="9425"/>
                  </a:cubicBezTo>
                  <a:cubicBezTo>
                    <a:pt x="0" y="3969"/>
                    <a:pt x="5457" y="0"/>
                    <a:pt x="1091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46" name="Graphic 10">
              <a:extLst>
                <a:ext uri="{FF2B5EF4-FFF2-40B4-BE49-F238E27FC236}">
                  <a16:creationId xmlns:a16="http://schemas.microsoft.com/office/drawing/2014/main" id="{EC85210D-4A38-A81C-095D-79FDD8C8B40D}"/>
                </a:ext>
              </a:extLst>
            </p:cNvPr>
            <p:cNvGrpSpPr/>
            <p:nvPr/>
          </p:nvGrpSpPr>
          <p:grpSpPr>
            <a:xfrm>
              <a:off x="4026016" y="2464687"/>
              <a:ext cx="359256" cy="392493"/>
              <a:chOff x="4026016" y="2464687"/>
              <a:chExt cx="359256" cy="392493"/>
            </a:xfrm>
            <a:noFill/>
          </p:grpSpPr>
          <p:sp>
            <p:nvSpPr>
              <p:cNvPr id="1731" name="Freeform: Shape 1730">
                <a:extLst>
                  <a:ext uri="{FF2B5EF4-FFF2-40B4-BE49-F238E27FC236}">
                    <a16:creationId xmlns:a16="http://schemas.microsoft.com/office/drawing/2014/main" id="{8B240763-99A9-0949-D4A6-46C54FD33AAA}"/>
                  </a:ext>
                </a:extLst>
              </p:cNvPr>
              <p:cNvSpPr/>
              <p:nvPr/>
            </p:nvSpPr>
            <p:spPr>
              <a:xfrm>
                <a:off x="4037644" y="2464687"/>
                <a:ext cx="334822" cy="331207"/>
              </a:xfrm>
              <a:custGeom>
                <a:avLst/>
                <a:gdLst>
                  <a:gd name="connsiteX0" fmla="*/ 4765 w 334822"/>
                  <a:gd name="connsiteY0" fmla="*/ 330712 h 331207"/>
                  <a:gd name="connsiteX1" fmla="*/ 3277 w 334822"/>
                  <a:gd name="connsiteY1" fmla="*/ 314341 h 331207"/>
                  <a:gd name="connsiteX2" fmla="*/ 4269 w 334822"/>
                  <a:gd name="connsiteY2" fmla="*/ 297971 h 331207"/>
                  <a:gd name="connsiteX3" fmla="*/ 3277 w 334822"/>
                  <a:gd name="connsiteY3" fmla="*/ 281600 h 331207"/>
                  <a:gd name="connsiteX4" fmla="*/ 3773 w 334822"/>
                  <a:gd name="connsiteY4" fmla="*/ 265230 h 331207"/>
                  <a:gd name="connsiteX5" fmla="*/ 3277 w 334822"/>
                  <a:gd name="connsiteY5" fmla="*/ 248859 h 331207"/>
                  <a:gd name="connsiteX6" fmla="*/ 2781 w 334822"/>
                  <a:gd name="connsiteY6" fmla="*/ 232489 h 331207"/>
                  <a:gd name="connsiteX7" fmla="*/ 3773 w 334822"/>
                  <a:gd name="connsiteY7" fmla="*/ 216118 h 331207"/>
                  <a:gd name="connsiteX8" fmla="*/ 3277 w 334822"/>
                  <a:gd name="connsiteY8" fmla="*/ 199747 h 331207"/>
                  <a:gd name="connsiteX9" fmla="*/ 4269 w 334822"/>
                  <a:gd name="connsiteY9" fmla="*/ 183377 h 331207"/>
                  <a:gd name="connsiteX10" fmla="*/ 2781 w 334822"/>
                  <a:gd name="connsiteY10" fmla="*/ 167006 h 331207"/>
                  <a:gd name="connsiteX11" fmla="*/ 3773 w 334822"/>
                  <a:gd name="connsiteY11" fmla="*/ 150636 h 331207"/>
                  <a:gd name="connsiteX12" fmla="*/ 3277 w 334822"/>
                  <a:gd name="connsiteY12" fmla="*/ 134265 h 331207"/>
                  <a:gd name="connsiteX13" fmla="*/ 3773 w 334822"/>
                  <a:gd name="connsiteY13" fmla="*/ 117894 h 331207"/>
                  <a:gd name="connsiteX14" fmla="*/ 4269 w 334822"/>
                  <a:gd name="connsiteY14" fmla="*/ 101524 h 331207"/>
                  <a:gd name="connsiteX15" fmla="*/ 2285 w 334822"/>
                  <a:gd name="connsiteY15" fmla="*/ 85153 h 331207"/>
                  <a:gd name="connsiteX16" fmla="*/ 4269 w 334822"/>
                  <a:gd name="connsiteY16" fmla="*/ 68783 h 331207"/>
                  <a:gd name="connsiteX17" fmla="*/ 3277 w 334822"/>
                  <a:gd name="connsiteY17" fmla="*/ 52412 h 331207"/>
                  <a:gd name="connsiteX18" fmla="*/ 3277 w 334822"/>
                  <a:gd name="connsiteY18" fmla="*/ 36042 h 331207"/>
                  <a:gd name="connsiteX19" fmla="*/ 2285 w 334822"/>
                  <a:gd name="connsiteY19" fmla="*/ 19671 h 331207"/>
                  <a:gd name="connsiteX20" fmla="*/ 2781 w 334822"/>
                  <a:gd name="connsiteY20" fmla="*/ 2308 h 331207"/>
                  <a:gd name="connsiteX21" fmla="*/ 20144 w 334822"/>
                  <a:gd name="connsiteY21" fmla="*/ 3797 h 331207"/>
                  <a:gd name="connsiteX22" fmla="*/ 36514 w 334822"/>
                  <a:gd name="connsiteY22" fmla="*/ 3797 h 331207"/>
                  <a:gd name="connsiteX23" fmla="*/ 52885 w 334822"/>
                  <a:gd name="connsiteY23" fmla="*/ 3797 h 331207"/>
                  <a:gd name="connsiteX24" fmla="*/ 69255 w 334822"/>
                  <a:gd name="connsiteY24" fmla="*/ 2308 h 331207"/>
                  <a:gd name="connsiteX25" fmla="*/ 85626 w 334822"/>
                  <a:gd name="connsiteY25" fmla="*/ 3797 h 331207"/>
                  <a:gd name="connsiteX26" fmla="*/ 101996 w 334822"/>
                  <a:gd name="connsiteY26" fmla="*/ 2308 h 331207"/>
                  <a:gd name="connsiteX27" fmla="*/ 118367 w 334822"/>
                  <a:gd name="connsiteY27" fmla="*/ 2308 h 331207"/>
                  <a:gd name="connsiteX28" fmla="*/ 134738 w 334822"/>
                  <a:gd name="connsiteY28" fmla="*/ 2804 h 331207"/>
                  <a:gd name="connsiteX29" fmla="*/ 151108 w 334822"/>
                  <a:gd name="connsiteY29" fmla="*/ 2804 h 331207"/>
                  <a:gd name="connsiteX30" fmla="*/ 167479 w 334822"/>
                  <a:gd name="connsiteY30" fmla="*/ 3300 h 331207"/>
                  <a:gd name="connsiteX31" fmla="*/ 183849 w 334822"/>
                  <a:gd name="connsiteY31" fmla="*/ 2804 h 331207"/>
                  <a:gd name="connsiteX32" fmla="*/ 200220 w 334822"/>
                  <a:gd name="connsiteY32" fmla="*/ 2804 h 331207"/>
                  <a:gd name="connsiteX33" fmla="*/ 216591 w 334822"/>
                  <a:gd name="connsiteY33" fmla="*/ 4293 h 331207"/>
                  <a:gd name="connsiteX34" fmla="*/ 232961 w 334822"/>
                  <a:gd name="connsiteY34" fmla="*/ 4293 h 331207"/>
                  <a:gd name="connsiteX35" fmla="*/ 249332 w 334822"/>
                  <a:gd name="connsiteY35" fmla="*/ 3300 h 331207"/>
                  <a:gd name="connsiteX36" fmla="*/ 265702 w 334822"/>
                  <a:gd name="connsiteY36" fmla="*/ 2804 h 331207"/>
                  <a:gd name="connsiteX37" fmla="*/ 282073 w 334822"/>
                  <a:gd name="connsiteY37" fmla="*/ 4789 h 331207"/>
                  <a:gd name="connsiteX38" fmla="*/ 298443 w 334822"/>
                  <a:gd name="connsiteY38" fmla="*/ 2804 h 331207"/>
                  <a:gd name="connsiteX39" fmla="*/ 314814 w 334822"/>
                  <a:gd name="connsiteY39" fmla="*/ 4789 h 331207"/>
                  <a:gd name="connsiteX40" fmla="*/ 332177 w 334822"/>
                  <a:gd name="connsiteY40" fmla="*/ 2804 h 331207"/>
                  <a:gd name="connsiteX41" fmla="*/ 332177 w 334822"/>
                  <a:gd name="connsiteY41" fmla="*/ 20167 h 331207"/>
                  <a:gd name="connsiteX42" fmla="*/ 331184 w 334822"/>
                  <a:gd name="connsiteY42" fmla="*/ 36538 h 331207"/>
                  <a:gd name="connsiteX43" fmla="*/ 332177 w 334822"/>
                  <a:gd name="connsiteY43" fmla="*/ 52908 h 331207"/>
                  <a:gd name="connsiteX44" fmla="*/ 330688 w 334822"/>
                  <a:gd name="connsiteY44" fmla="*/ 69279 h 331207"/>
                  <a:gd name="connsiteX45" fmla="*/ 332177 w 334822"/>
                  <a:gd name="connsiteY45" fmla="*/ 85649 h 331207"/>
                  <a:gd name="connsiteX46" fmla="*/ 331184 w 334822"/>
                  <a:gd name="connsiteY46" fmla="*/ 102020 h 331207"/>
                  <a:gd name="connsiteX47" fmla="*/ 331184 w 334822"/>
                  <a:gd name="connsiteY47" fmla="*/ 118391 h 331207"/>
                  <a:gd name="connsiteX48" fmla="*/ 330192 w 334822"/>
                  <a:gd name="connsiteY48" fmla="*/ 134761 h 331207"/>
                  <a:gd name="connsiteX49" fmla="*/ 330192 w 334822"/>
                  <a:gd name="connsiteY49" fmla="*/ 151132 h 331207"/>
                  <a:gd name="connsiteX50" fmla="*/ 330192 w 334822"/>
                  <a:gd name="connsiteY50" fmla="*/ 167502 h 331207"/>
                  <a:gd name="connsiteX51" fmla="*/ 331680 w 334822"/>
                  <a:gd name="connsiteY51" fmla="*/ 183873 h 331207"/>
                  <a:gd name="connsiteX52" fmla="*/ 329696 w 334822"/>
                  <a:gd name="connsiteY52" fmla="*/ 200243 h 331207"/>
                  <a:gd name="connsiteX53" fmla="*/ 330688 w 334822"/>
                  <a:gd name="connsiteY53" fmla="*/ 216614 h 331207"/>
                  <a:gd name="connsiteX54" fmla="*/ 331680 w 334822"/>
                  <a:gd name="connsiteY54" fmla="*/ 232984 h 331207"/>
                  <a:gd name="connsiteX55" fmla="*/ 330688 w 334822"/>
                  <a:gd name="connsiteY55" fmla="*/ 249355 h 331207"/>
                  <a:gd name="connsiteX56" fmla="*/ 330688 w 334822"/>
                  <a:gd name="connsiteY56" fmla="*/ 265726 h 331207"/>
                  <a:gd name="connsiteX57" fmla="*/ 330192 w 334822"/>
                  <a:gd name="connsiteY57" fmla="*/ 282096 h 331207"/>
                  <a:gd name="connsiteX58" fmla="*/ 331680 w 334822"/>
                  <a:gd name="connsiteY58" fmla="*/ 298467 h 331207"/>
                  <a:gd name="connsiteX59" fmla="*/ 330688 w 334822"/>
                  <a:gd name="connsiteY59" fmla="*/ 314837 h 331207"/>
                  <a:gd name="connsiteX60" fmla="*/ 330688 w 334822"/>
                  <a:gd name="connsiteY60" fmla="*/ 331208 h 331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334822" h="331207">
                    <a:moveTo>
                      <a:pt x="4765" y="330712"/>
                    </a:moveTo>
                    <a:cubicBezTo>
                      <a:pt x="4765" y="322278"/>
                      <a:pt x="3277" y="322278"/>
                      <a:pt x="3277" y="314341"/>
                    </a:cubicBezTo>
                    <a:cubicBezTo>
                      <a:pt x="3277" y="305908"/>
                      <a:pt x="4269" y="305908"/>
                      <a:pt x="4269" y="297971"/>
                    </a:cubicBezTo>
                    <a:cubicBezTo>
                      <a:pt x="4269" y="289537"/>
                      <a:pt x="3277" y="289537"/>
                      <a:pt x="3277" y="281600"/>
                    </a:cubicBezTo>
                    <a:cubicBezTo>
                      <a:pt x="3277" y="273167"/>
                      <a:pt x="3773" y="273167"/>
                      <a:pt x="3773" y="265230"/>
                    </a:cubicBezTo>
                    <a:cubicBezTo>
                      <a:pt x="3773" y="256796"/>
                      <a:pt x="3277" y="256796"/>
                      <a:pt x="3277" y="248859"/>
                    </a:cubicBezTo>
                    <a:cubicBezTo>
                      <a:pt x="3277" y="240426"/>
                      <a:pt x="2781" y="240426"/>
                      <a:pt x="2781" y="232489"/>
                    </a:cubicBezTo>
                    <a:cubicBezTo>
                      <a:pt x="2781" y="224055"/>
                      <a:pt x="3773" y="224055"/>
                      <a:pt x="3773" y="216118"/>
                    </a:cubicBezTo>
                    <a:cubicBezTo>
                      <a:pt x="3773" y="207685"/>
                      <a:pt x="3277" y="207685"/>
                      <a:pt x="3277" y="199747"/>
                    </a:cubicBezTo>
                    <a:cubicBezTo>
                      <a:pt x="3277" y="191314"/>
                      <a:pt x="4269" y="191314"/>
                      <a:pt x="4269" y="183377"/>
                    </a:cubicBezTo>
                    <a:cubicBezTo>
                      <a:pt x="4269" y="174943"/>
                      <a:pt x="2781" y="174943"/>
                      <a:pt x="2781" y="167006"/>
                    </a:cubicBezTo>
                    <a:cubicBezTo>
                      <a:pt x="2781" y="158573"/>
                      <a:pt x="3773" y="158573"/>
                      <a:pt x="3773" y="150636"/>
                    </a:cubicBezTo>
                    <a:cubicBezTo>
                      <a:pt x="3773" y="142202"/>
                      <a:pt x="3277" y="142202"/>
                      <a:pt x="3277" y="134265"/>
                    </a:cubicBezTo>
                    <a:cubicBezTo>
                      <a:pt x="3277" y="125832"/>
                      <a:pt x="3773" y="125832"/>
                      <a:pt x="3773" y="117894"/>
                    </a:cubicBezTo>
                    <a:cubicBezTo>
                      <a:pt x="3773" y="109957"/>
                      <a:pt x="4269" y="109461"/>
                      <a:pt x="4269" y="101524"/>
                    </a:cubicBezTo>
                    <a:cubicBezTo>
                      <a:pt x="4269" y="93090"/>
                      <a:pt x="2285" y="93090"/>
                      <a:pt x="2285" y="85153"/>
                    </a:cubicBezTo>
                    <a:cubicBezTo>
                      <a:pt x="2285" y="76720"/>
                      <a:pt x="4269" y="76720"/>
                      <a:pt x="4269" y="68783"/>
                    </a:cubicBezTo>
                    <a:cubicBezTo>
                      <a:pt x="4269" y="60349"/>
                      <a:pt x="3277" y="60349"/>
                      <a:pt x="3277" y="52412"/>
                    </a:cubicBezTo>
                    <a:cubicBezTo>
                      <a:pt x="3277" y="43979"/>
                      <a:pt x="3277" y="43979"/>
                      <a:pt x="3277" y="36042"/>
                    </a:cubicBezTo>
                    <a:cubicBezTo>
                      <a:pt x="3277" y="27608"/>
                      <a:pt x="2285" y="27608"/>
                      <a:pt x="2285" y="19671"/>
                    </a:cubicBezTo>
                    <a:cubicBezTo>
                      <a:pt x="2285" y="11734"/>
                      <a:pt x="-3172" y="8261"/>
                      <a:pt x="2781" y="2308"/>
                    </a:cubicBezTo>
                    <a:cubicBezTo>
                      <a:pt x="8734" y="-3645"/>
                      <a:pt x="11710" y="3797"/>
                      <a:pt x="20144" y="3797"/>
                    </a:cubicBezTo>
                    <a:cubicBezTo>
                      <a:pt x="28577" y="3797"/>
                      <a:pt x="28577" y="3797"/>
                      <a:pt x="36514" y="3797"/>
                    </a:cubicBezTo>
                    <a:cubicBezTo>
                      <a:pt x="44947" y="3797"/>
                      <a:pt x="44947" y="3797"/>
                      <a:pt x="52885" y="3797"/>
                    </a:cubicBezTo>
                    <a:cubicBezTo>
                      <a:pt x="61318" y="3797"/>
                      <a:pt x="61318" y="2308"/>
                      <a:pt x="69255" y="2308"/>
                    </a:cubicBezTo>
                    <a:cubicBezTo>
                      <a:pt x="77689" y="2308"/>
                      <a:pt x="77689" y="3797"/>
                      <a:pt x="85626" y="3797"/>
                    </a:cubicBezTo>
                    <a:cubicBezTo>
                      <a:pt x="94059" y="3797"/>
                      <a:pt x="94059" y="2308"/>
                      <a:pt x="101996" y="2308"/>
                    </a:cubicBezTo>
                    <a:cubicBezTo>
                      <a:pt x="110430" y="2308"/>
                      <a:pt x="110430" y="2308"/>
                      <a:pt x="118367" y="2308"/>
                    </a:cubicBezTo>
                    <a:cubicBezTo>
                      <a:pt x="126800" y="2308"/>
                      <a:pt x="126800" y="2804"/>
                      <a:pt x="134738" y="2804"/>
                    </a:cubicBezTo>
                    <a:cubicBezTo>
                      <a:pt x="143171" y="2804"/>
                      <a:pt x="143171" y="2804"/>
                      <a:pt x="151108" y="2804"/>
                    </a:cubicBezTo>
                    <a:cubicBezTo>
                      <a:pt x="159542" y="2804"/>
                      <a:pt x="159542" y="3300"/>
                      <a:pt x="167479" y="3300"/>
                    </a:cubicBezTo>
                    <a:cubicBezTo>
                      <a:pt x="175912" y="3300"/>
                      <a:pt x="175912" y="2804"/>
                      <a:pt x="183849" y="2804"/>
                    </a:cubicBezTo>
                    <a:cubicBezTo>
                      <a:pt x="192283" y="2804"/>
                      <a:pt x="192283" y="2804"/>
                      <a:pt x="200220" y="2804"/>
                    </a:cubicBezTo>
                    <a:cubicBezTo>
                      <a:pt x="208653" y="2804"/>
                      <a:pt x="208653" y="4293"/>
                      <a:pt x="216591" y="4293"/>
                    </a:cubicBezTo>
                    <a:cubicBezTo>
                      <a:pt x="224528" y="4293"/>
                      <a:pt x="225024" y="4293"/>
                      <a:pt x="232961" y="4293"/>
                    </a:cubicBezTo>
                    <a:cubicBezTo>
                      <a:pt x="241394" y="4293"/>
                      <a:pt x="241394" y="3300"/>
                      <a:pt x="249332" y="3300"/>
                    </a:cubicBezTo>
                    <a:cubicBezTo>
                      <a:pt x="257765" y="3300"/>
                      <a:pt x="257765" y="2804"/>
                      <a:pt x="265702" y="2804"/>
                    </a:cubicBezTo>
                    <a:cubicBezTo>
                      <a:pt x="274135" y="2804"/>
                      <a:pt x="274135" y="4789"/>
                      <a:pt x="282073" y="4789"/>
                    </a:cubicBezTo>
                    <a:cubicBezTo>
                      <a:pt x="290506" y="4789"/>
                      <a:pt x="290506" y="2804"/>
                      <a:pt x="298443" y="2804"/>
                    </a:cubicBezTo>
                    <a:cubicBezTo>
                      <a:pt x="306876" y="2804"/>
                      <a:pt x="306876" y="4789"/>
                      <a:pt x="314814" y="4789"/>
                    </a:cubicBezTo>
                    <a:cubicBezTo>
                      <a:pt x="322751" y="4789"/>
                      <a:pt x="326224" y="-3149"/>
                      <a:pt x="332177" y="2804"/>
                    </a:cubicBezTo>
                    <a:cubicBezTo>
                      <a:pt x="338130" y="8757"/>
                      <a:pt x="332177" y="11734"/>
                      <a:pt x="332177" y="20167"/>
                    </a:cubicBezTo>
                    <a:cubicBezTo>
                      <a:pt x="332177" y="28600"/>
                      <a:pt x="331184" y="28600"/>
                      <a:pt x="331184" y="36538"/>
                    </a:cubicBezTo>
                    <a:cubicBezTo>
                      <a:pt x="331184" y="44971"/>
                      <a:pt x="332177" y="44971"/>
                      <a:pt x="332177" y="52908"/>
                    </a:cubicBezTo>
                    <a:cubicBezTo>
                      <a:pt x="332177" y="61342"/>
                      <a:pt x="330688" y="61342"/>
                      <a:pt x="330688" y="69279"/>
                    </a:cubicBezTo>
                    <a:cubicBezTo>
                      <a:pt x="330688" y="77712"/>
                      <a:pt x="332177" y="77712"/>
                      <a:pt x="332177" y="85649"/>
                    </a:cubicBezTo>
                    <a:cubicBezTo>
                      <a:pt x="332177" y="94083"/>
                      <a:pt x="331184" y="94083"/>
                      <a:pt x="331184" y="102020"/>
                    </a:cubicBezTo>
                    <a:cubicBezTo>
                      <a:pt x="331184" y="110453"/>
                      <a:pt x="331184" y="110453"/>
                      <a:pt x="331184" y="118391"/>
                    </a:cubicBezTo>
                    <a:cubicBezTo>
                      <a:pt x="331184" y="126824"/>
                      <a:pt x="330192" y="126824"/>
                      <a:pt x="330192" y="134761"/>
                    </a:cubicBezTo>
                    <a:cubicBezTo>
                      <a:pt x="330192" y="143194"/>
                      <a:pt x="330192" y="143194"/>
                      <a:pt x="330192" y="151132"/>
                    </a:cubicBezTo>
                    <a:cubicBezTo>
                      <a:pt x="330192" y="159565"/>
                      <a:pt x="330192" y="159565"/>
                      <a:pt x="330192" y="167502"/>
                    </a:cubicBezTo>
                    <a:cubicBezTo>
                      <a:pt x="330192" y="175936"/>
                      <a:pt x="331680" y="175936"/>
                      <a:pt x="331680" y="183873"/>
                    </a:cubicBezTo>
                    <a:cubicBezTo>
                      <a:pt x="331680" y="192306"/>
                      <a:pt x="329696" y="192306"/>
                      <a:pt x="329696" y="200243"/>
                    </a:cubicBezTo>
                    <a:cubicBezTo>
                      <a:pt x="329696" y="208677"/>
                      <a:pt x="330688" y="208677"/>
                      <a:pt x="330688" y="216614"/>
                    </a:cubicBezTo>
                    <a:cubicBezTo>
                      <a:pt x="330688" y="224551"/>
                      <a:pt x="331680" y="225047"/>
                      <a:pt x="331680" y="232984"/>
                    </a:cubicBezTo>
                    <a:cubicBezTo>
                      <a:pt x="331680" y="241418"/>
                      <a:pt x="330688" y="241418"/>
                      <a:pt x="330688" y="249355"/>
                    </a:cubicBezTo>
                    <a:cubicBezTo>
                      <a:pt x="330688" y="257788"/>
                      <a:pt x="330688" y="257788"/>
                      <a:pt x="330688" y="265726"/>
                    </a:cubicBezTo>
                    <a:cubicBezTo>
                      <a:pt x="330688" y="274159"/>
                      <a:pt x="330192" y="274159"/>
                      <a:pt x="330192" y="282096"/>
                    </a:cubicBezTo>
                    <a:cubicBezTo>
                      <a:pt x="330192" y="290530"/>
                      <a:pt x="331680" y="290530"/>
                      <a:pt x="331680" y="298467"/>
                    </a:cubicBezTo>
                    <a:cubicBezTo>
                      <a:pt x="331680" y="306900"/>
                      <a:pt x="330688" y="306900"/>
                      <a:pt x="330688" y="314837"/>
                    </a:cubicBezTo>
                    <a:cubicBezTo>
                      <a:pt x="330688" y="322775"/>
                      <a:pt x="330688" y="323271"/>
                      <a:pt x="330688" y="33120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2" name="Freeform: Shape 1731">
                <a:extLst>
                  <a:ext uri="{FF2B5EF4-FFF2-40B4-BE49-F238E27FC236}">
                    <a16:creationId xmlns:a16="http://schemas.microsoft.com/office/drawing/2014/main" id="{3C1836E0-2D4B-E4B5-620D-C93597C87264}"/>
                  </a:ext>
                </a:extLst>
              </p:cNvPr>
              <p:cNvSpPr/>
              <p:nvPr/>
            </p:nvSpPr>
            <p:spPr>
              <a:xfrm>
                <a:off x="4055975" y="2597139"/>
                <a:ext cx="301145" cy="40548"/>
              </a:xfrm>
              <a:custGeom>
                <a:avLst/>
                <a:gdLst>
                  <a:gd name="connsiteX0" fmla="*/ 297971 w 301145"/>
                  <a:gd name="connsiteY0" fmla="*/ 37530 h 40548"/>
                  <a:gd name="connsiteX1" fmla="*/ 281104 w 301145"/>
                  <a:gd name="connsiteY1" fmla="*/ 36538 h 40548"/>
                  <a:gd name="connsiteX2" fmla="*/ 264733 w 301145"/>
                  <a:gd name="connsiteY2" fmla="*/ 37530 h 40548"/>
                  <a:gd name="connsiteX3" fmla="*/ 248363 w 301145"/>
                  <a:gd name="connsiteY3" fmla="*/ 37530 h 40548"/>
                  <a:gd name="connsiteX4" fmla="*/ 231992 w 301145"/>
                  <a:gd name="connsiteY4" fmla="*/ 38522 h 40548"/>
                  <a:gd name="connsiteX5" fmla="*/ 215622 w 301145"/>
                  <a:gd name="connsiteY5" fmla="*/ 37530 h 40548"/>
                  <a:gd name="connsiteX6" fmla="*/ 199251 w 301145"/>
                  <a:gd name="connsiteY6" fmla="*/ 37530 h 40548"/>
                  <a:gd name="connsiteX7" fmla="*/ 182881 w 301145"/>
                  <a:gd name="connsiteY7" fmla="*/ 36042 h 40548"/>
                  <a:gd name="connsiteX8" fmla="*/ 166510 w 301145"/>
                  <a:gd name="connsiteY8" fmla="*/ 38522 h 40548"/>
                  <a:gd name="connsiteX9" fmla="*/ 150139 w 301145"/>
                  <a:gd name="connsiteY9" fmla="*/ 36538 h 40548"/>
                  <a:gd name="connsiteX10" fmla="*/ 133769 w 301145"/>
                  <a:gd name="connsiteY10" fmla="*/ 36538 h 40548"/>
                  <a:gd name="connsiteX11" fmla="*/ 117398 w 301145"/>
                  <a:gd name="connsiteY11" fmla="*/ 37530 h 40548"/>
                  <a:gd name="connsiteX12" fmla="*/ 101028 w 301145"/>
                  <a:gd name="connsiteY12" fmla="*/ 37034 h 40548"/>
                  <a:gd name="connsiteX13" fmla="*/ 84657 w 301145"/>
                  <a:gd name="connsiteY13" fmla="*/ 36042 h 40548"/>
                  <a:gd name="connsiteX14" fmla="*/ 68287 w 301145"/>
                  <a:gd name="connsiteY14" fmla="*/ 36042 h 40548"/>
                  <a:gd name="connsiteX15" fmla="*/ 51916 w 301145"/>
                  <a:gd name="connsiteY15" fmla="*/ 38522 h 40548"/>
                  <a:gd name="connsiteX16" fmla="*/ 35545 w 301145"/>
                  <a:gd name="connsiteY16" fmla="*/ 36538 h 40548"/>
                  <a:gd name="connsiteX17" fmla="*/ 19175 w 301145"/>
                  <a:gd name="connsiteY17" fmla="*/ 37530 h 40548"/>
                  <a:gd name="connsiteX18" fmla="*/ 2308 w 301145"/>
                  <a:gd name="connsiteY18" fmla="*/ 38026 h 40548"/>
                  <a:gd name="connsiteX19" fmla="*/ 3796 w 301145"/>
                  <a:gd name="connsiteY19" fmla="*/ 20167 h 40548"/>
                  <a:gd name="connsiteX20" fmla="*/ 2308 w 301145"/>
                  <a:gd name="connsiteY20" fmla="*/ 2308 h 40548"/>
                  <a:gd name="connsiteX21" fmla="*/ 19175 w 301145"/>
                  <a:gd name="connsiteY21" fmla="*/ 3796 h 40548"/>
                  <a:gd name="connsiteX22" fmla="*/ 35545 w 301145"/>
                  <a:gd name="connsiteY22" fmla="*/ 2804 h 40548"/>
                  <a:gd name="connsiteX23" fmla="*/ 51916 w 301145"/>
                  <a:gd name="connsiteY23" fmla="*/ 1812 h 40548"/>
                  <a:gd name="connsiteX24" fmla="*/ 68287 w 301145"/>
                  <a:gd name="connsiteY24" fmla="*/ 2804 h 40548"/>
                  <a:gd name="connsiteX25" fmla="*/ 84657 w 301145"/>
                  <a:gd name="connsiteY25" fmla="*/ 2804 h 40548"/>
                  <a:gd name="connsiteX26" fmla="*/ 101028 w 301145"/>
                  <a:gd name="connsiteY26" fmla="*/ 3301 h 40548"/>
                  <a:gd name="connsiteX27" fmla="*/ 117398 w 301145"/>
                  <a:gd name="connsiteY27" fmla="*/ 2308 h 40548"/>
                  <a:gd name="connsiteX28" fmla="*/ 133769 w 301145"/>
                  <a:gd name="connsiteY28" fmla="*/ 3796 h 40548"/>
                  <a:gd name="connsiteX29" fmla="*/ 150139 w 301145"/>
                  <a:gd name="connsiteY29" fmla="*/ 1812 h 40548"/>
                  <a:gd name="connsiteX30" fmla="*/ 166510 w 301145"/>
                  <a:gd name="connsiteY30" fmla="*/ 2804 h 40548"/>
                  <a:gd name="connsiteX31" fmla="*/ 182881 w 301145"/>
                  <a:gd name="connsiteY31" fmla="*/ 2804 h 40548"/>
                  <a:gd name="connsiteX32" fmla="*/ 199251 w 301145"/>
                  <a:gd name="connsiteY32" fmla="*/ 2308 h 40548"/>
                  <a:gd name="connsiteX33" fmla="*/ 215622 w 301145"/>
                  <a:gd name="connsiteY33" fmla="*/ 2804 h 40548"/>
                  <a:gd name="connsiteX34" fmla="*/ 231992 w 301145"/>
                  <a:gd name="connsiteY34" fmla="*/ 1812 h 40548"/>
                  <a:gd name="connsiteX35" fmla="*/ 248363 w 301145"/>
                  <a:gd name="connsiteY35" fmla="*/ 1812 h 40548"/>
                  <a:gd name="connsiteX36" fmla="*/ 264733 w 301145"/>
                  <a:gd name="connsiteY36" fmla="*/ 2308 h 40548"/>
                  <a:gd name="connsiteX37" fmla="*/ 281104 w 301145"/>
                  <a:gd name="connsiteY37" fmla="*/ 3796 h 40548"/>
                  <a:gd name="connsiteX38" fmla="*/ 297971 w 301145"/>
                  <a:gd name="connsiteY38" fmla="*/ 2308 h 40548"/>
                  <a:gd name="connsiteX39" fmla="*/ 298467 w 301145"/>
                  <a:gd name="connsiteY39" fmla="*/ 19671 h 40548"/>
                  <a:gd name="connsiteX40" fmla="*/ 297971 w 301145"/>
                  <a:gd name="connsiteY40" fmla="*/ 37530 h 4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1145" h="40548">
                    <a:moveTo>
                      <a:pt x="297971" y="37530"/>
                    </a:moveTo>
                    <a:cubicBezTo>
                      <a:pt x="292514" y="43483"/>
                      <a:pt x="289537" y="36538"/>
                      <a:pt x="281104" y="36538"/>
                    </a:cubicBezTo>
                    <a:cubicBezTo>
                      <a:pt x="273167" y="36538"/>
                      <a:pt x="273167" y="37530"/>
                      <a:pt x="264733" y="37530"/>
                    </a:cubicBezTo>
                    <a:cubicBezTo>
                      <a:pt x="256796" y="37530"/>
                      <a:pt x="256796" y="37530"/>
                      <a:pt x="248363" y="37530"/>
                    </a:cubicBezTo>
                    <a:cubicBezTo>
                      <a:pt x="239929" y="37530"/>
                      <a:pt x="239929" y="38522"/>
                      <a:pt x="231992" y="38522"/>
                    </a:cubicBezTo>
                    <a:cubicBezTo>
                      <a:pt x="224055" y="38522"/>
                      <a:pt x="224055" y="37530"/>
                      <a:pt x="215622" y="37530"/>
                    </a:cubicBezTo>
                    <a:cubicBezTo>
                      <a:pt x="207188" y="37530"/>
                      <a:pt x="207188" y="37530"/>
                      <a:pt x="199251" y="37530"/>
                    </a:cubicBezTo>
                    <a:cubicBezTo>
                      <a:pt x="191314" y="37530"/>
                      <a:pt x="191314" y="36042"/>
                      <a:pt x="182881" y="36042"/>
                    </a:cubicBezTo>
                    <a:cubicBezTo>
                      <a:pt x="174447" y="36042"/>
                      <a:pt x="174447" y="38522"/>
                      <a:pt x="166510" y="38522"/>
                    </a:cubicBezTo>
                    <a:cubicBezTo>
                      <a:pt x="158077" y="38522"/>
                      <a:pt x="158077" y="36538"/>
                      <a:pt x="150139" y="36538"/>
                    </a:cubicBezTo>
                    <a:cubicBezTo>
                      <a:pt x="141706" y="36538"/>
                      <a:pt x="141706" y="36538"/>
                      <a:pt x="133769" y="36538"/>
                    </a:cubicBezTo>
                    <a:cubicBezTo>
                      <a:pt x="125336" y="36538"/>
                      <a:pt x="125336" y="37530"/>
                      <a:pt x="117398" y="37530"/>
                    </a:cubicBezTo>
                    <a:cubicBezTo>
                      <a:pt x="108965" y="37530"/>
                      <a:pt x="108965" y="37034"/>
                      <a:pt x="101028" y="37034"/>
                    </a:cubicBezTo>
                    <a:cubicBezTo>
                      <a:pt x="92594" y="37034"/>
                      <a:pt x="92594" y="36042"/>
                      <a:pt x="84657" y="36042"/>
                    </a:cubicBezTo>
                    <a:cubicBezTo>
                      <a:pt x="76224" y="36042"/>
                      <a:pt x="76224" y="36042"/>
                      <a:pt x="68287" y="36042"/>
                    </a:cubicBezTo>
                    <a:cubicBezTo>
                      <a:pt x="59853" y="36042"/>
                      <a:pt x="59853" y="38522"/>
                      <a:pt x="51916" y="38522"/>
                    </a:cubicBezTo>
                    <a:cubicBezTo>
                      <a:pt x="43483" y="38522"/>
                      <a:pt x="43483" y="36538"/>
                      <a:pt x="35545" y="36538"/>
                    </a:cubicBezTo>
                    <a:cubicBezTo>
                      <a:pt x="27112" y="36538"/>
                      <a:pt x="27112" y="37530"/>
                      <a:pt x="19175" y="37530"/>
                    </a:cubicBezTo>
                    <a:cubicBezTo>
                      <a:pt x="11238" y="37530"/>
                      <a:pt x="7765" y="43979"/>
                      <a:pt x="2308" y="38026"/>
                    </a:cubicBezTo>
                    <a:cubicBezTo>
                      <a:pt x="-3645" y="31577"/>
                      <a:pt x="3796" y="28600"/>
                      <a:pt x="3796" y="20167"/>
                    </a:cubicBezTo>
                    <a:cubicBezTo>
                      <a:pt x="3796" y="11734"/>
                      <a:pt x="-3645" y="8261"/>
                      <a:pt x="2308" y="2308"/>
                    </a:cubicBezTo>
                    <a:cubicBezTo>
                      <a:pt x="7765" y="-3645"/>
                      <a:pt x="11238" y="3796"/>
                      <a:pt x="19175" y="3796"/>
                    </a:cubicBezTo>
                    <a:cubicBezTo>
                      <a:pt x="27112" y="3796"/>
                      <a:pt x="27112" y="2804"/>
                      <a:pt x="35545" y="2804"/>
                    </a:cubicBezTo>
                    <a:cubicBezTo>
                      <a:pt x="43483" y="2804"/>
                      <a:pt x="43483" y="1812"/>
                      <a:pt x="51916" y="1812"/>
                    </a:cubicBezTo>
                    <a:cubicBezTo>
                      <a:pt x="60349" y="1812"/>
                      <a:pt x="60349" y="2804"/>
                      <a:pt x="68287" y="2804"/>
                    </a:cubicBezTo>
                    <a:cubicBezTo>
                      <a:pt x="76224" y="2804"/>
                      <a:pt x="76224" y="2804"/>
                      <a:pt x="84657" y="2804"/>
                    </a:cubicBezTo>
                    <a:cubicBezTo>
                      <a:pt x="93091" y="2804"/>
                      <a:pt x="93091" y="3301"/>
                      <a:pt x="101028" y="3301"/>
                    </a:cubicBezTo>
                    <a:cubicBezTo>
                      <a:pt x="108965" y="3301"/>
                      <a:pt x="108965" y="2308"/>
                      <a:pt x="117398" y="2308"/>
                    </a:cubicBezTo>
                    <a:cubicBezTo>
                      <a:pt x="125832" y="2308"/>
                      <a:pt x="125832" y="3796"/>
                      <a:pt x="133769" y="3796"/>
                    </a:cubicBezTo>
                    <a:cubicBezTo>
                      <a:pt x="142202" y="3796"/>
                      <a:pt x="142202" y="1812"/>
                      <a:pt x="150139" y="1812"/>
                    </a:cubicBezTo>
                    <a:cubicBezTo>
                      <a:pt x="158573" y="1812"/>
                      <a:pt x="158573" y="2804"/>
                      <a:pt x="166510" y="2804"/>
                    </a:cubicBezTo>
                    <a:cubicBezTo>
                      <a:pt x="174943" y="2804"/>
                      <a:pt x="174943" y="2804"/>
                      <a:pt x="182881" y="2804"/>
                    </a:cubicBezTo>
                    <a:cubicBezTo>
                      <a:pt x="191314" y="2804"/>
                      <a:pt x="191314" y="2308"/>
                      <a:pt x="199251" y="2308"/>
                    </a:cubicBezTo>
                    <a:cubicBezTo>
                      <a:pt x="207684" y="2308"/>
                      <a:pt x="207684" y="2804"/>
                      <a:pt x="215622" y="2804"/>
                    </a:cubicBezTo>
                    <a:cubicBezTo>
                      <a:pt x="224055" y="2804"/>
                      <a:pt x="224055" y="1812"/>
                      <a:pt x="231992" y="1812"/>
                    </a:cubicBezTo>
                    <a:cubicBezTo>
                      <a:pt x="240426" y="1812"/>
                      <a:pt x="240426" y="1812"/>
                      <a:pt x="248363" y="1812"/>
                    </a:cubicBezTo>
                    <a:cubicBezTo>
                      <a:pt x="256796" y="1812"/>
                      <a:pt x="256796" y="2308"/>
                      <a:pt x="264733" y="2308"/>
                    </a:cubicBezTo>
                    <a:cubicBezTo>
                      <a:pt x="273167" y="2308"/>
                      <a:pt x="273167" y="3796"/>
                      <a:pt x="281104" y="3796"/>
                    </a:cubicBezTo>
                    <a:cubicBezTo>
                      <a:pt x="289041" y="3796"/>
                      <a:pt x="292018" y="-3645"/>
                      <a:pt x="297971" y="2308"/>
                    </a:cubicBezTo>
                    <a:cubicBezTo>
                      <a:pt x="303924" y="8757"/>
                      <a:pt x="296482" y="11238"/>
                      <a:pt x="298467" y="19671"/>
                    </a:cubicBezTo>
                    <a:cubicBezTo>
                      <a:pt x="299955" y="29097"/>
                      <a:pt x="303924" y="31577"/>
                      <a:pt x="297971" y="3753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3" name="Freeform: Shape 1732">
                <a:extLst>
                  <a:ext uri="{FF2B5EF4-FFF2-40B4-BE49-F238E27FC236}">
                    <a16:creationId xmlns:a16="http://schemas.microsoft.com/office/drawing/2014/main" id="{614D9AE6-C574-2FE3-13AB-035798D401E0}"/>
                  </a:ext>
                </a:extLst>
              </p:cNvPr>
              <p:cNvSpPr/>
              <p:nvPr/>
            </p:nvSpPr>
            <p:spPr>
              <a:xfrm>
                <a:off x="4055722" y="2490010"/>
                <a:ext cx="300012" cy="305388"/>
              </a:xfrm>
              <a:custGeom>
                <a:avLst/>
                <a:gdLst>
                  <a:gd name="connsiteX0" fmla="*/ 3057 w 300012"/>
                  <a:gd name="connsiteY0" fmla="*/ 305388 h 305388"/>
                  <a:gd name="connsiteX1" fmla="*/ 3057 w 300012"/>
                  <a:gd name="connsiteY1" fmla="*/ 289514 h 305388"/>
                  <a:gd name="connsiteX2" fmla="*/ 1569 w 300012"/>
                  <a:gd name="connsiteY2" fmla="*/ 273639 h 305388"/>
                  <a:gd name="connsiteX3" fmla="*/ 3553 w 300012"/>
                  <a:gd name="connsiteY3" fmla="*/ 257765 h 305388"/>
                  <a:gd name="connsiteX4" fmla="*/ 2561 w 300012"/>
                  <a:gd name="connsiteY4" fmla="*/ 241890 h 305388"/>
                  <a:gd name="connsiteX5" fmla="*/ 3553 w 300012"/>
                  <a:gd name="connsiteY5" fmla="*/ 226016 h 305388"/>
                  <a:gd name="connsiteX6" fmla="*/ 1569 w 300012"/>
                  <a:gd name="connsiteY6" fmla="*/ 210141 h 305388"/>
                  <a:gd name="connsiteX7" fmla="*/ 1569 w 300012"/>
                  <a:gd name="connsiteY7" fmla="*/ 194267 h 305388"/>
                  <a:gd name="connsiteX8" fmla="*/ 3057 w 300012"/>
                  <a:gd name="connsiteY8" fmla="*/ 178393 h 305388"/>
                  <a:gd name="connsiteX9" fmla="*/ 2561 w 300012"/>
                  <a:gd name="connsiteY9" fmla="*/ 162518 h 305388"/>
                  <a:gd name="connsiteX10" fmla="*/ 1569 w 300012"/>
                  <a:gd name="connsiteY10" fmla="*/ 146643 h 305388"/>
                  <a:gd name="connsiteX11" fmla="*/ 2561 w 300012"/>
                  <a:gd name="connsiteY11" fmla="*/ 130769 h 305388"/>
                  <a:gd name="connsiteX12" fmla="*/ 1569 w 300012"/>
                  <a:gd name="connsiteY12" fmla="*/ 114894 h 305388"/>
                  <a:gd name="connsiteX13" fmla="*/ 1073 w 300012"/>
                  <a:gd name="connsiteY13" fmla="*/ 99020 h 305388"/>
                  <a:gd name="connsiteX14" fmla="*/ 2065 w 300012"/>
                  <a:gd name="connsiteY14" fmla="*/ 83146 h 305388"/>
                  <a:gd name="connsiteX15" fmla="*/ 3057 w 300012"/>
                  <a:gd name="connsiteY15" fmla="*/ 67271 h 305388"/>
                  <a:gd name="connsiteX16" fmla="*/ 3553 w 300012"/>
                  <a:gd name="connsiteY16" fmla="*/ 51396 h 305388"/>
                  <a:gd name="connsiteX17" fmla="*/ 1569 w 300012"/>
                  <a:gd name="connsiteY17" fmla="*/ 35522 h 305388"/>
                  <a:gd name="connsiteX18" fmla="*/ 2065 w 300012"/>
                  <a:gd name="connsiteY18" fmla="*/ 19647 h 305388"/>
                  <a:gd name="connsiteX19" fmla="*/ 2561 w 300012"/>
                  <a:gd name="connsiteY19" fmla="*/ 4269 h 305388"/>
                  <a:gd name="connsiteX20" fmla="*/ 18435 w 300012"/>
                  <a:gd name="connsiteY20" fmla="*/ 4765 h 305388"/>
                  <a:gd name="connsiteX21" fmla="*/ 34806 w 300012"/>
                  <a:gd name="connsiteY21" fmla="*/ 2285 h 305388"/>
                  <a:gd name="connsiteX22" fmla="*/ 51177 w 300012"/>
                  <a:gd name="connsiteY22" fmla="*/ 2781 h 305388"/>
                  <a:gd name="connsiteX23" fmla="*/ 67547 w 300012"/>
                  <a:gd name="connsiteY23" fmla="*/ 3773 h 305388"/>
                  <a:gd name="connsiteX24" fmla="*/ 83918 w 300012"/>
                  <a:gd name="connsiteY24" fmla="*/ 3277 h 305388"/>
                  <a:gd name="connsiteX25" fmla="*/ 100288 w 300012"/>
                  <a:gd name="connsiteY25" fmla="*/ 2781 h 305388"/>
                  <a:gd name="connsiteX26" fmla="*/ 116659 w 300012"/>
                  <a:gd name="connsiteY26" fmla="*/ 3277 h 305388"/>
                  <a:gd name="connsiteX27" fmla="*/ 133029 w 300012"/>
                  <a:gd name="connsiteY27" fmla="*/ 3277 h 305388"/>
                  <a:gd name="connsiteX28" fmla="*/ 149400 w 300012"/>
                  <a:gd name="connsiteY28" fmla="*/ 2781 h 305388"/>
                  <a:gd name="connsiteX29" fmla="*/ 165771 w 300012"/>
                  <a:gd name="connsiteY29" fmla="*/ 2285 h 305388"/>
                  <a:gd name="connsiteX30" fmla="*/ 182141 w 300012"/>
                  <a:gd name="connsiteY30" fmla="*/ 2781 h 305388"/>
                  <a:gd name="connsiteX31" fmla="*/ 198512 w 300012"/>
                  <a:gd name="connsiteY31" fmla="*/ 3277 h 305388"/>
                  <a:gd name="connsiteX32" fmla="*/ 214882 w 300012"/>
                  <a:gd name="connsiteY32" fmla="*/ 3773 h 305388"/>
                  <a:gd name="connsiteX33" fmla="*/ 231253 w 300012"/>
                  <a:gd name="connsiteY33" fmla="*/ 2781 h 305388"/>
                  <a:gd name="connsiteX34" fmla="*/ 247623 w 300012"/>
                  <a:gd name="connsiteY34" fmla="*/ 2285 h 305388"/>
                  <a:gd name="connsiteX35" fmla="*/ 263994 w 300012"/>
                  <a:gd name="connsiteY35" fmla="*/ 1789 h 305388"/>
                  <a:gd name="connsiteX36" fmla="*/ 280365 w 300012"/>
                  <a:gd name="connsiteY36" fmla="*/ 2285 h 305388"/>
                  <a:gd name="connsiteX37" fmla="*/ 297231 w 300012"/>
                  <a:gd name="connsiteY37" fmla="*/ 2781 h 305388"/>
                  <a:gd name="connsiteX38" fmla="*/ 297727 w 300012"/>
                  <a:gd name="connsiteY38" fmla="*/ 19151 h 305388"/>
                  <a:gd name="connsiteX39" fmla="*/ 296239 w 300012"/>
                  <a:gd name="connsiteY39" fmla="*/ 35026 h 305388"/>
                  <a:gd name="connsiteX40" fmla="*/ 297727 w 300012"/>
                  <a:gd name="connsiteY40" fmla="*/ 50900 h 305388"/>
                  <a:gd name="connsiteX41" fmla="*/ 297231 w 300012"/>
                  <a:gd name="connsiteY41" fmla="*/ 66775 h 305388"/>
                  <a:gd name="connsiteX42" fmla="*/ 297231 w 300012"/>
                  <a:gd name="connsiteY42" fmla="*/ 82649 h 305388"/>
                  <a:gd name="connsiteX43" fmla="*/ 297231 w 300012"/>
                  <a:gd name="connsiteY43" fmla="*/ 98524 h 305388"/>
                  <a:gd name="connsiteX44" fmla="*/ 296735 w 300012"/>
                  <a:gd name="connsiteY44" fmla="*/ 114398 h 305388"/>
                  <a:gd name="connsiteX45" fmla="*/ 298223 w 300012"/>
                  <a:gd name="connsiteY45" fmla="*/ 130273 h 305388"/>
                  <a:gd name="connsiteX46" fmla="*/ 296735 w 300012"/>
                  <a:gd name="connsiteY46" fmla="*/ 146147 h 305388"/>
                  <a:gd name="connsiteX47" fmla="*/ 298223 w 300012"/>
                  <a:gd name="connsiteY47" fmla="*/ 162022 h 305388"/>
                  <a:gd name="connsiteX48" fmla="*/ 297727 w 300012"/>
                  <a:gd name="connsiteY48" fmla="*/ 177896 h 305388"/>
                  <a:gd name="connsiteX49" fmla="*/ 297231 w 300012"/>
                  <a:gd name="connsiteY49" fmla="*/ 193771 h 305388"/>
                  <a:gd name="connsiteX50" fmla="*/ 297727 w 300012"/>
                  <a:gd name="connsiteY50" fmla="*/ 209645 h 305388"/>
                  <a:gd name="connsiteX51" fmla="*/ 298223 w 300012"/>
                  <a:gd name="connsiteY51" fmla="*/ 225520 h 305388"/>
                  <a:gd name="connsiteX52" fmla="*/ 297727 w 300012"/>
                  <a:gd name="connsiteY52" fmla="*/ 241394 h 305388"/>
                  <a:gd name="connsiteX53" fmla="*/ 299216 w 300012"/>
                  <a:gd name="connsiteY53" fmla="*/ 257269 h 305388"/>
                  <a:gd name="connsiteX54" fmla="*/ 299216 w 300012"/>
                  <a:gd name="connsiteY54" fmla="*/ 273143 h 305388"/>
                  <a:gd name="connsiteX55" fmla="*/ 298719 w 300012"/>
                  <a:gd name="connsiteY55" fmla="*/ 289018 h 305388"/>
                  <a:gd name="connsiteX56" fmla="*/ 297231 w 300012"/>
                  <a:gd name="connsiteY56" fmla="*/ 304892 h 30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012" h="305388">
                    <a:moveTo>
                      <a:pt x="3057" y="305388"/>
                    </a:moveTo>
                    <a:cubicBezTo>
                      <a:pt x="3057" y="297451"/>
                      <a:pt x="3057" y="297451"/>
                      <a:pt x="3057" y="289514"/>
                    </a:cubicBezTo>
                    <a:cubicBezTo>
                      <a:pt x="3057" y="281577"/>
                      <a:pt x="1569" y="281577"/>
                      <a:pt x="1569" y="273639"/>
                    </a:cubicBezTo>
                    <a:cubicBezTo>
                      <a:pt x="1569" y="265702"/>
                      <a:pt x="3553" y="265702"/>
                      <a:pt x="3553" y="257765"/>
                    </a:cubicBezTo>
                    <a:cubicBezTo>
                      <a:pt x="3553" y="249828"/>
                      <a:pt x="2561" y="249828"/>
                      <a:pt x="2561" y="241890"/>
                    </a:cubicBezTo>
                    <a:cubicBezTo>
                      <a:pt x="2561" y="233953"/>
                      <a:pt x="3553" y="233953"/>
                      <a:pt x="3553" y="226016"/>
                    </a:cubicBezTo>
                    <a:cubicBezTo>
                      <a:pt x="3553" y="218079"/>
                      <a:pt x="1569" y="218079"/>
                      <a:pt x="1569" y="210141"/>
                    </a:cubicBezTo>
                    <a:cubicBezTo>
                      <a:pt x="1569" y="202204"/>
                      <a:pt x="1569" y="202204"/>
                      <a:pt x="1569" y="194267"/>
                    </a:cubicBezTo>
                    <a:cubicBezTo>
                      <a:pt x="1569" y="186330"/>
                      <a:pt x="3057" y="186330"/>
                      <a:pt x="3057" y="178393"/>
                    </a:cubicBezTo>
                    <a:cubicBezTo>
                      <a:pt x="3057" y="170455"/>
                      <a:pt x="2561" y="170455"/>
                      <a:pt x="2561" y="162518"/>
                    </a:cubicBezTo>
                    <a:cubicBezTo>
                      <a:pt x="2561" y="154581"/>
                      <a:pt x="1569" y="154581"/>
                      <a:pt x="1569" y="146643"/>
                    </a:cubicBezTo>
                    <a:cubicBezTo>
                      <a:pt x="1569" y="138706"/>
                      <a:pt x="2561" y="138706"/>
                      <a:pt x="2561" y="130769"/>
                    </a:cubicBezTo>
                    <a:cubicBezTo>
                      <a:pt x="2561" y="122832"/>
                      <a:pt x="1569" y="122832"/>
                      <a:pt x="1569" y="114894"/>
                    </a:cubicBezTo>
                    <a:cubicBezTo>
                      <a:pt x="1569" y="106957"/>
                      <a:pt x="1073" y="106957"/>
                      <a:pt x="1073" y="99020"/>
                    </a:cubicBezTo>
                    <a:cubicBezTo>
                      <a:pt x="1073" y="91083"/>
                      <a:pt x="2065" y="91083"/>
                      <a:pt x="2065" y="83146"/>
                    </a:cubicBezTo>
                    <a:cubicBezTo>
                      <a:pt x="2065" y="75208"/>
                      <a:pt x="3057" y="75208"/>
                      <a:pt x="3057" y="67271"/>
                    </a:cubicBezTo>
                    <a:cubicBezTo>
                      <a:pt x="3057" y="59334"/>
                      <a:pt x="3553" y="59334"/>
                      <a:pt x="3553" y="51396"/>
                    </a:cubicBezTo>
                    <a:cubicBezTo>
                      <a:pt x="3553" y="43459"/>
                      <a:pt x="1569" y="43459"/>
                      <a:pt x="1569" y="35522"/>
                    </a:cubicBezTo>
                    <a:cubicBezTo>
                      <a:pt x="1569" y="27585"/>
                      <a:pt x="2065" y="27585"/>
                      <a:pt x="2065" y="19647"/>
                    </a:cubicBezTo>
                    <a:cubicBezTo>
                      <a:pt x="2065" y="11710"/>
                      <a:pt x="-2896" y="9726"/>
                      <a:pt x="2561" y="4269"/>
                    </a:cubicBezTo>
                    <a:cubicBezTo>
                      <a:pt x="8514" y="-1684"/>
                      <a:pt x="10498" y="4765"/>
                      <a:pt x="18435" y="4765"/>
                    </a:cubicBezTo>
                    <a:cubicBezTo>
                      <a:pt x="26373" y="4765"/>
                      <a:pt x="26373" y="2285"/>
                      <a:pt x="34806" y="2285"/>
                    </a:cubicBezTo>
                    <a:cubicBezTo>
                      <a:pt x="42743" y="2285"/>
                      <a:pt x="42743" y="2781"/>
                      <a:pt x="51177" y="2781"/>
                    </a:cubicBezTo>
                    <a:cubicBezTo>
                      <a:pt x="59610" y="2781"/>
                      <a:pt x="59610" y="3773"/>
                      <a:pt x="67547" y="3773"/>
                    </a:cubicBezTo>
                    <a:cubicBezTo>
                      <a:pt x="75484" y="3773"/>
                      <a:pt x="75484" y="3277"/>
                      <a:pt x="83918" y="3277"/>
                    </a:cubicBezTo>
                    <a:cubicBezTo>
                      <a:pt x="92351" y="3277"/>
                      <a:pt x="92351" y="2781"/>
                      <a:pt x="100288" y="2781"/>
                    </a:cubicBezTo>
                    <a:cubicBezTo>
                      <a:pt x="108226" y="2781"/>
                      <a:pt x="108226" y="3277"/>
                      <a:pt x="116659" y="3277"/>
                    </a:cubicBezTo>
                    <a:cubicBezTo>
                      <a:pt x="125092" y="3277"/>
                      <a:pt x="125092" y="3277"/>
                      <a:pt x="133029" y="3277"/>
                    </a:cubicBezTo>
                    <a:cubicBezTo>
                      <a:pt x="141463" y="3277"/>
                      <a:pt x="141463" y="2781"/>
                      <a:pt x="149400" y="2781"/>
                    </a:cubicBezTo>
                    <a:cubicBezTo>
                      <a:pt x="157833" y="2781"/>
                      <a:pt x="157833" y="2285"/>
                      <a:pt x="165771" y="2285"/>
                    </a:cubicBezTo>
                    <a:cubicBezTo>
                      <a:pt x="174204" y="2285"/>
                      <a:pt x="174204" y="2781"/>
                      <a:pt x="182141" y="2781"/>
                    </a:cubicBezTo>
                    <a:cubicBezTo>
                      <a:pt x="190574" y="2781"/>
                      <a:pt x="190574" y="3277"/>
                      <a:pt x="198512" y="3277"/>
                    </a:cubicBezTo>
                    <a:cubicBezTo>
                      <a:pt x="206945" y="3277"/>
                      <a:pt x="206945" y="3773"/>
                      <a:pt x="214882" y="3773"/>
                    </a:cubicBezTo>
                    <a:cubicBezTo>
                      <a:pt x="223316" y="3773"/>
                      <a:pt x="223316" y="2781"/>
                      <a:pt x="231253" y="2781"/>
                    </a:cubicBezTo>
                    <a:cubicBezTo>
                      <a:pt x="239686" y="2781"/>
                      <a:pt x="239686" y="2285"/>
                      <a:pt x="247623" y="2285"/>
                    </a:cubicBezTo>
                    <a:cubicBezTo>
                      <a:pt x="256057" y="2285"/>
                      <a:pt x="256057" y="1789"/>
                      <a:pt x="263994" y="1789"/>
                    </a:cubicBezTo>
                    <a:cubicBezTo>
                      <a:pt x="272427" y="1789"/>
                      <a:pt x="272427" y="2285"/>
                      <a:pt x="280365" y="2285"/>
                    </a:cubicBezTo>
                    <a:cubicBezTo>
                      <a:pt x="288302" y="2285"/>
                      <a:pt x="291278" y="-3172"/>
                      <a:pt x="297231" y="2781"/>
                    </a:cubicBezTo>
                    <a:cubicBezTo>
                      <a:pt x="303184" y="8238"/>
                      <a:pt x="297727" y="11214"/>
                      <a:pt x="297727" y="19151"/>
                    </a:cubicBezTo>
                    <a:cubicBezTo>
                      <a:pt x="297727" y="27089"/>
                      <a:pt x="296239" y="27089"/>
                      <a:pt x="296239" y="35026"/>
                    </a:cubicBezTo>
                    <a:cubicBezTo>
                      <a:pt x="296239" y="42963"/>
                      <a:pt x="297727" y="42963"/>
                      <a:pt x="297727" y="50900"/>
                    </a:cubicBezTo>
                    <a:cubicBezTo>
                      <a:pt x="297727" y="58838"/>
                      <a:pt x="297231" y="58838"/>
                      <a:pt x="297231" y="66775"/>
                    </a:cubicBezTo>
                    <a:cubicBezTo>
                      <a:pt x="297231" y="74712"/>
                      <a:pt x="297231" y="74712"/>
                      <a:pt x="297231" y="82649"/>
                    </a:cubicBezTo>
                    <a:cubicBezTo>
                      <a:pt x="297231" y="90587"/>
                      <a:pt x="297231" y="90587"/>
                      <a:pt x="297231" y="98524"/>
                    </a:cubicBezTo>
                    <a:cubicBezTo>
                      <a:pt x="297231" y="106461"/>
                      <a:pt x="296735" y="106461"/>
                      <a:pt x="296735" y="114398"/>
                    </a:cubicBezTo>
                    <a:cubicBezTo>
                      <a:pt x="296735" y="122335"/>
                      <a:pt x="298223" y="122335"/>
                      <a:pt x="298223" y="130273"/>
                    </a:cubicBezTo>
                    <a:cubicBezTo>
                      <a:pt x="298223" y="138210"/>
                      <a:pt x="296735" y="138210"/>
                      <a:pt x="296735" y="146147"/>
                    </a:cubicBezTo>
                    <a:cubicBezTo>
                      <a:pt x="296735" y="154085"/>
                      <a:pt x="298223" y="154085"/>
                      <a:pt x="298223" y="162022"/>
                    </a:cubicBezTo>
                    <a:cubicBezTo>
                      <a:pt x="298223" y="169959"/>
                      <a:pt x="297727" y="169959"/>
                      <a:pt x="297727" y="177896"/>
                    </a:cubicBezTo>
                    <a:cubicBezTo>
                      <a:pt x="297727" y="185834"/>
                      <a:pt x="297231" y="185834"/>
                      <a:pt x="297231" y="193771"/>
                    </a:cubicBezTo>
                    <a:cubicBezTo>
                      <a:pt x="297231" y="201708"/>
                      <a:pt x="297727" y="201708"/>
                      <a:pt x="297727" y="209645"/>
                    </a:cubicBezTo>
                    <a:cubicBezTo>
                      <a:pt x="297727" y="217583"/>
                      <a:pt x="298223" y="217583"/>
                      <a:pt x="298223" y="225520"/>
                    </a:cubicBezTo>
                    <a:cubicBezTo>
                      <a:pt x="298223" y="233457"/>
                      <a:pt x="297727" y="233457"/>
                      <a:pt x="297727" y="241394"/>
                    </a:cubicBezTo>
                    <a:cubicBezTo>
                      <a:pt x="297727" y="249332"/>
                      <a:pt x="299216" y="249332"/>
                      <a:pt x="299216" y="257269"/>
                    </a:cubicBezTo>
                    <a:cubicBezTo>
                      <a:pt x="299216" y="265206"/>
                      <a:pt x="299216" y="265206"/>
                      <a:pt x="299216" y="273143"/>
                    </a:cubicBezTo>
                    <a:cubicBezTo>
                      <a:pt x="299216" y="281080"/>
                      <a:pt x="298719" y="281080"/>
                      <a:pt x="298719" y="289018"/>
                    </a:cubicBezTo>
                    <a:cubicBezTo>
                      <a:pt x="298719" y="296955"/>
                      <a:pt x="297231" y="296955"/>
                      <a:pt x="297231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4" name="Freeform: Shape 1733">
                <a:extLst>
                  <a:ext uri="{FF2B5EF4-FFF2-40B4-BE49-F238E27FC236}">
                    <a16:creationId xmlns:a16="http://schemas.microsoft.com/office/drawing/2014/main" id="{E3BC452D-2007-4543-37F5-7AC60B347B8F}"/>
                  </a:ext>
                </a:extLst>
              </p:cNvPr>
              <p:cNvSpPr/>
              <p:nvPr/>
            </p:nvSpPr>
            <p:spPr>
              <a:xfrm>
                <a:off x="4275069" y="2792918"/>
                <a:ext cx="110203" cy="64261"/>
              </a:xfrm>
              <a:custGeom>
                <a:avLst/>
                <a:gdLst>
                  <a:gd name="connsiteX0" fmla="*/ 0 w 110203"/>
                  <a:gd name="connsiteY0" fmla="*/ 3473 h 64261"/>
                  <a:gd name="connsiteX1" fmla="*/ 15379 w 110203"/>
                  <a:gd name="connsiteY1" fmla="*/ 3473 h 64261"/>
                  <a:gd name="connsiteX2" fmla="*/ 30757 w 110203"/>
                  <a:gd name="connsiteY2" fmla="*/ 3473 h 64261"/>
                  <a:gd name="connsiteX3" fmla="*/ 46135 w 110203"/>
                  <a:gd name="connsiteY3" fmla="*/ 3473 h 64261"/>
                  <a:gd name="connsiteX4" fmla="*/ 61514 w 110203"/>
                  <a:gd name="connsiteY4" fmla="*/ 2480 h 64261"/>
                  <a:gd name="connsiteX5" fmla="*/ 76892 w 110203"/>
                  <a:gd name="connsiteY5" fmla="*/ 1488 h 64261"/>
                  <a:gd name="connsiteX6" fmla="*/ 92271 w 110203"/>
                  <a:gd name="connsiteY6" fmla="*/ 1984 h 64261"/>
                  <a:gd name="connsiteX7" fmla="*/ 108145 w 110203"/>
                  <a:gd name="connsiteY7" fmla="*/ 1984 h 64261"/>
                  <a:gd name="connsiteX8" fmla="*/ 107153 w 110203"/>
                  <a:gd name="connsiteY8" fmla="*/ 13394 h 64261"/>
                  <a:gd name="connsiteX9" fmla="*/ 98720 w 110203"/>
                  <a:gd name="connsiteY9" fmla="*/ 29269 h 64261"/>
                  <a:gd name="connsiteX10" fmla="*/ 91278 w 110203"/>
                  <a:gd name="connsiteY10" fmla="*/ 45639 h 64261"/>
                  <a:gd name="connsiteX11" fmla="*/ 83837 w 110203"/>
                  <a:gd name="connsiteY11" fmla="*/ 62506 h 64261"/>
                  <a:gd name="connsiteX12" fmla="*/ 67963 w 110203"/>
                  <a:gd name="connsiteY12" fmla="*/ 61514 h 64261"/>
                  <a:gd name="connsiteX13" fmla="*/ 52584 w 110203"/>
                  <a:gd name="connsiteY13" fmla="*/ 61017 h 64261"/>
                  <a:gd name="connsiteX14" fmla="*/ 37206 w 110203"/>
                  <a:gd name="connsiteY14" fmla="*/ 63002 h 64261"/>
                  <a:gd name="connsiteX15" fmla="*/ 21828 w 110203"/>
                  <a:gd name="connsiteY15" fmla="*/ 62010 h 64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0203" h="64261">
                    <a:moveTo>
                      <a:pt x="0" y="3473"/>
                    </a:moveTo>
                    <a:cubicBezTo>
                      <a:pt x="7937" y="3473"/>
                      <a:pt x="7937" y="3473"/>
                      <a:pt x="15379" y="3473"/>
                    </a:cubicBezTo>
                    <a:cubicBezTo>
                      <a:pt x="23316" y="3473"/>
                      <a:pt x="23316" y="3473"/>
                      <a:pt x="30757" y="3473"/>
                    </a:cubicBezTo>
                    <a:cubicBezTo>
                      <a:pt x="38694" y="3473"/>
                      <a:pt x="38694" y="3473"/>
                      <a:pt x="46135" y="3473"/>
                    </a:cubicBezTo>
                    <a:cubicBezTo>
                      <a:pt x="54073" y="3473"/>
                      <a:pt x="54073" y="2480"/>
                      <a:pt x="61514" y="2480"/>
                    </a:cubicBezTo>
                    <a:cubicBezTo>
                      <a:pt x="69451" y="2480"/>
                      <a:pt x="69451" y="1488"/>
                      <a:pt x="76892" y="1488"/>
                    </a:cubicBezTo>
                    <a:cubicBezTo>
                      <a:pt x="84830" y="1488"/>
                      <a:pt x="84830" y="1984"/>
                      <a:pt x="92271" y="1984"/>
                    </a:cubicBezTo>
                    <a:cubicBezTo>
                      <a:pt x="100208" y="1984"/>
                      <a:pt x="102192" y="-2480"/>
                      <a:pt x="108145" y="1984"/>
                    </a:cubicBezTo>
                    <a:cubicBezTo>
                      <a:pt x="112610" y="4961"/>
                      <a:pt x="108641" y="8433"/>
                      <a:pt x="107153" y="13394"/>
                    </a:cubicBezTo>
                    <a:cubicBezTo>
                      <a:pt x="104673" y="21827"/>
                      <a:pt x="102688" y="21331"/>
                      <a:pt x="98720" y="29269"/>
                    </a:cubicBezTo>
                    <a:cubicBezTo>
                      <a:pt x="94751" y="37206"/>
                      <a:pt x="95247" y="37702"/>
                      <a:pt x="91278" y="45639"/>
                    </a:cubicBezTo>
                    <a:cubicBezTo>
                      <a:pt x="87310" y="53576"/>
                      <a:pt x="91278" y="57545"/>
                      <a:pt x="83837" y="62506"/>
                    </a:cubicBezTo>
                    <a:cubicBezTo>
                      <a:pt x="77388" y="66970"/>
                      <a:pt x="75900" y="61514"/>
                      <a:pt x="67963" y="61514"/>
                    </a:cubicBezTo>
                    <a:cubicBezTo>
                      <a:pt x="60026" y="61514"/>
                      <a:pt x="60026" y="61017"/>
                      <a:pt x="52584" y="61017"/>
                    </a:cubicBezTo>
                    <a:cubicBezTo>
                      <a:pt x="44647" y="61017"/>
                      <a:pt x="44647" y="63002"/>
                      <a:pt x="37206" y="63002"/>
                    </a:cubicBezTo>
                    <a:cubicBezTo>
                      <a:pt x="29269" y="63002"/>
                      <a:pt x="29269" y="62010"/>
                      <a:pt x="21828" y="6201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5" name="Freeform: Shape 1734">
                <a:extLst>
                  <a:ext uri="{FF2B5EF4-FFF2-40B4-BE49-F238E27FC236}">
                    <a16:creationId xmlns:a16="http://schemas.microsoft.com/office/drawing/2014/main" id="{C246007D-4328-2128-BFDB-5A5CE2D8FC6E}"/>
                  </a:ext>
                </a:extLst>
              </p:cNvPr>
              <p:cNvSpPr/>
              <p:nvPr/>
            </p:nvSpPr>
            <p:spPr>
              <a:xfrm>
                <a:off x="4026016" y="2793039"/>
                <a:ext cx="103701" cy="62522"/>
              </a:xfrm>
              <a:custGeom>
                <a:avLst/>
                <a:gdLst>
                  <a:gd name="connsiteX0" fmla="*/ 102710 w 103701"/>
                  <a:gd name="connsiteY0" fmla="*/ 62385 h 62522"/>
                  <a:gd name="connsiteX1" fmla="*/ 85347 w 103701"/>
                  <a:gd name="connsiteY1" fmla="*/ 60401 h 62522"/>
                  <a:gd name="connsiteX2" fmla="*/ 67984 w 103701"/>
                  <a:gd name="connsiteY2" fmla="*/ 61889 h 62522"/>
                  <a:gd name="connsiteX3" fmla="*/ 50126 w 103701"/>
                  <a:gd name="connsiteY3" fmla="*/ 60897 h 62522"/>
                  <a:gd name="connsiteX4" fmla="*/ 32763 w 103701"/>
                  <a:gd name="connsiteY4" fmla="*/ 60401 h 62522"/>
                  <a:gd name="connsiteX5" fmla="*/ 22841 w 103701"/>
                  <a:gd name="connsiteY5" fmla="*/ 44526 h 62522"/>
                  <a:gd name="connsiteX6" fmla="*/ 13416 w 103701"/>
                  <a:gd name="connsiteY6" fmla="*/ 28156 h 62522"/>
                  <a:gd name="connsiteX7" fmla="*/ 2502 w 103701"/>
                  <a:gd name="connsiteY7" fmla="*/ 12777 h 62522"/>
                  <a:gd name="connsiteX8" fmla="*/ 2502 w 103701"/>
                  <a:gd name="connsiteY8" fmla="*/ 1863 h 62522"/>
                  <a:gd name="connsiteX9" fmla="*/ 19369 w 103701"/>
                  <a:gd name="connsiteY9" fmla="*/ 2359 h 62522"/>
                  <a:gd name="connsiteX10" fmla="*/ 36235 w 103701"/>
                  <a:gd name="connsiteY10" fmla="*/ 2855 h 62522"/>
                  <a:gd name="connsiteX11" fmla="*/ 53102 w 103701"/>
                  <a:gd name="connsiteY11" fmla="*/ 871 h 62522"/>
                  <a:gd name="connsiteX12" fmla="*/ 69969 w 103701"/>
                  <a:gd name="connsiteY12" fmla="*/ 1863 h 62522"/>
                  <a:gd name="connsiteX13" fmla="*/ 86835 w 103701"/>
                  <a:gd name="connsiteY13" fmla="*/ 2359 h 62522"/>
                  <a:gd name="connsiteX14" fmla="*/ 103702 w 103701"/>
                  <a:gd name="connsiteY14" fmla="*/ 2359 h 62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3701" h="62522">
                    <a:moveTo>
                      <a:pt x="102710" y="62385"/>
                    </a:moveTo>
                    <a:cubicBezTo>
                      <a:pt x="93780" y="62385"/>
                      <a:pt x="93780" y="60401"/>
                      <a:pt x="85347" y="60401"/>
                    </a:cubicBezTo>
                    <a:cubicBezTo>
                      <a:pt x="76418" y="60401"/>
                      <a:pt x="76418" y="61889"/>
                      <a:pt x="67984" y="61889"/>
                    </a:cubicBezTo>
                    <a:cubicBezTo>
                      <a:pt x="59055" y="61889"/>
                      <a:pt x="59055" y="60897"/>
                      <a:pt x="50126" y="60897"/>
                    </a:cubicBezTo>
                    <a:cubicBezTo>
                      <a:pt x="41196" y="60897"/>
                      <a:pt x="40204" y="64865"/>
                      <a:pt x="32763" y="60401"/>
                    </a:cubicBezTo>
                    <a:cubicBezTo>
                      <a:pt x="24826" y="55440"/>
                      <a:pt x="27802" y="52463"/>
                      <a:pt x="22841" y="44526"/>
                    </a:cubicBezTo>
                    <a:cubicBezTo>
                      <a:pt x="17880" y="36589"/>
                      <a:pt x="18376" y="36093"/>
                      <a:pt x="13416" y="28156"/>
                    </a:cubicBezTo>
                    <a:cubicBezTo>
                      <a:pt x="8455" y="20218"/>
                      <a:pt x="5479" y="21707"/>
                      <a:pt x="2502" y="12777"/>
                    </a:cubicBezTo>
                    <a:cubicBezTo>
                      <a:pt x="518" y="7816"/>
                      <a:pt x="-1963" y="4840"/>
                      <a:pt x="2502" y="1863"/>
                    </a:cubicBezTo>
                    <a:cubicBezTo>
                      <a:pt x="9447" y="-2601"/>
                      <a:pt x="10935" y="2359"/>
                      <a:pt x="19369" y="2359"/>
                    </a:cubicBezTo>
                    <a:cubicBezTo>
                      <a:pt x="27802" y="2359"/>
                      <a:pt x="27802" y="2855"/>
                      <a:pt x="36235" y="2855"/>
                    </a:cubicBezTo>
                    <a:cubicBezTo>
                      <a:pt x="44669" y="2855"/>
                      <a:pt x="44669" y="871"/>
                      <a:pt x="53102" y="871"/>
                    </a:cubicBezTo>
                    <a:cubicBezTo>
                      <a:pt x="61535" y="871"/>
                      <a:pt x="61535" y="1863"/>
                      <a:pt x="69969" y="1863"/>
                    </a:cubicBezTo>
                    <a:cubicBezTo>
                      <a:pt x="78402" y="1863"/>
                      <a:pt x="78402" y="2359"/>
                      <a:pt x="86835" y="2359"/>
                    </a:cubicBezTo>
                    <a:cubicBezTo>
                      <a:pt x="95269" y="2359"/>
                      <a:pt x="95269" y="2359"/>
                      <a:pt x="103702" y="2359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02F5C979-44D2-280D-76B0-5FF75E3D1259}"/>
                </a:ext>
              </a:extLst>
            </p:cNvPr>
            <p:cNvSpPr/>
            <p:nvPr/>
          </p:nvSpPr>
          <p:spPr>
            <a:xfrm>
              <a:off x="5543498" y="2464995"/>
              <a:ext cx="334357" cy="333310"/>
            </a:xfrm>
            <a:custGeom>
              <a:avLst/>
              <a:gdLst>
                <a:gd name="connsiteX0" fmla="*/ 331423 w 334357"/>
                <a:gd name="connsiteY0" fmla="*/ 330899 h 333310"/>
                <a:gd name="connsiteX1" fmla="*/ 314060 w 334357"/>
                <a:gd name="connsiteY1" fmla="*/ 329411 h 333310"/>
                <a:gd name="connsiteX2" fmla="*/ 297690 w 334357"/>
                <a:gd name="connsiteY2" fmla="*/ 329907 h 333310"/>
                <a:gd name="connsiteX3" fmla="*/ 281319 w 334357"/>
                <a:gd name="connsiteY3" fmla="*/ 330403 h 333310"/>
                <a:gd name="connsiteX4" fmla="*/ 264948 w 334357"/>
                <a:gd name="connsiteY4" fmla="*/ 331395 h 333310"/>
                <a:gd name="connsiteX5" fmla="*/ 248578 w 334357"/>
                <a:gd name="connsiteY5" fmla="*/ 330403 h 333310"/>
                <a:gd name="connsiteX6" fmla="*/ 232207 w 334357"/>
                <a:gd name="connsiteY6" fmla="*/ 330899 h 333310"/>
                <a:gd name="connsiteX7" fmla="*/ 215836 w 334357"/>
                <a:gd name="connsiteY7" fmla="*/ 331891 h 333310"/>
                <a:gd name="connsiteX8" fmla="*/ 199466 w 334357"/>
                <a:gd name="connsiteY8" fmla="*/ 329907 h 333310"/>
                <a:gd name="connsiteX9" fmla="*/ 183095 w 334357"/>
                <a:gd name="connsiteY9" fmla="*/ 330899 h 333310"/>
                <a:gd name="connsiteX10" fmla="*/ 166725 w 334357"/>
                <a:gd name="connsiteY10" fmla="*/ 330899 h 333310"/>
                <a:gd name="connsiteX11" fmla="*/ 150354 w 334357"/>
                <a:gd name="connsiteY11" fmla="*/ 330899 h 333310"/>
                <a:gd name="connsiteX12" fmla="*/ 133984 w 334357"/>
                <a:gd name="connsiteY12" fmla="*/ 331395 h 333310"/>
                <a:gd name="connsiteX13" fmla="*/ 117613 w 334357"/>
                <a:gd name="connsiteY13" fmla="*/ 330899 h 333310"/>
                <a:gd name="connsiteX14" fmla="*/ 101243 w 334357"/>
                <a:gd name="connsiteY14" fmla="*/ 329907 h 333310"/>
                <a:gd name="connsiteX15" fmla="*/ 84872 w 334357"/>
                <a:gd name="connsiteY15" fmla="*/ 331891 h 333310"/>
                <a:gd name="connsiteX16" fmla="*/ 68501 w 334357"/>
                <a:gd name="connsiteY16" fmla="*/ 330403 h 333310"/>
                <a:gd name="connsiteX17" fmla="*/ 52131 w 334357"/>
                <a:gd name="connsiteY17" fmla="*/ 331395 h 333310"/>
                <a:gd name="connsiteX18" fmla="*/ 35760 w 334357"/>
                <a:gd name="connsiteY18" fmla="*/ 331395 h 333310"/>
                <a:gd name="connsiteX19" fmla="*/ 19390 w 334357"/>
                <a:gd name="connsiteY19" fmla="*/ 329907 h 333310"/>
                <a:gd name="connsiteX20" fmla="*/ 2523 w 334357"/>
                <a:gd name="connsiteY20" fmla="*/ 330899 h 333310"/>
                <a:gd name="connsiteX21" fmla="*/ 3515 w 334357"/>
                <a:gd name="connsiteY21" fmla="*/ 314033 h 333310"/>
                <a:gd name="connsiteX22" fmla="*/ 3019 w 334357"/>
                <a:gd name="connsiteY22" fmla="*/ 297662 h 333310"/>
                <a:gd name="connsiteX23" fmla="*/ 4011 w 334357"/>
                <a:gd name="connsiteY23" fmla="*/ 281291 h 333310"/>
                <a:gd name="connsiteX24" fmla="*/ 3019 w 334357"/>
                <a:gd name="connsiteY24" fmla="*/ 264921 h 333310"/>
                <a:gd name="connsiteX25" fmla="*/ 3019 w 334357"/>
                <a:gd name="connsiteY25" fmla="*/ 248550 h 333310"/>
                <a:gd name="connsiteX26" fmla="*/ 3019 w 334357"/>
                <a:gd name="connsiteY26" fmla="*/ 232180 h 333310"/>
                <a:gd name="connsiteX27" fmla="*/ 2523 w 334357"/>
                <a:gd name="connsiteY27" fmla="*/ 215809 h 333310"/>
                <a:gd name="connsiteX28" fmla="*/ 2027 w 334357"/>
                <a:gd name="connsiteY28" fmla="*/ 199439 h 333310"/>
                <a:gd name="connsiteX29" fmla="*/ 2027 w 334357"/>
                <a:gd name="connsiteY29" fmla="*/ 183068 h 333310"/>
                <a:gd name="connsiteX30" fmla="*/ 2523 w 334357"/>
                <a:gd name="connsiteY30" fmla="*/ 166698 h 333310"/>
                <a:gd name="connsiteX31" fmla="*/ 2523 w 334357"/>
                <a:gd name="connsiteY31" fmla="*/ 150327 h 333310"/>
                <a:gd name="connsiteX32" fmla="*/ 1531 w 334357"/>
                <a:gd name="connsiteY32" fmla="*/ 133956 h 333310"/>
                <a:gd name="connsiteX33" fmla="*/ 1035 w 334357"/>
                <a:gd name="connsiteY33" fmla="*/ 117586 h 333310"/>
                <a:gd name="connsiteX34" fmla="*/ 2027 w 334357"/>
                <a:gd name="connsiteY34" fmla="*/ 101215 h 333310"/>
                <a:gd name="connsiteX35" fmla="*/ 3515 w 334357"/>
                <a:gd name="connsiteY35" fmla="*/ 84845 h 333310"/>
                <a:gd name="connsiteX36" fmla="*/ 1531 w 334357"/>
                <a:gd name="connsiteY36" fmla="*/ 68474 h 333310"/>
                <a:gd name="connsiteX37" fmla="*/ 2027 w 334357"/>
                <a:gd name="connsiteY37" fmla="*/ 52103 h 333310"/>
                <a:gd name="connsiteX38" fmla="*/ 1531 w 334357"/>
                <a:gd name="connsiteY38" fmla="*/ 35733 h 333310"/>
                <a:gd name="connsiteX39" fmla="*/ 3019 w 334357"/>
                <a:gd name="connsiteY39" fmla="*/ 19362 h 333310"/>
                <a:gd name="connsiteX40" fmla="*/ 2523 w 334357"/>
                <a:gd name="connsiteY40" fmla="*/ 3488 h 333310"/>
                <a:gd name="connsiteX41" fmla="*/ 18398 w 334357"/>
                <a:gd name="connsiteY41" fmla="*/ 2496 h 333310"/>
                <a:gd name="connsiteX42" fmla="*/ 34768 w 334357"/>
                <a:gd name="connsiteY42" fmla="*/ 2000 h 333310"/>
                <a:gd name="connsiteX43" fmla="*/ 51139 w 334357"/>
                <a:gd name="connsiteY43" fmla="*/ 2992 h 333310"/>
                <a:gd name="connsiteX44" fmla="*/ 67509 w 334357"/>
                <a:gd name="connsiteY44" fmla="*/ 2496 h 333310"/>
                <a:gd name="connsiteX45" fmla="*/ 83880 w 334357"/>
                <a:gd name="connsiteY45" fmla="*/ 3488 h 333310"/>
                <a:gd name="connsiteX46" fmla="*/ 100250 w 334357"/>
                <a:gd name="connsiteY46" fmla="*/ 2992 h 333310"/>
                <a:gd name="connsiteX47" fmla="*/ 116621 w 334357"/>
                <a:gd name="connsiteY47" fmla="*/ 1504 h 333310"/>
                <a:gd name="connsiteX48" fmla="*/ 132991 w 334357"/>
                <a:gd name="connsiteY48" fmla="*/ 3488 h 333310"/>
                <a:gd name="connsiteX49" fmla="*/ 149362 w 334357"/>
                <a:gd name="connsiteY49" fmla="*/ 2992 h 333310"/>
                <a:gd name="connsiteX50" fmla="*/ 165733 w 334357"/>
                <a:gd name="connsiteY50" fmla="*/ 2992 h 333310"/>
                <a:gd name="connsiteX51" fmla="*/ 182103 w 334357"/>
                <a:gd name="connsiteY51" fmla="*/ 2992 h 333310"/>
                <a:gd name="connsiteX52" fmla="*/ 198474 w 334357"/>
                <a:gd name="connsiteY52" fmla="*/ 2496 h 333310"/>
                <a:gd name="connsiteX53" fmla="*/ 214844 w 334357"/>
                <a:gd name="connsiteY53" fmla="*/ 3488 h 333310"/>
                <a:gd name="connsiteX54" fmla="*/ 231215 w 334357"/>
                <a:gd name="connsiteY54" fmla="*/ 3488 h 333310"/>
                <a:gd name="connsiteX55" fmla="*/ 247585 w 334357"/>
                <a:gd name="connsiteY55" fmla="*/ 2992 h 333310"/>
                <a:gd name="connsiteX56" fmla="*/ 263956 w 334357"/>
                <a:gd name="connsiteY56" fmla="*/ 2496 h 333310"/>
                <a:gd name="connsiteX57" fmla="*/ 280327 w 334357"/>
                <a:gd name="connsiteY57" fmla="*/ 1504 h 333310"/>
                <a:gd name="connsiteX58" fmla="*/ 296697 w 334357"/>
                <a:gd name="connsiteY58" fmla="*/ 2000 h 333310"/>
                <a:gd name="connsiteX59" fmla="*/ 313068 w 334357"/>
                <a:gd name="connsiteY59" fmla="*/ 3984 h 333310"/>
                <a:gd name="connsiteX60" fmla="*/ 330431 w 334357"/>
                <a:gd name="connsiteY60" fmla="*/ 2000 h 333310"/>
                <a:gd name="connsiteX61" fmla="*/ 329935 w 334357"/>
                <a:gd name="connsiteY61" fmla="*/ 19362 h 333310"/>
                <a:gd name="connsiteX62" fmla="*/ 328942 w 334357"/>
                <a:gd name="connsiteY62" fmla="*/ 35733 h 333310"/>
                <a:gd name="connsiteX63" fmla="*/ 329935 w 334357"/>
                <a:gd name="connsiteY63" fmla="*/ 52103 h 333310"/>
                <a:gd name="connsiteX64" fmla="*/ 330927 w 334357"/>
                <a:gd name="connsiteY64" fmla="*/ 68474 h 333310"/>
                <a:gd name="connsiteX65" fmla="*/ 329935 w 334357"/>
                <a:gd name="connsiteY65" fmla="*/ 84845 h 333310"/>
                <a:gd name="connsiteX66" fmla="*/ 328942 w 334357"/>
                <a:gd name="connsiteY66" fmla="*/ 101215 h 333310"/>
                <a:gd name="connsiteX67" fmla="*/ 330927 w 334357"/>
                <a:gd name="connsiteY67" fmla="*/ 117586 h 333310"/>
                <a:gd name="connsiteX68" fmla="*/ 331423 w 334357"/>
                <a:gd name="connsiteY68" fmla="*/ 133956 h 333310"/>
                <a:gd name="connsiteX69" fmla="*/ 330431 w 334357"/>
                <a:gd name="connsiteY69" fmla="*/ 150327 h 333310"/>
                <a:gd name="connsiteX70" fmla="*/ 330431 w 334357"/>
                <a:gd name="connsiteY70" fmla="*/ 166698 h 333310"/>
                <a:gd name="connsiteX71" fmla="*/ 330431 w 334357"/>
                <a:gd name="connsiteY71" fmla="*/ 183068 h 333310"/>
                <a:gd name="connsiteX72" fmla="*/ 329935 w 334357"/>
                <a:gd name="connsiteY72" fmla="*/ 199439 h 333310"/>
                <a:gd name="connsiteX73" fmla="*/ 330431 w 334357"/>
                <a:gd name="connsiteY73" fmla="*/ 215809 h 333310"/>
                <a:gd name="connsiteX74" fmla="*/ 330431 w 334357"/>
                <a:gd name="connsiteY74" fmla="*/ 232180 h 333310"/>
                <a:gd name="connsiteX75" fmla="*/ 330431 w 334357"/>
                <a:gd name="connsiteY75" fmla="*/ 248550 h 333310"/>
                <a:gd name="connsiteX76" fmla="*/ 329935 w 334357"/>
                <a:gd name="connsiteY76" fmla="*/ 264921 h 333310"/>
                <a:gd name="connsiteX77" fmla="*/ 330927 w 334357"/>
                <a:gd name="connsiteY77" fmla="*/ 281291 h 333310"/>
                <a:gd name="connsiteX78" fmla="*/ 330927 w 334357"/>
                <a:gd name="connsiteY78" fmla="*/ 297662 h 333310"/>
                <a:gd name="connsiteX79" fmla="*/ 329935 w 334357"/>
                <a:gd name="connsiteY79" fmla="*/ 314033 h 333310"/>
                <a:gd name="connsiteX80" fmla="*/ 331423 w 334357"/>
                <a:gd name="connsiteY80" fmla="*/ 330899 h 33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34357" h="333310">
                  <a:moveTo>
                    <a:pt x="331423" y="330899"/>
                  </a:moveTo>
                  <a:cubicBezTo>
                    <a:pt x="325470" y="336852"/>
                    <a:pt x="322494" y="329411"/>
                    <a:pt x="314060" y="329411"/>
                  </a:cubicBezTo>
                  <a:cubicBezTo>
                    <a:pt x="305627" y="329411"/>
                    <a:pt x="305627" y="329907"/>
                    <a:pt x="297690" y="329907"/>
                  </a:cubicBezTo>
                  <a:cubicBezTo>
                    <a:pt x="289256" y="329907"/>
                    <a:pt x="289256" y="330403"/>
                    <a:pt x="281319" y="330403"/>
                  </a:cubicBezTo>
                  <a:cubicBezTo>
                    <a:pt x="272886" y="330403"/>
                    <a:pt x="272886" y="331395"/>
                    <a:pt x="264948" y="331395"/>
                  </a:cubicBezTo>
                  <a:cubicBezTo>
                    <a:pt x="256515" y="331395"/>
                    <a:pt x="256515" y="330403"/>
                    <a:pt x="248578" y="330403"/>
                  </a:cubicBezTo>
                  <a:cubicBezTo>
                    <a:pt x="240144" y="330403"/>
                    <a:pt x="240144" y="330899"/>
                    <a:pt x="232207" y="330899"/>
                  </a:cubicBezTo>
                  <a:cubicBezTo>
                    <a:pt x="223774" y="330899"/>
                    <a:pt x="223774" y="331891"/>
                    <a:pt x="215836" y="331891"/>
                  </a:cubicBezTo>
                  <a:cubicBezTo>
                    <a:pt x="207403" y="331891"/>
                    <a:pt x="207403" y="329907"/>
                    <a:pt x="199466" y="329907"/>
                  </a:cubicBezTo>
                  <a:cubicBezTo>
                    <a:pt x="191033" y="329907"/>
                    <a:pt x="191033" y="330899"/>
                    <a:pt x="183095" y="330899"/>
                  </a:cubicBezTo>
                  <a:cubicBezTo>
                    <a:pt x="174662" y="330899"/>
                    <a:pt x="174662" y="330899"/>
                    <a:pt x="166725" y="330899"/>
                  </a:cubicBezTo>
                  <a:cubicBezTo>
                    <a:pt x="158292" y="330899"/>
                    <a:pt x="158292" y="330899"/>
                    <a:pt x="150354" y="330899"/>
                  </a:cubicBezTo>
                  <a:cubicBezTo>
                    <a:pt x="141921" y="330899"/>
                    <a:pt x="141921" y="331395"/>
                    <a:pt x="133984" y="331395"/>
                  </a:cubicBezTo>
                  <a:cubicBezTo>
                    <a:pt x="125550" y="331395"/>
                    <a:pt x="125550" y="330899"/>
                    <a:pt x="117613" y="330899"/>
                  </a:cubicBezTo>
                  <a:cubicBezTo>
                    <a:pt x="109676" y="330899"/>
                    <a:pt x="109180" y="329907"/>
                    <a:pt x="101243" y="329907"/>
                  </a:cubicBezTo>
                  <a:cubicBezTo>
                    <a:pt x="92809" y="329907"/>
                    <a:pt x="92809" y="331891"/>
                    <a:pt x="84872" y="331891"/>
                  </a:cubicBezTo>
                  <a:cubicBezTo>
                    <a:pt x="76439" y="331891"/>
                    <a:pt x="76439" y="330403"/>
                    <a:pt x="68501" y="330403"/>
                  </a:cubicBezTo>
                  <a:cubicBezTo>
                    <a:pt x="60068" y="330403"/>
                    <a:pt x="60068" y="331395"/>
                    <a:pt x="52131" y="331395"/>
                  </a:cubicBezTo>
                  <a:cubicBezTo>
                    <a:pt x="43697" y="331395"/>
                    <a:pt x="43697" y="331395"/>
                    <a:pt x="35760" y="331395"/>
                  </a:cubicBezTo>
                  <a:cubicBezTo>
                    <a:pt x="27327" y="331395"/>
                    <a:pt x="27327" y="329907"/>
                    <a:pt x="19390" y="329907"/>
                  </a:cubicBezTo>
                  <a:cubicBezTo>
                    <a:pt x="11452" y="329907"/>
                    <a:pt x="8476" y="336852"/>
                    <a:pt x="2523" y="330899"/>
                  </a:cubicBezTo>
                  <a:cubicBezTo>
                    <a:pt x="-3430" y="324947"/>
                    <a:pt x="3515" y="322466"/>
                    <a:pt x="3515" y="314033"/>
                  </a:cubicBezTo>
                  <a:cubicBezTo>
                    <a:pt x="3515" y="305599"/>
                    <a:pt x="3019" y="305599"/>
                    <a:pt x="3019" y="297662"/>
                  </a:cubicBezTo>
                  <a:cubicBezTo>
                    <a:pt x="3019" y="289229"/>
                    <a:pt x="4011" y="289229"/>
                    <a:pt x="4011" y="281291"/>
                  </a:cubicBezTo>
                  <a:cubicBezTo>
                    <a:pt x="4011" y="272858"/>
                    <a:pt x="3019" y="272858"/>
                    <a:pt x="3019" y="264921"/>
                  </a:cubicBezTo>
                  <a:cubicBezTo>
                    <a:pt x="3019" y="256488"/>
                    <a:pt x="3019" y="256488"/>
                    <a:pt x="3019" y="248550"/>
                  </a:cubicBezTo>
                  <a:cubicBezTo>
                    <a:pt x="3019" y="240117"/>
                    <a:pt x="3019" y="240117"/>
                    <a:pt x="3019" y="232180"/>
                  </a:cubicBezTo>
                  <a:cubicBezTo>
                    <a:pt x="3019" y="223746"/>
                    <a:pt x="2523" y="223746"/>
                    <a:pt x="2523" y="215809"/>
                  </a:cubicBezTo>
                  <a:cubicBezTo>
                    <a:pt x="2523" y="207376"/>
                    <a:pt x="2027" y="207376"/>
                    <a:pt x="2027" y="199439"/>
                  </a:cubicBezTo>
                  <a:cubicBezTo>
                    <a:pt x="2027" y="191005"/>
                    <a:pt x="2027" y="191005"/>
                    <a:pt x="2027" y="183068"/>
                  </a:cubicBezTo>
                  <a:cubicBezTo>
                    <a:pt x="2027" y="174635"/>
                    <a:pt x="2523" y="174635"/>
                    <a:pt x="2523" y="166698"/>
                  </a:cubicBezTo>
                  <a:cubicBezTo>
                    <a:pt x="2523" y="158264"/>
                    <a:pt x="2523" y="158264"/>
                    <a:pt x="2523" y="150327"/>
                  </a:cubicBezTo>
                  <a:cubicBezTo>
                    <a:pt x="2523" y="141894"/>
                    <a:pt x="1531" y="141894"/>
                    <a:pt x="1531" y="133956"/>
                  </a:cubicBezTo>
                  <a:cubicBezTo>
                    <a:pt x="1531" y="125523"/>
                    <a:pt x="1035" y="125523"/>
                    <a:pt x="1035" y="117586"/>
                  </a:cubicBezTo>
                  <a:cubicBezTo>
                    <a:pt x="1035" y="109649"/>
                    <a:pt x="2027" y="109153"/>
                    <a:pt x="2027" y="101215"/>
                  </a:cubicBezTo>
                  <a:cubicBezTo>
                    <a:pt x="2027" y="92782"/>
                    <a:pt x="3515" y="92782"/>
                    <a:pt x="3515" y="84845"/>
                  </a:cubicBezTo>
                  <a:cubicBezTo>
                    <a:pt x="3515" y="76411"/>
                    <a:pt x="1531" y="76411"/>
                    <a:pt x="1531" y="68474"/>
                  </a:cubicBezTo>
                  <a:cubicBezTo>
                    <a:pt x="1531" y="60041"/>
                    <a:pt x="2027" y="60041"/>
                    <a:pt x="2027" y="52103"/>
                  </a:cubicBezTo>
                  <a:cubicBezTo>
                    <a:pt x="2027" y="43670"/>
                    <a:pt x="1531" y="43670"/>
                    <a:pt x="1531" y="35733"/>
                  </a:cubicBezTo>
                  <a:cubicBezTo>
                    <a:pt x="1531" y="27300"/>
                    <a:pt x="3019" y="27300"/>
                    <a:pt x="3019" y="19362"/>
                  </a:cubicBezTo>
                  <a:cubicBezTo>
                    <a:pt x="3019" y="11425"/>
                    <a:pt x="-3430" y="9441"/>
                    <a:pt x="2523" y="3488"/>
                  </a:cubicBezTo>
                  <a:cubicBezTo>
                    <a:pt x="8476" y="-2465"/>
                    <a:pt x="9964" y="2496"/>
                    <a:pt x="18398" y="2496"/>
                  </a:cubicBezTo>
                  <a:cubicBezTo>
                    <a:pt x="26831" y="2496"/>
                    <a:pt x="26831" y="2000"/>
                    <a:pt x="34768" y="2000"/>
                  </a:cubicBezTo>
                  <a:cubicBezTo>
                    <a:pt x="43201" y="2000"/>
                    <a:pt x="43201" y="2992"/>
                    <a:pt x="51139" y="2992"/>
                  </a:cubicBezTo>
                  <a:cubicBezTo>
                    <a:pt x="59572" y="2992"/>
                    <a:pt x="59572" y="2496"/>
                    <a:pt x="67509" y="2496"/>
                  </a:cubicBezTo>
                  <a:cubicBezTo>
                    <a:pt x="75942" y="2496"/>
                    <a:pt x="75942" y="3488"/>
                    <a:pt x="83880" y="3488"/>
                  </a:cubicBezTo>
                  <a:cubicBezTo>
                    <a:pt x="92313" y="3488"/>
                    <a:pt x="92313" y="2992"/>
                    <a:pt x="100250" y="2992"/>
                  </a:cubicBezTo>
                  <a:cubicBezTo>
                    <a:pt x="108684" y="2992"/>
                    <a:pt x="108684" y="1504"/>
                    <a:pt x="116621" y="1504"/>
                  </a:cubicBezTo>
                  <a:cubicBezTo>
                    <a:pt x="125054" y="1504"/>
                    <a:pt x="125054" y="3488"/>
                    <a:pt x="132991" y="3488"/>
                  </a:cubicBezTo>
                  <a:cubicBezTo>
                    <a:pt x="141425" y="3488"/>
                    <a:pt x="141425" y="2992"/>
                    <a:pt x="149362" y="2992"/>
                  </a:cubicBezTo>
                  <a:cubicBezTo>
                    <a:pt x="157795" y="2992"/>
                    <a:pt x="157795" y="2992"/>
                    <a:pt x="165733" y="2992"/>
                  </a:cubicBezTo>
                  <a:cubicBezTo>
                    <a:pt x="174166" y="2992"/>
                    <a:pt x="174166" y="2992"/>
                    <a:pt x="182103" y="2992"/>
                  </a:cubicBezTo>
                  <a:cubicBezTo>
                    <a:pt x="190537" y="2992"/>
                    <a:pt x="190537" y="2496"/>
                    <a:pt x="198474" y="2496"/>
                  </a:cubicBezTo>
                  <a:cubicBezTo>
                    <a:pt x="206907" y="2496"/>
                    <a:pt x="206907" y="3488"/>
                    <a:pt x="214844" y="3488"/>
                  </a:cubicBezTo>
                  <a:cubicBezTo>
                    <a:pt x="222782" y="3488"/>
                    <a:pt x="223278" y="3488"/>
                    <a:pt x="231215" y="3488"/>
                  </a:cubicBezTo>
                  <a:cubicBezTo>
                    <a:pt x="239648" y="3488"/>
                    <a:pt x="239648" y="2992"/>
                    <a:pt x="247585" y="2992"/>
                  </a:cubicBezTo>
                  <a:cubicBezTo>
                    <a:pt x="256019" y="2992"/>
                    <a:pt x="256019" y="2496"/>
                    <a:pt x="263956" y="2496"/>
                  </a:cubicBezTo>
                  <a:cubicBezTo>
                    <a:pt x="272389" y="2496"/>
                    <a:pt x="272389" y="1504"/>
                    <a:pt x="280327" y="1504"/>
                  </a:cubicBezTo>
                  <a:cubicBezTo>
                    <a:pt x="288760" y="1504"/>
                    <a:pt x="288760" y="2000"/>
                    <a:pt x="296697" y="2000"/>
                  </a:cubicBezTo>
                  <a:cubicBezTo>
                    <a:pt x="305131" y="2000"/>
                    <a:pt x="305131" y="3984"/>
                    <a:pt x="313068" y="3984"/>
                  </a:cubicBezTo>
                  <a:cubicBezTo>
                    <a:pt x="321501" y="3984"/>
                    <a:pt x="324477" y="-3457"/>
                    <a:pt x="330431" y="2000"/>
                  </a:cubicBezTo>
                  <a:cubicBezTo>
                    <a:pt x="336383" y="7953"/>
                    <a:pt x="329935" y="10929"/>
                    <a:pt x="329935" y="19362"/>
                  </a:cubicBezTo>
                  <a:cubicBezTo>
                    <a:pt x="329935" y="27796"/>
                    <a:pt x="328942" y="27796"/>
                    <a:pt x="328942" y="35733"/>
                  </a:cubicBezTo>
                  <a:cubicBezTo>
                    <a:pt x="328942" y="44166"/>
                    <a:pt x="329935" y="44166"/>
                    <a:pt x="329935" y="52103"/>
                  </a:cubicBezTo>
                  <a:cubicBezTo>
                    <a:pt x="329935" y="60537"/>
                    <a:pt x="330927" y="60537"/>
                    <a:pt x="330927" y="68474"/>
                  </a:cubicBezTo>
                  <a:cubicBezTo>
                    <a:pt x="330927" y="76908"/>
                    <a:pt x="329935" y="76908"/>
                    <a:pt x="329935" y="84845"/>
                  </a:cubicBezTo>
                  <a:cubicBezTo>
                    <a:pt x="329935" y="93278"/>
                    <a:pt x="328942" y="93278"/>
                    <a:pt x="328942" y="101215"/>
                  </a:cubicBezTo>
                  <a:cubicBezTo>
                    <a:pt x="328942" y="109649"/>
                    <a:pt x="330927" y="109649"/>
                    <a:pt x="330927" y="117586"/>
                  </a:cubicBezTo>
                  <a:cubicBezTo>
                    <a:pt x="330927" y="126019"/>
                    <a:pt x="331423" y="126019"/>
                    <a:pt x="331423" y="133956"/>
                  </a:cubicBezTo>
                  <a:cubicBezTo>
                    <a:pt x="331423" y="142390"/>
                    <a:pt x="330431" y="142390"/>
                    <a:pt x="330431" y="150327"/>
                  </a:cubicBezTo>
                  <a:cubicBezTo>
                    <a:pt x="330431" y="158760"/>
                    <a:pt x="330431" y="158760"/>
                    <a:pt x="330431" y="166698"/>
                  </a:cubicBezTo>
                  <a:cubicBezTo>
                    <a:pt x="330431" y="175131"/>
                    <a:pt x="330431" y="175131"/>
                    <a:pt x="330431" y="183068"/>
                  </a:cubicBezTo>
                  <a:cubicBezTo>
                    <a:pt x="330431" y="191501"/>
                    <a:pt x="329935" y="191501"/>
                    <a:pt x="329935" y="199439"/>
                  </a:cubicBezTo>
                  <a:cubicBezTo>
                    <a:pt x="329935" y="207872"/>
                    <a:pt x="330431" y="207872"/>
                    <a:pt x="330431" y="215809"/>
                  </a:cubicBezTo>
                  <a:cubicBezTo>
                    <a:pt x="330431" y="223746"/>
                    <a:pt x="330431" y="224242"/>
                    <a:pt x="330431" y="232180"/>
                  </a:cubicBezTo>
                  <a:cubicBezTo>
                    <a:pt x="330431" y="240613"/>
                    <a:pt x="330431" y="240613"/>
                    <a:pt x="330431" y="248550"/>
                  </a:cubicBezTo>
                  <a:cubicBezTo>
                    <a:pt x="330431" y="256984"/>
                    <a:pt x="329935" y="256984"/>
                    <a:pt x="329935" y="264921"/>
                  </a:cubicBezTo>
                  <a:cubicBezTo>
                    <a:pt x="329935" y="273354"/>
                    <a:pt x="330927" y="273354"/>
                    <a:pt x="330927" y="281291"/>
                  </a:cubicBezTo>
                  <a:cubicBezTo>
                    <a:pt x="330927" y="289725"/>
                    <a:pt x="330927" y="289725"/>
                    <a:pt x="330927" y="297662"/>
                  </a:cubicBezTo>
                  <a:cubicBezTo>
                    <a:pt x="330927" y="306095"/>
                    <a:pt x="328446" y="306095"/>
                    <a:pt x="329935" y="314033"/>
                  </a:cubicBezTo>
                  <a:cubicBezTo>
                    <a:pt x="332911" y="322962"/>
                    <a:pt x="337376" y="324947"/>
                    <a:pt x="331423" y="33089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26C09633-88A6-22DC-2449-EBDE96791499}"/>
                </a:ext>
              </a:extLst>
            </p:cNvPr>
            <p:cNvSpPr/>
            <p:nvPr/>
          </p:nvSpPr>
          <p:spPr>
            <a:xfrm>
              <a:off x="5557500" y="2596429"/>
              <a:ext cx="301235" cy="40950"/>
            </a:xfrm>
            <a:custGeom>
              <a:avLst/>
              <a:gdLst>
                <a:gd name="connsiteX0" fmla="*/ 298570 w 301235"/>
                <a:gd name="connsiteY0" fmla="*/ 38737 h 40950"/>
                <a:gd name="connsiteX1" fmla="*/ 281207 w 301235"/>
                <a:gd name="connsiteY1" fmla="*/ 36752 h 40950"/>
                <a:gd name="connsiteX2" fmla="*/ 264836 w 301235"/>
                <a:gd name="connsiteY2" fmla="*/ 38737 h 40950"/>
                <a:gd name="connsiteX3" fmla="*/ 248465 w 301235"/>
                <a:gd name="connsiteY3" fmla="*/ 37249 h 40950"/>
                <a:gd name="connsiteX4" fmla="*/ 232095 w 301235"/>
                <a:gd name="connsiteY4" fmla="*/ 38240 h 40950"/>
                <a:gd name="connsiteX5" fmla="*/ 215724 w 301235"/>
                <a:gd name="connsiteY5" fmla="*/ 37744 h 40950"/>
                <a:gd name="connsiteX6" fmla="*/ 199354 w 301235"/>
                <a:gd name="connsiteY6" fmla="*/ 38737 h 40950"/>
                <a:gd name="connsiteX7" fmla="*/ 182983 w 301235"/>
                <a:gd name="connsiteY7" fmla="*/ 38240 h 40950"/>
                <a:gd name="connsiteX8" fmla="*/ 166613 w 301235"/>
                <a:gd name="connsiteY8" fmla="*/ 38240 h 40950"/>
                <a:gd name="connsiteX9" fmla="*/ 150242 w 301235"/>
                <a:gd name="connsiteY9" fmla="*/ 36752 h 40950"/>
                <a:gd name="connsiteX10" fmla="*/ 133871 w 301235"/>
                <a:gd name="connsiteY10" fmla="*/ 38240 h 40950"/>
                <a:gd name="connsiteX11" fmla="*/ 117501 w 301235"/>
                <a:gd name="connsiteY11" fmla="*/ 36752 h 40950"/>
                <a:gd name="connsiteX12" fmla="*/ 101130 w 301235"/>
                <a:gd name="connsiteY12" fmla="*/ 37744 h 40950"/>
                <a:gd name="connsiteX13" fmla="*/ 84760 w 301235"/>
                <a:gd name="connsiteY13" fmla="*/ 37744 h 40950"/>
                <a:gd name="connsiteX14" fmla="*/ 68389 w 301235"/>
                <a:gd name="connsiteY14" fmla="*/ 36752 h 40950"/>
                <a:gd name="connsiteX15" fmla="*/ 52019 w 301235"/>
                <a:gd name="connsiteY15" fmla="*/ 36752 h 40950"/>
                <a:gd name="connsiteX16" fmla="*/ 35648 w 301235"/>
                <a:gd name="connsiteY16" fmla="*/ 37249 h 40950"/>
                <a:gd name="connsiteX17" fmla="*/ 19278 w 301235"/>
                <a:gd name="connsiteY17" fmla="*/ 37249 h 40950"/>
                <a:gd name="connsiteX18" fmla="*/ 2411 w 301235"/>
                <a:gd name="connsiteY18" fmla="*/ 37744 h 40950"/>
                <a:gd name="connsiteX19" fmla="*/ 3403 w 301235"/>
                <a:gd name="connsiteY19" fmla="*/ 20382 h 40950"/>
                <a:gd name="connsiteX20" fmla="*/ 3403 w 301235"/>
                <a:gd name="connsiteY20" fmla="*/ 4011 h 40950"/>
                <a:gd name="connsiteX21" fmla="*/ 18782 w 301235"/>
                <a:gd name="connsiteY21" fmla="*/ 3019 h 40950"/>
                <a:gd name="connsiteX22" fmla="*/ 35152 w 301235"/>
                <a:gd name="connsiteY22" fmla="*/ 2027 h 40950"/>
                <a:gd name="connsiteX23" fmla="*/ 51523 w 301235"/>
                <a:gd name="connsiteY23" fmla="*/ 4011 h 40950"/>
                <a:gd name="connsiteX24" fmla="*/ 67893 w 301235"/>
                <a:gd name="connsiteY24" fmla="*/ 4011 h 40950"/>
                <a:gd name="connsiteX25" fmla="*/ 84264 w 301235"/>
                <a:gd name="connsiteY25" fmla="*/ 3515 h 40950"/>
                <a:gd name="connsiteX26" fmla="*/ 100634 w 301235"/>
                <a:gd name="connsiteY26" fmla="*/ 4011 h 40950"/>
                <a:gd name="connsiteX27" fmla="*/ 117005 w 301235"/>
                <a:gd name="connsiteY27" fmla="*/ 3019 h 40950"/>
                <a:gd name="connsiteX28" fmla="*/ 133376 w 301235"/>
                <a:gd name="connsiteY28" fmla="*/ 3515 h 40950"/>
                <a:gd name="connsiteX29" fmla="*/ 149746 w 301235"/>
                <a:gd name="connsiteY29" fmla="*/ 4507 h 40950"/>
                <a:gd name="connsiteX30" fmla="*/ 166117 w 301235"/>
                <a:gd name="connsiteY30" fmla="*/ 2523 h 40950"/>
                <a:gd name="connsiteX31" fmla="*/ 182487 w 301235"/>
                <a:gd name="connsiteY31" fmla="*/ 3019 h 40950"/>
                <a:gd name="connsiteX32" fmla="*/ 198858 w 301235"/>
                <a:gd name="connsiteY32" fmla="*/ 3019 h 40950"/>
                <a:gd name="connsiteX33" fmla="*/ 215228 w 301235"/>
                <a:gd name="connsiteY33" fmla="*/ 2523 h 40950"/>
                <a:gd name="connsiteX34" fmla="*/ 231599 w 301235"/>
                <a:gd name="connsiteY34" fmla="*/ 2523 h 40950"/>
                <a:gd name="connsiteX35" fmla="*/ 247969 w 301235"/>
                <a:gd name="connsiteY35" fmla="*/ 4011 h 40950"/>
                <a:gd name="connsiteX36" fmla="*/ 264340 w 301235"/>
                <a:gd name="connsiteY36" fmla="*/ 4011 h 40950"/>
                <a:gd name="connsiteX37" fmla="*/ 280710 w 301235"/>
                <a:gd name="connsiteY37" fmla="*/ 3019 h 40950"/>
                <a:gd name="connsiteX38" fmla="*/ 297577 w 301235"/>
                <a:gd name="connsiteY38" fmla="*/ 2523 h 40950"/>
                <a:gd name="connsiteX39" fmla="*/ 296089 w 301235"/>
                <a:gd name="connsiteY39" fmla="*/ 20878 h 40950"/>
                <a:gd name="connsiteX40" fmla="*/ 298570 w 301235"/>
                <a:gd name="connsiteY40" fmla="*/ 38737 h 40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01235" h="40950">
                  <a:moveTo>
                    <a:pt x="298570" y="38737"/>
                  </a:moveTo>
                  <a:cubicBezTo>
                    <a:pt x="293112" y="44690"/>
                    <a:pt x="289640" y="36752"/>
                    <a:pt x="281207" y="36752"/>
                  </a:cubicBezTo>
                  <a:cubicBezTo>
                    <a:pt x="273269" y="36752"/>
                    <a:pt x="273269" y="38737"/>
                    <a:pt x="264836" y="38737"/>
                  </a:cubicBezTo>
                  <a:cubicBezTo>
                    <a:pt x="256899" y="38737"/>
                    <a:pt x="256899" y="37249"/>
                    <a:pt x="248465" y="37249"/>
                  </a:cubicBezTo>
                  <a:cubicBezTo>
                    <a:pt x="240032" y="37249"/>
                    <a:pt x="240032" y="38240"/>
                    <a:pt x="232095" y="38240"/>
                  </a:cubicBezTo>
                  <a:cubicBezTo>
                    <a:pt x="224158" y="38240"/>
                    <a:pt x="224158" y="37744"/>
                    <a:pt x="215724" y="37744"/>
                  </a:cubicBezTo>
                  <a:cubicBezTo>
                    <a:pt x="207291" y="37744"/>
                    <a:pt x="207291" y="38737"/>
                    <a:pt x="199354" y="38737"/>
                  </a:cubicBezTo>
                  <a:cubicBezTo>
                    <a:pt x="191417" y="38737"/>
                    <a:pt x="191417" y="38240"/>
                    <a:pt x="182983" y="38240"/>
                  </a:cubicBezTo>
                  <a:cubicBezTo>
                    <a:pt x="174550" y="38240"/>
                    <a:pt x="174550" y="38240"/>
                    <a:pt x="166613" y="38240"/>
                  </a:cubicBezTo>
                  <a:cubicBezTo>
                    <a:pt x="158179" y="38240"/>
                    <a:pt x="158179" y="36752"/>
                    <a:pt x="150242" y="36752"/>
                  </a:cubicBezTo>
                  <a:cubicBezTo>
                    <a:pt x="141809" y="36752"/>
                    <a:pt x="141809" y="38240"/>
                    <a:pt x="133871" y="38240"/>
                  </a:cubicBezTo>
                  <a:cubicBezTo>
                    <a:pt x="125438" y="38240"/>
                    <a:pt x="125438" y="36752"/>
                    <a:pt x="117501" y="36752"/>
                  </a:cubicBezTo>
                  <a:cubicBezTo>
                    <a:pt x="109068" y="36752"/>
                    <a:pt x="109068" y="37744"/>
                    <a:pt x="101130" y="37744"/>
                  </a:cubicBezTo>
                  <a:cubicBezTo>
                    <a:pt x="92697" y="37744"/>
                    <a:pt x="92697" y="37744"/>
                    <a:pt x="84760" y="37744"/>
                  </a:cubicBezTo>
                  <a:cubicBezTo>
                    <a:pt x="76327" y="37744"/>
                    <a:pt x="76327" y="36752"/>
                    <a:pt x="68389" y="36752"/>
                  </a:cubicBezTo>
                  <a:cubicBezTo>
                    <a:pt x="59956" y="36752"/>
                    <a:pt x="59956" y="36752"/>
                    <a:pt x="52019" y="36752"/>
                  </a:cubicBezTo>
                  <a:cubicBezTo>
                    <a:pt x="43586" y="36752"/>
                    <a:pt x="43586" y="37249"/>
                    <a:pt x="35648" y="37249"/>
                  </a:cubicBezTo>
                  <a:cubicBezTo>
                    <a:pt x="27215" y="37249"/>
                    <a:pt x="27215" y="37249"/>
                    <a:pt x="19278" y="37249"/>
                  </a:cubicBezTo>
                  <a:cubicBezTo>
                    <a:pt x="11340" y="37249"/>
                    <a:pt x="8364" y="43697"/>
                    <a:pt x="2411" y="37744"/>
                  </a:cubicBezTo>
                  <a:cubicBezTo>
                    <a:pt x="-3542" y="31296"/>
                    <a:pt x="3403" y="28815"/>
                    <a:pt x="3403" y="20382"/>
                  </a:cubicBezTo>
                  <a:cubicBezTo>
                    <a:pt x="3403" y="11948"/>
                    <a:pt x="-2550" y="9964"/>
                    <a:pt x="3403" y="4011"/>
                  </a:cubicBezTo>
                  <a:cubicBezTo>
                    <a:pt x="8860" y="-1942"/>
                    <a:pt x="10844" y="3019"/>
                    <a:pt x="18782" y="3019"/>
                  </a:cubicBezTo>
                  <a:cubicBezTo>
                    <a:pt x="26719" y="3019"/>
                    <a:pt x="26719" y="2027"/>
                    <a:pt x="35152" y="2027"/>
                  </a:cubicBezTo>
                  <a:cubicBezTo>
                    <a:pt x="43089" y="2027"/>
                    <a:pt x="43089" y="4011"/>
                    <a:pt x="51523" y="4011"/>
                  </a:cubicBezTo>
                  <a:cubicBezTo>
                    <a:pt x="59956" y="4011"/>
                    <a:pt x="59956" y="4011"/>
                    <a:pt x="67893" y="4011"/>
                  </a:cubicBezTo>
                  <a:cubicBezTo>
                    <a:pt x="75831" y="4011"/>
                    <a:pt x="75831" y="3515"/>
                    <a:pt x="84264" y="3515"/>
                  </a:cubicBezTo>
                  <a:cubicBezTo>
                    <a:pt x="92697" y="3515"/>
                    <a:pt x="92697" y="4011"/>
                    <a:pt x="100634" y="4011"/>
                  </a:cubicBezTo>
                  <a:cubicBezTo>
                    <a:pt x="108572" y="4011"/>
                    <a:pt x="108572" y="3019"/>
                    <a:pt x="117005" y="3019"/>
                  </a:cubicBezTo>
                  <a:cubicBezTo>
                    <a:pt x="125438" y="3019"/>
                    <a:pt x="125438" y="3515"/>
                    <a:pt x="133376" y="3515"/>
                  </a:cubicBezTo>
                  <a:cubicBezTo>
                    <a:pt x="141809" y="3515"/>
                    <a:pt x="141809" y="4507"/>
                    <a:pt x="149746" y="4507"/>
                  </a:cubicBezTo>
                  <a:cubicBezTo>
                    <a:pt x="158179" y="4507"/>
                    <a:pt x="158179" y="2523"/>
                    <a:pt x="166117" y="2523"/>
                  </a:cubicBezTo>
                  <a:cubicBezTo>
                    <a:pt x="174550" y="2523"/>
                    <a:pt x="174550" y="3019"/>
                    <a:pt x="182487" y="3019"/>
                  </a:cubicBezTo>
                  <a:cubicBezTo>
                    <a:pt x="190424" y="3019"/>
                    <a:pt x="190920" y="3019"/>
                    <a:pt x="198858" y="3019"/>
                  </a:cubicBezTo>
                  <a:cubicBezTo>
                    <a:pt x="207291" y="3019"/>
                    <a:pt x="207291" y="2523"/>
                    <a:pt x="215228" y="2523"/>
                  </a:cubicBezTo>
                  <a:cubicBezTo>
                    <a:pt x="223661" y="2523"/>
                    <a:pt x="223661" y="2523"/>
                    <a:pt x="231599" y="2523"/>
                  </a:cubicBezTo>
                  <a:cubicBezTo>
                    <a:pt x="240032" y="2523"/>
                    <a:pt x="240032" y="4011"/>
                    <a:pt x="247969" y="4011"/>
                  </a:cubicBezTo>
                  <a:cubicBezTo>
                    <a:pt x="256403" y="4011"/>
                    <a:pt x="256403" y="4011"/>
                    <a:pt x="264340" y="4011"/>
                  </a:cubicBezTo>
                  <a:cubicBezTo>
                    <a:pt x="272773" y="4011"/>
                    <a:pt x="272773" y="3019"/>
                    <a:pt x="280710" y="3019"/>
                  </a:cubicBezTo>
                  <a:cubicBezTo>
                    <a:pt x="288648" y="3019"/>
                    <a:pt x="292120" y="-3430"/>
                    <a:pt x="297577" y="2523"/>
                  </a:cubicBezTo>
                  <a:cubicBezTo>
                    <a:pt x="303531" y="8972"/>
                    <a:pt x="294105" y="12445"/>
                    <a:pt x="296089" y="20878"/>
                  </a:cubicBezTo>
                  <a:cubicBezTo>
                    <a:pt x="299066" y="30303"/>
                    <a:pt x="304522" y="32288"/>
                    <a:pt x="298570" y="3873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BFF57589-C013-F241-8AF7-9E12F539DC87}"/>
                </a:ext>
              </a:extLst>
            </p:cNvPr>
            <p:cNvSpPr/>
            <p:nvPr/>
          </p:nvSpPr>
          <p:spPr>
            <a:xfrm>
              <a:off x="5557982" y="2490764"/>
              <a:ext cx="300025" cy="304634"/>
            </a:xfrm>
            <a:custGeom>
              <a:avLst/>
              <a:gdLst>
                <a:gd name="connsiteX0" fmla="*/ 1433 w 300025"/>
                <a:gd name="connsiteY0" fmla="*/ 304634 h 304634"/>
                <a:gd name="connsiteX1" fmla="*/ 2921 w 300025"/>
                <a:gd name="connsiteY1" fmla="*/ 288760 h 304634"/>
                <a:gd name="connsiteX2" fmla="*/ 3418 w 300025"/>
                <a:gd name="connsiteY2" fmla="*/ 272885 h 304634"/>
                <a:gd name="connsiteX3" fmla="*/ 3418 w 300025"/>
                <a:gd name="connsiteY3" fmla="*/ 257011 h 304634"/>
                <a:gd name="connsiteX4" fmla="*/ 2921 w 300025"/>
                <a:gd name="connsiteY4" fmla="*/ 241137 h 304634"/>
                <a:gd name="connsiteX5" fmla="*/ 1929 w 300025"/>
                <a:gd name="connsiteY5" fmla="*/ 225262 h 304634"/>
                <a:gd name="connsiteX6" fmla="*/ 2425 w 300025"/>
                <a:gd name="connsiteY6" fmla="*/ 209387 h 304634"/>
                <a:gd name="connsiteX7" fmla="*/ 2921 w 300025"/>
                <a:gd name="connsiteY7" fmla="*/ 193513 h 304634"/>
                <a:gd name="connsiteX8" fmla="*/ 2425 w 300025"/>
                <a:gd name="connsiteY8" fmla="*/ 177639 h 304634"/>
                <a:gd name="connsiteX9" fmla="*/ 3418 w 300025"/>
                <a:gd name="connsiteY9" fmla="*/ 161764 h 304634"/>
                <a:gd name="connsiteX10" fmla="*/ 1929 w 300025"/>
                <a:gd name="connsiteY10" fmla="*/ 145890 h 304634"/>
                <a:gd name="connsiteX11" fmla="*/ 1433 w 300025"/>
                <a:gd name="connsiteY11" fmla="*/ 130015 h 304634"/>
                <a:gd name="connsiteX12" fmla="*/ 1433 w 300025"/>
                <a:gd name="connsiteY12" fmla="*/ 114140 h 304634"/>
                <a:gd name="connsiteX13" fmla="*/ 1929 w 300025"/>
                <a:gd name="connsiteY13" fmla="*/ 98266 h 304634"/>
                <a:gd name="connsiteX14" fmla="*/ 1929 w 300025"/>
                <a:gd name="connsiteY14" fmla="*/ 82392 h 304634"/>
                <a:gd name="connsiteX15" fmla="*/ 1929 w 300025"/>
                <a:gd name="connsiteY15" fmla="*/ 66517 h 304634"/>
                <a:gd name="connsiteX16" fmla="*/ 2921 w 300025"/>
                <a:gd name="connsiteY16" fmla="*/ 50642 h 304634"/>
                <a:gd name="connsiteX17" fmla="*/ 3418 w 300025"/>
                <a:gd name="connsiteY17" fmla="*/ 34768 h 304634"/>
                <a:gd name="connsiteX18" fmla="*/ 2425 w 300025"/>
                <a:gd name="connsiteY18" fmla="*/ 18894 h 304634"/>
                <a:gd name="connsiteX19" fmla="*/ 2425 w 300025"/>
                <a:gd name="connsiteY19" fmla="*/ 2523 h 304634"/>
                <a:gd name="connsiteX20" fmla="*/ 19292 w 300025"/>
                <a:gd name="connsiteY20" fmla="*/ 3019 h 304634"/>
                <a:gd name="connsiteX21" fmla="*/ 35663 w 300025"/>
                <a:gd name="connsiteY21" fmla="*/ 2523 h 304634"/>
                <a:gd name="connsiteX22" fmla="*/ 52033 w 300025"/>
                <a:gd name="connsiteY22" fmla="*/ 3515 h 304634"/>
                <a:gd name="connsiteX23" fmla="*/ 68404 w 300025"/>
                <a:gd name="connsiteY23" fmla="*/ 2027 h 304634"/>
                <a:gd name="connsiteX24" fmla="*/ 84774 w 300025"/>
                <a:gd name="connsiteY24" fmla="*/ 1035 h 304634"/>
                <a:gd name="connsiteX25" fmla="*/ 101145 w 300025"/>
                <a:gd name="connsiteY25" fmla="*/ 3019 h 304634"/>
                <a:gd name="connsiteX26" fmla="*/ 117515 w 300025"/>
                <a:gd name="connsiteY26" fmla="*/ 1035 h 304634"/>
                <a:gd name="connsiteX27" fmla="*/ 133886 w 300025"/>
                <a:gd name="connsiteY27" fmla="*/ 2523 h 304634"/>
                <a:gd name="connsiteX28" fmla="*/ 150257 w 300025"/>
                <a:gd name="connsiteY28" fmla="*/ 1531 h 304634"/>
                <a:gd name="connsiteX29" fmla="*/ 166627 w 300025"/>
                <a:gd name="connsiteY29" fmla="*/ 2027 h 304634"/>
                <a:gd name="connsiteX30" fmla="*/ 182998 w 300025"/>
                <a:gd name="connsiteY30" fmla="*/ 1531 h 304634"/>
                <a:gd name="connsiteX31" fmla="*/ 199368 w 300025"/>
                <a:gd name="connsiteY31" fmla="*/ 3515 h 304634"/>
                <a:gd name="connsiteX32" fmla="*/ 215739 w 300025"/>
                <a:gd name="connsiteY32" fmla="*/ 1531 h 304634"/>
                <a:gd name="connsiteX33" fmla="*/ 232109 w 300025"/>
                <a:gd name="connsiteY33" fmla="*/ 1531 h 304634"/>
                <a:gd name="connsiteX34" fmla="*/ 248480 w 300025"/>
                <a:gd name="connsiteY34" fmla="*/ 2027 h 304634"/>
                <a:gd name="connsiteX35" fmla="*/ 264850 w 300025"/>
                <a:gd name="connsiteY35" fmla="*/ 3019 h 304634"/>
                <a:gd name="connsiteX36" fmla="*/ 281221 w 300025"/>
                <a:gd name="connsiteY36" fmla="*/ 3515 h 304634"/>
                <a:gd name="connsiteX37" fmla="*/ 297095 w 300025"/>
                <a:gd name="connsiteY37" fmla="*/ 2523 h 304634"/>
                <a:gd name="connsiteX38" fmla="*/ 298088 w 300025"/>
                <a:gd name="connsiteY38" fmla="*/ 17901 h 304634"/>
                <a:gd name="connsiteX39" fmla="*/ 297095 w 300025"/>
                <a:gd name="connsiteY39" fmla="*/ 33776 h 304634"/>
                <a:gd name="connsiteX40" fmla="*/ 297095 w 300025"/>
                <a:gd name="connsiteY40" fmla="*/ 49650 h 304634"/>
                <a:gd name="connsiteX41" fmla="*/ 298088 w 300025"/>
                <a:gd name="connsiteY41" fmla="*/ 65525 h 304634"/>
                <a:gd name="connsiteX42" fmla="*/ 296600 w 300025"/>
                <a:gd name="connsiteY42" fmla="*/ 81399 h 304634"/>
                <a:gd name="connsiteX43" fmla="*/ 298088 w 300025"/>
                <a:gd name="connsiteY43" fmla="*/ 97274 h 304634"/>
                <a:gd name="connsiteX44" fmla="*/ 297591 w 300025"/>
                <a:gd name="connsiteY44" fmla="*/ 113148 h 304634"/>
                <a:gd name="connsiteX45" fmla="*/ 298088 w 300025"/>
                <a:gd name="connsiteY45" fmla="*/ 129023 h 304634"/>
                <a:gd name="connsiteX46" fmla="*/ 296104 w 300025"/>
                <a:gd name="connsiteY46" fmla="*/ 144897 h 304634"/>
                <a:gd name="connsiteX47" fmla="*/ 297095 w 300025"/>
                <a:gd name="connsiteY47" fmla="*/ 160772 h 304634"/>
                <a:gd name="connsiteX48" fmla="*/ 296104 w 300025"/>
                <a:gd name="connsiteY48" fmla="*/ 176646 h 304634"/>
                <a:gd name="connsiteX49" fmla="*/ 297095 w 300025"/>
                <a:gd name="connsiteY49" fmla="*/ 192521 h 304634"/>
                <a:gd name="connsiteX50" fmla="*/ 297591 w 300025"/>
                <a:gd name="connsiteY50" fmla="*/ 208395 h 304634"/>
                <a:gd name="connsiteX51" fmla="*/ 297095 w 300025"/>
                <a:gd name="connsiteY51" fmla="*/ 224270 h 304634"/>
                <a:gd name="connsiteX52" fmla="*/ 298088 w 300025"/>
                <a:gd name="connsiteY52" fmla="*/ 240144 h 304634"/>
                <a:gd name="connsiteX53" fmla="*/ 297591 w 300025"/>
                <a:gd name="connsiteY53" fmla="*/ 256019 h 304634"/>
                <a:gd name="connsiteX54" fmla="*/ 296104 w 300025"/>
                <a:gd name="connsiteY54" fmla="*/ 271893 h 304634"/>
                <a:gd name="connsiteX55" fmla="*/ 296104 w 300025"/>
                <a:gd name="connsiteY55" fmla="*/ 287768 h 304634"/>
                <a:gd name="connsiteX56" fmla="*/ 297095 w 300025"/>
                <a:gd name="connsiteY56" fmla="*/ 303642 h 304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00025" h="304634">
                  <a:moveTo>
                    <a:pt x="1433" y="304634"/>
                  </a:moveTo>
                  <a:cubicBezTo>
                    <a:pt x="1433" y="296697"/>
                    <a:pt x="2921" y="296697"/>
                    <a:pt x="2921" y="288760"/>
                  </a:cubicBezTo>
                  <a:cubicBezTo>
                    <a:pt x="2921" y="280823"/>
                    <a:pt x="3418" y="280823"/>
                    <a:pt x="3418" y="272885"/>
                  </a:cubicBezTo>
                  <a:cubicBezTo>
                    <a:pt x="3418" y="264948"/>
                    <a:pt x="3418" y="264948"/>
                    <a:pt x="3418" y="257011"/>
                  </a:cubicBezTo>
                  <a:cubicBezTo>
                    <a:pt x="3418" y="249074"/>
                    <a:pt x="2921" y="249074"/>
                    <a:pt x="2921" y="241137"/>
                  </a:cubicBezTo>
                  <a:cubicBezTo>
                    <a:pt x="2921" y="233199"/>
                    <a:pt x="1929" y="233199"/>
                    <a:pt x="1929" y="225262"/>
                  </a:cubicBezTo>
                  <a:cubicBezTo>
                    <a:pt x="1929" y="217325"/>
                    <a:pt x="2425" y="217325"/>
                    <a:pt x="2425" y="209387"/>
                  </a:cubicBezTo>
                  <a:cubicBezTo>
                    <a:pt x="2425" y="201450"/>
                    <a:pt x="2921" y="201450"/>
                    <a:pt x="2921" y="193513"/>
                  </a:cubicBezTo>
                  <a:cubicBezTo>
                    <a:pt x="2921" y="185576"/>
                    <a:pt x="2425" y="185576"/>
                    <a:pt x="2425" y="177639"/>
                  </a:cubicBezTo>
                  <a:cubicBezTo>
                    <a:pt x="2425" y="169701"/>
                    <a:pt x="3418" y="169701"/>
                    <a:pt x="3418" y="161764"/>
                  </a:cubicBezTo>
                  <a:cubicBezTo>
                    <a:pt x="3418" y="153827"/>
                    <a:pt x="1929" y="153827"/>
                    <a:pt x="1929" y="145890"/>
                  </a:cubicBezTo>
                  <a:cubicBezTo>
                    <a:pt x="1929" y="137952"/>
                    <a:pt x="1433" y="137952"/>
                    <a:pt x="1433" y="130015"/>
                  </a:cubicBezTo>
                  <a:cubicBezTo>
                    <a:pt x="1433" y="122078"/>
                    <a:pt x="1433" y="122078"/>
                    <a:pt x="1433" y="114140"/>
                  </a:cubicBezTo>
                  <a:cubicBezTo>
                    <a:pt x="1433" y="106203"/>
                    <a:pt x="1929" y="106203"/>
                    <a:pt x="1929" y="98266"/>
                  </a:cubicBezTo>
                  <a:cubicBezTo>
                    <a:pt x="1929" y="90329"/>
                    <a:pt x="1929" y="90329"/>
                    <a:pt x="1929" y="82392"/>
                  </a:cubicBezTo>
                  <a:cubicBezTo>
                    <a:pt x="1929" y="74454"/>
                    <a:pt x="1929" y="74454"/>
                    <a:pt x="1929" y="66517"/>
                  </a:cubicBezTo>
                  <a:cubicBezTo>
                    <a:pt x="1929" y="58580"/>
                    <a:pt x="2921" y="58580"/>
                    <a:pt x="2921" y="50642"/>
                  </a:cubicBezTo>
                  <a:cubicBezTo>
                    <a:pt x="2921" y="42705"/>
                    <a:pt x="3418" y="42705"/>
                    <a:pt x="3418" y="34768"/>
                  </a:cubicBezTo>
                  <a:cubicBezTo>
                    <a:pt x="3418" y="26831"/>
                    <a:pt x="2425" y="26831"/>
                    <a:pt x="2425" y="18894"/>
                  </a:cubicBezTo>
                  <a:cubicBezTo>
                    <a:pt x="2425" y="10956"/>
                    <a:pt x="-3032" y="7980"/>
                    <a:pt x="2425" y="2523"/>
                  </a:cubicBezTo>
                  <a:cubicBezTo>
                    <a:pt x="8378" y="-3430"/>
                    <a:pt x="10859" y="3019"/>
                    <a:pt x="19292" y="3019"/>
                  </a:cubicBezTo>
                  <a:cubicBezTo>
                    <a:pt x="27229" y="3019"/>
                    <a:pt x="27229" y="2523"/>
                    <a:pt x="35663" y="2523"/>
                  </a:cubicBezTo>
                  <a:cubicBezTo>
                    <a:pt x="43600" y="2523"/>
                    <a:pt x="43600" y="3515"/>
                    <a:pt x="52033" y="3515"/>
                  </a:cubicBezTo>
                  <a:cubicBezTo>
                    <a:pt x="60467" y="3515"/>
                    <a:pt x="60467" y="2027"/>
                    <a:pt x="68404" y="2027"/>
                  </a:cubicBezTo>
                  <a:cubicBezTo>
                    <a:pt x="76341" y="2027"/>
                    <a:pt x="76341" y="1035"/>
                    <a:pt x="84774" y="1035"/>
                  </a:cubicBezTo>
                  <a:cubicBezTo>
                    <a:pt x="93208" y="1035"/>
                    <a:pt x="93208" y="3019"/>
                    <a:pt x="101145" y="3019"/>
                  </a:cubicBezTo>
                  <a:cubicBezTo>
                    <a:pt x="109082" y="3019"/>
                    <a:pt x="109082" y="1035"/>
                    <a:pt x="117515" y="1035"/>
                  </a:cubicBezTo>
                  <a:cubicBezTo>
                    <a:pt x="125949" y="1035"/>
                    <a:pt x="125949" y="2523"/>
                    <a:pt x="133886" y="2523"/>
                  </a:cubicBezTo>
                  <a:cubicBezTo>
                    <a:pt x="142319" y="2523"/>
                    <a:pt x="142319" y="1531"/>
                    <a:pt x="150257" y="1531"/>
                  </a:cubicBezTo>
                  <a:cubicBezTo>
                    <a:pt x="158690" y="1531"/>
                    <a:pt x="158690" y="2027"/>
                    <a:pt x="166627" y="2027"/>
                  </a:cubicBezTo>
                  <a:cubicBezTo>
                    <a:pt x="175060" y="2027"/>
                    <a:pt x="175060" y="1531"/>
                    <a:pt x="182998" y="1531"/>
                  </a:cubicBezTo>
                  <a:cubicBezTo>
                    <a:pt x="190935" y="1531"/>
                    <a:pt x="191431" y="3515"/>
                    <a:pt x="199368" y="3515"/>
                  </a:cubicBezTo>
                  <a:cubicBezTo>
                    <a:pt x="207801" y="3515"/>
                    <a:pt x="207801" y="1531"/>
                    <a:pt x="215739" y="1531"/>
                  </a:cubicBezTo>
                  <a:cubicBezTo>
                    <a:pt x="224172" y="1531"/>
                    <a:pt x="224172" y="1531"/>
                    <a:pt x="232109" y="1531"/>
                  </a:cubicBezTo>
                  <a:cubicBezTo>
                    <a:pt x="240542" y="1531"/>
                    <a:pt x="240542" y="2027"/>
                    <a:pt x="248480" y="2027"/>
                  </a:cubicBezTo>
                  <a:cubicBezTo>
                    <a:pt x="256913" y="2027"/>
                    <a:pt x="256913" y="3019"/>
                    <a:pt x="264850" y="3019"/>
                  </a:cubicBezTo>
                  <a:cubicBezTo>
                    <a:pt x="273284" y="3019"/>
                    <a:pt x="273284" y="3515"/>
                    <a:pt x="281221" y="3515"/>
                  </a:cubicBezTo>
                  <a:cubicBezTo>
                    <a:pt x="289158" y="3515"/>
                    <a:pt x="291143" y="-2934"/>
                    <a:pt x="297095" y="2523"/>
                  </a:cubicBezTo>
                  <a:cubicBezTo>
                    <a:pt x="303049" y="7980"/>
                    <a:pt x="298088" y="9964"/>
                    <a:pt x="298088" y="17901"/>
                  </a:cubicBezTo>
                  <a:cubicBezTo>
                    <a:pt x="298088" y="25839"/>
                    <a:pt x="297095" y="25839"/>
                    <a:pt x="297095" y="33776"/>
                  </a:cubicBezTo>
                  <a:cubicBezTo>
                    <a:pt x="297095" y="41713"/>
                    <a:pt x="297095" y="41713"/>
                    <a:pt x="297095" y="49650"/>
                  </a:cubicBezTo>
                  <a:cubicBezTo>
                    <a:pt x="297095" y="57588"/>
                    <a:pt x="298088" y="57588"/>
                    <a:pt x="298088" y="65525"/>
                  </a:cubicBezTo>
                  <a:cubicBezTo>
                    <a:pt x="298088" y="73462"/>
                    <a:pt x="296600" y="73462"/>
                    <a:pt x="296600" y="81399"/>
                  </a:cubicBezTo>
                  <a:cubicBezTo>
                    <a:pt x="296600" y="89336"/>
                    <a:pt x="298088" y="89336"/>
                    <a:pt x="298088" y="97274"/>
                  </a:cubicBezTo>
                  <a:cubicBezTo>
                    <a:pt x="298088" y="105211"/>
                    <a:pt x="297591" y="105211"/>
                    <a:pt x="297591" y="113148"/>
                  </a:cubicBezTo>
                  <a:cubicBezTo>
                    <a:pt x="297591" y="121086"/>
                    <a:pt x="298088" y="121086"/>
                    <a:pt x="298088" y="129023"/>
                  </a:cubicBezTo>
                  <a:cubicBezTo>
                    <a:pt x="298088" y="136960"/>
                    <a:pt x="296104" y="136960"/>
                    <a:pt x="296104" y="144897"/>
                  </a:cubicBezTo>
                  <a:cubicBezTo>
                    <a:pt x="296104" y="152835"/>
                    <a:pt x="297095" y="152835"/>
                    <a:pt x="297095" y="160772"/>
                  </a:cubicBezTo>
                  <a:cubicBezTo>
                    <a:pt x="297095" y="168709"/>
                    <a:pt x="296104" y="168709"/>
                    <a:pt x="296104" y="176646"/>
                  </a:cubicBezTo>
                  <a:cubicBezTo>
                    <a:pt x="296104" y="184584"/>
                    <a:pt x="297095" y="184584"/>
                    <a:pt x="297095" y="192521"/>
                  </a:cubicBezTo>
                  <a:cubicBezTo>
                    <a:pt x="297095" y="200458"/>
                    <a:pt x="297591" y="200458"/>
                    <a:pt x="297591" y="208395"/>
                  </a:cubicBezTo>
                  <a:cubicBezTo>
                    <a:pt x="297591" y="216333"/>
                    <a:pt x="297095" y="216333"/>
                    <a:pt x="297095" y="224270"/>
                  </a:cubicBezTo>
                  <a:cubicBezTo>
                    <a:pt x="297095" y="232207"/>
                    <a:pt x="298088" y="232207"/>
                    <a:pt x="298088" y="240144"/>
                  </a:cubicBezTo>
                  <a:cubicBezTo>
                    <a:pt x="298088" y="248081"/>
                    <a:pt x="297591" y="248081"/>
                    <a:pt x="297591" y="256019"/>
                  </a:cubicBezTo>
                  <a:cubicBezTo>
                    <a:pt x="297591" y="263956"/>
                    <a:pt x="296104" y="263956"/>
                    <a:pt x="296104" y="271893"/>
                  </a:cubicBezTo>
                  <a:cubicBezTo>
                    <a:pt x="296104" y="279831"/>
                    <a:pt x="296104" y="279831"/>
                    <a:pt x="296104" y="287768"/>
                  </a:cubicBezTo>
                  <a:cubicBezTo>
                    <a:pt x="296104" y="295705"/>
                    <a:pt x="297095" y="295705"/>
                    <a:pt x="297095" y="30364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88A8F5E5-6048-0810-374C-4049A8AF5DFC}"/>
                </a:ext>
              </a:extLst>
            </p:cNvPr>
            <p:cNvSpPr/>
            <p:nvPr/>
          </p:nvSpPr>
          <p:spPr>
            <a:xfrm>
              <a:off x="5527407" y="2791926"/>
              <a:ext cx="364258" cy="63792"/>
            </a:xfrm>
            <a:custGeom>
              <a:avLst/>
              <a:gdLst>
                <a:gd name="connsiteX0" fmla="*/ 2740 w 364258"/>
                <a:gd name="connsiteY0" fmla="*/ 2977 h 63792"/>
                <a:gd name="connsiteX1" fmla="*/ 19110 w 364258"/>
                <a:gd name="connsiteY1" fmla="*/ 4465 h 63792"/>
                <a:gd name="connsiteX2" fmla="*/ 35481 w 364258"/>
                <a:gd name="connsiteY2" fmla="*/ 2480 h 63792"/>
                <a:gd name="connsiteX3" fmla="*/ 51851 w 364258"/>
                <a:gd name="connsiteY3" fmla="*/ 4465 h 63792"/>
                <a:gd name="connsiteX4" fmla="*/ 68222 w 364258"/>
                <a:gd name="connsiteY4" fmla="*/ 2480 h 63792"/>
                <a:gd name="connsiteX5" fmla="*/ 84592 w 364258"/>
                <a:gd name="connsiteY5" fmla="*/ 3473 h 63792"/>
                <a:gd name="connsiteX6" fmla="*/ 100467 w 364258"/>
                <a:gd name="connsiteY6" fmla="*/ 2480 h 63792"/>
                <a:gd name="connsiteX7" fmla="*/ 116342 w 364258"/>
                <a:gd name="connsiteY7" fmla="*/ 2977 h 63792"/>
                <a:gd name="connsiteX8" fmla="*/ 132712 w 364258"/>
                <a:gd name="connsiteY8" fmla="*/ 2977 h 63792"/>
                <a:gd name="connsiteX9" fmla="*/ 148587 w 364258"/>
                <a:gd name="connsiteY9" fmla="*/ 3968 h 63792"/>
                <a:gd name="connsiteX10" fmla="*/ 164957 w 364258"/>
                <a:gd name="connsiteY10" fmla="*/ 3473 h 63792"/>
                <a:gd name="connsiteX11" fmla="*/ 181328 w 364258"/>
                <a:gd name="connsiteY11" fmla="*/ 3968 h 63792"/>
                <a:gd name="connsiteX12" fmla="*/ 197698 w 364258"/>
                <a:gd name="connsiteY12" fmla="*/ 2480 h 63792"/>
                <a:gd name="connsiteX13" fmla="*/ 214069 w 364258"/>
                <a:gd name="connsiteY13" fmla="*/ 2480 h 63792"/>
                <a:gd name="connsiteX14" fmla="*/ 230439 w 364258"/>
                <a:gd name="connsiteY14" fmla="*/ 3968 h 63792"/>
                <a:gd name="connsiteX15" fmla="*/ 246810 w 364258"/>
                <a:gd name="connsiteY15" fmla="*/ 2977 h 63792"/>
                <a:gd name="connsiteX16" fmla="*/ 263180 w 364258"/>
                <a:gd name="connsiteY16" fmla="*/ 3968 h 63792"/>
                <a:gd name="connsiteX17" fmla="*/ 279551 w 364258"/>
                <a:gd name="connsiteY17" fmla="*/ 3473 h 63792"/>
                <a:gd name="connsiteX18" fmla="*/ 295921 w 364258"/>
                <a:gd name="connsiteY18" fmla="*/ 2480 h 63792"/>
                <a:gd name="connsiteX19" fmla="*/ 312292 w 364258"/>
                <a:gd name="connsiteY19" fmla="*/ 4465 h 63792"/>
                <a:gd name="connsiteX20" fmla="*/ 328663 w 364258"/>
                <a:gd name="connsiteY20" fmla="*/ 2977 h 63792"/>
                <a:gd name="connsiteX21" fmla="*/ 345033 w 364258"/>
                <a:gd name="connsiteY21" fmla="*/ 1984 h 63792"/>
                <a:gd name="connsiteX22" fmla="*/ 361900 w 364258"/>
                <a:gd name="connsiteY22" fmla="*/ 1984 h 63792"/>
                <a:gd name="connsiteX23" fmla="*/ 361900 w 364258"/>
                <a:gd name="connsiteY23" fmla="*/ 13890 h 63792"/>
                <a:gd name="connsiteX24" fmla="*/ 353467 w 364258"/>
                <a:gd name="connsiteY24" fmla="*/ 29765 h 63792"/>
                <a:gd name="connsiteX25" fmla="*/ 346026 w 364258"/>
                <a:gd name="connsiteY25" fmla="*/ 46135 h 63792"/>
                <a:gd name="connsiteX26" fmla="*/ 337096 w 364258"/>
                <a:gd name="connsiteY26" fmla="*/ 61514 h 63792"/>
                <a:gd name="connsiteX27" fmla="*/ 321718 w 364258"/>
                <a:gd name="connsiteY27" fmla="*/ 62506 h 63792"/>
                <a:gd name="connsiteX28" fmla="*/ 305843 w 364258"/>
                <a:gd name="connsiteY28" fmla="*/ 61514 h 63792"/>
                <a:gd name="connsiteX29" fmla="*/ 289969 w 364258"/>
                <a:gd name="connsiteY29" fmla="*/ 63002 h 63792"/>
                <a:gd name="connsiteX30" fmla="*/ 274095 w 364258"/>
                <a:gd name="connsiteY30" fmla="*/ 61514 h 63792"/>
                <a:gd name="connsiteX31" fmla="*/ 258220 w 364258"/>
                <a:gd name="connsiteY31" fmla="*/ 62010 h 63792"/>
                <a:gd name="connsiteX32" fmla="*/ 242345 w 364258"/>
                <a:gd name="connsiteY32" fmla="*/ 63002 h 63792"/>
                <a:gd name="connsiteX33" fmla="*/ 226471 w 364258"/>
                <a:gd name="connsiteY33" fmla="*/ 61017 h 63792"/>
                <a:gd name="connsiteX34" fmla="*/ 210596 w 364258"/>
                <a:gd name="connsiteY34" fmla="*/ 62010 h 63792"/>
                <a:gd name="connsiteX35" fmla="*/ 194722 w 364258"/>
                <a:gd name="connsiteY35" fmla="*/ 62506 h 63792"/>
                <a:gd name="connsiteX36" fmla="*/ 178847 w 364258"/>
                <a:gd name="connsiteY36" fmla="*/ 60522 h 63792"/>
                <a:gd name="connsiteX37" fmla="*/ 162973 w 364258"/>
                <a:gd name="connsiteY37" fmla="*/ 62506 h 63792"/>
                <a:gd name="connsiteX38" fmla="*/ 147098 w 364258"/>
                <a:gd name="connsiteY38" fmla="*/ 61514 h 63792"/>
                <a:gd name="connsiteX39" fmla="*/ 131224 w 364258"/>
                <a:gd name="connsiteY39" fmla="*/ 62010 h 63792"/>
                <a:gd name="connsiteX40" fmla="*/ 115349 w 364258"/>
                <a:gd name="connsiteY40" fmla="*/ 61017 h 63792"/>
                <a:gd name="connsiteX41" fmla="*/ 99475 w 364258"/>
                <a:gd name="connsiteY41" fmla="*/ 61514 h 63792"/>
                <a:gd name="connsiteX42" fmla="*/ 83600 w 364258"/>
                <a:gd name="connsiteY42" fmla="*/ 61514 h 63792"/>
                <a:gd name="connsiteX43" fmla="*/ 67726 w 364258"/>
                <a:gd name="connsiteY43" fmla="*/ 61514 h 63792"/>
                <a:gd name="connsiteX44" fmla="*/ 51851 w 364258"/>
                <a:gd name="connsiteY44" fmla="*/ 62010 h 63792"/>
                <a:gd name="connsiteX45" fmla="*/ 35481 w 364258"/>
                <a:gd name="connsiteY45" fmla="*/ 62010 h 63792"/>
                <a:gd name="connsiteX46" fmla="*/ 26055 w 364258"/>
                <a:gd name="connsiteY46" fmla="*/ 45639 h 63792"/>
                <a:gd name="connsiteX47" fmla="*/ 15638 w 364258"/>
                <a:gd name="connsiteY47" fmla="*/ 29765 h 63792"/>
                <a:gd name="connsiteX48" fmla="*/ 5716 w 364258"/>
                <a:gd name="connsiteY48" fmla="*/ 13890 h 63792"/>
                <a:gd name="connsiteX49" fmla="*/ 2740 w 364258"/>
                <a:gd name="connsiteY49" fmla="*/ 2977 h 63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64258" h="63792">
                  <a:moveTo>
                    <a:pt x="2740" y="2977"/>
                  </a:moveTo>
                  <a:cubicBezTo>
                    <a:pt x="9189" y="-1488"/>
                    <a:pt x="11173" y="4465"/>
                    <a:pt x="19110" y="4465"/>
                  </a:cubicBezTo>
                  <a:cubicBezTo>
                    <a:pt x="27047" y="4465"/>
                    <a:pt x="27047" y="2480"/>
                    <a:pt x="35481" y="2480"/>
                  </a:cubicBezTo>
                  <a:cubicBezTo>
                    <a:pt x="43418" y="2480"/>
                    <a:pt x="43418" y="4465"/>
                    <a:pt x="51851" y="4465"/>
                  </a:cubicBezTo>
                  <a:cubicBezTo>
                    <a:pt x="59789" y="4465"/>
                    <a:pt x="59789" y="2480"/>
                    <a:pt x="68222" y="2480"/>
                  </a:cubicBezTo>
                  <a:cubicBezTo>
                    <a:pt x="76159" y="2480"/>
                    <a:pt x="76159" y="3473"/>
                    <a:pt x="84592" y="3473"/>
                  </a:cubicBezTo>
                  <a:cubicBezTo>
                    <a:pt x="92530" y="3473"/>
                    <a:pt x="92530" y="2480"/>
                    <a:pt x="100467" y="2480"/>
                  </a:cubicBezTo>
                  <a:cubicBezTo>
                    <a:pt x="108404" y="2480"/>
                    <a:pt x="108404" y="2977"/>
                    <a:pt x="116342" y="2977"/>
                  </a:cubicBezTo>
                  <a:cubicBezTo>
                    <a:pt x="124279" y="2977"/>
                    <a:pt x="124279" y="2977"/>
                    <a:pt x="132712" y="2977"/>
                  </a:cubicBezTo>
                  <a:cubicBezTo>
                    <a:pt x="140649" y="2977"/>
                    <a:pt x="140649" y="3968"/>
                    <a:pt x="148587" y="3968"/>
                  </a:cubicBezTo>
                  <a:cubicBezTo>
                    <a:pt x="156524" y="3968"/>
                    <a:pt x="156524" y="3473"/>
                    <a:pt x="164957" y="3473"/>
                  </a:cubicBezTo>
                  <a:cubicBezTo>
                    <a:pt x="172895" y="3473"/>
                    <a:pt x="172895" y="3968"/>
                    <a:pt x="181328" y="3968"/>
                  </a:cubicBezTo>
                  <a:cubicBezTo>
                    <a:pt x="189265" y="3968"/>
                    <a:pt x="189265" y="2480"/>
                    <a:pt x="197698" y="2480"/>
                  </a:cubicBezTo>
                  <a:cubicBezTo>
                    <a:pt x="205636" y="2480"/>
                    <a:pt x="205636" y="2480"/>
                    <a:pt x="214069" y="2480"/>
                  </a:cubicBezTo>
                  <a:cubicBezTo>
                    <a:pt x="222006" y="2480"/>
                    <a:pt x="222006" y="3968"/>
                    <a:pt x="230439" y="3968"/>
                  </a:cubicBezTo>
                  <a:cubicBezTo>
                    <a:pt x="238377" y="3968"/>
                    <a:pt x="238377" y="2977"/>
                    <a:pt x="246810" y="2977"/>
                  </a:cubicBezTo>
                  <a:cubicBezTo>
                    <a:pt x="255243" y="2977"/>
                    <a:pt x="254747" y="3968"/>
                    <a:pt x="263180" y="3968"/>
                  </a:cubicBezTo>
                  <a:cubicBezTo>
                    <a:pt x="271118" y="3968"/>
                    <a:pt x="271118" y="3473"/>
                    <a:pt x="279551" y="3473"/>
                  </a:cubicBezTo>
                  <a:cubicBezTo>
                    <a:pt x="287488" y="3473"/>
                    <a:pt x="287488" y="2480"/>
                    <a:pt x="295921" y="2480"/>
                  </a:cubicBezTo>
                  <a:cubicBezTo>
                    <a:pt x="303859" y="2480"/>
                    <a:pt x="303859" y="4465"/>
                    <a:pt x="312292" y="4465"/>
                  </a:cubicBezTo>
                  <a:cubicBezTo>
                    <a:pt x="320229" y="4465"/>
                    <a:pt x="320229" y="2977"/>
                    <a:pt x="328663" y="2977"/>
                  </a:cubicBezTo>
                  <a:cubicBezTo>
                    <a:pt x="336600" y="2977"/>
                    <a:pt x="336600" y="1984"/>
                    <a:pt x="345033" y="1984"/>
                  </a:cubicBezTo>
                  <a:cubicBezTo>
                    <a:pt x="352970" y="1984"/>
                    <a:pt x="354955" y="-2480"/>
                    <a:pt x="361900" y="1984"/>
                  </a:cubicBezTo>
                  <a:cubicBezTo>
                    <a:pt x="366365" y="4961"/>
                    <a:pt x="363389" y="8929"/>
                    <a:pt x="361900" y="13890"/>
                  </a:cubicBezTo>
                  <a:cubicBezTo>
                    <a:pt x="359420" y="22323"/>
                    <a:pt x="357435" y="21827"/>
                    <a:pt x="353467" y="29765"/>
                  </a:cubicBezTo>
                  <a:cubicBezTo>
                    <a:pt x="349498" y="37702"/>
                    <a:pt x="349994" y="38198"/>
                    <a:pt x="346026" y="46135"/>
                  </a:cubicBezTo>
                  <a:cubicBezTo>
                    <a:pt x="342057" y="54073"/>
                    <a:pt x="344537" y="56553"/>
                    <a:pt x="337096" y="61514"/>
                  </a:cubicBezTo>
                  <a:cubicBezTo>
                    <a:pt x="330647" y="65978"/>
                    <a:pt x="329159" y="62506"/>
                    <a:pt x="321718" y="62506"/>
                  </a:cubicBezTo>
                  <a:cubicBezTo>
                    <a:pt x="313781" y="62506"/>
                    <a:pt x="313781" y="61514"/>
                    <a:pt x="305843" y="61514"/>
                  </a:cubicBezTo>
                  <a:cubicBezTo>
                    <a:pt x="297906" y="61514"/>
                    <a:pt x="297906" y="63002"/>
                    <a:pt x="289969" y="63002"/>
                  </a:cubicBezTo>
                  <a:cubicBezTo>
                    <a:pt x="282032" y="63002"/>
                    <a:pt x="282032" y="61514"/>
                    <a:pt x="274095" y="61514"/>
                  </a:cubicBezTo>
                  <a:cubicBezTo>
                    <a:pt x="266157" y="61514"/>
                    <a:pt x="266157" y="62010"/>
                    <a:pt x="258220" y="62010"/>
                  </a:cubicBezTo>
                  <a:cubicBezTo>
                    <a:pt x="250283" y="62010"/>
                    <a:pt x="250283" y="63002"/>
                    <a:pt x="242345" y="63002"/>
                  </a:cubicBezTo>
                  <a:cubicBezTo>
                    <a:pt x="234408" y="63002"/>
                    <a:pt x="234408" y="61017"/>
                    <a:pt x="226471" y="61017"/>
                  </a:cubicBezTo>
                  <a:cubicBezTo>
                    <a:pt x="218533" y="61017"/>
                    <a:pt x="218533" y="62010"/>
                    <a:pt x="210596" y="62010"/>
                  </a:cubicBezTo>
                  <a:cubicBezTo>
                    <a:pt x="202659" y="62010"/>
                    <a:pt x="202659" y="62506"/>
                    <a:pt x="194722" y="62506"/>
                  </a:cubicBezTo>
                  <a:cubicBezTo>
                    <a:pt x="186785" y="62506"/>
                    <a:pt x="186785" y="60522"/>
                    <a:pt x="178847" y="60522"/>
                  </a:cubicBezTo>
                  <a:cubicBezTo>
                    <a:pt x="170910" y="60522"/>
                    <a:pt x="170910" y="62506"/>
                    <a:pt x="162973" y="62506"/>
                  </a:cubicBezTo>
                  <a:cubicBezTo>
                    <a:pt x="155036" y="62506"/>
                    <a:pt x="155036" y="61514"/>
                    <a:pt x="147098" y="61514"/>
                  </a:cubicBezTo>
                  <a:cubicBezTo>
                    <a:pt x="139161" y="61514"/>
                    <a:pt x="139161" y="62010"/>
                    <a:pt x="131224" y="62010"/>
                  </a:cubicBezTo>
                  <a:cubicBezTo>
                    <a:pt x="123287" y="62010"/>
                    <a:pt x="123287" y="61017"/>
                    <a:pt x="115349" y="61017"/>
                  </a:cubicBezTo>
                  <a:cubicBezTo>
                    <a:pt x="107412" y="61017"/>
                    <a:pt x="107412" y="61514"/>
                    <a:pt x="99475" y="61514"/>
                  </a:cubicBezTo>
                  <a:cubicBezTo>
                    <a:pt x="91538" y="61514"/>
                    <a:pt x="91538" y="61514"/>
                    <a:pt x="83600" y="61514"/>
                  </a:cubicBezTo>
                  <a:cubicBezTo>
                    <a:pt x="75663" y="61514"/>
                    <a:pt x="75663" y="61514"/>
                    <a:pt x="67726" y="61514"/>
                  </a:cubicBezTo>
                  <a:cubicBezTo>
                    <a:pt x="59789" y="61514"/>
                    <a:pt x="59789" y="62010"/>
                    <a:pt x="51851" y="62010"/>
                  </a:cubicBezTo>
                  <a:cubicBezTo>
                    <a:pt x="43914" y="62010"/>
                    <a:pt x="42426" y="65978"/>
                    <a:pt x="35481" y="62010"/>
                  </a:cubicBezTo>
                  <a:cubicBezTo>
                    <a:pt x="27543" y="57049"/>
                    <a:pt x="31016" y="53576"/>
                    <a:pt x="26055" y="45639"/>
                  </a:cubicBezTo>
                  <a:cubicBezTo>
                    <a:pt x="21094" y="37702"/>
                    <a:pt x="20599" y="38198"/>
                    <a:pt x="15638" y="29765"/>
                  </a:cubicBezTo>
                  <a:cubicBezTo>
                    <a:pt x="10677" y="21827"/>
                    <a:pt x="10677" y="21827"/>
                    <a:pt x="5716" y="13890"/>
                  </a:cubicBezTo>
                  <a:cubicBezTo>
                    <a:pt x="-733" y="9426"/>
                    <a:pt x="-1725" y="5953"/>
                    <a:pt x="2740" y="297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11A6C774-189E-02F2-7DA4-6A27BCE83FA6}"/>
                </a:ext>
              </a:extLst>
            </p:cNvPr>
            <p:cNvSpPr/>
            <p:nvPr/>
          </p:nvSpPr>
          <p:spPr>
            <a:xfrm>
              <a:off x="4560810" y="3348263"/>
              <a:ext cx="83836" cy="51358"/>
            </a:xfrm>
            <a:custGeom>
              <a:avLst/>
              <a:gdLst>
                <a:gd name="connsiteX0" fmla="*/ 0 w 83836"/>
                <a:gd name="connsiteY0" fmla="*/ 3239 h 51358"/>
                <a:gd name="connsiteX1" fmla="*/ 16371 w 83836"/>
                <a:gd name="connsiteY1" fmla="*/ 2743 h 51358"/>
                <a:gd name="connsiteX2" fmla="*/ 32741 w 83836"/>
                <a:gd name="connsiteY2" fmla="*/ 2247 h 51358"/>
                <a:gd name="connsiteX3" fmla="*/ 49112 w 83836"/>
                <a:gd name="connsiteY3" fmla="*/ 4231 h 51358"/>
                <a:gd name="connsiteX4" fmla="*/ 65482 w 83836"/>
                <a:gd name="connsiteY4" fmla="*/ 4231 h 51358"/>
                <a:gd name="connsiteX5" fmla="*/ 82845 w 83836"/>
                <a:gd name="connsiteY5" fmla="*/ 2743 h 51358"/>
                <a:gd name="connsiteX6" fmla="*/ 73419 w 83836"/>
                <a:gd name="connsiteY6" fmla="*/ 15641 h 51358"/>
                <a:gd name="connsiteX7" fmla="*/ 63498 w 83836"/>
                <a:gd name="connsiteY7" fmla="*/ 27051 h 51358"/>
                <a:gd name="connsiteX8" fmla="*/ 55561 w 83836"/>
                <a:gd name="connsiteY8" fmla="*/ 39949 h 51358"/>
                <a:gd name="connsiteX9" fmla="*/ 45639 w 83836"/>
                <a:gd name="connsiteY9" fmla="*/ 51359 h 5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836" h="51358">
                  <a:moveTo>
                    <a:pt x="0" y="3239"/>
                  </a:moveTo>
                  <a:cubicBezTo>
                    <a:pt x="7937" y="3239"/>
                    <a:pt x="7937" y="2743"/>
                    <a:pt x="16371" y="2743"/>
                  </a:cubicBezTo>
                  <a:cubicBezTo>
                    <a:pt x="24308" y="2743"/>
                    <a:pt x="24308" y="2247"/>
                    <a:pt x="32741" y="2247"/>
                  </a:cubicBezTo>
                  <a:cubicBezTo>
                    <a:pt x="40678" y="2247"/>
                    <a:pt x="40678" y="4231"/>
                    <a:pt x="49112" y="4231"/>
                  </a:cubicBezTo>
                  <a:cubicBezTo>
                    <a:pt x="57049" y="4231"/>
                    <a:pt x="57049" y="4231"/>
                    <a:pt x="65482" y="4231"/>
                  </a:cubicBezTo>
                  <a:cubicBezTo>
                    <a:pt x="73419" y="4231"/>
                    <a:pt x="78380" y="-4202"/>
                    <a:pt x="82845" y="2743"/>
                  </a:cubicBezTo>
                  <a:cubicBezTo>
                    <a:pt x="86814" y="9192"/>
                    <a:pt x="77884" y="9688"/>
                    <a:pt x="73419" y="15641"/>
                  </a:cubicBezTo>
                  <a:cubicBezTo>
                    <a:pt x="68955" y="21594"/>
                    <a:pt x="67963" y="21098"/>
                    <a:pt x="63498" y="27051"/>
                  </a:cubicBezTo>
                  <a:cubicBezTo>
                    <a:pt x="59033" y="33004"/>
                    <a:pt x="60025" y="33996"/>
                    <a:pt x="55561" y="39949"/>
                  </a:cubicBezTo>
                  <a:cubicBezTo>
                    <a:pt x="51096" y="45902"/>
                    <a:pt x="50104" y="45406"/>
                    <a:pt x="45639" y="5135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DD913E91-666A-DAE7-16EF-F2DE031A579E}"/>
                </a:ext>
              </a:extLst>
            </p:cNvPr>
            <p:cNvSpPr/>
            <p:nvPr/>
          </p:nvSpPr>
          <p:spPr>
            <a:xfrm>
              <a:off x="4559818" y="3396992"/>
              <a:ext cx="63403" cy="21495"/>
            </a:xfrm>
            <a:custGeom>
              <a:avLst/>
              <a:gdLst>
                <a:gd name="connsiteX0" fmla="*/ 992 w 63403"/>
                <a:gd name="connsiteY0" fmla="*/ 4118 h 21495"/>
                <a:gd name="connsiteX1" fmla="*/ 15875 w 63403"/>
                <a:gd name="connsiteY1" fmla="*/ 3622 h 21495"/>
                <a:gd name="connsiteX2" fmla="*/ 30757 w 63403"/>
                <a:gd name="connsiteY2" fmla="*/ 3126 h 21495"/>
                <a:gd name="connsiteX3" fmla="*/ 45639 w 63403"/>
                <a:gd name="connsiteY3" fmla="*/ 3622 h 21495"/>
                <a:gd name="connsiteX4" fmla="*/ 61514 w 63403"/>
                <a:gd name="connsiteY4" fmla="*/ 2630 h 21495"/>
                <a:gd name="connsiteX5" fmla="*/ 55065 w 63403"/>
                <a:gd name="connsiteY5" fmla="*/ 19000 h 21495"/>
                <a:gd name="connsiteX6" fmla="*/ 36710 w 63403"/>
                <a:gd name="connsiteY6" fmla="*/ 19993 h 21495"/>
                <a:gd name="connsiteX7" fmla="*/ 18355 w 63403"/>
                <a:gd name="connsiteY7" fmla="*/ 19497 h 21495"/>
                <a:gd name="connsiteX8" fmla="*/ 0 w 63403"/>
                <a:gd name="connsiteY8" fmla="*/ 19000 h 21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03" h="21495">
                  <a:moveTo>
                    <a:pt x="992" y="4118"/>
                  </a:moveTo>
                  <a:cubicBezTo>
                    <a:pt x="8433" y="4118"/>
                    <a:pt x="8433" y="3622"/>
                    <a:pt x="15875" y="3622"/>
                  </a:cubicBezTo>
                  <a:cubicBezTo>
                    <a:pt x="23316" y="3622"/>
                    <a:pt x="23316" y="3126"/>
                    <a:pt x="30757" y="3126"/>
                  </a:cubicBezTo>
                  <a:cubicBezTo>
                    <a:pt x="38198" y="3126"/>
                    <a:pt x="38198" y="3622"/>
                    <a:pt x="45639" y="3622"/>
                  </a:cubicBezTo>
                  <a:cubicBezTo>
                    <a:pt x="53080" y="3622"/>
                    <a:pt x="58041" y="-3819"/>
                    <a:pt x="61514" y="2630"/>
                  </a:cubicBezTo>
                  <a:cubicBezTo>
                    <a:pt x="65978" y="9575"/>
                    <a:pt x="62010" y="14536"/>
                    <a:pt x="55065" y="19000"/>
                  </a:cubicBezTo>
                  <a:cubicBezTo>
                    <a:pt x="47623" y="23961"/>
                    <a:pt x="45639" y="19993"/>
                    <a:pt x="36710" y="19993"/>
                  </a:cubicBezTo>
                  <a:cubicBezTo>
                    <a:pt x="27780" y="19993"/>
                    <a:pt x="27780" y="19497"/>
                    <a:pt x="18355" y="19497"/>
                  </a:cubicBezTo>
                  <a:cubicBezTo>
                    <a:pt x="9426" y="19497"/>
                    <a:pt x="9426" y="19000"/>
                    <a:pt x="0" y="1900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FC515DB3-22BA-72B7-C5A9-99EC521764FC}"/>
                </a:ext>
              </a:extLst>
            </p:cNvPr>
            <p:cNvSpPr/>
            <p:nvPr/>
          </p:nvSpPr>
          <p:spPr>
            <a:xfrm>
              <a:off x="4596528" y="3268161"/>
              <a:ext cx="20339" cy="83837"/>
            </a:xfrm>
            <a:custGeom>
              <a:avLst/>
              <a:gdLst>
                <a:gd name="connsiteX0" fmla="*/ 20339 w 20339"/>
                <a:gd name="connsiteY0" fmla="*/ 0 h 83837"/>
                <a:gd name="connsiteX1" fmla="*/ 15874 w 20339"/>
                <a:gd name="connsiteY1" fmla="*/ 16867 h 83837"/>
                <a:gd name="connsiteX2" fmla="*/ 9922 w 20339"/>
                <a:gd name="connsiteY2" fmla="*/ 33237 h 83837"/>
                <a:gd name="connsiteX3" fmla="*/ 5953 w 20339"/>
                <a:gd name="connsiteY3" fmla="*/ 50104 h 83837"/>
                <a:gd name="connsiteX4" fmla="*/ 992 w 20339"/>
                <a:gd name="connsiteY4" fmla="*/ 66475 h 83837"/>
                <a:gd name="connsiteX5" fmla="*/ 0 w 20339"/>
                <a:gd name="connsiteY5" fmla="*/ 83837 h 8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39" h="83837">
                  <a:moveTo>
                    <a:pt x="20339" y="0"/>
                  </a:moveTo>
                  <a:cubicBezTo>
                    <a:pt x="17363" y="7937"/>
                    <a:pt x="19347" y="6945"/>
                    <a:pt x="15874" y="16867"/>
                  </a:cubicBezTo>
                  <a:cubicBezTo>
                    <a:pt x="14386" y="21828"/>
                    <a:pt x="11906" y="26788"/>
                    <a:pt x="9922" y="33237"/>
                  </a:cubicBezTo>
                  <a:cubicBezTo>
                    <a:pt x="8433" y="38694"/>
                    <a:pt x="7441" y="44151"/>
                    <a:pt x="5953" y="50104"/>
                  </a:cubicBezTo>
                  <a:cubicBezTo>
                    <a:pt x="4465" y="55561"/>
                    <a:pt x="1984" y="61018"/>
                    <a:pt x="992" y="66475"/>
                  </a:cubicBezTo>
                  <a:cubicBezTo>
                    <a:pt x="0" y="72428"/>
                    <a:pt x="0" y="78380"/>
                    <a:pt x="0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8C3F5107-61C4-EF00-138D-40E308C6F6C4}"/>
                </a:ext>
              </a:extLst>
            </p:cNvPr>
            <p:cNvSpPr/>
            <p:nvPr/>
          </p:nvSpPr>
          <p:spPr>
            <a:xfrm>
              <a:off x="4568251" y="3286020"/>
              <a:ext cx="3968" cy="65482"/>
            </a:xfrm>
            <a:custGeom>
              <a:avLst/>
              <a:gdLst>
                <a:gd name="connsiteX0" fmla="*/ 3969 w 3968"/>
                <a:gd name="connsiteY0" fmla="*/ 0 h 65482"/>
                <a:gd name="connsiteX1" fmla="*/ 1488 w 3968"/>
                <a:gd name="connsiteY1" fmla="*/ 16371 h 65482"/>
                <a:gd name="connsiteX2" fmla="*/ 496 w 3968"/>
                <a:gd name="connsiteY2" fmla="*/ 32741 h 65482"/>
                <a:gd name="connsiteX3" fmla="*/ 0 w 3968"/>
                <a:gd name="connsiteY3" fmla="*/ 49112 h 65482"/>
                <a:gd name="connsiteX4" fmla="*/ 1984 w 3968"/>
                <a:gd name="connsiteY4" fmla="*/ 65482 h 6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" h="65482">
                  <a:moveTo>
                    <a:pt x="3969" y="0"/>
                  </a:moveTo>
                  <a:cubicBezTo>
                    <a:pt x="2976" y="8433"/>
                    <a:pt x="2480" y="6449"/>
                    <a:pt x="1488" y="16371"/>
                  </a:cubicBezTo>
                  <a:cubicBezTo>
                    <a:pt x="992" y="21331"/>
                    <a:pt x="496" y="26788"/>
                    <a:pt x="496" y="32741"/>
                  </a:cubicBezTo>
                  <a:cubicBezTo>
                    <a:pt x="0" y="38198"/>
                    <a:pt x="0" y="43655"/>
                    <a:pt x="0" y="49112"/>
                  </a:cubicBezTo>
                  <a:cubicBezTo>
                    <a:pt x="0" y="54569"/>
                    <a:pt x="1984" y="60521"/>
                    <a:pt x="1984" y="6548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F6ED0FAA-6E0D-9388-07CE-13F435FE6936}"/>
                </a:ext>
              </a:extLst>
            </p:cNvPr>
            <p:cNvSpPr/>
            <p:nvPr/>
          </p:nvSpPr>
          <p:spPr>
            <a:xfrm>
              <a:off x="4613891" y="3184324"/>
              <a:ext cx="36038" cy="46135"/>
            </a:xfrm>
            <a:custGeom>
              <a:avLst/>
              <a:gdLst>
                <a:gd name="connsiteX0" fmla="*/ 0 w 36038"/>
                <a:gd name="connsiteY0" fmla="*/ 46135 h 46135"/>
                <a:gd name="connsiteX1" fmla="*/ 8929 w 36038"/>
                <a:gd name="connsiteY1" fmla="*/ 34229 h 46135"/>
                <a:gd name="connsiteX2" fmla="*/ 17363 w 36038"/>
                <a:gd name="connsiteY2" fmla="*/ 22324 h 46135"/>
                <a:gd name="connsiteX3" fmla="*/ 25300 w 36038"/>
                <a:gd name="connsiteY3" fmla="*/ 9922 h 46135"/>
                <a:gd name="connsiteX4" fmla="*/ 35717 w 36038"/>
                <a:gd name="connsiteY4" fmla="*/ 0 h 46135"/>
                <a:gd name="connsiteX5" fmla="*/ 33733 w 36038"/>
                <a:gd name="connsiteY5" fmla="*/ 14882 h 46135"/>
                <a:gd name="connsiteX6" fmla="*/ 30757 w 36038"/>
                <a:gd name="connsiteY6" fmla="*/ 30261 h 46135"/>
                <a:gd name="connsiteX7" fmla="*/ 26788 w 36038"/>
                <a:gd name="connsiteY7" fmla="*/ 45639 h 4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038" h="46135">
                  <a:moveTo>
                    <a:pt x="0" y="46135"/>
                  </a:moveTo>
                  <a:cubicBezTo>
                    <a:pt x="4465" y="40182"/>
                    <a:pt x="3969" y="41174"/>
                    <a:pt x="8929" y="34229"/>
                  </a:cubicBezTo>
                  <a:cubicBezTo>
                    <a:pt x="11410" y="30757"/>
                    <a:pt x="14386" y="26292"/>
                    <a:pt x="17363" y="22324"/>
                  </a:cubicBezTo>
                  <a:cubicBezTo>
                    <a:pt x="20339" y="18355"/>
                    <a:pt x="22324" y="13394"/>
                    <a:pt x="25300" y="9922"/>
                  </a:cubicBezTo>
                  <a:cubicBezTo>
                    <a:pt x="30261" y="3472"/>
                    <a:pt x="35221" y="0"/>
                    <a:pt x="35717" y="0"/>
                  </a:cubicBezTo>
                  <a:cubicBezTo>
                    <a:pt x="36710" y="496"/>
                    <a:pt x="35221" y="6945"/>
                    <a:pt x="33733" y="14882"/>
                  </a:cubicBezTo>
                  <a:cubicBezTo>
                    <a:pt x="32741" y="19843"/>
                    <a:pt x="31749" y="25300"/>
                    <a:pt x="30757" y="30261"/>
                  </a:cubicBezTo>
                  <a:cubicBezTo>
                    <a:pt x="28772" y="38694"/>
                    <a:pt x="28772" y="37702"/>
                    <a:pt x="26788" y="4563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782CAB37-70E5-F0BB-A501-2BA7557DA579}"/>
                </a:ext>
              </a:extLst>
            </p:cNvPr>
            <p:cNvSpPr/>
            <p:nvPr/>
          </p:nvSpPr>
          <p:spPr>
            <a:xfrm>
              <a:off x="4596940" y="3265680"/>
              <a:ext cx="39273" cy="59529"/>
            </a:xfrm>
            <a:custGeom>
              <a:avLst/>
              <a:gdLst>
                <a:gd name="connsiteX0" fmla="*/ 39274 w 39273"/>
                <a:gd name="connsiteY0" fmla="*/ 2977 h 59529"/>
                <a:gd name="connsiteX1" fmla="*/ 34809 w 39273"/>
                <a:gd name="connsiteY1" fmla="*/ 19843 h 59529"/>
                <a:gd name="connsiteX2" fmla="*/ 25880 w 39273"/>
                <a:gd name="connsiteY2" fmla="*/ 34725 h 59529"/>
                <a:gd name="connsiteX3" fmla="*/ 15462 w 39273"/>
                <a:gd name="connsiteY3" fmla="*/ 48616 h 59529"/>
                <a:gd name="connsiteX4" fmla="*/ 3556 w 39273"/>
                <a:gd name="connsiteY4" fmla="*/ 59529 h 59529"/>
                <a:gd name="connsiteX5" fmla="*/ 1572 w 39273"/>
                <a:gd name="connsiteY5" fmla="*/ 45143 h 59529"/>
                <a:gd name="connsiteX6" fmla="*/ 1076 w 39273"/>
                <a:gd name="connsiteY6" fmla="*/ 29765 h 59529"/>
                <a:gd name="connsiteX7" fmla="*/ 3060 w 39273"/>
                <a:gd name="connsiteY7" fmla="*/ 14386 h 59529"/>
                <a:gd name="connsiteX8" fmla="*/ 9013 w 39273"/>
                <a:gd name="connsiteY8" fmla="*/ 0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273" h="59529">
                  <a:moveTo>
                    <a:pt x="39274" y="2977"/>
                  </a:moveTo>
                  <a:cubicBezTo>
                    <a:pt x="36793" y="11410"/>
                    <a:pt x="39274" y="10418"/>
                    <a:pt x="34809" y="19843"/>
                  </a:cubicBezTo>
                  <a:cubicBezTo>
                    <a:pt x="32825" y="24804"/>
                    <a:pt x="29352" y="29765"/>
                    <a:pt x="25880" y="34725"/>
                  </a:cubicBezTo>
                  <a:cubicBezTo>
                    <a:pt x="22903" y="39686"/>
                    <a:pt x="19431" y="44151"/>
                    <a:pt x="15462" y="48616"/>
                  </a:cubicBezTo>
                  <a:cubicBezTo>
                    <a:pt x="11493" y="53080"/>
                    <a:pt x="8021" y="56057"/>
                    <a:pt x="3556" y="59529"/>
                  </a:cubicBezTo>
                  <a:cubicBezTo>
                    <a:pt x="-3389" y="56553"/>
                    <a:pt x="2068" y="54569"/>
                    <a:pt x="1572" y="45143"/>
                  </a:cubicBezTo>
                  <a:cubicBezTo>
                    <a:pt x="1076" y="40678"/>
                    <a:pt x="84" y="35222"/>
                    <a:pt x="1076" y="29765"/>
                  </a:cubicBezTo>
                  <a:cubicBezTo>
                    <a:pt x="1572" y="24804"/>
                    <a:pt x="1572" y="19843"/>
                    <a:pt x="3060" y="14386"/>
                  </a:cubicBezTo>
                  <a:cubicBezTo>
                    <a:pt x="4052" y="9426"/>
                    <a:pt x="6533" y="4961"/>
                    <a:pt x="901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F0088226-FA28-6D42-3A8B-9E63DB08D5B0}"/>
                </a:ext>
              </a:extLst>
            </p:cNvPr>
            <p:cNvSpPr/>
            <p:nvPr/>
          </p:nvSpPr>
          <p:spPr>
            <a:xfrm>
              <a:off x="4611410" y="3300644"/>
              <a:ext cx="66970" cy="79324"/>
            </a:xfrm>
            <a:custGeom>
              <a:avLst/>
              <a:gdLst>
                <a:gd name="connsiteX0" fmla="*/ 0 w 66970"/>
                <a:gd name="connsiteY0" fmla="*/ 50858 h 79324"/>
                <a:gd name="connsiteX1" fmla="*/ 8433 w 66970"/>
                <a:gd name="connsiteY1" fmla="*/ 37960 h 79324"/>
                <a:gd name="connsiteX2" fmla="*/ 18851 w 66970"/>
                <a:gd name="connsiteY2" fmla="*/ 27046 h 79324"/>
                <a:gd name="connsiteX3" fmla="*/ 30757 w 66970"/>
                <a:gd name="connsiteY3" fmla="*/ 18117 h 79324"/>
                <a:gd name="connsiteX4" fmla="*/ 45143 w 66970"/>
                <a:gd name="connsiteY4" fmla="*/ 20597 h 79324"/>
                <a:gd name="connsiteX5" fmla="*/ 53576 w 66970"/>
                <a:gd name="connsiteY5" fmla="*/ 33495 h 79324"/>
                <a:gd name="connsiteX6" fmla="*/ 55560 w 66970"/>
                <a:gd name="connsiteY6" fmla="*/ 48874 h 79324"/>
                <a:gd name="connsiteX7" fmla="*/ 57049 w 66970"/>
                <a:gd name="connsiteY7" fmla="*/ 64252 h 79324"/>
                <a:gd name="connsiteX8" fmla="*/ 59033 w 66970"/>
                <a:gd name="connsiteY8" fmla="*/ 79134 h 79324"/>
                <a:gd name="connsiteX9" fmla="*/ 63498 w 66970"/>
                <a:gd name="connsiteY9" fmla="*/ 62764 h 79324"/>
                <a:gd name="connsiteX10" fmla="*/ 64986 w 66970"/>
                <a:gd name="connsiteY10" fmla="*/ 45897 h 79324"/>
                <a:gd name="connsiteX11" fmla="*/ 66971 w 66970"/>
                <a:gd name="connsiteY11" fmla="*/ 29031 h 79324"/>
                <a:gd name="connsiteX12" fmla="*/ 64986 w 66970"/>
                <a:gd name="connsiteY12" fmla="*/ 12660 h 79324"/>
                <a:gd name="connsiteX13" fmla="*/ 54072 w 66970"/>
                <a:gd name="connsiteY13" fmla="*/ 258 h 79324"/>
                <a:gd name="connsiteX14" fmla="*/ 38198 w 66970"/>
                <a:gd name="connsiteY14" fmla="*/ 4227 h 7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6970" h="79324">
                  <a:moveTo>
                    <a:pt x="0" y="50858"/>
                  </a:moveTo>
                  <a:cubicBezTo>
                    <a:pt x="2976" y="45897"/>
                    <a:pt x="5953" y="41928"/>
                    <a:pt x="8433" y="37960"/>
                  </a:cubicBezTo>
                  <a:cubicBezTo>
                    <a:pt x="11906" y="32999"/>
                    <a:pt x="15874" y="30023"/>
                    <a:pt x="18851" y="27046"/>
                  </a:cubicBezTo>
                  <a:cubicBezTo>
                    <a:pt x="23315" y="22582"/>
                    <a:pt x="27284" y="19605"/>
                    <a:pt x="30757" y="18117"/>
                  </a:cubicBezTo>
                  <a:cubicBezTo>
                    <a:pt x="36710" y="15636"/>
                    <a:pt x="41670" y="17125"/>
                    <a:pt x="45143" y="20597"/>
                  </a:cubicBezTo>
                  <a:cubicBezTo>
                    <a:pt x="48119" y="23574"/>
                    <a:pt x="51592" y="28038"/>
                    <a:pt x="53576" y="33495"/>
                  </a:cubicBezTo>
                  <a:cubicBezTo>
                    <a:pt x="55065" y="37960"/>
                    <a:pt x="54569" y="43913"/>
                    <a:pt x="55560" y="48874"/>
                  </a:cubicBezTo>
                  <a:cubicBezTo>
                    <a:pt x="56553" y="54330"/>
                    <a:pt x="56553" y="59291"/>
                    <a:pt x="57049" y="64252"/>
                  </a:cubicBezTo>
                  <a:cubicBezTo>
                    <a:pt x="58041" y="73181"/>
                    <a:pt x="51592" y="80623"/>
                    <a:pt x="59033" y="79134"/>
                  </a:cubicBezTo>
                  <a:cubicBezTo>
                    <a:pt x="67466" y="78142"/>
                    <a:pt x="61018" y="72685"/>
                    <a:pt x="63498" y="62764"/>
                  </a:cubicBezTo>
                  <a:cubicBezTo>
                    <a:pt x="64490" y="57803"/>
                    <a:pt x="64490" y="51850"/>
                    <a:pt x="64986" y="45897"/>
                  </a:cubicBezTo>
                  <a:cubicBezTo>
                    <a:pt x="65482" y="40440"/>
                    <a:pt x="66971" y="34487"/>
                    <a:pt x="66971" y="29031"/>
                  </a:cubicBezTo>
                  <a:cubicBezTo>
                    <a:pt x="66971" y="23078"/>
                    <a:pt x="66474" y="17125"/>
                    <a:pt x="64986" y="12660"/>
                  </a:cubicBezTo>
                  <a:cubicBezTo>
                    <a:pt x="63002" y="6707"/>
                    <a:pt x="60025" y="1746"/>
                    <a:pt x="54072" y="258"/>
                  </a:cubicBezTo>
                  <a:cubicBezTo>
                    <a:pt x="50104" y="-734"/>
                    <a:pt x="44647" y="1250"/>
                    <a:pt x="38198" y="42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E996E2BD-C642-C1EC-EDDC-961A6CED5001}"/>
                </a:ext>
              </a:extLst>
            </p:cNvPr>
            <p:cNvSpPr/>
            <p:nvPr/>
          </p:nvSpPr>
          <p:spPr>
            <a:xfrm>
              <a:off x="4621332" y="3302345"/>
              <a:ext cx="50599" cy="36258"/>
            </a:xfrm>
            <a:custGeom>
              <a:avLst/>
              <a:gdLst>
                <a:gd name="connsiteX0" fmla="*/ 50600 w 50599"/>
                <a:gd name="connsiteY0" fmla="*/ 29810 h 36258"/>
                <a:gd name="connsiteX1" fmla="*/ 42167 w 50599"/>
                <a:gd name="connsiteY1" fmla="*/ 14431 h 36258"/>
                <a:gd name="connsiteX2" fmla="*/ 28772 w 50599"/>
                <a:gd name="connsiteY2" fmla="*/ 3022 h 36258"/>
                <a:gd name="connsiteX3" fmla="*/ 12402 w 50599"/>
                <a:gd name="connsiteY3" fmla="*/ 3022 h 36258"/>
                <a:gd name="connsiteX4" fmla="*/ 3969 w 50599"/>
                <a:gd name="connsiteY4" fmla="*/ 18896 h 36258"/>
                <a:gd name="connsiteX5" fmla="*/ 0 w 50599"/>
                <a:gd name="connsiteY5" fmla="*/ 36259 h 3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99" h="36258">
                  <a:moveTo>
                    <a:pt x="50600" y="29810"/>
                  </a:moveTo>
                  <a:cubicBezTo>
                    <a:pt x="46631" y="21872"/>
                    <a:pt x="47623" y="21872"/>
                    <a:pt x="42167" y="14431"/>
                  </a:cubicBezTo>
                  <a:cubicBezTo>
                    <a:pt x="38694" y="9471"/>
                    <a:pt x="33733" y="5998"/>
                    <a:pt x="28772" y="3022"/>
                  </a:cubicBezTo>
                  <a:cubicBezTo>
                    <a:pt x="23315" y="45"/>
                    <a:pt x="17859" y="-1939"/>
                    <a:pt x="12402" y="3022"/>
                  </a:cubicBezTo>
                  <a:cubicBezTo>
                    <a:pt x="9425" y="5998"/>
                    <a:pt x="6945" y="11455"/>
                    <a:pt x="3969" y="18896"/>
                  </a:cubicBezTo>
                  <a:cubicBezTo>
                    <a:pt x="2480" y="23361"/>
                    <a:pt x="1488" y="29314"/>
                    <a:pt x="0" y="3625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1A857153-B40C-F166-7ABC-E3164681C1F3}"/>
                </a:ext>
              </a:extLst>
            </p:cNvPr>
            <p:cNvSpPr/>
            <p:nvPr/>
          </p:nvSpPr>
          <p:spPr>
            <a:xfrm>
              <a:off x="4760900" y="3266177"/>
              <a:ext cx="64319" cy="83836"/>
            </a:xfrm>
            <a:custGeom>
              <a:avLst/>
              <a:gdLst>
                <a:gd name="connsiteX0" fmla="*/ 326 w 64319"/>
                <a:gd name="connsiteY0" fmla="*/ 0 h 83836"/>
                <a:gd name="connsiteX1" fmla="*/ 822 w 64319"/>
                <a:gd name="connsiteY1" fmla="*/ 16866 h 83836"/>
                <a:gd name="connsiteX2" fmla="*/ 5287 w 64319"/>
                <a:gd name="connsiteY2" fmla="*/ 33237 h 83836"/>
                <a:gd name="connsiteX3" fmla="*/ 11240 w 64319"/>
                <a:gd name="connsiteY3" fmla="*/ 48616 h 83836"/>
                <a:gd name="connsiteX4" fmla="*/ 18681 w 64319"/>
                <a:gd name="connsiteY4" fmla="*/ 63994 h 83836"/>
                <a:gd name="connsiteX5" fmla="*/ 31083 w 64319"/>
                <a:gd name="connsiteY5" fmla="*/ 75900 h 83836"/>
                <a:gd name="connsiteX6" fmla="*/ 47453 w 64319"/>
                <a:gd name="connsiteY6" fmla="*/ 80861 h 83836"/>
                <a:gd name="connsiteX7" fmla="*/ 64320 w 64319"/>
                <a:gd name="connsiteY7" fmla="*/ 83837 h 83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319" h="83836">
                  <a:moveTo>
                    <a:pt x="326" y="0"/>
                  </a:moveTo>
                  <a:cubicBezTo>
                    <a:pt x="-170" y="8433"/>
                    <a:pt x="-170" y="6945"/>
                    <a:pt x="822" y="16866"/>
                  </a:cubicBezTo>
                  <a:cubicBezTo>
                    <a:pt x="1318" y="21827"/>
                    <a:pt x="3798" y="27284"/>
                    <a:pt x="5287" y="33237"/>
                  </a:cubicBezTo>
                  <a:cubicBezTo>
                    <a:pt x="6775" y="38694"/>
                    <a:pt x="8759" y="43655"/>
                    <a:pt x="11240" y="48616"/>
                  </a:cubicBezTo>
                  <a:cubicBezTo>
                    <a:pt x="13720" y="53576"/>
                    <a:pt x="15208" y="59529"/>
                    <a:pt x="18681" y="63994"/>
                  </a:cubicBezTo>
                  <a:cubicBezTo>
                    <a:pt x="22153" y="68459"/>
                    <a:pt x="26122" y="72427"/>
                    <a:pt x="31083" y="75900"/>
                  </a:cubicBezTo>
                  <a:cubicBezTo>
                    <a:pt x="35547" y="78876"/>
                    <a:pt x="41500" y="79372"/>
                    <a:pt x="47453" y="80861"/>
                  </a:cubicBezTo>
                  <a:cubicBezTo>
                    <a:pt x="52414" y="82349"/>
                    <a:pt x="57871" y="83837"/>
                    <a:pt x="64320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8C7DEBDB-6FB4-F4EE-ABAB-CD7D02365EF4}"/>
                </a:ext>
              </a:extLst>
            </p:cNvPr>
            <p:cNvSpPr/>
            <p:nvPr/>
          </p:nvSpPr>
          <p:spPr>
            <a:xfrm>
              <a:off x="4810054" y="3348029"/>
              <a:ext cx="40465" cy="22181"/>
            </a:xfrm>
            <a:custGeom>
              <a:avLst/>
              <a:gdLst>
                <a:gd name="connsiteX0" fmla="*/ 283 w 40465"/>
                <a:gd name="connsiteY0" fmla="*/ 0 h 22181"/>
                <a:gd name="connsiteX1" fmla="*/ 6732 w 40465"/>
                <a:gd name="connsiteY1" fmla="*/ 16371 h 22181"/>
                <a:gd name="connsiteX2" fmla="*/ 23103 w 40465"/>
                <a:gd name="connsiteY2" fmla="*/ 21827 h 22181"/>
                <a:gd name="connsiteX3" fmla="*/ 40466 w 40465"/>
                <a:gd name="connsiteY3" fmla="*/ 15378 h 2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65" h="22181">
                  <a:moveTo>
                    <a:pt x="283" y="0"/>
                  </a:moveTo>
                  <a:cubicBezTo>
                    <a:pt x="-709" y="8929"/>
                    <a:pt x="779" y="10418"/>
                    <a:pt x="6732" y="16371"/>
                  </a:cubicBezTo>
                  <a:cubicBezTo>
                    <a:pt x="9709" y="19843"/>
                    <a:pt x="14670" y="23315"/>
                    <a:pt x="23103" y="21827"/>
                  </a:cubicBezTo>
                  <a:cubicBezTo>
                    <a:pt x="27568" y="20835"/>
                    <a:pt x="33521" y="18851"/>
                    <a:pt x="40466" y="1537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353C7774-CC09-4DD4-16F8-49EE83C4891C}"/>
                </a:ext>
              </a:extLst>
            </p:cNvPr>
            <p:cNvSpPr/>
            <p:nvPr/>
          </p:nvSpPr>
          <p:spPr>
            <a:xfrm>
              <a:off x="4797715" y="3366880"/>
              <a:ext cx="20559" cy="60025"/>
            </a:xfrm>
            <a:custGeom>
              <a:avLst/>
              <a:gdLst>
                <a:gd name="connsiteX0" fmla="*/ 20560 w 20559"/>
                <a:gd name="connsiteY0" fmla="*/ 0 h 60025"/>
                <a:gd name="connsiteX1" fmla="*/ 10142 w 20559"/>
                <a:gd name="connsiteY1" fmla="*/ 12402 h 60025"/>
                <a:gd name="connsiteX2" fmla="*/ 3693 w 20559"/>
                <a:gd name="connsiteY2" fmla="*/ 27284 h 60025"/>
                <a:gd name="connsiteX3" fmla="*/ 220 w 20559"/>
                <a:gd name="connsiteY3" fmla="*/ 43655 h 60025"/>
                <a:gd name="connsiteX4" fmla="*/ 220 w 20559"/>
                <a:gd name="connsiteY4" fmla="*/ 60025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59" h="60025">
                  <a:moveTo>
                    <a:pt x="20560" y="0"/>
                  </a:moveTo>
                  <a:cubicBezTo>
                    <a:pt x="13118" y="3473"/>
                    <a:pt x="15599" y="2976"/>
                    <a:pt x="10142" y="12402"/>
                  </a:cubicBezTo>
                  <a:cubicBezTo>
                    <a:pt x="7662" y="16371"/>
                    <a:pt x="5677" y="20835"/>
                    <a:pt x="3693" y="27284"/>
                  </a:cubicBezTo>
                  <a:cubicBezTo>
                    <a:pt x="2205" y="31749"/>
                    <a:pt x="1213" y="37206"/>
                    <a:pt x="220" y="43655"/>
                  </a:cubicBezTo>
                  <a:cubicBezTo>
                    <a:pt x="-276" y="48616"/>
                    <a:pt x="220" y="54072"/>
                    <a:pt x="220" y="600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AA9048FE-1C2E-833B-EBFD-C9D61CC38580}"/>
                </a:ext>
              </a:extLst>
            </p:cNvPr>
            <p:cNvSpPr/>
            <p:nvPr/>
          </p:nvSpPr>
          <p:spPr>
            <a:xfrm>
              <a:off x="4561306" y="3265680"/>
              <a:ext cx="27284" cy="63994"/>
            </a:xfrm>
            <a:custGeom>
              <a:avLst/>
              <a:gdLst>
                <a:gd name="connsiteX0" fmla="*/ 4961 w 27284"/>
                <a:gd name="connsiteY0" fmla="*/ 496 h 63994"/>
                <a:gd name="connsiteX1" fmla="*/ 992 w 27284"/>
                <a:gd name="connsiteY1" fmla="*/ 16371 h 63994"/>
                <a:gd name="connsiteX2" fmla="*/ 0 w 27284"/>
                <a:gd name="connsiteY2" fmla="*/ 32741 h 63994"/>
                <a:gd name="connsiteX3" fmla="*/ 1984 w 27284"/>
                <a:gd name="connsiteY3" fmla="*/ 48616 h 63994"/>
                <a:gd name="connsiteX4" fmla="*/ 8929 w 27284"/>
                <a:gd name="connsiteY4" fmla="*/ 63994 h 63994"/>
                <a:gd name="connsiteX5" fmla="*/ 18355 w 27284"/>
                <a:gd name="connsiteY5" fmla="*/ 49112 h 63994"/>
                <a:gd name="connsiteX6" fmla="*/ 23316 w 27284"/>
                <a:gd name="connsiteY6" fmla="*/ 33237 h 63994"/>
                <a:gd name="connsiteX7" fmla="*/ 26292 w 27284"/>
                <a:gd name="connsiteY7" fmla="*/ 16867 h 63994"/>
                <a:gd name="connsiteX8" fmla="*/ 27284 w 27284"/>
                <a:gd name="connsiteY8" fmla="*/ 0 h 6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84" h="63994">
                  <a:moveTo>
                    <a:pt x="4961" y="496"/>
                  </a:moveTo>
                  <a:cubicBezTo>
                    <a:pt x="3473" y="8433"/>
                    <a:pt x="1984" y="6945"/>
                    <a:pt x="992" y="16371"/>
                  </a:cubicBezTo>
                  <a:cubicBezTo>
                    <a:pt x="496" y="21331"/>
                    <a:pt x="0" y="26788"/>
                    <a:pt x="0" y="32741"/>
                  </a:cubicBezTo>
                  <a:cubicBezTo>
                    <a:pt x="0" y="38198"/>
                    <a:pt x="1488" y="43655"/>
                    <a:pt x="1984" y="48616"/>
                  </a:cubicBezTo>
                  <a:cubicBezTo>
                    <a:pt x="2977" y="54569"/>
                    <a:pt x="4961" y="61018"/>
                    <a:pt x="8929" y="63994"/>
                  </a:cubicBezTo>
                  <a:cubicBezTo>
                    <a:pt x="17363" y="62506"/>
                    <a:pt x="13890" y="59033"/>
                    <a:pt x="18355" y="49112"/>
                  </a:cubicBezTo>
                  <a:cubicBezTo>
                    <a:pt x="20339" y="45143"/>
                    <a:pt x="21828" y="39190"/>
                    <a:pt x="23316" y="33237"/>
                  </a:cubicBezTo>
                  <a:cubicBezTo>
                    <a:pt x="24804" y="28277"/>
                    <a:pt x="25796" y="22820"/>
                    <a:pt x="26292" y="16867"/>
                  </a:cubicBezTo>
                  <a:cubicBezTo>
                    <a:pt x="26788" y="11906"/>
                    <a:pt x="27284" y="5953"/>
                    <a:pt x="2728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9B3FA95E-E924-1FEB-027E-1A8045166930}"/>
                </a:ext>
              </a:extLst>
            </p:cNvPr>
            <p:cNvSpPr/>
            <p:nvPr/>
          </p:nvSpPr>
          <p:spPr>
            <a:xfrm>
              <a:off x="4569244" y="3169441"/>
              <a:ext cx="24307" cy="62009"/>
            </a:xfrm>
            <a:custGeom>
              <a:avLst/>
              <a:gdLst>
                <a:gd name="connsiteX0" fmla="*/ 0 w 24307"/>
                <a:gd name="connsiteY0" fmla="*/ 62010 h 62009"/>
                <a:gd name="connsiteX1" fmla="*/ 5953 w 24307"/>
                <a:gd name="connsiteY1" fmla="*/ 46631 h 62009"/>
                <a:gd name="connsiteX2" fmla="*/ 10913 w 24307"/>
                <a:gd name="connsiteY2" fmla="*/ 30757 h 62009"/>
                <a:gd name="connsiteX3" fmla="*/ 15378 w 24307"/>
                <a:gd name="connsiteY3" fmla="*/ 14882 h 62009"/>
                <a:gd name="connsiteX4" fmla="*/ 21827 w 24307"/>
                <a:gd name="connsiteY4" fmla="*/ 0 h 62009"/>
                <a:gd name="connsiteX5" fmla="*/ 23315 w 24307"/>
                <a:gd name="connsiteY5" fmla="*/ 14882 h 62009"/>
                <a:gd name="connsiteX6" fmla="*/ 23812 w 24307"/>
                <a:gd name="connsiteY6" fmla="*/ 29765 h 62009"/>
                <a:gd name="connsiteX7" fmla="*/ 24308 w 24307"/>
                <a:gd name="connsiteY7" fmla="*/ 44647 h 62009"/>
                <a:gd name="connsiteX8" fmla="*/ 22324 w 24307"/>
                <a:gd name="connsiteY8" fmla="*/ 59529 h 6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07" h="62009">
                  <a:moveTo>
                    <a:pt x="0" y="62010"/>
                  </a:moveTo>
                  <a:cubicBezTo>
                    <a:pt x="2480" y="54072"/>
                    <a:pt x="2976" y="55560"/>
                    <a:pt x="5953" y="46631"/>
                  </a:cubicBezTo>
                  <a:cubicBezTo>
                    <a:pt x="7441" y="41670"/>
                    <a:pt x="8929" y="36214"/>
                    <a:pt x="10913" y="30757"/>
                  </a:cubicBezTo>
                  <a:cubicBezTo>
                    <a:pt x="12898" y="25300"/>
                    <a:pt x="13890" y="19843"/>
                    <a:pt x="15378" y="14882"/>
                  </a:cubicBezTo>
                  <a:cubicBezTo>
                    <a:pt x="18355" y="5953"/>
                    <a:pt x="21331" y="0"/>
                    <a:pt x="21827" y="0"/>
                  </a:cubicBezTo>
                  <a:cubicBezTo>
                    <a:pt x="22324" y="0"/>
                    <a:pt x="22819" y="5953"/>
                    <a:pt x="23315" y="14882"/>
                  </a:cubicBezTo>
                  <a:cubicBezTo>
                    <a:pt x="23812" y="19347"/>
                    <a:pt x="23812" y="24804"/>
                    <a:pt x="23812" y="29765"/>
                  </a:cubicBezTo>
                  <a:cubicBezTo>
                    <a:pt x="23812" y="35221"/>
                    <a:pt x="24308" y="40182"/>
                    <a:pt x="24308" y="44647"/>
                  </a:cubicBezTo>
                  <a:cubicBezTo>
                    <a:pt x="24308" y="52088"/>
                    <a:pt x="22819" y="57545"/>
                    <a:pt x="22324" y="595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64" name="Graphic 10">
              <a:extLst>
                <a:ext uri="{FF2B5EF4-FFF2-40B4-BE49-F238E27FC236}">
                  <a16:creationId xmlns:a16="http://schemas.microsoft.com/office/drawing/2014/main" id="{609ACB1B-13AD-9128-CCD4-E68E4C2430A9}"/>
                </a:ext>
              </a:extLst>
            </p:cNvPr>
            <p:cNvGrpSpPr/>
            <p:nvPr/>
          </p:nvGrpSpPr>
          <p:grpSpPr>
            <a:xfrm>
              <a:off x="4522695" y="3096217"/>
              <a:ext cx="362894" cy="392835"/>
              <a:chOff x="4522695" y="3096217"/>
              <a:chExt cx="362894" cy="392835"/>
            </a:xfrm>
            <a:noFill/>
          </p:grpSpPr>
          <p:sp>
            <p:nvSpPr>
              <p:cNvPr id="1727" name="Freeform: Shape 1726">
                <a:extLst>
                  <a:ext uri="{FF2B5EF4-FFF2-40B4-BE49-F238E27FC236}">
                    <a16:creationId xmlns:a16="http://schemas.microsoft.com/office/drawing/2014/main" id="{9ACCF65D-6525-704B-58D4-87AF462FF824}"/>
                  </a:ext>
                </a:extLst>
              </p:cNvPr>
              <p:cNvSpPr/>
              <p:nvPr/>
            </p:nvSpPr>
            <p:spPr>
              <a:xfrm>
                <a:off x="4538444" y="3096217"/>
                <a:ext cx="333310" cy="334461"/>
              </a:xfrm>
              <a:custGeom>
                <a:avLst/>
                <a:gdLst>
                  <a:gd name="connsiteX0" fmla="*/ 330430 w 333310"/>
                  <a:gd name="connsiteY0" fmla="*/ 330192 h 334461"/>
                  <a:gd name="connsiteX1" fmla="*/ 314556 w 333310"/>
                  <a:gd name="connsiteY1" fmla="*/ 330688 h 334461"/>
                  <a:gd name="connsiteX2" fmla="*/ 298185 w 333310"/>
                  <a:gd name="connsiteY2" fmla="*/ 329696 h 334461"/>
                  <a:gd name="connsiteX3" fmla="*/ 281815 w 333310"/>
                  <a:gd name="connsiteY3" fmla="*/ 330192 h 334461"/>
                  <a:gd name="connsiteX4" fmla="*/ 265444 w 333310"/>
                  <a:gd name="connsiteY4" fmla="*/ 331185 h 334461"/>
                  <a:gd name="connsiteX5" fmla="*/ 249074 w 333310"/>
                  <a:gd name="connsiteY5" fmla="*/ 330192 h 334461"/>
                  <a:gd name="connsiteX6" fmla="*/ 232703 w 333310"/>
                  <a:gd name="connsiteY6" fmla="*/ 331185 h 334461"/>
                  <a:gd name="connsiteX7" fmla="*/ 216333 w 333310"/>
                  <a:gd name="connsiteY7" fmla="*/ 331680 h 334461"/>
                  <a:gd name="connsiteX8" fmla="*/ 199962 w 333310"/>
                  <a:gd name="connsiteY8" fmla="*/ 332176 h 334461"/>
                  <a:gd name="connsiteX9" fmla="*/ 183591 w 333310"/>
                  <a:gd name="connsiteY9" fmla="*/ 329696 h 334461"/>
                  <a:gd name="connsiteX10" fmla="*/ 167221 w 333310"/>
                  <a:gd name="connsiteY10" fmla="*/ 330192 h 334461"/>
                  <a:gd name="connsiteX11" fmla="*/ 150850 w 333310"/>
                  <a:gd name="connsiteY11" fmla="*/ 330192 h 334461"/>
                  <a:gd name="connsiteX12" fmla="*/ 134480 w 333310"/>
                  <a:gd name="connsiteY12" fmla="*/ 331185 h 334461"/>
                  <a:gd name="connsiteX13" fmla="*/ 118109 w 333310"/>
                  <a:gd name="connsiteY13" fmla="*/ 331680 h 334461"/>
                  <a:gd name="connsiteX14" fmla="*/ 101739 w 333310"/>
                  <a:gd name="connsiteY14" fmla="*/ 330192 h 334461"/>
                  <a:gd name="connsiteX15" fmla="*/ 85368 w 333310"/>
                  <a:gd name="connsiteY15" fmla="*/ 330192 h 334461"/>
                  <a:gd name="connsiteX16" fmla="*/ 68997 w 333310"/>
                  <a:gd name="connsiteY16" fmla="*/ 331680 h 334461"/>
                  <a:gd name="connsiteX17" fmla="*/ 52627 w 333310"/>
                  <a:gd name="connsiteY17" fmla="*/ 330688 h 334461"/>
                  <a:gd name="connsiteX18" fmla="*/ 36256 w 333310"/>
                  <a:gd name="connsiteY18" fmla="*/ 331185 h 334461"/>
                  <a:gd name="connsiteX19" fmla="*/ 19886 w 333310"/>
                  <a:gd name="connsiteY19" fmla="*/ 332176 h 334461"/>
                  <a:gd name="connsiteX20" fmla="*/ 2523 w 333310"/>
                  <a:gd name="connsiteY20" fmla="*/ 331680 h 334461"/>
                  <a:gd name="connsiteX21" fmla="*/ 3019 w 333310"/>
                  <a:gd name="connsiteY21" fmla="*/ 314318 h 334461"/>
                  <a:gd name="connsiteX22" fmla="*/ 4011 w 333310"/>
                  <a:gd name="connsiteY22" fmla="*/ 297947 h 334461"/>
                  <a:gd name="connsiteX23" fmla="*/ 3019 w 333310"/>
                  <a:gd name="connsiteY23" fmla="*/ 281577 h 334461"/>
                  <a:gd name="connsiteX24" fmla="*/ 4011 w 333310"/>
                  <a:gd name="connsiteY24" fmla="*/ 265206 h 334461"/>
                  <a:gd name="connsiteX25" fmla="*/ 2523 w 333310"/>
                  <a:gd name="connsiteY25" fmla="*/ 248835 h 334461"/>
                  <a:gd name="connsiteX26" fmla="*/ 3515 w 333310"/>
                  <a:gd name="connsiteY26" fmla="*/ 232465 h 334461"/>
                  <a:gd name="connsiteX27" fmla="*/ 3515 w 333310"/>
                  <a:gd name="connsiteY27" fmla="*/ 216094 h 334461"/>
                  <a:gd name="connsiteX28" fmla="*/ 3019 w 333310"/>
                  <a:gd name="connsiteY28" fmla="*/ 199724 h 334461"/>
                  <a:gd name="connsiteX29" fmla="*/ 2523 w 333310"/>
                  <a:gd name="connsiteY29" fmla="*/ 183353 h 334461"/>
                  <a:gd name="connsiteX30" fmla="*/ 4011 w 333310"/>
                  <a:gd name="connsiteY30" fmla="*/ 166983 h 334461"/>
                  <a:gd name="connsiteX31" fmla="*/ 3515 w 333310"/>
                  <a:gd name="connsiteY31" fmla="*/ 150612 h 334461"/>
                  <a:gd name="connsiteX32" fmla="*/ 4011 w 333310"/>
                  <a:gd name="connsiteY32" fmla="*/ 134242 h 334461"/>
                  <a:gd name="connsiteX33" fmla="*/ 2523 w 333310"/>
                  <a:gd name="connsiteY33" fmla="*/ 117871 h 334461"/>
                  <a:gd name="connsiteX34" fmla="*/ 2523 w 333310"/>
                  <a:gd name="connsiteY34" fmla="*/ 101500 h 334461"/>
                  <a:gd name="connsiteX35" fmla="*/ 2027 w 333310"/>
                  <a:gd name="connsiteY35" fmla="*/ 85130 h 334461"/>
                  <a:gd name="connsiteX36" fmla="*/ 3515 w 333310"/>
                  <a:gd name="connsiteY36" fmla="*/ 68759 h 334461"/>
                  <a:gd name="connsiteX37" fmla="*/ 3515 w 333310"/>
                  <a:gd name="connsiteY37" fmla="*/ 52389 h 334461"/>
                  <a:gd name="connsiteX38" fmla="*/ 4011 w 333310"/>
                  <a:gd name="connsiteY38" fmla="*/ 36018 h 334461"/>
                  <a:gd name="connsiteX39" fmla="*/ 3515 w 333310"/>
                  <a:gd name="connsiteY39" fmla="*/ 19647 h 334461"/>
                  <a:gd name="connsiteX40" fmla="*/ 2523 w 333310"/>
                  <a:gd name="connsiteY40" fmla="*/ 2781 h 334461"/>
                  <a:gd name="connsiteX41" fmla="*/ 19390 w 333310"/>
                  <a:gd name="connsiteY41" fmla="*/ 2285 h 334461"/>
                  <a:gd name="connsiteX42" fmla="*/ 35760 w 333310"/>
                  <a:gd name="connsiteY42" fmla="*/ 2285 h 334461"/>
                  <a:gd name="connsiteX43" fmla="*/ 52131 w 333310"/>
                  <a:gd name="connsiteY43" fmla="*/ 2285 h 334461"/>
                  <a:gd name="connsiteX44" fmla="*/ 68501 w 333310"/>
                  <a:gd name="connsiteY44" fmla="*/ 4269 h 334461"/>
                  <a:gd name="connsiteX45" fmla="*/ 84872 w 333310"/>
                  <a:gd name="connsiteY45" fmla="*/ 3277 h 334461"/>
                  <a:gd name="connsiteX46" fmla="*/ 101242 w 333310"/>
                  <a:gd name="connsiteY46" fmla="*/ 3277 h 334461"/>
                  <a:gd name="connsiteX47" fmla="*/ 117613 w 333310"/>
                  <a:gd name="connsiteY47" fmla="*/ 4269 h 334461"/>
                  <a:gd name="connsiteX48" fmla="*/ 133984 w 333310"/>
                  <a:gd name="connsiteY48" fmla="*/ 2285 h 334461"/>
                  <a:gd name="connsiteX49" fmla="*/ 150354 w 333310"/>
                  <a:gd name="connsiteY49" fmla="*/ 3277 h 334461"/>
                  <a:gd name="connsiteX50" fmla="*/ 166725 w 333310"/>
                  <a:gd name="connsiteY50" fmla="*/ 4269 h 334461"/>
                  <a:gd name="connsiteX51" fmla="*/ 183095 w 333310"/>
                  <a:gd name="connsiteY51" fmla="*/ 2285 h 334461"/>
                  <a:gd name="connsiteX52" fmla="*/ 199466 w 333310"/>
                  <a:gd name="connsiteY52" fmla="*/ 2285 h 334461"/>
                  <a:gd name="connsiteX53" fmla="*/ 215837 w 333310"/>
                  <a:gd name="connsiteY53" fmla="*/ 3277 h 334461"/>
                  <a:gd name="connsiteX54" fmla="*/ 232207 w 333310"/>
                  <a:gd name="connsiteY54" fmla="*/ 4269 h 334461"/>
                  <a:gd name="connsiteX55" fmla="*/ 248578 w 333310"/>
                  <a:gd name="connsiteY55" fmla="*/ 3277 h 334461"/>
                  <a:gd name="connsiteX56" fmla="*/ 264948 w 333310"/>
                  <a:gd name="connsiteY56" fmla="*/ 3773 h 334461"/>
                  <a:gd name="connsiteX57" fmla="*/ 281319 w 333310"/>
                  <a:gd name="connsiteY57" fmla="*/ 3277 h 334461"/>
                  <a:gd name="connsiteX58" fmla="*/ 297689 w 333310"/>
                  <a:gd name="connsiteY58" fmla="*/ 4269 h 334461"/>
                  <a:gd name="connsiteX59" fmla="*/ 314060 w 333310"/>
                  <a:gd name="connsiteY59" fmla="*/ 2285 h 334461"/>
                  <a:gd name="connsiteX60" fmla="*/ 330927 w 333310"/>
                  <a:gd name="connsiteY60" fmla="*/ 3277 h 334461"/>
                  <a:gd name="connsiteX61" fmla="*/ 329438 w 333310"/>
                  <a:gd name="connsiteY61" fmla="*/ 20144 h 334461"/>
                  <a:gd name="connsiteX62" fmla="*/ 330927 w 333310"/>
                  <a:gd name="connsiteY62" fmla="*/ 36514 h 334461"/>
                  <a:gd name="connsiteX63" fmla="*/ 331919 w 333310"/>
                  <a:gd name="connsiteY63" fmla="*/ 52885 h 334461"/>
                  <a:gd name="connsiteX64" fmla="*/ 330430 w 333310"/>
                  <a:gd name="connsiteY64" fmla="*/ 69255 h 334461"/>
                  <a:gd name="connsiteX65" fmla="*/ 329438 w 333310"/>
                  <a:gd name="connsiteY65" fmla="*/ 85626 h 334461"/>
                  <a:gd name="connsiteX66" fmla="*/ 331919 w 333310"/>
                  <a:gd name="connsiteY66" fmla="*/ 101996 h 334461"/>
                  <a:gd name="connsiteX67" fmla="*/ 330430 w 333310"/>
                  <a:gd name="connsiteY67" fmla="*/ 118367 h 334461"/>
                  <a:gd name="connsiteX68" fmla="*/ 330430 w 333310"/>
                  <a:gd name="connsiteY68" fmla="*/ 134737 h 334461"/>
                  <a:gd name="connsiteX69" fmla="*/ 329438 w 333310"/>
                  <a:gd name="connsiteY69" fmla="*/ 151108 h 334461"/>
                  <a:gd name="connsiteX70" fmla="*/ 329438 w 333310"/>
                  <a:gd name="connsiteY70" fmla="*/ 167479 h 334461"/>
                  <a:gd name="connsiteX71" fmla="*/ 330430 w 333310"/>
                  <a:gd name="connsiteY71" fmla="*/ 183849 h 334461"/>
                  <a:gd name="connsiteX72" fmla="*/ 329438 w 333310"/>
                  <a:gd name="connsiteY72" fmla="*/ 200220 h 334461"/>
                  <a:gd name="connsiteX73" fmla="*/ 331423 w 333310"/>
                  <a:gd name="connsiteY73" fmla="*/ 216590 h 334461"/>
                  <a:gd name="connsiteX74" fmla="*/ 331423 w 333310"/>
                  <a:gd name="connsiteY74" fmla="*/ 232961 h 334461"/>
                  <a:gd name="connsiteX75" fmla="*/ 329934 w 333310"/>
                  <a:gd name="connsiteY75" fmla="*/ 249332 h 334461"/>
                  <a:gd name="connsiteX76" fmla="*/ 331919 w 333310"/>
                  <a:gd name="connsiteY76" fmla="*/ 265702 h 334461"/>
                  <a:gd name="connsiteX77" fmla="*/ 329934 w 333310"/>
                  <a:gd name="connsiteY77" fmla="*/ 282073 h 334461"/>
                  <a:gd name="connsiteX78" fmla="*/ 331423 w 333310"/>
                  <a:gd name="connsiteY78" fmla="*/ 298443 h 334461"/>
                  <a:gd name="connsiteX79" fmla="*/ 330430 w 333310"/>
                  <a:gd name="connsiteY79" fmla="*/ 315310 h 334461"/>
                  <a:gd name="connsiteX80" fmla="*/ 330430 w 333310"/>
                  <a:gd name="connsiteY80" fmla="*/ 330192 h 33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3310" h="334461">
                    <a:moveTo>
                      <a:pt x="330430" y="330192"/>
                    </a:moveTo>
                    <a:cubicBezTo>
                      <a:pt x="324477" y="336145"/>
                      <a:pt x="322493" y="330688"/>
                      <a:pt x="314556" y="330688"/>
                    </a:cubicBezTo>
                    <a:cubicBezTo>
                      <a:pt x="306123" y="330688"/>
                      <a:pt x="306123" y="329696"/>
                      <a:pt x="298185" y="329696"/>
                    </a:cubicBezTo>
                    <a:cubicBezTo>
                      <a:pt x="289752" y="329696"/>
                      <a:pt x="289752" y="330192"/>
                      <a:pt x="281815" y="330192"/>
                    </a:cubicBezTo>
                    <a:cubicBezTo>
                      <a:pt x="273381" y="330192"/>
                      <a:pt x="273381" y="331185"/>
                      <a:pt x="265444" y="331185"/>
                    </a:cubicBezTo>
                    <a:cubicBezTo>
                      <a:pt x="257011" y="331185"/>
                      <a:pt x="257011" y="330192"/>
                      <a:pt x="249074" y="330192"/>
                    </a:cubicBezTo>
                    <a:cubicBezTo>
                      <a:pt x="240640" y="330192"/>
                      <a:pt x="240640" y="331185"/>
                      <a:pt x="232703" y="331185"/>
                    </a:cubicBezTo>
                    <a:cubicBezTo>
                      <a:pt x="224270" y="331185"/>
                      <a:pt x="224270" y="331680"/>
                      <a:pt x="216333" y="331680"/>
                    </a:cubicBezTo>
                    <a:cubicBezTo>
                      <a:pt x="207899" y="331680"/>
                      <a:pt x="207899" y="332176"/>
                      <a:pt x="199962" y="332176"/>
                    </a:cubicBezTo>
                    <a:cubicBezTo>
                      <a:pt x="191529" y="332176"/>
                      <a:pt x="191529" y="329696"/>
                      <a:pt x="183591" y="329696"/>
                    </a:cubicBezTo>
                    <a:cubicBezTo>
                      <a:pt x="175158" y="329696"/>
                      <a:pt x="175158" y="330192"/>
                      <a:pt x="167221" y="330192"/>
                    </a:cubicBezTo>
                    <a:cubicBezTo>
                      <a:pt x="158788" y="330192"/>
                      <a:pt x="158788" y="330192"/>
                      <a:pt x="150850" y="330192"/>
                    </a:cubicBezTo>
                    <a:cubicBezTo>
                      <a:pt x="142417" y="330192"/>
                      <a:pt x="142417" y="331185"/>
                      <a:pt x="134480" y="331185"/>
                    </a:cubicBezTo>
                    <a:cubicBezTo>
                      <a:pt x="126046" y="331185"/>
                      <a:pt x="126046" y="331680"/>
                      <a:pt x="118109" y="331680"/>
                    </a:cubicBezTo>
                    <a:cubicBezTo>
                      <a:pt x="110172" y="331680"/>
                      <a:pt x="109676" y="330192"/>
                      <a:pt x="101739" y="330192"/>
                    </a:cubicBezTo>
                    <a:cubicBezTo>
                      <a:pt x="93305" y="330192"/>
                      <a:pt x="93305" y="330192"/>
                      <a:pt x="85368" y="330192"/>
                    </a:cubicBezTo>
                    <a:cubicBezTo>
                      <a:pt x="76935" y="330192"/>
                      <a:pt x="76935" y="331680"/>
                      <a:pt x="68997" y="331680"/>
                    </a:cubicBezTo>
                    <a:cubicBezTo>
                      <a:pt x="60564" y="331680"/>
                      <a:pt x="60564" y="330688"/>
                      <a:pt x="52627" y="330688"/>
                    </a:cubicBezTo>
                    <a:cubicBezTo>
                      <a:pt x="44193" y="330688"/>
                      <a:pt x="44193" y="331185"/>
                      <a:pt x="36256" y="331185"/>
                    </a:cubicBezTo>
                    <a:cubicBezTo>
                      <a:pt x="27823" y="331185"/>
                      <a:pt x="27823" y="332176"/>
                      <a:pt x="19886" y="332176"/>
                    </a:cubicBezTo>
                    <a:cubicBezTo>
                      <a:pt x="11948" y="332176"/>
                      <a:pt x="8476" y="337633"/>
                      <a:pt x="2523" y="331680"/>
                    </a:cubicBezTo>
                    <a:cubicBezTo>
                      <a:pt x="-3430" y="325727"/>
                      <a:pt x="3019" y="322751"/>
                      <a:pt x="3019" y="314318"/>
                    </a:cubicBezTo>
                    <a:cubicBezTo>
                      <a:pt x="3019" y="305884"/>
                      <a:pt x="4011" y="305884"/>
                      <a:pt x="4011" y="297947"/>
                    </a:cubicBezTo>
                    <a:cubicBezTo>
                      <a:pt x="4011" y="289514"/>
                      <a:pt x="3019" y="289514"/>
                      <a:pt x="3019" y="281577"/>
                    </a:cubicBezTo>
                    <a:cubicBezTo>
                      <a:pt x="3019" y="273143"/>
                      <a:pt x="4011" y="273143"/>
                      <a:pt x="4011" y="265206"/>
                    </a:cubicBezTo>
                    <a:cubicBezTo>
                      <a:pt x="4011" y="256773"/>
                      <a:pt x="2523" y="256773"/>
                      <a:pt x="2523" y="248835"/>
                    </a:cubicBezTo>
                    <a:cubicBezTo>
                      <a:pt x="2523" y="240402"/>
                      <a:pt x="3515" y="240402"/>
                      <a:pt x="3515" y="232465"/>
                    </a:cubicBezTo>
                    <a:cubicBezTo>
                      <a:pt x="3515" y="224031"/>
                      <a:pt x="3515" y="224031"/>
                      <a:pt x="3515" y="216094"/>
                    </a:cubicBezTo>
                    <a:cubicBezTo>
                      <a:pt x="3515" y="207661"/>
                      <a:pt x="3019" y="207661"/>
                      <a:pt x="3019" y="199724"/>
                    </a:cubicBezTo>
                    <a:cubicBezTo>
                      <a:pt x="3019" y="191290"/>
                      <a:pt x="2523" y="191290"/>
                      <a:pt x="2523" y="183353"/>
                    </a:cubicBezTo>
                    <a:cubicBezTo>
                      <a:pt x="2523" y="174920"/>
                      <a:pt x="4011" y="174920"/>
                      <a:pt x="4011" y="166983"/>
                    </a:cubicBezTo>
                    <a:cubicBezTo>
                      <a:pt x="4011" y="158549"/>
                      <a:pt x="3515" y="158549"/>
                      <a:pt x="3515" y="150612"/>
                    </a:cubicBezTo>
                    <a:cubicBezTo>
                      <a:pt x="3515" y="142179"/>
                      <a:pt x="4011" y="142179"/>
                      <a:pt x="4011" y="134242"/>
                    </a:cubicBezTo>
                    <a:cubicBezTo>
                      <a:pt x="4011" y="125808"/>
                      <a:pt x="2523" y="125808"/>
                      <a:pt x="2523" y="117871"/>
                    </a:cubicBezTo>
                    <a:cubicBezTo>
                      <a:pt x="2523" y="109934"/>
                      <a:pt x="2523" y="109438"/>
                      <a:pt x="2523" y="101500"/>
                    </a:cubicBezTo>
                    <a:cubicBezTo>
                      <a:pt x="2523" y="93067"/>
                      <a:pt x="2027" y="93067"/>
                      <a:pt x="2027" y="85130"/>
                    </a:cubicBezTo>
                    <a:cubicBezTo>
                      <a:pt x="2027" y="76696"/>
                      <a:pt x="3515" y="76696"/>
                      <a:pt x="3515" y="68759"/>
                    </a:cubicBezTo>
                    <a:cubicBezTo>
                      <a:pt x="3515" y="60326"/>
                      <a:pt x="3515" y="60326"/>
                      <a:pt x="3515" y="52389"/>
                    </a:cubicBezTo>
                    <a:cubicBezTo>
                      <a:pt x="3515" y="43955"/>
                      <a:pt x="4011" y="43955"/>
                      <a:pt x="4011" y="36018"/>
                    </a:cubicBezTo>
                    <a:cubicBezTo>
                      <a:pt x="4011" y="27585"/>
                      <a:pt x="3515" y="27585"/>
                      <a:pt x="3515" y="19647"/>
                    </a:cubicBezTo>
                    <a:cubicBezTo>
                      <a:pt x="3515" y="11710"/>
                      <a:pt x="-2934" y="8734"/>
                      <a:pt x="2523" y="2781"/>
                    </a:cubicBezTo>
                    <a:cubicBezTo>
                      <a:pt x="8476" y="-3172"/>
                      <a:pt x="11452" y="2285"/>
                      <a:pt x="19390" y="2285"/>
                    </a:cubicBezTo>
                    <a:cubicBezTo>
                      <a:pt x="27823" y="2285"/>
                      <a:pt x="27823" y="2285"/>
                      <a:pt x="35760" y="2285"/>
                    </a:cubicBezTo>
                    <a:cubicBezTo>
                      <a:pt x="44193" y="2285"/>
                      <a:pt x="44193" y="2285"/>
                      <a:pt x="52131" y="2285"/>
                    </a:cubicBezTo>
                    <a:cubicBezTo>
                      <a:pt x="60564" y="2285"/>
                      <a:pt x="60564" y="4269"/>
                      <a:pt x="68501" y="4269"/>
                    </a:cubicBezTo>
                    <a:cubicBezTo>
                      <a:pt x="76935" y="4269"/>
                      <a:pt x="76935" y="3277"/>
                      <a:pt x="84872" y="3277"/>
                    </a:cubicBezTo>
                    <a:cubicBezTo>
                      <a:pt x="93305" y="3277"/>
                      <a:pt x="93305" y="3277"/>
                      <a:pt x="101242" y="3277"/>
                    </a:cubicBezTo>
                    <a:cubicBezTo>
                      <a:pt x="109676" y="3277"/>
                      <a:pt x="109676" y="4269"/>
                      <a:pt x="117613" y="4269"/>
                    </a:cubicBezTo>
                    <a:cubicBezTo>
                      <a:pt x="126046" y="4269"/>
                      <a:pt x="126046" y="2285"/>
                      <a:pt x="133984" y="2285"/>
                    </a:cubicBezTo>
                    <a:cubicBezTo>
                      <a:pt x="142417" y="2285"/>
                      <a:pt x="142417" y="3277"/>
                      <a:pt x="150354" y="3277"/>
                    </a:cubicBezTo>
                    <a:cubicBezTo>
                      <a:pt x="158788" y="3277"/>
                      <a:pt x="158788" y="4269"/>
                      <a:pt x="166725" y="4269"/>
                    </a:cubicBezTo>
                    <a:cubicBezTo>
                      <a:pt x="175158" y="4269"/>
                      <a:pt x="175158" y="2285"/>
                      <a:pt x="183095" y="2285"/>
                    </a:cubicBezTo>
                    <a:cubicBezTo>
                      <a:pt x="191529" y="2285"/>
                      <a:pt x="191529" y="2285"/>
                      <a:pt x="199466" y="2285"/>
                    </a:cubicBezTo>
                    <a:cubicBezTo>
                      <a:pt x="207899" y="2285"/>
                      <a:pt x="207899" y="3277"/>
                      <a:pt x="215837" y="3277"/>
                    </a:cubicBezTo>
                    <a:cubicBezTo>
                      <a:pt x="223774" y="3277"/>
                      <a:pt x="224270" y="4269"/>
                      <a:pt x="232207" y="4269"/>
                    </a:cubicBezTo>
                    <a:cubicBezTo>
                      <a:pt x="240640" y="4269"/>
                      <a:pt x="240640" y="3277"/>
                      <a:pt x="248578" y="3277"/>
                    </a:cubicBezTo>
                    <a:cubicBezTo>
                      <a:pt x="257011" y="3277"/>
                      <a:pt x="257011" y="3773"/>
                      <a:pt x="264948" y="3773"/>
                    </a:cubicBezTo>
                    <a:cubicBezTo>
                      <a:pt x="273381" y="3773"/>
                      <a:pt x="273381" y="3277"/>
                      <a:pt x="281319" y="3277"/>
                    </a:cubicBezTo>
                    <a:cubicBezTo>
                      <a:pt x="289752" y="3277"/>
                      <a:pt x="289752" y="4269"/>
                      <a:pt x="297689" y="4269"/>
                    </a:cubicBezTo>
                    <a:cubicBezTo>
                      <a:pt x="306123" y="4269"/>
                      <a:pt x="306123" y="2285"/>
                      <a:pt x="314060" y="2285"/>
                    </a:cubicBezTo>
                    <a:cubicBezTo>
                      <a:pt x="321997" y="2285"/>
                      <a:pt x="324974" y="-2676"/>
                      <a:pt x="330927" y="3277"/>
                    </a:cubicBezTo>
                    <a:cubicBezTo>
                      <a:pt x="336879" y="9230"/>
                      <a:pt x="329438" y="11710"/>
                      <a:pt x="329438" y="20144"/>
                    </a:cubicBezTo>
                    <a:cubicBezTo>
                      <a:pt x="329438" y="28577"/>
                      <a:pt x="330927" y="28577"/>
                      <a:pt x="330927" y="36514"/>
                    </a:cubicBezTo>
                    <a:cubicBezTo>
                      <a:pt x="330927" y="44947"/>
                      <a:pt x="331919" y="44947"/>
                      <a:pt x="331919" y="52885"/>
                    </a:cubicBezTo>
                    <a:cubicBezTo>
                      <a:pt x="331919" y="61318"/>
                      <a:pt x="330430" y="61318"/>
                      <a:pt x="330430" y="69255"/>
                    </a:cubicBezTo>
                    <a:cubicBezTo>
                      <a:pt x="330430" y="77689"/>
                      <a:pt x="329438" y="77689"/>
                      <a:pt x="329438" y="85626"/>
                    </a:cubicBezTo>
                    <a:cubicBezTo>
                      <a:pt x="329438" y="94059"/>
                      <a:pt x="331919" y="94059"/>
                      <a:pt x="331919" y="101996"/>
                    </a:cubicBezTo>
                    <a:cubicBezTo>
                      <a:pt x="331919" y="110430"/>
                      <a:pt x="330430" y="110430"/>
                      <a:pt x="330430" y="118367"/>
                    </a:cubicBezTo>
                    <a:cubicBezTo>
                      <a:pt x="330430" y="126800"/>
                      <a:pt x="330430" y="126800"/>
                      <a:pt x="330430" y="134737"/>
                    </a:cubicBezTo>
                    <a:cubicBezTo>
                      <a:pt x="330430" y="143171"/>
                      <a:pt x="329438" y="143171"/>
                      <a:pt x="329438" y="151108"/>
                    </a:cubicBezTo>
                    <a:cubicBezTo>
                      <a:pt x="329438" y="159541"/>
                      <a:pt x="329438" y="159541"/>
                      <a:pt x="329438" y="167479"/>
                    </a:cubicBezTo>
                    <a:cubicBezTo>
                      <a:pt x="329438" y="175912"/>
                      <a:pt x="330430" y="175912"/>
                      <a:pt x="330430" y="183849"/>
                    </a:cubicBezTo>
                    <a:cubicBezTo>
                      <a:pt x="330430" y="192283"/>
                      <a:pt x="329438" y="192283"/>
                      <a:pt x="329438" y="200220"/>
                    </a:cubicBezTo>
                    <a:cubicBezTo>
                      <a:pt x="329438" y="208653"/>
                      <a:pt x="331423" y="208653"/>
                      <a:pt x="331423" y="216590"/>
                    </a:cubicBezTo>
                    <a:cubicBezTo>
                      <a:pt x="331423" y="224528"/>
                      <a:pt x="331423" y="225024"/>
                      <a:pt x="331423" y="232961"/>
                    </a:cubicBezTo>
                    <a:cubicBezTo>
                      <a:pt x="331423" y="241394"/>
                      <a:pt x="329934" y="241394"/>
                      <a:pt x="329934" y="249332"/>
                    </a:cubicBezTo>
                    <a:cubicBezTo>
                      <a:pt x="329934" y="257765"/>
                      <a:pt x="331919" y="257765"/>
                      <a:pt x="331919" y="265702"/>
                    </a:cubicBezTo>
                    <a:cubicBezTo>
                      <a:pt x="331919" y="274136"/>
                      <a:pt x="329934" y="274136"/>
                      <a:pt x="329934" y="282073"/>
                    </a:cubicBezTo>
                    <a:cubicBezTo>
                      <a:pt x="329934" y="290506"/>
                      <a:pt x="331423" y="290506"/>
                      <a:pt x="331423" y="298443"/>
                    </a:cubicBezTo>
                    <a:cubicBezTo>
                      <a:pt x="331423" y="306877"/>
                      <a:pt x="328446" y="306877"/>
                      <a:pt x="330430" y="315310"/>
                    </a:cubicBezTo>
                    <a:cubicBezTo>
                      <a:pt x="331423" y="322751"/>
                      <a:pt x="336383" y="324735"/>
                      <a:pt x="330430" y="33019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8" name="Freeform: Shape 1727">
                <a:extLst>
                  <a:ext uri="{FF2B5EF4-FFF2-40B4-BE49-F238E27FC236}">
                    <a16:creationId xmlns:a16="http://schemas.microsoft.com/office/drawing/2014/main" id="{F95F51E4-EA84-C320-27E5-9492EB56DB7C}"/>
                  </a:ext>
                </a:extLst>
              </p:cNvPr>
              <p:cNvSpPr/>
              <p:nvPr/>
            </p:nvSpPr>
            <p:spPr>
              <a:xfrm>
                <a:off x="4552076" y="3227813"/>
                <a:ext cx="300782" cy="41505"/>
              </a:xfrm>
              <a:custGeom>
                <a:avLst/>
                <a:gdLst>
                  <a:gd name="connsiteX0" fmla="*/ 297947 w 300782"/>
                  <a:gd name="connsiteY0" fmla="*/ 38363 h 41505"/>
                  <a:gd name="connsiteX1" fmla="*/ 281577 w 300782"/>
                  <a:gd name="connsiteY1" fmla="*/ 37867 h 41505"/>
                  <a:gd name="connsiteX2" fmla="*/ 265206 w 300782"/>
                  <a:gd name="connsiteY2" fmla="*/ 37867 h 41505"/>
                  <a:gd name="connsiteX3" fmla="*/ 248835 w 300782"/>
                  <a:gd name="connsiteY3" fmla="*/ 37867 h 41505"/>
                  <a:gd name="connsiteX4" fmla="*/ 232465 w 300782"/>
                  <a:gd name="connsiteY4" fmla="*/ 37867 h 41505"/>
                  <a:gd name="connsiteX5" fmla="*/ 216094 w 300782"/>
                  <a:gd name="connsiteY5" fmla="*/ 38363 h 41505"/>
                  <a:gd name="connsiteX6" fmla="*/ 199724 w 300782"/>
                  <a:gd name="connsiteY6" fmla="*/ 38363 h 41505"/>
                  <a:gd name="connsiteX7" fmla="*/ 183353 w 300782"/>
                  <a:gd name="connsiteY7" fmla="*/ 38363 h 41505"/>
                  <a:gd name="connsiteX8" fmla="*/ 166982 w 300782"/>
                  <a:gd name="connsiteY8" fmla="*/ 37371 h 41505"/>
                  <a:gd name="connsiteX9" fmla="*/ 150612 w 300782"/>
                  <a:gd name="connsiteY9" fmla="*/ 38859 h 41505"/>
                  <a:gd name="connsiteX10" fmla="*/ 134241 w 300782"/>
                  <a:gd name="connsiteY10" fmla="*/ 37371 h 41505"/>
                  <a:gd name="connsiteX11" fmla="*/ 117871 w 300782"/>
                  <a:gd name="connsiteY11" fmla="*/ 37867 h 41505"/>
                  <a:gd name="connsiteX12" fmla="*/ 101500 w 300782"/>
                  <a:gd name="connsiteY12" fmla="*/ 39355 h 41505"/>
                  <a:gd name="connsiteX13" fmla="*/ 85130 w 300782"/>
                  <a:gd name="connsiteY13" fmla="*/ 38859 h 41505"/>
                  <a:gd name="connsiteX14" fmla="*/ 68759 w 300782"/>
                  <a:gd name="connsiteY14" fmla="*/ 39852 h 41505"/>
                  <a:gd name="connsiteX15" fmla="*/ 52389 w 300782"/>
                  <a:gd name="connsiteY15" fmla="*/ 37867 h 41505"/>
                  <a:gd name="connsiteX16" fmla="*/ 36018 w 300782"/>
                  <a:gd name="connsiteY16" fmla="*/ 38363 h 41505"/>
                  <a:gd name="connsiteX17" fmla="*/ 19648 w 300782"/>
                  <a:gd name="connsiteY17" fmla="*/ 38859 h 41505"/>
                  <a:gd name="connsiteX18" fmla="*/ 3277 w 300782"/>
                  <a:gd name="connsiteY18" fmla="*/ 38859 h 41505"/>
                  <a:gd name="connsiteX19" fmla="*/ 2285 w 300782"/>
                  <a:gd name="connsiteY19" fmla="*/ 21497 h 41505"/>
                  <a:gd name="connsiteX20" fmla="*/ 2781 w 300782"/>
                  <a:gd name="connsiteY20" fmla="*/ 4134 h 41505"/>
                  <a:gd name="connsiteX21" fmla="*/ 19151 w 300782"/>
                  <a:gd name="connsiteY21" fmla="*/ 5126 h 41505"/>
                  <a:gd name="connsiteX22" fmla="*/ 35522 w 300782"/>
                  <a:gd name="connsiteY22" fmla="*/ 3142 h 41505"/>
                  <a:gd name="connsiteX23" fmla="*/ 51893 w 300782"/>
                  <a:gd name="connsiteY23" fmla="*/ 3638 h 41505"/>
                  <a:gd name="connsiteX24" fmla="*/ 68263 w 300782"/>
                  <a:gd name="connsiteY24" fmla="*/ 2646 h 41505"/>
                  <a:gd name="connsiteX25" fmla="*/ 84634 w 300782"/>
                  <a:gd name="connsiteY25" fmla="*/ 3638 h 41505"/>
                  <a:gd name="connsiteX26" fmla="*/ 101004 w 300782"/>
                  <a:gd name="connsiteY26" fmla="*/ 3638 h 41505"/>
                  <a:gd name="connsiteX27" fmla="*/ 117375 w 300782"/>
                  <a:gd name="connsiteY27" fmla="*/ 2646 h 41505"/>
                  <a:gd name="connsiteX28" fmla="*/ 133745 w 300782"/>
                  <a:gd name="connsiteY28" fmla="*/ 2150 h 41505"/>
                  <a:gd name="connsiteX29" fmla="*/ 150116 w 300782"/>
                  <a:gd name="connsiteY29" fmla="*/ 3142 h 41505"/>
                  <a:gd name="connsiteX30" fmla="*/ 166486 w 300782"/>
                  <a:gd name="connsiteY30" fmla="*/ 2646 h 41505"/>
                  <a:gd name="connsiteX31" fmla="*/ 182857 w 300782"/>
                  <a:gd name="connsiteY31" fmla="*/ 3142 h 41505"/>
                  <a:gd name="connsiteX32" fmla="*/ 199228 w 300782"/>
                  <a:gd name="connsiteY32" fmla="*/ 3142 h 41505"/>
                  <a:gd name="connsiteX33" fmla="*/ 215598 w 300782"/>
                  <a:gd name="connsiteY33" fmla="*/ 2150 h 41505"/>
                  <a:gd name="connsiteX34" fmla="*/ 231969 w 300782"/>
                  <a:gd name="connsiteY34" fmla="*/ 4134 h 41505"/>
                  <a:gd name="connsiteX35" fmla="*/ 248339 w 300782"/>
                  <a:gd name="connsiteY35" fmla="*/ 2150 h 41505"/>
                  <a:gd name="connsiteX36" fmla="*/ 264710 w 300782"/>
                  <a:gd name="connsiteY36" fmla="*/ 3142 h 41505"/>
                  <a:gd name="connsiteX37" fmla="*/ 281080 w 300782"/>
                  <a:gd name="connsiteY37" fmla="*/ 2646 h 41505"/>
                  <a:gd name="connsiteX38" fmla="*/ 298443 w 300782"/>
                  <a:gd name="connsiteY38" fmla="*/ 2646 h 41505"/>
                  <a:gd name="connsiteX39" fmla="*/ 296955 w 300782"/>
                  <a:gd name="connsiteY39" fmla="*/ 21001 h 41505"/>
                  <a:gd name="connsiteX40" fmla="*/ 297947 w 300782"/>
                  <a:gd name="connsiteY40" fmla="*/ 38363 h 41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782" h="41505">
                    <a:moveTo>
                      <a:pt x="297947" y="38363"/>
                    </a:moveTo>
                    <a:cubicBezTo>
                      <a:pt x="292490" y="44316"/>
                      <a:pt x="290010" y="37867"/>
                      <a:pt x="281577" y="37867"/>
                    </a:cubicBezTo>
                    <a:cubicBezTo>
                      <a:pt x="273639" y="37867"/>
                      <a:pt x="273639" y="37867"/>
                      <a:pt x="265206" y="37867"/>
                    </a:cubicBezTo>
                    <a:cubicBezTo>
                      <a:pt x="257269" y="37867"/>
                      <a:pt x="257269" y="37867"/>
                      <a:pt x="248835" y="37867"/>
                    </a:cubicBezTo>
                    <a:cubicBezTo>
                      <a:pt x="240402" y="37867"/>
                      <a:pt x="240402" y="37867"/>
                      <a:pt x="232465" y="37867"/>
                    </a:cubicBezTo>
                    <a:cubicBezTo>
                      <a:pt x="224528" y="37867"/>
                      <a:pt x="224528" y="38363"/>
                      <a:pt x="216094" y="38363"/>
                    </a:cubicBezTo>
                    <a:cubicBezTo>
                      <a:pt x="207661" y="38363"/>
                      <a:pt x="207661" y="38363"/>
                      <a:pt x="199724" y="38363"/>
                    </a:cubicBezTo>
                    <a:cubicBezTo>
                      <a:pt x="191786" y="38363"/>
                      <a:pt x="191786" y="38363"/>
                      <a:pt x="183353" y="38363"/>
                    </a:cubicBezTo>
                    <a:cubicBezTo>
                      <a:pt x="174920" y="38363"/>
                      <a:pt x="174920" y="37371"/>
                      <a:pt x="166982" y="37371"/>
                    </a:cubicBezTo>
                    <a:cubicBezTo>
                      <a:pt x="158549" y="37371"/>
                      <a:pt x="158549" y="38859"/>
                      <a:pt x="150612" y="38859"/>
                    </a:cubicBezTo>
                    <a:cubicBezTo>
                      <a:pt x="142179" y="38859"/>
                      <a:pt x="142179" y="37371"/>
                      <a:pt x="134241" y="37371"/>
                    </a:cubicBezTo>
                    <a:cubicBezTo>
                      <a:pt x="125808" y="37371"/>
                      <a:pt x="125808" y="37867"/>
                      <a:pt x="117871" y="37867"/>
                    </a:cubicBezTo>
                    <a:cubicBezTo>
                      <a:pt x="109438" y="37867"/>
                      <a:pt x="109438" y="39355"/>
                      <a:pt x="101500" y="39355"/>
                    </a:cubicBezTo>
                    <a:cubicBezTo>
                      <a:pt x="93067" y="39355"/>
                      <a:pt x="93067" y="38859"/>
                      <a:pt x="85130" y="38859"/>
                    </a:cubicBezTo>
                    <a:cubicBezTo>
                      <a:pt x="76697" y="38859"/>
                      <a:pt x="76697" y="39852"/>
                      <a:pt x="68759" y="39852"/>
                    </a:cubicBezTo>
                    <a:cubicBezTo>
                      <a:pt x="60326" y="39852"/>
                      <a:pt x="60326" y="37867"/>
                      <a:pt x="52389" y="37867"/>
                    </a:cubicBezTo>
                    <a:cubicBezTo>
                      <a:pt x="43955" y="37867"/>
                      <a:pt x="43955" y="38363"/>
                      <a:pt x="36018" y="38363"/>
                    </a:cubicBezTo>
                    <a:cubicBezTo>
                      <a:pt x="27585" y="38363"/>
                      <a:pt x="27585" y="38859"/>
                      <a:pt x="19648" y="38859"/>
                    </a:cubicBezTo>
                    <a:cubicBezTo>
                      <a:pt x="11710" y="38859"/>
                      <a:pt x="8734" y="44812"/>
                      <a:pt x="3277" y="38859"/>
                    </a:cubicBezTo>
                    <a:cubicBezTo>
                      <a:pt x="-2676" y="32410"/>
                      <a:pt x="2285" y="29930"/>
                      <a:pt x="2285" y="21497"/>
                    </a:cubicBezTo>
                    <a:cubicBezTo>
                      <a:pt x="2285" y="13063"/>
                      <a:pt x="-3172" y="10087"/>
                      <a:pt x="2781" y="4134"/>
                    </a:cubicBezTo>
                    <a:cubicBezTo>
                      <a:pt x="8238" y="-1819"/>
                      <a:pt x="11214" y="5126"/>
                      <a:pt x="19151" y="5126"/>
                    </a:cubicBezTo>
                    <a:cubicBezTo>
                      <a:pt x="27089" y="5126"/>
                      <a:pt x="27089" y="3142"/>
                      <a:pt x="35522" y="3142"/>
                    </a:cubicBezTo>
                    <a:cubicBezTo>
                      <a:pt x="43459" y="3142"/>
                      <a:pt x="43459" y="3638"/>
                      <a:pt x="51893" y="3638"/>
                    </a:cubicBezTo>
                    <a:cubicBezTo>
                      <a:pt x="60326" y="3638"/>
                      <a:pt x="60326" y="2646"/>
                      <a:pt x="68263" y="2646"/>
                    </a:cubicBezTo>
                    <a:cubicBezTo>
                      <a:pt x="76200" y="2646"/>
                      <a:pt x="76200" y="3638"/>
                      <a:pt x="84634" y="3638"/>
                    </a:cubicBezTo>
                    <a:cubicBezTo>
                      <a:pt x="93067" y="3638"/>
                      <a:pt x="93067" y="3638"/>
                      <a:pt x="101004" y="3638"/>
                    </a:cubicBezTo>
                    <a:cubicBezTo>
                      <a:pt x="108942" y="3638"/>
                      <a:pt x="108942" y="2646"/>
                      <a:pt x="117375" y="2646"/>
                    </a:cubicBezTo>
                    <a:cubicBezTo>
                      <a:pt x="125808" y="2646"/>
                      <a:pt x="125808" y="2150"/>
                      <a:pt x="133745" y="2150"/>
                    </a:cubicBezTo>
                    <a:cubicBezTo>
                      <a:pt x="142179" y="2150"/>
                      <a:pt x="142179" y="3142"/>
                      <a:pt x="150116" y="3142"/>
                    </a:cubicBezTo>
                    <a:cubicBezTo>
                      <a:pt x="158549" y="3142"/>
                      <a:pt x="158549" y="2646"/>
                      <a:pt x="166486" y="2646"/>
                    </a:cubicBezTo>
                    <a:cubicBezTo>
                      <a:pt x="174920" y="2646"/>
                      <a:pt x="174920" y="3142"/>
                      <a:pt x="182857" y="3142"/>
                    </a:cubicBezTo>
                    <a:cubicBezTo>
                      <a:pt x="190794" y="3142"/>
                      <a:pt x="191290" y="3142"/>
                      <a:pt x="199228" y="3142"/>
                    </a:cubicBezTo>
                    <a:cubicBezTo>
                      <a:pt x="207661" y="3142"/>
                      <a:pt x="207661" y="2150"/>
                      <a:pt x="215598" y="2150"/>
                    </a:cubicBezTo>
                    <a:cubicBezTo>
                      <a:pt x="224031" y="2150"/>
                      <a:pt x="224031" y="4134"/>
                      <a:pt x="231969" y="4134"/>
                    </a:cubicBezTo>
                    <a:cubicBezTo>
                      <a:pt x="240402" y="4134"/>
                      <a:pt x="240402" y="2150"/>
                      <a:pt x="248339" y="2150"/>
                    </a:cubicBezTo>
                    <a:cubicBezTo>
                      <a:pt x="256773" y="2150"/>
                      <a:pt x="256773" y="3142"/>
                      <a:pt x="264710" y="3142"/>
                    </a:cubicBezTo>
                    <a:cubicBezTo>
                      <a:pt x="273143" y="3142"/>
                      <a:pt x="273143" y="2646"/>
                      <a:pt x="281080" y="2646"/>
                    </a:cubicBezTo>
                    <a:cubicBezTo>
                      <a:pt x="289018" y="2646"/>
                      <a:pt x="292490" y="-3307"/>
                      <a:pt x="298443" y="2646"/>
                    </a:cubicBezTo>
                    <a:cubicBezTo>
                      <a:pt x="304396" y="9095"/>
                      <a:pt x="294971" y="12567"/>
                      <a:pt x="296955" y="21001"/>
                    </a:cubicBezTo>
                    <a:cubicBezTo>
                      <a:pt x="298939" y="29930"/>
                      <a:pt x="303900" y="31914"/>
                      <a:pt x="297947" y="3836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9" name="Freeform: Shape 1728">
                <a:extLst>
                  <a:ext uri="{FF2B5EF4-FFF2-40B4-BE49-F238E27FC236}">
                    <a16:creationId xmlns:a16="http://schemas.microsoft.com/office/drawing/2014/main" id="{EAD66CB5-0A9A-2BB4-EA49-F0619DFD7C89}"/>
                  </a:ext>
                </a:extLst>
              </p:cNvPr>
              <p:cNvSpPr/>
              <p:nvPr/>
            </p:nvSpPr>
            <p:spPr>
              <a:xfrm>
                <a:off x="4552296" y="3122149"/>
                <a:ext cx="299876" cy="305253"/>
              </a:xfrm>
              <a:custGeom>
                <a:avLst/>
                <a:gdLst>
                  <a:gd name="connsiteX0" fmla="*/ 3057 w 299876"/>
                  <a:gd name="connsiteY0" fmla="*/ 304757 h 305253"/>
                  <a:gd name="connsiteX1" fmla="*/ 4049 w 299876"/>
                  <a:gd name="connsiteY1" fmla="*/ 288883 h 305253"/>
                  <a:gd name="connsiteX2" fmla="*/ 2561 w 299876"/>
                  <a:gd name="connsiteY2" fmla="*/ 273008 h 305253"/>
                  <a:gd name="connsiteX3" fmla="*/ 3553 w 299876"/>
                  <a:gd name="connsiteY3" fmla="*/ 257134 h 305253"/>
                  <a:gd name="connsiteX4" fmla="*/ 2561 w 299876"/>
                  <a:gd name="connsiteY4" fmla="*/ 241259 h 305253"/>
                  <a:gd name="connsiteX5" fmla="*/ 2561 w 299876"/>
                  <a:gd name="connsiteY5" fmla="*/ 225385 h 305253"/>
                  <a:gd name="connsiteX6" fmla="*/ 1569 w 299876"/>
                  <a:gd name="connsiteY6" fmla="*/ 209510 h 305253"/>
                  <a:gd name="connsiteX7" fmla="*/ 2065 w 299876"/>
                  <a:gd name="connsiteY7" fmla="*/ 193636 h 305253"/>
                  <a:gd name="connsiteX8" fmla="*/ 1569 w 299876"/>
                  <a:gd name="connsiteY8" fmla="*/ 177761 h 305253"/>
                  <a:gd name="connsiteX9" fmla="*/ 4049 w 299876"/>
                  <a:gd name="connsiteY9" fmla="*/ 161887 h 305253"/>
                  <a:gd name="connsiteX10" fmla="*/ 1569 w 299876"/>
                  <a:gd name="connsiteY10" fmla="*/ 146012 h 305253"/>
                  <a:gd name="connsiteX11" fmla="*/ 3057 w 299876"/>
                  <a:gd name="connsiteY11" fmla="*/ 130138 h 305253"/>
                  <a:gd name="connsiteX12" fmla="*/ 2561 w 299876"/>
                  <a:gd name="connsiteY12" fmla="*/ 114263 h 305253"/>
                  <a:gd name="connsiteX13" fmla="*/ 2065 w 299876"/>
                  <a:gd name="connsiteY13" fmla="*/ 98389 h 305253"/>
                  <a:gd name="connsiteX14" fmla="*/ 1569 w 299876"/>
                  <a:gd name="connsiteY14" fmla="*/ 82514 h 305253"/>
                  <a:gd name="connsiteX15" fmla="*/ 2561 w 299876"/>
                  <a:gd name="connsiteY15" fmla="*/ 66640 h 305253"/>
                  <a:gd name="connsiteX16" fmla="*/ 2561 w 299876"/>
                  <a:gd name="connsiteY16" fmla="*/ 50765 h 305253"/>
                  <a:gd name="connsiteX17" fmla="*/ 2065 w 299876"/>
                  <a:gd name="connsiteY17" fmla="*/ 34891 h 305253"/>
                  <a:gd name="connsiteX18" fmla="*/ 2065 w 299876"/>
                  <a:gd name="connsiteY18" fmla="*/ 19016 h 305253"/>
                  <a:gd name="connsiteX19" fmla="*/ 2561 w 299876"/>
                  <a:gd name="connsiteY19" fmla="*/ 2646 h 305253"/>
                  <a:gd name="connsiteX20" fmla="*/ 18931 w 299876"/>
                  <a:gd name="connsiteY20" fmla="*/ 2646 h 305253"/>
                  <a:gd name="connsiteX21" fmla="*/ 35302 w 299876"/>
                  <a:gd name="connsiteY21" fmla="*/ 3638 h 305253"/>
                  <a:gd name="connsiteX22" fmla="*/ 51673 w 299876"/>
                  <a:gd name="connsiteY22" fmla="*/ 3638 h 305253"/>
                  <a:gd name="connsiteX23" fmla="*/ 68043 w 299876"/>
                  <a:gd name="connsiteY23" fmla="*/ 3638 h 305253"/>
                  <a:gd name="connsiteX24" fmla="*/ 84414 w 299876"/>
                  <a:gd name="connsiteY24" fmla="*/ 3142 h 305253"/>
                  <a:gd name="connsiteX25" fmla="*/ 100784 w 299876"/>
                  <a:gd name="connsiteY25" fmla="*/ 3142 h 305253"/>
                  <a:gd name="connsiteX26" fmla="*/ 117155 w 299876"/>
                  <a:gd name="connsiteY26" fmla="*/ 3142 h 305253"/>
                  <a:gd name="connsiteX27" fmla="*/ 133526 w 299876"/>
                  <a:gd name="connsiteY27" fmla="*/ 2150 h 305253"/>
                  <a:gd name="connsiteX28" fmla="*/ 149896 w 299876"/>
                  <a:gd name="connsiteY28" fmla="*/ 2646 h 305253"/>
                  <a:gd name="connsiteX29" fmla="*/ 166267 w 299876"/>
                  <a:gd name="connsiteY29" fmla="*/ 4134 h 305253"/>
                  <a:gd name="connsiteX30" fmla="*/ 182637 w 299876"/>
                  <a:gd name="connsiteY30" fmla="*/ 3142 h 305253"/>
                  <a:gd name="connsiteX31" fmla="*/ 199008 w 299876"/>
                  <a:gd name="connsiteY31" fmla="*/ 4134 h 305253"/>
                  <a:gd name="connsiteX32" fmla="*/ 215378 w 299876"/>
                  <a:gd name="connsiteY32" fmla="*/ 4630 h 305253"/>
                  <a:gd name="connsiteX33" fmla="*/ 231749 w 299876"/>
                  <a:gd name="connsiteY33" fmla="*/ 4630 h 305253"/>
                  <a:gd name="connsiteX34" fmla="*/ 248119 w 299876"/>
                  <a:gd name="connsiteY34" fmla="*/ 2646 h 305253"/>
                  <a:gd name="connsiteX35" fmla="*/ 264490 w 299876"/>
                  <a:gd name="connsiteY35" fmla="*/ 3142 h 305253"/>
                  <a:gd name="connsiteX36" fmla="*/ 280860 w 299876"/>
                  <a:gd name="connsiteY36" fmla="*/ 2646 h 305253"/>
                  <a:gd name="connsiteX37" fmla="*/ 297231 w 299876"/>
                  <a:gd name="connsiteY37" fmla="*/ 3638 h 305253"/>
                  <a:gd name="connsiteX38" fmla="*/ 297231 w 299876"/>
                  <a:gd name="connsiteY38" fmla="*/ 19512 h 305253"/>
                  <a:gd name="connsiteX39" fmla="*/ 298223 w 299876"/>
                  <a:gd name="connsiteY39" fmla="*/ 35387 h 305253"/>
                  <a:gd name="connsiteX40" fmla="*/ 296239 w 299876"/>
                  <a:gd name="connsiteY40" fmla="*/ 51261 h 305253"/>
                  <a:gd name="connsiteX41" fmla="*/ 297727 w 299876"/>
                  <a:gd name="connsiteY41" fmla="*/ 67136 h 305253"/>
                  <a:gd name="connsiteX42" fmla="*/ 296735 w 299876"/>
                  <a:gd name="connsiteY42" fmla="*/ 83010 h 305253"/>
                  <a:gd name="connsiteX43" fmla="*/ 297727 w 299876"/>
                  <a:gd name="connsiteY43" fmla="*/ 98885 h 305253"/>
                  <a:gd name="connsiteX44" fmla="*/ 296239 w 299876"/>
                  <a:gd name="connsiteY44" fmla="*/ 114759 h 305253"/>
                  <a:gd name="connsiteX45" fmla="*/ 297231 w 299876"/>
                  <a:gd name="connsiteY45" fmla="*/ 130634 h 305253"/>
                  <a:gd name="connsiteX46" fmla="*/ 297231 w 299876"/>
                  <a:gd name="connsiteY46" fmla="*/ 146508 h 305253"/>
                  <a:gd name="connsiteX47" fmla="*/ 297231 w 299876"/>
                  <a:gd name="connsiteY47" fmla="*/ 162383 h 305253"/>
                  <a:gd name="connsiteX48" fmla="*/ 297231 w 299876"/>
                  <a:gd name="connsiteY48" fmla="*/ 178257 h 305253"/>
                  <a:gd name="connsiteX49" fmla="*/ 296735 w 299876"/>
                  <a:gd name="connsiteY49" fmla="*/ 194132 h 305253"/>
                  <a:gd name="connsiteX50" fmla="*/ 298223 w 299876"/>
                  <a:gd name="connsiteY50" fmla="*/ 210006 h 305253"/>
                  <a:gd name="connsiteX51" fmla="*/ 297231 w 299876"/>
                  <a:gd name="connsiteY51" fmla="*/ 225881 h 305253"/>
                  <a:gd name="connsiteX52" fmla="*/ 297727 w 299876"/>
                  <a:gd name="connsiteY52" fmla="*/ 241755 h 305253"/>
                  <a:gd name="connsiteX53" fmla="*/ 296735 w 299876"/>
                  <a:gd name="connsiteY53" fmla="*/ 257630 h 305253"/>
                  <a:gd name="connsiteX54" fmla="*/ 297231 w 299876"/>
                  <a:gd name="connsiteY54" fmla="*/ 273504 h 305253"/>
                  <a:gd name="connsiteX55" fmla="*/ 297727 w 299876"/>
                  <a:gd name="connsiteY55" fmla="*/ 289379 h 305253"/>
                  <a:gd name="connsiteX56" fmla="*/ 296735 w 299876"/>
                  <a:gd name="connsiteY56" fmla="*/ 305253 h 305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299876" h="305253">
                    <a:moveTo>
                      <a:pt x="3057" y="304757"/>
                    </a:moveTo>
                    <a:cubicBezTo>
                      <a:pt x="3057" y="296820"/>
                      <a:pt x="4049" y="296820"/>
                      <a:pt x="4049" y="288883"/>
                    </a:cubicBezTo>
                    <a:cubicBezTo>
                      <a:pt x="4049" y="280945"/>
                      <a:pt x="2561" y="280945"/>
                      <a:pt x="2561" y="273008"/>
                    </a:cubicBezTo>
                    <a:cubicBezTo>
                      <a:pt x="2561" y="265071"/>
                      <a:pt x="3553" y="265071"/>
                      <a:pt x="3553" y="257134"/>
                    </a:cubicBezTo>
                    <a:cubicBezTo>
                      <a:pt x="3553" y="249196"/>
                      <a:pt x="2561" y="249196"/>
                      <a:pt x="2561" y="241259"/>
                    </a:cubicBezTo>
                    <a:cubicBezTo>
                      <a:pt x="2561" y="233322"/>
                      <a:pt x="2561" y="233322"/>
                      <a:pt x="2561" y="225385"/>
                    </a:cubicBezTo>
                    <a:cubicBezTo>
                      <a:pt x="2561" y="217447"/>
                      <a:pt x="1569" y="217447"/>
                      <a:pt x="1569" y="209510"/>
                    </a:cubicBezTo>
                    <a:cubicBezTo>
                      <a:pt x="1569" y="201573"/>
                      <a:pt x="2065" y="201573"/>
                      <a:pt x="2065" y="193636"/>
                    </a:cubicBezTo>
                    <a:cubicBezTo>
                      <a:pt x="2065" y="185698"/>
                      <a:pt x="1569" y="185698"/>
                      <a:pt x="1569" y="177761"/>
                    </a:cubicBezTo>
                    <a:cubicBezTo>
                      <a:pt x="1569" y="169824"/>
                      <a:pt x="4049" y="169824"/>
                      <a:pt x="4049" y="161887"/>
                    </a:cubicBezTo>
                    <a:cubicBezTo>
                      <a:pt x="4049" y="153950"/>
                      <a:pt x="1569" y="153950"/>
                      <a:pt x="1569" y="146012"/>
                    </a:cubicBezTo>
                    <a:cubicBezTo>
                      <a:pt x="1569" y="138075"/>
                      <a:pt x="3057" y="138075"/>
                      <a:pt x="3057" y="130138"/>
                    </a:cubicBezTo>
                    <a:cubicBezTo>
                      <a:pt x="3057" y="122200"/>
                      <a:pt x="2561" y="122200"/>
                      <a:pt x="2561" y="114263"/>
                    </a:cubicBezTo>
                    <a:cubicBezTo>
                      <a:pt x="2561" y="106326"/>
                      <a:pt x="2065" y="106326"/>
                      <a:pt x="2065" y="98389"/>
                    </a:cubicBezTo>
                    <a:cubicBezTo>
                      <a:pt x="2065" y="90451"/>
                      <a:pt x="1569" y="90451"/>
                      <a:pt x="1569" y="82514"/>
                    </a:cubicBezTo>
                    <a:cubicBezTo>
                      <a:pt x="1569" y="74577"/>
                      <a:pt x="2561" y="74577"/>
                      <a:pt x="2561" y="66640"/>
                    </a:cubicBezTo>
                    <a:cubicBezTo>
                      <a:pt x="2561" y="58703"/>
                      <a:pt x="2561" y="58703"/>
                      <a:pt x="2561" y="50765"/>
                    </a:cubicBezTo>
                    <a:cubicBezTo>
                      <a:pt x="2561" y="42828"/>
                      <a:pt x="2065" y="42828"/>
                      <a:pt x="2065" y="34891"/>
                    </a:cubicBezTo>
                    <a:cubicBezTo>
                      <a:pt x="2065" y="26953"/>
                      <a:pt x="2065" y="26953"/>
                      <a:pt x="2065" y="19016"/>
                    </a:cubicBezTo>
                    <a:cubicBezTo>
                      <a:pt x="2065" y="11079"/>
                      <a:pt x="-2896" y="8598"/>
                      <a:pt x="2561" y="2646"/>
                    </a:cubicBezTo>
                    <a:cubicBezTo>
                      <a:pt x="8514" y="-3307"/>
                      <a:pt x="10994" y="2646"/>
                      <a:pt x="18931" y="2646"/>
                    </a:cubicBezTo>
                    <a:cubicBezTo>
                      <a:pt x="26869" y="2646"/>
                      <a:pt x="26869" y="3638"/>
                      <a:pt x="35302" y="3638"/>
                    </a:cubicBezTo>
                    <a:cubicBezTo>
                      <a:pt x="43239" y="3638"/>
                      <a:pt x="43239" y="3638"/>
                      <a:pt x="51673" y="3638"/>
                    </a:cubicBezTo>
                    <a:cubicBezTo>
                      <a:pt x="60106" y="3638"/>
                      <a:pt x="60106" y="3638"/>
                      <a:pt x="68043" y="3638"/>
                    </a:cubicBezTo>
                    <a:cubicBezTo>
                      <a:pt x="75980" y="3638"/>
                      <a:pt x="75980" y="3142"/>
                      <a:pt x="84414" y="3142"/>
                    </a:cubicBezTo>
                    <a:cubicBezTo>
                      <a:pt x="92847" y="3142"/>
                      <a:pt x="92847" y="3142"/>
                      <a:pt x="100784" y="3142"/>
                    </a:cubicBezTo>
                    <a:cubicBezTo>
                      <a:pt x="108722" y="3142"/>
                      <a:pt x="108722" y="3142"/>
                      <a:pt x="117155" y="3142"/>
                    </a:cubicBezTo>
                    <a:cubicBezTo>
                      <a:pt x="125588" y="3142"/>
                      <a:pt x="125588" y="2150"/>
                      <a:pt x="133526" y="2150"/>
                    </a:cubicBezTo>
                    <a:cubicBezTo>
                      <a:pt x="141959" y="2150"/>
                      <a:pt x="141959" y="2646"/>
                      <a:pt x="149896" y="2646"/>
                    </a:cubicBezTo>
                    <a:cubicBezTo>
                      <a:pt x="158329" y="2646"/>
                      <a:pt x="158329" y="4134"/>
                      <a:pt x="166267" y="4134"/>
                    </a:cubicBezTo>
                    <a:cubicBezTo>
                      <a:pt x="174700" y="4134"/>
                      <a:pt x="174700" y="3142"/>
                      <a:pt x="182637" y="3142"/>
                    </a:cubicBezTo>
                    <a:cubicBezTo>
                      <a:pt x="190574" y="3142"/>
                      <a:pt x="191070" y="4134"/>
                      <a:pt x="199008" y="4134"/>
                    </a:cubicBezTo>
                    <a:cubicBezTo>
                      <a:pt x="207441" y="4134"/>
                      <a:pt x="207441" y="4630"/>
                      <a:pt x="215378" y="4630"/>
                    </a:cubicBezTo>
                    <a:cubicBezTo>
                      <a:pt x="223811" y="4630"/>
                      <a:pt x="223811" y="4630"/>
                      <a:pt x="231749" y="4630"/>
                    </a:cubicBezTo>
                    <a:cubicBezTo>
                      <a:pt x="240182" y="4630"/>
                      <a:pt x="240182" y="2646"/>
                      <a:pt x="248119" y="2646"/>
                    </a:cubicBezTo>
                    <a:cubicBezTo>
                      <a:pt x="256553" y="2646"/>
                      <a:pt x="256553" y="3142"/>
                      <a:pt x="264490" y="3142"/>
                    </a:cubicBezTo>
                    <a:cubicBezTo>
                      <a:pt x="272923" y="3142"/>
                      <a:pt x="272923" y="2646"/>
                      <a:pt x="280860" y="2646"/>
                    </a:cubicBezTo>
                    <a:cubicBezTo>
                      <a:pt x="288798" y="2646"/>
                      <a:pt x="291278" y="-2315"/>
                      <a:pt x="297231" y="3638"/>
                    </a:cubicBezTo>
                    <a:cubicBezTo>
                      <a:pt x="303184" y="9095"/>
                      <a:pt x="297231" y="11575"/>
                      <a:pt x="297231" y="19512"/>
                    </a:cubicBezTo>
                    <a:cubicBezTo>
                      <a:pt x="297231" y="27450"/>
                      <a:pt x="298223" y="27450"/>
                      <a:pt x="298223" y="35387"/>
                    </a:cubicBezTo>
                    <a:cubicBezTo>
                      <a:pt x="298223" y="43324"/>
                      <a:pt x="296239" y="43324"/>
                      <a:pt x="296239" y="51261"/>
                    </a:cubicBezTo>
                    <a:cubicBezTo>
                      <a:pt x="296239" y="59198"/>
                      <a:pt x="297727" y="59198"/>
                      <a:pt x="297727" y="67136"/>
                    </a:cubicBezTo>
                    <a:cubicBezTo>
                      <a:pt x="297727" y="75073"/>
                      <a:pt x="296735" y="75073"/>
                      <a:pt x="296735" y="83010"/>
                    </a:cubicBezTo>
                    <a:cubicBezTo>
                      <a:pt x="296735" y="90948"/>
                      <a:pt x="297727" y="90948"/>
                      <a:pt x="297727" y="98885"/>
                    </a:cubicBezTo>
                    <a:cubicBezTo>
                      <a:pt x="297727" y="106822"/>
                      <a:pt x="296239" y="106822"/>
                      <a:pt x="296239" y="114759"/>
                    </a:cubicBezTo>
                    <a:cubicBezTo>
                      <a:pt x="296239" y="122696"/>
                      <a:pt x="297231" y="122696"/>
                      <a:pt x="297231" y="130634"/>
                    </a:cubicBezTo>
                    <a:cubicBezTo>
                      <a:pt x="297231" y="138571"/>
                      <a:pt x="297231" y="138571"/>
                      <a:pt x="297231" y="146508"/>
                    </a:cubicBezTo>
                    <a:cubicBezTo>
                      <a:pt x="297231" y="154446"/>
                      <a:pt x="297231" y="154446"/>
                      <a:pt x="297231" y="162383"/>
                    </a:cubicBezTo>
                    <a:cubicBezTo>
                      <a:pt x="297231" y="170320"/>
                      <a:pt x="297231" y="170320"/>
                      <a:pt x="297231" y="178257"/>
                    </a:cubicBezTo>
                    <a:cubicBezTo>
                      <a:pt x="297231" y="186195"/>
                      <a:pt x="296735" y="186195"/>
                      <a:pt x="296735" y="194132"/>
                    </a:cubicBezTo>
                    <a:cubicBezTo>
                      <a:pt x="296735" y="202069"/>
                      <a:pt x="298223" y="202069"/>
                      <a:pt x="298223" y="210006"/>
                    </a:cubicBezTo>
                    <a:cubicBezTo>
                      <a:pt x="298223" y="217943"/>
                      <a:pt x="297231" y="217943"/>
                      <a:pt x="297231" y="225881"/>
                    </a:cubicBezTo>
                    <a:cubicBezTo>
                      <a:pt x="297231" y="233818"/>
                      <a:pt x="297727" y="233818"/>
                      <a:pt x="297727" y="241755"/>
                    </a:cubicBezTo>
                    <a:cubicBezTo>
                      <a:pt x="297727" y="249693"/>
                      <a:pt x="296735" y="249693"/>
                      <a:pt x="296735" y="257630"/>
                    </a:cubicBezTo>
                    <a:cubicBezTo>
                      <a:pt x="296735" y="265567"/>
                      <a:pt x="297231" y="265567"/>
                      <a:pt x="297231" y="273504"/>
                    </a:cubicBezTo>
                    <a:cubicBezTo>
                      <a:pt x="297231" y="281441"/>
                      <a:pt x="297727" y="281441"/>
                      <a:pt x="297727" y="289379"/>
                    </a:cubicBezTo>
                    <a:cubicBezTo>
                      <a:pt x="297727" y="297316"/>
                      <a:pt x="296735" y="297316"/>
                      <a:pt x="296735" y="305253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0" name="Freeform: Shape 1729">
                <a:extLst>
                  <a:ext uri="{FF2B5EF4-FFF2-40B4-BE49-F238E27FC236}">
                    <a16:creationId xmlns:a16="http://schemas.microsoft.com/office/drawing/2014/main" id="{38F40F68-78F2-DD14-A242-17C2CAEA6EBC}"/>
                  </a:ext>
                </a:extLst>
              </p:cNvPr>
              <p:cNvSpPr/>
              <p:nvPr/>
            </p:nvSpPr>
            <p:spPr>
              <a:xfrm>
                <a:off x="4522695" y="3425319"/>
                <a:ext cx="362894" cy="63734"/>
              </a:xfrm>
              <a:custGeom>
                <a:avLst/>
                <a:gdLst>
                  <a:gd name="connsiteX0" fmla="*/ 2893 w 362894"/>
                  <a:gd name="connsiteY0" fmla="*/ 2083 h 63734"/>
                  <a:gd name="connsiteX1" fmla="*/ 18768 w 362894"/>
                  <a:gd name="connsiteY1" fmla="*/ 2579 h 63734"/>
                  <a:gd name="connsiteX2" fmla="*/ 35138 w 362894"/>
                  <a:gd name="connsiteY2" fmla="*/ 1091 h 63734"/>
                  <a:gd name="connsiteX3" fmla="*/ 51509 w 362894"/>
                  <a:gd name="connsiteY3" fmla="*/ 1587 h 63734"/>
                  <a:gd name="connsiteX4" fmla="*/ 67880 w 362894"/>
                  <a:gd name="connsiteY4" fmla="*/ 595 h 63734"/>
                  <a:gd name="connsiteX5" fmla="*/ 84250 w 362894"/>
                  <a:gd name="connsiteY5" fmla="*/ 595 h 63734"/>
                  <a:gd name="connsiteX6" fmla="*/ 100125 w 362894"/>
                  <a:gd name="connsiteY6" fmla="*/ 595 h 63734"/>
                  <a:gd name="connsiteX7" fmla="*/ 115999 w 362894"/>
                  <a:gd name="connsiteY7" fmla="*/ 2083 h 63734"/>
                  <a:gd name="connsiteX8" fmla="*/ 132370 w 362894"/>
                  <a:gd name="connsiteY8" fmla="*/ 2579 h 63734"/>
                  <a:gd name="connsiteX9" fmla="*/ 148244 w 362894"/>
                  <a:gd name="connsiteY9" fmla="*/ 1587 h 63734"/>
                  <a:gd name="connsiteX10" fmla="*/ 164615 w 362894"/>
                  <a:gd name="connsiteY10" fmla="*/ 1091 h 63734"/>
                  <a:gd name="connsiteX11" fmla="*/ 180985 w 362894"/>
                  <a:gd name="connsiteY11" fmla="*/ 595 h 63734"/>
                  <a:gd name="connsiteX12" fmla="*/ 197356 w 362894"/>
                  <a:gd name="connsiteY12" fmla="*/ 1091 h 63734"/>
                  <a:gd name="connsiteX13" fmla="*/ 213726 w 362894"/>
                  <a:gd name="connsiteY13" fmla="*/ 2579 h 63734"/>
                  <a:gd name="connsiteX14" fmla="*/ 230097 w 362894"/>
                  <a:gd name="connsiteY14" fmla="*/ 2579 h 63734"/>
                  <a:gd name="connsiteX15" fmla="*/ 246468 w 362894"/>
                  <a:gd name="connsiteY15" fmla="*/ 2579 h 63734"/>
                  <a:gd name="connsiteX16" fmla="*/ 262838 w 362894"/>
                  <a:gd name="connsiteY16" fmla="*/ 595 h 63734"/>
                  <a:gd name="connsiteX17" fmla="*/ 279209 w 362894"/>
                  <a:gd name="connsiteY17" fmla="*/ 2579 h 63734"/>
                  <a:gd name="connsiteX18" fmla="*/ 295579 w 362894"/>
                  <a:gd name="connsiteY18" fmla="*/ 595 h 63734"/>
                  <a:gd name="connsiteX19" fmla="*/ 311950 w 362894"/>
                  <a:gd name="connsiteY19" fmla="*/ 1091 h 63734"/>
                  <a:gd name="connsiteX20" fmla="*/ 328321 w 362894"/>
                  <a:gd name="connsiteY20" fmla="*/ 595 h 63734"/>
                  <a:gd name="connsiteX21" fmla="*/ 344691 w 362894"/>
                  <a:gd name="connsiteY21" fmla="*/ 2579 h 63734"/>
                  <a:gd name="connsiteX22" fmla="*/ 360566 w 362894"/>
                  <a:gd name="connsiteY22" fmla="*/ 2083 h 63734"/>
                  <a:gd name="connsiteX23" fmla="*/ 360069 w 362894"/>
                  <a:gd name="connsiteY23" fmla="*/ 12997 h 63734"/>
                  <a:gd name="connsiteX24" fmla="*/ 352132 w 362894"/>
                  <a:gd name="connsiteY24" fmla="*/ 28871 h 63734"/>
                  <a:gd name="connsiteX25" fmla="*/ 343699 w 362894"/>
                  <a:gd name="connsiteY25" fmla="*/ 44746 h 63734"/>
                  <a:gd name="connsiteX26" fmla="*/ 336258 w 362894"/>
                  <a:gd name="connsiteY26" fmla="*/ 61613 h 63734"/>
                  <a:gd name="connsiteX27" fmla="*/ 319887 w 362894"/>
                  <a:gd name="connsiteY27" fmla="*/ 62108 h 63734"/>
                  <a:gd name="connsiteX28" fmla="*/ 304013 w 362894"/>
                  <a:gd name="connsiteY28" fmla="*/ 61116 h 63734"/>
                  <a:gd name="connsiteX29" fmla="*/ 288138 w 362894"/>
                  <a:gd name="connsiteY29" fmla="*/ 60620 h 63734"/>
                  <a:gd name="connsiteX30" fmla="*/ 272264 w 362894"/>
                  <a:gd name="connsiteY30" fmla="*/ 61613 h 63734"/>
                  <a:gd name="connsiteX31" fmla="*/ 256389 w 362894"/>
                  <a:gd name="connsiteY31" fmla="*/ 60620 h 63734"/>
                  <a:gd name="connsiteX32" fmla="*/ 240515 w 362894"/>
                  <a:gd name="connsiteY32" fmla="*/ 61613 h 63734"/>
                  <a:gd name="connsiteX33" fmla="*/ 224640 w 362894"/>
                  <a:gd name="connsiteY33" fmla="*/ 62108 h 63734"/>
                  <a:gd name="connsiteX34" fmla="*/ 208766 w 362894"/>
                  <a:gd name="connsiteY34" fmla="*/ 62108 h 63734"/>
                  <a:gd name="connsiteX35" fmla="*/ 192891 w 362894"/>
                  <a:gd name="connsiteY35" fmla="*/ 61116 h 63734"/>
                  <a:gd name="connsiteX36" fmla="*/ 177017 w 362894"/>
                  <a:gd name="connsiteY36" fmla="*/ 61613 h 63734"/>
                  <a:gd name="connsiteX37" fmla="*/ 161142 w 362894"/>
                  <a:gd name="connsiteY37" fmla="*/ 61613 h 63734"/>
                  <a:gd name="connsiteX38" fmla="*/ 145268 w 362894"/>
                  <a:gd name="connsiteY38" fmla="*/ 60620 h 63734"/>
                  <a:gd name="connsiteX39" fmla="*/ 129393 w 362894"/>
                  <a:gd name="connsiteY39" fmla="*/ 61613 h 63734"/>
                  <a:gd name="connsiteX40" fmla="*/ 113519 w 362894"/>
                  <a:gd name="connsiteY40" fmla="*/ 59628 h 63734"/>
                  <a:gd name="connsiteX41" fmla="*/ 97644 w 362894"/>
                  <a:gd name="connsiteY41" fmla="*/ 61116 h 63734"/>
                  <a:gd name="connsiteX42" fmla="*/ 81770 w 362894"/>
                  <a:gd name="connsiteY42" fmla="*/ 60124 h 63734"/>
                  <a:gd name="connsiteX43" fmla="*/ 65895 w 362894"/>
                  <a:gd name="connsiteY43" fmla="*/ 59628 h 63734"/>
                  <a:gd name="connsiteX44" fmla="*/ 50021 w 362894"/>
                  <a:gd name="connsiteY44" fmla="*/ 59628 h 63734"/>
                  <a:gd name="connsiteX45" fmla="*/ 33650 w 362894"/>
                  <a:gd name="connsiteY45" fmla="*/ 61116 h 63734"/>
                  <a:gd name="connsiteX46" fmla="*/ 24225 w 362894"/>
                  <a:gd name="connsiteY46" fmla="*/ 44746 h 63734"/>
                  <a:gd name="connsiteX47" fmla="*/ 13807 w 362894"/>
                  <a:gd name="connsiteY47" fmla="*/ 28871 h 63734"/>
                  <a:gd name="connsiteX48" fmla="*/ 3886 w 362894"/>
                  <a:gd name="connsiteY48" fmla="*/ 12501 h 63734"/>
                  <a:gd name="connsiteX49" fmla="*/ 2893 w 362894"/>
                  <a:gd name="connsiteY49" fmla="*/ 2083 h 63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2894" h="63734">
                    <a:moveTo>
                      <a:pt x="2893" y="2083"/>
                    </a:moveTo>
                    <a:cubicBezTo>
                      <a:pt x="9343" y="-2382"/>
                      <a:pt x="10831" y="2579"/>
                      <a:pt x="18768" y="2579"/>
                    </a:cubicBezTo>
                    <a:cubicBezTo>
                      <a:pt x="26705" y="2579"/>
                      <a:pt x="26705" y="1091"/>
                      <a:pt x="35138" y="1091"/>
                    </a:cubicBezTo>
                    <a:cubicBezTo>
                      <a:pt x="43076" y="1091"/>
                      <a:pt x="43076" y="1587"/>
                      <a:pt x="51509" y="1587"/>
                    </a:cubicBezTo>
                    <a:cubicBezTo>
                      <a:pt x="59446" y="1587"/>
                      <a:pt x="59446" y="595"/>
                      <a:pt x="67880" y="595"/>
                    </a:cubicBezTo>
                    <a:cubicBezTo>
                      <a:pt x="75817" y="595"/>
                      <a:pt x="75817" y="595"/>
                      <a:pt x="84250" y="595"/>
                    </a:cubicBezTo>
                    <a:cubicBezTo>
                      <a:pt x="92187" y="595"/>
                      <a:pt x="92187" y="595"/>
                      <a:pt x="100125" y="595"/>
                    </a:cubicBezTo>
                    <a:cubicBezTo>
                      <a:pt x="108062" y="595"/>
                      <a:pt x="108062" y="2083"/>
                      <a:pt x="115999" y="2083"/>
                    </a:cubicBezTo>
                    <a:cubicBezTo>
                      <a:pt x="123936" y="2083"/>
                      <a:pt x="123936" y="2579"/>
                      <a:pt x="132370" y="2579"/>
                    </a:cubicBezTo>
                    <a:cubicBezTo>
                      <a:pt x="140307" y="2579"/>
                      <a:pt x="140307" y="1587"/>
                      <a:pt x="148244" y="1587"/>
                    </a:cubicBezTo>
                    <a:cubicBezTo>
                      <a:pt x="156182" y="1587"/>
                      <a:pt x="156182" y="1091"/>
                      <a:pt x="164615" y="1091"/>
                    </a:cubicBezTo>
                    <a:cubicBezTo>
                      <a:pt x="172552" y="1091"/>
                      <a:pt x="172552" y="595"/>
                      <a:pt x="180985" y="595"/>
                    </a:cubicBezTo>
                    <a:cubicBezTo>
                      <a:pt x="188923" y="595"/>
                      <a:pt x="188923" y="1091"/>
                      <a:pt x="197356" y="1091"/>
                    </a:cubicBezTo>
                    <a:cubicBezTo>
                      <a:pt x="205293" y="1091"/>
                      <a:pt x="205293" y="2579"/>
                      <a:pt x="213726" y="2579"/>
                    </a:cubicBezTo>
                    <a:cubicBezTo>
                      <a:pt x="221664" y="2579"/>
                      <a:pt x="221664" y="2579"/>
                      <a:pt x="230097" y="2579"/>
                    </a:cubicBezTo>
                    <a:cubicBezTo>
                      <a:pt x="238034" y="2579"/>
                      <a:pt x="238034" y="2579"/>
                      <a:pt x="246468" y="2579"/>
                    </a:cubicBezTo>
                    <a:cubicBezTo>
                      <a:pt x="254901" y="2579"/>
                      <a:pt x="254405" y="595"/>
                      <a:pt x="262838" y="595"/>
                    </a:cubicBezTo>
                    <a:cubicBezTo>
                      <a:pt x="270775" y="595"/>
                      <a:pt x="270775" y="2579"/>
                      <a:pt x="279209" y="2579"/>
                    </a:cubicBezTo>
                    <a:cubicBezTo>
                      <a:pt x="287146" y="2579"/>
                      <a:pt x="287146" y="595"/>
                      <a:pt x="295579" y="595"/>
                    </a:cubicBezTo>
                    <a:cubicBezTo>
                      <a:pt x="303517" y="595"/>
                      <a:pt x="303517" y="1091"/>
                      <a:pt x="311950" y="1091"/>
                    </a:cubicBezTo>
                    <a:cubicBezTo>
                      <a:pt x="319887" y="1091"/>
                      <a:pt x="319887" y="595"/>
                      <a:pt x="328321" y="595"/>
                    </a:cubicBezTo>
                    <a:cubicBezTo>
                      <a:pt x="336258" y="595"/>
                      <a:pt x="336258" y="2579"/>
                      <a:pt x="344691" y="2579"/>
                    </a:cubicBezTo>
                    <a:cubicBezTo>
                      <a:pt x="352628" y="2579"/>
                      <a:pt x="354117" y="-2878"/>
                      <a:pt x="360566" y="2083"/>
                    </a:cubicBezTo>
                    <a:cubicBezTo>
                      <a:pt x="365030" y="5060"/>
                      <a:pt x="362054" y="7540"/>
                      <a:pt x="360069" y="12997"/>
                    </a:cubicBezTo>
                    <a:cubicBezTo>
                      <a:pt x="357589" y="21430"/>
                      <a:pt x="356101" y="20934"/>
                      <a:pt x="352132" y="28871"/>
                    </a:cubicBezTo>
                    <a:cubicBezTo>
                      <a:pt x="348164" y="36809"/>
                      <a:pt x="347667" y="36809"/>
                      <a:pt x="343699" y="44746"/>
                    </a:cubicBezTo>
                    <a:cubicBezTo>
                      <a:pt x="339730" y="52683"/>
                      <a:pt x="343699" y="56652"/>
                      <a:pt x="336258" y="61613"/>
                    </a:cubicBezTo>
                    <a:cubicBezTo>
                      <a:pt x="329809" y="66077"/>
                      <a:pt x="327824" y="62108"/>
                      <a:pt x="319887" y="62108"/>
                    </a:cubicBezTo>
                    <a:cubicBezTo>
                      <a:pt x="311950" y="62108"/>
                      <a:pt x="311950" y="61116"/>
                      <a:pt x="304013" y="61116"/>
                    </a:cubicBezTo>
                    <a:cubicBezTo>
                      <a:pt x="296076" y="61116"/>
                      <a:pt x="296076" y="60620"/>
                      <a:pt x="288138" y="60620"/>
                    </a:cubicBezTo>
                    <a:cubicBezTo>
                      <a:pt x="280201" y="60620"/>
                      <a:pt x="280201" y="61613"/>
                      <a:pt x="272264" y="61613"/>
                    </a:cubicBezTo>
                    <a:cubicBezTo>
                      <a:pt x="264326" y="61613"/>
                      <a:pt x="264326" y="60620"/>
                      <a:pt x="256389" y="60620"/>
                    </a:cubicBezTo>
                    <a:cubicBezTo>
                      <a:pt x="248452" y="60620"/>
                      <a:pt x="248452" y="61613"/>
                      <a:pt x="240515" y="61613"/>
                    </a:cubicBezTo>
                    <a:cubicBezTo>
                      <a:pt x="232578" y="61613"/>
                      <a:pt x="232578" y="62108"/>
                      <a:pt x="224640" y="62108"/>
                    </a:cubicBezTo>
                    <a:cubicBezTo>
                      <a:pt x="216703" y="62108"/>
                      <a:pt x="216703" y="62108"/>
                      <a:pt x="208766" y="62108"/>
                    </a:cubicBezTo>
                    <a:cubicBezTo>
                      <a:pt x="200829" y="62108"/>
                      <a:pt x="200829" y="61116"/>
                      <a:pt x="192891" y="61116"/>
                    </a:cubicBezTo>
                    <a:cubicBezTo>
                      <a:pt x="184954" y="61116"/>
                      <a:pt x="184954" y="61613"/>
                      <a:pt x="177017" y="61613"/>
                    </a:cubicBezTo>
                    <a:cubicBezTo>
                      <a:pt x="169079" y="61613"/>
                      <a:pt x="169079" y="61613"/>
                      <a:pt x="161142" y="61613"/>
                    </a:cubicBezTo>
                    <a:cubicBezTo>
                      <a:pt x="153205" y="61613"/>
                      <a:pt x="153205" y="60620"/>
                      <a:pt x="145268" y="60620"/>
                    </a:cubicBezTo>
                    <a:cubicBezTo>
                      <a:pt x="137331" y="60620"/>
                      <a:pt x="137331" y="61613"/>
                      <a:pt x="129393" y="61613"/>
                    </a:cubicBezTo>
                    <a:cubicBezTo>
                      <a:pt x="121456" y="61613"/>
                      <a:pt x="121456" y="59628"/>
                      <a:pt x="113519" y="59628"/>
                    </a:cubicBezTo>
                    <a:cubicBezTo>
                      <a:pt x="105581" y="59628"/>
                      <a:pt x="105581" y="61116"/>
                      <a:pt x="97644" y="61116"/>
                    </a:cubicBezTo>
                    <a:cubicBezTo>
                      <a:pt x="89707" y="61116"/>
                      <a:pt x="89707" y="60124"/>
                      <a:pt x="81770" y="60124"/>
                    </a:cubicBezTo>
                    <a:cubicBezTo>
                      <a:pt x="73833" y="60124"/>
                      <a:pt x="73833" y="59628"/>
                      <a:pt x="65895" y="59628"/>
                    </a:cubicBezTo>
                    <a:cubicBezTo>
                      <a:pt x="57958" y="59628"/>
                      <a:pt x="57958" y="59628"/>
                      <a:pt x="50021" y="59628"/>
                    </a:cubicBezTo>
                    <a:cubicBezTo>
                      <a:pt x="42084" y="59628"/>
                      <a:pt x="40595" y="65581"/>
                      <a:pt x="33650" y="61116"/>
                    </a:cubicBezTo>
                    <a:cubicBezTo>
                      <a:pt x="25713" y="56155"/>
                      <a:pt x="29186" y="52683"/>
                      <a:pt x="24225" y="44746"/>
                    </a:cubicBezTo>
                    <a:cubicBezTo>
                      <a:pt x="19264" y="36809"/>
                      <a:pt x="18768" y="37305"/>
                      <a:pt x="13807" y="28871"/>
                    </a:cubicBezTo>
                    <a:cubicBezTo>
                      <a:pt x="8846" y="20934"/>
                      <a:pt x="8846" y="20934"/>
                      <a:pt x="3886" y="12501"/>
                    </a:cubicBezTo>
                    <a:cubicBezTo>
                      <a:pt x="-579" y="8036"/>
                      <a:pt x="-1571" y="5060"/>
                      <a:pt x="2893" y="208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DA3E4B3-2635-2154-8370-396B73FEB969}"/>
                </a:ext>
              </a:extLst>
            </p:cNvPr>
            <p:cNvSpPr/>
            <p:nvPr/>
          </p:nvSpPr>
          <p:spPr>
            <a:xfrm>
              <a:off x="5092606" y="3313800"/>
              <a:ext cx="110129" cy="112113"/>
            </a:xfrm>
            <a:custGeom>
              <a:avLst/>
              <a:gdLst>
                <a:gd name="connsiteX0" fmla="*/ 0 w 110129"/>
                <a:gd name="connsiteY0" fmla="*/ 112113 h 112113"/>
                <a:gd name="connsiteX1" fmla="*/ 10418 w 110129"/>
                <a:gd name="connsiteY1" fmla="*/ 100704 h 112113"/>
                <a:gd name="connsiteX2" fmla="*/ 21827 w 110129"/>
                <a:gd name="connsiteY2" fmla="*/ 89790 h 112113"/>
                <a:gd name="connsiteX3" fmla="*/ 32245 w 110129"/>
                <a:gd name="connsiteY3" fmla="*/ 78380 h 112113"/>
                <a:gd name="connsiteX4" fmla="*/ 44151 w 110129"/>
                <a:gd name="connsiteY4" fmla="*/ 67963 h 112113"/>
                <a:gd name="connsiteX5" fmla="*/ 54569 w 110129"/>
                <a:gd name="connsiteY5" fmla="*/ 56057 h 112113"/>
                <a:gd name="connsiteX6" fmla="*/ 64986 w 110129"/>
                <a:gd name="connsiteY6" fmla="*/ 44151 h 112113"/>
                <a:gd name="connsiteX7" fmla="*/ 76396 w 110129"/>
                <a:gd name="connsiteY7" fmla="*/ 33237 h 112113"/>
                <a:gd name="connsiteX8" fmla="*/ 88302 w 110129"/>
                <a:gd name="connsiteY8" fmla="*/ 22819 h 112113"/>
                <a:gd name="connsiteX9" fmla="*/ 98719 w 110129"/>
                <a:gd name="connsiteY9" fmla="*/ 10914 h 112113"/>
                <a:gd name="connsiteX10" fmla="*/ 110129 w 110129"/>
                <a:gd name="connsiteY10" fmla="*/ 0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129" h="112113">
                  <a:moveTo>
                    <a:pt x="0" y="112113"/>
                  </a:moveTo>
                  <a:cubicBezTo>
                    <a:pt x="5457" y="106657"/>
                    <a:pt x="4961" y="106161"/>
                    <a:pt x="10418" y="100704"/>
                  </a:cubicBezTo>
                  <a:cubicBezTo>
                    <a:pt x="15874" y="95247"/>
                    <a:pt x="16371" y="95247"/>
                    <a:pt x="21827" y="89790"/>
                  </a:cubicBezTo>
                  <a:cubicBezTo>
                    <a:pt x="27284" y="84333"/>
                    <a:pt x="26788" y="83837"/>
                    <a:pt x="32245" y="78380"/>
                  </a:cubicBezTo>
                  <a:cubicBezTo>
                    <a:pt x="37702" y="72924"/>
                    <a:pt x="38198" y="73419"/>
                    <a:pt x="44151" y="67963"/>
                  </a:cubicBezTo>
                  <a:cubicBezTo>
                    <a:pt x="49608" y="62506"/>
                    <a:pt x="49112" y="61514"/>
                    <a:pt x="54569" y="56057"/>
                  </a:cubicBezTo>
                  <a:cubicBezTo>
                    <a:pt x="60025" y="50600"/>
                    <a:pt x="59529" y="50104"/>
                    <a:pt x="64986" y="44151"/>
                  </a:cubicBezTo>
                  <a:cubicBezTo>
                    <a:pt x="70443" y="38694"/>
                    <a:pt x="70939" y="38694"/>
                    <a:pt x="76396" y="33237"/>
                  </a:cubicBezTo>
                  <a:cubicBezTo>
                    <a:pt x="81853" y="27780"/>
                    <a:pt x="82349" y="28277"/>
                    <a:pt x="88302" y="22819"/>
                  </a:cubicBezTo>
                  <a:cubicBezTo>
                    <a:pt x="93759" y="17363"/>
                    <a:pt x="92766" y="16371"/>
                    <a:pt x="98719" y="10914"/>
                  </a:cubicBezTo>
                  <a:cubicBezTo>
                    <a:pt x="104672" y="5457"/>
                    <a:pt x="104672" y="5953"/>
                    <a:pt x="110129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6AC83348-36F7-075C-B4DB-F553A72DF4F5}"/>
                </a:ext>
              </a:extLst>
            </p:cNvPr>
            <p:cNvSpPr/>
            <p:nvPr/>
          </p:nvSpPr>
          <p:spPr>
            <a:xfrm>
              <a:off x="5147174" y="3317273"/>
              <a:ext cx="108144" cy="109137"/>
            </a:xfrm>
            <a:custGeom>
              <a:avLst/>
              <a:gdLst>
                <a:gd name="connsiteX0" fmla="*/ 0 w 108144"/>
                <a:gd name="connsiteY0" fmla="*/ 109137 h 109137"/>
                <a:gd name="connsiteX1" fmla="*/ 11906 w 108144"/>
                <a:gd name="connsiteY1" fmla="*/ 96735 h 109137"/>
                <a:gd name="connsiteX2" fmla="*/ 23812 w 108144"/>
                <a:gd name="connsiteY2" fmla="*/ 84333 h 109137"/>
                <a:gd name="connsiteX3" fmla="*/ 36214 w 108144"/>
                <a:gd name="connsiteY3" fmla="*/ 72427 h 109137"/>
                <a:gd name="connsiteX4" fmla="*/ 47623 w 108144"/>
                <a:gd name="connsiteY4" fmla="*/ 59529 h 109137"/>
                <a:gd name="connsiteX5" fmla="*/ 60521 w 108144"/>
                <a:gd name="connsiteY5" fmla="*/ 48616 h 109137"/>
                <a:gd name="connsiteX6" fmla="*/ 71435 w 108144"/>
                <a:gd name="connsiteY6" fmla="*/ 35718 h 109137"/>
                <a:gd name="connsiteX7" fmla="*/ 84333 w 108144"/>
                <a:gd name="connsiteY7" fmla="*/ 24804 h 109137"/>
                <a:gd name="connsiteX8" fmla="*/ 96239 w 108144"/>
                <a:gd name="connsiteY8" fmla="*/ 12402 h 109137"/>
                <a:gd name="connsiteX9" fmla="*/ 108145 w 108144"/>
                <a:gd name="connsiteY9" fmla="*/ 0 h 10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144" h="109137">
                  <a:moveTo>
                    <a:pt x="0" y="109137"/>
                  </a:moveTo>
                  <a:cubicBezTo>
                    <a:pt x="5953" y="103184"/>
                    <a:pt x="5953" y="102688"/>
                    <a:pt x="11906" y="96735"/>
                  </a:cubicBezTo>
                  <a:cubicBezTo>
                    <a:pt x="17859" y="90782"/>
                    <a:pt x="17859" y="90286"/>
                    <a:pt x="23812" y="84333"/>
                  </a:cubicBezTo>
                  <a:cubicBezTo>
                    <a:pt x="29765" y="78380"/>
                    <a:pt x="29765" y="78380"/>
                    <a:pt x="36214" y="72427"/>
                  </a:cubicBezTo>
                  <a:cubicBezTo>
                    <a:pt x="42167" y="66474"/>
                    <a:pt x="41670" y="65482"/>
                    <a:pt x="47623" y="59529"/>
                  </a:cubicBezTo>
                  <a:cubicBezTo>
                    <a:pt x="53576" y="53576"/>
                    <a:pt x="54569" y="54569"/>
                    <a:pt x="60521" y="48616"/>
                  </a:cubicBezTo>
                  <a:cubicBezTo>
                    <a:pt x="66474" y="42663"/>
                    <a:pt x="65482" y="41670"/>
                    <a:pt x="71435" y="35718"/>
                  </a:cubicBezTo>
                  <a:cubicBezTo>
                    <a:pt x="77388" y="29765"/>
                    <a:pt x="78380" y="30757"/>
                    <a:pt x="84333" y="24804"/>
                  </a:cubicBezTo>
                  <a:cubicBezTo>
                    <a:pt x="90286" y="18851"/>
                    <a:pt x="90286" y="18355"/>
                    <a:pt x="96239" y="12402"/>
                  </a:cubicBezTo>
                  <a:cubicBezTo>
                    <a:pt x="102192" y="6449"/>
                    <a:pt x="102192" y="5953"/>
                    <a:pt x="108145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6A33C58D-1630-5863-B0B3-A0936860AB88}"/>
                </a:ext>
              </a:extLst>
            </p:cNvPr>
            <p:cNvSpPr/>
            <p:nvPr/>
          </p:nvSpPr>
          <p:spPr>
            <a:xfrm>
              <a:off x="5188845" y="3143149"/>
              <a:ext cx="68458" cy="70443"/>
            </a:xfrm>
            <a:custGeom>
              <a:avLst/>
              <a:gdLst>
                <a:gd name="connsiteX0" fmla="*/ 68459 w 68458"/>
                <a:gd name="connsiteY0" fmla="*/ 0 h 70443"/>
                <a:gd name="connsiteX1" fmla="*/ 57049 w 68458"/>
                <a:gd name="connsiteY1" fmla="*/ 11410 h 70443"/>
                <a:gd name="connsiteX2" fmla="*/ 45639 w 68458"/>
                <a:gd name="connsiteY2" fmla="*/ 23316 h 70443"/>
                <a:gd name="connsiteX3" fmla="*/ 35222 w 68458"/>
                <a:gd name="connsiteY3" fmla="*/ 35718 h 70443"/>
                <a:gd name="connsiteX4" fmla="*/ 23812 w 68458"/>
                <a:gd name="connsiteY4" fmla="*/ 47624 h 70443"/>
                <a:gd name="connsiteX5" fmla="*/ 11906 w 68458"/>
                <a:gd name="connsiteY5" fmla="*/ 59033 h 70443"/>
                <a:gd name="connsiteX6" fmla="*/ 0 w 68458"/>
                <a:gd name="connsiteY6" fmla="*/ 70443 h 7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458" h="70443">
                  <a:moveTo>
                    <a:pt x="68459" y="0"/>
                  </a:moveTo>
                  <a:cubicBezTo>
                    <a:pt x="62506" y="5953"/>
                    <a:pt x="62506" y="5953"/>
                    <a:pt x="57049" y="11410"/>
                  </a:cubicBezTo>
                  <a:cubicBezTo>
                    <a:pt x="51096" y="17363"/>
                    <a:pt x="51592" y="17363"/>
                    <a:pt x="45639" y="23316"/>
                  </a:cubicBezTo>
                  <a:cubicBezTo>
                    <a:pt x="39686" y="29269"/>
                    <a:pt x="40678" y="30261"/>
                    <a:pt x="35222" y="35718"/>
                  </a:cubicBezTo>
                  <a:cubicBezTo>
                    <a:pt x="29269" y="41671"/>
                    <a:pt x="29765" y="41671"/>
                    <a:pt x="23812" y="47624"/>
                  </a:cubicBezTo>
                  <a:cubicBezTo>
                    <a:pt x="17859" y="53577"/>
                    <a:pt x="17363" y="53080"/>
                    <a:pt x="11906" y="59033"/>
                  </a:cubicBezTo>
                  <a:cubicBezTo>
                    <a:pt x="5953" y="64986"/>
                    <a:pt x="5953" y="64490"/>
                    <a:pt x="0" y="704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92494A47-6098-35CB-FFA4-5BD78612F13E}"/>
                </a:ext>
              </a:extLst>
            </p:cNvPr>
            <p:cNvSpPr/>
            <p:nvPr/>
          </p:nvSpPr>
          <p:spPr>
            <a:xfrm>
              <a:off x="5232996" y="3140173"/>
              <a:ext cx="74907" cy="73915"/>
            </a:xfrm>
            <a:custGeom>
              <a:avLst/>
              <a:gdLst>
                <a:gd name="connsiteX0" fmla="*/ 0 w 74907"/>
                <a:gd name="connsiteY0" fmla="*/ 73916 h 73915"/>
                <a:gd name="connsiteX1" fmla="*/ 13394 w 74907"/>
                <a:gd name="connsiteY1" fmla="*/ 62506 h 73915"/>
                <a:gd name="connsiteX2" fmla="*/ 24308 w 74907"/>
                <a:gd name="connsiteY2" fmla="*/ 48616 h 73915"/>
                <a:gd name="connsiteX3" fmla="*/ 36710 w 74907"/>
                <a:gd name="connsiteY3" fmla="*/ 36214 h 73915"/>
                <a:gd name="connsiteX4" fmla="*/ 50600 w 74907"/>
                <a:gd name="connsiteY4" fmla="*/ 25300 h 73915"/>
                <a:gd name="connsiteX5" fmla="*/ 62010 w 74907"/>
                <a:gd name="connsiteY5" fmla="*/ 11906 h 73915"/>
                <a:gd name="connsiteX6" fmla="*/ 74908 w 74907"/>
                <a:gd name="connsiteY6" fmla="*/ 0 h 73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07" h="73915">
                  <a:moveTo>
                    <a:pt x="0" y="73916"/>
                  </a:moveTo>
                  <a:cubicBezTo>
                    <a:pt x="5953" y="67963"/>
                    <a:pt x="7441" y="68955"/>
                    <a:pt x="13394" y="62506"/>
                  </a:cubicBezTo>
                  <a:cubicBezTo>
                    <a:pt x="19347" y="56553"/>
                    <a:pt x="18355" y="55065"/>
                    <a:pt x="24308" y="48616"/>
                  </a:cubicBezTo>
                  <a:cubicBezTo>
                    <a:pt x="30261" y="42663"/>
                    <a:pt x="30261" y="42167"/>
                    <a:pt x="36710" y="36214"/>
                  </a:cubicBezTo>
                  <a:cubicBezTo>
                    <a:pt x="42663" y="30261"/>
                    <a:pt x="44647" y="31749"/>
                    <a:pt x="50600" y="25300"/>
                  </a:cubicBezTo>
                  <a:cubicBezTo>
                    <a:pt x="56553" y="19347"/>
                    <a:pt x="56057" y="18355"/>
                    <a:pt x="62010" y="11906"/>
                  </a:cubicBezTo>
                  <a:cubicBezTo>
                    <a:pt x="67963" y="5457"/>
                    <a:pt x="68459" y="5953"/>
                    <a:pt x="7490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69" name="Graphic 10">
              <a:extLst>
                <a:ext uri="{FF2B5EF4-FFF2-40B4-BE49-F238E27FC236}">
                  <a16:creationId xmlns:a16="http://schemas.microsoft.com/office/drawing/2014/main" id="{5EE4D251-012F-1E23-EB7D-E20FF468D331}"/>
                </a:ext>
              </a:extLst>
            </p:cNvPr>
            <p:cNvGrpSpPr/>
            <p:nvPr/>
          </p:nvGrpSpPr>
          <p:grpSpPr>
            <a:xfrm>
              <a:off x="4998171" y="3095360"/>
              <a:ext cx="362317" cy="392204"/>
              <a:chOff x="4998171" y="3095360"/>
              <a:chExt cx="362317" cy="392204"/>
            </a:xfrm>
            <a:noFill/>
          </p:grpSpPr>
          <p:sp>
            <p:nvSpPr>
              <p:cNvPr id="1723" name="Freeform: Shape 1722">
                <a:extLst>
                  <a:ext uri="{FF2B5EF4-FFF2-40B4-BE49-F238E27FC236}">
                    <a16:creationId xmlns:a16="http://schemas.microsoft.com/office/drawing/2014/main" id="{BAC09BA9-2103-C61D-5D79-345A5A3597BF}"/>
                  </a:ext>
                </a:extLst>
              </p:cNvPr>
              <p:cNvSpPr/>
              <p:nvPr/>
            </p:nvSpPr>
            <p:spPr>
              <a:xfrm>
                <a:off x="5012933" y="3095360"/>
                <a:ext cx="335195" cy="335318"/>
              </a:xfrm>
              <a:custGeom>
                <a:avLst/>
                <a:gdLst>
                  <a:gd name="connsiteX0" fmla="*/ 330688 w 335195"/>
                  <a:gd name="connsiteY0" fmla="*/ 331545 h 335318"/>
                  <a:gd name="connsiteX1" fmla="*/ 314814 w 335195"/>
                  <a:gd name="connsiteY1" fmla="*/ 330553 h 335318"/>
                  <a:gd name="connsiteX2" fmla="*/ 298443 w 335195"/>
                  <a:gd name="connsiteY2" fmla="*/ 332042 h 335318"/>
                  <a:gd name="connsiteX3" fmla="*/ 282073 w 335195"/>
                  <a:gd name="connsiteY3" fmla="*/ 331545 h 335318"/>
                  <a:gd name="connsiteX4" fmla="*/ 265702 w 335195"/>
                  <a:gd name="connsiteY4" fmla="*/ 331049 h 335318"/>
                  <a:gd name="connsiteX5" fmla="*/ 249331 w 335195"/>
                  <a:gd name="connsiteY5" fmla="*/ 332042 h 335318"/>
                  <a:gd name="connsiteX6" fmla="*/ 232961 w 335195"/>
                  <a:gd name="connsiteY6" fmla="*/ 331545 h 335318"/>
                  <a:gd name="connsiteX7" fmla="*/ 216590 w 335195"/>
                  <a:gd name="connsiteY7" fmla="*/ 332538 h 335318"/>
                  <a:gd name="connsiteX8" fmla="*/ 200220 w 335195"/>
                  <a:gd name="connsiteY8" fmla="*/ 331049 h 335318"/>
                  <a:gd name="connsiteX9" fmla="*/ 183849 w 335195"/>
                  <a:gd name="connsiteY9" fmla="*/ 333034 h 335318"/>
                  <a:gd name="connsiteX10" fmla="*/ 167478 w 335195"/>
                  <a:gd name="connsiteY10" fmla="*/ 331545 h 335318"/>
                  <a:gd name="connsiteX11" fmla="*/ 151108 w 335195"/>
                  <a:gd name="connsiteY11" fmla="*/ 331545 h 335318"/>
                  <a:gd name="connsiteX12" fmla="*/ 134737 w 335195"/>
                  <a:gd name="connsiteY12" fmla="*/ 332538 h 335318"/>
                  <a:gd name="connsiteX13" fmla="*/ 118367 w 335195"/>
                  <a:gd name="connsiteY13" fmla="*/ 331049 h 335318"/>
                  <a:gd name="connsiteX14" fmla="*/ 101996 w 335195"/>
                  <a:gd name="connsiteY14" fmla="*/ 331545 h 335318"/>
                  <a:gd name="connsiteX15" fmla="*/ 85626 w 335195"/>
                  <a:gd name="connsiteY15" fmla="*/ 331049 h 335318"/>
                  <a:gd name="connsiteX16" fmla="*/ 69255 w 335195"/>
                  <a:gd name="connsiteY16" fmla="*/ 331545 h 335318"/>
                  <a:gd name="connsiteX17" fmla="*/ 52885 w 335195"/>
                  <a:gd name="connsiteY17" fmla="*/ 331545 h 335318"/>
                  <a:gd name="connsiteX18" fmla="*/ 36514 w 335195"/>
                  <a:gd name="connsiteY18" fmla="*/ 331049 h 335318"/>
                  <a:gd name="connsiteX19" fmla="*/ 20144 w 335195"/>
                  <a:gd name="connsiteY19" fmla="*/ 333034 h 335318"/>
                  <a:gd name="connsiteX20" fmla="*/ 2781 w 335195"/>
                  <a:gd name="connsiteY20" fmla="*/ 332538 h 335318"/>
                  <a:gd name="connsiteX21" fmla="*/ 2285 w 335195"/>
                  <a:gd name="connsiteY21" fmla="*/ 315175 h 335318"/>
                  <a:gd name="connsiteX22" fmla="*/ 4269 w 335195"/>
                  <a:gd name="connsiteY22" fmla="*/ 298804 h 335318"/>
                  <a:gd name="connsiteX23" fmla="*/ 4269 w 335195"/>
                  <a:gd name="connsiteY23" fmla="*/ 282434 h 335318"/>
                  <a:gd name="connsiteX24" fmla="*/ 3773 w 335195"/>
                  <a:gd name="connsiteY24" fmla="*/ 266063 h 335318"/>
                  <a:gd name="connsiteX25" fmla="*/ 3277 w 335195"/>
                  <a:gd name="connsiteY25" fmla="*/ 249693 h 335318"/>
                  <a:gd name="connsiteX26" fmla="*/ 4269 w 335195"/>
                  <a:gd name="connsiteY26" fmla="*/ 233322 h 335318"/>
                  <a:gd name="connsiteX27" fmla="*/ 4269 w 335195"/>
                  <a:gd name="connsiteY27" fmla="*/ 216952 h 335318"/>
                  <a:gd name="connsiteX28" fmla="*/ 4269 w 335195"/>
                  <a:gd name="connsiteY28" fmla="*/ 200581 h 335318"/>
                  <a:gd name="connsiteX29" fmla="*/ 3773 w 335195"/>
                  <a:gd name="connsiteY29" fmla="*/ 184210 h 335318"/>
                  <a:gd name="connsiteX30" fmla="*/ 3773 w 335195"/>
                  <a:gd name="connsiteY30" fmla="*/ 167840 h 335318"/>
                  <a:gd name="connsiteX31" fmla="*/ 3773 w 335195"/>
                  <a:gd name="connsiteY31" fmla="*/ 151469 h 335318"/>
                  <a:gd name="connsiteX32" fmla="*/ 4269 w 335195"/>
                  <a:gd name="connsiteY32" fmla="*/ 135099 h 335318"/>
                  <a:gd name="connsiteX33" fmla="*/ 4765 w 335195"/>
                  <a:gd name="connsiteY33" fmla="*/ 118728 h 335318"/>
                  <a:gd name="connsiteX34" fmla="*/ 3773 w 335195"/>
                  <a:gd name="connsiteY34" fmla="*/ 102357 h 335318"/>
                  <a:gd name="connsiteX35" fmla="*/ 3277 w 335195"/>
                  <a:gd name="connsiteY35" fmla="*/ 85987 h 335318"/>
                  <a:gd name="connsiteX36" fmla="*/ 5261 w 335195"/>
                  <a:gd name="connsiteY36" fmla="*/ 69616 h 335318"/>
                  <a:gd name="connsiteX37" fmla="*/ 3773 w 335195"/>
                  <a:gd name="connsiteY37" fmla="*/ 53246 h 335318"/>
                  <a:gd name="connsiteX38" fmla="*/ 4269 w 335195"/>
                  <a:gd name="connsiteY38" fmla="*/ 36875 h 335318"/>
                  <a:gd name="connsiteX39" fmla="*/ 2781 w 335195"/>
                  <a:gd name="connsiteY39" fmla="*/ 20504 h 335318"/>
                  <a:gd name="connsiteX40" fmla="*/ 4269 w 335195"/>
                  <a:gd name="connsiteY40" fmla="*/ 4134 h 335318"/>
                  <a:gd name="connsiteX41" fmla="*/ 20640 w 335195"/>
                  <a:gd name="connsiteY41" fmla="*/ 4134 h 335318"/>
                  <a:gd name="connsiteX42" fmla="*/ 37010 w 335195"/>
                  <a:gd name="connsiteY42" fmla="*/ 3142 h 335318"/>
                  <a:gd name="connsiteX43" fmla="*/ 53381 w 335195"/>
                  <a:gd name="connsiteY43" fmla="*/ 4630 h 335318"/>
                  <a:gd name="connsiteX44" fmla="*/ 69751 w 335195"/>
                  <a:gd name="connsiteY44" fmla="*/ 3142 h 335318"/>
                  <a:gd name="connsiteX45" fmla="*/ 86122 w 335195"/>
                  <a:gd name="connsiteY45" fmla="*/ 3142 h 335318"/>
                  <a:gd name="connsiteX46" fmla="*/ 102492 w 335195"/>
                  <a:gd name="connsiteY46" fmla="*/ 5126 h 335318"/>
                  <a:gd name="connsiteX47" fmla="*/ 118863 w 335195"/>
                  <a:gd name="connsiteY47" fmla="*/ 3638 h 335318"/>
                  <a:gd name="connsiteX48" fmla="*/ 135233 w 335195"/>
                  <a:gd name="connsiteY48" fmla="*/ 2646 h 335318"/>
                  <a:gd name="connsiteX49" fmla="*/ 151604 w 335195"/>
                  <a:gd name="connsiteY49" fmla="*/ 4134 h 335318"/>
                  <a:gd name="connsiteX50" fmla="*/ 167975 w 335195"/>
                  <a:gd name="connsiteY50" fmla="*/ 4630 h 335318"/>
                  <a:gd name="connsiteX51" fmla="*/ 184345 w 335195"/>
                  <a:gd name="connsiteY51" fmla="*/ 3638 h 335318"/>
                  <a:gd name="connsiteX52" fmla="*/ 200716 w 335195"/>
                  <a:gd name="connsiteY52" fmla="*/ 4134 h 335318"/>
                  <a:gd name="connsiteX53" fmla="*/ 217086 w 335195"/>
                  <a:gd name="connsiteY53" fmla="*/ 4134 h 335318"/>
                  <a:gd name="connsiteX54" fmla="*/ 233457 w 335195"/>
                  <a:gd name="connsiteY54" fmla="*/ 4630 h 335318"/>
                  <a:gd name="connsiteX55" fmla="*/ 249828 w 335195"/>
                  <a:gd name="connsiteY55" fmla="*/ 4134 h 335318"/>
                  <a:gd name="connsiteX56" fmla="*/ 266198 w 335195"/>
                  <a:gd name="connsiteY56" fmla="*/ 3142 h 335318"/>
                  <a:gd name="connsiteX57" fmla="*/ 282569 w 335195"/>
                  <a:gd name="connsiteY57" fmla="*/ 3638 h 335318"/>
                  <a:gd name="connsiteX58" fmla="*/ 298939 w 335195"/>
                  <a:gd name="connsiteY58" fmla="*/ 4630 h 335318"/>
                  <a:gd name="connsiteX59" fmla="*/ 315310 w 335195"/>
                  <a:gd name="connsiteY59" fmla="*/ 2646 h 335318"/>
                  <a:gd name="connsiteX60" fmla="*/ 332673 w 335195"/>
                  <a:gd name="connsiteY60" fmla="*/ 2646 h 335318"/>
                  <a:gd name="connsiteX61" fmla="*/ 332176 w 335195"/>
                  <a:gd name="connsiteY61" fmla="*/ 20009 h 335318"/>
                  <a:gd name="connsiteX62" fmla="*/ 332673 w 335195"/>
                  <a:gd name="connsiteY62" fmla="*/ 36379 h 335318"/>
                  <a:gd name="connsiteX63" fmla="*/ 332673 w 335195"/>
                  <a:gd name="connsiteY63" fmla="*/ 52750 h 335318"/>
                  <a:gd name="connsiteX64" fmla="*/ 331680 w 335195"/>
                  <a:gd name="connsiteY64" fmla="*/ 69120 h 335318"/>
                  <a:gd name="connsiteX65" fmla="*/ 331680 w 335195"/>
                  <a:gd name="connsiteY65" fmla="*/ 85491 h 335318"/>
                  <a:gd name="connsiteX66" fmla="*/ 331184 w 335195"/>
                  <a:gd name="connsiteY66" fmla="*/ 101861 h 335318"/>
                  <a:gd name="connsiteX67" fmla="*/ 332176 w 335195"/>
                  <a:gd name="connsiteY67" fmla="*/ 118232 h 335318"/>
                  <a:gd name="connsiteX68" fmla="*/ 332673 w 335195"/>
                  <a:gd name="connsiteY68" fmla="*/ 134602 h 335318"/>
                  <a:gd name="connsiteX69" fmla="*/ 332176 w 335195"/>
                  <a:gd name="connsiteY69" fmla="*/ 150973 h 335318"/>
                  <a:gd name="connsiteX70" fmla="*/ 332176 w 335195"/>
                  <a:gd name="connsiteY70" fmla="*/ 167344 h 335318"/>
                  <a:gd name="connsiteX71" fmla="*/ 333169 w 335195"/>
                  <a:gd name="connsiteY71" fmla="*/ 183714 h 335318"/>
                  <a:gd name="connsiteX72" fmla="*/ 332673 w 335195"/>
                  <a:gd name="connsiteY72" fmla="*/ 200085 h 335318"/>
                  <a:gd name="connsiteX73" fmla="*/ 332176 w 335195"/>
                  <a:gd name="connsiteY73" fmla="*/ 216455 h 335318"/>
                  <a:gd name="connsiteX74" fmla="*/ 331184 w 335195"/>
                  <a:gd name="connsiteY74" fmla="*/ 232826 h 335318"/>
                  <a:gd name="connsiteX75" fmla="*/ 332176 w 335195"/>
                  <a:gd name="connsiteY75" fmla="*/ 249197 h 335318"/>
                  <a:gd name="connsiteX76" fmla="*/ 332673 w 335195"/>
                  <a:gd name="connsiteY76" fmla="*/ 265567 h 335318"/>
                  <a:gd name="connsiteX77" fmla="*/ 331184 w 335195"/>
                  <a:gd name="connsiteY77" fmla="*/ 281938 h 335318"/>
                  <a:gd name="connsiteX78" fmla="*/ 332176 w 335195"/>
                  <a:gd name="connsiteY78" fmla="*/ 298308 h 335318"/>
                  <a:gd name="connsiteX79" fmla="*/ 331184 w 335195"/>
                  <a:gd name="connsiteY79" fmla="*/ 315175 h 335318"/>
                  <a:gd name="connsiteX80" fmla="*/ 330688 w 335195"/>
                  <a:gd name="connsiteY80" fmla="*/ 331545 h 335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5195" h="335318">
                    <a:moveTo>
                      <a:pt x="330688" y="331545"/>
                    </a:moveTo>
                    <a:cubicBezTo>
                      <a:pt x="324735" y="337498"/>
                      <a:pt x="322751" y="330553"/>
                      <a:pt x="314814" y="330553"/>
                    </a:cubicBezTo>
                    <a:cubicBezTo>
                      <a:pt x="306380" y="330553"/>
                      <a:pt x="306380" y="332042"/>
                      <a:pt x="298443" y="332042"/>
                    </a:cubicBezTo>
                    <a:cubicBezTo>
                      <a:pt x="290010" y="332042"/>
                      <a:pt x="290010" y="331545"/>
                      <a:pt x="282073" y="331545"/>
                    </a:cubicBezTo>
                    <a:cubicBezTo>
                      <a:pt x="273639" y="331545"/>
                      <a:pt x="273639" y="331049"/>
                      <a:pt x="265702" y="331049"/>
                    </a:cubicBezTo>
                    <a:cubicBezTo>
                      <a:pt x="257269" y="331049"/>
                      <a:pt x="257269" y="332042"/>
                      <a:pt x="249331" y="332042"/>
                    </a:cubicBezTo>
                    <a:cubicBezTo>
                      <a:pt x="240898" y="332042"/>
                      <a:pt x="240898" y="331545"/>
                      <a:pt x="232961" y="331545"/>
                    </a:cubicBezTo>
                    <a:cubicBezTo>
                      <a:pt x="224527" y="331545"/>
                      <a:pt x="224527" y="332538"/>
                      <a:pt x="216590" y="332538"/>
                    </a:cubicBezTo>
                    <a:cubicBezTo>
                      <a:pt x="208157" y="332538"/>
                      <a:pt x="208157" y="331049"/>
                      <a:pt x="200220" y="331049"/>
                    </a:cubicBezTo>
                    <a:cubicBezTo>
                      <a:pt x="191786" y="331049"/>
                      <a:pt x="191786" y="333034"/>
                      <a:pt x="183849" y="333034"/>
                    </a:cubicBezTo>
                    <a:cubicBezTo>
                      <a:pt x="175416" y="333034"/>
                      <a:pt x="175416" y="331545"/>
                      <a:pt x="167478" y="331545"/>
                    </a:cubicBezTo>
                    <a:cubicBezTo>
                      <a:pt x="159045" y="331545"/>
                      <a:pt x="159045" y="331545"/>
                      <a:pt x="151108" y="331545"/>
                    </a:cubicBezTo>
                    <a:cubicBezTo>
                      <a:pt x="142675" y="331545"/>
                      <a:pt x="142675" y="332538"/>
                      <a:pt x="134737" y="332538"/>
                    </a:cubicBezTo>
                    <a:cubicBezTo>
                      <a:pt x="126304" y="332538"/>
                      <a:pt x="126304" y="331049"/>
                      <a:pt x="118367" y="331049"/>
                    </a:cubicBezTo>
                    <a:cubicBezTo>
                      <a:pt x="109934" y="331049"/>
                      <a:pt x="109934" y="331545"/>
                      <a:pt x="101996" y="331545"/>
                    </a:cubicBezTo>
                    <a:cubicBezTo>
                      <a:pt x="93563" y="331545"/>
                      <a:pt x="93563" y="331049"/>
                      <a:pt x="85626" y="331049"/>
                    </a:cubicBezTo>
                    <a:cubicBezTo>
                      <a:pt x="77193" y="331049"/>
                      <a:pt x="77193" y="331545"/>
                      <a:pt x="69255" y="331545"/>
                    </a:cubicBezTo>
                    <a:cubicBezTo>
                      <a:pt x="60822" y="331545"/>
                      <a:pt x="60822" y="331545"/>
                      <a:pt x="52885" y="331545"/>
                    </a:cubicBezTo>
                    <a:cubicBezTo>
                      <a:pt x="44451" y="331545"/>
                      <a:pt x="44451" y="331049"/>
                      <a:pt x="36514" y="331049"/>
                    </a:cubicBezTo>
                    <a:cubicBezTo>
                      <a:pt x="28081" y="331049"/>
                      <a:pt x="28081" y="333034"/>
                      <a:pt x="20144" y="333034"/>
                    </a:cubicBezTo>
                    <a:cubicBezTo>
                      <a:pt x="12206" y="333034"/>
                      <a:pt x="8734" y="338491"/>
                      <a:pt x="2781" y="332538"/>
                    </a:cubicBezTo>
                    <a:cubicBezTo>
                      <a:pt x="-3172" y="326585"/>
                      <a:pt x="2285" y="323608"/>
                      <a:pt x="2285" y="315175"/>
                    </a:cubicBezTo>
                    <a:cubicBezTo>
                      <a:pt x="2285" y="306741"/>
                      <a:pt x="4269" y="306741"/>
                      <a:pt x="4269" y="298804"/>
                    </a:cubicBezTo>
                    <a:cubicBezTo>
                      <a:pt x="4269" y="290371"/>
                      <a:pt x="4269" y="290371"/>
                      <a:pt x="4269" y="282434"/>
                    </a:cubicBezTo>
                    <a:cubicBezTo>
                      <a:pt x="4269" y="274000"/>
                      <a:pt x="3773" y="274000"/>
                      <a:pt x="3773" y="266063"/>
                    </a:cubicBezTo>
                    <a:cubicBezTo>
                      <a:pt x="3773" y="257630"/>
                      <a:pt x="3277" y="257630"/>
                      <a:pt x="3277" y="249693"/>
                    </a:cubicBezTo>
                    <a:cubicBezTo>
                      <a:pt x="3277" y="241259"/>
                      <a:pt x="4269" y="241259"/>
                      <a:pt x="4269" y="233322"/>
                    </a:cubicBezTo>
                    <a:cubicBezTo>
                      <a:pt x="4269" y="224889"/>
                      <a:pt x="4269" y="224889"/>
                      <a:pt x="4269" y="216952"/>
                    </a:cubicBezTo>
                    <a:cubicBezTo>
                      <a:pt x="4269" y="208518"/>
                      <a:pt x="4269" y="208518"/>
                      <a:pt x="4269" y="200581"/>
                    </a:cubicBezTo>
                    <a:cubicBezTo>
                      <a:pt x="4269" y="192148"/>
                      <a:pt x="3773" y="192148"/>
                      <a:pt x="3773" y="184210"/>
                    </a:cubicBezTo>
                    <a:cubicBezTo>
                      <a:pt x="3773" y="175777"/>
                      <a:pt x="3773" y="175777"/>
                      <a:pt x="3773" y="167840"/>
                    </a:cubicBezTo>
                    <a:cubicBezTo>
                      <a:pt x="3773" y="159406"/>
                      <a:pt x="3773" y="159406"/>
                      <a:pt x="3773" y="151469"/>
                    </a:cubicBezTo>
                    <a:cubicBezTo>
                      <a:pt x="3773" y="143036"/>
                      <a:pt x="4269" y="143036"/>
                      <a:pt x="4269" y="135099"/>
                    </a:cubicBezTo>
                    <a:cubicBezTo>
                      <a:pt x="4269" y="126665"/>
                      <a:pt x="4765" y="126665"/>
                      <a:pt x="4765" y="118728"/>
                    </a:cubicBezTo>
                    <a:cubicBezTo>
                      <a:pt x="4765" y="110791"/>
                      <a:pt x="3773" y="110295"/>
                      <a:pt x="3773" y="102357"/>
                    </a:cubicBezTo>
                    <a:cubicBezTo>
                      <a:pt x="3773" y="93924"/>
                      <a:pt x="3277" y="93924"/>
                      <a:pt x="3277" y="85987"/>
                    </a:cubicBezTo>
                    <a:cubicBezTo>
                      <a:pt x="3277" y="77553"/>
                      <a:pt x="5261" y="77553"/>
                      <a:pt x="5261" y="69616"/>
                    </a:cubicBezTo>
                    <a:cubicBezTo>
                      <a:pt x="5261" y="61183"/>
                      <a:pt x="3773" y="61183"/>
                      <a:pt x="3773" y="53246"/>
                    </a:cubicBezTo>
                    <a:cubicBezTo>
                      <a:pt x="3773" y="44812"/>
                      <a:pt x="4269" y="44812"/>
                      <a:pt x="4269" y="36875"/>
                    </a:cubicBezTo>
                    <a:cubicBezTo>
                      <a:pt x="4269" y="28442"/>
                      <a:pt x="2781" y="28442"/>
                      <a:pt x="2781" y="20504"/>
                    </a:cubicBezTo>
                    <a:cubicBezTo>
                      <a:pt x="2781" y="12567"/>
                      <a:pt x="-1684" y="10087"/>
                      <a:pt x="4269" y="4134"/>
                    </a:cubicBezTo>
                    <a:cubicBezTo>
                      <a:pt x="10222" y="-1819"/>
                      <a:pt x="12206" y="4134"/>
                      <a:pt x="20640" y="4134"/>
                    </a:cubicBezTo>
                    <a:cubicBezTo>
                      <a:pt x="29073" y="4134"/>
                      <a:pt x="29073" y="3142"/>
                      <a:pt x="37010" y="3142"/>
                    </a:cubicBezTo>
                    <a:cubicBezTo>
                      <a:pt x="45443" y="3142"/>
                      <a:pt x="45443" y="4630"/>
                      <a:pt x="53381" y="4630"/>
                    </a:cubicBezTo>
                    <a:cubicBezTo>
                      <a:pt x="61814" y="4630"/>
                      <a:pt x="61814" y="3142"/>
                      <a:pt x="69751" y="3142"/>
                    </a:cubicBezTo>
                    <a:cubicBezTo>
                      <a:pt x="78184" y="3142"/>
                      <a:pt x="78184" y="3142"/>
                      <a:pt x="86122" y="3142"/>
                    </a:cubicBezTo>
                    <a:cubicBezTo>
                      <a:pt x="94555" y="3142"/>
                      <a:pt x="94555" y="5126"/>
                      <a:pt x="102492" y="5126"/>
                    </a:cubicBezTo>
                    <a:cubicBezTo>
                      <a:pt x="110926" y="5126"/>
                      <a:pt x="110926" y="3638"/>
                      <a:pt x="118863" y="3638"/>
                    </a:cubicBezTo>
                    <a:cubicBezTo>
                      <a:pt x="127296" y="3638"/>
                      <a:pt x="127296" y="2646"/>
                      <a:pt x="135233" y="2646"/>
                    </a:cubicBezTo>
                    <a:cubicBezTo>
                      <a:pt x="143667" y="2646"/>
                      <a:pt x="143667" y="4134"/>
                      <a:pt x="151604" y="4134"/>
                    </a:cubicBezTo>
                    <a:cubicBezTo>
                      <a:pt x="160037" y="4134"/>
                      <a:pt x="160037" y="4630"/>
                      <a:pt x="167975" y="4630"/>
                    </a:cubicBezTo>
                    <a:cubicBezTo>
                      <a:pt x="176408" y="4630"/>
                      <a:pt x="176408" y="3638"/>
                      <a:pt x="184345" y="3638"/>
                    </a:cubicBezTo>
                    <a:cubicBezTo>
                      <a:pt x="192779" y="3638"/>
                      <a:pt x="192779" y="4134"/>
                      <a:pt x="200716" y="4134"/>
                    </a:cubicBezTo>
                    <a:cubicBezTo>
                      <a:pt x="209149" y="4134"/>
                      <a:pt x="209149" y="4134"/>
                      <a:pt x="217086" y="4134"/>
                    </a:cubicBezTo>
                    <a:cubicBezTo>
                      <a:pt x="225024" y="4134"/>
                      <a:pt x="225520" y="4630"/>
                      <a:pt x="233457" y="4630"/>
                    </a:cubicBezTo>
                    <a:cubicBezTo>
                      <a:pt x="241890" y="4630"/>
                      <a:pt x="241890" y="4134"/>
                      <a:pt x="249828" y="4134"/>
                    </a:cubicBezTo>
                    <a:cubicBezTo>
                      <a:pt x="258261" y="4134"/>
                      <a:pt x="258261" y="3142"/>
                      <a:pt x="266198" y="3142"/>
                    </a:cubicBezTo>
                    <a:cubicBezTo>
                      <a:pt x="274632" y="3142"/>
                      <a:pt x="274632" y="3638"/>
                      <a:pt x="282569" y="3638"/>
                    </a:cubicBezTo>
                    <a:cubicBezTo>
                      <a:pt x="291002" y="3638"/>
                      <a:pt x="291002" y="4630"/>
                      <a:pt x="298939" y="4630"/>
                    </a:cubicBezTo>
                    <a:cubicBezTo>
                      <a:pt x="307373" y="4630"/>
                      <a:pt x="307373" y="2646"/>
                      <a:pt x="315310" y="2646"/>
                    </a:cubicBezTo>
                    <a:cubicBezTo>
                      <a:pt x="323247" y="2646"/>
                      <a:pt x="326720" y="-3307"/>
                      <a:pt x="332673" y="2646"/>
                    </a:cubicBezTo>
                    <a:cubicBezTo>
                      <a:pt x="338625" y="8599"/>
                      <a:pt x="332176" y="11575"/>
                      <a:pt x="332176" y="20009"/>
                    </a:cubicBezTo>
                    <a:cubicBezTo>
                      <a:pt x="332176" y="28442"/>
                      <a:pt x="332673" y="28442"/>
                      <a:pt x="332673" y="36379"/>
                    </a:cubicBezTo>
                    <a:cubicBezTo>
                      <a:pt x="332673" y="44812"/>
                      <a:pt x="332673" y="44812"/>
                      <a:pt x="332673" y="52750"/>
                    </a:cubicBezTo>
                    <a:cubicBezTo>
                      <a:pt x="332673" y="61183"/>
                      <a:pt x="331680" y="61183"/>
                      <a:pt x="331680" y="69120"/>
                    </a:cubicBezTo>
                    <a:cubicBezTo>
                      <a:pt x="331680" y="77553"/>
                      <a:pt x="331680" y="77553"/>
                      <a:pt x="331680" y="85491"/>
                    </a:cubicBezTo>
                    <a:cubicBezTo>
                      <a:pt x="331680" y="93924"/>
                      <a:pt x="331184" y="93924"/>
                      <a:pt x="331184" y="101861"/>
                    </a:cubicBezTo>
                    <a:cubicBezTo>
                      <a:pt x="331184" y="110295"/>
                      <a:pt x="332176" y="110295"/>
                      <a:pt x="332176" y="118232"/>
                    </a:cubicBezTo>
                    <a:cubicBezTo>
                      <a:pt x="332176" y="126665"/>
                      <a:pt x="332673" y="126665"/>
                      <a:pt x="332673" y="134602"/>
                    </a:cubicBezTo>
                    <a:cubicBezTo>
                      <a:pt x="332673" y="143036"/>
                      <a:pt x="332176" y="143036"/>
                      <a:pt x="332176" y="150973"/>
                    </a:cubicBezTo>
                    <a:cubicBezTo>
                      <a:pt x="332176" y="159406"/>
                      <a:pt x="332176" y="159406"/>
                      <a:pt x="332176" y="167344"/>
                    </a:cubicBezTo>
                    <a:cubicBezTo>
                      <a:pt x="332176" y="175777"/>
                      <a:pt x="333169" y="175777"/>
                      <a:pt x="333169" y="183714"/>
                    </a:cubicBezTo>
                    <a:cubicBezTo>
                      <a:pt x="333169" y="192148"/>
                      <a:pt x="332673" y="192148"/>
                      <a:pt x="332673" y="200085"/>
                    </a:cubicBezTo>
                    <a:cubicBezTo>
                      <a:pt x="332673" y="208518"/>
                      <a:pt x="332176" y="208518"/>
                      <a:pt x="332176" y="216455"/>
                    </a:cubicBezTo>
                    <a:cubicBezTo>
                      <a:pt x="332176" y="224393"/>
                      <a:pt x="331184" y="224889"/>
                      <a:pt x="331184" y="232826"/>
                    </a:cubicBezTo>
                    <a:cubicBezTo>
                      <a:pt x="331184" y="241259"/>
                      <a:pt x="332176" y="241259"/>
                      <a:pt x="332176" y="249197"/>
                    </a:cubicBezTo>
                    <a:cubicBezTo>
                      <a:pt x="332176" y="257630"/>
                      <a:pt x="332673" y="257630"/>
                      <a:pt x="332673" y="265567"/>
                    </a:cubicBezTo>
                    <a:cubicBezTo>
                      <a:pt x="332673" y="274000"/>
                      <a:pt x="331184" y="274000"/>
                      <a:pt x="331184" y="281938"/>
                    </a:cubicBezTo>
                    <a:cubicBezTo>
                      <a:pt x="331184" y="290371"/>
                      <a:pt x="332176" y="290371"/>
                      <a:pt x="332176" y="298308"/>
                    </a:cubicBezTo>
                    <a:cubicBezTo>
                      <a:pt x="332176" y="306741"/>
                      <a:pt x="329696" y="306741"/>
                      <a:pt x="331184" y="315175"/>
                    </a:cubicBezTo>
                    <a:cubicBezTo>
                      <a:pt x="332176" y="323608"/>
                      <a:pt x="336641" y="325592"/>
                      <a:pt x="330688" y="33154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4" name="Freeform: Shape 1723">
                <a:extLst>
                  <a:ext uri="{FF2B5EF4-FFF2-40B4-BE49-F238E27FC236}">
                    <a16:creationId xmlns:a16="http://schemas.microsoft.com/office/drawing/2014/main" id="{FE6926AF-6FC4-3422-9983-4D01704FD4B0}"/>
                  </a:ext>
                </a:extLst>
              </p:cNvPr>
              <p:cNvSpPr/>
              <p:nvPr/>
            </p:nvSpPr>
            <p:spPr>
              <a:xfrm>
                <a:off x="5026823" y="3228356"/>
                <a:ext cx="300433" cy="40343"/>
              </a:xfrm>
              <a:custGeom>
                <a:avLst/>
                <a:gdLst>
                  <a:gd name="connsiteX0" fmla="*/ 297451 w 300433"/>
                  <a:gd name="connsiteY0" fmla="*/ 37325 h 40343"/>
                  <a:gd name="connsiteX1" fmla="*/ 281577 w 300433"/>
                  <a:gd name="connsiteY1" fmla="*/ 36829 h 40343"/>
                  <a:gd name="connsiteX2" fmla="*/ 265206 w 300433"/>
                  <a:gd name="connsiteY2" fmla="*/ 37325 h 40343"/>
                  <a:gd name="connsiteX3" fmla="*/ 248835 w 300433"/>
                  <a:gd name="connsiteY3" fmla="*/ 38813 h 40343"/>
                  <a:gd name="connsiteX4" fmla="*/ 232465 w 300433"/>
                  <a:gd name="connsiteY4" fmla="*/ 39309 h 40343"/>
                  <a:gd name="connsiteX5" fmla="*/ 216094 w 300433"/>
                  <a:gd name="connsiteY5" fmla="*/ 36829 h 40343"/>
                  <a:gd name="connsiteX6" fmla="*/ 199724 w 300433"/>
                  <a:gd name="connsiteY6" fmla="*/ 38813 h 40343"/>
                  <a:gd name="connsiteX7" fmla="*/ 183353 w 300433"/>
                  <a:gd name="connsiteY7" fmla="*/ 38813 h 40343"/>
                  <a:gd name="connsiteX8" fmla="*/ 166983 w 300433"/>
                  <a:gd name="connsiteY8" fmla="*/ 38813 h 40343"/>
                  <a:gd name="connsiteX9" fmla="*/ 150612 w 300433"/>
                  <a:gd name="connsiteY9" fmla="*/ 38317 h 40343"/>
                  <a:gd name="connsiteX10" fmla="*/ 134242 w 300433"/>
                  <a:gd name="connsiteY10" fmla="*/ 36829 h 40343"/>
                  <a:gd name="connsiteX11" fmla="*/ 117871 w 300433"/>
                  <a:gd name="connsiteY11" fmla="*/ 37325 h 40343"/>
                  <a:gd name="connsiteX12" fmla="*/ 101500 w 300433"/>
                  <a:gd name="connsiteY12" fmla="*/ 36829 h 40343"/>
                  <a:gd name="connsiteX13" fmla="*/ 85130 w 300433"/>
                  <a:gd name="connsiteY13" fmla="*/ 37325 h 40343"/>
                  <a:gd name="connsiteX14" fmla="*/ 68759 w 300433"/>
                  <a:gd name="connsiteY14" fmla="*/ 37325 h 40343"/>
                  <a:gd name="connsiteX15" fmla="*/ 52389 w 300433"/>
                  <a:gd name="connsiteY15" fmla="*/ 37325 h 40343"/>
                  <a:gd name="connsiteX16" fmla="*/ 36018 w 300433"/>
                  <a:gd name="connsiteY16" fmla="*/ 37821 h 40343"/>
                  <a:gd name="connsiteX17" fmla="*/ 19647 w 300433"/>
                  <a:gd name="connsiteY17" fmla="*/ 37325 h 40343"/>
                  <a:gd name="connsiteX18" fmla="*/ 2781 w 300433"/>
                  <a:gd name="connsiteY18" fmla="*/ 37821 h 40343"/>
                  <a:gd name="connsiteX19" fmla="*/ 2285 w 300433"/>
                  <a:gd name="connsiteY19" fmla="*/ 19962 h 40343"/>
                  <a:gd name="connsiteX20" fmla="*/ 3277 w 300433"/>
                  <a:gd name="connsiteY20" fmla="*/ 3096 h 40343"/>
                  <a:gd name="connsiteX21" fmla="*/ 19151 w 300433"/>
                  <a:gd name="connsiteY21" fmla="*/ 1607 h 40343"/>
                  <a:gd name="connsiteX22" fmla="*/ 35522 w 300433"/>
                  <a:gd name="connsiteY22" fmla="*/ 3592 h 40343"/>
                  <a:gd name="connsiteX23" fmla="*/ 51892 w 300433"/>
                  <a:gd name="connsiteY23" fmla="*/ 2103 h 40343"/>
                  <a:gd name="connsiteX24" fmla="*/ 68263 w 300433"/>
                  <a:gd name="connsiteY24" fmla="*/ 4088 h 40343"/>
                  <a:gd name="connsiteX25" fmla="*/ 84634 w 300433"/>
                  <a:gd name="connsiteY25" fmla="*/ 2599 h 40343"/>
                  <a:gd name="connsiteX26" fmla="*/ 101004 w 300433"/>
                  <a:gd name="connsiteY26" fmla="*/ 3592 h 40343"/>
                  <a:gd name="connsiteX27" fmla="*/ 117375 w 300433"/>
                  <a:gd name="connsiteY27" fmla="*/ 2599 h 40343"/>
                  <a:gd name="connsiteX28" fmla="*/ 133745 w 300433"/>
                  <a:gd name="connsiteY28" fmla="*/ 1607 h 40343"/>
                  <a:gd name="connsiteX29" fmla="*/ 150116 w 300433"/>
                  <a:gd name="connsiteY29" fmla="*/ 2103 h 40343"/>
                  <a:gd name="connsiteX30" fmla="*/ 166487 w 300433"/>
                  <a:gd name="connsiteY30" fmla="*/ 3592 h 40343"/>
                  <a:gd name="connsiteX31" fmla="*/ 182857 w 300433"/>
                  <a:gd name="connsiteY31" fmla="*/ 3096 h 40343"/>
                  <a:gd name="connsiteX32" fmla="*/ 199228 w 300433"/>
                  <a:gd name="connsiteY32" fmla="*/ 2599 h 40343"/>
                  <a:gd name="connsiteX33" fmla="*/ 215598 w 300433"/>
                  <a:gd name="connsiteY33" fmla="*/ 3096 h 40343"/>
                  <a:gd name="connsiteX34" fmla="*/ 231969 w 300433"/>
                  <a:gd name="connsiteY34" fmla="*/ 2599 h 40343"/>
                  <a:gd name="connsiteX35" fmla="*/ 248339 w 300433"/>
                  <a:gd name="connsiteY35" fmla="*/ 4584 h 40343"/>
                  <a:gd name="connsiteX36" fmla="*/ 264710 w 300433"/>
                  <a:gd name="connsiteY36" fmla="*/ 2103 h 40343"/>
                  <a:gd name="connsiteX37" fmla="*/ 281080 w 300433"/>
                  <a:gd name="connsiteY37" fmla="*/ 3096 h 40343"/>
                  <a:gd name="connsiteX38" fmla="*/ 296955 w 300433"/>
                  <a:gd name="connsiteY38" fmla="*/ 4088 h 40343"/>
                  <a:gd name="connsiteX39" fmla="*/ 296955 w 300433"/>
                  <a:gd name="connsiteY39" fmla="*/ 20954 h 40343"/>
                  <a:gd name="connsiteX40" fmla="*/ 297451 w 300433"/>
                  <a:gd name="connsiteY40" fmla="*/ 37325 h 40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433" h="40343">
                    <a:moveTo>
                      <a:pt x="297451" y="37325"/>
                    </a:moveTo>
                    <a:cubicBezTo>
                      <a:pt x="291994" y="43278"/>
                      <a:pt x="289514" y="36829"/>
                      <a:pt x="281577" y="36829"/>
                    </a:cubicBezTo>
                    <a:cubicBezTo>
                      <a:pt x="273639" y="36829"/>
                      <a:pt x="273639" y="37325"/>
                      <a:pt x="265206" y="37325"/>
                    </a:cubicBezTo>
                    <a:cubicBezTo>
                      <a:pt x="257269" y="37325"/>
                      <a:pt x="257269" y="38813"/>
                      <a:pt x="248835" y="38813"/>
                    </a:cubicBezTo>
                    <a:cubicBezTo>
                      <a:pt x="240402" y="38813"/>
                      <a:pt x="240402" y="39309"/>
                      <a:pt x="232465" y="39309"/>
                    </a:cubicBezTo>
                    <a:cubicBezTo>
                      <a:pt x="224528" y="39309"/>
                      <a:pt x="224528" y="36829"/>
                      <a:pt x="216094" y="36829"/>
                    </a:cubicBezTo>
                    <a:cubicBezTo>
                      <a:pt x="207661" y="36829"/>
                      <a:pt x="207661" y="38813"/>
                      <a:pt x="199724" y="38813"/>
                    </a:cubicBezTo>
                    <a:cubicBezTo>
                      <a:pt x="191786" y="38813"/>
                      <a:pt x="191786" y="38813"/>
                      <a:pt x="183353" y="38813"/>
                    </a:cubicBezTo>
                    <a:cubicBezTo>
                      <a:pt x="174920" y="38813"/>
                      <a:pt x="174920" y="38813"/>
                      <a:pt x="166983" y="38813"/>
                    </a:cubicBezTo>
                    <a:cubicBezTo>
                      <a:pt x="158549" y="38813"/>
                      <a:pt x="158549" y="38317"/>
                      <a:pt x="150612" y="38317"/>
                    </a:cubicBezTo>
                    <a:cubicBezTo>
                      <a:pt x="142179" y="38317"/>
                      <a:pt x="142179" y="36829"/>
                      <a:pt x="134242" y="36829"/>
                    </a:cubicBezTo>
                    <a:cubicBezTo>
                      <a:pt x="125808" y="36829"/>
                      <a:pt x="125808" y="37325"/>
                      <a:pt x="117871" y="37325"/>
                    </a:cubicBezTo>
                    <a:cubicBezTo>
                      <a:pt x="109438" y="37325"/>
                      <a:pt x="109438" y="36829"/>
                      <a:pt x="101500" y="36829"/>
                    </a:cubicBezTo>
                    <a:cubicBezTo>
                      <a:pt x="93067" y="36829"/>
                      <a:pt x="93067" y="37325"/>
                      <a:pt x="85130" y="37325"/>
                    </a:cubicBezTo>
                    <a:cubicBezTo>
                      <a:pt x="76696" y="37325"/>
                      <a:pt x="76696" y="37325"/>
                      <a:pt x="68759" y="37325"/>
                    </a:cubicBezTo>
                    <a:cubicBezTo>
                      <a:pt x="60326" y="37325"/>
                      <a:pt x="60326" y="37325"/>
                      <a:pt x="52389" y="37325"/>
                    </a:cubicBezTo>
                    <a:cubicBezTo>
                      <a:pt x="43955" y="37325"/>
                      <a:pt x="43955" y="37821"/>
                      <a:pt x="36018" y="37821"/>
                    </a:cubicBezTo>
                    <a:cubicBezTo>
                      <a:pt x="27585" y="37821"/>
                      <a:pt x="27585" y="37325"/>
                      <a:pt x="19647" y="37325"/>
                    </a:cubicBezTo>
                    <a:cubicBezTo>
                      <a:pt x="11710" y="37325"/>
                      <a:pt x="8238" y="43774"/>
                      <a:pt x="2781" y="37821"/>
                    </a:cubicBezTo>
                    <a:cubicBezTo>
                      <a:pt x="-3172" y="31372"/>
                      <a:pt x="2285" y="28891"/>
                      <a:pt x="2285" y="19962"/>
                    </a:cubicBezTo>
                    <a:cubicBezTo>
                      <a:pt x="2285" y="11033"/>
                      <a:pt x="-2676" y="9048"/>
                      <a:pt x="3277" y="3096"/>
                    </a:cubicBezTo>
                    <a:cubicBezTo>
                      <a:pt x="8734" y="-2857"/>
                      <a:pt x="11214" y="1607"/>
                      <a:pt x="19151" y="1607"/>
                    </a:cubicBezTo>
                    <a:cubicBezTo>
                      <a:pt x="27088" y="1607"/>
                      <a:pt x="27088" y="3592"/>
                      <a:pt x="35522" y="3592"/>
                    </a:cubicBezTo>
                    <a:cubicBezTo>
                      <a:pt x="43459" y="3592"/>
                      <a:pt x="43459" y="2103"/>
                      <a:pt x="51892" y="2103"/>
                    </a:cubicBezTo>
                    <a:cubicBezTo>
                      <a:pt x="60326" y="2103"/>
                      <a:pt x="60326" y="4088"/>
                      <a:pt x="68263" y="4088"/>
                    </a:cubicBezTo>
                    <a:cubicBezTo>
                      <a:pt x="76200" y="4088"/>
                      <a:pt x="76200" y="2599"/>
                      <a:pt x="84634" y="2599"/>
                    </a:cubicBezTo>
                    <a:cubicBezTo>
                      <a:pt x="93067" y="2599"/>
                      <a:pt x="93067" y="3592"/>
                      <a:pt x="101004" y="3592"/>
                    </a:cubicBezTo>
                    <a:cubicBezTo>
                      <a:pt x="108941" y="3592"/>
                      <a:pt x="108941" y="2599"/>
                      <a:pt x="117375" y="2599"/>
                    </a:cubicBezTo>
                    <a:cubicBezTo>
                      <a:pt x="125808" y="2599"/>
                      <a:pt x="125808" y="1607"/>
                      <a:pt x="133745" y="1607"/>
                    </a:cubicBezTo>
                    <a:cubicBezTo>
                      <a:pt x="142179" y="1607"/>
                      <a:pt x="142179" y="2103"/>
                      <a:pt x="150116" y="2103"/>
                    </a:cubicBezTo>
                    <a:cubicBezTo>
                      <a:pt x="158549" y="2103"/>
                      <a:pt x="158549" y="3592"/>
                      <a:pt x="166487" y="3592"/>
                    </a:cubicBezTo>
                    <a:cubicBezTo>
                      <a:pt x="174920" y="3592"/>
                      <a:pt x="174920" y="3096"/>
                      <a:pt x="182857" y="3096"/>
                    </a:cubicBezTo>
                    <a:cubicBezTo>
                      <a:pt x="191290" y="3096"/>
                      <a:pt x="191290" y="2599"/>
                      <a:pt x="199228" y="2599"/>
                    </a:cubicBezTo>
                    <a:cubicBezTo>
                      <a:pt x="207661" y="2599"/>
                      <a:pt x="207661" y="3096"/>
                      <a:pt x="215598" y="3096"/>
                    </a:cubicBezTo>
                    <a:cubicBezTo>
                      <a:pt x="224032" y="3096"/>
                      <a:pt x="224032" y="2599"/>
                      <a:pt x="231969" y="2599"/>
                    </a:cubicBezTo>
                    <a:cubicBezTo>
                      <a:pt x="240402" y="2599"/>
                      <a:pt x="240402" y="4584"/>
                      <a:pt x="248339" y="4584"/>
                    </a:cubicBezTo>
                    <a:cubicBezTo>
                      <a:pt x="256773" y="4584"/>
                      <a:pt x="256773" y="2103"/>
                      <a:pt x="264710" y="2103"/>
                    </a:cubicBezTo>
                    <a:cubicBezTo>
                      <a:pt x="273143" y="2103"/>
                      <a:pt x="273143" y="3096"/>
                      <a:pt x="281080" y="3096"/>
                    </a:cubicBezTo>
                    <a:cubicBezTo>
                      <a:pt x="289018" y="3096"/>
                      <a:pt x="291002" y="-1865"/>
                      <a:pt x="296955" y="4088"/>
                    </a:cubicBezTo>
                    <a:cubicBezTo>
                      <a:pt x="302908" y="10537"/>
                      <a:pt x="295467" y="12521"/>
                      <a:pt x="296955" y="20954"/>
                    </a:cubicBezTo>
                    <a:cubicBezTo>
                      <a:pt x="298939" y="29388"/>
                      <a:pt x="303404" y="30876"/>
                      <a:pt x="297451" y="3732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5" name="Freeform: Shape 1724">
                <a:extLst>
                  <a:ext uri="{FF2B5EF4-FFF2-40B4-BE49-F238E27FC236}">
                    <a16:creationId xmlns:a16="http://schemas.microsoft.com/office/drawing/2014/main" id="{14B8BBB6-0D7D-79F8-23C6-A199563FD058}"/>
                  </a:ext>
                </a:extLst>
              </p:cNvPr>
              <p:cNvSpPr/>
              <p:nvPr/>
            </p:nvSpPr>
            <p:spPr>
              <a:xfrm>
                <a:off x="5027539" y="3121873"/>
                <a:ext cx="299539" cy="305032"/>
              </a:xfrm>
              <a:custGeom>
                <a:avLst/>
                <a:gdLst>
                  <a:gd name="connsiteX0" fmla="*/ 1569 w 299539"/>
                  <a:gd name="connsiteY0" fmla="*/ 305033 h 305032"/>
                  <a:gd name="connsiteX1" fmla="*/ 3553 w 299539"/>
                  <a:gd name="connsiteY1" fmla="*/ 289158 h 305032"/>
                  <a:gd name="connsiteX2" fmla="*/ 3057 w 299539"/>
                  <a:gd name="connsiteY2" fmla="*/ 273284 h 305032"/>
                  <a:gd name="connsiteX3" fmla="*/ 3057 w 299539"/>
                  <a:gd name="connsiteY3" fmla="*/ 257409 h 305032"/>
                  <a:gd name="connsiteX4" fmla="*/ 1569 w 299539"/>
                  <a:gd name="connsiteY4" fmla="*/ 241535 h 305032"/>
                  <a:gd name="connsiteX5" fmla="*/ 3057 w 299539"/>
                  <a:gd name="connsiteY5" fmla="*/ 225660 h 305032"/>
                  <a:gd name="connsiteX6" fmla="*/ 2561 w 299539"/>
                  <a:gd name="connsiteY6" fmla="*/ 209786 h 305032"/>
                  <a:gd name="connsiteX7" fmla="*/ 1569 w 299539"/>
                  <a:gd name="connsiteY7" fmla="*/ 193911 h 305032"/>
                  <a:gd name="connsiteX8" fmla="*/ 1569 w 299539"/>
                  <a:gd name="connsiteY8" fmla="*/ 178037 h 305032"/>
                  <a:gd name="connsiteX9" fmla="*/ 1569 w 299539"/>
                  <a:gd name="connsiteY9" fmla="*/ 162162 h 305032"/>
                  <a:gd name="connsiteX10" fmla="*/ 1073 w 299539"/>
                  <a:gd name="connsiteY10" fmla="*/ 146288 h 305032"/>
                  <a:gd name="connsiteX11" fmla="*/ 2065 w 299539"/>
                  <a:gd name="connsiteY11" fmla="*/ 130413 h 305032"/>
                  <a:gd name="connsiteX12" fmla="*/ 1073 w 299539"/>
                  <a:gd name="connsiteY12" fmla="*/ 114539 h 305032"/>
                  <a:gd name="connsiteX13" fmla="*/ 2561 w 299539"/>
                  <a:gd name="connsiteY13" fmla="*/ 98664 h 305032"/>
                  <a:gd name="connsiteX14" fmla="*/ 3057 w 299539"/>
                  <a:gd name="connsiteY14" fmla="*/ 82790 h 305032"/>
                  <a:gd name="connsiteX15" fmla="*/ 2065 w 299539"/>
                  <a:gd name="connsiteY15" fmla="*/ 66915 h 305032"/>
                  <a:gd name="connsiteX16" fmla="*/ 3057 w 299539"/>
                  <a:gd name="connsiteY16" fmla="*/ 51041 h 305032"/>
                  <a:gd name="connsiteX17" fmla="*/ 2561 w 299539"/>
                  <a:gd name="connsiteY17" fmla="*/ 35167 h 305032"/>
                  <a:gd name="connsiteX18" fmla="*/ 2065 w 299539"/>
                  <a:gd name="connsiteY18" fmla="*/ 19292 h 305032"/>
                  <a:gd name="connsiteX19" fmla="*/ 2561 w 299539"/>
                  <a:gd name="connsiteY19" fmla="*/ 3913 h 305032"/>
                  <a:gd name="connsiteX20" fmla="*/ 18435 w 299539"/>
                  <a:gd name="connsiteY20" fmla="*/ 4410 h 305032"/>
                  <a:gd name="connsiteX21" fmla="*/ 34806 w 299539"/>
                  <a:gd name="connsiteY21" fmla="*/ 4410 h 305032"/>
                  <a:gd name="connsiteX22" fmla="*/ 51176 w 299539"/>
                  <a:gd name="connsiteY22" fmla="*/ 1929 h 305032"/>
                  <a:gd name="connsiteX23" fmla="*/ 67547 w 299539"/>
                  <a:gd name="connsiteY23" fmla="*/ 3913 h 305032"/>
                  <a:gd name="connsiteX24" fmla="*/ 83918 w 299539"/>
                  <a:gd name="connsiteY24" fmla="*/ 3913 h 305032"/>
                  <a:gd name="connsiteX25" fmla="*/ 100288 w 299539"/>
                  <a:gd name="connsiteY25" fmla="*/ 1929 h 305032"/>
                  <a:gd name="connsiteX26" fmla="*/ 116659 w 299539"/>
                  <a:gd name="connsiteY26" fmla="*/ 3913 h 305032"/>
                  <a:gd name="connsiteX27" fmla="*/ 133029 w 299539"/>
                  <a:gd name="connsiteY27" fmla="*/ 3913 h 305032"/>
                  <a:gd name="connsiteX28" fmla="*/ 149400 w 299539"/>
                  <a:gd name="connsiteY28" fmla="*/ 1929 h 305032"/>
                  <a:gd name="connsiteX29" fmla="*/ 165771 w 299539"/>
                  <a:gd name="connsiteY29" fmla="*/ 2425 h 305032"/>
                  <a:gd name="connsiteX30" fmla="*/ 182141 w 299539"/>
                  <a:gd name="connsiteY30" fmla="*/ 1433 h 305032"/>
                  <a:gd name="connsiteX31" fmla="*/ 198512 w 299539"/>
                  <a:gd name="connsiteY31" fmla="*/ 3417 h 305032"/>
                  <a:gd name="connsiteX32" fmla="*/ 214882 w 299539"/>
                  <a:gd name="connsiteY32" fmla="*/ 3417 h 305032"/>
                  <a:gd name="connsiteX33" fmla="*/ 231253 w 299539"/>
                  <a:gd name="connsiteY33" fmla="*/ 3417 h 305032"/>
                  <a:gd name="connsiteX34" fmla="*/ 247623 w 299539"/>
                  <a:gd name="connsiteY34" fmla="*/ 2425 h 305032"/>
                  <a:gd name="connsiteX35" fmla="*/ 263994 w 299539"/>
                  <a:gd name="connsiteY35" fmla="*/ 1433 h 305032"/>
                  <a:gd name="connsiteX36" fmla="*/ 280364 w 299539"/>
                  <a:gd name="connsiteY36" fmla="*/ 2425 h 305032"/>
                  <a:gd name="connsiteX37" fmla="*/ 297231 w 299539"/>
                  <a:gd name="connsiteY37" fmla="*/ 2425 h 305032"/>
                  <a:gd name="connsiteX38" fmla="*/ 295743 w 299539"/>
                  <a:gd name="connsiteY38" fmla="*/ 18796 h 305032"/>
                  <a:gd name="connsiteX39" fmla="*/ 297231 w 299539"/>
                  <a:gd name="connsiteY39" fmla="*/ 34670 h 305032"/>
                  <a:gd name="connsiteX40" fmla="*/ 296735 w 299539"/>
                  <a:gd name="connsiteY40" fmla="*/ 50545 h 305032"/>
                  <a:gd name="connsiteX41" fmla="*/ 296735 w 299539"/>
                  <a:gd name="connsiteY41" fmla="*/ 66419 h 305032"/>
                  <a:gd name="connsiteX42" fmla="*/ 296239 w 299539"/>
                  <a:gd name="connsiteY42" fmla="*/ 82294 h 305032"/>
                  <a:gd name="connsiteX43" fmla="*/ 296735 w 299539"/>
                  <a:gd name="connsiteY43" fmla="*/ 98168 h 305032"/>
                  <a:gd name="connsiteX44" fmla="*/ 296735 w 299539"/>
                  <a:gd name="connsiteY44" fmla="*/ 114043 h 305032"/>
                  <a:gd name="connsiteX45" fmla="*/ 296735 w 299539"/>
                  <a:gd name="connsiteY45" fmla="*/ 129917 h 305032"/>
                  <a:gd name="connsiteX46" fmla="*/ 296239 w 299539"/>
                  <a:gd name="connsiteY46" fmla="*/ 145792 h 305032"/>
                  <a:gd name="connsiteX47" fmla="*/ 297231 w 299539"/>
                  <a:gd name="connsiteY47" fmla="*/ 161666 h 305032"/>
                  <a:gd name="connsiteX48" fmla="*/ 296735 w 299539"/>
                  <a:gd name="connsiteY48" fmla="*/ 177541 h 305032"/>
                  <a:gd name="connsiteX49" fmla="*/ 296735 w 299539"/>
                  <a:gd name="connsiteY49" fmla="*/ 193415 h 305032"/>
                  <a:gd name="connsiteX50" fmla="*/ 297727 w 299539"/>
                  <a:gd name="connsiteY50" fmla="*/ 209290 h 305032"/>
                  <a:gd name="connsiteX51" fmla="*/ 297727 w 299539"/>
                  <a:gd name="connsiteY51" fmla="*/ 225164 h 305032"/>
                  <a:gd name="connsiteX52" fmla="*/ 297231 w 299539"/>
                  <a:gd name="connsiteY52" fmla="*/ 241039 h 305032"/>
                  <a:gd name="connsiteX53" fmla="*/ 296239 w 299539"/>
                  <a:gd name="connsiteY53" fmla="*/ 256913 h 305032"/>
                  <a:gd name="connsiteX54" fmla="*/ 297231 w 299539"/>
                  <a:gd name="connsiteY54" fmla="*/ 272788 h 305032"/>
                  <a:gd name="connsiteX55" fmla="*/ 296239 w 299539"/>
                  <a:gd name="connsiteY55" fmla="*/ 288662 h 305032"/>
                  <a:gd name="connsiteX56" fmla="*/ 297727 w 299539"/>
                  <a:gd name="connsiteY56" fmla="*/ 304537 h 305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299539" h="305032">
                    <a:moveTo>
                      <a:pt x="1569" y="305033"/>
                    </a:moveTo>
                    <a:cubicBezTo>
                      <a:pt x="1569" y="297096"/>
                      <a:pt x="3553" y="297096"/>
                      <a:pt x="3553" y="289158"/>
                    </a:cubicBezTo>
                    <a:cubicBezTo>
                      <a:pt x="3553" y="281221"/>
                      <a:pt x="3057" y="281221"/>
                      <a:pt x="3057" y="273284"/>
                    </a:cubicBezTo>
                    <a:cubicBezTo>
                      <a:pt x="3057" y="265347"/>
                      <a:pt x="3057" y="265347"/>
                      <a:pt x="3057" y="257409"/>
                    </a:cubicBezTo>
                    <a:cubicBezTo>
                      <a:pt x="3057" y="249472"/>
                      <a:pt x="1569" y="249472"/>
                      <a:pt x="1569" y="241535"/>
                    </a:cubicBezTo>
                    <a:cubicBezTo>
                      <a:pt x="1569" y="233598"/>
                      <a:pt x="3057" y="233598"/>
                      <a:pt x="3057" y="225660"/>
                    </a:cubicBezTo>
                    <a:cubicBezTo>
                      <a:pt x="3057" y="217723"/>
                      <a:pt x="2561" y="217723"/>
                      <a:pt x="2561" y="209786"/>
                    </a:cubicBezTo>
                    <a:cubicBezTo>
                      <a:pt x="2561" y="201849"/>
                      <a:pt x="1569" y="201849"/>
                      <a:pt x="1569" y="193911"/>
                    </a:cubicBezTo>
                    <a:cubicBezTo>
                      <a:pt x="1569" y="185974"/>
                      <a:pt x="1569" y="185974"/>
                      <a:pt x="1569" y="178037"/>
                    </a:cubicBezTo>
                    <a:cubicBezTo>
                      <a:pt x="1569" y="170099"/>
                      <a:pt x="1569" y="170099"/>
                      <a:pt x="1569" y="162162"/>
                    </a:cubicBezTo>
                    <a:cubicBezTo>
                      <a:pt x="1569" y="154225"/>
                      <a:pt x="1073" y="154225"/>
                      <a:pt x="1073" y="146288"/>
                    </a:cubicBezTo>
                    <a:cubicBezTo>
                      <a:pt x="1073" y="138351"/>
                      <a:pt x="2065" y="138351"/>
                      <a:pt x="2065" y="130413"/>
                    </a:cubicBezTo>
                    <a:cubicBezTo>
                      <a:pt x="2065" y="122476"/>
                      <a:pt x="1073" y="122476"/>
                      <a:pt x="1073" y="114539"/>
                    </a:cubicBezTo>
                    <a:cubicBezTo>
                      <a:pt x="1073" y="106602"/>
                      <a:pt x="2561" y="106602"/>
                      <a:pt x="2561" y="98664"/>
                    </a:cubicBezTo>
                    <a:cubicBezTo>
                      <a:pt x="2561" y="90727"/>
                      <a:pt x="3057" y="90727"/>
                      <a:pt x="3057" y="82790"/>
                    </a:cubicBezTo>
                    <a:cubicBezTo>
                      <a:pt x="3057" y="74853"/>
                      <a:pt x="2065" y="74853"/>
                      <a:pt x="2065" y="66915"/>
                    </a:cubicBezTo>
                    <a:cubicBezTo>
                      <a:pt x="2065" y="58978"/>
                      <a:pt x="3057" y="58978"/>
                      <a:pt x="3057" y="51041"/>
                    </a:cubicBezTo>
                    <a:cubicBezTo>
                      <a:pt x="3057" y="43104"/>
                      <a:pt x="2561" y="43104"/>
                      <a:pt x="2561" y="35167"/>
                    </a:cubicBezTo>
                    <a:cubicBezTo>
                      <a:pt x="2561" y="27229"/>
                      <a:pt x="2065" y="27229"/>
                      <a:pt x="2065" y="19292"/>
                    </a:cubicBezTo>
                    <a:cubicBezTo>
                      <a:pt x="2065" y="11355"/>
                      <a:pt x="-2896" y="9370"/>
                      <a:pt x="2561" y="3913"/>
                    </a:cubicBezTo>
                    <a:cubicBezTo>
                      <a:pt x="8514" y="-2039"/>
                      <a:pt x="10002" y="4410"/>
                      <a:pt x="18435" y="4410"/>
                    </a:cubicBezTo>
                    <a:cubicBezTo>
                      <a:pt x="26373" y="4410"/>
                      <a:pt x="26373" y="4410"/>
                      <a:pt x="34806" y="4410"/>
                    </a:cubicBezTo>
                    <a:cubicBezTo>
                      <a:pt x="42743" y="4410"/>
                      <a:pt x="42743" y="1929"/>
                      <a:pt x="51176" y="1929"/>
                    </a:cubicBezTo>
                    <a:cubicBezTo>
                      <a:pt x="59610" y="1929"/>
                      <a:pt x="59610" y="3913"/>
                      <a:pt x="67547" y="3913"/>
                    </a:cubicBezTo>
                    <a:cubicBezTo>
                      <a:pt x="75484" y="3913"/>
                      <a:pt x="75484" y="3913"/>
                      <a:pt x="83918" y="3913"/>
                    </a:cubicBezTo>
                    <a:cubicBezTo>
                      <a:pt x="92351" y="3913"/>
                      <a:pt x="92351" y="1929"/>
                      <a:pt x="100288" y="1929"/>
                    </a:cubicBezTo>
                    <a:cubicBezTo>
                      <a:pt x="108225" y="1929"/>
                      <a:pt x="108225" y="3913"/>
                      <a:pt x="116659" y="3913"/>
                    </a:cubicBezTo>
                    <a:cubicBezTo>
                      <a:pt x="125092" y="3913"/>
                      <a:pt x="125092" y="3913"/>
                      <a:pt x="133029" y="3913"/>
                    </a:cubicBezTo>
                    <a:cubicBezTo>
                      <a:pt x="141463" y="3913"/>
                      <a:pt x="141463" y="1929"/>
                      <a:pt x="149400" y="1929"/>
                    </a:cubicBezTo>
                    <a:cubicBezTo>
                      <a:pt x="157833" y="1929"/>
                      <a:pt x="157833" y="2425"/>
                      <a:pt x="165771" y="2425"/>
                    </a:cubicBezTo>
                    <a:cubicBezTo>
                      <a:pt x="174204" y="2425"/>
                      <a:pt x="174204" y="1433"/>
                      <a:pt x="182141" y="1433"/>
                    </a:cubicBezTo>
                    <a:cubicBezTo>
                      <a:pt x="190574" y="1433"/>
                      <a:pt x="190574" y="3417"/>
                      <a:pt x="198512" y="3417"/>
                    </a:cubicBezTo>
                    <a:cubicBezTo>
                      <a:pt x="206945" y="3417"/>
                      <a:pt x="206945" y="3417"/>
                      <a:pt x="214882" y="3417"/>
                    </a:cubicBezTo>
                    <a:cubicBezTo>
                      <a:pt x="223316" y="3417"/>
                      <a:pt x="223316" y="3417"/>
                      <a:pt x="231253" y="3417"/>
                    </a:cubicBezTo>
                    <a:cubicBezTo>
                      <a:pt x="239686" y="3417"/>
                      <a:pt x="239686" y="2425"/>
                      <a:pt x="247623" y="2425"/>
                    </a:cubicBezTo>
                    <a:cubicBezTo>
                      <a:pt x="256057" y="2425"/>
                      <a:pt x="256057" y="1433"/>
                      <a:pt x="263994" y="1433"/>
                    </a:cubicBezTo>
                    <a:cubicBezTo>
                      <a:pt x="272427" y="1433"/>
                      <a:pt x="272427" y="2425"/>
                      <a:pt x="280364" y="2425"/>
                    </a:cubicBezTo>
                    <a:cubicBezTo>
                      <a:pt x="288302" y="2425"/>
                      <a:pt x="291278" y="-3032"/>
                      <a:pt x="297231" y="2425"/>
                    </a:cubicBezTo>
                    <a:cubicBezTo>
                      <a:pt x="303184" y="7882"/>
                      <a:pt x="295743" y="10859"/>
                      <a:pt x="295743" y="18796"/>
                    </a:cubicBezTo>
                    <a:cubicBezTo>
                      <a:pt x="295743" y="26733"/>
                      <a:pt x="297231" y="26733"/>
                      <a:pt x="297231" y="34670"/>
                    </a:cubicBezTo>
                    <a:cubicBezTo>
                      <a:pt x="297231" y="42608"/>
                      <a:pt x="296735" y="42608"/>
                      <a:pt x="296735" y="50545"/>
                    </a:cubicBezTo>
                    <a:cubicBezTo>
                      <a:pt x="296735" y="58482"/>
                      <a:pt x="296735" y="58482"/>
                      <a:pt x="296735" y="66419"/>
                    </a:cubicBezTo>
                    <a:cubicBezTo>
                      <a:pt x="296735" y="74357"/>
                      <a:pt x="296239" y="74357"/>
                      <a:pt x="296239" y="82294"/>
                    </a:cubicBezTo>
                    <a:cubicBezTo>
                      <a:pt x="296239" y="90231"/>
                      <a:pt x="296735" y="90231"/>
                      <a:pt x="296735" y="98168"/>
                    </a:cubicBezTo>
                    <a:cubicBezTo>
                      <a:pt x="296735" y="106106"/>
                      <a:pt x="296735" y="106106"/>
                      <a:pt x="296735" y="114043"/>
                    </a:cubicBezTo>
                    <a:cubicBezTo>
                      <a:pt x="296735" y="121980"/>
                      <a:pt x="296735" y="121980"/>
                      <a:pt x="296735" y="129917"/>
                    </a:cubicBezTo>
                    <a:cubicBezTo>
                      <a:pt x="296735" y="137854"/>
                      <a:pt x="296239" y="137854"/>
                      <a:pt x="296239" y="145792"/>
                    </a:cubicBezTo>
                    <a:cubicBezTo>
                      <a:pt x="296239" y="153729"/>
                      <a:pt x="297231" y="153729"/>
                      <a:pt x="297231" y="161666"/>
                    </a:cubicBezTo>
                    <a:cubicBezTo>
                      <a:pt x="297231" y="169604"/>
                      <a:pt x="296735" y="169604"/>
                      <a:pt x="296735" y="177541"/>
                    </a:cubicBezTo>
                    <a:cubicBezTo>
                      <a:pt x="296735" y="185478"/>
                      <a:pt x="296735" y="185478"/>
                      <a:pt x="296735" y="193415"/>
                    </a:cubicBezTo>
                    <a:cubicBezTo>
                      <a:pt x="296735" y="201353"/>
                      <a:pt x="297727" y="201353"/>
                      <a:pt x="297727" y="209290"/>
                    </a:cubicBezTo>
                    <a:cubicBezTo>
                      <a:pt x="297727" y="217227"/>
                      <a:pt x="297727" y="217227"/>
                      <a:pt x="297727" y="225164"/>
                    </a:cubicBezTo>
                    <a:cubicBezTo>
                      <a:pt x="297727" y="233101"/>
                      <a:pt x="297231" y="233101"/>
                      <a:pt x="297231" y="241039"/>
                    </a:cubicBezTo>
                    <a:cubicBezTo>
                      <a:pt x="297231" y="248976"/>
                      <a:pt x="296239" y="248976"/>
                      <a:pt x="296239" y="256913"/>
                    </a:cubicBezTo>
                    <a:cubicBezTo>
                      <a:pt x="296239" y="264851"/>
                      <a:pt x="297231" y="264851"/>
                      <a:pt x="297231" y="272788"/>
                    </a:cubicBezTo>
                    <a:cubicBezTo>
                      <a:pt x="297231" y="280725"/>
                      <a:pt x="296239" y="280725"/>
                      <a:pt x="296239" y="288662"/>
                    </a:cubicBezTo>
                    <a:cubicBezTo>
                      <a:pt x="296239" y="296599"/>
                      <a:pt x="297727" y="296599"/>
                      <a:pt x="297727" y="30453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6" name="Freeform: Shape 1725">
                <a:extLst>
                  <a:ext uri="{FF2B5EF4-FFF2-40B4-BE49-F238E27FC236}">
                    <a16:creationId xmlns:a16="http://schemas.microsoft.com/office/drawing/2014/main" id="{B4A6EECC-FDD8-AFA4-20EF-16D54C4EC0B2}"/>
                  </a:ext>
                </a:extLst>
              </p:cNvPr>
              <p:cNvSpPr/>
              <p:nvPr/>
            </p:nvSpPr>
            <p:spPr>
              <a:xfrm>
                <a:off x="4998171" y="3425913"/>
                <a:ext cx="362317" cy="61651"/>
              </a:xfrm>
              <a:custGeom>
                <a:avLst/>
                <a:gdLst>
                  <a:gd name="connsiteX0" fmla="*/ 2661 w 362317"/>
                  <a:gd name="connsiteY0" fmla="*/ 1984 h 61651"/>
                  <a:gd name="connsiteX1" fmla="*/ 18039 w 362317"/>
                  <a:gd name="connsiteY1" fmla="*/ 1984 h 61651"/>
                  <a:gd name="connsiteX2" fmla="*/ 34409 w 362317"/>
                  <a:gd name="connsiteY2" fmla="*/ 1984 h 61651"/>
                  <a:gd name="connsiteX3" fmla="*/ 50780 w 362317"/>
                  <a:gd name="connsiteY3" fmla="*/ 2480 h 61651"/>
                  <a:gd name="connsiteX4" fmla="*/ 67151 w 362317"/>
                  <a:gd name="connsiteY4" fmla="*/ 1984 h 61651"/>
                  <a:gd name="connsiteX5" fmla="*/ 83521 w 362317"/>
                  <a:gd name="connsiteY5" fmla="*/ 992 h 61651"/>
                  <a:gd name="connsiteX6" fmla="*/ 99396 w 362317"/>
                  <a:gd name="connsiteY6" fmla="*/ 496 h 61651"/>
                  <a:gd name="connsiteX7" fmla="*/ 115270 w 362317"/>
                  <a:gd name="connsiteY7" fmla="*/ 496 h 61651"/>
                  <a:gd name="connsiteX8" fmla="*/ 131641 w 362317"/>
                  <a:gd name="connsiteY8" fmla="*/ 992 h 61651"/>
                  <a:gd name="connsiteX9" fmla="*/ 147515 w 362317"/>
                  <a:gd name="connsiteY9" fmla="*/ 0 h 61651"/>
                  <a:gd name="connsiteX10" fmla="*/ 163886 w 362317"/>
                  <a:gd name="connsiteY10" fmla="*/ 496 h 61651"/>
                  <a:gd name="connsiteX11" fmla="*/ 180256 w 362317"/>
                  <a:gd name="connsiteY11" fmla="*/ 0 h 61651"/>
                  <a:gd name="connsiteX12" fmla="*/ 196627 w 362317"/>
                  <a:gd name="connsiteY12" fmla="*/ 1488 h 61651"/>
                  <a:gd name="connsiteX13" fmla="*/ 212997 w 362317"/>
                  <a:gd name="connsiteY13" fmla="*/ 2480 h 61651"/>
                  <a:gd name="connsiteX14" fmla="*/ 229368 w 362317"/>
                  <a:gd name="connsiteY14" fmla="*/ 1984 h 61651"/>
                  <a:gd name="connsiteX15" fmla="*/ 245739 w 362317"/>
                  <a:gd name="connsiteY15" fmla="*/ 2480 h 61651"/>
                  <a:gd name="connsiteX16" fmla="*/ 262109 w 362317"/>
                  <a:gd name="connsiteY16" fmla="*/ 496 h 61651"/>
                  <a:gd name="connsiteX17" fmla="*/ 278480 w 362317"/>
                  <a:gd name="connsiteY17" fmla="*/ 496 h 61651"/>
                  <a:gd name="connsiteX18" fmla="*/ 294850 w 362317"/>
                  <a:gd name="connsiteY18" fmla="*/ 1488 h 61651"/>
                  <a:gd name="connsiteX19" fmla="*/ 311221 w 362317"/>
                  <a:gd name="connsiteY19" fmla="*/ 496 h 61651"/>
                  <a:gd name="connsiteX20" fmla="*/ 327592 w 362317"/>
                  <a:gd name="connsiteY20" fmla="*/ 1984 h 61651"/>
                  <a:gd name="connsiteX21" fmla="*/ 343962 w 362317"/>
                  <a:gd name="connsiteY21" fmla="*/ 2480 h 61651"/>
                  <a:gd name="connsiteX22" fmla="*/ 359340 w 362317"/>
                  <a:gd name="connsiteY22" fmla="*/ 2480 h 61651"/>
                  <a:gd name="connsiteX23" fmla="*/ 360829 w 362317"/>
                  <a:gd name="connsiteY23" fmla="*/ 12402 h 61651"/>
                  <a:gd name="connsiteX24" fmla="*/ 352891 w 362317"/>
                  <a:gd name="connsiteY24" fmla="*/ 28773 h 61651"/>
                  <a:gd name="connsiteX25" fmla="*/ 343466 w 362317"/>
                  <a:gd name="connsiteY25" fmla="*/ 44151 h 61651"/>
                  <a:gd name="connsiteX26" fmla="*/ 335033 w 362317"/>
                  <a:gd name="connsiteY26" fmla="*/ 59529 h 61651"/>
                  <a:gd name="connsiteX27" fmla="*/ 319654 w 362317"/>
                  <a:gd name="connsiteY27" fmla="*/ 60026 h 61651"/>
                  <a:gd name="connsiteX28" fmla="*/ 303780 w 362317"/>
                  <a:gd name="connsiteY28" fmla="*/ 60522 h 61651"/>
                  <a:gd name="connsiteX29" fmla="*/ 287905 w 362317"/>
                  <a:gd name="connsiteY29" fmla="*/ 61018 h 61651"/>
                  <a:gd name="connsiteX30" fmla="*/ 272031 w 362317"/>
                  <a:gd name="connsiteY30" fmla="*/ 60522 h 61651"/>
                  <a:gd name="connsiteX31" fmla="*/ 256156 w 362317"/>
                  <a:gd name="connsiteY31" fmla="*/ 59529 h 61651"/>
                  <a:gd name="connsiteX32" fmla="*/ 240282 w 362317"/>
                  <a:gd name="connsiteY32" fmla="*/ 59033 h 61651"/>
                  <a:gd name="connsiteX33" fmla="*/ 224407 w 362317"/>
                  <a:gd name="connsiteY33" fmla="*/ 58537 h 61651"/>
                  <a:gd name="connsiteX34" fmla="*/ 208533 w 362317"/>
                  <a:gd name="connsiteY34" fmla="*/ 58537 h 61651"/>
                  <a:gd name="connsiteX35" fmla="*/ 192658 w 362317"/>
                  <a:gd name="connsiteY35" fmla="*/ 58537 h 61651"/>
                  <a:gd name="connsiteX36" fmla="*/ 176784 w 362317"/>
                  <a:gd name="connsiteY36" fmla="*/ 58041 h 61651"/>
                  <a:gd name="connsiteX37" fmla="*/ 160909 w 362317"/>
                  <a:gd name="connsiteY37" fmla="*/ 59033 h 61651"/>
                  <a:gd name="connsiteX38" fmla="*/ 145035 w 362317"/>
                  <a:gd name="connsiteY38" fmla="*/ 59529 h 61651"/>
                  <a:gd name="connsiteX39" fmla="*/ 129160 w 362317"/>
                  <a:gd name="connsiteY39" fmla="*/ 59033 h 61651"/>
                  <a:gd name="connsiteX40" fmla="*/ 113286 w 362317"/>
                  <a:gd name="connsiteY40" fmla="*/ 59529 h 61651"/>
                  <a:gd name="connsiteX41" fmla="*/ 97411 w 362317"/>
                  <a:gd name="connsiteY41" fmla="*/ 59033 h 61651"/>
                  <a:gd name="connsiteX42" fmla="*/ 81537 w 362317"/>
                  <a:gd name="connsiteY42" fmla="*/ 59529 h 61651"/>
                  <a:gd name="connsiteX43" fmla="*/ 65662 w 362317"/>
                  <a:gd name="connsiteY43" fmla="*/ 59529 h 61651"/>
                  <a:gd name="connsiteX44" fmla="*/ 49788 w 362317"/>
                  <a:gd name="connsiteY44" fmla="*/ 59529 h 61651"/>
                  <a:gd name="connsiteX45" fmla="*/ 33913 w 362317"/>
                  <a:gd name="connsiteY45" fmla="*/ 59529 h 61651"/>
                  <a:gd name="connsiteX46" fmla="*/ 24488 w 362317"/>
                  <a:gd name="connsiteY46" fmla="*/ 43159 h 61651"/>
                  <a:gd name="connsiteX47" fmla="*/ 13574 w 362317"/>
                  <a:gd name="connsiteY47" fmla="*/ 27781 h 61651"/>
                  <a:gd name="connsiteX48" fmla="*/ 4645 w 362317"/>
                  <a:gd name="connsiteY48" fmla="*/ 10914 h 61651"/>
                  <a:gd name="connsiteX49" fmla="*/ 2661 w 362317"/>
                  <a:gd name="connsiteY49" fmla="*/ 1984 h 6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2317" h="61651">
                    <a:moveTo>
                      <a:pt x="2661" y="1984"/>
                    </a:moveTo>
                    <a:cubicBezTo>
                      <a:pt x="9110" y="-2480"/>
                      <a:pt x="10102" y="1984"/>
                      <a:pt x="18039" y="1984"/>
                    </a:cubicBezTo>
                    <a:cubicBezTo>
                      <a:pt x="25976" y="1984"/>
                      <a:pt x="25976" y="1984"/>
                      <a:pt x="34409" y="1984"/>
                    </a:cubicBezTo>
                    <a:cubicBezTo>
                      <a:pt x="42347" y="1984"/>
                      <a:pt x="42347" y="2480"/>
                      <a:pt x="50780" y="2480"/>
                    </a:cubicBezTo>
                    <a:cubicBezTo>
                      <a:pt x="58717" y="2480"/>
                      <a:pt x="58717" y="1984"/>
                      <a:pt x="67151" y="1984"/>
                    </a:cubicBezTo>
                    <a:cubicBezTo>
                      <a:pt x="75584" y="1984"/>
                      <a:pt x="75088" y="992"/>
                      <a:pt x="83521" y="992"/>
                    </a:cubicBezTo>
                    <a:cubicBezTo>
                      <a:pt x="91458" y="992"/>
                      <a:pt x="91458" y="496"/>
                      <a:pt x="99396" y="496"/>
                    </a:cubicBezTo>
                    <a:cubicBezTo>
                      <a:pt x="107333" y="496"/>
                      <a:pt x="107333" y="496"/>
                      <a:pt x="115270" y="496"/>
                    </a:cubicBezTo>
                    <a:cubicBezTo>
                      <a:pt x="123207" y="496"/>
                      <a:pt x="123207" y="992"/>
                      <a:pt x="131641" y="992"/>
                    </a:cubicBezTo>
                    <a:cubicBezTo>
                      <a:pt x="139578" y="992"/>
                      <a:pt x="139578" y="0"/>
                      <a:pt x="147515" y="0"/>
                    </a:cubicBezTo>
                    <a:cubicBezTo>
                      <a:pt x="155453" y="0"/>
                      <a:pt x="155453" y="496"/>
                      <a:pt x="163886" y="496"/>
                    </a:cubicBezTo>
                    <a:cubicBezTo>
                      <a:pt x="171823" y="496"/>
                      <a:pt x="171823" y="0"/>
                      <a:pt x="180256" y="0"/>
                    </a:cubicBezTo>
                    <a:cubicBezTo>
                      <a:pt x="188194" y="0"/>
                      <a:pt x="188194" y="1488"/>
                      <a:pt x="196627" y="1488"/>
                    </a:cubicBezTo>
                    <a:cubicBezTo>
                      <a:pt x="204564" y="1488"/>
                      <a:pt x="204564" y="2480"/>
                      <a:pt x="212997" y="2480"/>
                    </a:cubicBezTo>
                    <a:cubicBezTo>
                      <a:pt x="220935" y="2480"/>
                      <a:pt x="220935" y="1984"/>
                      <a:pt x="229368" y="1984"/>
                    </a:cubicBezTo>
                    <a:cubicBezTo>
                      <a:pt x="237305" y="1984"/>
                      <a:pt x="237305" y="2480"/>
                      <a:pt x="245739" y="2480"/>
                    </a:cubicBezTo>
                    <a:cubicBezTo>
                      <a:pt x="254172" y="2480"/>
                      <a:pt x="253676" y="496"/>
                      <a:pt x="262109" y="496"/>
                    </a:cubicBezTo>
                    <a:cubicBezTo>
                      <a:pt x="270046" y="496"/>
                      <a:pt x="270046" y="496"/>
                      <a:pt x="278480" y="496"/>
                    </a:cubicBezTo>
                    <a:cubicBezTo>
                      <a:pt x="286417" y="496"/>
                      <a:pt x="286417" y="1488"/>
                      <a:pt x="294850" y="1488"/>
                    </a:cubicBezTo>
                    <a:cubicBezTo>
                      <a:pt x="302788" y="1488"/>
                      <a:pt x="302788" y="496"/>
                      <a:pt x="311221" y="496"/>
                    </a:cubicBezTo>
                    <a:cubicBezTo>
                      <a:pt x="319158" y="496"/>
                      <a:pt x="319158" y="1984"/>
                      <a:pt x="327592" y="1984"/>
                    </a:cubicBezTo>
                    <a:cubicBezTo>
                      <a:pt x="335529" y="1984"/>
                      <a:pt x="335529" y="2480"/>
                      <a:pt x="343962" y="2480"/>
                    </a:cubicBezTo>
                    <a:cubicBezTo>
                      <a:pt x="351899" y="2480"/>
                      <a:pt x="352891" y="-1984"/>
                      <a:pt x="359340" y="2480"/>
                    </a:cubicBezTo>
                    <a:cubicBezTo>
                      <a:pt x="363805" y="5457"/>
                      <a:pt x="362317" y="7441"/>
                      <a:pt x="360829" y="12402"/>
                    </a:cubicBezTo>
                    <a:cubicBezTo>
                      <a:pt x="358348" y="20835"/>
                      <a:pt x="356860" y="20835"/>
                      <a:pt x="352891" y="28773"/>
                    </a:cubicBezTo>
                    <a:cubicBezTo>
                      <a:pt x="348923" y="36710"/>
                      <a:pt x="347931" y="36214"/>
                      <a:pt x="343466" y="44151"/>
                    </a:cubicBezTo>
                    <a:cubicBezTo>
                      <a:pt x="339497" y="52088"/>
                      <a:pt x="342474" y="54569"/>
                      <a:pt x="335033" y="59529"/>
                    </a:cubicBezTo>
                    <a:cubicBezTo>
                      <a:pt x="328584" y="63994"/>
                      <a:pt x="327592" y="60026"/>
                      <a:pt x="319654" y="60026"/>
                    </a:cubicBezTo>
                    <a:cubicBezTo>
                      <a:pt x="311717" y="60026"/>
                      <a:pt x="311717" y="60522"/>
                      <a:pt x="303780" y="60522"/>
                    </a:cubicBezTo>
                    <a:cubicBezTo>
                      <a:pt x="295843" y="60522"/>
                      <a:pt x="295843" y="61018"/>
                      <a:pt x="287905" y="61018"/>
                    </a:cubicBezTo>
                    <a:cubicBezTo>
                      <a:pt x="279968" y="61018"/>
                      <a:pt x="279968" y="60522"/>
                      <a:pt x="272031" y="60522"/>
                    </a:cubicBezTo>
                    <a:cubicBezTo>
                      <a:pt x="264093" y="60522"/>
                      <a:pt x="264093" y="59529"/>
                      <a:pt x="256156" y="59529"/>
                    </a:cubicBezTo>
                    <a:cubicBezTo>
                      <a:pt x="248219" y="59529"/>
                      <a:pt x="248219" y="59033"/>
                      <a:pt x="240282" y="59033"/>
                    </a:cubicBezTo>
                    <a:cubicBezTo>
                      <a:pt x="232345" y="59033"/>
                      <a:pt x="232345" y="58537"/>
                      <a:pt x="224407" y="58537"/>
                    </a:cubicBezTo>
                    <a:cubicBezTo>
                      <a:pt x="216470" y="58537"/>
                      <a:pt x="216470" y="58537"/>
                      <a:pt x="208533" y="58537"/>
                    </a:cubicBezTo>
                    <a:cubicBezTo>
                      <a:pt x="200596" y="58537"/>
                      <a:pt x="200596" y="58537"/>
                      <a:pt x="192658" y="58537"/>
                    </a:cubicBezTo>
                    <a:cubicBezTo>
                      <a:pt x="184721" y="58537"/>
                      <a:pt x="184721" y="58041"/>
                      <a:pt x="176784" y="58041"/>
                    </a:cubicBezTo>
                    <a:cubicBezTo>
                      <a:pt x="168847" y="58041"/>
                      <a:pt x="168847" y="59033"/>
                      <a:pt x="160909" y="59033"/>
                    </a:cubicBezTo>
                    <a:cubicBezTo>
                      <a:pt x="152972" y="59033"/>
                      <a:pt x="152972" y="59529"/>
                      <a:pt x="145035" y="59529"/>
                    </a:cubicBezTo>
                    <a:cubicBezTo>
                      <a:pt x="137098" y="59529"/>
                      <a:pt x="137098" y="59033"/>
                      <a:pt x="129160" y="59033"/>
                    </a:cubicBezTo>
                    <a:cubicBezTo>
                      <a:pt x="121223" y="59033"/>
                      <a:pt x="121223" y="59529"/>
                      <a:pt x="113286" y="59529"/>
                    </a:cubicBezTo>
                    <a:cubicBezTo>
                      <a:pt x="105348" y="59529"/>
                      <a:pt x="105348" y="59033"/>
                      <a:pt x="97411" y="59033"/>
                    </a:cubicBezTo>
                    <a:cubicBezTo>
                      <a:pt x="89474" y="59033"/>
                      <a:pt x="89474" y="59529"/>
                      <a:pt x="81537" y="59529"/>
                    </a:cubicBezTo>
                    <a:cubicBezTo>
                      <a:pt x="73600" y="59529"/>
                      <a:pt x="73600" y="59529"/>
                      <a:pt x="65662" y="59529"/>
                    </a:cubicBezTo>
                    <a:cubicBezTo>
                      <a:pt x="57725" y="59529"/>
                      <a:pt x="57725" y="59529"/>
                      <a:pt x="49788" y="59529"/>
                    </a:cubicBezTo>
                    <a:cubicBezTo>
                      <a:pt x="41851" y="59529"/>
                      <a:pt x="40858" y="63498"/>
                      <a:pt x="33913" y="59529"/>
                    </a:cubicBezTo>
                    <a:cubicBezTo>
                      <a:pt x="25976" y="54569"/>
                      <a:pt x="29449" y="51592"/>
                      <a:pt x="24488" y="43159"/>
                    </a:cubicBezTo>
                    <a:cubicBezTo>
                      <a:pt x="19527" y="35222"/>
                      <a:pt x="18535" y="35718"/>
                      <a:pt x="13574" y="27781"/>
                    </a:cubicBezTo>
                    <a:cubicBezTo>
                      <a:pt x="8613" y="19843"/>
                      <a:pt x="9605" y="19347"/>
                      <a:pt x="4645" y="10914"/>
                    </a:cubicBezTo>
                    <a:cubicBezTo>
                      <a:pt x="-316" y="6945"/>
                      <a:pt x="-1804" y="4961"/>
                      <a:pt x="2661" y="198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903AD02A-CF4D-AF2C-63D8-815BEE2614AD}"/>
                </a:ext>
              </a:extLst>
            </p:cNvPr>
            <p:cNvSpPr/>
            <p:nvPr/>
          </p:nvSpPr>
          <p:spPr>
            <a:xfrm>
              <a:off x="5564676" y="3340588"/>
              <a:ext cx="42831" cy="64622"/>
            </a:xfrm>
            <a:custGeom>
              <a:avLst/>
              <a:gdLst>
                <a:gd name="connsiteX0" fmla="*/ 32441 w 42831"/>
                <a:gd name="connsiteY0" fmla="*/ 20835 h 64622"/>
                <a:gd name="connsiteX1" fmla="*/ 42362 w 42831"/>
                <a:gd name="connsiteY1" fmla="*/ 41175 h 64622"/>
                <a:gd name="connsiteX2" fmla="*/ 39882 w 42831"/>
                <a:gd name="connsiteY2" fmla="*/ 54072 h 64622"/>
                <a:gd name="connsiteX3" fmla="*/ 30952 w 42831"/>
                <a:gd name="connsiteY3" fmla="*/ 63002 h 64622"/>
                <a:gd name="connsiteX4" fmla="*/ 12102 w 42831"/>
                <a:gd name="connsiteY4" fmla="*/ 64490 h 64622"/>
                <a:gd name="connsiteX5" fmla="*/ 4660 w 42831"/>
                <a:gd name="connsiteY5" fmla="*/ 53576 h 64622"/>
                <a:gd name="connsiteX6" fmla="*/ 1188 w 42831"/>
                <a:gd name="connsiteY6" fmla="*/ 41175 h 64622"/>
                <a:gd name="connsiteX7" fmla="*/ 9621 w 42831"/>
                <a:gd name="connsiteY7" fmla="*/ 20339 h 64622"/>
                <a:gd name="connsiteX8" fmla="*/ 10117 w 42831"/>
                <a:gd name="connsiteY8" fmla="*/ 12898 h 64622"/>
                <a:gd name="connsiteX9" fmla="*/ 2180 w 42831"/>
                <a:gd name="connsiteY9" fmla="*/ 1984 h 64622"/>
                <a:gd name="connsiteX10" fmla="*/ 21527 w 42831"/>
                <a:gd name="connsiteY10" fmla="*/ 1984 h 64622"/>
                <a:gd name="connsiteX11" fmla="*/ 40378 w 42831"/>
                <a:gd name="connsiteY11" fmla="*/ 2976 h 64622"/>
                <a:gd name="connsiteX12" fmla="*/ 33929 w 42831"/>
                <a:gd name="connsiteY12" fmla="*/ 13890 h 64622"/>
                <a:gd name="connsiteX13" fmla="*/ 32441 w 42831"/>
                <a:gd name="connsiteY13" fmla="*/ 20835 h 6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831" h="64622">
                  <a:moveTo>
                    <a:pt x="32441" y="20835"/>
                  </a:moveTo>
                  <a:cubicBezTo>
                    <a:pt x="37898" y="25300"/>
                    <a:pt x="42362" y="32741"/>
                    <a:pt x="42362" y="41175"/>
                  </a:cubicBezTo>
                  <a:cubicBezTo>
                    <a:pt x="42362" y="45639"/>
                    <a:pt x="41866" y="50104"/>
                    <a:pt x="39882" y="54072"/>
                  </a:cubicBezTo>
                  <a:cubicBezTo>
                    <a:pt x="37898" y="58041"/>
                    <a:pt x="34425" y="60521"/>
                    <a:pt x="30952" y="63002"/>
                  </a:cubicBezTo>
                  <a:cubicBezTo>
                    <a:pt x="21527" y="63994"/>
                    <a:pt x="21527" y="64986"/>
                    <a:pt x="12102" y="64490"/>
                  </a:cubicBezTo>
                  <a:cubicBezTo>
                    <a:pt x="8629" y="62506"/>
                    <a:pt x="6645" y="58041"/>
                    <a:pt x="4660" y="53576"/>
                  </a:cubicBezTo>
                  <a:cubicBezTo>
                    <a:pt x="2676" y="49608"/>
                    <a:pt x="1188" y="46135"/>
                    <a:pt x="1188" y="41175"/>
                  </a:cubicBezTo>
                  <a:cubicBezTo>
                    <a:pt x="1188" y="32245"/>
                    <a:pt x="4164" y="24804"/>
                    <a:pt x="9621" y="20339"/>
                  </a:cubicBezTo>
                  <a:cubicBezTo>
                    <a:pt x="11109" y="16867"/>
                    <a:pt x="12102" y="15874"/>
                    <a:pt x="10117" y="12898"/>
                  </a:cubicBezTo>
                  <a:cubicBezTo>
                    <a:pt x="3668" y="11906"/>
                    <a:pt x="-3773" y="4961"/>
                    <a:pt x="2180" y="1984"/>
                  </a:cubicBezTo>
                  <a:cubicBezTo>
                    <a:pt x="10613" y="-2480"/>
                    <a:pt x="12102" y="1984"/>
                    <a:pt x="21527" y="1984"/>
                  </a:cubicBezTo>
                  <a:cubicBezTo>
                    <a:pt x="30952" y="1984"/>
                    <a:pt x="31945" y="-1488"/>
                    <a:pt x="40378" y="2976"/>
                  </a:cubicBezTo>
                  <a:cubicBezTo>
                    <a:pt x="46331" y="5953"/>
                    <a:pt x="40378" y="13394"/>
                    <a:pt x="33929" y="13890"/>
                  </a:cubicBezTo>
                  <a:cubicBezTo>
                    <a:pt x="30456" y="16371"/>
                    <a:pt x="30952" y="17363"/>
                    <a:pt x="32441" y="20835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90439904-8A7A-E6FF-8C30-17C21C18A5BA}"/>
                </a:ext>
              </a:extLst>
            </p:cNvPr>
            <p:cNvSpPr/>
            <p:nvPr/>
          </p:nvSpPr>
          <p:spPr>
            <a:xfrm>
              <a:off x="5732546" y="3349382"/>
              <a:ext cx="45142" cy="64229"/>
            </a:xfrm>
            <a:custGeom>
              <a:avLst/>
              <a:gdLst>
                <a:gd name="connsiteX0" fmla="*/ 44647 w 45142"/>
                <a:gd name="connsiteY0" fmla="*/ 49247 h 64229"/>
                <a:gd name="connsiteX1" fmla="*/ 45143 w 45142"/>
                <a:gd name="connsiteY1" fmla="*/ 57184 h 64229"/>
                <a:gd name="connsiteX2" fmla="*/ 30757 w 45142"/>
                <a:gd name="connsiteY2" fmla="*/ 62641 h 64229"/>
                <a:gd name="connsiteX3" fmla="*/ 14882 w 45142"/>
                <a:gd name="connsiteY3" fmla="*/ 64129 h 64229"/>
                <a:gd name="connsiteX4" fmla="*/ 496 w 45142"/>
                <a:gd name="connsiteY4" fmla="*/ 57184 h 64229"/>
                <a:gd name="connsiteX5" fmla="*/ 1488 w 45142"/>
                <a:gd name="connsiteY5" fmla="*/ 39822 h 64229"/>
                <a:gd name="connsiteX6" fmla="*/ 0 w 45142"/>
                <a:gd name="connsiteY6" fmla="*/ 22459 h 64229"/>
                <a:gd name="connsiteX7" fmla="*/ 496 w 45142"/>
                <a:gd name="connsiteY7" fmla="*/ 5096 h 64229"/>
                <a:gd name="connsiteX8" fmla="*/ 14882 w 45142"/>
                <a:gd name="connsiteY8" fmla="*/ 1127 h 64229"/>
                <a:gd name="connsiteX9" fmla="*/ 30261 w 45142"/>
                <a:gd name="connsiteY9" fmla="*/ 135 h 64229"/>
                <a:gd name="connsiteX10" fmla="*/ 43159 w 45142"/>
                <a:gd name="connsiteY10" fmla="*/ 5096 h 64229"/>
                <a:gd name="connsiteX11" fmla="*/ 44647 w 45142"/>
                <a:gd name="connsiteY11" fmla="*/ 15514 h 6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142" h="64229">
                  <a:moveTo>
                    <a:pt x="44647" y="49247"/>
                  </a:moveTo>
                  <a:cubicBezTo>
                    <a:pt x="44647" y="53216"/>
                    <a:pt x="45143" y="53216"/>
                    <a:pt x="45143" y="57184"/>
                  </a:cubicBezTo>
                  <a:cubicBezTo>
                    <a:pt x="45143" y="60657"/>
                    <a:pt x="38694" y="61649"/>
                    <a:pt x="30757" y="62641"/>
                  </a:cubicBezTo>
                  <a:cubicBezTo>
                    <a:pt x="25796" y="63137"/>
                    <a:pt x="19843" y="64625"/>
                    <a:pt x="14882" y="64129"/>
                  </a:cubicBezTo>
                  <a:cubicBezTo>
                    <a:pt x="7441" y="63137"/>
                    <a:pt x="496" y="60657"/>
                    <a:pt x="496" y="57184"/>
                  </a:cubicBezTo>
                  <a:cubicBezTo>
                    <a:pt x="496" y="48751"/>
                    <a:pt x="1488" y="48751"/>
                    <a:pt x="1488" y="39822"/>
                  </a:cubicBezTo>
                  <a:cubicBezTo>
                    <a:pt x="1488" y="31388"/>
                    <a:pt x="0" y="31388"/>
                    <a:pt x="0" y="22459"/>
                  </a:cubicBezTo>
                  <a:cubicBezTo>
                    <a:pt x="0" y="14025"/>
                    <a:pt x="496" y="14025"/>
                    <a:pt x="496" y="5096"/>
                  </a:cubicBezTo>
                  <a:cubicBezTo>
                    <a:pt x="496" y="2616"/>
                    <a:pt x="7441" y="1623"/>
                    <a:pt x="14882" y="1127"/>
                  </a:cubicBezTo>
                  <a:cubicBezTo>
                    <a:pt x="19843" y="631"/>
                    <a:pt x="25300" y="-361"/>
                    <a:pt x="30261" y="135"/>
                  </a:cubicBezTo>
                  <a:cubicBezTo>
                    <a:pt x="38198" y="631"/>
                    <a:pt x="43159" y="2616"/>
                    <a:pt x="43159" y="5096"/>
                  </a:cubicBezTo>
                  <a:cubicBezTo>
                    <a:pt x="43159" y="10553"/>
                    <a:pt x="44647" y="10553"/>
                    <a:pt x="44647" y="1551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40D98B3E-D9BC-AF43-0855-969DD0DCCCEA}"/>
                </a:ext>
              </a:extLst>
            </p:cNvPr>
            <p:cNvSpPr/>
            <p:nvPr/>
          </p:nvSpPr>
          <p:spPr>
            <a:xfrm>
              <a:off x="5767272" y="3367336"/>
              <a:ext cx="26788" cy="28316"/>
            </a:xfrm>
            <a:custGeom>
              <a:avLst/>
              <a:gdLst>
                <a:gd name="connsiteX0" fmla="*/ 0 w 26788"/>
                <a:gd name="connsiteY0" fmla="*/ 2025 h 28316"/>
                <a:gd name="connsiteX1" fmla="*/ 10913 w 26788"/>
                <a:gd name="connsiteY1" fmla="*/ 40 h 28316"/>
                <a:gd name="connsiteX2" fmla="*/ 26788 w 26788"/>
                <a:gd name="connsiteY2" fmla="*/ 13931 h 28316"/>
                <a:gd name="connsiteX3" fmla="*/ 10913 w 26788"/>
                <a:gd name="connsiteY3" fmla="*/ 28317 h 28316"/>
                <a:gd name="connsiteX4" fmla="*/ 0 w 26788"/>
                <a:gd name="connsiteY4" fmla="*/ 24348 h 28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88" h="28316">
                  <a:moveTo>
                    <a:pt x="0" y="2025"/>
                  </a:moveTo>
                  <a:cubicBezTo>
                    <a:pt x="2480" y="-455"/>
                    <a:pt x="6945" y="40"/>
                    <a:pt x="10913" y="40"/>
                  </a:cubicBezTo>
                  <a:cubicBezTo>
                    <a:pt x="19347" y="40"/>
                    <a:pt x="26788" y="5498"/>
                    <a:pt x="26788" y="13931"/>
                  </a:cubicBezTo>
                  <a:cubicBezTo>
                    <a:pt x="26788" y="22364"/>
                    <a:pt x="19347" y="28317"/>
                    <a:pt x="10913" y="28317"/>
                  </a:cubicBezTo>
                  <a:cubicBezTo>
                    <a:pt x="6449" y="28317"/>
                    <a:pt x="2480" y="27325"/>
                    <a:pt x="0" y="2434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B3EC1748-1020-2F77-7925-41F4691E77B3}"/>
                </a:ext>
              </a:extLst>
            </p:cNvPr>
            <p:cNvSpPr/>
            <p:nvPr/>
          </p:nvSpPr>
          <p:spPr>
            <a:xfrm>
              <a:off x="5776201" y="3376802"/>
              <a:ext cx="2480" cy="9425"/>
            </a:xfrm>
            <a:custGeom>
              <a:avLst/>
              <a:gdLst>
                <a:gd name="connsiteX0" fmla="*/ 0 w 2480"/>
                <a:gd name="connsiteY0" fmla="*/ 0 h 9425"/>
                <a:gd name="connsiteX1" fmla="*/ 2480 w 2480"/>
                <a:gd name="connsiteY1" fmla="*/ 9425 h 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80" h="9425">
                  <a:moveTo>
                    <a:pt x="0" y="0"/>
                  </a:moveTo>
                  <a:cubicBezTo>
                    <a:pt x="0" y="4961"/>
                    <a:pt x="2480" y="4961"/>
                    <a:pt x="2480" y="94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EAC13633-473B-F188-9BCD-6F608786F00B}"/>
                </a:ext>
              </a:extLst>
            </p:cNvPr>
            <p:cNvSpPr/>
            <p:nvPr/>
          </p:nvSpPr>
          <p:spPr>
            <a:xfrm>
              <a:off x="5589155" y="3316328"/>
              <a:ext cx="17883" cy="26244"/>
            </a:xfrm>
            <a:custGeom>
              <a:avLst/>
              <a:gdLst>
                <a:gd name="connsiteX0" fmla="*/ 521 w 17883"/>
                <a:gd name="connsiteY0" fmla="*/ 26244 h 26244"/>
                <a:gd name="connsiteX1" fmla="*/ 2505 w 17883"/>
                <a:gd name="connsiteY1" fmla="*/ 8385 h 26244"/>
                <a:gd name="connsiteX2" fmla="*/ 17883 w 17883"/>
                <a:gd name="connsiteY2" fmla="*/ 448 h 26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83" h="26244">
                  <a:moveTo>
                    <a:pt x="521" y="26244"/>
                  </a:moveTo>
                  <a:cubicBezTo>
                    <a:pt x="25" y="17315"/>
                    <a:pt x="-968" y="15827"/>
                    <a:pt x="2505" y="8385"/>
                  </a:cubicBezTo>
                  <a:cubicBezTo>
                    <a:pt x="4985" y="3425"/>
                    <a:pt x="9946" y="-1536"/>
                    <a:pt x="17883" y="44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33797F3B-A9F9-5EB5-F4F9-EA3C2A968A92}"/>
                </a:ext>
              </a:extLst>
            </p:cNvPr>
            <p:cNvSpPr/>
            <p:nvPr/>
          </p:nvSpPr>
          <p:spPr>
            <a:xfrm>
              <a:off x="5581037" y="3273618"/>
              <a:ext cx="18560" cy="68954"/>
            </a:xfrm>
            <a:custGeom>
              <a:avLst/>
              <a:gdLst>
                <a:gd name="connsiteX0" fmla="*/ 206 w 18560"/>
                <a:gd name="connsiteY0" fmla="*/ 68955 h 68954"/>
                <a:gd name="connsiteX1" fmla="*/ 702 w 18560"/>
                <a:gd name="connsiteY1" fmla="*/ 54072 h 68954"/>
                <a:gd name="connsiteX2" fmla="*/ 1694 w 18560"/>
                <a:gd name="connsiteY2" fmla="*/ 39686 h 68954"/>
                <a:gd name="connsiteX3" fmla="*/ 3678 w 18560"/>
                <a:gd name="connsiteY3" fmla="*/ 25300 h 68954"/>
                <a:gd name="connsiteX4" fmla="*/ 9135 w 18560"/>
                <a:gd name="connsiteY4" fmla="*/ 11410 h 68954"/>
                <a:gd name="connsiteX5" fmla="*/ 18560 w 18560"/>
                <a:gd name="connsiteY5" fmla="*/ 0 h 6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560" h="68954">
                  <a:moveTo>
                    <a:pt x="206" y="68955"/>
                  </a:moveTo>
                  <a:cubicBezTo>
                    <a:pt x="-291" y="61513"/>
                    <a:pt x="206" y="63002"/>
                    <a:pt x="702" y="54072"/>
                  </a:cubicBezTo>
                  <a:cubicBezTo>
                    <a:pt x="1197" y="49608"/>
                    <a:pt x="1197" y="44647"/>
                    <a:pt x="1694" y="39686"/>
                  </a:cubicBezTo>
                  <a:cubicBezTo>
                    <a:pt x="2190" y="34725"/>
                    <a:pt x="2686" y="29765"/>
                    <a:pt x="3678" y="25300"/>
                  </a:cubicBezTo>
                  <a:cubicBezTo>
                    <a:pt x="5166" y="20339"/>
                    <a:pt x="6655" y="15378"/>
                    <a:pt x="9135" y="11410"/>
                  </a:cubicBezTo>
                  <a:cubicBezTo>
                    <a:pt x="11615" y="6945"/>
                    <a:pt x="15088" y="2976"/>
                    <a:pt x="1856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E81E3FEB-CF62-17C2-6941-D006D93A3610}"/>
                </a:ext>
              </a:extLst>
            </p:cNvPr>
            <p:cNvSpPr/>
            <p:nvPr/>
          </p:nvSpPr>
          <p:spPr>
            <a:xfrm>
              <a:off x="5560407" y="3321241"/>
              <a:ext cx="19346" cy="21331"/>
            </a:xfrm>
            <a:custGeom>
              <a:avLst/>
              <a:gdLst>
                <a:gd name="connsiteX0" fmla="*/ 19347 w 19346"/>
                <a:gd name="connsiteY0" fmla="*/ 21331 h 21331"/>
                <a:gd name="connsiteX1" fmla="*/ 11906 w 19346"/>
                <a:gd name="connsiteY1" fmla="*/ 8433 h 21331"/>
                <a:gd name="connsiteX2" fmla="*/ 0 w 19346"/>
                <a:gd name="connsiteY2" fmla="*/ 0 h 21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346" h="21331">
                  <a:moveTo>
                    <a:pt x="19347" y="21331"/>
                  </a:moveTo>
                  <a:cubicBezTo>
                    <a:pt x="17859" y="13890"/>
                    <a:pt x="16371" y="14386"/>
                    <a:pt x="11906" y="8433"/>
                  </a:cubicBezTo>
                  <a:cubicBezTo>
                    <a:pt x="8929" y="4465"/>
                    <a:pt x="5457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64CA3550-4D15-1AA8-74C8-FF9322DE1610}"/>
                </a:ext>
              </a:extLst>
            </p:cNvPr>
            <p:cNvSpPr/>
            <p:nvPr/>
          </p:nvSpPr>
          <p:spPr>
            <a:xfrm>
              <a:off x="5696829" y="3123802"/>
              <a:ext cx="65978" cy="66970"/>
            </a:xfrm>
            <a:custGeom>
              <a:avLst/>
              <a:gdLst>
                <a:gd name="connsiteX0" fmla="*/ 65978 w 65978"/>
                <a:gd name="connsiteY0" fmla="*/ 0 h 66970"/>
                <a:gd name="connsiteX1" fmla="*/ 55065 w 65978"/>
                <a:gd name="connsiteY1" fmla="*/ 10914 h 66970"/>
                <a:gd name="connsiteX2" fmla="*/ 43159 w 65978"/>
                <a:gd name="connsiteY2" fmla="*/ 20835 h 66970"/>
                <a:gd name="connsiteX3" fmla="*/ 32741 w 65978"/>
                <a:gd name="connsiteY3" fmla="*/ 32741 h 66970"/>
                <a:gd name="connsiteX4" fmla="*/ 21331 w 65978"/>
                <a:gd name="connsiteY4" fmla="*/ 43655 h 66970"/>
                <a:gd name="connsiteX5" fmla="*/ 9425 w 65978"/>
                <a:gd name="connsiteY5" fmla="*/ 54072 h 66970"/>
                <a:gd name="connsiteX6" fmla="*/ 0 w 65978"/>
                <a:gd name="connsiteY6" fmla="*/ 66971 h 6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978" h="66970">
                  <a:moveTo>
                    <a:pt x="65978" y="0"/>
                  </a:moveTo>
                  <a:cubicBezTo>
                    <a:pt x="60522" y="5457"/>
                    <a:pt x="60522" y="5457"/>
                    <a:pt x="55065" y="10914"/>
                  </a:cubicBezTo>
                  <a:cubicBezTo>
                    <a:pt x="49608" y="16371"/>
                    <a:pt x="48616" y="15378"/>
                    <a:pt x="43159" y="20835"/>
                  </a:cubicBezTo>
                  <a:cubicBezTo>
                    <a:pt x="37702" y="26292"/>
                    <a:pt x="38198" y="26788"/>
                    <a:pt x="32741" y="32741"/>
                  </a:cubicBezTo>
                  <a:cubicBezTo>
                    <a:pt x="27284" y="38198"/>
                    <a:pt x="26788" y="38198"/>
                    <a:pt x="21331" y="43655"/>
                  </a:cubicBezTo>
                  <a:cubicBezTo>
                    <a:pt x="15875" y="49112"/>
                    <a:pt x="14882" y="48616"/>
                    <a:pt x="9425" y="54072"/>
                  </a:cubicBezTo>
                  <a:cubicBezTo>
                    <a:pt x="3969" y="59529"/>
                    <a:pt x="5457" y="61513"/>
                    <a:pt x="0" y="6697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5537F074-5224-5C93-5CFB-0D9F26947DA5}"/>
                </a:ext>
              </a:extLst>
            </p:cNvPr>
            <p:cNvSpPr/>
            <p:nvPr/>
          </p:nvSpPr>
          <p:spPr>
            <a:xfrm>
              <a:off x="5729570" y="3124298"/>
              <a:ext cx="85821" cy="85325"/>
            </a:xfrm>
            <a:custGeom>
              <a:avLst/>
              <a:gdLst>
                <a:gd name="connsiteX0" fmla="*/ 0 w 85821"/>
                <a:gd name="connsiteY0" fmla="*/ 85325 h 85325"/>
                <a:gd name="connsiteX1" fmla="*/ 11906 w 85821"/>
                <a:gd name="connsiteY1" fmla="*/ 72428 h 85325"/>
                <a:gd name="connsiteX2" fmla="*/ 25300 w 85821"/>
                <a:gd name="connsiteY2" fmla="*/ 61514 h 85325"/>
                <a:gd name="connsiteX3" fmla="*/ 36214 w 85821"/>
                <a:gd name="connsiteY3" fmla="*/ 48120 h 85325"/>
                <a:gd name="connsiteX4" fmla="*/ 48120 w 85821"/>
                <a:gd name="connsiteY4" fmla="*/ 35718 h 85325"/>
                <a:gd name="connsiteX5" fmla="*/ 61018 w 85821"/>
                <a:gd name="connsiteY5" fmla="*/ 23812 h 85325"/>
                <a:gd name="connsiteX6" fmla="*/ 73915 w 85821"/>
                <a:gd name="connsiteY6" fmla="*/ 12402 h 85325"/>
                <a:gd name="connsiteX7" fmla="*/ 85821 w 85821"/>
                <a:gd name="connsiteY7" fmla="*/ 0 h 8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821" h="85325">
                  <a:moveTo>
                    <a:pt x="0" y="85325"/>
                  </a:moveTo>
                  <a:cubicBezTo>
                    <a:pt x="5953" y="79372"/>
                    <a:pt x="5457" y="78877"/>
                    <a:pt x="11906" y="72428"/>
                  </a:cubicBezTo>
                  <a:cubicBezTo>
                    <a:pt x="17859" y="66475"/>
                    <a:pt x="19347" y="67467"/>
                    <a:pt x="25300" y="61514"/>
                  </a:cubicBezTo>
                  <a:cubicBezTo>
                    <a:pt x="31253" y="55561"/>
                    <a:pt x="30261" y="54073"/>
                    <a:pt x="36214" y="48120"/>
                  </a:cubicBezTo>
                  <a:cubicBezTo>
                    <a:pt x="42167" y="42167"/>
                    <a:pt x="42167" y="41671"/>
                    <a:pt x="48120" y="35718"/>
                  </a:cubicBezTo>
                  <a:cubicBezTo>
                    <a:pt x="54072" y="29765"/>
                    <a:pt x="54569" y="29765"/>
                    <a:pt x="61018" y="23812"/>
                  </a:cubicBezTo>
                  <a:cubicBezTo>
                    <a:pt x="66971" y="17859"/>
                    <a:pt x="67963" y="18355"/>
                    <a:pt x="73915" y="12402"/>
                  </a:cubicBezTo>
                  <a:cubicBezTo>
                    <a:pt x="79869" y="6449"/>
                    <a:pt x="79869" y="5953"/>
                    <a:pt x="85821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79" name="Graphic 10">
              <a:extLst>
                <a:ext uri="{FF2B5EF4-FFF2-40B4-BE49-F238E27FC236}">
                  <a16:creationId xmlns:a16="http://schemas.microsoft.com/office/drawing/2014/main" id="{40FA79C9-1BF9-F984-ACC5-3EE0FC4972B0}"/>
                </a:ext>
              </a:extLst>
            </p:cNvPr>
            <p:cNvGrpSpPr/>
            <p:nvPr/>
          </p:nvGrpSpPr>
          <p:grpSpPr>
            <a:xfrm>
              <a:off x="5527133" y="3095360"/>
              <a:ext cx="364036" cy="393109"/>
              <a:chOff x="5527133" y="3095360"/>
              <a:chExt cx="364036" cy="393109"/>
            </a:xfrm>
            <a:noFill/>
          </p:grpSpPr>
          <p:sp>
            <p:nvSpPr>
              <p:cNvPr id="1719" name="Freeform: Shape 1718">
                <a:extLst>
                  <a:ext uri="{FF2B5EF4-FFF2-40B4-BE49-F238E27FC236}">
                    <a16:creationId xmlns:a16="http://schemas.microsoft.com/office/drawing/2014/main" id="{E6BD630E-402B-5DD4-EFCD-3E5C8F8FC563}"/>
                  </a:ext>
                </a:extLst>
              </p:cNvPr>
              <p:cNvSpPr/>
              <p:nvPr/>
            </p:nvSpPr>
            <p:spPr>
              <a:xfrm>
                <a:off x="5542720" y="3095360"/>
                <a:ext cx="334769" cy="334191"/>
              </a:xfrm>
              <a:custGeom>
                <a:avLst/>
                <a:gdLst>
                  <a:gd name="connsiteX0" fmla="*/ 331208 w 334769"/>
                  <a:gd name="connsiteY0" fmla="*/ 331545 h 334191"/>
                  <a:gd name="connsiteX1" fmla="*/ 314837 w 334769"/>
                  <a:gd name="connsiteY1" fmla="*/ 330553 h 334191"/>
                  <a:gd name="connsiteX2" fmla="*/ 298467 w 334769"/>
                  <a:gd name="connsiteY2" fmla="*/ 332538 h 334191"/>
                  <a:gd name="connsiteX3" fmla="*/ 282096 w 334769"/>
                  <a:gd name="connsiteY3" fmla="*/ 331545 h 334191"/>
                  <a:gd name="connsiteX4" fmla="*/ 265725 w 334769"/>
                  <a:gd name="connsiteY4" fmla="*/ 331545 h 334191"/>
                  <a:gd name="connsiteX5" fmla="*/ 249355 w 334769"/>
                  <a:gd name="connsiteY5" fmla="*/ 332042 h 334191"/>
                  <a:gd name="connsiteX6" fmla="*/ 232984 w 334769"/>
                  <a:gd name="connsiteY6" fmla="*/ 331049 h 334191"/>
                  <a:gd name="connsiteX7" fmla="*/ 216614 w 334769"/>
                  <a:gd name="connsiteY7" fmla="*/ 330553 h 334191"/>
                  <a:gd name="connsiteX8" fmla="*/ 200243 w 334769"/>
                  <a:gd name="connsiteY8" fmla="*/ 330553 h 334191"/>
                  <a:gd name="connsiteX9" fmla="*/ 183873 w 334769"/>
                  <a:gd name="connsiteY9" fmla="*/ 332538 h 334191"/>
                  <a:gd name="connsiteX10" fmla="*/ 167502 w 334769"/>
                  <a:gd name="connsiteY10" fmla="*/ 331545 h 334191"/>
                  <a:gd name="connsiteX11" fmla="*/ 151132 w 334769"/>
                  <a:gd name="connsiteY11" fmla="*/ 332538 h 334191"/>
                  <a:gd name="connsiteX12" fmla="*/ 134761 w 334769"/>
                  <a:gd name="connsiteY12" fmla="*/ 331545 h 334191"/>
                  <a:gd name="connsiteX13" fmla="*/ 118390 w 334769"/>
                  <a:gd name="connsiteY13" fmla="*/ 330553 h 334191"/>
                  <a:gd name="connsiteX14" fmla="*/ 102020 w 334769"/>
                  <a:gd name="connsiteY14" fmla="*/ 332042 h 334191"/>
                  <a:gd name="connsiteX15" fmla="*/ 85649 w 334769"/>
                  <a:gd name="connsiteY15" fmla="*/ 332042 h 334191"/>
                  <a:gd name="connsiteX16" fmla="*/ 69279 w 334769"/>
                  <a:gd name="connsiteY16" fmla="*/ 332042 h 334191"/>
                  <a:gd name="connsiteX17" fmla="*/ 52908 w 334769"/>
                  <a:gd name="connsiteY17" fmla="*/ 332042 h 334191"/>
                  <a:gd name="connsiteX18" fmla="*/ 36538 w 334769"/>
                  <a:gd name="connsiteY18" fmla="*/ 331049 h 334191"/>
                  <a:gd name="connsiteX19" fmla="*/ 20167 w 334769"/>
                  <a:gd name="connsiteY19" fmla="*/ 331545 h 334191"/>
                  <a:gd name="connsiteX20" fmla="*/ 3797 w 334769"/>
                  <a:gd name="connsiteY20" fmla="*/ 331545 h 334191"/>
                  <a:gd name="connsiteX21" fmla="*/ 4789 w 334769"/>
                  <a:gd name="connsiteY21" fmla="*/ 315175 h 334191"/>
                  <a:gd name="connsiteX22" fmla="*/ 3300 w 334769"/>
                  <a:gd name="connsiteY22" fmla="*/ 298804 h 334191"/>
                  <a:gd name="connsiteX23" fmla="*/ 2804 w 334769"/>
                  <a:gd name="connsiteY23" fmla="*/ 282434 h 334191"/>
                  <a:gd name="connsiteX24" fmla="*/ 2804 w 334769"/>
                  <a:gd name="connsiteY24" fmla="*/ 266063 h 334191"/>
                  <a:gd name="connsiteX25" fmla="*/ 2804 w 334769"/>
                  <a:gd name="connsiteY25" fmla="*/ 249693 h 334191"/>
                  <a:gd name="connsiteX26" fmla="*/ 1812 w 334769"/>
                  <a:gd name="connsiteY26" fmla="*/ 233322 h 334191"/>
                  <a:gd name="connsiteX27" fmla="*/ 3300 w 334769"/>
                  <a:gd name="connsiteY27" fmla="*/ 216952 h 334191"/>
                  <a:gd name="connsiteX28" fmla="*/ 3797 w 334769"/>
                  <a:gd name="connsiteY28" fmla="*/ 200581 h 334191"/>
                  <a:gd name="connsiteX29" fmla="*/ 3300 w 334769"/>
                  <a:gd name="connsiteY29" fmla="*/ 184210 h 334191"/>
                  <a:gd name="connsiteX30" fmla="*/ 2308 w 334769"/>
                  <a:gd name="connsiteY30" fmla="*/ 167840 h 334191"/>
                  <a:gd name="connsiteX31" fmla="*/ 3300 w 334769"/>
                  <a:gd name="connsiteY31" fmla="*/ 151469 h 334191"/>
                  <a:gd name="connsiteX32" fmla="*/ 3300 w 334769"/>
                  <a:gd name="connsiteY32" fmla="*/ 135099 h 334191"/>
                  <a:gd name="connsiteX33" fmla="*/ 2308 w 334769"/>
                  <a:gd name="connsiteY33" fmla="*/ 118728 h 334191"/>
                  <a:gd name="connsiteX34" fmla="*/ 1812 w 334769"/>
                  <a:gd name="connsiteY34" fmla="*/ 102357 h 334191"/>
                  <a:gd name="connsiteX35" fmla="*/ 3797 w 334769"/>
                  <a:gd name="connsiteY35" fmla="*/ 85987 h 334191"/>
                  <a:gd name="connsiteX36" fmla="*/ 2308 w 334769"/>
                  <a:gd name="connsiteY36" fmla="*/ 69616 h 334191"/>
                  <a:gd name="connsiteX37" fmla="*/ 3300 w 334769"/>
                  <a:gd name="connsiteY37" fmla="*/ 53246 h 334191"/>
                  <a:gd name="connsiteX38" fmla="*/ 3797 w 334769"/>
                  <a:gd name="connsiteY38" fmla="*/ 36875 h 334191"/>
                  <a:gd name="connsiteX39" fmla="*/ 3797 w 334769"/>
                  <a:gd name="connsiteY39" fmla="*/ 20504 h 334191"/>
                  <a:gd name="connsiteX40" fmla="*/ 2308 w 334769"/>
                  <a:gd name="connsiteY40" fmla="*/ 3142 h 334191"/>
                  <a:gd name="connsiteX41" fmla="*/ 19671 w 334769"/>
                  <a:gd name="connsiteY41" fmla="*/ 3142 h 334191"/>
                  <a:gd name="connsiteX42" fmla="*/ 36042 w 334769"/>
                  <a:gd name="connsiteY42" fmla="*/ 4134 h 334191"/>
                  <a:gd name="connsiteX43" fmla="*/ 52412 w 334769"/>
                  <a:gd name="connsiteY43" fmla="*/ 3638 h 334191"/>
                  <a:gd name="connsiteX44" fmla="*/ 68783 w 334769"/>
                  <a:gd name="connsiteY44" fmla="*/ 3638 h 334191"/>
                  <a:gd name="connsiteX45" fmla="*/ 85153 w 334769"/>
                  <a:gd name="connsiteY45" fmla="*/ 3638 h 334191"/>
                  <a:gd name="connsiteX46" fmla="*/ 101524 w 334769"/>
                  <a:gd name="connsiteY46" fmla="*/ 3638 h 334191"/>
                  <a:gd name="connsiteX47" fmla="*/ 117895 w 334769"/>
                  <a:gd name="connsiteY47" fmla="*/ 2646 h 334191"/>
                  <a:gd name="connsiteX48" fmla="*/ 134265 w 334769"/>
                  <a:gd name="connsiteY48" fmla="*/ 2150 h 334191"/>
                  <a:gd name="connsiteX49" fmla="*/ 150636 w 334769"/>
                  <a:gd name="connsiteY49" fmla="*/ 3638 h 334191"/>
                  <a:gd name="connsiteX50" fmla="*/ 167006 w 334769"/>
                  <a:gd name="connsiteY50" fmla="*/ 3638 h 334191"/>
                  <a:gd name="connsiteX51" fmla="*/ 183377 w 334769"/>
                  <a:gd name="connsiteY51" fmla="*/ 2646 h 334191"/>
                  <a:gd name="connsiteX52" fmla="*/ 199747 w 334769"/>
                  <a:gd name="connsiteY52" fmla="*/ 2150 h 334191"/>
                  <a:gd name="connsiteX53" fmla="*/ 216118 w 334769"/>
                  <a:gd name="connsiteY53" fmla="*/ 3638 h 334191"/>
                  <a:gd name="connsiteX54" fmla="*/ 232488 w 334769"/>
                  <a:gd name="connsiteY54" fmla="*/ 4134 h 334191"/>
                  <a:gd name="connsiteX55" fmla="*/ 248859 w 334769"/>
                  <a:gd name="connsiteY55" fmla="*/ 2646 h 334191"/>
                  <a:gd name="connsiteX56" fmla="*/ 265229 w 334769"/>
                  <a:gd name="connsiteY56" fmla="*/ 2646 h 334191"/>
                  <a:gd name="connsiteX57" fmla="*/ 281600 w 334769"/>
                  <a:gd name="connsiteY57" fmla="*/ 3142 h 334191"/>
                  <a:gd name="connsiteX58" fmla="*/ 297970 w 334769"/>
                  <a:gd name="connsiteY58" fmla="*/ 2150 h 334191"/>
                  <a:gd name="connsiteX59" fmla="*/ 314341 w 334769"/>
                  <a:gd name="connsiteY59" fmla="*/ 2646 h 334191"/>
                  <a:gd name="connsiteX60" fmla="*/ 331208 w 334769"/>
                  <a:gd name="connsiteY60" fmla="*/ 2646 h 334191"/>
                  <a:gd name="connsiteX61" fmla="*/ 330712 w 334769"/>
                  <a:gd name="connsiteY61" fmla="*/ 19513 h 334191"/>
                  <a:gd name="connsiteX62" fmla="*/ 332200 w 334769"/>
                  <a:gd name="connsiteY62" fmla="*/ 35883 h 334191"/>
                  <a:gd name="connsiteX63" fmla="*/ 330216 w 334769"/>
                  <a:gd name="connsiteY63" fmla="*/ 52254 h 334191"/>
                  <a:gd name="connsiteX64" fmla="*/ 332200 w 334769"/>
                  <a:gd name="connsiteY64" fmla="*/ 68624 h 334191"/>
                  <a:gd name="connsiteX65" fmla="*/ 331704 w 334769"/>
                  <a:gd name="connsiteY65" fmla="*/ 84995 h 334191"/>
                  <a:gd name="connsiteX66" fmla="*/ 331704 w 334769"/>
                  <a:gd name="connsiteY66" fmla="*/ 101365 h 334191"/>
                  <a:gd name="connsiteX67" fmla="*/ 330712 w 334769"/>
                  <a:gd name="connsiteY67" fmla="*/ 117736 h 334191"/>
                  <a:gd name="connsiteX68" fmla="*/ 332200 w 334769"/>
                  <a:gd name="connsiteY68" fmla="*/ 134106 h 334191"/>
                  <a:gd name="connsiteX69" fmla="*/ 330712 w 334769"/>
                  <a:gd name="connsiteY69" fmla="*/ 150477 h 334191"/>
                  <a:gd name="connsiteX70" fmla="*/ 330712 w 334769"/>
                  <a:gd name="connsiteY70" fmla="*/ 166847 h 334191"/>
                  <a:gd name="connsiteX71" fmla="*/ 331208 w 334769"/>
                  <a:gd name="connsiteY71" fmla="*/ 183218 h 334191"/>
                  <a:gd name="connsiteX72" fmla="*/ 330712 w 334769"/>
                  <a:gd name="connsiteY72" fmla="*/ 199589 h 334191"/>
                  <a:gd name="connsiteX73" fmla="*/ 331704 w 334769"/>
                  <a:gd name="connsiteY73" fmla="*/ 215959 h 334191"/>
                  <a:gd name="connsiteX74" fmla="*/ 332200 w 334769"/>
                  <a:gd name="connsiteY74" fmla="*/ 232330 h 334191"/>
                  <a:gd name="connsiteX75" fmla="*/ 331208 w 334769"/>
                  <a:gd name="connsiteY75" fmla="*/ 248700 h 334191"/>
                  <a:gd name="connsiteX76" fmla="*/ 330712 w 334769"/>
                  <a:gd name="connsiteY76" fmla="*/ 265071 h 334191"/>
                  <a:gd name="connsiteX77" fmla="*/ 331704 w 334769"/>
                  <a:gd name="connsiteY77" fmla="*/ 281442 h 334191"/>
                  <a:gd name="connsiteX78" fmla="*/ 332696 w 334769"/>
                  <a:gd name="connsiteY78" fmla="*/ 297812 h 334191"/>
                  <a:gd name="connsiteX79" fmla="*/ 332696 w 334769"/>
                  <a:gd name="connsiteY79" fmla="*/ 314183 h 334191"/>
                  <a:gd name="connsiteX80" fmla="*/ 331208 w 334769"/>
                  <a:gd name="connsiteY80" fmla="*/ 331545 h 334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4769" h="334191">
                    <a:moveTo>
                      <a:pt x="331208" y="331545"/>
                    </a:moveTo>
                    <a:cubicBezTo>
                      <a:pt x="325255" y="337498"/>
                      <a:pt x="322774" y="330553"/>
                      <a:pt x="314837" y="330553"/>
                    </a:cubicBezTo>
                    <a:cubicBezTo>
                      <a:pt x="306404" y="330553"/>
                      <a:pt x="306404" y="332538"/>
                      <a:pt x="298467" y="332538"/>
                    </a:cubicBezTo>
                    <a:cubicBezTo>
                      <a:pt x="290529" y="332538"/>
                      <a:pt x="290033" y="331545"/>
                      <a:pt x="282096" y="331545"/>
                    </a:cubicBezTo>
                    <a:cubicBezTo>
                      <a:pt x="273663" y="331545"/>
                      <a:pt x="273663" y="331545"/>
                      <a:pt x="265725" y="331545"/>
                    </a:cubicBezTo>
                    <a:cubicBezTo>
                      <a:pt x="257292" y="331545"/>
                      <a:pt x="257292" y="332042"/>
                      <a:pt x="249355" y="332042"/>
                    </a:cubicBezTo>
                    <a:cubicBezTo>
                      <a:pt x="240921" y="332042"/>
                      <a:pt x="240921" y="331049"/>
                      <a:pt x="232984" y="331049"/>
                    </a:cubicBezTo>
                    <a:cubicBezTo>
                      <a:pt x="224551" y="331049"/>
                      <a:pt x="224551" y="330553"/>
                      <a:pt x="216614" y="330553"/>
                    </a:cubicBezTo>
                    <a:cubicBezTo>
                      <a:pt x="208180" y="330553"/>
                      <a:pt x="208180" y="330553"/>
                      <a:pt x="200243" y="330553"/>
                    </a:cubicBezTo>
                    <a:cubicBezTo>
                      <a:pt x="191810" y="330553"/>
                      <a:pt x="191810" y="332538"/>
                      <a:pt x="183873" y="332538"/>
                    </a:cubicBezTo>
                    <a:cubicBezTo>
                      <a:pt x="175439" y="332538"/>
                      <a:pt x="175439" y="331545"/>
                      <a:pt x="167502" y="331545"/>
                    </a:cubicBezTo>
                    <a:cubicBezTo>
                      <a:pt x="159069" y="331545"/>
                      <a:pt x="159069" y="332538"/>
                      <a:pt x="151132" y="332538"/>
                    </a:cubicBezTo>
                    <a:cubicBezTo>
                      <a:pt x="142698" y="332538"/>
                      <a:pt x="142698" y="331545"/>
                      <a:pt x="134761" y="331545"/>
                    </a:cubicBezTo>
                    <a:cubicBezTo>
                      <a:pt x="126328" y="331545"/>
                      <a:pt x="126328" y="330553"/>
                      <a:pt x="118390" y="330553"/>
                    </a:cubicBezTo>
                    <a:cubicBezTo>
                      <a:pt x="109957" y="330553"/>
                      <a:pt x="109957" y="332042"/>
                      <a:pt x="102020" y="332042"/>
                    </a:cubicBezTo>
                    <a:cubicBezTo>
                      <a:pt x="93587" y="332042"/>
                      <a:pt x="93587" y="332042"/>
                      <a:pt x="85649" y="332042"/>
                    </a:cubicBezTo>
                    <a:cubicBezTo>
                      <a:pt x="77216" y="332042"/>
                      <a:pt x="77216" y="332042"/>
                      <a:pt x="69279" y="332042"/>
                    </a:cubicBezTo>
                    <a:cubicBezTo>
                      <a:pt x="60846" y="332042"/>
                      <a:pt x="60846" y="332042"/>
                      <a:pt x="52908" y="332042"/>
                    </a:cubicBezTo>
                    <a:cubicBezTo>
                      <a:pt x="44475" y="332042"/>
                      <a:pt x="44475" y="331049"/>
                      <a:pt x="36538" y="331049"/>
                    </a:cubicBezTo>
                    <a:cubicBezTo>
                      <a:pt x="28104" y="331049"/>
                      <a:pt x="28104" y="331545"/>
                      <a:pt x="20167" y="331545"/>
                    </a:cubicBezTo>
                    <a:cubicBezTo>
                      <a:pt x="12230" y="331545"/>
                      <a:pt x="9749" y="337498"/>
                      <a:pt x="3797" y="331545"/>
                    </a:cubicBezTo>
                    <a:cubicBezTo>
                      <a:pt x="-2156" y="325592"/>
                      <a:pt x="4789" y="323608"/>
                      <a:pt x="4789" y="315175"/>
                    </a:cubicBezTo>
                    <a:cubicBezTo>
                      <a:pt x="4789" y="306741"/>
                      <a:pt x="3300" y="306741"/>
                      <a:pt x="3300" y="298804"/>
                    </a:cubicBezTo>
                    <a:cubicBezTo>
                      <a:pt x="3300" y="290371"/>
                      <a:pt x="2804" y="290371"/>
                      <a:pt x="2804" y="282434"/>
                    </a:cubicBezTo>
                    <a:cubicBezTo>
                      <a:pt x="2804" y="274000"/>
                      <a:pt x="2804" y="274000"/>
                      <a:pt x="2804" y="266063"/>
                    </a:cubicBezTo>
                    <a:cubicBezTo>
                      <a:pt x="2804" y="257630"/>
                      <a:pt x="2804" y="257630"/>
                      <a:pt x="2804" y="249693"/>
                    </a:cubicBezTo>
                    <a:cubicBezTo>
                      <a:pt x="2804" y="241259"/>
                      <a:pt x="1812" y="241259"/>
                      <a:pt x="1812" y="233322"/>
                    </a:cubicBezTo>
                    <a:cubicBezTo>
                      <a:pt x="1812" y="224889"/>
                      <a:pt x="3300" y="224889"/>
                      <a:pt x="3300" y="216952"/>
                    </a:cubicBezTo>
                    <a:cubicBezTo>
                      <a:pt x="3300" y="208518"/>
                      <a:pt x="3797" y="208518"/>
                      <a:pt x="3797" y="200581"/>
                    </a:cubicBezTo>
                    <a:cubicBezTo>
                      <a:pt x="3797" y="192148"/>
                      <a:pt x="3300" y="192148"/>
                      <a:pt x="3300" y="184210"/>
                    </a:cubicBezTo>
                    <a:cubicBezTo>
                      <a:pt x="3300" y="175777"/>
                      <a:pt x="2308" y="175777"/>
                      <a:pt x="2308" y="167840"/>
                    </a:cubicBezTo>
                    <a:cubicBezTo>
                      <a:pt x="2308" y="159406"/>
                      <a:pt x="3300" y="159406"/>
                      <a:pt x="3300" y="151469"/>
                    </a:cubicBezTo>
                    <a:cubicBezTo>
                      <a:pt x="3300" y="143036"/>
                      <a:pt x="3300" y="143036"/>
                      <a:pt x="3300" y="135099"/>
                    </a:cubicBezTo>
                    <a:cubicBezTo>
                      <a:pt x="3300" y="126665"/>
                      <a:pt x="2308" y="126665"/>
                      <a:pt x="2308" y="118728"/>
                    </a:cubicBezTo>
                    <a:cubicBezTo>
                      <a:pt x="2308" y="110791"/>
                      <a:pt x="1812" y="110295"/>
                      <a:pt x="1812" y="102357"/>
                    </a:cubicBezTo>
                    <a:cubicBezTo>
                      <a:pt x="1812" y="93924"/>
                      <a:pt x="3797" y="93924"/>
                      <a:pt x="3797" y="85987"/>
                    </a:cubicBezTo>
                    <a:cubicBezTo>
                      <a:pt x="3797" y="77553"/>
                      <a:pt x="2308" y="77553"/>
                      <a:pt x="2308" y="69616"/>
                    </a:cubicBezTo>
                    <a:cubicBezTo>
                      <a:pt x="2308" y="61183"/>
                      <a:pt x="3300" y="61183"/>
                      <a:pt x="3300" y="53246"/>
                    </a:cubicBezTo>
                    <a:cubicBezTo>
                      <a:pt x="3300" y="44812"/>
                      <a:pt x="3797" y="44812"/>
                      <a:pt x="3797" y="36875"/>
                    </a:cubicBezTo>
                    <a:cubicBezTo>
                      <a:pt x="3797" y="28442"/>
                      <a:pt x="3797" y="28442"/>
                      <a:pt x="3797" y="20504"/>
                    </a:cubicBezTo>
                    <a:cubicBezTo>
                      <a:pt x="3797" y="12567"/>
                      <a:pt x="-3645" y="9095"/>
                      <a:pt x="2308" y="3142"/>
                    </a:cubicBezTo>
                    <a:cubicBezTo>
                      <a:pt x="8261" y="-2811"/>
                      <a:pt x="11238" y="3142"/>
                      <a:pt x="19671" y="3142"/>
                    </a:cubicBezTo>
                    <a:cubicBezTo>
                      <a:pt x="28104" y="3142"/>
                      <a:pt x="28104" y="4134"/>
                      <a:pt x="36042" y="4134"/>
                    </a:cubicBezTo>
                    <a:cubicBezTo>
                      <a:pt x="44475" y="4134"/>
                      <a:pt x="44475" y="3638"/>
                      <a:pt x="52412" y="3638"/>
                    </a:cubicBezTo>
                    <a:cubicBezTo>
                      <a:pt x="60846" y="3638"/>
                      <a:pt x="60846" y="3638"/>
                      <a:pt x="68783" y="3638"/>
                    </a:cubicBezTo>
                    <a:cubicBezTo>
                      <a:pt x="77216" y="3638"/>
                      <a:pt x="77216" y="3638"/>
                      <a:pt x="85153" y="3638"/>
                    </a:cubicBezTo>
                    <a:cubicBezTo>
                      <a:pt x="93587" y="3638"/>
                      <a:pt x="93587" y="3638"/>
                      <a:pt x="101524" y="3638"/>
                    </a:cubicBezTo>
                    <a:cubicBezTo>
                      <a:pt x="109957" y="3638"/>
                      <a:pt x="109957" y="2646"/>
                      <a:pt x="117895" y="2646"/>
                    </a:cubicBezTo>
                    <a:cubicBezTo>
                      <a:pt x="126328" y="2646"/>
                      <a:pt x="126328" y="2150"/>
                      <a:pt x="134265" y="2150"/>
                    </a:cubicBezTo>
                    <a:cubicBezTo>
                      <a:pt x="142698" y="2150"/>
                      <a:pt x="142698" y="3638"/>
                      <a:pt x="150636" y="3638"/>
                    </a:cubicBezTo>
                    <a:cubicBezTo>
                      <a:pt x="159069" y="3638"/>
                      <a:pt x="159069" y="3638"/>
                      <a:pt x="167006" y="3638"/>
                    </a:cubicBezTo>
                    <a:cubicBezTo>
                      <a:pt x="175439" y="3638"/>
                      <a:pt x="175439" y="2646"/>
                      <a:pt x="183377" y="2646"/>
                    </a:cubicBezTo>
                    <a:cubicBezTo>
                      <a:pt x="191810" y="2646"/>
                      <a:pt x="191810" y="2150"/>
                      <a:pt x="199747" y="2150"/>
                    </a:cubicBezTo>
                    <a:cubicBezTo>
                      <a:pt x="208180" y="2150"/>
                      <a:pt x="208180" y="3638"/>
                      <a:pt x="216118" y="3638"/>
                    </a:cubicBezTo>
                    <a:cubicBezTo>
                      <a:pt x="224055" y="3638"/>
                      <a:pt x="224551" y="4134"/>
                      <a:pt x="232488" y="4134"/>
                    </a:cubicBezTo>
                    <a:cubicBezTo>
                      <a:pt x="240921" y="4134"/>
                      <a:pt x="240921" y="2646"/>
                      <a:pt x="248859" y="2646"/>
                    </a:cubicBezTo>
                    <a:cubicBezTo>
                      <a:pt x="257292" y="2646"/>
                      <a:pt x="257292" y="2646"/>
                      <a:pt x="265229" y="2646"/>
                    </a:cubicBezTo>
                    <a:cubicBezTo>
                      <a:pt x="273663" y="2646"/>
                      <a:pt x="273663" y="3142"/>
                      <a:pt x="281600" y="3142"/>
                    </a:cubicBezTo>
                    <a:cubicBezTo>
                      <a:pt x="290033" y="3142"/>
                      <a:pt x="290033" y="2150"/>
                      <a:pt x="297970" y="2150"/>
                    </a:cubicBezTo>
                    <a:cubicBezTo>
                      <a:pt x="306404" y="2150"/>
                      <a:pt x="306404" y="2646"/>
                      <a:pt x="314341" y="2646"/>
                    </a:cubicBezTo>
                    <a:cubicBezTo>
                      <a:pt x="322774" y="2646"/>
                      <a:pt x="325255" y="-3307"/>
                      <a:pt x="331208" y="2646"/>
                    </a:cubicBezTo>
                    <a:cubicBezTo>
                      <a:pt x="337161" y="8599"/>
                      <a:pt x="330712" y="11079"/>
                      <a:pt x="330712" y="19513"/>
                    </a:cubicBezTo>
                    <a:cubicBezTo>
                      <a:pt x="330712" y="27946"/>
                      <a:pt x="332200" y="27946"/>
                      <a:pt x="332200" y="35883"/>
                    </a:cubicBezTo>
                    <a:cubicBezTo>
                      <a:pt x="332200" y="44316"/>
                      <a:pt x="330216" y="44316"/>
                      <a:pt x="330216" y="52254"/>
                    </a:cubicBezTo>
                    <a:cubicBezTo>
                      <a:pt x="330216" y="60687"/>
                      <a:pt x="332200" y="60687"/>
                      <a:pt x="332200" y="68624"/>
                    </a:cubicBezTo>
                    <a:cubicBezTo>
                      <a:pt x="332200" y="77057"/>
                      <a:pt x="331704" y="77057"/>
                      <a:pt x="331704" y="84995"/>
                    </a:cubicBezTo>
                    <a:cubicBezTo>
                      <a:pt x="331704" y="93428"/>
                      <a:pt x="331704" y="93428"/>
                      <a:pt x="331704" y="101365"/>
                    </a:cubicBezTo>
                    <a:cubicBezTo>
                      <a:pt x="331704" y="109798"/>
                      <a:pt x="330712" y="109798"/>
                      <a:pt x="330712" y="117736"/>
                    </a:cubicBezTo>
                    <a:cubicBezTo>
                      <a:pt x="330712" y="126169"/>
                      <a:pt x="332200" y="126169"/>
                      <a:pt x="332200" y="134106"/>
                    </a:cubicBezTo>
                    <a:cubicBezTo>
                      <a:pt x="332200" y="142540"/>
                      <a:pt x="330712" y="142540"/>
                      <a:pt x="330712" y="150477"/>
                    </a:cubicBezTo>
                    <a:cubicBezTo>
                      <a:pt x="330712" y="158910"/>
                      <a:pt x="330712" y="158910"/>
                      <a:pt x="330712" y="166847"/>
                    </a:cubicBezTo>
                    <a:cubicBezTo>
                      <a:pt x="330712" y="175281"/>
                      <a:pt x="331208" y="175281"/>
                      <a:pt x="331208" y="183218"/>
                    </a:cubicBezTo>
                    <a:cubicBezTo>
                      <a:pt x="331208" y="191651"/>
                      <a:pt x="330712" y="191651"/>
                      <a:pt x="330712" y="199589"/>
                    </a:cubicBezTo>
                    <a:cubicBezTo>
                      <a:pt x="330712" y="208022"/>
                      <a:pt x="331704" y="208022"/>
                      <a:pt x="331704" y="215959"/>
                    </a:cubicBezTo>
                    <a:cubicBezTo>
                      <a:pt x="331704" y="223896"/>
                      <a:pt x="332200" y="224393"/>
                      <a:pt x="332200" y="232330"/>
                    </a:cubicBezTo>
                    <a:cubicBezTo>
                      <a:pt x="332200" y="240763"/>
                      <a:pt x="331208" y="240763"/>
                      <a:pt x="331208" y="248700"/>
                    </a:cubicBezTo>
                    <a:cubicBezTo>
                      <a:pt x="331208" y="257134"/>
                      <a:pt x="330712" y="257134"/>
                      <a:pt x="330712" y="265071"/>
                    </a:cubicBezTo>
                    <a:cubicBezTo>
                      <a:pt x="330712" y="273504"/>
                      <a:pt x="331704" y="273504"/>
                      <a:pt x="331704" y="281442"/>
                    </a:cubicBezTo>
                    <a:cubicBezTo>
                      <a:pt x="331704" y="289875"/>
                      <a:pt x="332696" y="289875"/>
                      <a:pt x="332696" y="297812"/>
                    </a:cubicBezTo>
                    <a:cubicBezTo>
                      <a:pt x="332696" y="306246"/>
                      <a:pt x="330712" y="306246"/>
                      <a:pt x="332696" y="314183"/>
                    </a:cubicBezTo>
                    <a:cubicBezTo>
                      <a:pt x="334184" y="323608"/>
                      <a:pt x="337161" y="325592"/>
                      <a:pt x="331208" y="33154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0" name="Freeform: Shape 1719">
                <a:extLst>
                  <a:ext uri="{FF2B5EF4-FFF2-40B4-BE49-F238E27FC236}">
                    <a16:creationId xmlns:a16="http://schemas.microsoft.com/office/drawing/2014/main" id="{05D94600-4FF4-77EB-9F2C-17F0AD7EC3BF}"/>
                  </a:ext>
                </a:extLst>
              </p:cNvPr>
              <p:cNvSpPr/>
              <p:nvPr/>
            </p:nvSpPr>
            <p:spPr>
              <a:xfrm>
                <a:off x="5557500" y="3229513"/>
                <a:ext cx="300101" cy="39570"/>
              </a:xfrm>
              <a:custGeom>
                <a:avLst/>
                <a:gdLst>
                  <a:gd name="connsiteX0" fmla="*/ 296585 w 300101"/>
                  <a:gd name="connsiteY0" fmla="*/ 36167 h 39570"/>
                  <a:gd name="connsiteX1" fmla="*/ 280710 w 300101"/>
                  <a:gd name="connsiteY1" fmla="*/ 37655 h 39570"/>
                  <a:gd name="connsiteX2" fmla="*/ 264340 w 300101"/>
                  <a:gd name="connsiteY2" fmla="*/ 36663 h 39570"/>
                  <a:gd name="connsiteX3" fmla="*/ 247969 w 300101"/>
                  <a:gd name="connsiteY3" fmla="*/ 36663 h 39570"/>
                  <a:gd name="connsiteX4" fmla="*/ 231599 w 300101"/>
                  <a:gd name="connsiteY4" fmla="*/ 37655 h 39570"/>
                  <a:gd name="connsiteX5" fmla="*/ 215228 w 300101"/>
                  <a:gd name="connsiteY5" fmla="*/ 36167 h 39570"/>
                  <a:gd name="connsiteX6" fmla="*/ 198858 w 300101"/>
                  <a:gd name="connsiteY6" fmla="*/ 36663 h 39570"/>
                  <a:gd name="connsiteX7" fmla="*/ 182487 w 300101"/>
                  <a:gd name="connsiteY7" fmla="*/ 36167 h 39570"/>
                  <a:gd name="connsiteX8" fmla="*/ 166117 w 300101"/>
                  <a:gd name="connsiteY8" fmla="*/ 37159 h 39570"/>
                  <a:gd name="connsiteX9" fmla="*/ 149746 w 300101"/>
                  <a:gd name="connsiteY9" fmla="*/ 37159 h 39570"/>
                  <a:gd name="connsiteX10" fmla="*/ 133376 w 300101"/>
                  <a:gd name="connsiteY10" fmla="*/ 35175 h 39570"/>
                  <a:gd name="connsiteX11" fmla="*/ 117005 w 300101"/>
                  <a:gd name="connsiteY11" fmla="*/ 35175 h 39570"/>
                  <a:gd name="connsiteX12" fmla="*/ 100634 w 300101"/>
                  <a:gd name="connsiteY12" fmla="*/ 36167 h 39570"/>
                  <a:gd name="connsiteX13" fmla="*/ 84264 w 300101"/>
                  <a:gd name="connsiteY13" fmla="*/ 36663 h 39570"/>
                  <a:gd name="connsiteX14" fmla="*/ 67893 w 300101"/>
                  <a:gd name="connsiteY14" fmla="*/ 35671 h 39570"/>
                  <a:gd name="connsiteX15" fmla="*/ 51523 w 300101"/>
                  <a:gd name="connsiteY15" fmla="*/ 37655 h 39570"/>
                  <a:gd name="connsiteX16" fmla="*/ 35152 w 300101"/>
                  <a:gd name="connsiteY16" fmla="*/ 37655 h 39570"/>
                  <a:gd name="connsiteX17" fmla="*/ 18782 w 300101"/>
                  <a:gd name="connsiteY17" fmla="*/ 36167 h 39570"/>
                  <a:gd name="connsiteX18" fmla="*/ 2411 w 300101"/>
                  <a:gd name="connsiteY18" fmla="*/ 37159 h 39570"/>
                  <a:gd name="connsiteX19" fmla="*/ 3403 w 300101"/>
                  <a:gd name="connsiteY19" fmla="*/ 19797 h 39570"/>
                  <a:gd name="connsiteX20" fmla="*/ 2907 w 300101"/>
                  <a:gd name="connsiteY20" fmla="*/ 2930 h 39570"/>
                  <a:gd name="connsiteX21" fmla="*/ 18782 w 300101"/>
                  <a:gd name="connsiteY21" fmla="*/ 1938 h 39570"/>
                  <a:gd name="connsiteX22" fmla="*/ 35152 w 300101"/>
                  <a:gd name="connsiteY22" fmla="*/ 1938 h 39570"/>
                  <a:gd name="connsiteX23" fmla="*/ 51523 w 300101"/>
                  <a:gd name="connsiteY23" fmla="*/ 2930 h 39570"/>
                  <a:gd name="connsiteX24" fmla="*/ 67893 w 300101"/>
                  <a:gd name="connsiteY24" fmla="*/ 3426 h 39570"/>
                  <a:gd name="connsiteX25" fmla="*/ 84264 w 300101"/>
                  <a:gd name="connsiteY25" fmla="*/ 3426 h 39570"/>
                  <a:gd name="connsiteX26" fmla="*/ 100634 w 300101"/>
                  <a:gd name="connsiteY26" fmla="*/ 1938 h 39570"/>
                  <a:gd name="connsiteX27" fmla="*/ 117005 w 300101"/>
                  <a:gd name="connsiteY27" fmla="*/ 1938 h 39570"/>
                  <a:gd name="connsiteX28" fmla="*/ 133376 w 300101"/>
                  <a:gd name="connsiteY28" fmla="*/ 3922 h 39570"/>
                  <a:gd name="connsiteX29" fmla="*/ 149746 w 300101"/>
                  <a:gd name="connsiteY29" fmla="*/ 3922 h 39570"/>
                  <a:gd name="connsiteX30" fmla="*/ 166117 w 300101"/>
                  <a:gd name="connsiteY30" fmla="*/ 2434 h 39570"/>
                  <a:gd name="connsiteX31" fmla="*/ 182487 w 300101"/>
                  <a:gd name="connsiteY31" fmla="*/ 2930 h 39570"/>
                  <a:gd name="connsiteX32" fmla="*/ 198858 w 300101"/>
                  <a:gd name="connsiteY32" fmla="*/ 1938 h 39570"/>
                  <a:gd name="connsiteX33" fmla="*/ 215228 w 300101"/>
                  <a:gd name="connsiteY33" fmla="*/ 3426 h 39570"/>
                  <a:gd name="connsiteX34" fmla="*/ 231599 w 300101"/>
                  <a:gd name="connsiteY34" fmla="*/ 2434 h 39570"/>
                  <a:gd name="connsiteX35" fmla="*/ 247969 w 300101"/>
                  <a:gd name="connsiteY35" fmla="*/ 2434 h 39570"/>
                  <a:gd name="connsiteX36" fmla="*/ 264340 w 300101"/>
                  <a:gd name="connsiteY36" fmla="*/ 2930 h 39570"/>
                  <a:gd name="connsiteX37" fmla="*/ 280710 w 300101"/>
                  <a:gd name="connsiteY37" fmla="*/ 3922 h 39570"/>
                  <a:gd name="connsiteX38" fmla="*/ 296585 w 300101"/>
                  <a:gd name="connsiteY38" fmla="*/ 3426 h 39570"/>
                  <a:gd name="connsiteX39" fmla="*/ 297577 w 300101"/>
                  <a:gd name="connsiteY39" fmla="*/ 19797 h 39570"/>
                  <a:gd name="connsiteX40" fmla="*/ 296585 w 300101"/>
                  <a:gd name="connsiteY40" fmla="*/ 36167 h 39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101" h="39570">
                    <a:moveTo>
                      <a:pt x="296585" y="36167"/>
                    </a:moveTo>
                    <a:cubicBezTo>
                      <a:pt x="291129" y="42120"/>
                      <a:pt x="289144" y="37655"/>
                      <a:pt x="280710" y="37655"/>
                    </a:cubicBezTo>
                    <a:cubicBezTo>
                      <a:pt x="272773" y="37655"/>
                      <a:pt x="272773" y="36663"/>
                      <a:pt x="264340" y="36663"/>
                    </a:cubicBezTo>
                    <a:cubicBezTo>
                      <a:pt x="256403" y="36663"/>
                      <a:pt x="256403" y="36663"/>
                      <a:pt x="247969" y="36663"/>
                    </a:cubicBezTo>
                    <a:cubicBezTo>
                      <a:pt x="239536" y="36663"/>
                      <a:pt x="239536" y="37655"/>
                      <a:pt x="231599" y="37655"/>
                    </a:cubicBezTo>
                    <a:cubicBezTo>
                      <a:pt x="223661" y="37655"/>
                      <a:pt x="223661" y="36167"/>
                      <a:pt x="215228" y="36167"/>
                    </a:cubicBezTo>
                    <a:cubicBezTo>
                      <a:pt x="206795" y="36167"/>
                      <a:pt x="206795" y="36663"/>
                      <a:pt x="198858" y="36663"/>
                    </a:cubicBezTo>
                    <a:cubicBezTo>
                      <a:pt x="190920" y="36663"/>
                      <a:pt x="190920" y="36167"/>
                      <a:pt x="182487" y="36167"/>
                    </a:cubicBezTo>
                    <a:cubicBezTo>
                      <a:pt x="174054" y="36167"/>
                      <a:pt x="174054" y="37159"/>
                      <a:pt x="166117" y="37159"/>
                    </a:cubicBezTo>
                    <a:cubicBezTo>
                      <a:pt x="157683" y="37159"/>
                      <a:pt x="157683" y="37159"/>
                      <a:pt x="149746" y="37159"/>
                    </a:cubicBezTo>
                    <a:cubicBezTo>
                      <a:pt x="141313" y="37159"/>
                      <a:pt x="141313" y="35175"/>
                      <a:pt x="133376" y="35175"/>
                    </a:cubicBezTo>
                    <a:cubicBezTo>
                      <a:pt x="124942" y="35175"/>
                      <a:pt x="124942" y="35175"/>
                      <a:pt x="117005" y="35175"/>
                    </a:cubicBezTo>
                    <a:cubicBezTo>
                      <a:pt x="108572" y="35175"/>
                      <a:pt x="108572" y="36167"/>
                      <a:pt x="100634" y="36167"/>
                    </a:cubicBezTo>
                    <a:cubicBezTo>
                      <a:pt x="92201" y="36167"/>
                      <a:pt x="92201" y="36663"/>
                      <a:pt x="84264" y="36663"/>
                    </a:cubicBezTo>
                    <a:cubicBezTo>
                      <a:pt x="75831" y="36663"/>
                      <a:pt x="75831" y="35671"/>
                      <a:pt x="67893" y="35671"/>
                    </a:cubicBezTo>
                    <a:cubicBezTo>
                      <a:pt x="59460" y="35671"/>
                      <a:pt x="59460" y="37655"/>
                      <a:pt x="51523" y="37655"/>
                    </a:cubicBezTo>
                    <a:cubicBezTo>
                      <a:pt x="43089" y="37655"/>
                      <a:pt x="43089" y="37655"/>
                      <a:pt x="35152" y="37655"/>
                    </a:cubicBezTo>
                    <a:cubicBezTo>
                      <a:pt x="26719" y="37655"/>
                      <a:pt x="26719" y="36167"/>
                      <a:pt x="18782" y="36167"/>
                    </a:cubicBezTo>
                    <a:cubicBezTo>
                      <a:pt x="10844" y="36167"/>
                      <a:pt x="7868" y="43112"/>
                      <a:pt x="2411" y="37159"/>
                    </a:cubicBezTo>
                    <a:cubicBezTo>
                      <a:pt x="-3542" y="30710"/>
                      <a:pt x="3403" y="28726"/>
                      <a:pt x="3403" y="19797"/>
                    </a:cubicBezTo>
                    <a:cubicBezTo>
                      <a:pt x="3403" y="10867"/>
                      <a:pt x="-3046" y="9379"/>
                      <a:pt x="2907" y="2930"/>
                    </a:cubicBezTo>
                    <a:cubicBezTo>
                      <a:pt x="8364" y="-3023"/>
                      <a:pt x="10348" y="1938"/>
                      <a:pt x="18782" y="1938"/>
                    </a:cubicBezTo>
                    <a:cubicBezTo>
                      <a:pt x="26719" y="1938"/>
                      <a:pt x="26719" y="1938"/>
                      <a:pt x="35152" y="1938"/>
                    </a:cubicBezTo>
                    <a:cubicBezTo>
                      <a:pt x="43089" y="1938"/>
                      <a:pt x="43089" y="2930"/>
                      <a:pt x="51523" y="2930"/>
                    </a:cubicBezTo>
                    <a:cubicBezTo>
                      <a:pt x="59956" y="2930"/>
                      <a:pt x="59956" y="3426"/>
                      <a:pt x="67893" y="3426"/>
                    </a:cubicBezTo>
                    <a:cubicBezTo>
                      <a:pt x="75831" y="3426"/>
                      <a:pt x="75831" y="3426"/>
                      <a:pt x="84264" y="3426"/>
                    </a:cubicBezTo>
                    <a:cubicBezTo>
                      <a:pt x="92697" y="3426"/>
                      <a:pt x="92697" y="1938"/>
                      <a:pt x="100634" y="1938"/>
                    </a:cubicBezTo>
                    <a:cubicBezTo>
                      <a:pt x="108572" y="1938"/>
                      <a:pt x="108572" y="1938"/>
                      <a:pt x="117005" y="1938"/>
                    </a:cubicBezTo>
                    <a:cubicBezTo>
                      <a:pt x="125438" y="1938"/>
                      <a:pt x="125438" y="3922"/>
                      <a:pt x="133376" y="3922"/>
                    </a:cubicBezTo>
                    <a:cubicBezTo>
                      <a:pt x="141809" y="3922"/>
                      <a:pt x="141809" y="3922"/>
                      <a:pt x="149746" y="3922"/>
                    </a:cubicBezTo>
                    <a:cubicBezTo>
                      <a:pt x="158179" y="3922"/>
                      <a:pt x="158179" y="2434"/>
                      <a:pt x="166117" y="2434"/>
                    </a:cubicBezTo>
                    <a:cubicBezTo>
                      <a:pt x="174550" y="2434"/>
                      <a:pt x="174550" y="2930"/>
                      <a:pt x="182487" y="2930"/>
                    </a:cubicBezTo>
                    <a:cubicBezTo>
                      <a:pt x="190920" y="2930"/>
                      <a:pt x="190920" y="1938"/>
                      <a:pt x="198858" y="1938"/>
                    </a:cubicBezTo>
                    <a:cubicBezTo>
                      <a:pt x="207291" y="1938"/>
                      <a:pt x="207291" y="3426"/>
                      <a:pt x="215228" y="3426"/>
                    </a:cubicBezTo>
                    <a:cubicBezTo>
                      <a:pt x="223661" y="3426"/>
                      <a:pt x="223661" y="2434"/>
                      <a:pt x="231599" y="2434"/>
                    </a:cubicBezTo>
                    <a:cubicBezTo>
                      <a:pt x="240032" y="2434"/>
                      <a:pt x="240032" y="2434"/>
                      <a:pt x="247969" y="2434"/>
                    </a:cubicBezTo>
                    <a:cubicBezTo>
                      <a:pt x="256403" y="2434"/>
                      <a:pt x="256403" y="2930"/>
                      <a:pt x="264340" y="2930"/>
                    </a:cubicBezTo>
                    <a:cubicBezTo>
                      <a:pt x="272773" y="2930"/>
                      <a:pt x="272773" y="3922"/>
                      <a:pt x="280710" y="3922"/>
                    </a:cubicBezTo>
                    <a:cubicBezTo>
                      <a:pt x="288648" y="3922"/>
                      <a:pt x="290632" y="-2527"/>
                      <a:pt x="296585" y="3426"/>
                    </a:cubicBezTo>
                    <a:cubicBezTo>
                      <a:pt x="302538" y="9875"/>
                      <a:pt x="296089" y="11363"/>
                      <a:pt x="297577" y="19797"/>
                    </a:cubicBezTo>
                    <a:cubicBezTo>
                      <a:pt x="299562" y="27734"/>
                      <a:pt x="302538" y="29718"/>
                      <a:pt x="296585" y="36167"/>
                    </a:cubicBezTo>
                    <a:close/>
                  </a:path>
                </a:pathLst>
              </a:custGeom>
              <a:solidFill>
                <a:srgbClr val="9AA4BD"/>
              </a:solidFill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1" name="Freeform: Shape 1720">
                <a:extLst>
                  <a:ext uri="{FF2B5EF4-FFF2-40B4-BE49-F238E27FC236}">
                    <a16:creationId xmlns:a16="http://schemas.microsoft.com/office/drawing/2014/main" id="{66757E6A-2E77-0F79-297F-9822C3B6589D}"/>
                  </a:ext>
                </a:extLst>
              </p:cNvPr>
              <p:cNvSpPr/>
              <p:nvPr/>
            </p:nvSpPr>
            <p:spPr>
              <a:xfrm>
                <a:off x="5557608" y="3122014"/>
                <a:ext cx="300250" cy="304892"/>
              </a:xfrm>
              <a:custGeom>
                <a:avLst/>
                <a:gdLst>
                  <a:gd name="connsiteX0" fmla="*/ 2303 w 300250"/>
                  <a:gd name="connsiteY0" fmla="*/ 304892 h 304892"/>
                  <a:gd name="connsiteX1" fmla="*/ 3295 w 300250"/>
                  <a:gd name="connsiteY1" fmla="*/ 289018 h 304892"/>
                  <a:gd name="connsiteX2" fmla="*/ 2799 w 300250"/>
                  <a:gd name="connsiteY2" fmla="*/ 273143 h 304892"/>
                  <a:gd name="connsiteX3" fmla="*/ 1807 w 300250"/>
                  <a:gd name="connsiteY3" fmla="*/ 257269 h 304892"/>
                  <a:gd name="connsiteX4" fmla="*/ 2799 w 300250"/>
                  <a:gd name="connsiteY4" fmla="*/ 241394 h 304892"/>
                  <a:gd name="connsiteX5" fmla="*/ 1311 w 300250"/>
                  <a:gd name="connsiteY5" fmla="*/ 225520 h 304892"/>
                  <a:gd name="connsiteX6" fmla="*/ 815 w 300250"/>
                  <a:gd name="connsiteY6" fmla="*/ 209645 h 304892"/>
                  <a:gd name="connsiteX7" fmla="*/ 2303 w 300250"/>
                  <a:gd name="connsiteY7" fmla="*/ 193771 h 304892"/>
                  <a:gd name="connsiteX8" fmla="*/ 815 w 300250"/>
                  <a:gd name="connsiteY8" fmla="*/ 177896 h 304892"/>
                  <a:gd name="connsiteX9" fmla="*/ 1311 w 300250"/>
                  <a:gd name="connsiteY9" fmla="*/ 162022 h 304892"/>
                  <a:gd name="connsiteX10" fmla="*/ 815 w 300250"/>
                  <a:gd name="connsiteY10" fmla="*/ 146147 h 304892"/>
                  <a:gd name="connsiteX11" fmla="*/ 815 w 300250"/>
                  <a:gd name="connsiteY11" fmla="*/ 130273 h 304892"/>
                  <a:gd name="connsiteX12" fmla="*/ 2303 w 300250"/>
                  <a:gd name="connsiteY12" fmla="*/ 114398 h 304892"/>
                  <a:gd name="connsiteX13" fmla="*/ 2303 w 300250"/>
                  <a:gd name="connsiteY13" fmla="*/ 98524 h 304892"/>
                  <a:gd name="connsiteX14" fmla="*/ 2799 w 300250"/>
                  <a:gd name="connsiteY14" fmla="*/ 82649 h 304892"/>
                  <a:gd name="connsiteX15" fmla="*/ 1807 w 300250"/>
                  <a:gd name="connsiteY15" fmla="*/ 66775 h 304892"/>
                  <a:gd name="connsiteX16" fmla="*/ 3295 w 300250"/>
                  <a:gd name="connsiteY16" fmla="*/ 50900 h 304892"/>
                  <a:gd name="connsiteX17" fmla="*/ 1807 w 300250"/>
                  <a:gd name="connsiteY17" fmla="*/ 35026 h 304892"/>
                  <a:gd name="connsiteX18" fmla="*/ 2799 w 300250"/>
                  <a:gd name="connsiteY18" fmla="*/ 19151 h 304892"/>
                  <a:gd name="connsiteX19" fmla="*/ 2303 w 300250"/>
                  <a:gd name="connsiteY19" fmla="*/ 3277 h 304892"/>
                  <a:gd name="connsiteX20" fmla="*/ 18674 w 300250"/>
                  <a:gd name="connsiteY20" fmla="*/ 3277 h 304892"/>
                  <a:gd name="connsiteX21" fmla="*/ 35044 w 300250"/>
                  <a:gd name="connsiteY21" fmla="*/ 3773 h 304892"/>
                  <a:gd name="connsiteX22" fmla="*/ 51415 w 300250"/>
                  <a:gd name="connsiteY22" fmla="*/ 3277 h 304892"/>
                  <a:gd name="connsiteX23" fmla="*/ 67785 w 300250"/>
                  <a:gd name="connsiteY23" fmla="*/ 2781 h 304892"/>
                  <a:gd name="connsiteX24" fmla="*/ 84156 w 300250"/>
                  <a:gd name="connsiteY24" fmla="*/ 3277 h 304892"/>
                  <a:gd name="connsiteX25" fmla="*/ 100527 w 300250"/>
                  <a:gd name="connsiteY25" fmla="*/ 2285 h 304892"/>
                  <a:gd name="connsiteX26" fmla="*/ 116897 w 300250"/>
                  <a:gd name="connsiteY26" fmla="*/ 3773 h 304892"/>
                  <a:gd name="connsiteX27" fmla="*/ 133268 w 300250"/>
                  <a:gd name="connsiteY27" fmla="*/ 4269 h 304892"/>
                  <a:gd name="connsiteX28" fmla="*/ 149638 w 300250"/>
                  <a:gd name="connsiteY28" fmla="*/ 4269 h 304892"/>
                  <a:gd name="connsiteX29" fmla="*/ 166009 w 300250"/>
                  <a:gd name="connsiteY29" fmla="*/ 3773 h 304892"/>
                  <a:gd name="connsiteX30" fmla="*/ 182379 w 300250"/>
                  <a:gd name="connsiteY30" fmla="*/ 3773 h 304892"/>
                  <a:gd name="connsiteX31" fmla="*/ 198750 w 300250"/>
                  <a:gd name="connsiteY31" fmla="*/ 3277 h 304892"/>
                  <a:gd name="connsiteX32" fmla="*/ 215120 w 300250"/>
                  <a:gd name="connsiteY32" fmla="*/ 2285 h 304892"/>
                  <a:gd name="connsiteX33" fmla="*/ 231491 w 300250"/>
                  <a:gd name="connsiteY33" fmla="*/ 2285 h 304892"/>
                  <a:gd name="connsiteX34" fmla="*/ 247862 w 300250"/>
                  <a:gd name="connsiteY34" fmla="*/ 3773 h 304892"/>
                  <a:gd name="connsiteX35" fmla="*/ 264232 w 300250"/>
                  <a:gd name="connsiteY35" fmla="*/ 2285 h 304892"/>
                  <a:gd name="connsiteX36" fmla="*/ 280603 w 300250"/>
                  <a:gd name="connsiteY36" fmla="*/ 2285 h 304892"/>
                  <a:gd name="connsiteX37" fmla="*/ 297469 w 300250"/>
                  <a:gd name="connsiteY37" fmla="*/ 2781 h 304892"/>
                  <a:gd name="connsiteX38" fmla="*/ 297965 w 300250"/>
                  <a:gd name="connsiteY38" fmla="*/ 19151 h 304892"/>
                  <a:gd name="connsiteX39" fmla="*/ 297965 w 300250"/>
                  <a:gd name="connsiteY39" fmla="*/ 35026 h 304892"/>
                  <a:gd name="connsiteX40" fmla="*/ 296477 w 300250"/>
                  <a:gd name="connsiteY40" fmla="*/ 50900 h 304892"/>
                  <a:gd name="connsiteX41" fmla="*/ 296477 w 300250"/>
                  <a:gd name="connsiteY41" fmla="*/ 66775 h 304892"/>
                  <a:gd name="connsiteX42" fmla="*/ 296973 w 300250"/>
                  <a:gd name="connsiteY42" fmla="*/ 82649 h 304892"/>
                  <a:gd name="connsiteX43" fmla="*/ 295981 w 300250"/>
                  <a:gd name="connsiteY43" fmla="*/ 98524 h 304892"/>
                  <a:gd name="connsiteX44" fmla="*/ 296973 w 300250"/>
                  <a:gd name="connsiteY44" fmla="*/ 114398 h 304892"/>
                  <a:gd name="connsiteX45" fmla="*/ 296477 w 300250"/>
                  <a:gd name="connsiteY45" fmla="*/ 130273 h 304892"/>
                  <a:gd name="connsiteX46" fmla="*/ 296477 w 300250"/>
                  <a:gd name="connsiteY46" fmla="*/ 146147 h 304892"/>
                  <a:gd name="connsiteX47" fmla="*/ 296973 w 300250"/>
                  <a:gd name="connsiteY47" fmla="*/ 162022 h 304892"/>
                  <a:gd name="connsiteX48" fmla="*/ 296973 w 300250"/>
                  <a:gd name="connsiteY48" fmla="*/ 177896 h 304892"/>
                  <a:gd name="connsiteX49" fmla="*/ 295981 w 300250"/>
                  <a:gd name="connsiteY49" fmla="*/ 193771 h 304892"/>
                  <a:gd name="connsiteX50" fmla="*/ 297469 w 300250"/>
                  <a:gd name="connsiteY50" fmla="*/ 209645 h 304892"/>
                  <a:gd name="connsiteX51" fmla="*/ 296973 w 300250"/>
                  <a:gd name="connsiteY51" fmla="*/ 225520 h 304892"/>
                  <a:gd name="connsiteX52" fmla="*/ 297965 w 300250"/>
                  <a:gd name="connsiteY52" fmla="*/ 241394 h 304892"/>
                  <a:gd name="connsiteX53" fmla="*/ 296973 w 300250"/>
                  <a:gd name="connsiteY53" fmla="*/ 257269 h 304892"/>
                  <a:gd name="connsiteX54" fmla="*/ 297965 w 300250"/>
                  <a:gd name="connsiteY54" fmla="*/ 273143 h 304892"/>
                  <a:gd name="connsiteX55" fmla="*/ 295981 w 300250"/>
                  <a:gd name="connsiteY55" fmla="*/ 289018 h 304892"/>
                  <a:gd name="connsiteX56" fmla="*/ 297965 w 300250"/>
                  <a:gd name="connsiteY56" fmla="*/ 304892 h 30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250" h="304892">
                    <a:moveTo>
                      <a:pt x="2303" y="304892"/>
                    </a:moveTo>
                    <a:cubicBezTo>
                      <a:pt x="2303" y="296955"/>
                      <a:pt x="3295" y="296955"/>
                      <a:pt x="3295" y="289018"/>
                    </a:cubicBezTo>
                    <a:cubicBezTo>
                      <a:pt x="3295" y="281080"/>
                      <a:pt x="2799" y="281080"/>
                      <a:pt x="2799" y="273143"/>
                    </a:cubicBezTo>
                    <a:cubicBezTo>
                      <a:pt x="2799" y="265206"/>
                      <a:pt x="1807" y="265206"/>
                      <a:pt x="1807" y="257269"/>
                    </a:cubicBezTo>
                    <a:cubicBezTo>
                      <a:pt x="1807" y="249331"/>
                      <a:pt x="2799" y="249331"/>
                      <a:pt x="2799" y="241394"/>
                    </a:cubicBezTo>
                    <a:cubicBezTo>
                      <a:pt x="2799" y="233457"/>
                      <a:pt x="1311" y="233457"/>
                      <a:pt x="1311" y="225520"/>
                    </a:cubicBezTo>
                    <a:cubicBezTo>
                      <a:pt x="1311" y="217583"/>
                      <a:pt x="815" y="217583"/>
                      <a:pt x="815" y="209645"/>
                    </a:cubicBezTo>
                    <a:cubicBezTo>
                      <a:pt x="815" y="201708"/>
                      <a:pt x="2303" y="201708"/>
                      <a:pt x="2303" y="193771"/>
                    </a:cubicBezTo>
                    <a:cubicBezTo>
                      <a:pt x="2303" y="185833"/>
                      <a:pt x="815" y="185833"/>
                      <a:pt x="815" y="177896"/>
                    </a:cubicBezTo>
                    <a:cubicBezTo>
                      <a:pt x="815" y="169959"/>
                      <a:pt x="1311" y="169959"/>
                      <a:pt x="1311" y="162022"/>
                    </a:cubicBezTo>
                    <a:cubicBezTo>
                      <a:pt x="1311" y="154085"/>
                      <a:pt x="815" y="154085"/>
                      <a:pt x="815" y="146147"/>
                    </a:cubicBezTo>
                    <a:cubicBezTo>
                      <a:pt x="815" y="138210"/>
                      <a:pt x="815" y="138210"/>
                      <a:pt x="815" y="130273"/>
                    </a:cubicBezTo>
                    <a:cubicBezTo>
                      <a:pt x="815" y="122336"/>
                      <a:pt x="2303" y="122336"/>
                      <a:pt x="2303" y="114398"/>
                    </a:cubicBezTo>
                    <a:cubicBezTo>
                      <a:pt x="2303" y="106461"/>
                      <a:pt x="2303" y="106461"/>
                      <a:pt x="2303" y="98524"/>
                    </a:cubicBezTo>
                    <a:cubicBezTo>
                      <a:pt x="2303" y="90586"/>
                      <a:pt x="2799" y="90586"/>
                      <a:pt x="2799" y="82649"/>
                    </a:cubicBezTo>
                    <a:cubicBezTo>
                      <a:pt x="2799" y="74712"/>
                      <a:pt x="1807" y="74712"/>
                      <a:pt x="1807" y="66775"/>
                    </a:cubicBezTo>
                    <a:cubicBezTo>
                      <a:pt x="1807" y="58838"/>
                      <a:pt x="3295" y="58838"/>
                      <a:pt x="3295" y="50900"/>
                    </a:cubicBezTo>
                    <a:cubicBezTo>
                      <a:pt x="3295" y="42963"/>
                      <a:pt x="1807" y="42963"/>
                      <a:pt x="1807" y="35026"/>
                    </a:cubicBezTo>
                    <a:cubicBezTo>
                      <a:pt x="1807" y="27088"/>
                      <a:pt x="2799" y="27088"/>
                      <a:pt x="2799" y="19151"/>
                    </a:cubicBezTo>
                    <a:cubicBezTo>
                      <a:pt x="2799" y="11214"/>
                      <a:pt x="-3154" y="8734"/>
                      <a:pt x="2303" y="3277"/>
                    </a:cubicBezTo>
                    <a:cubicBezTo>
                      <a:pt x="8256" y="-2676"/>
                      <a:pt x="10240" y="3277"/>
                      <a:pt x="18674" y="3277"/>
                    </a:cubicBezTo>
                    <a:cubicBezTo>
                      <a:pt x="26611" y="3277"/>
                      <a:pt x="26611" y="3773"/>
                      <a:pt x="35044" y="3773"/>
                    </a:cubicBezTo>
                    <a:cubicBezTo>
                      <a:pt x="42981" y="3773"/>
                      <a:pt x="42981" y="3277"/>
                      <a:pt x="51415" y="3277"/>
                    </a:cubicBezTo>
                    <a:cubicBezTo>
                      <a:pt x="59848" y="3277"/>
                      <a:pt x="59848" y="2781"/>
                      <a:pt x="67785" y="2781"/>
                    </a:cubicBezTo>
                    <a:cubicBezTo>
                      <a:pt x="75723" y="2781"/>
                      <a:pt x="75723" y="3277"/>
                      <a:pt x="84156" y="3277"/>
                    </a:cubicBezTo>
                    <a:cubicBezTo>
                      <a:pt x="92589" y="3277"/>
                      <a:pt x="92589" y="2285"/>
                      <a:pt x="100527" y="2285"/>
                    </a:cubicBezTo>
                    <a:cubicBezTo>
                      <a:pt x="108464" y="2285"/>
                      <a:pt x="108464" y="3773"/>
                      <a:pt x="116897" y="3773"/>
                    </a:cubicBezTo>
                    <a:cubicBezTo>
                      <a:pt x="125330" y="3773"/>
                      <a:pt x="125330" y="4269"/>
                      <a:pt x="133268" y="4269"/>
                    </a:cubicBezTo>
                    <a:cubicBezTo>
                      <a:pt x="141701" y="4269"/>
                      <a:pt x="141701" y="4269"/>
                      <a:pt x="149638" y="4269"/>
                    </a:cubicBezTo>
                    <a:cubicBezTo>
                      <a:pt x="158072" y="4269"/>
                      <a:pt x="158072" y="3773"/>
                      <a:pt x="166009" y="3773"/>
                    </a:cubicBezTo>
                    <a:cubicBezTo>
                      <a:pt x="174442" y="3773"/>
                      <a:pt x="174442" y="3773"/>
                      <a:pt x="182379" y="3773"/>
                    </a:cubicBezTo>
                    <a:cubicBezTo>
                      <a:pt x="190813" y="3773"/>
                      <a:pt x="190813" y="3277"/>
                      <a:pt x="198750" y="3277"/>
                    </a:cubicBezTo>
                    <a:cubicBezTo>
                      <a:pt x="207183" y="3277"/>
                      <a:pt x="207183" y="2285"/>
                      <a:pt x="215120" y="2285"/>
                    </a:cubicBezTo>
                    <a:cubicBezTo>
                      <a:pt x="223554" y="2285"/>
                      <a:pt x="223554" y="2285"/>
                      <a:pt x="231491" y="2285"/>
                    </a:cubicBezTo>
                    <a:cubicBezTo>
                      <a:pt x="239924" y="2285"/>
                      <a:pt x="239924" y="3773"/>
                      <a:pt x="247862" y="3773"/>
                    </a:cubicBezTo>
                    <a:cubicBezTo>
                      <a:pt x="256295" y="3773"/>
                      <a:pt x="256295" y="2285"/>
                      <a:pt x="264232" y="2285"/>
                    </a:cubicBezTo>
                    <a:cubicBezTo>
                      <a:pt x="272665" y="2285"/>
                      <a:pt x="272665" y="2285"/>
                      <a:pt x="280603" y="2285"/>
                    </a:cubicBezTo>
                    <a:cubicBezTo>
                      <a:pt x="288540" y="2285"/>
                      <a:pt x="291517" y="-3172"/>
                      <a:pt x="297469" y="2781"/>
                    </a:cubicBezTo>
                    <a:cubicBezTo>
                      <a:pt x="303423" y="8238"/>
                      <a:pt x="297965" y="11214"/>
                      <a:pt x="297965" y="19151"/>
                    </a:cubicBezTo>
                    <a:cubicBezTo>
                      <a:pt x="297965" y="27088"/>
                      <a:pt x="297965" y="27088"/>
                      <a:pt x="297965" y="35026"/>
                    </a:cubicBezTo>
                    <a:cubicBezTo>
                      <a:pt x="297965" y="42963"/>
                      <a:pt x="296477" y="42963"/>
                      <a:pt x="296477" y="50900"/>
                    </a:cubicBezTo>
                    <a:cubicBezTo>
                      <a:pt x="296477" y="58838"/>
                      <a:pt x="296477" y="58838"/>
                      <a:pt x="296477" y="66775"/>
                    </a:cubicBezTo>
                    <a:cubicBezTo>
                      <a:pt x="296477" y="74712"/>
                      <a:pt x="296973" y="74712"/>
                      <a:pt x="296973" y="82649"/>
                    </a:cubicBezTo>
                    <a:cubicBezTo>
                      <a:pt x="296973" y="90586"/>
                      <a:pt x="295981" y="90586"/>
                      <a:pt x="295981" y="98524"/>
                    </a:cubicBezTo>
                    <a:cubicBezTo>
                      <a:pt x="295981" y="106461"/>
                      <a:pt x="296973" y="106461"/>
                      <a:pt x="296973" y="114398"/>
                    </a:cubicBezTo>
                    <a:cubicBezTo>
                      <a:pt x="296973" y="122336"/>
                      <a:pt x="296477" y="122336"/>
                      <a:pt x="296477" y="130273"/>
                    </a:cubicBezTo>
                    <a:cubicBezTo>
                      <a:pt x="296477" y="138210"/>
                      <a:pt x="296477" y="138210"/>
                      <a:pt x="296477" y="146147"/>
                    </a:cubicBezTo>
                    <a:cubicBezTo>
                      <a:pt x="296477" y="154085"/>
                      <a:pt x="296973" y="154085"/>
                      <a:pt x="296973" y="162022"/>
                    </a:cubicBezTo>
                    <a:cubicBezTo>
                      <a:pt x="296973" y="169959"/>
                      <a:pt x="296973" y="169959"/>
                      <a:pt x="296973" y="177896"/>
                    </a:cubicBezTo>
                    <a:cubicBezTo>
                      <a:pt x="296973" y="185833"/>
                      <a:pt x="295981" y="185833"/>
                      <a:pt x="295981" y="193771"/>
                    </a:cubicBezTo>
                    <a:cubicBezTo>
                      <a:pt x="295981" y="201708"/>
                      <a:pt x="297469" y="201708"/>
                      <a:pt x="297469" y="209645"/>
                    </a:cubicBezTo>
                    <a:cubicBezTo>
                      <a:pt x="297469" y="217583"/>
                      <a:pt x="296973" y="217583"/>
                      <a:pt x="296973" y="225520"/>
                    </a:cubicBezTo>
                    <a:cubicBezTo>
                      <a:pt x="296973" y="233457"/>
                      <a:pt x="297965" y="233457"/>
                      <a:pt x="297965" y="241394"/>
                    </a:cubicBezTo>
                    <a:cubicBezTo>
                      <a:pt x="297965" y="249331"/>
                      <a:pt x="296973" y="249331"/>
                      <a:pt x="296973" y="257269"/>
                    </a:cubicBezTo>
                    <a:cubicBezTo>
                      <a:pt x="296973" y="265206"/>
                      <a:pt x="297965" y="265206"/>
                      <a:pt x="297965" y="273143"/>
                    </a:cubicBezTo>
                    <a:cubicBezTo>
                      <a:pt x="297965" y="281080"/>
                      <a:pt x="295981" y="281080"/>
                      <a:pt x="295981" y="289018"/>
                    </a:cubicBezTo>
                    <a:cubicBezTo>
                      <a:pt x="295981" y="296955"/>
                      <a:pt x="297965" y="296955"/>
                      <a:pt x="297965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2" name="Freeform: Shape 1721">
                <a:extLst>
                  <a:ext uri="{FF2B5EF4-FFF2-40B4-BE49-F238E27FC236}">
                    <a16:creationId xmlns:a16="http://schemas.microsoft.com/office/drawing/2014/main" id="{20DE4223-7D18-23EF-8660-AED3910C8356}"/>
                  </a:ext>
                </a:extLst>
              </p:cNvPr>
              <p:cNvSpPr/>
              <p:nvPr/>
            </p:nvSpPr>
            <p:spPr>
              <a:xfrm>
                <a:off x="5527133" y="3424050"/>
                <a:ext cx="364036" cy="64419"/>
              </a:xfrm>
              <a:custGeom>
                <a:avLst/>
                <a:gdLst>
                  <a:gd name="connsiteX0" fmla="*/ 3014 w 364036"/>
                  <a:gd name="connsiteY0" fmla="*/ 3352 h 64419"/>
                  <a:gd name="connsiteX1" fmla="*/ 18888 w 364036"/>
                  <a:gd name="connsiteY1" fmla="*/ 3848 h 64419"/>
                  <a:gd name="connsiteX2" fmla="*/ 35259 w 364036"/>
                  <a:gd name="connsiteY2" fmla="*/ 3352 h 64419"/>
                  <a:gd name="connsiteX3" fmla="*/ 51629 w 364036"/>
                  <a:gd name="connsiteY3" fmla="*/ 4344 h 64419"/>
                  <a:gd name="connsiteX4" fmla="*/ 68000 w 364036"/>
                  <a:gd name="connsiteY4" fmla="*/ 3848 h 64419"/>
                  <a:gd name="connsiteX5" fmla="*/ 84370 w 364036"/>
                  <a:gd name="connsiteY5" fmla="*/ 2855 h 64419"/>
                  <a:gd name="connsiteX6" fmla="*/ 100245 w 364036"/>
                  <a:gd name="connsiteY6" fmla="*/ 2855 h 64419"/>
                  <a:gd name="connsiteX7" fmla="*/ 116120 w 364036"/>
                  <a:gd name="connsiteY7" fmla="*/ 4344 h 64419"/>
                  <a:gd name="connsiteX8" fmla="*/ 132490 w 364036"/>
                  <a:gd name="connsiteY8" fmla="*/ 2360 h 64419"/>
                  <a:gd name="connsiteX9" fmla="*/ 148365 w 364036"/>
                  <a:gd name="connsiteY9" fmla="*/ 3848 h 64419"/>
                  <a:gd name="connsiteX10" fmla="*/ 164735 w 364036"/>
                  <a:gd name="connsiteY10" fmla="*/ 3352 h 64419"/>
                  <a:gd name="connsiteX11" fmla="*/ 181106 w 364036"/>
                  <a:gd name="connsiteY11" fmla="*/ 3848 h 64419"/>
                  <a:gd name="connsiteX12" fmla="*/ 197476 w 364036"/>
                  <a:gd name="connsiteY12" fmla="*/ 2360 h 64419"/>
                  <a:gd name="connsiteX13" fmla="*/ 213847 w 364036"/>
                  <a:gd name="connsiteY13" fmla="*/ 3352 h 64419"/>
                  <a:gd name="connsiteX14" fmla="*/ 230217 w 364036"/>
                  <a:gd name="connsiteY14" fmla="*/ 3848 h 64419"/>
                  <a:gd name="connsiteX15" fmla="*/ 246588 w 364036"/>
                  <a:gd name="connsiteY15" fmla="*/ 3848 h 64419"/>
                  <a:gd name="connsiteX16" fmla="*/ 262959 w 364036"/>
                  <a:gd name="connsiteY16" fmla="*/ 2855 h 64419"/>
                  <a:gd name="connsiteX17" fmla="*/ 279329 w 364036"/>
                  <a:gd name="connsiteY17" fmla="*/ 3848 h 64419"/>
                  <a:gd name="connsiteX18" fmla="*/ 295700 w 364036"/>
                  <a:gd name="connsiteY18" fmla="*/ 3848 h 64419"/>
                  <a:gd name="connsiteX19" fmla="*/ 312070 w 364036"/>
                  <a:gd name="connsiteY19" fmla="*/ 1863 h 64419"/>
                  <a:gd name="connsiteX20" fmla="*/ 328441 w 364036"/>
                  <a:gd name="connsiteY20" fmla="*/ 2855 h 64419"/>
                  <a:gd name="connsiteX21" fmla="*/ 344811 w 364036"/>
                  <a:gd name="connsiteY21" fmla="*/ 2360 h 64419"/>
                  <a:gd name="connsiteX22" fmla="*/ 361678 w 364036"/>
                  <a:gd name="connsiteY22" fmla="*/ 1863 h 64419"/>
                  <a:gd name="connsiteX23" fmla="*/ 361678 w 364036"/>
                  <a:gd name="connsiteY23" fmla="*/ 13769 h 64419"/>
                  <a:gd name="connsiteX24" fmla="*/ 353244 w 364036"/>
                  <a:gd name="connsiteY24" fmla="*/ 29644 h 64419"/>
                  <a:gd name="connsiteX25" fmla="*/ 345803 w 364036"/>
                  <a:gd name="connsiteY25" fmla="*/ 46014 h 64419"/>
                  <a:gd name="connsiteX26" fmla="*/ 335882 w 364036"/>
                  <a:gd name="connsiteY26" fmla="*/ 60401 h 64419"/>
                  <a:gd name="connsiteX27" fmla="*/ 320503 w 364036"/>
                  <a:gd name="connsiteY27" fmla="*/ 61889 h 64419"/>
                  <a:gd name="connsiteX28" fmla="*/ 304629 w 364036"/>
                  <a:gd name="connsiteY28" fmla="*/ 60897 h 64419"/>
                  <a:gd name="connsiteX29" fmla="*/ 288754 w 364036"/>
                  <a:gd name="connsiteY29" fmla="*/ 61393 h 64419"/>
                  <a:gd name="connsiteX30" fmla="*/ 272880 w 364036"/>
                  <a:gd name="connsiteY30" fmla="*/ 62385 h 64419"/>
                  <a:gd name="connsiteX31" fmla="*/ 257006 w 364036"/>
                  <a:gd name="connsiteY31" fmla="*/ 61889 h 64419"/>
                  <a:gd name="connsiteX32" fmla="*/ 241131 w 364036"/>
                  <a:gd name="connsiteY32" fmla="*/ 60401 h 64419"/>
                  <a:gd name="connsiteX33" fmla="*/ 225257 w 364036"/>
                  <a:gd name="connsiteY33" fmla="*/ 61393 h 64419"/>
                  <a:gd name="connsiteX34" fmla="*/ 209382 w 364036"/>
                  <a:gd name="connsiteY34" fmla="*/ 62385 h 64419"/>
                  <a:gd name="connsiteX35" fmla="*/ 193508 w 364036"/>
                  <a:gd name="connsiteY35" fmla="*/ 61889 h 64419"/>
                  <a:gd name="connsiteX36" fmla="*/ 177633 w 364036"/>
                  <a:gd name="connsiteY36" fmla="*/ 61889 h 64419"/>
                  <a:gd name="connsiteX37" fmla="*/ 161759 w 364036"/>
                  <a:gd name="connsiteY37" fmla="*/ 61889 h 64419"/>
                  <a:gd name="connsiteX38" fmla="*/ 145884 w 364036"/>
                  <a:gd name="connsiteY38" fmla="*/ 62385 h 64419"/>
                  <a:gd name="connsiteX39" fmla="*/ 130010 w 364036"/>
                  <a:gd name="connsiteY39" fmla="*/ 62881 h 64419"/>
                  <a:gd name="connsiteX40" fmla="*/ 114135 w 364036"/>
                  <a:gd name="connsiteY40" fmla="*/ 61889 h 64419"/>
                  <a:gd name="connsiteX41" fmla="*/ 98261 w 364036"/>
                  <a:gd name="connsiteY41" fmla="*/ 61393 h 64419"/>
                  <a:gd name="connsiteX42" fmla="*/ 82386 w 364036"/>
                  <a:gd name="connsiteY42" fmla="*/ 62385 h 64419"/>
                  <a:gd name="connsiteX43" fmla="*/ 66512 w 364036"/>
                  <a:gd name="connsiteY43" fmla="*/ 62881 h 64419"/>
                  <a:gd name="connsiteX44" fmla="*/ 50637 w 364036"/>
                  <a:gd name="connsiteY44" fmla="*/ 61889 h 64419"/>
                  <a:gd name="connsiteX45" fmla="*/ 34267 w 364036"/>
                  <a:gd name="connsiteY45" fmla="*/ 62881 h 64419"/>
                  <a:gd name="connsiteX46" fmla="*/ 25833 w 364036"/>
                  <a:gd name="connsiteY46" fmla="*/ 45518 h 64419"/>
                  <a:gd name="connsiteX47" fmla="*/ 15912 w 364036"/>
                  <a:gd name="connsiteY47" fmla="*/ 29644 h 64419"/>
                  <a:gd name="connsiteX48" fmla="*/ 4502 w 364036"/>
                  <a:gd name="connsiteY48" fmla="*/ 14265 h 64419"/>
                  <a:gd name="connsiteX49" fmla="*/ 3014 w 364036"/>
                  <a:gd name="connsiteY49" fmla="*/ 3352 h 64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4036" h="64419">
                    <a:moveTo>
                      <a:pt x="3014" y="3352"/>
                    </a:moveTo>
                    <a:cubicBezTo>
                      <a:pt x="9463" y="-1113"/>
                      <a:pt x="10951" y="3848"/>
                      <a:pt x="18888" y="3848"/>
                    </a:cubicBezTo>
                    <a:cubicBezTo>
                      <a:pt x="26826" y="3848"/>
                      <a:pt x="26826" y="3352"/>
                      <a:pt x="35259" y="3352"/>
                    </a:cubicBezTo>
                    <a:cubicBezTo>
                      <a:pt x="43196" y="3352"/>
                      <a:pt x="43196" y="4344"/>
                      <a:pt x="51629" y="4344"/>
                    </a:cubicBezTo>
                    <a:cubicBezTo>
                      <a:pt x="59567" y="4344"/>
                      <a:pt x="59567" y="3848"/>
                      <a:pt x="68000" y="3848"/>
                    </a:cubicBezTo>
                    <a:cubicBezTo>
                      <a:pt x="76433" y="3848"/>
                      <a:pt x="75937" y="2855"/>
                      <a:pt x="84370" y="2855"/>
                    </a:cubicBezTo>
                    <a:cubicBezTo>
                      <a:pt x="92308" y="2855"/>
                      <a:pt x="92308" y="2855"/>
                      <a:pt x="100245" y="2855"/>
                    </a:cubicBezTo>
                    <a:cubicBezTo>
                      <a:pt x="108182" y="2855"/>
                      <a:pt x="108182" y="4344"/>
                      <a:pt x="116120" y="4344"/>
                    </a:cubicBezTo>
                    <a:cubicBezTo>
                      <a:pt x="124057" y="4344"/>
                      <a:pt x="124057" y="2360"/>
                      <a:pt x="132490" y="2360"/>
                    </a:cubicBezTo>
                    <a:cubicBezTo>
                      <a:pt x="140427" y="2360"/>
                      <a:pt x="140427" y="3848"/>
                      <a:pt x="148365" y="3848"/>
                    </a:cubicBezTo>
                    <a:cubicBezTo>
                      <a:pt x="156302" y="3848"/>
                      <a:pt x="156302" y="3352"/>
                      <a:pt x="164735" y="3352"/>
                    </a:cubicBezTo>
                    <a:cubicBezTo>
                      <a:pt x="172672" y="3352"/>
                      <a:pt x="172672" y="3848"/>
                      <a:pt x="181106" y="3848"/>
                    </a:cubicBezTo>
                    <a:cubicBezTo>
                      <a:pt x="189043" y="3848"/>
                      <a:pt x="189043" y="2360"/>
                      <a:pt x="197476" y="2360"/>
                    </a:cubicBezTo>
                    <a:cubicBezTo>
                      <a:pt x="205414" y="2360"/>
                      <a:pt x="205414" y="3352"/>
                      <a:pt x="213847" y="3352"/>
                    </a:cubicBezTo>
                    <a:cubicBezTo>
                      <a:pt x="221784" y="3352"/>
                      <a:pt x="221784" y="3848"/>
                      <a:pt x="230217" y="3848"/>
                    </a:cubicBezTo>
                    <a:cubicBezTo>
                      <a:pt x="238155" y="3848"/>
                      <a:pt x="238155" y="3848"/>
                      <a:pt x="246588" y="3848"/>
                    </a:cubicBezTo>
                    <a:cubicBezTo>
                      <a:pt x="255021" y="3848"/>
                      <a:pt x="254525" y="2855"/>
                      <a:pt x="262959" y="2855"/>
                    </a:cubicBezTo>
                    <a:cubicBezTo>
                      <a:pt x="270896" y="2855"/>
                      <a:pt x="270896" y="3848"/>
                      <a:pt x="279329" y="3848"/>
                    </a:cubicBezTo>
                    <a:cubicBezTo>
                      <a:pt x="287266" y="3848"/>
                      <a:pt x="287266" y="3848"/>
                      <a:pt x="295700" y="3848"/>
                    </a:cubicBezTo>
                    <a:cubicBezTo>
                      <a:pt x="303637" y="3848"/>
                      <a:pt x="303637" y="1863"/>
                      <a:pt x="312070" y="1863"/>
                    </a:cubicBezTo>
                    <a:cubicBezTo>
                      <a:pt x="320007" y="1863"/>
                      <a:pt x="320007" y="2855"/>
                      <a:pt x="328441" y="2855"/>
                    </a:cubicBezTo>
                    <a:cubicBezTo>
                      <a:pt x="336378" y="2855"/>
                      <a:pt x="336378" y="2360"/>
                      <a:pt x="344811" y="2360"/>
                    </a:cubicBezTo>
                    <a:cubicBezTo>
                      <a:pt x="352749" y="2360"/>
                      <a:pt x="354733" y="-2601"/>
                      <a:pt x="361678" y="1863"/>
                    </a:cubicBezTo>
                    <a:cubicBezTo>
                      <a:pt x="366143" y="4840"/>
                      <a:pt x="363166" y="8808"/>
                      <a:pt x="361678" y="13769"/>
                    </a:cubicBezTo>
                    <a:cubicBezTo>
                      <a:pt x="359198" y="22203"/>
                      <a:pt x="357213" y="21706"/>
                      <a:pt x="353244" y="29644"/>
                    </a:cubicBezTo>
                    <a:cubicBezTo>
                      <a:pt x="349276" y="37581"/>
                      <a:pt x="350268" y="38077"/>
                      <a:pt x="345803" y="46014"/>
                    </a:cubicBezTo>
                    <a:cubicBezTo>
                      <a:pt x="341835" y="53951"/>
                      <a:pt x="343819" y="55440"/>
                      <a:pt x="335882" y="60401"/>
                    </a:cubicBezTo>
                    <a:cubicBezTo>
                      <a:pt x="329433" y="64865"/>
                      <a:pt x="328441" y="61889"/>
                      <a:pt x="320503" y="61889"/>
                    </a:cubicBezTo>
                    <a:cubicBezTo>
                      <a:pt x="312566" y="61889"/>
                      <a:pt x="312566" y="60897"/>
                      <a:pt x="304629" y="60897"/>
                    </a:cubicBezTo>
                    <a:cubicBezTo>
                      <a:pt x="296692" y="60897"/>
                      <a:pt x="296692" y="61393"/>
                      <a:pt x="288754" y="61393"/>
                    </a:cubicBezTo>
                    <a:cubicBezTo>
                      <a:pt x="280817" y="61393"/>
                      <a:pt x="280817" y="62385"/>
                      <a:pt x="272880" y="62385"/>
                    </a:cubicBezTo>
                    <a:cubicBezTo>
                      <a:pt x="264943" y="62385"/>
                      <a:pt x="264943" y="61889"/>
                      <a:pt x="257006" y="61889"/>
                    </a:cubicBezTo>
                    <a:cubicBezTo>
                      <a:pt x="249068" y="61889"/>
                      <a:pt x="249068" y="60401"/>
                      <a:pt x="241131" y="60401"/>
                    </a:cubicBezTo>
                    <a:cubicBezTo>
                      <a:pt x="233194" y="60401"/>
                      <a:pt x="233194" y="61393"/>
                      <a:pt x="225257" y="61393"/>
                    </a:cubicBezTo>
                    <a:cubicBezTo>
                      <a:pt x="217319" y="61393"/>
                      <a:pt x="217319" y="62385"/>
                      <a:pt x="209382" y="62385"/>
                    </a:cubicBezTo>
                    <a:cubicBezTo>
                      <a:pt x="201445" y="62385"/>
                      <a:pt x="201445" y="61889"/>
                      <a:pt x="193508" y="61889"/>
                    </a:cubicBezTo>
                    <a:cubicBezTo>
                      <a:pt x="185570" y="61889"/>
                      <a:pt x="185570" y="61889"/>
                      <a:pt x="177633" y="61889"/>
                    </a:cubicBezTo>
                    <a:cubicBezTo>
                      <a:pt x="169696" y="61889"/>
                      <a:pt x="169696" y="61889"/>
                      <a:pt x="161759" y="61889"/>
                    </a:cubicBezTo>
                    <a:cubicBezTo>
                      <a:pt x="153821" y="61889"/>
                      <a:pt x="153821" y="62385"/>
                      <a:pt x="145884" y="62385"/>
                    </a:cubicBezTo>
                    <a:cubicBezTo>
                      <a:pt x="137947" y="62385"/>
                      <a:pt x="137947" y="62881"/>
                      <a:pt x="130010" y="62881"/>
                    </a:cubicBezTo>
                    <a:cubicBezTo>
                      <a:pt x="122072" y="62881"/>
                      <a:pt x="122072" y="61889"/>
                      <a:pt x="114135" y="61889"/>
                    </a:cubicBezTo>
                    <a:cubicBezTo>
                      <a:pt x="106198" y="61889"/>
                      <a:pt x="106198" y="61393"/>
                      <a:pt x="98261" y="61393"/>
                    </a:cubicBezTo>
                    <a:cubicBezTo>
                      <a:pt x="90323" y="61393"/>
                      <a:pt x="90323" y="62385"/>
                      <a:pt x="82386" y="62385"/>
                    </a:cubicBezTo>
                    <a:cubicBezTo>
                      <a:pt x="74449" y="62385"/>
                      <a:pt x="74449" y="62881"/>
                      <a:pt x="66512" y="62881"/>
                    </a:cubicBezTo>
                    <a:cubicBezTo>
                      <a:pt x="58574" y="62881"/>
                      <a:pt x="58574" y="61889"/>
                      <a:pt x="50637" y="61889"/>
                    </a:cubicBezTo>
                    <a:cubicBezTo>
                      <a:pt x="42700" y="61889"/>
                      <a:pt x="40716" y="66850"/>
                      <a:pt x="34267" y="62881"/>
                    </a:cubicBezTo>
                    <a:cubicBezTo>
                      <a:pt x="26329" y="57920"/>
                      <a:pt x="30794" y="53455"/>
                      <a:pt x="25833" y="45518"/>
                    </a:cubicBezTo>
                    <a:cubicBezTo>
                      <a:pt x="20873" y="37581"/>
                      <a:pt x="20873" y="37581"/>
                      <a:pt x="15912" y="29644"/>
                    </a:cubicBezTo>
                    <a:cubicBezTo>
                      <a:pt x="10951" y="21706"/>
                      <a:pt x="9463" y="22699"/>
                      <a:pt x="4502" y="14265"/>
                    </a:cubicBezTo>
                    <a:cubicBezTo>
                      <a:pt x="-955" y="9304"/>
                      <a:pt x="-1451" y="6328"/>
                      <a:pt x="3014" y="335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0" name="Graphic 10">
              <a:extLst>
                <a:ext uri="{FF2B5EF4-FFF2-40B4-BE49-F238E27FC236}">
                  <a16:creationId xmlns:a16="http://schemas.microsoft.com/office/drawing/2014/main" id="{E071FD15-909A-F21C-BE95-89FBD2D6CF7C}"/>
                </a:ext>
              </a:extLst>
            </p:cNvPr>
            <p:cNvGrpSpPr/>
            <p:nvPr/>
          </p:nvGrpSpPr>
          <p:grpSpPr>
            <a:xfrm>
              <a:off x="5007972" y="3796815"/>
              <a:ext cx="333707" cy="673839"/>
              <a:chOff x="5007972" y="3796815"/>
              <a:chExt cx="333707" cy="673839"/>
            </a:xfrm>
            <a:noFill/>
          </p:grpSpPr>
          <p:sp>
            <p:nvSpPr>
              <p:cNvPr id="1715" name="Freeform: Shape 1714">
                <a:extLst>
                  <a:ext uri="{FF2B5EF4-FFF2-40B4-BE49-F238E27FC236}">
                    <a16:creationId xmlns:a16="http://schemas.microsoft.com/office/drawing/2014/main" id="{93E848EB-D715-B223-9532-583542B7CE39}"/>
                  </a:ext>
                </a:extLst>
              </p:cNvPr>
              <p:cNvSpPr/>
              <p:nvPr/>
            </p:nvSpPr>
            <p:spPr>
              <a:xfrm>
                <a:off x="5007972" y="3796815"/>
                <a:ext cx="333707" cy="673839"/>
              </a:xfrm>
              <a:custGeom>
                <a:avLst/>
                <a:gdLst>
                  <a:gd name="connsiteX0" fmla="*/ 1789 w 333707"/>
                  <a:gd name="connsiteY0" fmla="*/ 673839 h 673839"/>
                  <a:gd name="connsiteX1" fmla="*/ 2285 w 333707"/>
                  <a:gd name="connsiteY1" fmla="*/ 657469 h 673839"/>
                  <a:gd name="connsiteX2" fmla="*/ 2285 w 333707"/>
                  <a:gd name="connsiteY2" fmla="*/ 641098 h 673839"/>
                  <a:gd name="connsiteX3" fmla="*/ 2285 w 333707"/>
                  <a:gd name="connsiteY3" fmla="*/ 624727 h 673839"/>
                  <a:gd name="connsiteX4" fmla="*/ 3277 w 333707"/>
                  <a:gd name="connsiteY4" fmla="*/ 608357 h 673839"/>
                  <a:gd name="connsiteX5" fmla="*/ 3773 w 333707"/>
                  <a:gd name="connsiteY5" fmla="*/ 591986 h 673839"/>
                  <a:gd name="connsiteX6" fmla="*/ 2781 w 333707"/>
                  <a:gd name="connsiteY6" fmla="*/ 575616 h 673839"/>
                  <a:gd name="connsiteX7" fmla="*/ 1789 w 333707"/>
                  <a:gd name="connsiteY7" fmla="*/ 559245 h 673839"/>
                  <a:gd name="connsiteX8" fmla="*/ 3277 w 333707"/>
                  <a:gd name="connsiteY8" fmla="*/ 542874 h 673839"/>
                  <a:gd name="connsiteX9" fmla="*/ 1292 w 333707"/>
                  <a:gd name="connsiteY9" fmla="*/ 526504 h 673839"/>
                  <a:gd name="connsiteX10" fmla="*/ 1789 w 333707"/>
                  <a:gd name="connsiteY10" fmla="*/ 510133 h 673839"/>
                  <a:gd name="connsiteX11" fmla="*/ 2285 w 333707"/>
                  <a:gd name="connsiteY11" fmla="*/ 493763 h 673839"/>
                  <a:gd name="connsiteX12" fmla="*/ 3277 w 333707"/>
                  <a:gd name="connsiteY12" fmla="*/ 477392 h 673839"/>
                  <a:gd name="connsiteX13" fmla="*/ 1292 w 333707"/>
                  <a:gd name="connsiteY13" fmla="*/ 461022 h 673839"/>
                  <a:gd name="connsiteX14" fmla="*/ 1789 w 333707"/>
                  <a:gd name="connsiteY14" fmla="*/ 444651 h 673839"/>
                  <a:gd name="connsiteX15" fmla="*/ 1789 w 333707"/>
                  <a:gd name="connsiteY15" fmla="*/ 428281 h 673839"/>
                  <a:gd name="connsiteX16" fmla="*/ 3277 w 333707"/>
                  <a:gd name="connsiteY16" fmla="*/ 411910 h 673839"/>
                  <a:gd name="connsiteX17" fmla="*/ 2285 w 333707"/>
                  <a:gd name="connsiteY17" fmla="*/ 395539 h 673839"/>
                  <a:gd name="connsiteX18" fmla="*/ 1292 w 333707"/>
                  <a:gd name="connsiteY18" fmla="*/ 379169 h 673839"/>
                  <a:gd name="connsiteX19" fmla="*/ 2285 w 333707"/>
                  <a:gd name="connsiteY19" fmla="*/ 362798 h 673839"/>
                  <a:gd name="connsiteX20" fmla="*/ 3277 w 333707"/>
                  <a:gd name="connsiteY20" fmla="*/ 346428 h 673839"/>
                  <a:gd name="connsiteX21" fmla="*/ 2285 w 333707"/>
                  <a:gd name="connsiteY21" fmla="*/ 330057 h 673839"/>
                  <a:gd name="connsiteX22" fmla="*/ 2781 w 333707"/>
                  <a:gd name="connsiteY22" fmla="*/ 313686 h 673839"/>
                  <a:gd name="connsiteX23" fmla="*/ 1789 w 333707"/>
                  <a:gd name="connsiteY23" fmla="*/ 297316 h 673839"/>
                  <a:gd name="connsiteX24" fmla="*/ 2285 w 333707"/>
                  <a:gd name="connsiteY24" fmla="*/ 280945 h 673839"/>
                  <a:gd name="connsiteX25" fmla="*/ 2781 w 333707"/>
                  <a:gd name="connsiteY25" fmla="*/ 264575 h 673839"/>
                  <a:gd name="connsiteX26" fmla="*/ 2285 w 333707"/>
                  <a:gd name="connsiteY26" fmla="*/ 248204 h 673839"/>
                  <a:gd name="connsiteX27" fmla="*/ 3277 w 333707"/>
                  <a:gd name="connsiteY27" fmla="*/ 231834 h 673839"/>
                  <a:gd name="connsiteX28" fmla="*/ 2781 w 333707"/>
                  <a:gd name="connsiteY28" fmla="*/ 215463 h 673839"/>
                  <a:gd name="connsiteX29" fmla="*/ 2781 w 333707"/>
                  <a:gd name="connsiteY29" fmla="*/ 199093 h 673839"/>
                  <a:gd name="connsiteX30" fmla="*/ 1292 w 333707"/>
                  <a:gd name="connsiteY30" fmla="*/ 182722 h 673839"/>
                  <a:gd name="connsiteX31" fmla="*/ 3277 w 333707"/>
                  <a:gd name="connsiteY31" fmla="*/ 166351 h 673839"/>
                  <a:gd name="connsiteX32" fmla="*/ 1789 w 333707"/>
                  <a:gd name="connsiteY32" fmla="*/ 149981 h 673839"/>
                  <a:gd name="connsiteX33" fmla="*/ 2781 w 333707"/>
                  <a:gd name="connsiteY33" fmla="*/ 133610 h 673839"/>
                  <a:gd name="connsiteX34" fmla="*/ 2285 w 333707"/>
                  <a:gd name="connsiteY34" fmla="*/ 117240 h 673839"/>
                  <a:gd name="connsiteX35" fmla="*/ 1292 w 333707"/>
                  <a:gd name="connsiteY35" fmla="*/ 100869 h 673839"/>
                  <a:gd name="connsiteX36" fmla="*/ 2285 w 333707"/>
                  <a:gd name="connsiteY36" fmla="*/ 84499 h 673839"/>
                  <a:gd name="connsiteX37" fmla="*/ 2781 w 333707"/>
                  <a:gd name="connsiteY37" fmla="*/ 68128 h 673839"/>
                  <a:gd name="connsiteX38" fmla="*/ 1789 w 333707"/>
                  <a:gd name="connsiteY38" fmla="*/ 51757 h 673839"/>
                  <a:gd name="connsiteX39" fmla="*/ 1292 w 333707"/>
                  <a:gd name="connsiteY39" fmla="*/ 35387 h 673839"/>
                  <a:gd name="connsiteX40" fmla="*/ 2285 w 333707"/>
                  <a:gd name="connsiteY40" fmla="*/ 19016 h 673839"/>
                  <a:gd name="connsiteX41" fmla="*/ 2781 w 333707"/>
                  <a:gd name="connsiteY41" fmla="*/ 2646 h 673839"/>
                  <a:gd name="connsiteX42" fmla="*/ 19151 w 333707"/>
                  <a:gd name="connsiteY42" fmla="*/ 2646 h 673839"/>
                  <a:gd name="connsiteX43" fmla="*/ 35522 w 333707"/>
                  <a:gd name="connsiteY43" fmla="*/ 1654 h 673839"/>
                  <a:gd name="connsiteX44" fmla="*/ 51892 w 333707"/>
                  <a:gd name="connsiteY44" fmla="*/ 2646 h 673839"/>
                  <a:gd name="connsiteX45" fmla="*/ 68263 w 333707"/>
                  <a:gd name="connsiteY45" fmla="*/ 3638 h 673839"/>
                  <a:gd name="connsiteX46" fmla="*/ 84634 w 333707"/>
                  <a:gd name="connsiteY46" fmla="*/ 3638 h 673839"/>
                  <a:gd name="connsiteX47" fmla="*/ 101004 w 333707"/>
                  <a:gd name="connsiteY47" fmla="*/ 3638 h 673839"/>
                  <a:gd name="connsiteX48" fmla="*/ 117375 w 333707"/>
                  <a:gd name="connsiteY48" fmla="*/ 3638 h 673839"/>
                  <a:gd name="connsiteX49" fmla="*/ 133745 w 333707"/>
                  <a:gd name="connsiteY49" fmla="*/ 3142 h 673839"/>
                  <a:gd name="connsiteX50" fmla="*/ 150116 w 333707"/>
                  <a:gd name="connsiteY50" fmla="*/ 4134 h 673839"/>
                  <a:gd name="connsiteX51" fmla="*/ 166487 w 333707"/>
                  <a:gd name="connsiteY51" fmla="*/ 3638 h 673839"/>
                  <a:gd name="connsiteX52" fmla="*/ 182857 w 333707"/>
                  <a:gd name="connsiteY52" fmla="*/ 3638 h 673839"/>
                  <a:gd name="connsiteX53" fmla="*/ 199228 w 333707"/>
                  <a:gd name="connsiteY53" fmla="*/ 4134 h 673839"/>
                  <a:gd name="connsiteX54" fmla="*/ 215598 w 333707"/>
                  <a:gd name="connsiteY54" fmla="*/ 2150 h 673839"/>
                  <a:gd name="connsiteX55" fmla="*/ 231969 w 333707"/>
                  <a:gd name="connsiteY55" fmla="*/ 4134 h 673839"/>
                  <a:gd name="connsiteX56" fmla="*/ 248339 w 333707"/>
                  <a:gd name="connsiteY56" fmla="*/ 3638 h 673839"/>
                  <a:gd name="connsiteX57" fmla="*/ 264710 w 333707"/>
                  <a:gd name="connsiteY57" fmla="*/ 2150 h 673839"/>
                  <a:gd name="connsiteX58" fmla="*/ 281080 w 333707"/>
                  <a:gd name="connsiteY58" fmla="*/ 3142 h 673839"/>
                  <a:gd name="connsiteX59" fmla="*/ 297451 w 333707"/>
                  <a:gd name="connsiteY59" fmla="*/ 4134 h 673839"/>
                  <a:gd name="connsiteX60" fmla="*/ 313821 w 333707"/>
                  <a:gd name="connsiteY60" fmla="*/ 4134 h 673839"/>
                  <a:gd name="connsiteX61" fmla="*/ 331184 w 333707"/>
                  <a:gd name="connsiteY61" fmla="*/ 2646 h 673839"/>
                  <a:gd name="connsiteX62" fmla="*/ 330688 w 333707"/>
                  <a:gd name="connsiteY62" fmla="*/ 19512 h 673839"/>
                  <a:gd name="connsiteX63" fmla="*/ 330688 w 333707"/>
                  <a:gd name="connsiteY63" fmla="*/ 35883 h 673839"/>
                  <a:gd name="connsiteX64" fmla="*/ 329696 w 333707"/>
                  <a:gd name="connsiteY64" fmla="*/ 52254 h 673839"/>
                  <a:gd name="connsiteX65" fmla="*/ 330688 w 333707"/>
                  <a:gd name="connsiteY65" fmla="*/ 68624 h 673839"/>
                  <a:gd name="connsiteX66" fmla="*/ 330192 w 333707"/>
                  <a:gd name="connsiteY66" fmla="*/ 84995 h 673839"/>
                  <a:gd name="connsiteX67" fmla="*/ 330192 w 333707"/>
                  <a:gd name="connsiteY67" fmla="*/ 101365 h 673839"/>
                  <a:gd name="connsiteX68" fmla="*/ 329200 w 333707"/>
                  <a:gd name="connsiteY68" fmla="*/ 117736 h 673839"/>
                  <a:gd name="connsiteX69" fmla="*/ 330688 w 333707"/>
                  <a:gd name="connsiteY69" fmla="*/ 134106 h 673839"/>
                  <a:gd name="connsiteX70" fmla="*/ 329200 w 333707"/>
                  <a:gd name="connsiteY70" fmla="*/ 150477 h 673839"/>
                  <a:gd name="connsiteX71" fmla="*/ 330688 w 333707"/>
                  <a:gd name="connsiteY71" fmla="*/ 166847 h 673839"/>
                  <a:gd name="connsiteX72" fmla="*/ 330192 w 333707"/>
                  <a:gd name="connsiteY72" fmla="*/ 183218 h 673839"/>
                  <a:gd name="connsiteX73" fmla="*/ 330192 w 333707"/>
                  <a:gd name="connsiteY73" fmla="*/ 199588 h 673839"/>
                  <a:gd name="connsiteX74" fmla="*/ 329200 w 333707"/>
                  <a:gd name="connsiteY74" fmla="*/ 215959 h 673839"/>
                  <a:gd name="connsiteX75" fmla="*/ 331184 w 333707"/>
                  <a:gd name="connsiteY75" fmla="*/ 232330 h 673839"/>
                  <a:gd name="connsiteX76" fmla="*/ 329200 w 333707"/>
                  <a:gd name="connsiteY76" fmla="*/ 248700 h 673839"/>
                  <a:gd name="connsiteX77" fmla="*/ 331184 w 333707"/>
                  <a:gd name="connsiteY77" fmla="*/ 265071 h 673839"/>
                  <a:gd name="connsiteX78" fmla="*/ 331184 w 333707"/>
                  <a:gd name="connsiteY78" fmla="*/ 281441 h 673839"/>
                  <a:gd name="connsiteX79" fmla="*/ 330688 w 333707"/>
                  <a:gd name="connsiteY79" fmla="*/ 297812 h 673839"/>
                  <a:gd name="connsiteX80" fmla="*/ 330192 w 333707"/>
                  <a:gd name="connsiteY80" fmla="*/ 314183 h 673839"/>
                  <a:gd name="connsiteX81" fmla="*/ 331184 w 333707"/>
                  <a:gd name="connsiteY81" fmla="*/ 330553 h 673839"/>
                  <a:gd name="connsiteX82" fmla="*/ 329200 w 333707"/>
                  <a:gd name="connsiteY82" fmla="*/ 346924 h 673839"/>
                  <a:gd name="connsiteX83" fmla="*/ 331184 w 333707"/>
                  <a:gd name="connsiteY83" fmla="*/ 363294 h 673839"/>
                  <a:gd name="connsiteX84" fmla="*/ 329696 w 333707"/>
                  <a:gd name="connsiteY84" fmla="*/ 379665 h 673839"/>
                  <a:gd name="connsiteX85" fmla="*/ 329696 w 333707"/>
                  <a:gd name="connsiteY85" fmla="*/ 396036 h 673839"/>
                  <a:gd name="connsiteX86" fmla="*/ 329696 w 333707"/>
                  <a:gd name="connsiteY86" fmla="*/ 412406 h 673839"/>
                  <a:gd name="connsiteX87" fmla="*/ 329696 w 333707"/>
                  <a:gd name="connsiteY87" fmla="*/ 428777 h 673839"/>
                  <a:gd name="connsiteX88" fmla="*/ 331680 w 333707"/>
                  <a:gd name="connsiteY88" fmla="*/ 445147 h 673839"/>
                  <a:gd name="connsiteX89" fmla="*/ 330192 w 333707"/>
                  <a:gd name="connsiteY89" fmla="*/ 461518 h 673839"/>
                  <a:gd name="connsiteX90" fmla="*/ 331184 w 333707"/>
                  <a:gd name="connsiteY90" fmla="*/ 477888 h 673839"/>
                  <a:gd name="connsiteX91" fmla="*/ 330192 w 333707"/>
                  <a:gd name="connsiteY91" fmla="*/ 494259 h 673839"/>
                  <a:gd name="connsiteX92" fmla="*/ 329696 w 333707"/>
                  <a:gd name="connsiteY92" fmla="*/ 510629 h 673839"/>
                  <a:gd name="connsiteX93" fmla="*/ 331184 w 333707"/>
                  <a:gd name="connsiteY93" fmla="*/ 527000 h 673839"/>
                  <a:gd name="connsiteX94" fmla="*/ 329696 w 333707"/>
                  <a:gd name="connsiteY94" fmla="*/ 543371 h 673839"/>
                  <a:gd name="connsiteX95" fmla="*/ 330192 w 333707"/>
                  <a:gd name="connsiteY95" fmla="*/ 559741 h 673839"/>
                  <a:gd name="connsiteX96" fmla="*/ 329200 w 333707"/>
                  <a:gd name="connsiteY96" fmla="*/ 576112 h 673839"/>
                  <a:gd name="connsiteX97" fmla="*/ 330688 w 333707"/>
                  <a:gd name="connsiteY97" fmla="*/ 592482 h 673839"/>
                  <a:gd name="connsiteX98" fmla="*/ 329200 w 333707"/>
                  <a:gd name="connsiteY98" fmla="*/ 608853 h 673839"/>
                  <a:gd name="connsiteX99" fmla="*/ 329696 w 333707"/>
                  <a:gd name="connsiteY99" fmla="*/ 625224 h 673839"/>
                  <a:gd name="connsiteX100" fmla="*/ 331184 w 333707"/>
                  <a:gd name="connsiteY100" fmla="*/ 641594 h 673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333707" h="673839">
                    <a:moveTo>
                      <a:pt x="1789" y="673839"/>
                    </a:moveTo>
                    <a:cubicBezTo>
                      <a:pt x="1789" y="665406"/>
                      <a:pt x="2285" y="665406"/>
                      <a:pt x="2285" y="657469"/>
                    </a:cubicBezTo>
                    <a:cubicBezTo>
                      <a:pt x="2285" y="649035"/>
                      <a:pt x="2285" y="649035"/>
                      <a:pt x="2285" y="641098"/>
                    </a:cubicBezTo>
                    <a:cubicBezTo>
                      <a:pt x="2285" y="632665"/>
                      <a:pt x="2285" y="632665"/>
                      <a:pt x="2285" y="624727"/>
                    </a:cubicBezTo>
                    <a:cubicBezTo>
                      <a:pt x="2285" y="616294"/>
                      <a:pt x="3277" y="616294"/>
                      <a:pt x="3277" y="608357"/>
                    </a:cubicBezTo>
                    <a:cubicBezTo>
                      <a:pt x="3277" y="599923"/>
                      <a:pt x="3773" y="599923"/>
                      <a:pt x="3773" y="591986"/>
                    </a:cubicBezTo>
                    <a:cubicBezTo>
                      <a:pt x="3773" y="583553"/>
                      <a:pt x="2781" y="583553"/>
                      <a:pt x="2781" y="575616"/>
                    </a:cubicBezTo>
                    <a:cubicBezTo>
                      <a:pt x="2781" y="567182"/>
                      <a:pt x="1789" y="567182"/>
                      <a:pt x="1789" y="559245"/>
                    </a:cubicBezTo>
                    <a:cubicBezTo>
                      <a:pt x="1789" y="550812"/>
                      <a:pt x="3277" y="550812"/>
                      <a:pt x="3277" y="542874"/>
                    </a:cubicBezTo>
                    <a:cubicBezTo>
                      <a:pt x="3277" y="534441"/>
                      <a:pt x="1292" y="534441"/>
                      <a:pt x="1292" y="526504"/>
                    </a:cubicBezTo>
                    <a:cubicBezTo>
                      <a:pt x="1292" y="518071"/>
                      <a:pt x="1789" y="518071"/>
                      <a:pt x="1789" y="510133"/>
                    </a:cubicBezTo>
                    <a:cubicBezTo>
                      <a:pt x="1789" y="501700"/>
                      <a:pt x="2285" y="501700"/>
                      <a:pt x="2285" y="493763"/>
                    </a:cubicBezTo>
                    <a:cubicBezTo>
                      <a:pt x="2285" y="485330"/>
                      <a:pt x="3277" y="485330"/>
                      <a:pt x="3277" y="477392"/>
                    </a:cubicBezTo>
                    <a:cubicBezTo>
                      <a:pt x="3277" y="468959"/>
                      <a:pt x="1292" y="468959"/>
                      <a:pt x="1292" y="461022"/>
                    </a:cubicBezTo>
                    <a:cubicBezTo>
                      <a:pt x="1292" y="452588"/>
                      <a:pt x="1789" y="452588"/>
                      <a:pt x="1789" y="444651"/>
                    </a:cubicBezTo>
                    <a:cubicBezTo>
                      <a:pt x="1789" y="436218"/>
                      <a:pt x="1789" y="436218"/>
                      <a:pt x="1789" y="428281"/>
                    </a:cubicBezTo>
                    <a:cubicBezTo>
                      <a:pt x="1789" y="419847"/>
                      <a:pt x="3277" y="419847"/>
                      <a:pt x="3277" y="411910"/>
                    </a:cubicBezTo>
                    <a:cubicBezTo>
                      <a:pt x="3277" y="403477"/>
                      <a:pt x="2285" y="403477"/>
                      <a:pt x="2285" y="395539"/>
                    </a:cubicBezTo>
                    <a:cubicBezTo>
                      <a:pt x="2285" y="387106"/>
                      <a:pt x="1292" y="387106"/>
                      <a:pt x="1292" y="379169"/>
                    </a:cubicBezTo>
                    <a:cubicBezTo>
                      <a:pt x="1292" y="370735"/>
                      <a:pt x="2285" y="370735"/>
                      <a:pt x="2285" y="362798"/>
                    </a:cubicBezTo>
                    <a:cubicBezTo>
                      <a:pt x="2285" y="354365"/>
                      <a:pt x="3277" y="354365"/>
                      <a:pt x="3277" y="346428"/>
                    </a:cubicBezTo>
                    <a:cubicBezTo>
                      <a:pt x="3277" y="337994"/>
                      <a:pt x="2285" y="337994"/>
                      <a:pt x="2285" y="330057"/>
                    </a:cubicBezTo>
                    <a:cubicBezTo>
                      <a:pt x="2285" y="321624"/>
                      <a:pt x="2781" y="321624"/>
                      <a:pt x="2781" y="313686"/>
                    </a:cubicBezTo>
                    <a:cubicBezTo>
                      <a:pt x="2781" y="305253"/>
                      <a:pt x="1789" y="305253"/>
                      <a:pt x="1789" y="297316"/>
                    </a:cubicBezTo>
                    <a:cubicBezTo>
                      <a:pt x="1789" y="288883"/>
                      <a:pt x="2285" y="288883"/>
                      <a:pt x="2285" y="280945"/>
                    </a:cubicBezTo>
                    <a:cubicBezTo>
                      <a:pt x="2285" y="272512"/>
                      <a:pt x="2781" y="272512"/>
                      <a:pt x="2781" y="264575"/>
                    </a:cubicBezTo>
                    <a:cubicBezTo>
                      <a:pt x="2781" y="256141"/>
                      <a:pt x="2285" y="256141"/>
                      <a:pt x="2285" y="248204"/>
                    </a:cubicBezTo>
                    <a:cubicBezTo>
                      <a:pt x="2285" y="239771"/>
                      <a:pt x="3277" y="239771"/>
                      <a:pt x="3277" y="231834"/>
                    </a:cubicBezTo>
                    <a:cubicBezTo>
                      <a:pt x="3277" y="223400"/>
                      <a:pt x="2781" y="223400"/>
                      <a:pt x="2781" y="215463"/>
                    </a:cubicBezTo>
                    <a:cubicBezTo>
                      <a:pt x="2781" y="207030"/>
                      <a:pt x="2781" y="207030"/>
                      <a:pt x="2781" y="199093"/>
                    </a:cubicBezTo>
                    <a:cubicBezTo>
                      <a:pt x="2781" y="190659"/>
                      <a:pt x="1292" y="190659"/>
                      <a:pt x="1292" y="182722"/>
                    </a:cubicBezTo>
                    <a:cubicBezTo>
                      <a:pt x="1292" y="174289"/>
                      <a:pt x="3277" y="174289"/>
                      <a:pt x="3277" y="166351"/>
                    </a:cubicBezTo>
                    <a:cubicBezTo>
                      <a:pt x="3277" y="157918"/>
                      <a:pt x="1789" y="157918"/>
                      <a:pt x="1789" y="149981"/>
                    </a:cubicBezTo>
                    <a:cubicBezTo>
                      <a:pt x="1789" y="141548"/>
                      <a:pt x="2781" y="141548"/>
                      <a:pt x="2781" y="133610"/>
                    </a:cubicBezTo>
                    <a:cubicBezTo>
                      <a:pt x="2781" y="125177"/>
                      <a:pt x="2285" y="125177"/>
                      <a:pt x="2285" y="117240"/>
                    </a:cubicBezTo>
                    <a:cubicBezTo>
                      <a:pt x="2285" y="109303"/>
                      <a:pt x="1292" y="108806"/>
                      <a:pt x="1292" y="100869"/>
                    </a:cubicBezTo>
                    <a:cubicBezTo>
                      <a:pt x="1292" y="92436"/>
                      <a:pt x="2285" y="92436"/>
                      <a:pt x="2285" y="84499"/>
                    </a:cubicBezTo>
                    <a:cubicBezTo>
                      <a:pt x="2285" y="76065"/>
                      <a:pt x="2781" y="76065"/>
                      <a:pt x="2781" y="68128"/>
                    </a:cubicBezTo>
                    <a:cubicBezTo>
                      <a:pt x="2781" y="59695"/>
                      <a:pt x="1789" y="59695"/>
                      <a:pt x="1789" y="51757"/>
                    </a:cubicBezTo>
                    <a:cubicBezTo>
                      <a:pt x="1789" y="43324"/>
                      <a:pt x="1292" y="43324"/>
                      <a:pt x="1292" y="35387"/>
                    </a:cubicBezTo>
                    <a:cubicBezTo>
                      <a:pt x="1292" y="26953"/>
                      <a:pt x="2285" y="26953"/>
                      <a:pt x="2285" y="19016"/>
                    </a:cubicBezTo>
                    <a:cubicBezTo>
                      <a:pt x="2285" y="10583"/>
                      <a:pt x="-3172" y="8598"/>
                      <a:pt x="2781" y="2646"/>
                    </a:cubicBezTo>
                    <a:cubicBezTo>
                      <a:pt x="8734" y="-3307"/>
                      <a:pt x="10718" y="2646"/>
                      <a:pt x="19151" y="2646"/>
                    </a:cubicBezTo>
                    <a:cubicBezTo>
                      <a:pt x="27585" y="2646"/>
                      <a:pt x="27585" y="1654"/>
                      <a:pt x="35522" y="1654"/>
                    </a:cubicBezTo>
                    <a:cubicBezTo>
                      <a:pt x="43955" y="1654"/>
                      <a:pt x="43955" y="2646"/>
                      <a:pt x="51892" y="2646"/>
                    </a:cubicBezTo>
                    <a:cubicBezTo>
                      <a:pt x="60326" y="2646"/>
                      <a:pt x="60326" y="3638"/>
                      <a:pt x="68263" y="3638"/>
                    </a:cubicBezTo>
                    <a:cubicBezTo>
                      <a:pt x="76696" y="3638"/>
                      <a:pt x="76696" y="3638"/>
                      <a:pt x="84634" y="3638"/>
                    </a:cubicBezTo>
                    <a:cubicBezTo>
                      <a:pt x="93067" y="3638"/>
                      <a:pt x="93067" y="3638"/>
                      <a:pt x="101004" y="3638"/>
                    </a:cubicBezTo>
                    <a:cubicBezTo>
                      <a:pt x="109438" y="3638"/>
                      <a:pt x="109438" y="3638"/>
                      <a:pt x="117375" y="3638"/>
                    </a:cubicBezTo>
                    <a:cubicBezTo>
                      <a:pt x="125808" y="3638"/>
                      <a:pt x="125808" y="3142"/>
                      <a:pt x="133745" y="3142"/>
                    </a:cubicBezTo>
                    <a:cubicBezTo>
                      <a:pt x="142179" y="3142"/>
                      <a:pt x="142179" y="4134"/>
                      <a:pt x="150116" y="4134"/>
                    </a:cubicBezTo>
                    <a:cubicBezTo>
                      <a:pt x="158549" y="4134"/>
                      <a:pt x="158549" y="3638"/>
                      <a:pt x="166487" y="3638"/>
                    </a:cubicBezTo>
                    <a:cubicBezTo>
                      <a:pt x="174920" y="3638"/>
                      <a:pt x="174920" y="3638"/>
                      <a:pt x="182857" y="3638"/>
                    </a:cubicBezTo>
                    <a:cubicBezTo>
                      <a:pt x="191290" y="3638"/>
                      <a:pt x="191290" y="4134"/>
                      <a:pt x="199228" y="4134"/>
                    </a:cubicBezTo>
                    <a:cubicBezTo>
                      <a:pt x="207661" y="4134"/>
                      <a:pt x="207661" y="2150"/>
                      <a:pt x="215598" y="2150"/>
                    </a:cubicBezTo>
                    <a:cubicBezTo>
                      <a:pt x="223536" y="2150"/>
                      <a:pt x="224032" y="4134"/>
                      <a:pt x="231969" y="4134"/>
                    </a:cubicBezTo>
                    <a:cubicBezTo>
                      <a:pt x="240402" y="4134"/>
                      <a:pt x="240402" y="3638"/>
                      <a:pt x="248339" y="3638"/>
                    </a:cubicBezTo>
                    <a:cubicBezTo>
                      <a:pt x="256773" y="3638"/>
                      <a:pt x="256773" y="2150"/>
                      <a:pt x="264710" y="2150"/>
                    </a:cubicBezTo>
                    <a:cubicBezTo>
                      <a:pt x="273143" y="2150"/>
                      <a:pt x="273143" y="3142"/>
                      <a:pt x="281080" y="3142"/>
                    </a:cubicBezTo>
                    <a:cubicBezTo>
                      <a:pt x="289514" y="3142"/>
                      <a:pt x="289514" y="4134"/>
                      <a:pt x="297451" y="4134"/>
                    </a:cubicBezTo>
                    <a:cubicBezTo>
                      <a:pt x="305884" y="4134"/>
                      <a:pt x="305884" y="4134"/>
                      <a:pt x="313821" y="4134"/>
                    </a:cubicBezTo>
                    <a:cubicBezTo>
                      <a:pt x="322255" y="4134"/>
                      <a:pt x="325232" y="-2811"/>
                      <a:pt x="331184" y="2646"/>
                    </a:cubicBezTo>
                    <a:cubicBezTo>
                      <a:pt x="337137" y="8103"/>
                      <a:pt x="330688" y="11575"/>
                      <a:pt x="330688" y="19512"/>
                    </a:cubicBezTo>
                    <a:cubicBezTo>
                      <a:pt x="330688" y="27450"/>
                      <a:pt x="330688" y="27450"/>
                      <a:pt x="330688" y="35883"/>
                    </a:cubicBezTo>
                    <a:cubicBezTo>
                      <a:pt x="330688" y="44316"/>
                      <a:pt x="329696" y="43820"/>
                      <a:pt x="329696" y="52254"/>
                    </a:cubicBezTo>
                    <a:cubicBezTo>
                      <a:pt x="329696" y="60191"/>
                      <a:pt x="330688" y="60191"/>
                      <a:pt x="330688" y="68624"/>
                    </a:cubicBezTo>
                    <a:cubicBezTo>
                      <a:pt x="330688" y="76561"/>
                      <a:pt x="330192" y="76561"/>
                      <a:pt x="330192" y="84995"/>
                    </a:cubicBezTo>
                    <a:cubicBezTo>
                      <a:pt x="330192" y="92932"/>
                      <a:pt x="330192" y="92932"/>
                      <a:pt x="330192" y="101365"/>
                    </a:cubicBezTo>
                    <a:cubicBezTo>
                      <a:pt x="330192" y="109303"/>
                      <a:pt x="329200" y="109303"/>
                      <a:pt x="329200" y="117736"/>
                    </a:cubicBezTo>
                    <a:cubicBezTo>
                      <a:pt x="329200" y="125673"/>
                      <a:pt x="330688" y="125673"/>
                      <a:pt x="330688" y="134106"/>
                    </a:cubicBezTo>
                    <a:cubicBezTo>
                      <a:pt x="330688" y="142044"/>
                      <a:pt x="329200" y="142044"/>
                      <a:pt x="329200" y="150477"/>
                    </a:cubicBezTo>
                    <a:cubicBezTo>
                      <a:pt x="329200" y="158414"/>
                      <a:pt x="330688" y="158414"/>
                      <a:pt x="330688" y="166847"/>
                    </a:cubicBezTo>
                    <a:cubicBezTo>
                      <a:pt x="330688" y="174785"/>
                      <a:pt x="330192" y="174785"/>
                      <a:pt x="330192" y="183218"/>
                    </a:cubicBezTo>
                    <a:cubicBezTo>
                      <a:pt x="330192" y="191155"/>
                      <a:pt x="330192" y="191155"/>
                      <a:pt x="330192" y="199588"/>
                    </a:cubicBezTo>
                    <a:cubicBezTo>
                      <a:pt x="330192" y="207526"/>
                      <a:pt x="329200" y="207526"/>
                      <a:pt x="329200" y="215959"/>
                    </a:cubicBezTo>
                    <a:cubicBezTo>
                      <a:pt x="329200" y="223896"/>
                      <a:pt x="331184" y="223896"/>
                      <a:pt x="331184" y="232330"/>
                    </a:cubicBezTo>
                    <a:cubicBezTo>
                      <a:pt x="331184" y="240267"/>
                      <a:pt x="329200" y="240267"/>
                      <a:pt x="329200" y="248700"/>
                    </a:cubicBezTo>
                    <a:cubicBezTo>
                      <a:pt x="329200" y="256637"/>
                      <a:pt x="331184" y="256637"/>
                      <a:pt x="331184" y="265071"/>
                    </a:cubicBezTo>
                    <a:cubicBezTo>
                      <a:pt x="331184" y="273008"/>
                      <a:pt x="331184" y="273008"/>
                      <a:pt x="331184" y="281441"/>
                    </a:cubicBezTo>
                    <a:cubicBezTo>
                      <a:pt x="331184" y="289379"/>
                      <a:pt x="330688" y="289379"/>
                      <a:pt x="330688" y="297812"/>
                    </a:cubicBezTo>
                    <a:cubicBezTo>
                      <a:pt x="330688" y="305749"/>
                      <a:pt x="330192" y="305749"/>
                      <a:pt x="330192" y="314183"/>
                    </a:cubicBezTo>
                    <a:cubicBezTo>
                      <a:pt x="330192" y="322120"/>
                      <a:pt x="331184" y="322120"/>
                      <a:pt x="331184" y="330553"/>
                    </a:cubicBezTo>
                    <a:cubicBezTo>
                      <a:pt x="331184" y="338490"/>
                      <a:pt x="329200" y="338490"/>
                      <a:pt x="329200" y="346924"/>
                    </a:cubicBezTo>
                    <a:cubicBezTo>
                      <a:pt x="329200" y="354861"/>
                      <a:pt x="331184" y="354861"/>
                      <a:pt x="331184" y="363294"/>
                    </a:cubicBezTo>
                    <a:cubicBezTo>
                      <a:pt x="331184" y="371232"/>
                      <a:pt x="329696" y="371232"/>
                      <a:pt x="329696" y="379665"/>
                    </a:cubicBezTo>
                    <a:cubicBezTo>
                      <a:pt x="329696" y="387602"/>
                      <a:pt x="329696" y="387602"/>
                      <a:pt x="329696" y="396036"/>
                    </a:cubicBezTo>
                    <a:cubicBezTo>
                      <a:pt x="329696" y="403973"/>
                      <a:pt x="329696" y="403973"/>
                      <a:pt x="329696" y="412406"/>
                    </a:cubicBezTo>
                    <a:cubicBezTo>
                      <a:pt x="329696" y="420343"/>
                      <a:pt x="329696" y="420343"/>
                      <a:pt x="329696" y="428777"/>
                    </a:cubicBezTo>
                    <a:cubicBezTo>
                      <a:pt x="329696" y="436714"/>
                      <a:pt x="331680" y="436714"/>
                      <a:pt x="331680" y="445147"/>
                    </a:cubicBezTo>
                    <a:cubicBezTo>
                      <a:pt x="331680" y="453084"/>
                      <a:pt x="330192" y="453084"/>
                      <a:pt x="330192" y="461518"/>
                    </a:cubicBezTo>
                    <a:cubicBezTo>
                      <a:pt x="330192" y="469455"/>
                      <a:pt x="331184" y="469455"/>
                      <a:pt x="331184" y="477888"/>
                    </a:cubicBezTo>
                    <a:cubicBezTo>
                      <a:pt x="331184" y="485826"/>
                      <a:pt x="330192" y="485826"/>
                      <a:pt x="330192" y="494259"/>
                    </a:cubicBezTo>
                    <a:cubicBezTo>
                      <a:pt x="330192" y="502196"/>
                      <a:pt x="329696" y="502196"/>
                      <a:pt x="329696" y="510629"/>
                    </a:cubicBezTo>
                    <a:cubicBezTo>
                      <a:pt x="329696" y="518567"/>
                      <a:pt x="331184" y="518567"/>
                      <a:pt x="331184" y="527000"/>
                    </a:cubicBezTo>
                    <a:cubicBezTo>
                      <a:pt x="331184" y="534937"/>
                      <a:pt x="329696" y="534937"/>
                      <a:pt x="329696" y="543371"/>
                    </a:cubicBezTo>
                    <a:cubicBezTo>
                      <a:pt x="329696" y="551308"/>
                      <a:pt x="330192" y="551308"/>
                      <a:pt x="330192" y="559741"/>
                    </a:cubicBezTo>
                    <a:cubicBezTo>
                      <a:pt x="330192" y="567678"/>
                      <a:pt x="329200" y="567678"/>
                      <a:pt x="329200" y="576112"/>
                    </a:cubicBezTo>
                    <a:cubicBezTo>
                      <a:pt x="329200" y="584049"/>
                      <a:pt x="330688" y="584049"/>
                      <a:pt x="330688" y="592482"/>
                    </a:cubicBezTo>
                    <a:cubicBezTo>
                      <a:pt x="330688" y="600420"/>
                      <a:pt x="329200" y="600420"/>
                      <a:pt x="329200" y="608853"/>
                    </a:cubicBezTo>
                    <a:cubicBezTo>
                      <a:pt x="329200" y="616790"/>
                      <a:pt x="329696" y="616790"/>
                      <a:pt x="329696" y="625224"/>
                    </a:cubicBezTo>
                    <a:cubicBezTo>
                      <a:pt x="329696" y="633161"/>
                      <a:pt x="331184" y="633161"/>
                      <a:pt x="331184" y="64159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6" name="Freeform: Shape 1715">
                <a:extLst>
                  <a:ext uri="{FF2B5EF4-FFF2-40B4-BE49-F238E27FC236}">
                    <a16:creationId xmlns:a16="http://schemas.microsoft.com/office/drawing/2014/main" id="{CCBD30C1-A473-3734-404A-5AADBEDCAA00}"/>
                  </a:ext>
                </a:extLst>
              </p:cNvPr>
              <p:cNvSpPr/>
              <p:nvPr/>
            </p:nvSpPr>
            <p:spPr>
              <a:xfrm>
                <a:off x="5200254" y="4193114"/>
                <a:ext cx="125092" cy="54249"/>
              </a:xfrm>
              <a:custGeom>
                <a:avLst/>
                <a:gdLst>
                  <a:gd name="connsiteX0" fmla="*/ 0 w 125092"/>
                  <a:gd name="connsiteY0" fmla="*/ 2712 h 54249"/>
                  <a:gd name="connsiteX1" fmla="*/ 15379 w 125092"/>
                  <a:gd name="connsiteY1" fmla="*/ 1720 h 54249"/>
                  <a:gd name="connsiteX2" fmla="*/ 30757 w 125092"/>
                  <a:gd name="connsiteY2" fmla="*/ 3208 h 54249"/>
                  <a:gd name="connsiteX3" fmla="*/ 46135 w 125092"/>
                  <a:gd name="connsiteY3" fmla="*/ 1720 h 54249"/>
                  <a:gd name="connsiteX4" fmla="*/ 61514 w 125092"/>
                  <a:gd name="connsiteY4" fmla="*/ 2216 h 54249"/>
                  <a:gd name="connsiteX5" fmla="*/ 76892 w 125092"/>
                  <a:gd name="connsiteY5" fmla="*/ 2712 h 54249"/>
                  <a:gd name="connsiteX6" fmla="*/ 92271 w 125092"/>
                  <a:gd name="connsiteY6" fmla="*/ 3704 h 54249"/>
                  <a:gd name="connsiteX7" fmla="*/ 107649 w 125092"/>
                  <a:gd name="connsiteY7" fmla="*/ 1720 h 54249"/>
                  <a:gd name="connsiteX8" fmla="*/ 122531 w 125092"/>
                  <a:gd name="connsiteY8" fmla="*/ 2712 h 54249"/>
                  <a:gd name="connsiteX9" fmla="*/ 122035 w 125092"/>
                  <a:gd name="connsiteY9" fmla="*/ 19083 h 54249"/>
                  <a:gd name="connsiteX10" fmla="*/ 123028 w 125092"/>
                  <a:gd name="connsiteY10" fmla="*/ 35453 h 54249"/>
                  <a:gd name="connsiteX11" fmla="*/ 122531 w 125092"/>
                  <a:gd name="connsiteY11" fmla="*/ 51824 h 54249"/>
                  <a:gd name="connsiteX12" fmla="*/ 107649 w 125092"/>
                  <a:gd name="connsiteY12" fmla="*/ 51824 h 54249"/>
                  <a:gd name="connsiteX13" fmla="*/ 92271 w 125092"/>
                  <a:gd name="connsiteY13" fmla="*/ 53312 h 54249"/>
                  <a:gd name="connsiteX14" fmla="*/ 76892 w 125092"/>
                  <a:gd name="connsiteY14" fmla="*/ 51328 h 54249"/>
                  <a:gd name="connsiteX15" fmla="*/ 61514 w 125092"/>
                  <a:gd name="connsiteY15" fmla="*/ 51328 h 54249"/>
                  <a:gd name="connsiteX16" fmla="*/ 46135 w 125092"/>
                  <a:gd name="connsiteY16" fmla="*/ 51824 h 54249"/>
                  <a:gd name="connsiteX17" fmla="*/ 30757 w 125092"/>
                  <a:gd name="connsiteY17" fmla="*/ 51824 h 54249"/>
                  <a:gd name="connsiteX18" fmla="*/ 15379 w 125092"/>
                  <a:gd name="connsiteY18" fmla="*/ 50832 h 54249"/>
                  <a:gd name="connsiteX19" fmla="*/ 0 w 125092"/>
                  <a:gd name="connsiteY19" fmla="*/ 52320 h 54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5092" h="54249">
                    <a:moveTo>
                      <a:pt x="0" y="2712"/>
                    </a:moveTo>
                    <a:cubicBezTo>
                      <a:pt x="7441" y="2712"/>
                      <a:pt x="7441" y="1720"/>
                      <a:pt x="15379" y="1720"/>
                    </a:cubicBezTo>
                    <a:cubicBezTo>
                      <a:pt x="23316" y="1720"/>
                      <a:pt x="22820" y="3208"/>
                      <a:pt x="30757" y="3208"/>
                    </a:cubicBezTo>
                    <a:cubicBezTo>
                      <a:pt x="38198" y="3208"/>
                      <a:pt x="38198" y="1720"/>
                      <a:pt x="46135" y="1720"/>
                    </a:cubicBezTo>
                    <a:cubicBezTo>
                      <a:pt x="53577" y="1720"/>
                      <a:pt x="53577" y="2216"/>
                      <a:pt x="61514" y="2216"/>
                    </a:cubicBezTo>
                    <a:cubicBezTo>
                      <a:pt x="68955" y="2216"/>
                      <a:pt x="68955" y="2712"/>
                      <a:pt x="76892" y="2712"/>
                    </a:cubicBezTo>
                    <a:cubicBezTo>
                      <a:pt x="84333" y="2712"/>
                      <a:pt x="84333" y="3704"/>
                      <a:pt x="92271" y="3704"/>
                    </a:cubicBezTo>
                    <a:cubicBezTo>
                      <a:pt x="99712" y="3704"/>
                      <a:pt x="99712" y="1720"/>
                      <a:pt x="107649" y="1720"/>
                    </a:cubicBezTo>
                    <a:cubicBezTo>
                      <a:pt x="115586" y="1720"/>
                      <a:pt x="117571" y="-2745"/>
                      <a:pt x="122531" y="2712"/>
                    </a:cubicBezTo>
                    <a:cubicBezTo>
                      <a:pt x="127988" y="8665"/>
                      <a:pt x="122035" y="10650"/>
                      <a:pt x="122035" y="19083"/>
                    </a:cubicBezTo>
                    <a:cubicBezTo>
                      <a:pt x="122035" y="27516"/>
                      <a:pt x="123028" y="27516"/>
                      <a:pt x="123028" y="35453"/>
                    </a:cubicBezTo>
                    <a:cubicBezTo>
                      <a:pt x="123028" y="43391"/>
                      <a:pt x="127988" y="45375"/>
                      <a:pt x="122531" y="51824"/>
                    </a:cubicBezTo>
                    <a:cubicBezTo>
                      <a:pt x="117571" y="57281"/>
                      <a:pt x="115090" y="51824"/>
                      <a:pt x="107649" y="51824"/>
                    </a:cubicBezTo>
                    <a:cubicBezTo>
                      <a:pt x="100208" y="51824"/>
                      <a:pt x="100208" y="53312"/>
                      <a:pt x="92271" y="53312"/>
                    </a:cubicBezTo>
                    <a:cubicBezTo>
                      <a:pt x="84830" y="53312"/>
                      <a:pt x="84830" y="51328"/>
                      <a:pt x="76892" y="51328"/>
                    </a:cubicBezTo>
                    <a:cubicBezTo>
                      <a:pt x="69451" y="51328"/>
                      <a:pt x="69451" y="51328"/>
                      <a:pt x="61514" y="51328"/>
                    </a:cubicBezTo>
                    <a:cubicBezTo>
                      <a:pt x="54073" y="51328"/>
                      <a:pt x="54073" y="51824"/>
                      <a:pt x="46135" y="51824"/>
                    </a:cubicBezTo>
                    <a:cubicBezTo>
                      <a:pt x="38694" y="51824"/>
                      <a:pt x="38694" y="51824"/>
                      <a:pt x="30757" y="51824"/>
                    </a:cubicBezTo>
                    <a:cubicBezTo>
                      <a:pt x="23316" y="51824"/>
                      <a:pt x="23316" y="50832"/>
                      <a:pt x="15379" y="50832"/>
                    </a:cubicBezTo>
                    <a:cubicBezTo>
                      <a:pt x="7937" y="50832"/>
                      <a:pt x="7937" y="52320"/>
                      <a:pt x="0" y="5232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7" name="Freeform: Shape 1716">
                <a:extLst>
                  <a:ext uri="{FF2B5EF4-FFF2-40B4-BE49-F238E27FC236}">
                    <a16:creationId xmlns:a16="http://schemas.microsoft.com/office/drawing/2014/main" id="{3D3F9D1A-1DE9-9817-0D1C-92FD9326C25F}"/>
                  </a:ext>
                </a:extLst>
              </p:cNvPr>
              <p:cNvSpPr/>
              <p:nvPr/>
            </p:nvSpPr>
            <p:spPr>
              <a:xfrm>
                <a:off x="5025208" y="4193800"/>
                <a:ext cx="129903" cy="54059"/>
              </a:xfrm>
              <a:custGeom>
                <a:avLst/>
                <a:gdLst>
                  <a:gd name="connsiteX0" fmla="*/ 129407 w 129903"/>
                  <a:gd name="connsiteY0" fmla="*/ 50642 h 54059"/>
                  <a:gd name="connsiteX1" fmla="*/ 113533 w 129903"/>
                  <a:gd name="connsiteY1" fmla="*/ 52627 h 54059"/>
                  <a:gd name="connsiteX2" fmla="*/ 97658 w 129903"/>
                  <a:gd name="connsiteY2" fmla="*/ 51635 h 54059"/>
                  <a:gd name="connsiteX3" fmla="*/ 81783 w 129903"/>
                  <a:gd name="connsiteY3" fmla="*/ 51635 h 54059"/>
                  <a:gd name="connsiteX4" fmla="*/ 65909 w 129903"/>
                  <a:gd name="connsiteY4" fmla="*/ 52627 h 54059"/>
                  <a:gd name="connsiteX5" fmla="*/ 50035 w 129903"/>
                  <a:gd name="connsiteY5" fmla="*/ 52131 h 54059"/>
                  <a:gd name="connsiteX6" fmla="*/ 34160 w 129903"/>
                  <a:gd name="connsiteY6" fmla="*/ 52627 h 54059"/>
                  <a:gd name="connsiteX7" fmla="*/ 18286 w 129903"/>
                  <a:gd name="connsiteY7" fmla="*/ 51635 h 54059"/>
                  <a:gd name="connsiteX8" fmla="*/ 3403 w 129903"/>
                  <a:gd name="connsiteY8" fmla="*/ 51635 h 54059"/>
                  <a:gd name="connsiteX9" fmla="*/ 2411 w 129903"/>
                  <a:gd name="connsiteY9" fmla="*/ 35760 h 54059"/>
                  <a:gd name="connsiteX10" fmla="*/ 3403 w 129903"/>
                  <a:gd name="connsiteY10" fmla="*/ 19390 h 54059"/>
                  <a:gd name="connsiteX11" fmla="*/ 2411 w 129903"/>
                  <a:gd name="connsiteY11" fmla="*/ 2523 h 54059"/>
                  <a:gd name="connsiteX12" fmla="*/ 18781 w 129903"/>
                  <a:gd name="connsiteY12" fmla="*/ 3019 h 54059"/>
                  <a:gd name="connsiteX13" fmla="*/ 34656 w 129903"/>
                  <a:gd name="connsiteY13" fmla="*/ 2027 h 54059"/>
                  <a:gd name="connsiteX14" fmla="*/ 50531 w 129903"/>
                  <a:gd name="connsiteY14" fmla="*/ 3019 h 54059"/>
                  <a:gd name="connsiteX15" fmla="*/ 66405 w 129903"/>
                  <a:gd name="connsiteY15" fmla="*/ 4011 h 54059"/>
                  <a:gd name="connsiteX16" fmla="*/ 82280 w 129903"/>
                  <a:gd name="connsiteY16" fmla="*/ 4011 h 54059"/>
                  <a:gd name="connsiteX17" fmla="*/ 98154 w 129903"/>
                  <a:gd name="connsiteY17" fmla="*/ 4011 h 54059"/>
                  <a:gd name="connsiteX18" fmla="*/ 114028 w 129903"/>
                  <a:gd name="connsiteY18" fmla="*/ 3019 h 54059"/>
                  <a:gd name="connsiteX19" fmla="*/ 129903 w 129903"/>
                  <a:gd name="connsiteY19" fmla="*/ 3515 h 54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9903" h="54059">
                    <a:moveTo>
                      <a:pt x="129407" y="50642"/>
                    </a:moveTo>
                    <a:cubicBezTo>
                      <a:pt x="121470" y="50642"/>
                      <a:pt x="121470" y="52627"/>
                      <a:pt x="113533" y="52627"/>
                    </a:cubicBezTo>
                    <a:cubicBezTo>
                      <a:pt x="105595" y="52627"/>
                      <a:pt x="105595" y="51635"/>
                      <a:pt x="97658" y="51635"/>
                    </a:cubicBezTo>
                    <a:cubicBezTo>
                      <a:pt x="89721" y="51635"/>
                      <a:pt x="89721" y="51635"/>
                      <a:pt x="81783" y="51635"/>
                    </a:cubicBezTo>
                    <a:cubicBezTo>
                      <a:pt x="73846" y="51635"/>
                      <a:pt x="73846" y="52627"/>
                      <a:pt x="65909" y="52627"/>
                    </a:cubicBezTo>
                    <a:cubicBezTo>
                      <a:pt x="57972" y="52627"/>
                      <a:pt x="57972" y="52131"/>
                      <a:pt x="50035" y="52131"/>
                    </a:cubicBezTo>
                    <a:cubicBezTo>
                      <a:pt x="42097" y="52131"/>
                      <a:pt x="42097" y="52627"/>
                      <a:pt x="34160" y="52627"/>
                    </a:cubicBezTo>
                    <a:cubicBezTo>
                      <a:pt x="26223" y="52627"/>
                      <a:pt x="26223" y="51635"/>
                      <a:pt x="18286" y="51635"/>
                    </a:cubicBezTo>
                    <a:cubicBezTo>
                      <a:pt x="10348" y="51635"/>
                      <a:pt x="8860" y="57092"/>
                      <a:pt x="3403" y="51635"/>
                    </a:cubicBezTo>
                    <a:cubicBezTo>
                      <a:pt x="-2550" y="45682"/>
                      <a:pt x="2411" y="44193"/>
                      <a:pt x="2411" y="35760"/>
                    </a:cubicBezTo>
                    <a:cubicBezTo>
                      <a:pt x="2411" y="27327"/>
                      <a:pt x="3403" y="27327"/>
                      <a:pt x="3403" y="19390"/>
                    </a:cubicBezTo>
                    <a:cubicBezTo>
                      <a:pt x="3403" y="10956"/>
                      <a:pt x="-3542" y="8476"/>
                      <a:pt x="2411" y="2523"/>
                    </a:cubicBezTo>
                    <a:cubicBezTo>
                      <a:pt x="7868" y="-3430"/>
                      <a:pt x="10844" y="3019"/>
                      <a:pt x="18781" y="3019"/>
                    </a:cubicBezTo>
                    <a:cubicBezTo>
                      <a:pt x="26719" y="3019"/>
                      <a:pt x="26719" y="2027"/>
                      <a:pt x="34656" y="2027"/>
                    </a:cubicBezTo>
                    <a:cubicBezTo>
                      <a:pt x="42593" y="2027"/>
                      <a:pt x="42593" y="3019"/>
                      <a:pt x="50531" y="3019"/>
                    </a:cubicBezTo>
                    <a:cubicBezTo>
                      <a:pt x="58468" y="3019"/>
                      <a:pt x="58468" y="4011"/>
                      <a:pt x="66405" y="4011"/>
                    </a:cubicBezTo>
                    <a:cubicBezTo>
                      <a:pt x="74342" y="4011"/>
                      <a:pt x="74342" y="4011"/>
                      <a:pt x="82280" y="4011"/>
                    </a:cubicBezTo>
                    <a:cubicBezTo>
                      <a:pt x="90217" y="4011"/>
                      <a:pt x="90217" y="4011"/>
                      <a:pt x="98154" y="4011"/>
                    </a:cubicBezTo>
                    <a:cubicBezTo>
                      <a:pt x="106091" y="4011"/>
                      <a:pt x="106091" y="3019"/>
                      <a:pt x="114028" y="3019"/>
                    </a:cubicBezTo>
                    <a:cubicBezTo>
                      <a:pt x="121966" y="3019"/>
                      <a:pt x="121966" y="3515"/>
                      <a:pt x="129903" y="351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8" name="Freeform: Shape 1717">
                <a:extLst>
                  <a:ext uri="{FF2B5EF4-FFF2-40B4-BE49-F238E27FC236}">
                    <a16:creationId xmlns:a16="http://schemas.microsoft.com/office/drawing/2014/main" id="{FE4DE884-C8D9-360D-AD0F-2E843C22781E}"/>
                  </a:ext>
                </a:extLst>
              </p:cNvPr>
              <p:cNvSpPr/>
              <p:nvPr/>
            </p:nvSpPr>
            <p:spPr>
              <a:xfrm>
                <a:off x="5023485" y="3816523"/>
                <a:ext cx="300457" cy="654131"/>
              </a:xfrm>
              <a:custGeom>
                <a:avLst/>
                <a:gdLst>
                  <a:gd name="connsiteX0" fmla="*/ 4134 w 300457"/>
                  <a:gd name="connsiteY0" fmla="*/ 654131 h 654131"/>
                  <a:gd name="connsiteX1" fmla="*/ 3142 w 300457"/>
                  <a:gd name="connsiteY1" fmla="*/ 637761 h 654131"/>
                  <a:gd name="connsiteX2" fmla="*/ 3142 w 300457"/>
                  <a:gd name="connsiteY2" fmla="*/ 621886 h 654131"/>
                  <a:gd name="connsiteX3" fmla="*/ 2646 w 300457"/>
                  <a:gd name="connsiteY3" fmla="*/ 606012 h 654131"/>
                  <a:gd name="connsiteX4" fmla="*/ 5126 w 300457"/>
                  <a:gd name="connsiteY4" fmla="*/ 590137 h 654131"/>
                  <a:gd name="connsiteX5" fmla="*/ 3142 w 300457"/>
                  <a:gd name="connsiteY5" fmla="*/ 574262 h 654131"/>
                  <a:gd name="connsiteX6" fmla="*/ 3142 w 300457"/>
                  <a:gd name="connsiteY6" fmla="*/ 557892 h 654131"/>
                  <a:gd name="connsiteX7" fmla="*/ 5126 w 300457"/>
                  <a:gd name="connsiteY7" fmla="*/ 541521 h 654131"/>
                  <a:gd name="connsiteX8" fmla="*/ 4134 w 300457"/>
                  <a:gd name="connsiteY8" fmla="*/ 525647 h 654131"/>
                  <a:gd name="connsiteX9" fmla="*/ 4134 w 300457"/>
                  <a:gd name="connsiteY9" fmla="*/ 509772 h 654131"/>
                  <a:gd name="connsiteX10" fmla="*/ 4134 w 300457"/>
                  <a:gd name="connsiteY10" fmla="*/ 493402 h 654131"/>
                  <a:gd name="connsiteX11" fmla="*/ 4134 w 300457"/>
                  <a:gd name="connsiteY11" fmla="*/ 477031 h 654131"/>
                  <a:gd name="connsiteX12" fmla="*/ 5126 w 300457"/>
                  <a:gd name="connsiteY12" fmla="*/ 460661 h 654131"/>
                  <a:gd name="connsiteX13" fmla="*/ 3638 w 300457"/>
                  <a:gd name="connsiteY13" fmla="*/ 444290 h 654131"/>
                  <a:gd name="connsiteX14" fmla="*/ 4630 w 300457"/>
                  <a:gd name="connsiteY14" fmla="*/ 427919 h 654131"/>
                  <a:gd name="connsiteX15" fmla="*/ 4134 w 300457"/>
                  <a:gd name="connsiteY15" fmla="*/ 411549 h 654131"/>
                  <a:gd name="connsiteX16" fmla="*/ 3142 w 300457"/>
                  <a:gd name="connsiteY16" fmla="*/ 395178 h 654131"/>
                  <a:gd name="connsiteX17" fmla="*/ 4134 w 300457"/>
                  <a:gd name="connsiteY17" fmla="*/ 378808 h 654131"/>
                  <a:gd name="connsiteX18" fmla="*/ 3142 w 300457"/>
                  <a:gd name="connsiteY18" fmla="*/ 362437 h 654131"/>
                  <a:gd name="connsiteX19" fmla="*/ 3142 w 300457"/>
                  <a:gd name="connsiteY19" fmla="*/ 346067 h 654131"/>
                  <a:gd name="connsiteX20" fmla="*/ 4134 w 300457"/>
                  <a:gd name="connsiteY20" fmla="*/ 329696 h 654131"/>
                  <a:gd name="connsiteX21" fmla="*/ 4630 w 300457"/>
                  <a:gd name="connsiteY21" fmla="*/ 313326 h 654131"/>
                  <a:gd name="connsiteX22" fmla="*/ 3638 w 300457"/>
                  <a:gd name="connsiteY22" fmla="*/ 296955 h 654131"/>
                  <a:gd name="connsiteX23" fmla="*/ 4630 w 300457"/>
                  <a:gd name="connsiteY23" fmla="*/ 280585 h 654131"/>
                  <a:gd name="connsiteX24" fmla="*/ 2646 w 300457"/>
                  <a:gd name="connsiteY24" fmla="*/ 264710 h 654131"/>
                  <a:gd name="connsiteX25" fmla="*/ 2646 w 300457"/>
                  <a:gd name="connsiteY25" fmla="*/ 248835 h 654131"/>
                  <a:gd name="connsiteX26" fmla="*/ 3142 w 300457"/>
                  <a:gd name="connsiteY26" fmla="*/ 232465 h 654131"/>
                  <a:gd name="connsiteX27" fmla="*/ 3638 w 300457"/>
                  <a:gd name="connsiteY27" fmla="*/ 216590 h 654131"/>
                  <a:gd name="connsiteX28" fmla="*/ 3142 w 300457"/>
                  <a:gd name="connsiteY28" fmla="*/ 200220 h 654131"/>
                  <a:gd name="connsiteX29" fmla="*/ 2150 w 300457"/>
                  <a:gd name="connsiteY29" fmla="*/ 183849 h 654131"/>
                  <a:gd name="connsiteX30" fmla="*/ 3638 w 300457"/>
                  <a:gd name="connsiteY30" fmla="*/ 167478 h 654131"/>
                  <a:gd name="connsiteX31" fmla="*/ 4630 w 300457"/>
                  <a:gd name="connsiteY31" fmla="*/ 151108 h 654131"/>
                  <a:gd name="connsiteX32" fmla="*/ 4134 w 300457"/>
                  <a:gd name="connsiteY32" fmla="*/ 134737 h 654131"/>
                  <a:gd name="connsiteX33" fmla="*/ 4134 w 300457"/>
                  <a:gd name="connsiteY33" fmla="*/ 118367 h 654131"/>
                  <a:gd name="connsiteX34" fmla="*/ 4630 w 300457"/>
                  <a:gd name="connsiteY34" fmla="*/ 101996 h 654131"/>
                  <a:gd name="connsiteX35" fmla="*/ 2646 w 300457"/>
                  <a:gd name="connsiteY35" fmla="*/ 85626 h 654131"/>
                  <a:gd name="connsiteX36" fmla="*/ 3638 w 300457"/>
                  <a:gd name="connsiteY36" fmla="*/ 69255 h 654131"/>
                  <a:gd name="connsiteX37" fmla="*/ 3638 w 300457"/>
                  <a:gd name="connsiteY37" fmla="*/ 52885 h 654131"/>
                  <a:gd name="connsiteX38" fmla="*/ 3142 w 300457"/>
                  <a:gd name="connsiteY38" fmla="*/ 36514 h 654131"/>
                  <a:gd name="connsiteX39" fmla="*/ 2646 w 300457"/>
                  <a:gd name="connsiteY39" fmla="*/ 20144 h 654131"/>
                  <a:gd name="connsiteX40" fmla="*/ 2646 w 300457"/>
                  <a:gd name="connsiteY40" fmla="*/ 3277 h 654131"/>
                  <a:gd name="connsiteX41" fmla="*/ 19513 w 300457"/>
                  <a:gd name="connsiteY41" fmla="*/ 4269 h 654131"/>
                  <a:gd name="connsiteX42" fmla="*/ 35883 w 300457"/>
                  <a:gd name="connsiteY42" fmla="*/ 2781 h 654131"/>
                  <a:gd name="connsiteX43" fmla="*/ 52254 w 300457"/>
                  <a:gd name="connsiteY43" fmla="*/ 3773 h 654131"/>
                  <a:gd name="connsiteX44" fmla="*/ 68624 w 300457"/>
                  <a:gd name="connsiteY44" fmla="*/ 3773 h 654131"/>
                  <a:gd name="connsiteX45" fmla="*/ 84995 w 300457"/>
                  <a:gd name="connsiteY45" fmla="*/ 3773 h 654131"/>
                  <a:gd name="connsiteX46" fmla="*/ 101365 w 300457"/>
                  <a:gd name="connsiteY46" fmla="*/ 4269 h 654131"/>
                  <a:gd name="connsiteX47" fmla="*/ 117736 w 300457"/>
                  <a:gd name="connsiteY47" fmla="*/ 2781 h 654131"/>
                  <a:gd name="connsiteX48" fmla="*/ 134106 w 300457"/>
                  <a:gd name="connsiteY48" fmla="*/ 2285 h 654131"/>
                  <a:gd name="connsiteX49" fmla="*/ 150477 w 300457"/>
                  <a:gd name="connsiteY49" fmla="*/ 2781 h 654131"/>
                  <a:gd name="connsiteX50" fmla="*/ 166847 w 300457"/>
                  <a:gd name="connsiteY50" fmla="*/ 2285 h 654131"/>
                  <a:gd name="connsiteX51" fmla="*/ 183218 w 300457"/>
                  <a:gd name="connsiteY51" fmla="*/ 2285 h 654131"/>
                  <a:gd name="connsiteX52" fmla="*/ 199589 w 300457"/>
                  <a:gd name="connsiteY52" fmla="*/ 3773 h 654131"/>
                  <a:gd name="connsiteX53" fmla="*/ 215959 w 300457"/>
                  <a:gd name="connsiteY53" fmla="*/ 2285 h 654131"/>
                  <a:gd name="connsiteX54" fmla="*/ 232330 w 300457"/>
                  <a:gd name="connsiteY54" fmla="*/ 3773 h 654131"/>
                  <a:gd name="connsiteX55" fmla="*/ 248700 w 300457"/>
                  <a:gd name="connsiteY55" fmla="*/ 3277 h 654131"/>
                  <a:gd name="connsiteX56" fmla="*/ 265071 w 300457"/>
                  <a:gd name="connsiteY56" fmla="*/ 3277 h 654131"/>
                  <a:gd name="connsiteX57" fmla="*/ 281442 w 300457"/>
                  <a:gd name="connsiteY57" fmla="*/ 2285 h 654131"/>
                  <a:gd name="connsiteX58" fmla="*/ 297812 w 300457"/>
                  <a:gd name="connsiteY58" fmla="*/ 2781 h 654131"/>
                  <a:gd name="connsiteX59" fmla="*/ 297812 w 300457"/>
                  <a:gd name="connsiteY59" fmla="*/ 19151 h 654131"/>
                  <a:gd name="connsiteX60" fmla="*/ 296820 w 300457"/>
                  <a:gd name="connsiteY60" fmla="*/ 35522 h 654131"/>
                  <a:gd name="connsiteX61" fmla="*/ 296820 w 300457"/>
                  <a:gd name="connsiteY61" fmla="*/ 51892 h 654131"/>
                  <a:gd name="connsiteX62" fmla="*/ 296820 w 300457"/>
                  <a:gd name="connsiteY62" fmla="*/ 68263 h 654131"/>
                  <a:gd name="connsiteX63" fmla="*/ 298308 w 300457"/>
                  <a:gd name="connsiteY63" fmla="*/ 84634 h 654131"/>
                  <a:gd name="connsiteX64" fmla="*/ 297316 w 300457"/>
                  <a:gd name="connsiteY64" fmla="*/ 101004 h 654131"/>
                  <a:gd name="connsiteX65" fmla="*/ 298308 w 300457"/>
                  <a:gd name="connsiteY65" fmla="*/ 117375 h 654131"/>
                  <a:gd name="connsiteX66" fmla="*/ 298308 w 300457"/>
                  <a:gd name="connsiteY66" fmla="*/ 133745 h 654131"/>
                  <a:gd name="connsiteX67" fmla="*/ 298308 w 300457"/>
                  <a:gd name="connsiteY67" fmla="*/ 150116 h 654131"/>
                  <a:gd name="connsiteX68" fmla="*/ 298308 w 300457"/>
                  <a:gd name="connsiteY68" fmla="*/ 166487 h 654131"/>
                  <a:gd name="connsiteX69" fmla="*/ 297316 w 300457"/>
                  <a:gd name="connsiteY69" fmla="*/ 182857 h 654131"/>
                  <a:gd name="connsiteX70" fmla="*/ 298308 w 300457"/>
                  <a:gd name="connsiteY70" fmla="*/ 199228 h 654131"/>
                  <a:gd name="connsiteX71" fmla="*/ 297316 w 300457"/>
                  <a:gd name="connsiteY71" fmla="*/ 215598 h 654131"/>
                  <a:gd name="connsiteX72" fmla="*/ 296820 w 300457"/>
                  <a:gd name="connsiteY72" fmla="*/ 231969 h 654131"/>
                  <a:gd name="connsiteX73" fmla="*/ 298308 w 300457"/>
                  <a:gd name="connsiteY73" fmla="*/ 248339 h 654131"/>
                  <a:gd name="connsiteX74" fmla="*/ 296820 w 300457"/>
                  <a:gd name="connsiteY74" fmla="*/ 264710 h 654131"/>
                  <a:gd name="connsiteX75" fmla="*/ 297812 w 300457"/>
                  <a:gd name="connsiteY75" fmla="*/ 281080 h 654131"/>
                  <a:gd name="connsiteX76" fmla="*/ 298308 w 300457"/>
                  <a:gd name="connsiteY76" fmla="*/ 297451 h 654131"/>
                  <a:gd name="connsiteX77" fmla="*/ 297812 w 300457"/>
                  <a:gd name="connsiteY77" fmla="*/ 313821 h 654131"/>
                  <a:gd name="connsiteX78" fmla="*/ 297812 w 300457"/>
                  <a:gd name="connsiteY78" fmla="*/ 330192 h 654131"/>
                  <a:gd name="connsiteX79" fmla="*/ 297316 w 300457"/>
                  <a:gd name="connsiteY79" fmla="*/ 346563 h 654131"/>
                  <a:gd name="connsiteX80" fmla="*/ 296324 w 300457"/>
                  <a:gd name="connsiteY80" fmla="*/ 362933 h 654131"/>
                  <a:gd name="connsiteX81" fmla="*/ 296820 w 300457"/>
                  <a:gd name="connsiteY81" fmla="*/ 379304 h 654131"/>
                  <a:gd name="connsiteX82" fmla="*/ 295828 w 300457"/>
                  <a:gd name="connsiteY82" fmla="*/ 395674 h 654131"/>
                  <a:gd name="connsiteX83" fmla="*/ 296820 w 300457"/>
                  <a:gd name="connsiteY83" fmla="*/ 412045 h 654131"/>
                  <a:gd name="connsiteX84" fmla="*/ 297812 w 300457"/>
                  <a:gd name="connsiteY84" fmla="*/ 428416 h 654131"/>
                  <a:gd name="connsiteX85" fmla="*/ 297316 w 300457"/>
                  <a:gd name="connsiteY85" fmla="*/ 444786 h 654131"/>
                  <a:gd name="connsiteX86" fmla="*/ 297316 w 300457"/>
                  <a:gd name="connsiteY86" fmla="*/ 461157 h 654131"/>
                  <a:gd name="connsiteX87" fmla="*/ 297316 w 300457"/>
                  <a:gd name="connsiteY87" fmla="*/ 477527 h 654131"/>
                  <a:gd name="connsiteX88" fmla="*/ 296820 w 300457"/>
                  <a:gd name="connsiteY88" fmla="*/ 493898 h 654131"/>
                  <a:gd name="connsiteX89" fmla="*/ 295332 w 300457"/>
                  <a:gd name="connsiteY89" fmla="*/ 510269 h 654131"/>
                  <a:gd name="connsiteX90" fmla="*/ 296820 w 300457"/>
                  <a:gd name="connsiteY90" fmla="*/ 526639 h 654131"/>
                  <a:gd name="connsiteX91" fmla="*/ 296820 w 300457"/>
                  <a:gd name="connsiteY91" fmla="*/ 543010 h 654131"/>
                  <a:gd name="connsiteX92" fmla="*/ 296820 w 300457"/>
                  <a:gd name="connsiteY92" fmla="*/ 559380 h 654131"/>
                  <a:gd name="connsiteX93" fmla="*/ 295332 w 300457"/>
                  <a:gd name="connsiteY93" fmla="*/ 575751 h 654131"/>
                  <a:gd name="connsiteX94" fmla="*/ 295332 w 300457"/>
                  <a:gd name="connsiteY94" fmla="*/ 592121 h 654131"/>
                  <a:gd name="connsiteX95" fmla="*/ 296324 w 300457"/>
                  <a:gd name="connsiteY95" fmla="*/ 608492 h 654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300457" h="654131">
                    <a:moveTo>
                      <a:pt x="4134" y="654131"/>
                    </a:moveTo>
                    <a:cubicBezTo>
                      <a:pt x="4134" y="646194"/>
                      <a:pt x="3142" y="646194"/>
                      <a:pt x="3142" y="637761"/>
                    </a:cubicBezTo>
                    <a:cubicBezTo>
                      <a:pt x="3142" y="629823"/>
                      <a:pt x="3142" y="629823"/>
                      <a:pt x="3142" y="621886"/>
                    </a:cubicBezTo>
                    <a:cubicBezTo>
                      <a:pt x="3142" y="613949"/>
                      <a:pt x="2646" y="613949"/>
                      <a:pt x="2646" y="606012"/>
                    </a:cubicBezTo>
                    <a:cubicBezTo>
                      <a:pt x="2646" y="598074"/>
                      <a:pt x="5126" y="598074"/>
                      <a:pt x="5126" y="590137"/>
                    </a:cubicBezTo>
                    <a:cubicBezTo>
                      <a:pt x="5126" y="582200"/>
                      <a:pt x="3142" y="582200"/>
                      <a:pt x="3142" y="574262"/>
                    </a:cubicBezTo>
                    <a:cubicBezTo>
                      <a:pt x="3142" y="566325"/>
                      <a:pt x="3142" y="566325"/>
                      <a:pt x="3142" y="557892"/>
                    </a:cubicBezTo>
                    <a:cubicBezTo>
                      <a:pt x="3142" y="549955"/>
                      <a:pt x="5126" y="549955"/>
                      <a:pt x="5126" y="541521"/>
                    </a:cubicBezTo>
                    <a:cubicBezTo>
                      <a:pt x="5126" y="533584"/>
                      <a:pt x="4134" y="533584"/>
                      <a:pt x="4134" y="525647"/>
                    </a:cubicBezTo>
                    <a:cubicBezTo>
                      <a:pt x="4134" y="517710"/>
                      <a:pt x="4134" y="517710"/>
                      <a:pt x="4134" y="509772"/>
                    </a:cubicBezTo>
                    <a:cubicBezTo>
                      <a:pt x="4134" y="501835"/>
                      <a:pt x="4134" y="501835"/>
                      <a:pt x="4134" y="493402"/>
                    </a:cubicBezTo>
                    <a:cubicBezTo>
                      <a:pt x="4134" y="485465"/>
                      <a:pt x="4134" y="485465"/>
                      <a:pt x="4134" y="477031"/>
                    </a:cubicBezTo>
                    <a:cubicBezTo>
                      <a:pt x="4134" y="469094"/>
                      <a:pt x="5126" y="469094"/>
                      <a:pt x="5126" y="460661"/>
                    </a:cubicBezTo>
                    <a:cubicBezTo>
                      <a:pt x="5126" y="452723"/>
                      <a:pt x="3638" y="452723"/>
                      <a:pt x="3638" y="444290"/>
                    </a:cubicBezTo>
                    <a:cubicBezTo>
                      <a:pt x="3638" y="436353"/>
                      <a:pt x="4630" y="436353"/>
                      <a:pt x="4630" y="427919"/>
                    </a:cubicBezTo>
                    <a:cubicBezTo>
                      <a:pt x="4630" y="419982"/>
                      <a:pt x="4134" y="419982"/>
                      <a:pt x="4134" y="411549"/>
                    </a:cubicBezTo>
                    <a:cubicBezTo>
                      <a:pt x="4134" y="403612"/>
                      <a:pt x="3142" y="403612"/>
                      <a:pt x="3142" y="395178"/>
                    </a:cubicBezTo>
                    <a:cubicBezTo>
                      <a:pt x="3142" y="387241"/>
                      <a:pt x="4134" y="387241"/>
                      <a:pt x="4134" y="378808"/>
                    </a:cubicBezTo>
                    <a:cubicBezTo>
                      <a:pt x="4134" y="370870"/>
                      <a:pt x="3142" y="370870"/>
                      <a:pt x="3142" y="362437"/>
                    </a:cubicBezTo>
                    <a:cubicBezTo>
                      <a:pt x="3142" y="354500"/>
                      <a:pt x="3142" y="354500"/>
                      <a:pt x="3142" y="346067"/>
                    </a:cubicBezTo>
                    <a:cubicBezTo>
                      <a:pt x="3142" y="338129"/>
                      <a:pt x="4134" y="338129"/>
                      <a:pt x="4134" y="329696"/>
                    </a:cubicBezTo>
                    <a:cubicBezTo>
                      <a:pt x="4134" y="321759"/>
                      <a:pt x="4630" y="321759"/>
                      <a:pt x="4630" y="313326"/>
                    </a:cubicBezTo>
                    <a:cubicBezTo>
                      <a:pt x="4630" y="305388"/>
                      <a:pt x="3638" y="305388"/>
                      <a:pt x="3638" y="296955"/>
                    </a:cubicBezTo>
                    <a:cubicBezTo>
                      <a:pt x="3638" y="289018"/>
                      <a:pt x="4630" y="289018"/>
                      <a:pt x="4630" y="280585"/>
                    </a:cubicBezTo>
                    <a:cubicBezTo>
                      <a:pt x="4630" y="272647"/>
                      <a:pt x="2646" y="272647"/>
                      <a:pt x="2646" y="264710"/>
                    </a:cubicBezTo>
                    <a:cubicBezTo>
                      <a:pt x="2646" y="256773"/>
                      <a:pt x="2646" y="256773"/>
                      <a:pt x="2646" y="248835"/>
                    </a:cubicBezTo>
                    <a:cubicBezTo>
                      <a:pt x="2646" y="240898"/>
                      <a:pt x="3142" y="240898"/>
                      <a:pt x="3142" y="232465"/>
                    </a:cubicBezTo>
                    <a:cubicBezTo>
                      <a:pt x="3142" y="224527"/>
                      <a:pt x="3638" y="224527"/>
                      <a:pt x="3638" y="216590"/>
                    </a:cubicBezTo>
                    <a:cubicBezTo>
                      <a:pt x="3638" y="208653"/>
                      <a:pt x="3142" y="208653"/>
                      <a:pt x="3142" y="200220"/>
                    </a:cubicBezTo>
                    <a:cubicBezTo>
                      <a:pt x="3142" y="192282"/>
                      <a:pt x="2150" y="192282"/>
                      <a:pt x="2150" y="183849"/>
                    </a:cubicBezTo>
                    <a:cubicBezTo>
                      <a:pt x="2150" y="175912"/>
                      <a:pt x="3638" y="175912"/>
                      <a:pt x="3638" y="167478"/>
                    </a:cubicBezTo>
                    <a:cubicBezTo>
                      <a:pt x="3638" y="159541"/>
                      <a:pt x="4630" y="159541"/>
                      <a:pt x="4630" y="151108"/>
                    </a:cubicBezTo>
                    <a:cubicBezTo>
                      <a:pt x="4630" y="143171"/>
                      <a:pt x="4134" y="143171"/>
                      <a:pt x="4134" y="134737"/>
                    </a:cubicBezTo>
                    <a:cubicBezTo>
                      <a:pt x="4134" y="126800"/>
                      <a:pt x="4134" y="126800"/>
                      <a:pt x="4134" y="118367"/>
                    </a:cubicBezTo>
                    <a:cubicBezTo>
                      <a:pt x="4134" y="110430"/>
                      <a:pt x="4630" y="110430"/>
                      <a:pt x="4630" y="101996"/>
                    </a:cubicBezTo>
                    <a:cubicBezTo>
                      <a:pt x="4630" y="94059"/>
                      <a:pt x="2646" y="94059"/>
                      <a:pt x="2646" y="85626"/>
                    </a:cubicBezTo>
                    <a:cubicBezTo>
                      <a:pt x="2646" y="77689"/>
                      <a:pt x="3638" y="77689"/>
                      <a:pt x="3638" y="69255"/>
                    </a:cubicBezTo>
                    <a:cubicBezTo>
                      <a:pt x="3638" y="61318"/>
                      <a:pt x="3638" y="61318"/>
                      <a:pt x="3638" y="52885"/>
                    </a:cubicBezTo>
                    <a:cubicBezTo>
                      <a:pt x="3638" y="44947"/>
                      <a:pt x="3142" y="44947"/>
                      <a:pt x="3142" y="36514"/>
                    </a:cubicBezTo>
                    <a:cubicBezTo>
                      <a:pt x="3142" y="28577"/>
                      <a:pt x="2646" y="28577"/>
                      <a:pt x="2646" y="20144"/>
                    </a:cubicBezTo>
                    <a:cubicBezTo>
                      <a:pt x="2646" y="11710"/>
                      <a:pt x="-3307" y="9230"/>
                      <a:pt x="2646" y="3277"/>
                    </a:cubicBezTo>
                    <a:cubicBezTo>
                      <a:pt x="8599" y="-2676"/>
                      <a:pt x="11079" y="4269"/>
                      <a:pt x="19513" y="4269"/>
                    </a:cubicBezTo>
                    <a:cubicBezTo>
                      <a:pt x="27450" y="4269"/>
                      <a:pt x="27450" y="2781"/>
                      <a:pt x="35883" y="2781"/>
                    </a:cubicBezTo>
                    <a:cubicBezTo>
                      <a:pt x="43820" y="2781"/>
                      <a:pt x="43820" y="3773"/>
                      <a:pt x="52254" y="3773"/>
                    </a:cubicBezTo>
                    <a:cubicBezTo>
                      <a:pt x="60687" y="3773"/>
                      <a:pt x="60687" y="3773"/>
                      <a:pt x="68624" y="3773"/>
                    </a:cubicBezTo>
                    <a:cubicBezTo>
                      <a:pt x="76562" y="3773"/>
                      <a:pt x="76562" y="3773"/>
                      <a:pt x="84995" y="3773"/>
                    </a:cubicBezTo>
                    <a:cubicBezTo>
                      <a:pt x="93428" y="3773"/>
                      <a:pt x="93428" y="4269"/>
                      <a:pt x="101365" y="4269"/>
                    </a:cubicBezTo>
                    <a:cubicBezTo>
                      <a:pt x="109303" y="4269"/>
                      <a:pt x="109303" y="2781"/>
                      <a:pt x="117736" y="2781"/>
                    </a:cubicBezTo>
                    <a:cubicBezTo>
                      <a:pt x="126169" y="2781"/>
                      <a:pt x="126169" y="2285"/>
                      <a:pt x="134106" y="2285"/>
                    </a:cubicBezTo>
                    <a:cubicBezTo>
                      <a:pt x="142540" y="2285"/>
                      <a:pt x="142540" y="2781"/>
                      <a:pt x="150477" y="2781"/>
                    </a:cubicBezTo>
                    <a:cubicBezTo>
                      <a:pt x="158910" y="2781"/>
                      <a:pt x="158910" y="2285"/>
                      <a:pt x="166847" y="2285"/>
                    </a:cubicBezTo>
                    <a:cubicBezTo>
                      <a:pt x="175281" y="2285"/>
                      <a:pt x="175281" y="2285"/>
                      <a:pt x="183218" y="2285"/>
                    </a:cubicBezTo>
                    <a:cubicBezTo>
                      <a:pt x="191651" y="2285"/>
                      <a:pt x="191651" y="3773"/>
                      <a:pt x="199589" y="3773"/>
                    </a:cubicBezTo>
                    <a:cubicBezTo>
                      <a:pt x="208022" y="3773"/>
                      <a:pt x="208022" y="2285"/>
                      <a:pt x="215959" y="2285"/>
                    </a:cubicBezTo>
                    <a:cubicBezTo>
                      <a:pt x="224393" y="2285"/>
                      <a:pt x="224393" y="3773"/>
                      <a:pt x="232330" y="3773"/>
                    </a:cubicBezTo>
                    <a:cubicBezTo>
                      <a:pt x="240763" y="3773"/>
                      <a:pt x="240763" y="3277"/>
                      <a:pt x="248700" y="3277"/>
                    </a:cubicBezTo>
                    <a:cubicBezTo>
                      <a:pt x="257134" y="3277"/>
                      <a:pt x="257134" y="3277"/>
                      <a:pt x="265071" y="3277"/>
                    </a:cubicBezTo>
                    <a:cubicBezTo>
                      <a:pt x="273504" y="3277"/>
                      <a:pt x="273504" y="2285"/>
                      <a:pt x="281442" y="2285"/>
                    </a:cubicBezTo>
                    <a:cubicBezTo>
                      <a:pt x="289379" y="2285"/>
                      <a:pt x="291859" y="-3172"/>
                      <a:pt x="297812" y="2781"/>
                    </a:cubicBezTo>
                    <a:cubicBezTo>
                      <a:pt x="303765" y="8734"/>
                      <a:pt x="297812" y="10718"/>
                      <a:pt x="297812" y="19151"/>
                    </a:cubicBezTo>
                    <a:cubicBezTo>
                      <a:pt x="297812" y="27585"/>
                      <a:pt x="296820" y="27585"/>
                      <a:pt x="296820" y="35522"/>
                    </a:cubicBezTo>
                    <a:cubicBezTo>
                      <a:pt x="296820" y="43955"/>
                      <a:pt x="296820" y="43955"/>
                      <a:pt x="296820" y="51892"/>
                    </a:cubicBezTo>
                    <a:cubicBezTo>
                      <a:pt x="296820" y="60326"/>
                      <a:pt x="296820" y="60326"/>
                      <a:pt x="296820" y="68263"/>
                    </a:cubicBezTo>
                    <a:cubicBezTo>
                      <a:pt x="296820" y="76696"/>
                      <a:pt x="298308" y="76696"/>
                      <a:pt x="298308" y="84634"/>
                    </a:cubicBezTo>
                    <a:cubicBezTo>
                      <a:pt x="298308" y="93067"/>
                      <a:pt x="297316" y="93067"/>
                      <a:pt x="297316" y="101004"/>
                    </a:cubicBezTo>
                    <a:cubicBezTo>
                      <a:pt x="297316" y="109438"/>
                      <a:pt x="298308" y="109438"/>
                      <a:pt x="298308" y="117375"/>
                    </a:cubicBezTo>
                    <a:cubicBezTo>
                      <a:pt x="298308" y="125808"/>
                      <a:pt x="298308" y="125808"/>
                      <a:pt x="298308" y="133745"/>
                    </a:cubicBezTo>
                    <a:cubicBezTo>
                      <a:pt x="298308" y="142179"/>
                      <a:pt x="298308" y="142179"/>
                      <a:pt x="298308" y="150116"/>
                    </a:cubicBezTo>
                    <a:cubicBezTo>
                      <a:pt x="298308" y="158549"/>
                      <a:pt x="298308" y="158549"/>
                      <a:pt x="298308" y="166487"/>
                    </a:cubicBezTo>
                    <a:cubicBezTo>
                      <a:pt x="298308" y="174920"/>
                      <a:pt x="297316" y="174920"/>
                      <a:pt x="297316" y="182857"/>
                    </a:cubicBezTo>
                    <a:cubicBezTo>
                      <a:pt x="297316" y="191290"/>
                      <a:pt x="298308" y="191290"/>
                      <a:pt x="298308" y="199228"/>
                    </a:cubicBezTo>
                    <a:cubicBezTo>
                      <a:pt x="298308" y="207661"/>
                      <a:pt x="297316" y="207661"/>
                      <a:pt x="297316" y="215598"/>
                    </a:cubicBezTo>
                    <a:cubicBezTo>
                      <a:pt x="297316" y="224031"/>
                      <a:pt x="296820" y="224031"/>
                      <a:pt x="296820" y="231969"/>
                    </a:cubicBezTo>
                    <a:cubicBezTo>
                      <a:pt x="296820" y="240402"/>
                      <a:pt x="298308" y="240402"/>
                      <a:pt x="298308" y="248339"/>
                    </a:cubicBezTo>
                    <a:cubicBezTo>
                      <a:pt x="298308" y="256773"/>
                      <a:pt x="296820" y="256773"/>
                      <a:pt x="296820" y="264710"/>
                    </a:cubicBezTo>
                    <a:cubicBezTo>
                      <a:pt x="296820" y="273143"/>
                      <a:pt x="297812" y="273143"/>
                      <a:pt x="297812" y="281080"/>
                    </a:cubicBezTo>
                    <a:cubicBezTo>
                      <a:pt x="297812" y="289514"/>
                      <a:pt x="298308" y="289514"/>
                      <a:pt x="298308" y="297451"/>
                    </a:cubicBezTo>
                    <a:cubicBezTo>
                      <a:pt x="298308" y="305884"/>
                      <a:pt x="297812" y="305884"/>
                      <a:pt x="297812" y="313821"/>
                    </a:cubicBezTo>
                    <a:cubicBezTo>
                      <a:pt x="297812" y="322255"/>
                      <a:pt x="297812" y="322255"/>
                      <a:pt x="297812" y="330192"/>
                    </a:cubicBezTo>
                    <a:cubicBezTo>
                      <a:pt x="297812" y="338625"/>
                      <a:pt x="297316" y="338625"/>
                      <a:pt x="297316" y="346563"/>
                    </a:cubicBezTo>
                    <a:cubicBezTo>
                      <a:pt x="297316" y="354996"/>
                      <a:pt x="296324" y="354996"/>
                      <a:pt x="296324" y="362933"/>
                    </a:cubicBezTo>
                    <a:cubicBezTo>
                      <a:pt x="296324" y="371367"/>
                      <a:pt x="296820" y="371367"/>
                      <a:pt x="296820" y="379304"/>
                    </a:cubicBezTo>
                    <a:cubicBezTo>
                      <a:pt x="296820" y="387737"/>
                      <a:pt x="295828" y="387737"/>
                      <a:pt x="295828" y="395674"/>
                    </a:cubicBezTo>
                    <a:cubicBezTo>
                      <a:pt x="295828" y="404108"/>
                      <a:pt x="296820" y="404108"/>
                      <a:pt x="296820" y="412045"/>
                    </a:cubicBezTo>
                    <a:cubicBezTo>
                      <a:pt x="296820" y="420478"/>
                      <a:pt x="297812" y="420478"/>
                      <a:pt x="297812" y="428416"/>
                    </a:cubicBezTo>
                    <a:cubicBezTo>
                      <a:pt x="297812" y="436849"/>
                      <a:pt x="297316" y="436849"/>
                      <a:pt x="297316" y="444786"/>
                    </a:cubicBezTo>
                    <a:cubicBezTo>
                      <a:pt x="297316" y="453220"/>
                      <a:pt x="297316" y="453220"/>
                      <a:pt x="297316" y="461157"/>
                    </a:cubicBezTo>
                    <a:cubicBezTo>
                      <a:pt x="297316" y="469590"/>
                      <a:pt x="297316" y="469590"/>
                      <a:pt x="297316" y="477527"/>
                    </a:cubicBezTo>
                    <a:cubicBezTo>
                      <a:pt x="297316" y="485961"/>
                      <a:pt x="296820" y="485961"/>
                      <a:pt x="296820" y="493898"/>
                    </a:cubicBezTo>
                    <a:cubicBezTo>
                      <a:pt x="296820" y="502331"/>
                      <a:pt x="295332" y="502331"/>
                      <a:pt x="295332" y="510269"/>
                    </a:cubicBezTo>
                    <a:cubicBezTo>
                      <a:pt x="295332" y="518702"/>
                      <a:pt x="296820" y="518702"/>
                      <a:pt x="296820" y="526639"/>
                    </a:cubicBezTo>
                    <a:cubicBezTo>
                      <a:pt x="296820" y="535072"/>
                      <a:pt x="296820" y="535072"/>
                      <a:pt x="296820" y="543010"/>
                    </a:cubicBezTo>
                    <a:cubicBezTo>
                      <a:pt x="296820" y="551443"/>
                      <a:pt x="296820" y="551443"/>
                      <a:pt x="296820" y="559380"/>
                    </a:cubicBezTo>
                    <a:cubicBezTo>
                      <a:pt x="296820" y="567813"/>
                      <a:pt x="295332" y="567813"/>
                      <a:pt x="295332" y="575751"/>
                    </a:cubicBezTo>
                    <a:cubicBezTo>
                      <a:pt x="295332" y="584184"/>
                      <a:pt x="295332" y="584184"/>
                      <a:pt x="295332" y="592121"/>
                    </a:cubicBezTo>
                    <a:cubicBezTo>
                      <a:pt x="295332" y="600059"/>
                      <a:pt x="296324" y="600555"/>
                      <a:pt x="296324" y="6084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7E69CDDC-749B-63AB-62B4-C3F109283C30}"/>
                </a:ext>
              </a:extLst>
            </p:cNvPr>
            <p:cNvSpPr/>
            <p:nvPr/>
          </p:nvSpPr>
          <p:spPr>
            <a:xfrm>
              <a:off x="5153127" y="3820295"/>
              <a:ext cx="3472" cy="650358"/>
            </a:xfrm>
            <a:custGeom>
              <a:avLst/>
              <a:gdLst>
                <a:gd name="connsiteX0" fmla="*/ 1984 w 3472"/>
                <a:gd name="connsiteY0" fmla="*/ 650358 h 650358"/>
                <a:gd name="connsiteX1" fmla="*/ 2480 w 3472"/>
                <a:gd name="connsiteY1" fmla="*/ 633988 h 650358"/>
                <a:gd name="connsiteX2" fmla="*/ 1984 w 3472"/>
                <a:gd name="connsiteY2" fmla="*/ 618113 h 650358"/>
                <a:gd name="connsiteX3" fmla="*/ 1488 w 3472"/>
                <a:gd name="connsiteY3" fmla="*/ 602239 h 650358"/>
                <a:gd name="connsiteX4" fmla="*/ 2977 w 3472"/>
                <a:gd name="connsiteY4" fmla="*/ 586364 h 650358"/>
                <a:gd name="connsiteX5" fmla="*/ 1984 w 3472"/>
                <a:gd name="connsiteY5" fmla="*/ 570490 h 650358"/>
                <a:gd name="connsiteX6" fmla="*/ 992 w 3472"/>
                <a:gd name="connsiteY6" fmla="*/ 554119 h 650358"/>
                <a:gd name="connsiteX7" fmla="*/ 496 w 3472"/>
                <a:gd name="connsiteY7" fmla="*/ 537749 h 650358"/>
                <a:gd name="connsiteX8" fmla="*/ 992 w 3472"/>
                <a:gd name="connsiteY8" fmla="*/ 521874 h 650358"/>
                <a:gd name="connsiteX9" fmla="*/ 1984 w 3472"/>
                <a:gd name="connsiteY9" fmla="*/ 505999 h 650358"/>
                <a:gd name="connsiteX10" fmla="*/ 2480 w 3472"/>
                <a:gd name="connsiteY10" fmla="*/ 489629 h 650358"/>
                <a:gd name="connsiteX11" fmla="*/ 992 w 3472"/>
                <a:gd name="connsiteY11" fmla="*/ 473258 h 650358"/>
                <a:gd name="connsiteX12" fmla="*/ 0 w 3472"/>
                <a:gd name="connsiteY12" fmla="*/ 456888 h 650358"/>
                <a:gd name="connsiteX13" fmla="*/ 1488 w 3472"/>
                <a:gd name="connsiteY13" fmla="*/ 440517 h 650358"/>
                <a:gd name="connsiteX14" fmla="*/ 1984 w 3472"/>
                <a:gd name="connsiteY14" fmla="*/ 424147 h 650358"/>
                <a:gd name="connsiteX15" fmla="*/ 1488 w 3472"/>
                <a:gd name="connsiteY15" fmla="*/ 407776 h 650358"/>
                <a:gd name="connsiteX16" fmla="*/ 1984 w 3472"/>
                <a:gd name="connsiteY16" fmla="*/ 391406 h 650358"/>
                <a:gd name="connsiteX17" fmla="*/ 1984 w 3472"/>
                <a:gd name="connsiteY17" fmla="*/ 375035 h 650358"/>
                <a:gd name="connsiteX18" fmla="*/ 2480 w 3472"/>
                <a:gd name="connsiteY18" fmla="*/ 358665 h 650358"/>
                <a:gd name="connsiteX19" fmla="*/ 992 w 3472"/>
                <a:gd name="connsiteY19" fmla="*/ 342294 h 650358"/>
                <a:gd name="connsiteX20" fmla="*/ 992 w 3472"/>
                <a:gd name="connsiteY20" fmla="*/ 325923 h 650358"/>
                <a:gd name="connsiteX21" fmla="*/ 992 w 3472"/>
                <a:gd name="connsiteY21" fmla="*/ 309553 h 650358"/>
                <a:gd name="connsiteX22" fmla="*/ 2977 w 3472"/>
                <a:gd name="connsiteY22" fmla="*/ 293182 h 650358"/>
                <a:gd name="connsiteX23" fmla="*/ 1984 w 3472"/>
                <a:gd name="connsiteY23" fmla="*/ 276812 h 650358"/>
                <a:gd name="connsiteX24" fmla="*/ 1984 w 3472"/>
                <a:gd name="connsiteY24" fmla="*/ 260937 h 650358"/>
                <a:gd name="connsiteX25" fmla="*/ 2977 w 3472"/>
                <a:gd name="connsiteY25" fmla="*/ 245063 h 650358"/>
                <a:gd name="connsiteX26" fmla="*/ 992 w 3472"/>
                <a:gd name="connsiteY26" fmla="*/ 228692 h 650358"/>
                <a:gd name="connsiteX27" fmla="*/ 1984 w 3472"/>
                <a:gd name="connsiteY27" fmla="*/ 212818 h 650358"/>
                <a:gd name="connsiteX28" fmla="*/ 2480 w 3472"/>
                <a:gd name="connsiteY28" fmla="*/ 196447 h 650358"/>
                <a:gd name="connsiteX29" fmla="*/ 1984 w 3472"/>
                <a:gd name="connsiteY29" fmla="*/ 180077 h 650358"/>
                <a:gd name="connsiteX30" fmla="*/ 1984 w 3472"/>
                <a:gd name="connsiteY30" fmla="*/ 163706 h 650358"/>
                <a:gd name="connsiteX31" fmla="*/ 3473 w 3472"/>
                <a:gd name="connsiteY31" fmla="*/ 147335 h 650358"/>
                <a:gd name="connsiteX32" fmla="*/ 3473 w 3472"/>
                <a:gd name="connsiteY32" fmla="*/ 130965 h 650358"/>
                <a:gd name="connsiteX33" fmla="*/ 2977 w 3472"/>
                <a:gd name="connsiteY33" fmla="*/ 114594 h 650358"/>
                <a:gd name="connsiteX34" fmla="*/ 2480 w 3472"/>
                <a:gd name="connsiteY34" fmla="*/ 98224 h 650358"/>
                <a:gd name="connsiteX35" fmla="*/ 3473 w 3472"/>
                <a:gd name="connsiteY35" fmla="*/ 81853 h 650358"/>
                <a:gd name="connsiteX36" fmla="*/ 1984 w 3472"/>
                <a:gd name="connsiteY36" fmla="*/ 65482 h 650358"/>
                <a:gd name="connsiteX37" fmla="*/ 2480 w 3472"/>
                <a:gd name="connsiteY37" fmla="*/ 49112 h 650358"/>
                <a:gd name="connsiteX38" fmla="*/ 1984 w 3472"/>
                <a:gd name="connsiteY38" fmla="*/ 32741 h 650358"/>
                <a:gd name="connsiteX39" fmla="*/ 3473 w 3472"/>
                <a:gd name="connsiteY39" fmla="*/ 16371 h 650358"/>
                <a:gd name="connsiteX40" fmla="*/ 3473 w 3472"/>
                <a:gd name="connsiteY40" fmla="*/ 0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472" h="650358">
                  <a:moveTo>
                    <a:pt x="1984" y="650358"/>
                  </a:moveTo>
                  <a:cubicBezTo>
                    <a:pt x="1984" y="642421"/>
                    <a:pt x="2480" y="642421"/>
                    <a:pt x="2480" y="633988"/>
                  </a:cubicBezTo>
                  <a:cubicBezTo>
                    <a:pt x="2480" y="626050"/>
                    <a:pt x="1984" y="626050"/>
                    <a:pt x="1984" y="618113"/>
                  </a:cubicBezTo>
                  <a:cubicBezTo>
                    <a:pt x="1984" y="610176"/>
                    <a:pt x="1488" y="610176"/>
                    <a:pt x="1488" y="602239"/>
                  </a:cubicBezTo>
                  <a:cubicBezTo>
                    <a:pt x="1488" y="594302"/>
                    <a:pt x="2977" y="594302"/>
                    <a:pt x="2977" y="586364"/>
                  </a:cubicBezTo>
                  <a:cubicBezTo>
                    <a:pt x="2977" y="578427"/>
                    <a:pt x="1984" y="578427"/>
                    <a:pt x="1984" y="570490"/>
                  </a:cubicBezTo>
                  <a:cubicBezTo>
                    <a:pt x="1984" y="562553"/>
                    <a:pt x="992" y="562553"/>
                    <a:pt x="992" y="554119"/>
                  </a:cubicBezTo>
                  <a:cubicBezTo>
                    <a:pt x="992" y="546182"/>
                    <a:pt x="496" y="546182"/>
                    <a:pt x="496" y="537749"/>
                  </a:cubicBezTo>
                  <a:cubicBezTo>
                    <a:pt x="496" y="529811"/>
                    <a:pt x="992" y="529811"/>
                    <a:pt x="992" y="521874"/>
                  </a:cubicBezTo>
                  <a:cubicBezTo>
                    <a:pt x="992" y="513937"/>
                    <a:pt x="1984" y="513937"/>
                    <a:pt x="1984" y="505999"/>
                  </a:cubicBezTo>
                  <a:cubicBezTo>
                    <a:pt x="1984" y="498062"/>
                    <a:pt x="2480" y="498062"/>
                    <a:pt x="2480" y="489629"/>
                  </a:cubicBezTo>
                  <a:cubicBezTo>
                    <a:pt x="2480" y="481692"/>
                    <a:pt x="992" y="481692"/>
                    <a:pt x="992" y="473258"/>
                  </a:cubicBezTo>
                  <a:cubicBezTo>
                    <a:pt x="992" y="465321"/>
                    <a:pt x="0" y="465321"/>
                    <a:pt x="0" y="456888"/>
                  </a:cubicBezTo>
                  <a:cubicBezTo>
                    <a:pt x="0" y="448951"/>
                    <a:pt x="1488" y="448951"/>
                    <a:pt x="1488" y="440517"/>
                  </a:cubicBezTo>
                  <a:cubicBezTo>
                    <a:pt x="1488" y="432580"/>
                    <a:pt x="1984" y="432580"/>
                    <a:pt x="1984" y="424147"/>
                  </a:cubicBezTo>
                  <a:cubicBezTo>
                    <a:pt x="1984" y="416210"/>
                    <a:pt x="1488" y="416210"/>
                    <a:pt x="1488" y="407776"/>
                  </a:cubicBezTo>
                  <a:cubicBezTo>
                    <a:pt x="1488" y="399839"/>
                    <a:pt x="1984" y="399839"/>
                    <a:pt x="1984" y="391406"/>
                  </a:cubicBezTo>
                  <a:cubicBezTo>
                    <a:pt x="1984" y="383468"/>
                    <a:pt x="1984" y="383468"/>
                    <a:pt x="1984" y="375035"/>
                  </a:cubicBezTo>
                  <a:cubicBezTo>
                    <a:pt x="1984" y="367098"/>
                    <a:pt x="2480" y="367098"/>
                    <a:pt x="2480" y="358665"/>
                  </a:cubicBezTo>
                  <a:cubicBezTo>
                    <a:pt x="2480" y="350727"/>
                    <a:pt x="992" y="350727"/>
                    <a:pt x="992" y="342294"/>
                  </a:cubicBezTo>
                  <a:cubicBezTo>
                    <a:pt x="992" y="334357"/>
                    <a:pt x="992" y="334357"/>
                    <a:pt x="992" y="325923"/>
                  </a:cubicBezTo>
                  <a:cubicBezTo>
                    <a:pt x="992" y="317986"/>
                    <a:pt x="992" y="317986"/>
                    <a:pt x="992" y="309553"/>
                  </a:cubicBezTo>
                  <a:cubicBezTo>
                    <a:pt x="992" y="301616"/>
                    <a:pt x="2977" y="301616"/>
                    <a:pt x="2977" y="293182"/>
                  </a:cubicBezTo>
                  <a:cubicBezTo>
                    <a:pt x="2977" y="285245"/>
                    <a:pt x="1984" y="285245"/>
                    <a:pt x="1984" y="276812"/>
                  </a:cubicBezTo>
                  <a:cubicBezTo>
                    <a:pt x="1984" y="268874"/>
                    <a:pt x="1984" y="268874"/>
                    <a:pt x="1984" y="260937"/>
                  </a:cubicBezTo>
                  <a:cubicBezTo>
                    <a:pt x="1984" y="253000"/>
                    <a:pt x="2977" y="253000"/>
                    <a:pt x="2977" y="245063"/>
                  </a:cubicBezTo>
                  <a:cubicBezTo>
                    <a:pt x="2977" y="237125"/>
                    <a:pt x="992" y="237125"/>
                    <a:pt x="992" y="228692"/>
                  </a:cubicBezTo>
                  <a:cubicBezTo>
                    <a:pt x="992" y="220755"/>
                    <a:pt x="1984" y="220755"/>
                    <a:pt x="1984" y="212818"/>
                  </a:cubicBezTo>
                  <a:cubicBezTo>
                    <a:pt x="1984" y="204880"/>
                    <a:pt x="2480" y="204880"/>
                    <a:pt x="2480" y="196447"/>
                  </a:cubicBezTo>
                  <a:cubicBezTo>
                    <a:pt x="2480" y="188510"/>
                    <a:pt x="1984" y="188510"/>
                    <a:pt x="1984" y="180077"/>
                  </a:cubicBezTo>
                  <a:cubicBezTo>
                    <a:pt x="1984" y="172139"/>
                    <a:pt x="1984" y="172139"/>
                    <a:pt x="1984" y="163706"/>
                  </a:cubicBezTo>
                  <a:cubicBezTo>
                    <a:pt x="1984" y="155769"/>
                    <a:pt x="3473" y="155769"/>
                    <a:pt x="3473" y="147335"/>
                  </a:cubicBezTo>
                  <a:cubicBezTo>
                    <a:pt x="3473" y="139398"/>
                    <a:pt x="3473" y="139398"/>
                    <a:pt x="3473" y="130965"/>
                  </a:cubicBezTo>
                  <a:cubicBezTo>
                    <a:pt x="3473" y="123028"/>
                    <a:pt x="2977" y="123028"/>
                    <a:pt x="2977" y="114594"/>
                  </a:cubicBezTo>
                  <a:cubicBezTo>
                    <a:pt x="2977" y="106657"/>
                    <a:pt x="2480" y="106657"/>
                    <a:pt x="2480" y="98224"/>
                  </a:cubicBezTo>
                  <a:cubicBezTo>
                    <a:pt x="2480" y="90286"/>
                    <a:pt x="3473" y="90286"/>
                    <a:pt x="3473" y="81853"/>
                  </a:cubicBezTo>
                  <a:cubicBezTo>
                    <a:pt x="3473" y="73916"/>
                    <a:pt x="1984" y="73916"/>
                    <a:pt x="1984" y="65482"/>
                  </a:cubicBezTo>
                  <a:cubicBezTo>
                    <a:pt x="1984" y="57545"/>
                    <a:pt x="2480" y="57545"/>
                    <a:pt x="2480" y="49112"/>
                  </a:cubicBezTo>
                  <a:cubicBezTo>
                    <a:pt x="2480" y="41175"/>
                    <a:pt x="1984" y="41175"/>
                    <a:pt x="1984" y="32741"/>
                  </a:cubicBezTo>
                  <a:cubicBezTo>
                    <a:pt x="1984" y="24804"/>
                    <a:pt x="3473" y="24804"/>
                    <a:pt x="3473" y="16371"/>
                  </a:cubicBezTo>
                  <a:cubicBezTo>
                    <a:pt x="3473" y="7937"/>
                    <a:pt x="3473" y="8433"/>
                    <a:pt x="347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B2CAE32A-40C0-4C2F-94CF-54A64002D3E2}"/>
                </a:ext>
              </a:extLst>
            </p:cNvPr>
            <p:cNvSpPr/>
            <p:nvPr/>
          </p:nvSpPr>
          <p:spPr>
            <a:xfrm>
              <a:off x="5197774" y="3825256"/>
              <a:ext cx="3968" cy="650358"/>
            </a:xfrm>
            <a:custGeom>
              <a:avLst/>
              <a:gdLst>
                <a:gd name="connsiteX0" fmla="*/ 2977 w 3968"/>
                <a:gd name="connsiteY0" fmla="*/ 0 h 650358"/>
                <a:gd name="connsiteX1" fmla="*/ 3969 w 3968"/>
                <a:gd name="connsiteY1" fmla="*/ 16371 h 650358"/>
                <a:gd name="connsiteX2" fmla="*/ 1488 w 3968"/>
                <a:gd name="connsiteY2" fmla="*/ 32245 h 650358"/>
                <a:gd name="connsiteX3" fmla="*/ 1984 w 3968"/>
                <a:gd name="connsiteY3" fmla="*/ 48120 h 650358"/>
                <a:gd name="connsiteX4" fmla="*/ 3473 w 3968"/>
                <a:gd name="connsiteY4" fmla="*/ 63994 h 650358"/>
                <a:gd name="connsiteX5" fmla="*/ 2977 w 3968"/>
                <a:gd name="connsiteY5" fmla="*/ 79869 h 650358"/>
                <a:gd name="connsiteX6" fmla="*/ 1488 w 3968"/>
                <a:gd name="connsiteY6" fmla="*/ 96239 h 650358"/>
                <a:gd name="connsiteX7" fmla="*/ 3473 w 3968"/>
                <a:gd name="connsiteY7" fmla="*/ 112610 h 650358"/>
                <a:gd name="connsiteX8" fmla="*/ 1984 w 3968"/>
                <a:gd name="connsiteY8" fmla="*/ 128484 h 650358"/>
                <a:gd name="connsiteX9" fmla="*/ 3473 w 3968"/>
                <a:gd name="connsiteY9" fmla="*/ 144359 h 650358"/>
                <a:gd name="connsiteX10" fmla="*/ 1984 w 3968"/>
                <a:gd name="connsiteY10" fmla="*/ 160729 h 650358"/>
                <a:gd name="connsiteX11" fmla="*/ 3473 w 3968"/>
                <a:gd name="connsiteY11" fmla="*/ 177100 h 650358"/>
                <a:gd name="connsiteX12" fmla="*/ 3473 w 3968"/>
                <a:gd name="connsiteY12" fmla="*/ 193470 h 650358"/>
                <a:gd name="connsiteX13" fmla="*/ 2977 w 3968"/>
                <a:gd name="connsiteY13" fmla="*/ 209841 h 650358"/>
                <a:gd name="connsiteX14" fmla="*/ 1984 w 3968"/>
                <a:gd name="connsiteY14" fmla="*/ 226212 h 650358"/>
                <a:gd name="connsiteX15" fmla="*/ 2480 w 3968"/>
                <a:gd name="connsiteY15" fmla="*/ 242582 h 650358"/>
                <a:gd name="connsiteX16" fmla="*/ 2480 w 3968"/>
                <a:gd name="connsiteY16" fmla="*/ 258953 h 650358"/>
                <a:gd name="connsiteX17" fmla="*/ 3473 w 3968"/>
                <a:gd name="connsiteY17" fmla="*/ 275323 h 650358"/>
                <a:gd name="connsiteX18" fmla="*/ 2977 w 3968"/>
                <a:gd name="connsiteY18" fmla="*/ 291694 h 650358"/>
                <a:gd name="connsiteX19" fmla="*/ 2480 w 3968"/>
                <a:gd name="connsiteY19" fmla="*/ 308065 h 650358"/>
                <a:gd name="connsiteX20" fmla="*/ 3473 w 3968"/>
                <a:gd name="connsiteY20" fmla="*/ 324435 h 650358"/>
                <a:gd name="connsiteX21" fmla="*/ 2977 w 3968"/>
                <a:gd name="connsiteY21" fmla="*/ 340806 h 650358"/>
                <a:gd name="connsiteX22" fmla="*/ 2480 w 3968"/>
                <a:gd name="connsiteY22" fmla="*/ 357176 h 650358"/>
                <a:gd name="connsiteX23" fmla="*/ 3473 w 3968"/>
                <a:gd name="connsiteY23" fmla="*/ 373547 h 650358"/>
                <a:gd name="connsiteX24" fmla="*/ 2480 w 3968"/>
                <a:gd name="connsiteY24" fmla="*/ 389421 h 650358"/>
                <a:gd name="connsiteX25" fmla="*/ 2480 w 3968"/>
                <a:gd name="connsiteY25" fmla="*/ 405296 h 650358"/>
                <a:gd name="connsiteX26" fmla="*/ 2977 w 3968"/>
                <a:gd name="connsiteY26" fmla="*/ 421666 h 650358"/>
                <a:gd name="connsiteX27" fmla="*/ 992 w 3968"/>
                <a:gd name="connsiteY27" fmla="*/ 437541 h 650358"/>
                <a:gd name="connsiteX28" fmla="*/ 1984 w 3968"/>
                <a:gd name="connsiteY28" fmla="*/ 453911 h 650358"/>
                <a:gd name="connsiteX29" fmla="*/ 1984 w 3968"/>
                <a:gd name="connsiteY29" fmla="*/ 470282 h 650358"/>
                <a:gd name="connsiteX30" fmla="*/ 992 w 3968"/>
                <a:gd name="connsiteY30" fmla="*/ 486653 h 650358"/>
                <a:gd name="connsiteX31" fmla="*/ 2480 w 3968"/>
                <a:gd name="connsiteY31" fmla="*/ 503023 h 650358"/>
                <a:gd name="connsiteX32" fmla="*/ 992 w 3968"/>
                <a:gd name="connsiteY32" fmla="*/ 519394 h 650358"/>
                <a:gd name="connsiteX33" fmla="*/ 1984 w 3968"/>
                <a:gd name="connsiteY33" fmla="*/ 535764 h 650358"/>
                <a:gd name="connsiteX34" fmla="*/ 1488 w 3968"/>
                <a:gd name="connsiteY34" fmla="*/ 552135 h 650358"/>
                <a:gd name="connsiteX35" fmla="*/ 0 w 3968"/>
                <a:gd name="connsiteY35" fmla="*/ 568506 h 650358"/>
                <a:gd name="connsiteX36" fmla="*/ 2480 w 3968"/>
                <a:gd name="connsiteY36" fmla="*/ 584876 h 650358"/>
                <a:gd name="connsiteX37" fmla="*/ 1984 w 3968"/>
                <a:gd name="connsiteY37" fmla="*/ 601247 h 650358"/>
                <a:gd name="connsiteX38" fmla="*/ 992 w 3968"/>
                <a:gd name="connsiteY38" fmla="*/ 617617 h 650358"/>
                <a:gd name="connsiteX39" fmla="*/ 496 w 3968"/>
                <a:gd name="connsiteY39" fmla="*/ 633988 h 650358"/>
                <a:gd name="connsiteX40" fmla="*/ 1488 w 3968"/>
                <a:gd name="connsiteY40" fmla="*/ 650358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968" h="650358">
                  <a:moveTo>
                    <a:pt x="2977" y="0"/>
                  </a:moveTo>
                  <a:cubicBezTo>
                    <a:pt x="2977" y="7937"/>
                    <a:pt x="3969" y="7937"/>
                    <a:pt x="3969" y="16371"/>
                  </a:cubicBezTo>
                  <a:cubicBezTo>
                    <a:pt x="3969" y="24308"/>
                    <a:pt x="1488" y="24308"/>
                    <a:pt x="1488" y="32245"/>
                  </a:cubicBezTo>
                  <a:cubicBezTo>
                    <a:pt x="1488" y="40182"/>
                    <a:pt x="1984" y="40182"/>
                    <a:pt x="1984" y="48120"/>
                  </a:cubicBezTo>
                  <a:cubicBezTo>
                    <a:pt x="1984" y="56057"/>
                    <a:pt x="3473" y="56057"/>
                    <a:pt x="3473" y="63994"/>
                  </a:cubicBezTo>
                  <a:cubicBezTo>
                    <a:pt x="3473" y="71931"/>
                    <a:pt x="2977" y="71931"/>
                    <a:pt x="2977" y="79869"/>
                  </a:cubicBezTo>
                  <a:cubicBezTo>
                    <a:pt x="2977" y="87806"/>
                    <a:pt x="1488" y="87806"/>
                    <a:pt x="1488" y="96239"/>
                  </a:cubicBezTo>
                  <a:cubicBezTo>
                    <a:pt x="1488" y="104176"/>
                    <a:pt x="3473" y="104176"/>
                    <a:pt x="3473" y="112610"/>
                  </a:cubicBezTo>
                  <a:cubicBezTo>
                    <a:pt x="3473" y="120547"/>
                    <a:pt x="1984" y="120547"/>
                    <a:pt x="1984" y="128484"/>
                  </a:cubicBezTo>
                  <a:cubicBezTo>
                    <a:pt x="1984" y="136421"/>
                    <a:pt x="3473" y="136421"/>
                    <a:pt x="3473" y="144359"/>
                  </a:cubicBezTo>
                  <a:cubicBezTo>
                    <a:pt x="3473" y="152296"/>
                    <a:pt x="1984" y="152296"/>
                    <a:pt x="1984" y="160729"/>
                  </a:cubicBezTo>
                  <a:cubicBezTo>
                    <a:pt x="1984" y="168666"/>
                    <a:pt x="3473" y="168666"/>
                    <a:pt x="3473" y="177100"/>
                  </a:cubicBezTo>
                  <a:cubicBezTo>
                    <a:pt x="3473" y="185037"/>
                    <a:pt x="3473" y="185037"/>
                    <a:pt x="3473" y="193470"/>
                  </a:cubicBezTo>
                  <a:cubicBezTo>
                    <a:pt x="3473" y="201408"/>
                    <a:pt x="2977" y="201408"/>
                    <a:pt x="2977" y="209841"/>
                  </a:cubicBezTo>
                  <a:cubicBezTo>
                    <a:pt x="2977" y="217778"/>
                    <a:pt x="1984" y="217778"/>
                    <a:pt x="1984" y="226212"/>
                  </a:cubicBezTo>
                  <a:cubicBezTo>
                    <a:pt x="1984" y="234149"/>
                    <a:pt x="2480" y="234149"/>
                    <a:pt x="2480" y="242582"/>
                  </a:cubicBezTo>
                  <a:cubicBezTo>
                    <a:pt x="2480" y="250519"/>
                    <a:pt x="2480" y="250519"/>
                    <a:pt x="2480" y="258953"/>
                  </a:cubicBezTo>
                  <a:cubicBezTo>
                    <a:pt x="2480" y="266890"/>
                    <a:pt x="3473" y="266890"/>
                    <a:pt x="3473" y="275323"/>
                  </a:cubicBezTo>
                  <a:cubicBezTo>
                    <a:pt x="3473" y="283261"/>
                    <a:pt x="2977" y="283261"/>
                    <a:pt x="2977" y="291694"/>
                  </a:cubicBezTo>
                  <a:cubicBezTo>
                    <a:pt x="2977" y="299631"/>
                    <a:pt x="2480" y="299631"/>
                    <a:pt x="2480" y="308065"/>
                  </a:cubicBezTo>
                  <a:cubicBezTo>
                    <a:pt x="2480" y="316002"/>
                    <a:pt x="3473" y="316002"/>
                    <a:pt x="3473" y="324435"/>
                  </a:cubicBezTo>
                  <a:cubicBezTo>
                    <a:pt x="3473" y="332372"/>
                    <a:pt x="2977" y="332372"/>
                    <a:pt x="2977" y="340806"/>
                  </a:cubicBezTo>
                  <a:cubicBezTo>
                    <a:pt x="2977" y="348743"/>
                    <a:pt x="2480" y="348743"/>
                    <a:pt x="2480" y="357176"/>
                  </a:cubicBezTo>
                  <a:cubicBezTo>
                    <a:pt x="2480" y="365114"/>
                    <a:pt x="3473" y="365114"/>
                    <a:pt x="3473" y="373547"/>
                  </a:cubicBezTo>
                  <a:cubicBezTo>
                    <a:pt x="3473" y="381484"/>
                    <a:pt x="2480" y="381484"/>
                    <a:pt x="2480" y="389421"/>
                  </a:cubicBezTo>
                  <a:cubicBezTo>
                    <a:pt x="2480" y="397359"/>
                    <a:pt x="2480" y="397359"/>
                    <a:pt x="2480" y="405296"/>
                  </a:cubicBezTo>
                  <a:cubicBezTo>
                    <a:pt x="2480" y="413233"/>
                    <a:pt x="2977" y="413233"/>
                    <a:pt x="2977" y="421666"/>
                  </a:cubicBezTo>
                  <a:cubicBezTo>
                    <a:pt x="2977" y="429604"/>
                    <a:pt x="992" y="429604"/>
                    <a:pt x="992" y="437541"/>
                  </a:cubicBezTo>
                  <a:cubicBezTo>
                    <a:pt x="992" y="445478"/>
                    <a:pt x="1984" y="445478"/>
                    <a:pt x="1984" y="453911"/>
                  </a:cubicBezTo>
                  <a:cubicBezTo>
                    <a:pt x="1984" y="461849"/>
                    <a:pt x="1984" y="461849"/>
                    <a:pt x="1984" y="470282"/>
                  </a:cubicBezTo>
                  <a:cubicBezTo>
                    <a:pt x="1984" y="478219"/>
                    <a:pt x="992" y="478219"/>
                    <a:pt x="992" y="486653"/>
                  </a:cubicBezTo>
                  <a:cubicBezTo>
                    <a:pt x="992" y="494590"/>
                    <a:pt x="2480" y="494590"/>
                    <a:pt x="2480" y="503023"/>
                  </a:cubicBezTo>
                  <a:cubicBezTo>
                    <a:pt x="2480" y="510960"/>
                    <a:pt x="992" y="510960"/>
                    <a:pt x="992" y="519394"/>
                  </a:cubicBezTo>
                  <a:cubicBezTo>
                    <a:pt x="992" y="527331"/>
                    <a:pt x="1984" y="527331"/>
                    <a:pt x="1984" y="535764"/>
                  </a:cubicBezTo>
                  <a:cubicBezTo>
                    <a:pt x="1984" y="544198"/>
                    <a:pt x="1488" y="543702"/>
                    <a:pt x="1488" y="552135"/>
                  </a:cubicBezTo>
                  <a:cubicBezTo>
                    <a:pt x="1488" y="560072"/>
                    <a:pt x="0" y="560072"/>
                    <a:pt x="0" y="568506"/>
                  </a:cubicBezTo>
                  <a:cubicBezTo>
                    <a:pt x="0" y="576443"/>
                    <a:pt x="2480" y="576443"/>
                    <a:pt x="2480" y="584876"/>
                  </a:cubicBezTo>
                  <a:cubicBezTo>
                    <a:pt x="2480" y="592813"/>
                    <a:pt x="1984" y="592813"/>
                    <a:pt x="1984" y="601247"/>
                  </a:cubicBezTo>
                  <a:cubicBezTo>
                    <a:pt x="1984" y="609184"/>
                    <a:pt x="992" y="609184"/>
                    <a:pt x="992" y="617617"/>
                  </a:cubicBezTo>
                  <a:cubicBezTo>
                    <a:pt x="992" y="625554"/>
                    <a:pt x="496" y="625554"/>
                    <a:pt x="496" y="633988"/>
                  </a:cubicBezTo>
                  <a:cubicBezTo>
                    <a:pt x="496" y="641925"/>
                    <a:pt x="1488" y="641925"/>
                    <a:pt x="1488" y="65035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83" name="Graphic 10">
              <a:extLst>
                <a:ext uri="{FF2B5EF4-FFF2-40B4-BE49-F238E27FC236}">
                  <a16:creationId xmlns:a16="http://schemas.microsoft.com/office/drawing/2014/main" id="{4554DE78-574E-EC7B-AEB4-507E99BE40E0}"/>
                </a:ext>
              </a:extLst>
            </p:cNvPr>
            <p:cNvGrpSpPr/>
            <p:nvPr/>
          </p:nvGrpSpPr>
          <p:grpSpPr>
            <a:xfrm>
              <a:off x="4050799" y="3794830"/>
              <a:ext cx="332083" cy="640105"/>
              <a:chOff x="4050799" y="3794830"/>
              <a:chExt cx="332083" cy="640105"/>
            </a:xfrm>
            <a:noFill/>
          </p:grpSpPr>
          <p:sp>
            <p:nvSpPr>
              <p:cNvPr id="1712" name="Freeform: Shape 1711">
                <a:extLst>
                  <a:ext uri="{FF2B5EF4-FFF2-40B4-BE49-F238E27FC236}">
                    <a16:creationId xmlns:a16="http://schemas.microsoft.com/office/drawing/2014/main" id="{D4FED5E1-45C5-0F1C-CC0B-1BA2F2E0DD4C}"/>
                  </a:ext>
                </a:extLst>
              </p:cNvPr>
              <p:cNvSpPr/>
              <p:nvPr/>
            </p:nvSpPr>
            <p:spPr>
              <a:xfrm>
                <a:off x="4050799" y="3794830"/>
                <a:ext cx="332083" cy="640105"/>
              </a:xfrm>
              <a:custGeom>
                <a:avLst/>
                <a:gdLst>
                  <a:gd name="connsiteX0" fmla="*/ 1531 w 332083"/>
                  <a:gd name="connsiteY0" fmla="*/ 302277 h 640105"/>
                  <a:gd name="connsiteX1" fmla="*/ 2027 w 332083"/>
                  <a:gd name="connsiteY1" fmla="*/ 285906 h 640105"/>
                  <a:gd name="connsiteX2" fmla="*/ 2523 w 332083"/>
                  <a:gd name="connsiteY2" fmla="*/ 269536 h 640105"/>
                  <a:gd name="connsiteX3" fmla="*/ 2027 w 332083"/>
                  <a:gd name="connsiteY3" fmla="*/ 253165 h 640105"/>
                  <a:gd name="connsiteX4" fmla="*/ 2027 w 332083"/>
                  <a:gd name="connsiteY4" fmla="*/ 236298 h 640105"/>
                  <a:gd name="connsiteX5" fmla="*/ 2027 w 332083"/>
                  <a:gd name="connsiteY5" fmla="*/ 219928 h 640105"/>
                  <a:gd name="connsiteX6" fmla="*/ 2523 w 332083"/>
                  <a:gd name="connsiteY6" fmla="*/ 203061 h 640105"/>
                  <a:gd name="connsiteX7" fmla="*/ 1531 w 332083"/>
                  <a:gd name="connsiteY7" fmla="*/ 186691 h 640105"/>
                  <a:gd name="connsiteX8" fmla="*/ 2027 w 332083"/>
                  <a:gd name="connsiteY8" fmla="*/ 169824 h 640105"/>
                  <a:gd name="connsiteX9" fmla="*/ 2027 w 332083"/>
                  <a:gd name="connsiteY9" fmla="*/ 153454 h 640105"/>
                  <a:gd name="connsiteX10" fmla="*/ 2523 w 332083"/>
                  <a:gd name="connsiteY10" fmla="*/ 136587 h 640105"/>
                  <a:gd name="connsiteX11" fmla="*/ 539 w 332083"/>
                  <a:gd name="connsiteY11" fmla="*/ 119720 h 640105"/>
                  <a:gd name="connsiteX12" fmla="*/ 3019 w 332083"/>
                  <a:gd name="connsiteY12" fmla="*/ 102854 h 640105"/>
                  <a:gd name="connsiteX13" fmla="*/ 2027 w 332083"/>
                  <a:gd name="connsiteY13" fmla="*/ 86483 h 640105"/>
                  <a:gd name="connsiteX14" fmla="*/ 1531 w 332083"/>
                  <a:gd name="connsiteY14" fmla="*/ 69616 h 640105"/>
                  <a:gd name="connsiteX15" fmla="*/ 2523 w 332083"/>
                  <a:gd name="connsiteY15" fmla="*/ 52750 h 640105"/>
                  <a:gd name="connsiteX16" fmla="*/ 3019 w 332083"/>
                  <a:gd name="connsiteY16" fmla="*/ 35883 h 640105"/>
                  <a:gd name="connsiteX17" fmla="*/ 3019 w 332083"/>
                  <a:gd name="connsiteY17" fmla="*/ 19016 h 640105"/>
                  <a:gd name="connsiteX18" fmla="*/ 2523 w 332083"/>
                  <a:gd name="connsiteY18" fmla="*/ 2646 h 640105"/>
                  <a:gd name="connsiteX19" fmla="*/ 18894 w 332083"/>
                  <a:gd name="connsiteY19" fmla="*/ 2646 h 640105"/>
                  <a:gd name="connsiteX20" fmla="*/ 35264 w 332083"/>
                  <a:gd name="connsiteY20" fmla="*/ 2646 h 640105"/>
                  <a:gd name="connsiteX21" fmla="*/ 51635 w 332083"/>
                  <a:gd name="connsiteY21" fmla="*/ 2646 h 640105"/>
                  <a:gd name="connsiteX22" fmla="*/ 68005 w 332083"/>
                  <a:gd name="connsiteY22" fmla="*/ 3142 h 640105"/>
                  <a:gd name="connsiteX23" fmla="*/ 84376 w 332083"/>
                  <a:gd name="connsiteY23" fmla="*/ 2150 h 640105"/>
                  <a:gd name="connsiteX24" fmla="*/ 100746 w 332083"/>
                  <a:gd name="connsiteY24" fmla="*/ 2150 h 640105"/>
                  <a:gd name="connsiteX25" fmla="*/ 117117 w 332083"/>
                  <a:gd name="connsiteY25" fmla="*/ 3142 h 640105"/>
                  <a:gd name="connsiteX26" fmla="*/ 133487 w 332083"/>
                  <a:gd name="connsiteY26" fmla="*/ 1654 h 640105"/>
                  <a:gd name="connsiteX27" fmla="*/ 149858 w 332083"/>
                  <a:gd name="connsiteY27" fmla="*/ 3142 h 640105"/>
                  <a:gd name="connsiteX28" fmla="*/ 166229 w 332083"/>
                  <a:gd name="connsiteY28" fmla="*/ 3142 h 640105"/>
                  <a:gd name="connsiteX29" fmla="*/ 182599 w 332083"/>
                  <a:gd name="connsiteY29" fmla="*/ 3142 h 640105"/>
                  <a:gd name="connsiteX30" fmla="*/ 198970 w 332083"/>
                  <a:gd name="connsiteY30" fmla="*/ 2646 h 640105"/>
                  <a:gd name="connsiteX31" fmla="*/ 215340 w 332083"/>
                  <a:gd name="connsiteY31" fmla="*/ 2150 h 640105"/>
                  <a:gd name="connsiteX32" fmla="*/ 231711 w 332083"/>
                  <a:gd name="connsiteY32" fmla="*/ 1158 h 640105"/>
                  <a:gd name="connsiteX33" fmla="*/ 248082 w 332083"/>
                  <a:gd name="connsiteY33" fmla="*/ 2646 h 640105"/>
                  <a:gd name="connsiteX34" fmla="*/ 264452 w 332083"/>
                  <a:gd name="connsiteY34" fmla="*/ 2646 h 640105"/>
                  <a:gd name="connsiteX35" fmla="*/ 280823 w 332083"/>
                  <a:gd name="connsiteY35" fmla="*/ 1654 h 640105"/>
                  <a:gd name="connsiteX36" fmla="*/ 297193 w 332083"/>
                  <a:gd name="connsiteY36" fmla="*/ 1654 h 640105"/>
                  <a:gd name="connsiteX37" fmla="*/ 313564 w 332083"/>
                  <a:gd name="connsiteY37" fmla="*/ 2150 h 640105"/>
                  <a:gd name="connsiteX38" fmla="*/ 329438 w 332083"/>
                  <a:gd name="connsiteY38" fmla="*/ 2646 h 640105"/>
                  <a:gd name="connsiteX39" fmla="*/ 329438 w 332083"/>
                  <a:gd name="connsiteY39" fmla="*/ 18024 h 640105"/>
                  <a:gd name="connsiteX40" fmla="*/ 330926 w 332083"/>
                  <a:gd name="connsiteY40" fmla="*/ 34395 h 640105"/>
                  <a:gd name="connsiteX41" fmla="*/ 330430 w 332083"/>
                  <a:gd name="connsiteY41" fmla="*/ 50765 h 640105"/>
                  <a:gd name="connsiteX42" fmla="*/ 329438 w 332083"/>
                  <a:gd name="connsiteY42" fmla="*/ 67136 h 640105"/>
                  <a:gd name="connsiteX43" fmla="*/ 329934 w 332083"/>
                  <a:gd name="connsiteY43" fmla="*/ 83506 h 640105"/>
                  <a:gd name="connsiteX44" fmla="*/ 329438 w 332083"/>
                  <a:gd name="connsiteY44" fmla="*/ 99877 h 640105"/>
                  <a:gd name="connsiteX45" fmla="*/ 329438 w 332083"/>
                  <a:gd name="connsiteY45" fmla="*/ 116248 h 640105"/>
                  <a:gd name="connsiteX46" fmla="*/ 329934 w 332083"/>
                  <a:gd name="connsiteY46" fmla="*/ 132618 h 640105"/>
                  <a:gd name="connsiteX47" fmla="*/ 329438 w 332083"/>
                  <a:gd name="connsiteY47" fmla="*/ 148989 h 640105"/>
                  <a:gd name="connsiteX48" fmla="*/ 331423 w 332083"/>
                  <a:gd name="connsiteY48" fmla="*/ 165359 h 640105"/>
                  <a:gd name="connsiteX49" fmla="*/ 331423 w 332083"/>
                  <a:gd name="connsiteY49" fmla="*/ 181730 h 640105"/>
                  <a:gd name="connsiteX50" fmla="*/ 329934 w 332083"/>
                  <a:gd name="connsiteY50" fmla="*/ 198101 h 640105"/>
                  <a:gd name="connsiteX51" fmla="*/ 329934 w 332083"/>
                  <a:gd name="connsiteY51" fmla="*/ 214471 h 640105"/>
                  <a:gd name="connsiteX52" fmla="*/ 329934 w 332083"/>
                  <a:gd name="connsiteY52" fmla="*/ 230842 h 640105"/>
                  <a:gd name="connsiteX53" fmla="*/ 329934 w 332083"/>
                  <a:gd name="connsiteY53" fmla="*/ 247212 h 640105"/>
                  <a:gd name="connsiteX54" fmla="*/ 329438 w 332083"/>
                  <a:gd name="connsiteY54" fmla="*/ 263583 h 640105"/>
                  <a:gd name="connsiteX55" fmla="*/ 330430 w 332083"/>
                  <a:gd name="connsiteY55" fmla="*/ 279953 h 640105"/>
                  <a:gd name="connsiteX56" fmla="*/ 329934 w 332083"/>
                  <a:gd name="connsiteY56" fmla="*/ 296324 h 640105"/>
                  <a:gd name="connsiteX57" fmla="*/ 330430 w 332083"/>
                  <a:gd name="connsiteY57" fmla="*/ 312694 h 640105"/>
                  <a:gd name="connsiteX58" fmla="*/ 328942 w 332083"/>
                  <a:gd name="connsiteY58" fmla="*/ 329065 h 640105"/>
                  <a:gd name="connsiteX59" fmla="*/ 328942 w 332083"/>
                  <a:gd name="connsiteY59" fmla="*/ 345436 h 640105"/>
                  <a:gd name="connsiteX60" fmla="*/ 328446 w 332083"/>
                  <a:gd name="connsiteY60" fmla="*/ 361806 h 640105"/>
                  <a:gd name="connsiteX61" fmla="*/ 328446 w 332083"/>
                  <a:gd name="connsiteY61" fmla="*/ 378177 h 640105"/>
                  <a:gd name="connsiteX62" fmla="*/ 330430 w 332083"/>
                  <a:gd name="connsiteY62" fmla="*/ 394547 h 640105"/>
                  <a:gd name="connsiteX63" fmla="*/ 328942 w 332083"/>
                  <a:gd name="connsiteY63" fmla="*/ 410918 h 640105"/>
                  <a:gd name="connsiteX64" fmla="*/ 329934 w 332083"/>
                  <a:gd name="connsiteY64" fmla="*/ 427288 h 640105"/>
                  <a:gd name="connsiteX65" fmla="*/ 328942 w 332083"/>
                  <a:gd name="connsiteY65" fmla="*/ 443659 h 640105"/>
                  <a:gd name="connsiteX66" fmla="*/ 329934 w 332083"/>
                  <a:gd name="connsiteY66" fmla="*/ 460030 h 640105"/>
                  <a:gd name="connsiteX67" fmla="*/ 329934 w 332083"/>
                  <a:gd name="connsiteY67" fmla="*/ 476400 h 640105"/>
                  <a:gd name="connsiteX68" fmla="*/ 329438 w 332083"/>
                  <a:gd name="connsiteY68" fmla="*/ 492771 h 640105"/>
                  <a:gd name="connsiteX69" fmla="*/ 329438 w 332083"/>
                  <a:gd name="connsiteY69" fmla="*/ 509141 h 640105"/>
                  <a:gd name="connsiteX70" fmla="*/ 329438 w 332083"/>
                  <a:gd name="connsiteY70" fmla="*/ 525512 h 640105"/>
                  <a:gd name="connsiteX71" fmla="*/ 330926 w 332083"/>
                  <a:gd name="connsiteY71" fmla="*/ 541883 h 640105"/>
                  <a:gd name="connsiteX72" fmla="*/ 329438 w 332083"/>
                  <a:gd name="connsiteY72" fmla="*/ 558253 h 640105"/>
                  <a:gd name="connsiteX73" fmla="*/ 330926 w 332083"/>
                  <a:gd name="connsiteY73" fmla="*/ 574624 h 640105"/>
                  <a:gd name="connsiteX74" fmla="*/ 330430 w 332083"/>
                  <a:gd name="connsiteY74" fmla="*/ 590994 h 640105"/>
                  <a:gd name="connsiteX75" fmla="*/ 328446 w 332083"/>
                  <a:gd name="connsiteY75" fmla="*/ 607365 h 640105"/>
                  <a:gd name="connsiteX76" fmla="*/ 330430 w 332083"/>
                  <a:gd name="connsiteY76" fmla="*/ 623735 h 640105"/>
                  <a:gd name="connsiteX77" fmla="*/ 330926 w 332083"/>
                  <a:gd name="connsiteY77" fmla="*/ 640106 h 640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32083" h="640105">
                    <a:moveTo>
                      <a:pt x="1531" y="302277"/>
                    </a:moveTo>
                    <a:cubicBezTo>
                      <a:pt x="1531" y="293844"/>
                      <a:pt x="2027" y="293844"/>
                      <a:pt x="2027" y="285906"/>
                    </a:cubicBezTo>
                    <a:cubicBezTo>
                      <a:pt x="2027" y="277473"/>
                      <a:pt x="2523" y="277473"/>
                      <a:pt x="2523" y="269536"/>
                    </a:cubicBezTo>
                    <a:cubicBezTo>
                      <a:pt x="2523" y="261102"/>
                      <a:pt x="2027" y="261102"/>
                      <a:pt x="2027" y="253165"/>
                    </a:cubicBezTo>
                    <a:cubicBezTo>
                      <a:pt x="2027" y="244732"/>
                      <a:pt x="2027" y="244732"/>
                      <a:pt x="2027" y="236298"/>
                    </a:cubicBezTo>
                    <a:cubicBezTo>
                      <a:pt x="2027" y="227865"/>
                      <a:pt x="2027" y="227865"/>
                      <a:pt x="2027" y="219928"/>
                    </a:cubicBezTo>
                    <a:cubicBezTo>
                      <a:pt x="2027" y="211494"/>
                      <a:pt x="2523" y="211494"/>
                      <a:pt x="2523" y="203061"/>
                    </a:cubicBezTo>
                    <a:cubicBezTo>
                      <a:pt x="2523" y="194628"/>
                      <a:pt x="1531" y="194628"/>
                      <a:pt x="1531" y="186691"/>
                    </a:cubicBezTo>
                    <a:cubicBezTo>
                      <a:pt x="1531" y="178257"/>
                      <a:pt x="2027" y="178257"/>
                      <a:pt x="2027" y="169824"/>
                    </a:cubicBezTo>
                    <a:cubicBezTo>
                      <a:pt x="2027" y="161391"/>
                      <a:pt x="2027" y="161391"/>
                      <a:pt x="2027" y="153454"/>
                    </a:cubicBezTo>
                    <a:cubicBezTo>
                      <a:pt x="2027" y="145020"/>
                      <a:pt x="2523" y="145020"/>
                      <a:pt x="2523" y="136587"/>
                    </a:cubicBezTo>
                    <a:cubicBezTo>
                      <a:pt x="2523" y="128153"/>
                      <a:pt x="539" y="128153"/>
                      <a:pt x="539" y="119720"/>
                    </a:cubicBezTo>
                    <a:cubicBezTo>
                      <a:pt x="539" y="111287"/>
                      <a:pt x="3019" y="111287"/>
                      <a:pt x="3019" y="102854"/>
                    </a:cubicBezTo>
                    <a:cubicBezTo>
                      <a:pt x="3019" y="94420"/>
                      <a:pt x="2027" y="94420"/>
                      <a:pt x="2027" y="86483"/>
                    </a:cubicBezTo>
                    <a:cubicBezTo>
                      <a:pt x="2027" y="78050"/>
                      <a:pt x="1531" y="78050"/>
                      <a:pt x="1531" y="69616"/>
                    </a:cubicBezTo>
                    <a:cubicBezTo>
                      <a:pt x="1531" y="61183"/>
                      <a:pt x="2523" y="61183"/>
                      <a:pt x="2523" y="52750"/>
                    </a:cubicBezTo>
                    <a:cubicBezTo>
                      <a:pt x="2523" y="44316"/>
                      <a:pt x="3019" y="44316"/>
                      <a:pt x="3019" y="35883"/>
                    </a:cubicBezTo>
                    <a:cubicBezTo>
                      <a:pt x="3019" y="27450"/>
                      <a:pt x="3019" y="27450"/>
                      <a:pt x="3019" y="19016"/>
                    </a:cubicBezTo>
                    <a:cubicBezTo>
                      <a:pt x="3019" y="10583"/>
                      <a:pt x="-3430" y="8599"/>
                      <a:pt x="2523" y="2646"/>
                    </a:cubicBezTo>
                    <a:cubicBezTo>
                      <a:pt x="8476" y="-3307"/>
                      <a:pt x="10460" y="2646"/>
                      <a:pt x="18894" y="2646"/>
                    </a:cubicBezTo>
                    <a:cubicBezTo>
                      <a:pt x="27327" y="2646"/>
                      <a:pt x="27327" y="2646"/>
                      <a:pt x="35264" y="2646"/>
                    </a:cubicBezTo>
                    <a:cubicBezTo>
                      <a:pt x="43697" y="2646"/>
                      <a:pt x="43697" y="2646"/>
                      <a:pt x="51635" y="2646"/>
                    </a:cubicBezTo>
                    <a:cubicBezTo>
                      <a:pt x="60068" y="2646"/>
                      <a:pt x="60068" y="3142"/>
                      <a:pt x="68005" y="3142"/>
                    </a:cubicBezTo>
                    <a:cubicBezTo>
                      <a:pt x="76438" y="3142"/>
                      <a:pt x="76438" y="2150"/>
                      <a:pt x="84376" y="2150"/>
                    </a:cubicBezTo>
                    <a:cubicBezTo>
                      <a:pt x="92809" y="2150"/>
                      <a:pt x="92809" y="2150"/>
                      <a:pt x="100746" y="2150"/>
                    </a:cubicBezTo>
                    <a:cubicBezTo>
                      <a:pt x="109180" y="2150"/>
                      <a:pt x="109180" y="3142"/>
                      <a:pt x="117117" y="3142"/>
                    </a:cubicBezTo>
                    <a:cubicBezTo>
                      <a:pt x="125550" y="3142"/>
                      <a:pt x="125550" y="1654"/>
                      <a:pt x="133487" y="1654"/>
                    </a:cubicBezTo>
                    <a:cubicBezTo>
                      <a:pt x="141921" y="1654"/>
                      <a:pt x="141921" y="3142"/>
                      <a:pt x="149858" y="3142"/>
                    </a:cubicBezTo>
                    <a:cubicBezTo>
                      <a:pt x="158291" y="3142"/>
                      <a:pt x="158291" y="3142"/>
                      <a:pt x="166229" y="3142"/>
                    </a:cubicBezTo>
                    <a:cubicBezTo>
                      <a:pt x="174662" y="3142"/>
                      <a:pt x="174662" y="3142"/>
                      <a:pt x="182599" y="3142"/>
                    </a:cubicBezTo>
                    <a:cubicBezTo>
                      <a:pt x="191033" y="3142"/>
                      <a:pt x="191033" y="2646"/>
                      <a:pt x="198970" y="2646"/>
                    </a:cubicBezTo>
                    <a:cubicBezTo>
                      <a:pt x="207403" y="2646"/>
                      <a:pt x="207403" y="2150"/>
                      <a:pt x="215340" y="2150"/>
                    </a:cubicBezTo>
                    <a:cubicBezTo>
                      <a:pt x="223278" y="2150"/>
                      <a:pt x="223774" y="1158"/>
                      <a:pt x="231711" y="1158"/>
                    </a:cubicBezTo>
                    <a:cubicBezTo>
                      <a:pt x="240144" y="1158"/>
                      <a:pt x="240144" y="2646"/>
                      <a:pt x="248082" y="2646"/>
                    </a:cubicBezTo>
                    <a:cubicBezTo>
                      <a:pt x="256515" y="2646"/>
                      <a:pt x="256515" y="2646"/>
                      <a:pt x="264452" y="2646"/>
                    </a:cubicBezTo>
                    <a:cubicBezTo>
                      <a:pt x="272886" y="2646"/>
                      <a:pt x="272886" y="1654"/>
                      <a:pt x="280823" y="1654"/>
                    </a:cubicBezTo>
                    <a:cubicBezTo>
                      <a:pt x="289256" y="1654"/>
                      <a:pt x="289256" y="1654"/>
                      <a:pt x="297193" y="1654"/>
                    </a:cubicBezTo>
                    <a:cubicBezTo>
                      <a:pt x="305627" y="1654"/>
                      <a:pt x="305627" y="2150"/>
                      <a:pt x="313564" y="2150"/>
                    </a:cubicBezTo>
                    <a:cubicBezTo>
                      <a:pt x="321997" y="2150"/>
                      <a:pt x="323485" y="-2811"/>
                      <a:pt x="329438" y="2646"/>
                    </a:cubicBezTo>
                    <a:cubicBezTo>
                      <a:pt x="335391" y="8103"/>
                      <a:pt x="329438" y="10087"/>
                      <a:pt x="329438" y="18024"/>
                    </a:cubicBezTo>
                    <a:cubicBezTo>
                      <a:pt x="329438" y="25961"/>
                      <a:pt x="330926" y="25961"/>
                      <a:pt x="330926" y="34395"/>
                    </a:cubicBezTo>
                    <a:cubicBezTo>
                      <a:pt x="330926" y="42828"/>
                      <a:pt x="330430" y="42332"/>
                      <a:pt x="330430" y="50765"/>
                    </a:cubicBezTo>
                    <a:cubicBezTo>
                      <a:pt x="330430" y="58703"/>
                      <a:pt x="329438" y="58703"/>
                      <a:pt x="329438" y="67136"/>
                    </a:cubicBezTo>
                    <a:cubicBezTo>
                      <a:pt x="329438" y="75073"/>
                      <a:pt x="329934" y="75073"/>
                      <a:pt x="329934" y="83506"/>
                    </a:cubicBezTo>
                    <a:cubicBezTo>
                      <a:pt x="329934" y="91444"/>
                      <a:pt x="329438" y="91444"/>
                      <a:pt x="329438" y="99877"/>
                    </a:cubicBezTo>
                    <a:cubicBezTo>
                      <a:pt x="329438" y="107814"/>
                      <a:pt x="329438" y="107814"/>
                      <a:pt x="329438" y="116248"/>
                    </a:cubicBezTo>
                    <a:cubicBezTo>
                      <a:pt x="329438" y="124185"/>
                      <a:pt x="329934" y="124185"/>
                      <a:pt x="329934" y="132618"/>
                    </a:cubicBezTo>
                    <a:cubicBezTo>
                      <a:pt x="329934" y="140555"/>
                      <a:pt x="329438" y="140555"/>
                      <a:pt x="329438" y="148989"/>
                    </a:cubicBezTo>
                    <a:cubicBezTo>
                      <a:pt x="329438" y="156926"/>
                      <a:pt x="331423" y="156926"/>
                      <a:pt x="331423" y="165359"/>
                    </a:cubicBezTo>
                    <a:cubicBezTo>
                      <a:pt x="331423" y="173297"/>
                      <a:pt x="331423" y="173297"/>
                      <a:pt x="331423" y="181730"/>
                    </a:cubicBezTo>
                    <a:cubicBezTo>
                      <a:pt x="331423" y="189667"/>
                      <a:pt x="329934" y="189667"/>
                      <a:pt x="329934" y="198101"/>
                    </a:cubicBezTo>
                    <a:cubicBezTo>
                      <a:pt x="329934" y="206038"/>
                      <a:pt x="329934" y="206038"/>
                      <a:pt x="329934" y="214471"/>
                    </a:cubicBezTo>
                    <a:cubicBezTo>
                      <a:pt x="329934" y="222408"/>
                      <a:pt x="329934" y="222408"/>
                      <a:pt x="329934" y="230842"/>
                    </a:cubicBezTo>
                    <a:cubicBezTo>
                      <a:pt x="329934" y="238779"/>
                      <a:pt x="329934" y="238779"/>
                      <a:pt x="329934" y="247212"/>
                    </a:cubicBezTo>
                    <a:cubicBezTo>
                      <a:pt x="329934" y="255150"/>
                      <a:pt x="329438" y="255150"/>
                      <a:pt x="329438" y="263583"/>
                    </a:cubicBezTo>
                    <a:cubicBezTo>
                      <a:pt x="329438" y="271520"/>
                      <a:pt x="330430" y="271520"/>
                      <a:pt x="330430" y="279953"/>
                    </a:cubicBezTo>
                    <a:cubicBezTo>
                      <a:pt x="330430" y="287891"/>
                      <a:pt x="329934" y="287891"/>
                      <a:pt x="329934" y="296324"/>
                    </a:cubicBezTo>
                    <a:cubicBezTo>
                      <a:pt x="329934" y="304261"/>
                      <a:pt x="330430" y="304261"/>
                      <a:pt x="330430" y="312694"/>
                    </a:cubicBezTo>
                    <a:cubicBezTo>
                      <a:pt x="330430" y="320632"/>
                      <a:pt x="328942" y="320632"/>
                      <a:pt x="328942" y="329065"/>
                    </a:cubicBezTo>
                    <a:cubicBezTo>
                      <a:pt x="328942" y="337002"/>
                      <a:pt x="328942" y="337002"/>
                      <a:pt x="328942" y="345436"/>
                    </a:cubicBezTo>
                    <a:cubicBezTo>
                      <a:pt x="328942" y="353373"/>
                      <a:pt x="328446" y="353373"/>
                      <a:pt x="328446" y="361806"/>
                    </a:cubicBezTo>
                    <a:cubicBezTo>
                      <a:pt x="328446" y="369743"/>
                      <a:pt x="328446" y="369743"/>
                      <a:pt x="328446" y="378177"/>
                    </a:cubicBezTo>
                    <a:cubicBezTo>
                      <a:pt x="328446" y="386114"/>
                      <a:pt x="330430" y="386114"/>
                      <a:pt x="330430" y="394547"/>
                    </a:cubicBezTo>
                    <a:cubicBezTo>
                      <a:pt x="330430" y="402484"/>
                      <a:pt x="328942" y="402484"/>
                      <a:pt x="328942" y="410918"/>
                    </a:cubicBezTo>
                    <a:cubicBezTo>
                      <a:pt x="328942" y="418855"/>
                      <a:pt x="329934" y="418855"/>
                      <a:pt x="329934" y="427288"/>
                    </a:cubicBezTo>
                    <a:cubicBezTo>
                      <a:pt x="329934" y="435226"/>
                      <a:pt x="328942" y="435226"/>
                      <a:pt x="328942" y="443659"/>
                    </a:cubicBezTo>
                    <a:cubicBezTo>
                      <a:pt x="328942" y="451596"/>
                      <a:pt x="329934" y="451596"/>
                      <a:pt x="329934" y="460030"/>
                    </a:cubicBezTo>
                    <a:cubicBezTo>
                      <a:pt x="329934" y="467967"/>
                      <a:pt x="329934" y="467967"/>
                      <a:pt x="329934" y="476400"/>
                    </a:cubicBezTo>
                    <a:cubicBezTo>
                      <a:pt x="329934" y="484337"/>
                      <a:pt x="329438" y="484337"/>
                      <a:pt x="329438" y="492771"/>
                    </a:cubicBezTo>
                    <a:cubicBezTo>
                      <a:pt x="329438" y="500708"/>
                      <a:pt x="329438" y="500708"/>
                      <a:pt x="329438" y="509141"/>
                    </a:cubicBezTo>
                    <a:cubicBezTo>
                      <a:pt x="329438" y="517079"/>
                      <a:pt x="329438" y="517079"/>
                      <a:pt x="329438" y="525512"/>
                    </a:cubicBezTo>
                    <a:cubicBezTo>
                      <a:pt x="329438" y="533449"/>
                      <a:pt x="330926" y="533449"/>
                      <a:pt x="330926" y="541883"/>
                    </a:cubicBezTo>
                    <a:cubicBezTo>
                      <a:pt x="330926" y="549820"/>
                      <a:pt x="329438" y="549820"/>
                      <a:pt x="329438" y="558253"/>
                    </a:cubicBezTo>
                    <a:cubicBezTo>
                      <a:pt x="329438" y="566190"/>
                      <a:pt x="330926" y="566190"/>
                      <a:pt x="330926" y="574624"/>
                    </a:cubicBezTo>
                    <a:cubicBezTo>
                      <a:pt x="330926" y="582561"/>
                      <a:pt x="330430" y="582561"/>
                      <a:pt x="330430" y="590994"/>
                    </a:cubicBezTo>
                    <a:cubicBezTo>
                      <a:pt x="330430" y="598932"/>
                      <a:pt x="328446" y="598932"/>
                      <a:pt x="328446" y="607365"/>
                    </a:cubicBezTo>
                    <a:cubicBezTo>
                      <a:pt x="328446" y="615302"/>
                      <a:pt x="330430" y="615302"/>
                      <a:pt x="330430" y="623735"/>
                    </a:cubicBezTo>
                    <a:cubicBezTo>
                      <a:pt x="330430" y="631673"/>
                      <a:pt x="330926" y="631673"/>
                      <a:pt x="330926" y="64010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3" name="Freeform: Shape 1712">
                <a:extLst>
                  <a:ext uri="{FF2B5EF4-FFF2-40B4-BE49-F238E27FC236}">
                    <a16:creationId xmlns:a16="http://schemas.microsoft.com/office/drawing/2014/main" id="{021649E3-F12C-086D-DD6B-E29A03CBDADE}"/>
                  </a:ext>
                </a:extLst>
              </p:cNvPr>
              <p:cNvSpPr/>
              <p:nvPr/>
            </p:nvSpPr>
            <p:spPr>
              <a:xfrm>
                <a:off x="4242328" y="4193138"/>
                <a:ext cx="126430" cy="54488"/>
              </a:xfrm>
              <a:custGeom>
                <a:avLst/>
                <a:gdLst>
                  <a:gd name="connsiteX0" fmla="*/ 0 w 126430"/>
                  <a:gd name="connsiteY0" fmla="*/ 2688 h 54488"/>
                  <a:gd name="connsiteX1" fmla="*/ 15378 w 126430"/>
                  <a:gd name="connsiteY1" fmla="*/ 1696 h 54488"/>
                  <a:gd name="connsiteX2" fmla="*/ 30757 w 126430"/>
                  <a:gd name="connsiteY2" fmla="*/ 1696 h 54488"/>
                  <a:gd name="connsiteX3" fmla="*/ 46135 w 126430"/>
                  <a:gd name="connsiteY3" fmla="*/ 3185 h 54488"/>
                  <a:gd name="connsiteX4" fmla="*/ 61514 w 126430"/>
                  <a:gd name="connsiteY4" fmla="*/ 2192 h 54488"/>
                  <a:gd name="connsiteX5" fmla="*/ 76892 w 126430"/>
                  <a:gd name="connsiteY5" fmla="*/ 2192 h 54488"/>
                  <a:gd name="connsiteX6" fmla="*/ 92270 w 126430"/>
                  <a:gd name="connsiteY6" fmla="*/ 2688 h 54488"/>
                  <a:gd name="connsiteX7" fmla="*/ 107649 w 126430"/>
                  <a:gd name="connsiteY7" fmla="*/ 3185 h 54488"/>
                  <a:gd name="connsiteX8" fmla="*/ 123027 w 126430"/>
                  <a:gd name="connsiteY8" fmla="*/ 2192 h 54488"/>
                  <a:gd name="connsiteX9" fmla="*/ 122035 w 126430"/>
                  <a:gd name="connsiteY9" fmla="*/ 18563 h 54488"/>
                  <a:gd name="connsiteX10" fmla="*/ 123027 w 126430"/>
                  <a:gd name="connsiteY10" fmla="*/ 34933 h 54488"/>
                  <a:gd name="connsiteX11" fmla="*/ 124019 w 126430"/>
                  <a:gd name="connsiteY11" fmla="*/ 52296 h 54488"/>
                  <a:gd name="connsiteX12" fmla="*/ 108145 w 126430"/>
                  <a:gd name="connsiteY12" fmla="*/ 51304 h 54488"/>
                  <a:gd name="connsiteX13" fmla="*/ 92767 w 126430"/>
                  <a:gd name="connsiteY13" fmla="*/ 52296 h 54488"/>
                  <a:gd name="connsiteX14" fmla="*/ 77388 w 126430"/>
                  <a:gd name="connsiteY14" fmla="*/ 51304 h 54488"/>
                  <a:gd name="connsiteX15" fmla="*/ 62010 w 126430"/>
                  <a:gd name="connsiteY15" fmla="*/ 50312 h 54488"/>
                  <a:gd name="connsiteX16" fmla="*/ 46631 w 126430"/>
                  <a:gd name="connsiteY16" fmla="*/ 50312 h 54488"/>
                  <a:gd name="connsiteX17" fmla="*/ 31253 w 126430"/>
                  <a:gd name="connsiteY17" fmla="*/ 51304 h 54488"/>
                  <a:gd name="connsiteX18" fmla="*/ 15875 w 126430"/>
                  <a:gd name="connsiteY18" fmla="*/ 52792 h 54488"/>
                  <a:gd name="connsiteX19" fmla="*/ 496 w 126430"/>
                  <a:gd name="connsiteY19" fmla="*/ 50312 h 5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430" h="54488">
                    <a:moveTo>
                      <a:pt x="0" y="2688"/>
                    </a:moveTo>
                    <a:cubicBezTo>
                      <a:pt x="7441" y="2688"/>
                      <a:pt x="7441" y="1696"/>
                      <a:pt x="15378" y="1696"/>
                    </a:cubicBezTo>
                    <a:cubicBezTo>
                      <a:pt x="23316" y="1696"/>
                      <a:pt x="22819" y="1696"/>
                      <a:pt x="30757" y="1696"/>
                    </a:cubicBezTo>
                    <a:cubicBezTo>
                      <a:pt x="38198" y="1696"/>
                      <a:pt x="38198" y="3185"/>
                      <a:pt x="46135" y="3185"/>
                    </a:cubicBezTo>
                    <a:cubicBezTo>
                      <a:pt x="53576" y="3185"/>
                      <a:pt x="53576" y="2192"/>
                      <a:pt x="61514" y="2192"/>
                    </a:cubicBezTo>
                    <a:cubicBezTo>
                      <a:pt x="68955" y="2192"/>
                      <a:pt x="68955" y="2192"/>
                      <a:pt x="76892" y="2192"/>
                    </a:cubicBezTo>
                    <a:cubicBezTo>
                      <a:pt x="84333" y="2192"/>
                      <a:pt x="84333" y="2688"/>
                      <a:pt x="92270" y="2688"/>
                    </a:cubicBezTo>
                    <a:cubicBezTo>
                      <a:pt x="99712" y="2688"/>
                      <a:pt x="99712" y="3185"/>
                      <a:pt x="107649" y="3185"/>
                    </a:cubicBezTo>
                    <a:cubicBezTo>
                      <a:pt x="115090" y="3185"/>
                      <a:pt x="118066" y="-3265"/>
                      <a:pt x="123027" y="2192"/>
                    </a:cubicBezTo>
                    <a:cubicBezTo>
                      <a:pt x="128484" y="8145"/>
                      <a:pt x="122035" y="10626"/>
                      <a:pt x="122035" y="18563"/>
                    </a:cubicBezTo>
                    <a:cubicBezTo>
                      <a:pt x="122035" y="26996"/>
                      <a:pt x="123027" y="26996"/>
                      <a:pt x="123027" y="34933"/>
                    </a:cubicBezTo>
                    <a:cubicBezTo>
                      <a:pt x="123027" y="42871"/>
                      <a:pt x="129972" y="46343"/>
                      <a:pt x="124019" y="52296"/>
                    </a:cubicBezTo>
                    <a:cubicBezTo>
                      <a:pt x="119059" y="57753"/>
                      <a:pt x="115586" y="51304"/>
                      <a:pt x="108145" y="51304"/>
                    </a:cubicBezTo>
                    <a:cubicBezTo>
                      <a:pt x="100704" y="51304"/>
                      <a:pt x="100704" y="52296"/>
                      <a:pt x="92767" y="52296"/>
                    </a:cubicBezTo>
                    <a:cubicBezTo>
                      <a:pt x="85325" y="52296"/>
                      <a:pt x="85325" y="51304"/>
                      <a:pt x="77388" y="51304"/>
                    </a:cubicBezTo>
                    <a:cubicBezTo>
                      <a:pt x="69947" y="51304"/>
                      <a:pt x="69947" y="50312"/>
                      <a:pt x="62010" y="50312"/>
                    </a:cubicBezTo>
                    <a:cubicBezTo>
                      <a:pt x="54569" y="50312"/>
                      <a:pt x="54569" y="50312"/>
                      <a:pt x="46631" y="50312"/>
                    </a:cubicBezTo>
                    <a:cubicBezTo>
                      <a:pt x="39190" y="50312"/>
                      <a:pt x="39190" y="51304"/>
                      <a:pt x="31253" y="51304"/>
                    </a:cubicBezTo>
                    <a:cubicBezTo>
                      <a:pt x="23812" y="51304"/>
                      <a:pt x="23812" y="52792"/>
                      <a:pt x="15875" y="52792"/>
                    </a:cubicBezTo>
                    <a:cubicBezTo>
                      <a:pt x="8433" y="52792"/>
                      <a:pt x="8433" y="50312"/>
                      <a:pt x="496" y="5031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4" name="Freeform: Shape 1713">
                <a:extLst>
                  <a:ext uri="{FF2B5EF4-FFF2-40B4-BE49-F238E27FC236}">
                    <a16:creationId xmlns:a16="http://schemas.microsoft.com/office/drawing/2014/main" id="{7A21B3C6-D1BC-CA3D-F05F-CB871FF3F972}"/>
                  </a:ext>
                </a:extLst>
              </p:cNvPr>
              <p:cNvSpPr/>
              <p:nvPr/>
            </p:nvSpPr>
            <p:spPr>
              <a:xfrm>
                <a:off x="4066267" y="3823964"/>
                <a:ext cx="300619" cy="609980"/>
              </a:xfrm>
              <a:custGeom>
                <a:avLst/>
                <a:gdLst>
                  <a:gd name="connsiteX0" fmla="*/ 2930 w 300619"/>
                  <a:gd name="connsiteY0" fmla="*/ 273143 h 609980"/>
                  <a:gd name="connsiteX1" fmla="*/ 2434 w 300619"/>
                  <a:gd name="connsiteY1" fmla="*/ 257269 h 609980"/>
                  <a:gd name="connsiteX2" fmla="*/ 3426 w 300619"/>
                  <a:gd name="connsiteY2" fmla="*/ 241394 h 609980"/>
                  <a:gd name="connsiteX3" fmla="*/ 3922 w 300619"/>
                  <a:gd name="connsiteY3" fmla="*/ 225520 h 609980"/>
                  <a:gd name="connsiteX4" fmla="*/ 2434 w 300619"/>
                  <a:gd name="connsiteY4" fmla="*/ 209645 h 609980"/>
                  <a:gd name="connsiteX5" fmla="*/ 2434 w 300619"/>
                  <a:gd name="connsiteY5" fmla="*/ 193771 h 609980"/>
                  <a:gd name="connsiteX6" fmla="*/ 3426 w 300619"/>
                  <a:gd name="connsiteY6" fmla="*/ 177896 h 609980"/>
                  <a:gd name="connsiteX7" fmla="*/ 3426 w 300619"/>
                  <a:gd name="connsiteY7" fmla="*/ 162022 h 609980"/>
                  <a:gd name="connsiteX8" fmla="*/ 1938 w 300619"/>
                  <a:gd name="connsiteY8" fmla="*/ 146147 h 609980"/>
                  <a:gd name="connsiteX9" fmla="*/ 1938 w 300619"/>
                  <a:gd name="connsiteY9" fmla="*/ 130273 h 609980"/>
                  <a:gd name="connsiteX10" fmla="*/ 2434 w 300619"/>
                  <a:gd name="connsiteY10" fmla="*/ 114398 h 609980"/>
                  <a:gd name="connsiteX11" fmla="*/ 3922 w 300619"/>
                  <a:gd name="connsiteY11" fmla="*/ 98524 h 609980"/>
                  <a:gd name="connsiteX12" fmla="*/ 2930 w 300619"/>
                  <a:gd name="connsiteY12" fmla="*/ 82649 h 609980"/>
                  <a:gd name="connsiteX13" fmla="*/ 2434 w 300619"/>
                  <a:gd name="connsiteY13" fmla="*/ 66775 h 609980"/>
                  <a:gd name="connsiteX14" fmla="*/ 3426 w 300619"/>
                  <a:gd name="connsiteY14" fmla="*/ 50900 h 609980"/>
                  <a:gd name="connsiteX15" fmla="*/ 3426 w 300619"/>
                  <a:gd name="connsiteY15" fmla="*/ 35026 h 609980"/>
                  <a:gd name="connsiteX16" fmla="*/ 1938 w 300619"/>
                  <a:gd name="connsiteY16" fmla="*/ 19151 h 609980"/>
                  <a:gd name="connsiteX17" fmla="*/ 2930 w 300619"/>
                  <a:gd name="connsiteY17" fmla="*/ 2781 h 609980"/>
                  <a:gd name="connsiteX18" fmla="*/ 19301 w 300619"/>
                  <a:gd name="connsiteY18" fmla="*/ 2285 h 609980"/>
                  <a:gd name="connsiteX19" fmla="*/ 35671 w 300619"/>
                  <a:gd name="connsiteY19" fmla="*/ 3277 h 609980"/>
                  <a:gd name="connsiteX20" fmla="*/ 52042 w 300619"/>
                  <a:gd name="connsiteY20" fmla="*/ 4269 h 609980"/>
                  <a:gd name="connsiteX21" fmla="*/ 68412 w 300619"/>
                  <a:gd name="connsiteY21" fmla="*/ 3277 h 609980"/>
                  <a:gd name="connsiteX22" fmla="*/ 84783 w 300619"/>
                  <a:gd name="connsiteY22" fmla="*/ 4269 h 609980"/>
                  <a:gd name="connsiteX23" fmla="*/ 101153 w 300619"/>
                  <a:gd name="connsiteY23" fmla="*/ 4269 h 609980"/>
                  <a:gd name="connsiteX24" fmla="*/ 117524 w 300619"/>
                  <a:gd name="connsiteY24" fmla="*/ 3277 h 609980"/>
                  <a:gd name="connsiteX25" fmla="*/ 133894 w 300619"/>
                  <a:gd name="connsiteY25" fmla="*/ 2285 h 609980"/>
                  <a:gd name="connsiteX26" fmla="*/ 150265 w 300619"/>
                  <a:gd name="connsiteY26" fmla="*/ 2781 h 609980"/>
                  <a:gd name="connsiteX27" fmla="*/ 166636 w 300619"/>
                  <a:gd name="connsiteY27" fmla="*/ 4765 h 609980"/>
                  <a:gd name="connsiteX28" fmla="*/ 183006 w 300619"/>
                  <a:gd name="connsiteY28" fmla="*/ 3277 h 609980"/>
                  <a:gd name="connsiteX29" fmla="*/ 199377 w 300619"/>
                  <a:gd name="connsiteY29" fmla="*/ 3773 h 609980"/>
                  <a:gd name="connsiteX30" fmla="*/ 215747 w 300619"/>
                  <a:gd name="connsiteY30" fmla="*/ 3773 h 609980"/>
                  <a:gd name="connsiteX31" fmla="*/ 232118 w 300619"/>
                  <a:gd name="connsiteY31" fmla="*/ 3277 h 609980"/>
                  <a:gd name="connsiteX32" fmla="*/ 248488 w 300619"/>
                  <a:gd name="connsiteY32" fmla="*/ 4269 h 609980"/>
                  <a:gd name="connsiteX33" fmla="*/ 264859 w 300619"/>
                  <a:gd name="connsiteY33" fmla="*/ 4765 h 609980"/>
                  <a:gd name="connsiteX34" fmla="*/ 281230 w 300619"/>
                  <a:gd name="connsiteY34" fmla="*/ 3277 h 609980"/>
                  <a:gd name="connsiteX35" fmla="*/ 298096 w 300619"/>
                  <a:gd name="connsiteY35" fmla="*/ 3773 h 609980"/>
                  <a:gd name="connsiteX36" fmla="*/ 297600 w 300619"/>
                  <a:gd name="connsiteY36" fmla="*/ 20640 h 609980"/>
                  <a:gd name="connsiteX37" fmla="*/ 298592 w 300619"/>
                  <a:gd name="connsiteY37" fmla="*/ 37010 h 609980"/>
                  <a:gd name="connsiteX38" fmla="*/ 296608 w 300619"/>
                  <a:gd name="connsiteY38" fmla="*/ 53381 h 609980"/>
                  <a:gd name="connsiteX39" fmla="*/ 298096 w 300619"/>
                  <a:gd name="connsiteY39" fmla="*/ 69751 h 609980"/>
                  <a:gd name="connsiteX40" fmla="*/ 298592 w 300619"/>
                  <a:gd name="connsiteY40" fmla="*/ 86122 h 609980"/>
                  <a:gd name="connsiteX41" fmla="*/ 298096 w 300619"/>
                  <a:gd name="connsiteY41" fmla="*/ 102492 h 609980"/>
                  <a:gd name="connsiteX42" fmla="*/ 298096 w 300619"/>
                  <a:gd name="connsiteY42" fmla="*/ 118863 h 609980"/>
                  <a:gd name="connsiteX43" fmla="*/ 296608 w 300619"/>
                  <a:gd name="connsiteY43" fmla="*/ 135233 h 609980"/>
                  <a:gd name="connsiteX44" fmla="*/ 296112 w 300619"/>
                  <a:gd name="connsiteY44" fmla="*/ 151604 h 609980"/>
                  <a:gd name="connsiteX45" fmla="*/ 296608 w 300619"/>
                  <a:gd name="connsiteY45" fmla="*/ 167975 h 609980"/>
                  <a:gd name="connsiteX46" fmla="*/ 297104 w 300619"/>
                  <a:gd name="connsiteY46" fmla="*/ 184345 h 609980"/>
                  <a:gd name="connsiteX47" fmla="*/ 298592 w 300619"/>
                  <a:gd name="connsiteY47" fmla="*/ 200716 h 609980"/>
                  <a:gd name="connsiteX48" fmla="*/ 298096 w 300619"/>
                  <a:gd name="connsiteY48" fmla="*/ 217086 h 609980"/>
                  <a:gd name="connsiteX49" fmla="*/ 296608 w 300619"/>
                  <a:gd name="connsiteY49" fmla="*/ 233457 h 609980"/>
                  <a:gd name="connsiteX50" fmla="*/ 298096 w 300619"/>
                  <a:gd name="connsiteY50" fmla="*/ 249828 h 609980"/>
                  <a:gd name="connsiteX51" fmla="*/ 298592 w 300619"/>
                  <a:gd name="connsiteY51" fmla="*/ 266198 h 609980"/>
                  <a:gd name="connsiteX52" fmla="*/ 298096 w 300619"/>
                  <a:gd name="connsiteY52" fmla="*/ 282569 h 609980"/>
                  <a:gd name="connsiteX53" fmla="*/ 297600 w 300619"/>
                  <a:gd name="connsiteY53" fmla="*/ 298939 h 609980"/>
                  <a:gd name="connsiteX54" fmla="*/ 298592 w 300619"/>
                  <a:gd name="connsiteY54" fmla="*/ 315310 h 609980"/>
                  <a:gd name="connsiteX55" fmla="*/ 297104 w 300619"/>
                  <a:gd name="connsiteY55" fmla="*/ 331680 h 609980"/>
                  <a:gd name="connsiteX56" fmla="*/ 296608 w 300619"/>
                  <a:gd name="connsiteY56" fmla="*/ 348051 h 609980"/>
                  <a:gd name="connsiteX57" fmla="*/ 298096 w 300619"/>
                  <a:gd name="connsiteY57" fmla="*/ 364421 h 609980"/>
                  <a:gd name="connsiteX58" fmla="*/ 298096 w 300619"/>
                  <a:gd name="connsiteY58" fmla="*/ 380792 h 609980"/>
                  <a:gd name="connsiteX59" fmla="*/ 298592 w 300619"/>
                  <a:gd name="connsiteY59" fmla="*/ 397163 h 609980"/>
                  <a:gd name="connsiteX60" fmla="*/ 296608 w 300619"/>
                  <a:gd name="connsiteY60" fmla="*/ 413533 h 609980"/>
                  <a:gd name="connsiteX61" fmla="*/ 298096 w 300619"/>
                  <a:gd name="connsiteY61" fmla="*/ 429904 h 609980"/>
                  <a:gd name="connsiteX62" fmla="*/ 299088 w 300619"/>
                  <a:gd name="connsiteY62" fmla="*/ 446274 h 609980"/>
                  <a:gd name="connsiteX63" fmla="*/ 297104 w 300619"/>
                  <a:gd name="connsiteY63" fmla="*/ 462645 h 609980"/>
                  <a:gd name="connsiteX64" fmla="*/ 298592 w 300619"/>
                  <a:gd name="connsiteY64" fmla="*/ 479016 h 609980"/>
                  <a:gd name="connsiteX65" fmla="*/ 299585 w 300619"/>
                  <a:gd name="connsiteY65" fmla="*/ 495386 h 609980"/>
                  <a:gd name="connsiteX66" fmla="*/ 298592 w 300619"/>
                  <a:gd name="connsiteY66" fmla="*/ 511757 h 609980"/>
                  <a:gd name="connsiteX67" fmla="*/ 298592 w 300619"/>
                  <a:gd name="connsiteY67" fmla="*/ 528127 h 609980"/>
                  <a:gd name="connsiteX68" fmla="*/ 299585 w 300619"/>
                  <a:gd name="connsiteY68" fmla="*/ 544498 h 609980"/>
                  <a:gd name="connsiteX69" fmla="*/ 299088 w 300619"/>
                  <a:gd name="connsiteY69" fmla="*/ 560869 h 609980"/>
                  <a:gd name="connsiteX70" fmla="*/ 297600 w 300619"/>
                  <a:gd name="connsiteY70" fmla="*/ 577239 h 609980"/>
                  <a:gd name="connsiteX71" fmla="*/ 298096 w 300619"/>
                  <a:gd name="connsiteY71" fmla="*/ 593610 h 609980"/>
                  <a:gd name="connsiteX72" fmla="*/ 297600 w 300619"/>
                  <a:gd name="connsiteY72" fmla="*/ 609980 h 609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300619" h="609980">
                    <a:moveTo>
                      <a:pt x="2930" y="273143"/>
                    </a:moveTo>
                    <a:cubicBezTo>
                      <a:pt x="2930" y="265206"/>
                      <a:pt x="2434" y="265206"/>
                      <a:pt x="2434" y="257269"/>
                    </a:cubicBezTo>
                    <a:cubicBezTo>
                      <a:pt x="2434" y="249331"/>
                      <a:pt x="3426" y="249331"/>
                      <a:pt x="3426" y="241394"/>
                    </a:cubicBezTo>
                    <a:cubicBezTo>
                      <a:pt x="3426" y="233457"/>
                      <a:pt x="3922" y="233457"/>
                      <a:pt x="3922" y="225520"/>
                    </a:cubicBezTo>
                    <a:cubicBezTo>
                      <a:pt x="3922" y="217583"/>
                      <a:pt x="2434" y="217583"/>
                      <a:pt x="2434" y="209645"/>
                    </a:cubicBezTo>
                    <a:cubicBezTo>
                      <a:pt x="2434" y="201708"/>
                      <a:pt x="2434" y="201708"/>
                      <a:pt x="2434" y="193771"/>
                    </a:cubicBezTo>
                    <a:cubicBezTo>
                      <a:pt x="2434" y="185833"/>
                      <a:pt x="3426" y="185833"/>
                      <a:pt x="3426" y="177896"/>
                    </a:cubicBezTo>
                    <a:cubicBezTo>
                      <a:pt x="3426" y="169959"/>
                      <a:pt x="3426" y="169959"/>
                      <a:pt x="3426" y="162022"/>
                    </a:cubicBezTo>
                    <a:cubicBezTo>
                      <a:pt x="3426" y="154085"/>
                      <a:pt x="1938" y="154085"/>
                      <a:pt x="1938" y="146147"/>
                    </a:cubicBezTo>
                    <a:cubicBezTo>
                      <a:pt x="1938" y="138210"/>
                      <a:pt x="1938" y="138210"/>
                      <a:pt x="1938" y="130273"/>
                    </a:cubicBezTo>
                    <a:cubicBezTo>
                      <a:pt x="1938" y="122336"/>
                      <a:pt x="2434" y="122336"/>
                      <a:pt x="2434" y="114398"/>
                    </a:cubicBezTo>
                    <a:cubicBezTo>
                      <a:pt x="2434" y="106461"/>
                      <a:pt x="3922" y="106461"/>
                      <a:pt x="3922" y="98524"/>
                    </a:cubicBezTo>
                    <a:cubicBezTo>
                      <a:pt x="3922" y="90586"/>
                      <a:pt x="2930" y="90586"/>
                      <a:pt x="2930" y="82649"/>
                    </a:cubicBezTo>
                    <a:cubicBezTo>
                      <a:pt x="2930" y="74712"/>
                      <a:pt x="2434" y="74712"/>
                      <a:pt x="2434" y="66775"/>
                    </a:cubicBezTo>
                    <a:cubicBezTo>
                      <a:pt x="2434" y="58838"/>
                      <a:pt x="3426" y="58838"/>
                      <a:pt x="3426" y="50900"/>
                    </a:cubicBezTo>
                    <a:cubicBezTo>
                      <a:pt x="3426" y="42963"/>
                      <a:pt x="3426" y="42963"/>
                      <a:pt x="3426" y="35026"/>
                    </a:cubicBezTo>
                    <a:cubicBezTo>
                      <a:pt x="3426" y="27088"/>
                      <a:pt x="1938" y="27088"/>
                      <a:pt x="1938" y="19151"/>
                    </a:cubicBezTo>
                    <a:cubicBezTo>
                      <a:pt x="1938" y="11214"/>
                      <a:pt x="-3023" y="8734"/>
                      <a:pt x="2930" y="2781"/>
                    </a:cubicBezTo>
                    <a:cubicBezTo>
                      <a:pt x="8883" y="-3172"/>
                      <a:pt x="11363" y="2285"/>
                      <a:pt x="19301" y="2285"/>
                    </a:cubicBezTo>
                    <a:cubicBezTo>
                      <a:pt x="27238" y="2285"/>
                      <a:pt x="27238" y="3277"/>
                      <a:pt x="35671" y="3277"/>
                    </a:cubicBezTo>
                    <a:cubicBezTo>
                      <a:pt x="43608" y="3277"/>
                      <a:pt x="43608" y="4269"/>
                      <a:pt x="52042" y="4269"/>
                    </a:cubicBezTo>
                    <a:cubicBezTo>
                      <a:pt x="60475" y="4269"/>
                      <a:pt x="60475" y="3277"/>
                      <a:pt x="68412" y="3277"/>
                    </a:cubicBezTo>
                    <a:cubicBezTo>
                      <a:pt x="76350" y="3277"/>
                      <a:pt x="76350" y="4269"/>
                      <a:pt x="84783" y="4269"/>
                    </a:cubicBezTo>
                    <a:cubicBezTo>
                      <a:pt x="93216" y="4269"/>
                      <a:pt x="93216" y="4269"/>
                      <a:pt x="101153" y="4269"/>
                    </a:cubicBezTo>
                    <a:cubicBezTo>
                      <a:pt x="109091" y="4269"/>
                      <a:pt x="109091" y="3277"/>
                      <a:pt x="117524" y="3277"/>
                    </a:cubicBezTo>
                    <a:cubicBezTo>
                      <a:pt x="125957" y="3277"/>
                      <a:pt x="125957" y="2285"/>
                      <a:pt x="133894" y="2285"/>
                    </a:cubicBezTo>
                    <a:cubicBezTo>
                      <a:pt x="142328" y="2285"/>
                      <a:pt x="142328" y="2781"/>
                      <a:pt x="150265" y="2781"/>
                    </a:cubicBezTo>
                    <a:cubicBezTo>
                      <a:pt x="158698" y="2781"/>
                      <a:pt x="158698" y="4765"/>
                      <a:pt x="166636" y="4765"/>
                    </a:cubicBezTo>
                    <a:cubicBezTo>
                      <a:pt x="175069" y="4765"/>
                      <a:pt x="175069" y="3277"/>
                      <a:pt x="183006" y="3277"/>
                    </a:cubicBezTo>
                    <a:cubicBezTo>
                      <a:pt x="191439" y="3277"/>
                      <a:pt x="191439" y="3773"/>
                      <a:pt x="199377" y="3773"/>
                    </a:cubicBezTo>
                    <a:cubicBezTo>
                      <a:pt x="207810" y="3773"/>
                      <a:pt x="207810" y="3773"/>
                      <a:pt x="215747" y="3773"/>
                    </a:cubicBezTo>
                    <a:cubicBezTo>
                      <a:pt x="224181" y="3773"/>
                      <a:pt x="224181" y="3277"/>
                      <a:pt x="232118" y="3277"/>
                    </a:cubicBezTo>
                    <a:cubicBezTo>
                      <a:pt x="240551" y="3277"/>
                      <a:pt x="240551" y="4269"/>
                      <a:pt x="248488" y="4269"/>
                    </a:cubicBezTo>
                    <a:cubicBezTo>
                      <a:pt x="256922" y="4269"/>
                      <a:pt x="256922" y="4765"/>
                      <a:pt x="264859" y="4765"/>
                    </a:cubicBezTo>
                    <a:cubicBezTo>
                      <a:pt x="273292" y="4765"/>
                      <a:pt x="273292" y="3277"/>
                      <a:pt x="281230" y="3277"/>
                    </a:cubicBezTo>
                    <a:cubicBezTo>
                      <a:pt x="289167" y="3277"/>
                      <a:pt x="292143" y="-2180"/>
                      <a:pt x="298096" y="3773"/>
                    </a:cubicBezTo>
                    <a:cubicBezTo>
                      <a:pt x="304049" y="9726"/>
                      <a:pt x="297600" y="12206"/>
                      <a:pt x="297600" y="20640"/>
                    </a:cubicBezTo>
                    <a:cubicBezTo>
                      <a:pt x="297600" y="29073"/>
                      <a:pt x="298592" y="29073"/>
                      <a:pt x="298592" y="37010"/>
                    </a:cubicBezTo>
                    <a:cubicBezTo>
                      <a:pt x="298592" y="45443"/>
                      <a:pt x="296608" y="45443"/>
                      <a:pt x="296608" y="53381"/>
                    </a:cubicBezTo>
                    <a:cubicBezTo>
                      <a:pt x="296608" y="61814"/>
                      <a:pt x="298096" y="61814"/>
                      <a:pt x="298096" y="69751"/>
                    </a:cubicBezTo>
                    <a:cubicBezTo>
                      <a:pt x="298096" y="78184"/>
                      <a:pt x="298592" y="78184"/>
                      <a:pt x="298592" y="86122"/>
                    </a:cubicBezTo>
                    <a:cubicBezTo>
                      <a:pt x="298592" y="94555"/>
                      <a:pt x="298096" y="94555"/>
                      <a:pt x="298096" y="102492"/>
                    </a:cubicBezTo>
                    <a:cubicBezTo>
                      <a:pt x="298096" y="110926"/>
                      <a:pt x="298096" y="110926"/>
                      <a:pt x="298096" y="118863"/>
                    </a:cubicBezTo>
                    <a:cubicBezTo>
                      <a:pt x="298096" y="127296"/>
                      <a:pt x="296608" y="127296"/>
                      <a:pt x="296608" y="135233"/>
                    </a:cubicBezTo>
                    <a:cubicBezTo>
                      <a:pt x="296608" y="143667"/>
                      <a:pt x="296112" y="143667"/>
                      <a:pt x="296112" y="151604"/>
                    </a:cubicBezTo>
                    <a:cubicBezTo>
                      <a:pt x="296112" y="160037"/>
                      <a:pt x="296608" y="160037"/>
                      <a:pt x="296608" y="167975"/>
                    </a:cubicBezTo>
                    <a:cubicBezTo>
                      <a:pt x="296608" y="176408"/>
                      <a:pt x="297104" y="176408"/>
                      <a:pt x="297104" y="184345"/>
                    </a:cubicBezTo>
                    <a:cubicBezTo>
                      <a:pt x="297104" y="192779"/>
                      <a:pt x="298592" y="192779"/>
                      <a:pt x="298592" y="200716"/>
                    </a:cubicBezTo>
                    <a:cubicBezTo>
                      <a:pt x="298592" y="209149"/>
                      <a:pt x="298096" y="209149"/>
                      <a:pt x="298096" y="217086"/>
                    </a:cubicBezTo>
                    <a:cubicBezTo>
                      <a:pt x="298096" y="225520"/>
                      <a:pt x="296608" y="225520"/>
                      <a:pt x="296608" y="233457"/>
                    </a:cubicBezTo>
                    <a:cubicBezTo>
                      <a:pt x="296608" y="241890"/>
                      <a:pt x="298096" y="241890"/>
                      <a:pt x="298096" y="249828"/>
                    </a:cubicBezTo>
                    <a:cubicBezTo>
                      <a:pt x="298096" y="258261"/>
                      <a:pt x="298592" y="258261"/>
                      <a:pt x="298592" y="266198"/>
                    </a:cubicBezTo>
                    <a:cubicBezTo>
                      <a:pt x="298592" y="274632"/>
                      <a:pt x="298096" y="274632"/>
                      <a:pt x="298096" y="282569"/>
                    </a:cubicBezTo>
                    <a:cubicBezTo>
                      <a:pt x="298096" y="291002"/>
                      <a:pt x="297600" y="291002"/>
                      <a:pt x="297600" y="298939"/>
                    </a:cubicBezTo>
                    <a:cubicBezTo>
                      <a:pt x="297600" y="307373"/>
                      <a:pt x="298592" y="307373"/>
                      <a:pt x="298592" y="315310"/>
                    </a:cubicBezTo>
                    <a:cubicBezTo>
                      <a:pt x="298592" y="323743"/>
                      <a:pt x="297104" y="323743"/>
                      <a:pt x="297104" y="331680"/>
                    </a:cubicBezTo>
                    <a:cubicBezTo>
                      <a:pt x="297104" y="340114"/>
                      <a:pt x="296608" y="340114"/>
                      <a:pt x="296608" y="348051"/>
                    </a:cubicBezTo>
                    <a:cubicBezTo>
                      <a:pt x="296608" y="356484"/>
                      <a:pt x="298096" y="356484"/>
                      <a:pt x="298096" y="364421"/>
                    </a:cubicBezTo>
                    <a:cubicBezTo>
                      <a:pt x="298096" y="372855"/>
                      <a:pt x="298096" y="372855"/>
                      <a:pt x="298096" y="380792"/>
                    </a:cubicBezTo>
                    <a:cubicBezTo>
                      <a:pt x="298096" y="389225"/>
                      <a:pt x="298592" y="389225"/>
                      <a:pt x="298592" y="397163"/>
                    </a:cubicBezTo>
                    <a:cubicBezTo>
                      <a:pt x="298592" y="405596"/>
                      <a:pt x="296608" y="405596"/>
                      <a:pt x="296608" y="413533"/>
                    </a:cubicBezTo>
                    <a:cubicBezTo>
                      <a:pt x="296608" y="421967"/>
                      <a:pt x="298096" y="421967"/>
                      <a:pt x="298096" y="429904"/>
                    </a:cubicBezTo>
                    <a:cubicBezTo>
                      <a:pt x="298096" y="438337"/>
                      <a:pt x="299088" y="438337"/>
                      <a:pt x="299088" y="446274"/>
                    </a:cubicBezTo>
                    <a:cubicBezTo>
                      <a:pt x="299088" y="454708"/>
                      <a:pt x="297104" y="454708"/>
                      <a:pt x="297104" y="462645"/>
                    </a:cubicBezTo>
                    <a:cubicBezTo>
                      <a:pt x="297104" y="471078"/>
                      <a:pt x="298592" y="471078"/>
                      <a:pt x="298592" y="479016"/>
                    </a:cubicBezTo>
                    <a:cubicBezTo>
                      <a:pt x="298592" y="487449"/>
                      <a:pt x="299585" y="487449"/>
                      <a:pt x="299585" y="495386"/>
                    </a:cubicBezTo>
                    <a:cubicBezTo>
                      <a:pt x="299585" y="503820"/>
                      <a:pt x="298592" y="503820"/>
                      <a:pt x="298592" y="511757"/>
                    </a:cubicBezTo>
                    <a:cubicBezTo>
                      <a:pt x="298592" y="520190"/>
                      <a:pt x="298592" y="520190"/>
                      <a:pt x="298592" y="528127"/>
                    </a:cubicBezTo>
                    <a:cubicBezTo>
                      <a:pt x="298592" y="536561"/>
                      <a:pt x="299585" y="536561"/>
                      <a:pt x="299585" y="544498"/>
                    </a:cubicBezTo>
                    <a:cubicBezTo>
                      <a:pt x="299585" y="552931"/>
                      <a:pt x="299088" y="552931"/>
                      <a:pt x="299088" y="560869"/>
                    </a:cubicBezTo>
                    <a:cubicBezTo>
                      <a:pt x="299088" y="569302"/>
                      <a:pt x="297600" y="569302"/>
                      <a:pt x="297600" y="577239"/>
                    </a:cubicBezTo>
                    <a:cubicBezTo>
                      <a:pt x="297600" y="585672"/>
                      <a:pt x="298096" y="585672"/>
                      <a:pt x="298096" y="593610"/>
                    </a:cubicBezTo>
                    <a:cubicBezTo>
                      <a:pt x="298096" y="601547"/>
                      <a:pt x="297600" y="602043"/>
                      <a:pt x="297600" y="6099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3F673D9D-1E24-13A5-D14A-D31A13DF655F}"/>
                </a:ext>
              </a:extLst>
            </p:cNvPr>
            <p:cNvSpPr/>
            <p:nvPr/>
          </p:nvSpPr>
          <p:spPr>
            <a:xfrm>
              <a:off x="4195201" y="3826248"/>
              <a:ext cx="2480" cy="349238"/>
            </a:xfrm>
            <a:custGeom>
              <a:avLst/>
              <a:gdLst>
                <a:gd name="connsiteX0" fmla="*/ 1984 w 2480"/>
                <a:gd name="connsiteY0" fmla="*/ 349239 h 349238"/>
                <a:gd name="connsiteX1" fmla="*/ 496 w 2480"/>
                <a:gd name="connsiteY1" fmla="*/ 333364 h 349238"/>
                <a:gd name="connsiteX2" fmla="*/ 992 w 2480"/>
                <a:gd name="connsiteY2" fmla="*/ 317490 h 349238"/>
                <a:gd name="connsiteX3" fmla="*/ 2480 w 2480"/>
                <a:gd name="connsiteY3" fmla="*/ 301615 h 349238"/>
                <a:gd name="connsiteX4" fmla="*/ 496 w 2480"/>
                <a:gd name="connsiteY4" fmla="*/ 285741 h 349238"/>
                <a:gd name="connsiteX5" fmla="*/ 1984 w 2480"/>
                <a:gd name="connsiteY5" fmla="*/ 269867 h 349238"/>
                <a:gd name="connsiteX6" fmla="*/ 496 w 2480"/>
                <a:gd name="connsiteY6" fmla="*/ 253992 h 349238"/>
                <a:gd name="connsiteX7" fmla="*/ 1984 w 2480"/>
                <a:gd name="connsiteY7" fmla="*/ 238117 h 349238"/>
                <a:gd name="connsiteX8" fmla="*/ 992 w 2480"/>
                <a:gd name="connsiteY8" fmla="*/ 222243 h 349238"/>
                <a:gd name="connsiteX9" fmla="*/ 992 w 2480"/>
                <a:gd name="connsiteY9" fmla="*/ 206369 h 349238"/>
                <a:gd name="connsiteX10" fmla="*/ 1984 w 2480"/>
                <a:gd name="connsiteY10" fmla="*/ 190494 h 349238"/>
                <a:gd name="connsiteX11" fmla="*/ 1984 w 2480"/>
                <a:gd name="connsiteY11" fmla="*/ 174619 h 349238"/>
                <a:gd name="connsiteX12" fmla="*/ 496 w 2480"/>
                <a:gd name="connsiteY12" fmla="*/ 158745 h 349238"/>
                <a:gd name="connsiteX13" fmla="*/ 1984 w 2480"/>
                <a:gd name="connsiteY13" fmla="*/ 142870 h 349238"/>
                <a:gd name="connsiteX14" fmla="*/ 1984 w 2480"/>
                <a:gd name="connsiteY14" fmla="*/ 126996 h 349238"/>
                <a:gd name="connsiteX15" fmla="*/ 992 w 2480"/>
                <a:gd name="connsiteY15" fmla="*/ 111122 h 349238"/>
                <a:gd name="connsiteX16" fmla="*/ 1984 w 2480"/>
                <a:gd name="connsiteY16" fmla="*/ 95247 h 349238"/>
                <a:gd name="connsiteX17" fmla="*/ 496 w 2480"/>
                <a:gd name="connsiteY17" fmla="*/ 79372 h 349238"/>
                <a:gd name="connsiteX18" fmla="*/ 992 w 2480"/>
                <a:gd name="connsiteY18" fmla="*/ 63498 h 349238"/>
                <a:gd name="connsiteX19" fmla="*/ 992 w 2480"/>
                <a:gd name="connsiteY19" fmla="*/ 47624 h 349238"/>
                <a:gd name="connsiteX20" fmla="*/ 496 w 2480"/>
                <a:gd name="connsiteY20" fmla="*/ 31749 h 349238"/>
                <a:gd name="connsiteX21" fmla="*/ 0 w 2480"/>
                <a:gd name="connsiteY21" fmla="*/ 15875 h 349238"/>
                <a:gd name="connsiteX22" fmla="*/ 1488 w 2480"/>
                <a:gd name="connsiteY22" fmla="*/ 0 h 34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80" h="349238">
                  <a:moveTo>
                    <a:pt x="1984" y="349239"/>
                  </a:moveTo>
                  <a:cubicBezTo>
                    <a:pt x="1984" y="341302"/>
                    <a:pt x="496" y="341302"/>
                    <a:pt x="496" y="333364"/>
                  </a:cubicBezTo>
                  <a:cubicBezTo>
                    <a:pt x="496" y="325427"/>
                    <a:pt x="992" y="325427"/>
                    <a:pt x="992" y="317490"/>
                  </a:cubicBezTo>
                  <a:cubicBezTo>
                    <a:pt x="992" y="309553"/>
                    <a:pt x="2480" y="309553"/>
                    <a:pt x="2480" y="301615"/>
                  </a:cubicBezTo>
                  <a:cubicBezTo>
                    <a:pt x="2480" y="293678"/>
                    <a:pt x="496" y="293678"/>
                    <a:pt x="496" y="285741"/>
                  </a:cubicBezTo>
                  <a:cubicBezTo>
                    <a:pt x="496" y="277804"/>
                    <a:pt x="1984" y="277804"/>
                    <a:pt x="1984" y="269867"/>
                  </a:cubicBezTo>
                  <a:cubicBezTo>
                    <a:pt x="1984" y="261929"/>
                    <a:pt x="496" y="261929"/>
                    <a:pt x="496" y="253992"/>
                  </a:cubicBezTo>
                  <a:cubicBezTo>
                    <a:pt x="496" y="246055"/>
                    <a:pt x="1984" y="246055"/>
                    <a:pt x="1984" y="238117"/>
                  </a:cubicBezTo>
                  <a:cubicBezTo>
                    <a:pt x="1984" y="230180"/>
                    <a:pt x="992" y="230180"/>
                    <a:pt x="992" y="222243"/>
                  </a:cubicBezTo>
                  <a:cubicBezTo>
                    <a:pt x="992" y="214306"/>
                    <a:pt x="992" y="214306"/>
                    <a:pt x="992" y="206369"/>
                  </a:cubicBezTo>
                  <a:cubicBezTo>
                    <a:pt x="992" y="198431"/>
                    <a:pt x="1984" y="198431"/>
                    <a:pt x="1984" y="190494"/>
                  </a:cubicBezTo>
                  <a:cubicBezTo>
                    <a:pt x="1984" y="182557"/>
                    <a:pt x="1984" y="182557"/>
                    <a:pt x="1984" y="174619"/>
                  </a:cubicBezTo>
                  <a:cubicBezTo>
                    <a:pt x="1984" y="166682"/>
                    <a:pt x="496" y="166682"/>
                    <a:pt x="496" y="158745"/>
                  </a:cubicBezTo>
                  <a:cubicBezTo>
                    <a:pt x="496" y="150808"/>
                    <a:pt x="1984" y="150808"/>
                    <a:pt x="1984" y="142870"/>
                  </a:cubicBezTo>
                  <a:cubicBezTo>
                    <a:pt x="1984" y="134933"/>
                    <a:pt x="1984" y="134933"/>
                    <a:pt x="1984" y="126996"/>
                  </a:cubicBezTo>
                  <a:cubicBezTo>
                    <a:pt x="1984" y="119059"/>
                    <a:pt x="992" y="119059"/>
                    <a:pt x="992" y="111122"/>
                  </a:cubicBezTo>
                  <a:cubicBezTo>
                    <a:pt x="992" y="103184"/>
                    <a:pt x="1984" y="103184"/>
                    <a:pt x="1984" y="95247"/>
                  </a:cubicBezTo>
                  <a:cubicBezTo>
                    <a:pt x="1984" y="87310"/>
                    <a:pt x="496" y="87310"/>
                    <a:pt x="496" y="79372"/>
                  </a:cubicBezTo>
                  <a:cubicBezTo>
                    <a:pt x="496" y="71435"/>
                    <a:pt x="992" y="71435"/>
                    <a:pt x="992" y="63498"/>
                  </a:cubicBezTo>
                  <a:cubicBezTo>
                    <a:pt x="992" y="55561"/>
                    <a:pt x="992" y="55561"/>
                    <a:pt x="992" y="47624"/>
                  </a:cubicBezTo>
                  <a:cubicBezTo>
                    <a:pt x="992" y="39686"/>
                    <a:pt x="496" y="39686"/>
                    <a:pt x="496" y="31749"/>
                  </a:cubicBezTo>
                  <a:cubicBezTo>
                    <a:pt x="496" y="23812"/>
                    <a:pt x="0" y="23812"/>
                    <a:pt x="0" y="15875"/>
                  </a:cubicBezTo>
                  <a:cubicBezTo>
                    <a:pt x="0" y="7937"/>
                    <a:pt x="1488" y="7937"/>
                    <a:pt x="148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3F477E87-91C5-D5DF-E961-02125D5F1D68}"/>
                </a:ext>
              </a:extLst>
            </p:cNvPr>
            <p:cNvSpPr/>
            <p:nvPr/>
          </p:nvSpPr>
          <p:spPr>
            <a:xfrm>
              <a:off x="4240840" y="3825256"/>
              <a:ext cx="2480" cy="650358"/>
            </a:xfrm>
            <a:custGeom>
              <a:avLst/>
              <a:gdLst>
                <a:gd name="connsiteX0" fmla="*/ 992 w 2480"/>
                <a:gd name="connsiteY0" fmla="*/ 0 h 650358"/>
                <a:gd name="connsiteX1" fmla="*/ 1488 w 2480"/>
                <a:gd name="connsiteY1" fmla="*/ 16371 h 650358"/>
                <a:gd name="connsiteX2" fmla="*/ 1488 w 2480"/>
                <a:gd name="connsiteY2" fmla="*/ 32245 h 650358"/>
                <a:gd name="connsiteX3" fmla="*/ 0 w 2480"/>
                <a:gd name="connsiteY3" fmla="*/ 48120 h 650358"/>
                <a:gd name="connsiteX4" fmla="*/ 1984 w 2480"/>
                <a:gd name="connsiteY4" fmla="*/ 63994 h 650358"/>
                <a:gd name="connsiteX5" fmla="*/ 496 w 2480"/>
                <a:gd name="connsiteY5" fmla="*/ 79869 h 650358"/>
                <a:gd name="connsiteX6" fmla="*/ 992 w 2480"/>
                <a:gd name="connsiteY6" fmla="*/ 96239 h 650358"/>
                <a:gd name="connsiteX7" fmla="*/ 992 w 2480"/>
                <a:gd name="connsiteY7" fmla="*/ 112610 h 650358"/>
                <a:gd name="connsiteX8" fmla="*/ 992 w 2480"/>
                <a:gd name="connsiteY8" fmla="*/ 128484 h 650358"/>
                <a:gd name="connsiteX9" fmla="*/ 1984 w 2480"/>
                <a:gd name="connsiteY9" fmla="*/ 144359 h 650358"/>
                <a:gd name="connsiteX10" fmla="*/ 1984 w 2480"/>
                <a:gd name="connsiteY10" fmla="*/ 160729 h 650358"/>
                <a:gd name="connsiteX11" fmla="*/ 1488 w 2480"/>
                <a:gd name="connsiteY11" fmla="*/ 177100 h 650358"/>
                <a:gd name="connsiteX12" fmla="*/ 992 w 2480"/>
                <a:gd name="connsiteY12" fmla="*/ 193470 h 650358"/>
                <a:gd name="connsiteX13" fmla="*/ 496 w 2480"/>
                <a:gd name="connsiteY13" fmla="*/ 209841 h 650358"/>
                <a:gd name="connsiteX14" fmla="*/ 1488 w 2480"/>
                <a:gd name="connsiteY14" fmla="*/ 226212 h 650358"/>
                <a:gd name="connsiteX15" fmla="*/ 0 w 2480"/>
                <a:gd name="connsiteY15" fmla="*/ 242582 h 650358"/>
                <a:gd name="connsiteX16" fmla="*/ 1488 w 2480"/>
                <a:gd name="connsiteY16" fmla="*/ 258953 h 650358"/>
                <a:gd name="connsiteX17" fmla="*/ 1488 w 2480"/>
                <a:gd name="connsiteY17" fmla="*/ 275323 h 650358"/>
                <a:gd name="connsiteX18" fmla="*/ 2480 w 2480"/>
                <a:gd name="connsiteY18" fmla="*/ 291694 h 650358"/>
                <a:gd name="connsiteX19" fmla="*/ 0 w 2480"/>
                <a:gd name="connsiteY19" fmla="*/ 308065 h 650358"/>
                <a:gd name="connsiteX20" fmla="*/ 0 w 2480"/>
                <a:gd name="connsiteY20" fmla="*/ 324435 h 650358"/>
                <a:gd name="connsiteX21" fmla="*/ 1488 w 2480"/>
                <a:gd name="connsiteY21" fmla="*/ 340806 h 650358"/>
                <a:gd name="connsiteX22" fmla="*/ 2480 w 2480"/>
                <a:gd name="connsiteY22" fmla="*/ 357176 h 650358"/>
                <a:gd name="connsiteX23" fmla="*/ 0 w 2480"/>
                <a:gd name="connsiteY23" fmla="*/ 373547 h 650358"/>
                <a:gd name="connsiteX24" fmla="*/ 1984 w 2480"/>
                <a:gd name="connsiteY24" fmla="*/ 389421 h 650358"/>
                <a:gd name="connsiteX25" fmla="*/ 1984 w 2480"/>
                <a:gd name="connsiteY25" fmla="*/ 405296 h 650358"/>
                <a:gd name="connsiteX26" fmla="*/ 1984 w 2480"/>
                <a:gd name="connsiteY26" fmla="*/ 421666 h 650358"/>
                <a:gd name="connsiteX27" fmla="*/ 1488 w 2480"/>
                <a:gd name="connsiteY27" fmla="*/ 437541 h 650358"/>
                <a:gd name="connsiteX28" fmla="*/ 0 w 2480"/>
                <a:gd name="connsiteY28" fmla="*/ 453911 h 650358"/>
                <a:gd name="connsiteX29" fmla="*/ 1488 w 2480"/>
                <a:gd name="connsiteY29" fmla="*/ 470282 h 650358"/>
                <a:gd name="connsiteX30" fmla="*/ 496 w 2480"/>
                <a:gd name="connsiteY30" fmla="*/ 486653 h 650358"/>
                <a:gd name="connsiteX31" fmla="*/ 1488 w 2480"/>
                <a:gd name="connsiteY31" fmla="*/ 503023 h 650358"/>
                <a:gd name="connsiteX32" fmla="*/ 1488 w 2480"/>
                <a:gd name="connsiteY32" fmla="*/ 519394 h 650358"/>
                <a:gd name="connsiteX33" fmla="*/ 1488 w 2480"/>
                <a:gd name="connsiteY33" fmla="*/ 535764 h 650358"/>
                <a:gd name="connsiteX34" fmla="*/ 1984 w 2480"/>
                <a:gd name="connsiteY34" fmla="*/ 552135 h 650358"/>
                <a:gd name="connsiteX35" fmla="*/ 496 w 2480"/>
                <a:gd name="connsiteY35" fmla="*/ 568506 h 650358"/>
                <a:gd name="connsiteX36" fmla="*/ 496 w 2480"/>
                <a:gd name="connsiteY36" fmla="*/ 584876 h 650358"/>
                <a:gd name="connsiteX37" fmla="*/ 1488 w 2480"/>
                <a:gd name="connsiteY37" fmla="*/ 601247 h 650358"/>
                <a:gd name="connsiteX38" fmla="*/ 992 w 2480"/>
                <a:gd name="connsiteY38" fmla="*/ 617617 h 650358"/>
                <a:gd name="connsiteX39" fmla="*/ 2480 w 2480"/>
                <a:gd name="connsiteY39" fmla="*/ 633988 h 650358"/>
                <a:gd name="connsiteX40" fmla="*/ 1984 w 2480"/>
                <a:gd name="connsiteY40" fmla="*/ 650358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0" h="650358">
                  <a:moveTo>
                    <a:pt x="992" y="0"/>
                  </a:moveTo>
                  <a:cubicBezTo>
                    <a:pt x="992" y="7937"/>
                    <a:pt x="1488" y="7937"/>
                    <a:pt x="1488" y="16371"/>
                  </a:cubicBezTo>
                  <a:cubicBezTo>
                    <a:pt x="1488" y="24308"/>
                    <a:pt x="1488" y="24308"/>
                    <a:pt x="1488" y="32245"/>
                  </a:cubicBezTo>
                  <a:cubicBezTo>
                    <a:pt x="1488" y="40182"/>
                    <a:pt x="0" y="40182"/>
                    <a:pt x="0" y="48120"/>
                  </a:cubicBezTo>
                  <a:cubicBezTo>
                    <a:pt x="0" y="56057"/>
                    <a:pt x="1984" y="56057"/>
                    <a:pt x="1984" y="63994"/>
                  </a:cubicBezTo>
                  <a:cubicBezTo>
                    <a:pt x="1984" y="71931"/>
                    <a:pt x="496" y="71931"/>
                    <a:pt x="496" y="79869"/>
                  </a:cubicBezTo>
                  <a:cubicBezTo>
                    <a:pt x="496" y="87806"/>
                    <a:pt x="992" y="87806"/>
                    <a:pt x="992" y="96239"/>
                  </a:cubicBezTo>
                  <a:cubicBezTo>
                    <a:pt x="992" y="104176"/>
                    <a:pt x="992" y="104176"/>
                    <a:pt x="992" y="112610"/>
                  </a:cubicBezTo>
                  <a:cubicBezTo>
                    <a:pt x="992" y="120547"/>
                    <a:pt x="992" y="120547"/>
                    <a:pt x="992" y="128484"/>
                  </a:cubicBezTo>
                  <a:cubicBezTo>
                    <a:pt x="992" y="136421"/>
                    <a:pt x="1984" y="136421"/>
                    <a:pt x="1984" y="144359"/>
                  </a:cubicBezTo>
                  <a:cubicBezTo>
                    <a:pt x="1984" y="152296"/>
                    <a:pt x="1984" y="152296"/>
                    <a:pt x="1984" y="160729"/>
                  </a:cubicBezTo>
                  <a:cubicBezTo>
                    <a:pt x="1984" y="168666"/>
                    <a:pt x="1488" y="168666"/>
                    <a:pt x="1488" y="177100"/>
                  </a:cubicBezTo>
                  <a:cubicBezTo>
                    <a:pt x="1488" y="185037"/>
                    <a:pt x="992" y="185037"/>
                    <a:pt x="992" y="193470"/>
                  </a:cubicBezTo>
                  <a:cubicBezTo>
                    <a:pt x="992" y="201408"/>
                    <a:pt x="496" y="201408"/>
                    <a:pt x="496" y="209841"/>
                  </a:cubicBezTo>
                  <a:cubicBezTo>
                    <a:pt x="496" y="217778"/>
                    <a:pt x="1488" y="217778"/>
                    <a:pt x="1488" y="226212"/>
                  </a:cubicBezTo>
                  <a:cubicBezTo>
                    <a:pt x="1488" y="234149"/>
                    <a:pt x="0" y="234149"/>
                    <a:pt x="0" y="242582"/>
                  </a:cubicBezTo>
                  <a:cubicBezTo>
                    <a:pt x="0" y="250519"/>
                    <a:pt x="1488" y="250519"/>
                    <a:pt x="1488" y="258953"/>
                  </a:cubicBezTo>
                  <a:cubicBezTo>
                    <a:pt x="1488" y="266890"/>
                    <a:pt x="1488" y="266890"/>
                    <a:pt x="1488" y="275323"/>
                  </a:cubicBezTo>
                  <a:cubicBezTo>
                    <a:pt x="1488" y="283261"/>
                    <a:pt x="2480" y="283261"/>
                    <a:pt x="2480" y="291694"/>
                  </a:cubicBezTo>
                  <a:cubicBezTo>
                    <a:pt x="2480" y="299631"/>
                    <a:pt x="0" y="299631"/>
                    <a:pt x="0" y="308065"/>
                  </a:cubicBezTo>
                  <a:cubicBezTo>
                    <a:pt x="0" y="316002"/>
                    <a:pt x="0" y="316002"/>
                    <a:pt x="0" y="324435"/>
                  </a:cubicBezTo>
                  <a:cubicBezTo>
                    <a:pt x="0" y="332372"/>
                    <a:pt x="1488" y="332372"/>
                    <a:pt x="1488" y="340806"/>
                  </a:cubicBezTo>
                  <a:cubicBezTo>
                    <a:pt x="1488" y="348743"/>
                    <a:pt x="2480" y="348743"/>
                    <a:pt x="2480" y="357176"/>
                  </a:cubicBezTo>
                  <a:cubicBezTo>
                    <a:pt x="2480" y="365114"/>
                    <a:pt x="0" y="365114"/>
                    <a:pt x="0" y="373547"/>
                  </a:cubicBezTo>
                  <a:cubicBezTo>
                    <a:pt x="0" y="381484"/>
                    <a:pt x="1984" y="381484"/>
                    <a:pt x="1984" y="389421"/>
                  </a:cubicBezTo>
                  <a:cubicBezTo>
                    <a:pt x="1984" y="397359"/>
                    <a:pt x="1984" y="397359"/>
                    <a:pt x="1984" y="405296"/>
                  </a:cubicBezTo>
                  <a:cubicBezTo>
                    <a:pt x="1984" y="413233"/>
                    <a:pt x="1984" y="413233"/>
                    <a:pt x="1984" y="421666"/>
                  </a:cubicBezTo>
                  <a:cubicBezTo>
                    <a:pt x="1984" y="429604"/>
                    <a:pt x="1488" y="429604"/>
                    <a:pt x="1488" y="437541"/>
                  </a:cubicBezTo>
                  <a:cubicBezTo>
                    <a:pt x="1488" y="445478"/>
                    <a:pt x="0" y="445478"/>
                    <a:pt x="0" y="453911"/>
                  </a:cubicBezTo>
                  <a:cubicBezTo>
                    <a:pt x="0" y="461849"/>
                    <a:pt x="1488" y="461849"/>
                    <a:pt x="1488" y="470282"/>
                  </a:cubicBezTo>
                  <a:cubicBezTo>
                    <a:pt x="1488" y="478219"/>
                    <a:pt x="496" y="478219"/>
                    <a:pt x="496" y="486653"/>
                  </a:cubicBezTo>
                  <a:cubicBezTo>
                    <a:pt x="496" y="494590"/>
                    <a:pt x="1488" y="494590"/>
                    <a:pt x="1488" y="503023"/>
                  </a:cubicBezTo>
                  <a:cubicBezTo>
                    <a:pt x="1488" y="510960"/>
                    <a:pt x="1488" y="510960"/>
                    <a:pt x="1488" y="519394"/>
                  </a:cubicBezTo>
                  <a:cubicBezTo>
                    <a:pt x="1488" y="527331"/>
                    <a:pt x="1488" y="527331"/>
                    <a:pt x="1488" y="535764"/>
                  </a:cubicBezTo>
                  <a:cubicBezTo>
                    <a:pt x="1488" y="544198"/>
                    <a:pt x="1984" y="543702"/>
                    <a:pt x="1984" y="552135"/>
                  </a:cubicBezTo>
                  <a:cubicBezTo>
                    <a:pt x="1984" y="560072"/>
                    <a:pt x="496" y="560072"/>
                    <a:pt x="496" y="568506"/>
                  </a:cubicBezTo>
                  <a:cubicBezTo>
                    <a:pt x="496" y="576443"/>
                    <a:pt x="496" y="576443"/>
                    <a:pt x="496" y="584876"/>
                  </a:cubicBezTo>
                  <a:cubicBezTo>
                    <a:pt x="496" y="592813"/>
                    <a:pt x="1488" y="592813"/>
                    <a:pt x="1488" y="601247"/>
                  </a:cubicBezTo>
                  <a:cubicBezTo>
                    <a:pt x="1488" y="609184"/>
                    <a:pt x="992" y="609184"/>
                    <a:pt x="992" y="617617"/>
                  </a:cubicBezTo>
                  <a:cubicBezTo>
                    <a:pt x="992" y="625554"/>
                    <a:pt x="2480" y="625554"/>
                    <a:pt x="2480" y="633988"/>
                  </a:cubicBezTo>
                  <a:cubicBezTo>
                    <a:pt x="2480" y="641925"/>
                    <a:pt x="1984" y="641925"/>
                    <a:pt x="1984" y="65035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86" name="Graphic 10">
              <a:extLst>
                <a:ext uri="{FF2B5EF4-FFF2-40B4-BE49-F238E27FC236}">
                  <a16:creationId xmlns:a16="http://schemas.microsoft.com/office/drawing/2014/main" id="{F9E41357-DCFB-E7FF-F8F7-D3613DD33921}"/>
                </a:ext>
              </a:extLst>
            </p:cNvPr>
            <p:cNvGrpSpPr/>
            <p:nvPr/>
          </p:nvGrpSpPr>
          <p:grpSpPr>
            <a:xfrm>
              <a:off x="4049273" y="3087546"/>
              <a:ext cx="333745" cy="331422"/>
              <a:chOff x="4049273" y="3087546"/>
              <a:chExt cx="333745" cy="331422"/>
            </a:xfrm>
            <a:noFill/>
          </p:grpSpPr>
          <p:grpSp>
            <p:nvGrpSpPr>
              <p:cNvPr id="1705" name="Graphic 10">
                <a:extLst>
                  <a:ext uri="{FF2B5EF4-FFF2-40B4-BE49-F238E27FC236}">
                    <a16:creationId xmlns:a16="http://schemas.microsoft.com/office/drawing/2014/main" id="{752B3889-699C-4869-A012-E04B4028F54C}"/>
                  </a:ext>
                </a:extLst>
              </p:cNvPr>
              <p:cNvGrpSpPr/>
              <p:nvPr/>
            </p:nvGrpSpPr>
            <p:grpSpPr>
              <a:xfrm>
                <a:off x="4049273" y="3087546"/>
                <a:ext cx="333745" cy="331422"/>
                <a:chOff x="4049273" y="3087546"/>
                <a:chExt cx="333745" cy="331422"/>
              </a:xfrm>
              <a:noFill/>
            </p:grpSpPr>
            <p:sp>
              <p:nvSpPr>
                <p:cNvPr id="1708" name="Freeform: Shape 1707">
                  <a:extLst>
                    <a:ext uri="{FF2B5EF4-FFF2-40B4-BE49-F238E27FC236}">
                      <a16:creationId xmlns:a16="http://schemas.microsoft.com/office/drawing/2014/main" id="{7D4679DF-4770-53F1-1C09-CAEAD6D77A71}"/>
                    </a:ext>
                  </a:extLst>
                </p:cNvPr>
                <p:cNvSpPr/>
                <p:nvPr/>
              </p:nvSpPr>
              <p:spPr>
                <a:xfrm>
                  <a:off x="4049273" y="3087546"/>
                  <a:ext cx="333745" cy="331422"/>
                </a:xfrm>
                <a:custGeom>
                  <a:avLst/>
                  <a:gdLst>
                    <a:gd name="connsiteX0" fmla="*/ 4049 w 333745"/>
                    <a:gd name="connsiteY0" fmla="*/ 330430 h 331422"/>
                    <a:gd name="connsiteX1" fmla="*/ 2561 w 333745"/>
                    <a:gd name="connsiteY1" fmla="*/ 314060 h 331422"/>
                    <a:gd name="connsiteX2" fmla="*/ 4545 w 333745"/>
                    <a:gd name="connsiteY2" fmla="*/ 297689 h 331422"/>
                    <a:gd name="connsiteX3" fmla="*/ 4545 w 333745"/>
                    <a:gd name="connsiteY3" fmla="*/ 281319 h 331422"/>
                    <a:gd name="connsiteX4" fmla="*/ 3057 w 333745"/>
                    <a:gd name="connsiteY4" fmla="*/ 264948 h 331422"/>
                    <a:gd name="connsiteX5" fmla="*/ 4049 w 333745"/>
                    <a:gd name="connsiteY5" fmla="*/ 248578 h 331422"/>
                    <a:gd name="connsiteX6" fmla="*/ 4545 w 333745"/>
                    <a:gd name="connsiteY6" fmla="*/ 232207 h 331422"/>
                    <a:gd name="connsiteX7" fmla="*/ 3057 w 333745"/>
                    <a:gd name="connsiteY7" fmla="*/ 215837 h 331422"/>
                    <a:gd name="connsiteX8" fmla="*/ 3553 w 333745"/>
                    <a:gd name="connsiteY8" fmla="*/ 199466 h 331422"/>
                    <a:gd name="connsiteX9" fmla="*/ 3553 w 333745"/>
                    <a:gd name="connsiteY9" fmla="*/ 183095 h 331422"/>
                    <a:gd name="connsiteX10" fmla="*/ 4049 w 333745"/>
                    <a:gd name="connsiteY10" fmla="*/ 166725 h 331422"/>
                    <a:gd name="connsiteX11" fmla="*/ 4545 w 333745"/>
                    <a:gd name="connsiteY11" fmla="*/ 150354 h 331422"/>
                    <a:gd name="connsiteX12" fmla="*/ 2561 w 333745"/>
                    <a:gd name="connsiteY12" fmla="*/ 133984 h 331422"/>
                    <a:gd name="connsiteX13" fmla="*/ 2561 w 333745"/>
                    <a:gd name="connsiteY13" fmla="*/ 117613 h 331422"/>
                    <a:gd name="connsiteX14" fmla="*/ 4545 w 333745"/>
                    <a:gd name="connsiteY14" fmla="*/ 101242 h 331422"/>
                    <a:gd name="connsiteX15" fmla="*/ 2065 w 333745"/>
                    <a:gd name="connsiteY15" fmla="*/ 84872 h 331422"/>
                    <a:gd name="connsiteX16" fmla="*/ 3057 w 333745"/>
                    <a:gd name="connsiteY16" fmla="*/ 68501 h 331422"/>
                    <a:gd name="connsiteX17" fmla="*/ 2561 w 333745"/>
                    <a:gd name="connsiteY17" fmla="*/ 52131 h 331422"/>
                    <a:gd name="connsiteX18" fmla="*/ 3553 w 333745"/>
                    <a:gd name="connsiteY18" fmla="*/ 35760 h 331422"/>
                    <a:gd name="connsiteX19" fmla="*/ 2065 w 333745"/>
                    <a:gd name="connsiteY19" fmla="*/ 19390 h 331422"/>
                    <a:gd name="connsiteX20" fmla="*/ 2561 w 333745"/>
                    <a:gd name="connsiteY20" fmla="*/ 2523 h 331422"/>
                    <a:gd name="connsiteX21" fmla="*/ 19428 w 333745"/>
                    <a:gd name="connsiteY21" fmla="*/ 3019 h 331422"/>
                    <a:gd name="connsiteX22" fmla="*/ 35798 w 333745"/>
                    <a:gd name="connsiteY22" fmla="*/ 2027 h 331422"/>
                    <a:gd name="connsiteX23" fmla="*/ 52169 w 333745"/>
                    <a:gd name="connsiteY23" fmla="*/ 3019 h 331422"/>
                    <a:gd name="connsiteX24" fmla="*/ 68539 w 333745"/>
                    <a:gd name="connsiteY24" fmla="*/ 3019 h 331422"/>
                    <a:gd name="connsiteX25" fmla="*/ 84910 w 333745"/>
                    <a:gd name="connsiteY25" fmla="*/ 4507 h 331422"/>
                    <a:gd name="connsiteX26" fmla="*/ 101280 w 333745"/>
                    <a:gd name="connsiteY26" fmla="*/ 3019 h 331422"/>
                    <a:gd name="connsiteX27" fmla="*/ 117651 w 333745"/>
                    <a:gd name="connsiteY27" fmla="*/ 3019 h 331422"/>
                    <a:gd name="connsiteX28" fmla="*/ 134021 w 333745"/>
                    <a:gd name="connsiteY28" fmla="*/ 3515 h 331422"/>
                    <a:gd name="connsiteX29" fmla="*/ 150392 w 333745"/>
                    <a:gd name="connsiteY29" fmla="*/ 5003 h 331422"/>
                    <a:gd name="connsiteX30" fmla="*/ 166763 w 333745"/>
                    <a:gd name="connsiteY30" fmla="*/ 3515 h 331422"/>
                    <a:gd name="connsiteX31" fmla="*/ 183133 w 333745"/>
                    <a:gd name="connsiteY31" fmla="*/ 5003 h 331422"/>
                    <a:gd name="connsiteX32" fmla="*/ 199504 w 333745"/>
                    <a:gd name="connsiteY32" fmla="*/ 4011 h 331422"/>
                    <a:gd name="connsiteX33" fmla="*/ 215874 w 333745"/>
                    <a:gd name="connsiteY33" fmla="*/ 5003 h 331422"/>
                    <a:gd name="connsiteX34" fmla="*/ 232245 w 333745"/>
                    <a:gd name="connsiteY34" fmla="*/ 3019 h 331422"/>
                    <a:gd name="connsiteX35" fmla="*/ 248616 w 333745"/>
                    <a:gd name="connsiteY35" fmla="*/ 5003 h 331422"/>
                    <a:gd name="connsiteX36" fmla="*/ 264986 w 333745"/>
                    <a:gd name="connsiteY36" fmla="*/ 3019 h 331422"/>
                    <a:gd name="connsiteX37" fmla="*/ 281357 w 333745"/>
                    <a:gd name="connsiteY37" fmla="*/ 4507 h 331422"/>
                    <a:gd name="connsiteX38" fmla="*/ 297727 w 333745"/>
                    <a:gd name="connsiteY38" fmla="*/ 5003 h 331422"/>
                    <a:gd name="connsiteX39" fmla="*/ 314098 w 333745"/>
                    <a:gd name="connsiteY39" fmla="*/ 4507 h 331422"/>
                    <a:gd name="connsiteX40" fmla="*/ 330964 w 333745"/>
                    <a:gd name="connsiteY40" fmla="*/ 3515 h 331422"/>
                    <a:gd name="connsiteX41" fmla="*/ 331461 w 333745"/>
                    <a:gd name="connsiteY41" fmla="*/ 20382 h 331422"/>
                    <a:gd name="connsiteX42" fmla="*/ 329972 w 333745"/>
                    <a:gd name="connsiteY42" fmla="*/ 36752 h 331422"/>
                    <a:gd name="connsiteX43" fmla="*/ 331957 w 333745"/>
                    <a:gd name="connsiteY43" fmla="*/ 53123 h 331422"/>
                    <a:gd name="connsiteX44" fmla="*/ 330469 w 333745"/>
                    <a:gd name="connsiteY44" fmla="*/ 69494 h 331422"/>
                    <a:gd name="connsiteX45" fmla="*/ 330964 w 333745"/>
                    <a:gd name="connsiteY45" fmla="*/ 85864 h 331422"/>
                    <a:gd name="connsiteX46" fmla="*/ 331461 w 333745"/>
                    <a:gd name="connsiteY46" fmla="*/ 102235 h 331422"/>
                    <a:gd name="connsiteX47" fmla="*/ 331461 w 333745"/>
                    <a:gd name="connsiteY47" fmla="*/ 118605 h 331422"/>
                    <a:gd name="connsiteX48" fmla="*/ 331957 w 333745"/>
                    <a:gd name="connsiteY48" fmla="*/ 134976 h 331422"/>
                    <a:gd name="connsiteX49" fmla="*/ 330469 w 333745"/>
                    <a:gd name="connsiteY49" fmla="*/ 151346 h 331422"/>
                    <a:gd name="connsiteX50" fmla="*/ 330964 w 333745"/>
                    <a:gd name="connsiteY50" fmla="*/ 167717 h 331422"/>
                    <a:gd name="connsiteX51" fmla="*/ 329972 w 333745"/>
                    <a:gd name="connsiteY51" fmla="*/ 184087 h 331422"/>
                    <a:gd name="connsiteX52" fmla="*/ 330964 w 333745"/>
                    <a:gd name="connsiteY52" fmla="*/ 200458 h 331422"/>
                    <a:gd name="connsiteX53" fmla="*/ 330469 w 333745"/>
                    <a:gd name="connsiteY53" fmla="*/ 216828 h 331422"/>
                    <a:gd name="connsiteX54" fmla="*/ 331461 w 333745"/>
                    <a:gd name="connsiteY54" fmla="*/ 233199 h 331422"/>
                    <a:gd name="connsiteX55" fmla="*/ 331957 w 333745"/>
                    <a:gd name="connsiteY55" fmla="*/ 249570 h 331422"/>
                    <a:gd name="connsiteX56" fmla="*/ 331957 w 333745"/>
                    <a:gd name="connsiteY56" fmla="*/ 265940 h 331422"/>
                    <a:gd name="connsiteX57" fmla="*/ 330469 w 333745"/>
                    <a:gd name="connsiteY57" fmla="*/ 282311 h 331422"/>
                    <a:gd name="connsiteX58" fmla="*/ 331461 w 333745"/>
                    <a:gd name="connsiteY58" fmla="*/ 298681 h 331422"/>
                    <a:gd name="connsiteX59" fmla="*/ 329972 w 333745"/>
                    <a:gd name="connsiteY59" fmla="*/ 315052 h 331422"/>
                    <a:gd name="connsiteX60" fmla="*/ 330964 w 333745"/>
                    <a:gd name="connsiteY60" fmla="*/ 331423 h 3314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333745" h="331422">
                      <a:moveTo>
                        <a:pt x="4049" y="330430"/>
                      </a:moveTo>
                      <a:cubicBezTo>
                        <a:pt x="4049" y="322493"/>
                        <a:pt x="2561" y="322493"/>
                        <a:pt x="2561" y="314060"/>
                      </a:cubicBezTo>
                      <a:cubicBezTo>
                        <a:pt x="2561" y="306123"/>
                        <a:pt x="4545" y="306123"/>
                        <a:pt x="4545" y="297689"/>
                      </a:cubicBezTo>
                      <a:cubicBezTo>
                        <a:pt x="4545" y="289752"/>
                        <a:pt x="4545" y="289752"/>
                        <a:pt x="4545" y="281319"/>
                      </a:cubicBezTo>
                      <a:cubicBezTo>
                        <a:pt x="4545" y="273381"/>
                        <a:pt x="3057" y="273381"/>
                        <a:pt x="3057" y="264948"/>
                      </a:cubicBezTo>
                      <a:cubicBezTo>
                        <a:pt x="3057" y="257011"/>
                        <a:pt x="4049" y="257011"/>
                        <a:pt x="4049" y="248578"/>
                      </a:cubicBezTo>
                      <a:cubicBezTo>
                        <a:pt x="4049" y="240640"/>
                        <a:pt x="4545" y="240640"/>
                        <a:pt x="4545" y="232207"/>
                      </a:cubicBezTo>
                      <a:cubicBezTo>
                        <a:pt x="4545" y="224270"/>
                        <a:pt x="3057" y="224270"/>
                        <a:pt x="3057" y="215837"/>
                      </a:cubicBezTo>
                      <a:cubicBezTo>
                        <a:pt x="3057" y="207899"/>
                        <a:pt x="3553" y="207899"/>
                        <a:pt x="3553" y="199466"/>
                      </a:cubicBezTo>
                      <a:cubicBezTo>
                        <a:pt x="3553" y="191529"/>
                        <a:pt x="3553" y="191529"/>
                        <a:pt x="3553" y="183095"/>
                      </a:cubicBezTo>
                      <a:cubicBezTo>
                        <a:pt x="3553" y="175158"/>
                        <a:pt x="4049" y="175158"/>
                        <a:pt x="4049" y="166725"/>
                      </a:cubicBezTo>
                      <a:cubicBezTo>
                        <a:pt x="4049" y="158788"/>
                        <a:pt x="4545" y="158788"/>
                        <a:pt x="4545" y="150354"/>
                      </a:cubicBezTo>
                      <a:cubicBezTo>
                        <a:pt x="4545" y="142417"/>
                        <a:pt x="2561" y="142417"/>
                        <a:pt x="2561" y="133984"/>
                      </a:cubicBezTo>
                      <a:cubicBezTo>
                        <a:pt x="2561" y="126046"/>
                        <a:pt x="2561" y="126046"/>
                        <a:pt x="2561" y="117613"/>
                      </a:cubicBezTo>
                      <a:cubicBezTo>
                        <a:pt x="2561" y="109676"/>
                        <a:pt x="4545" y="109676"/>
                        <a:pt x="4545" y="101242"/>
                      </a:cubicBezTo>
                      <a:cubicBezTo>
                        <a:pt x="4545" y="93305"/>
                        <a:pt x="2065" y="93305"/>
                        <a:pt x="2065" y="84872"/>
                      </a:cubicBezTo>
                      <a:cubicBezTo>
                        <a:pt x="2065" y="76935"/>
                        <a:pt x="3057" y="76935"/>
                        <a:pt x="3057" y="68501"/>
                      </a:cubicBezTo>
                      <a:cubicBezTo>
                        <a:pt x="3057" y="60564"/>
                        <a:pt x="2561" y="60564"/>
                        <a:pt x="2561" y="52131"/>
                      </a:cubicBezTo>
                      <a:cubicBezTo>
                        <a:pt x="2561" y="44193"/>
                        <a:pt x="3553" y="44193"/>
                        <a:pt x="3553" y="35760"/>
                      </a:cubicBezTo>
                      <a:cubicBezTo>
                        <a:pt x="3553" y="27823"/>
                        <a:pt x="2065" y="27823"/>
                        <a:pt x="2065" y="19390"/>
                      </a:cubicBezTo>
                      <a:cubicBezTo>
                        <a:pt x="2065" y="10956"/>
                        <a:pt x="-2896" y="8476"/>
                        <a:pt x="2561" y="2523"/>
                      </a:cubicBezTo>
                      <a:cubicBezTo>
                        <a:pt x="8514" y="-3430"/>
                        <a:pt x="11490" y="3019"/>
                        <a:pt x="19428" y="3019"/>
                      </a:cubicBezTo>
                      <a:cubicBezTo>
                        <a:pt x="27861" y="3019"/>
                        <a:pt x="27861" y="2027"/>
                        <a:pt x="35798" y="2027"/>
                      </a:cubicBezTo>
                      <a:cubicBezTo>
                        <a:pt x="44231" y="2027"/>
                        <a:pt x="44231" y="3019"/>
                        <a:pt x="52169" y="3019"/>
                      </a:cubicBezTo>
                      <a:cubicBezTo>
                        <a:pt x="60602" y="3019"/>
                        <a:pt x="60602" y="3019"/>
                        <a:pt x="68539" y="3019"/>
                      </a:cubicBezTo>
                      <a:cubicBezTo>
                        <a:pt x="76973" y="3019"/>
                        <a:pt x="76973" y="4507"/>
                        <a:pt x="84910" y="4507"/>
                      </a:cubicBezTo>
                      <a:cubicBezTo>
                        <a:pt x="93343" y="4507"/>
                        <a:pt x="93343" y="3019"/>
                        <a:pt x="101280" y="3019"/>
                      </a:cubicBezTo>
                      <a:cubicBezTo>
                        <a:pt x="109714" y="3019"/>
                        <a:pt x="109714" y="3019"/>
                        <a:pt x="117651" y="3019"/>
                      </a:cubicBezTo>
                      <a:cubicBezTo>
                        <a:pt x="126084" y="3019"/>
                        <a:pt x="126084" y="3515"/>
                        <a:pt x="134021" y="3515"/>
                      </a:cubicBezTo>
                      <a:cubicBezTo>
                        <a:pt x="142455" y="3515"/>
                        <a:pt x="142455" y="5003"/>
                        <a:pt x="150392" y="5003"/>
                      </a:cubicBezTo>
                      <a:cubicBezTo>
                        <a:pt x="158825" y="5003"/>
                        <a:pt x="158825" y="3515"/>
                        <a:pt x="166763" y="3515"/>
                      </a:cubicBezTo>
                      <a:cubicBezTo>
                        <a:pt x="175196" y="3515"/>
                        <a:pt x="175196" y="5003"/>
                        <a:pt x="183133" y="5003"/>
                      </a:cubicBezTo>
                      <a:cubicBezTo>
                        <a:pt x="191567" y="5003"/>
                        <a:pt x="191567" y="4011"/>
                        <a:pt x="199504" y="4011"/>
                      </a:cubicBezTo>
                      <a:cubicBezTo>
                        <a:pt x="207937" y="4011"/>
                        <a:pt x="207937" y="5003"/>
                        <a:pt x="215874" y="5003"/>
                      </a:cubicBezTo>
                      <a:cubicBezTo>
                        <a:pt x="224308" y="5003"/>
                        <a:pt x="224308" y="3019"/>
                        <a:pt x="232245" y="3019"/>
                      </a:cubicBezTo>
                      <a:cubicBezTo>
                        <a:pt x="240678" y="3019"/>
                        <a:pt x="240678" y="5003"/>
                        <a:pt x="248616" y="5003"/>
                      </a:cubicBezTo>
                      <a:cubicBezTo>
                        <a:pt x="257049" y="5003"/>
                        <a:pt x="257049" y="3019"/>
                        <a:pt x="264986" y="3019"/>
                      </a:cubicBezTo>
                      <a:cubicBezTo>
                        <a:pt x="273420" y="3019"/>
                        <a:pt x="273420" y="4507"/>
                        <a:pt x="281357" y="4507"/>
                      </a:cubicBezTo>
                      <a:cubicBezTo>
                        <a:pt x="289790" y="4507"/>
                        <a:pt x="289790" y="5003"/>
                        <a:pt x="297727" y="5003"/>
                      </a:cubicBezTo>
                      <a:cubicBezTo>
                        <a:pt x="306161" y="5003"/>
                        <a:pt x="306161" y="4507"/>
                        <a:pt x="314098" y="4507"/>
                      </a:cubicBezTo>
                      <a:cubicBezTo>
                        <a:pt x="322035" y="4507"/>
                        <a:pt x="325011" y="-2438"/>
                        <a:pt x="330964" y="3515"/>
                      </a:cubicBezTo>
                      <a:cubicBezTo>
                        <a:pt x="336917" y="8972"/>
                        <a:pt x="331461" y="11948"/>
                        <a:pt x="331461" y="20382"/>
                      </a:cubicBezTo>
                      <a:cubicBezTo>
                        <a:pt x="331461" y="28319"/>
                        <a:pt x="329972" y="28319"/>
                        <a:pt x="329972" y="36752"/>
                      </a:cubicBezTo>
                      <a:cubicBezTo>
                        <a:pt x="329972" y="44690"/>
                        <a:pt x="331957" y="44690"/>
                        <a:pt x="331957" y="53123"/>
                      </a:cubicBezTo>
                      <a:cubicBezTo>
                        <a:pt x="331957" y="61060"/>
                        <a:pt x="330469" y="61060"/>
                        <a:pt x="330469" y="69494"/>
                      </a:cubicBezTo>
                      <a:cubicBezTo>
                        <a:pt x="330469" y="77431"/>
                        <a:pt x="330964" y="77431"/>
                        <a:pt x="330964" y="85864"/>
                      </a:cubicBezTo>
                      <a:cubicBezTo>
                        <a:pt x="330964" y="93801"/>
                        <a:pt x="331461" y="93801"/>
                        <a:pt x="331461" y="102235"/>
                      </a:cubicBezTo>
                      <a:cubicBezTo>
                        <a:pt x="331461" y="110172"/>
                        <a:pt x="331461" y="110172"/>
                        <a:pt x="331461" y="118605"/>
                      </a:cubicBezTo>
                      <a:cubicBezTo>
                        <a:pt x="331461" y="126543"/>
                        <a:pt x="331957" y="126543"/>
                        <a:pt x="331957" y="134976"/>
                      </a:cubicBezTo>
                      <a:cubicBezTo>
                        <a:pt x="331957" y="142913"/>
                        <a:pt x="330469" y="142913"/>
                        <a:pt x="330469" y="151346"/>
                      </a:cubicBezTo>
                      <a:cubicBezTo>
                        <a:pt x="330469" y="159284"/>
                        <a:pt x="330964" y="159284"/>
                        <a:pt x="330964" y="167717"/>
                      </a:cubicBezTo>
                      <a:cubicBezTo>
                        <a:pt x="330964" y="175654"/>
                        <a:pt x="329972" y="175654"/>
                        <a:pt x="329972" y="184087"/>
                      </a:cubicBezTo>
                      <a:cubicBezTo>
                        <a:pt x="329972" y="192025"/>
                        <a:pt x="330964" y="192025"/>
                        <a:pt x="330964" y="200458"/>
                      </a:cubicBezTo>
                      <a:cubicBezTo>
                        <a:pt x="330964" y="208395"/>
                        <a:pt x="330469" y="208395"/>
                        <a:pt x="330469" y="216828"/>
                      </a:cubicBezTo>
                      <a:cubicBezTo>
                        <a:pt x="330469" y="224766"/>
                        <a:pt x="331461" y="224766"/>
                        <a:pt x="331461" y="233199"/>
                      </a:cubicBezTo>
                      <a:cubicBezTo>
                        <a:pt x="331461" y="241136"/>
                        <a:pt x="331957" y="241136"/>
                        <a:pt x="331957" y="249570"/>
                      </a:cubicBezTo>
                      <a:cubicBezTo>
                        <a:pt x="331957" y="257507"/>
                        <a:pt x="331957" y="257507"/>
                        <a:pt x="331957" y="265940"/>
                      </a:cubicBezTo>
                      <a:cubicBezTo>
                        <a:pt x="331957" y="273877"/>
                        <a:pt x="330469" y="273877"/>
                        <a:pt x="330469" y="282311"/>
                      </a:cubicBezTo>
                      <a:cubicBezTo>
                        <a:pt x="330469" y="290248"/>
                        <a:pt x="331461" y="290248"/>
                        <a:pt x="331461" y="298681"/>
                      </a:cubicBezTo>
                      <a:cubicBezTo>
                        <a:pt x="331461" y="306619"/>
                        <a:pt x="329972" y="306619"/>
                        <a:pt x="329972" y="315052"/>
                      </a:cubicBezTo>
                      <a:cubicBezTo>
                        <a:pt x="329972" y="322989"/>
                        <a:pt x="330964" y="322989"/>
                        <a:pt x="330964" y="331423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9" name="Freeform: Shape 1708">
                  <a:extLst>
                    <a:ext uri="{FF2B5EF4-FFF2-40B4-BE49-F238E27FC236}">
                      <a16:creationId xmlns:a16="http://schemas.microsoft.com/office/drawing/2014/main" id="{447BD561-E864-695D-6537-7F50C882EF3B}"/>
                    </a:ext>
                  </a:extLst>
                </p:cNvPr>
                <p:cNvSpPr/>
                <p:nvPr/>
              </p:nvSpPr>
              <p:spPr>
                <a:xfrm>
                  <a:off x="4242328" y="3226258"/>
                  <a:ext cx="125808" cy="39352"/>
                </a:xfrm>
                <a:custGeom>
                  <a:avLst/>
                  <a:gdLst>
                    <a:gd name="connsiteX0" fmla="*/ 496 w 125808"/>
                    <a:gd name="connsiteY0" fmla="*/ 1224 h 39352"/>
                    <a:gd name="connsiteX1" fmla="*/ 15875 w 125808"/>
                    <a:gd name="connsiteY1" fmla="*/ 1720 h 39352"/>
                    <a:gd name="connsiteX2" fmla="*/ 31253 w 125808"/>
                    <a:gd name="connsiteY2" fmla="*/ 2712 h 39352"/>
                    <a:gd name="connsiteX3" fmla="*/ 46631 w 125808"/>
                    <a:gd name="connsiteY3" fmla="*/ 2216 h 39352"/>
                    <a:gd name="connsiteX4" fmla="*/ 62010 w 125808"/>
                    <a:gd name="connsiteY4" fmla="*/ 1224 h 39352"/>
                    <a:gd name="connsiteX5" fmla="*/ 77388 w 125808"/>
                    <a:gd name="connsiteY5" fmla="*/ 3208 h 39352"/>
                    <a:gd name="connsiteX6" fmla="*/ 92767 w 125808"/>
                    <a:gd name="connsiteY6" fmla="*/ 2216 h 39352"/>
                    <a:gd name="connsiteX7" fmla="*/ 108145 w 125808"/>
                    <a:gd name="connsiteY7" fmla="*/ 1720 h 39352"/>
                    <a:gd name="connsiteX8" fmla="*/ 122531 w 125808"/>
                    <a:gd name="connsiteY8" fmla="*/ 2712 h 39352"/>
                    <a:gd name="connsiteX9" fmla="*/ 123524 w 125808"/>
                    <a:gd name="connsiteY9" fmla="*/ 19579 h 39352"/>
                    <a:gd name="connsiteX10" fmla="*/ 123027 w 125808"/>
                    <a:gd name="connsiteY10" fmla="*/ 36942 h 39352"/>
                    <a:gd name="connsiteX11" fmla="*/ 107649 w 125808"/>
                    <a:gd name="connsiteY11" fmla="*/ 35949 h 39352"/>
                    <a:gd name="connsiteX12" fmla="*/ 92270 w 125808"/>
                    <a:gd name="connsiteY12" fmla="*/ 37934 h 39352"/>
                    <a:gd name="connsiteX13" fmla="*/ 76892 w 125808"/>
                    <a:gd name="connsiteY13" fmla="*/ 35949 h 39352"/>
                    <a:gd name="connsiteX14" fmla="*/ 61514 w 125808"/>
                    <a:gd name="connsiteY14" fmla="*/ 36942 h 39352"/>
                    <a:gd name="connsiteX15" fmla="*/ 46135 w 125808"/>
                    <a:gd name="connsiteY15" fmla="*/ 35949 h 39352"/>
                    <a:gd name="connsiteX16" fmla="*/ 30757 w 125808"/>
                    <a:gd name="connsiteY16" fmla="*/ 37934 h 39352"/>
                    <a:gd name="connsiteX17" fmla="*/ 15378 w 125808"/>
                    <a:gd name="connsiteY17" fmla="*/ 35949 h 39352"/>
                    <a:gd name="connsiteX18" fmla="*/ 0 w 125808"/>
                    <a:gd name="connsiteY18" fmla="*/ 37438 h 39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25808" h="39352">
                      <a:moveTo>
                        <a:pt x="496" y="1224"/>
                      </a:moveTo>
                      <a:cubicBezTo>
                        <a:pt x="7937" y="1224"/>
                        <a:pt x="7937" y="1720"/>
                        <a:pt x="15875" y="1720"/>
                      </a:cubicBezTo>
                      <a:cubicBezTo>
                        <a:pt x="23812" y="1720"/>
                        <a:pt x="23316" y="2712"/>
                        <a:pt x="31253" y="2712"/>
                      </a:cubicBezTo>
                      <a:cubicBezTo>
                        <a:pt x="38694" y="2712"/>
                        <a:pt x="38694" y="2216"/>
                        <a:pt x="46631" y="2216"/>
                      </a:cubicBezTo>
                      <a:cubicBezTo>
                        <a:pt x="54073" y="2216"/>
                        <a:pt x="54073" y="1224"/>
                        <a:pt x="62010" y="1224"/>
                      </a:cubicBezTo>
                      <a:cubicBezTo>
                        <a:pt x="69451" y="1224"/>
                        <a:pt x="69451" y="3208"/>
                        <a:pt x="77388" y="3208"/>
                      </a:cubicBezTo>
                      <a:cubicBezTo>
                        <a:pt x="84829" y="3208"/>
                        <a:pt x="84829" y="2216"/>
                        <a:pt x="92767" y="2216"/>
                      </a:cubicBezTo>
                      <a:cubicBezTo>
                        <a:pt x="100208" y="2216"/>
                        <a:pt x="100208" y="1720"/>
                        <a:pt x="108145" y="1720"/>
                      </a:cubicBezTo>
                      <a:cubicBezTo>
                        <a:pt x="116082" y="1720"/>
                        <a:pt x="117571" y="-2745"/>
                        <a:pt x="122531" y="2712"/>
                      </a:cubicBezTo>
                      <a:cubicBezTo>
                        <a:pt x="128484" y="9161"/>
                        <a:pt x="123524" y="10649"/>
                        <a:pt x="123524" y="19579"/>
                      </a:cubicBezTo>
                      <a:cubicBezTo>
                        <a:pt x="123524" y="28508"/>
                        <a:pt x="128980" y="30493"/>
                        <a:pt x="123027" y="36942"/>
                      </a:cubicBezTo>
                      <a:cubicBezTo>
                        <a:pt x="118066" y="42894"/>
                        <a:pt x="115586" y="35949"/>
                        <a:pt x="107649" y="35949"/>
                      </a:cubicBezTo>
                      <a:cubicBezTo>
                        <a:pt x="99712" y="35949"/>
                        <a:pt x="100208" y="37934"/>
                        <a:pt x="92270" y="37934"/>
                      </a:cubicBezTo>
                      <a:cubicBezTo>
                        <a:pt x="84829" y="37934"/>
                        <a:pt x="84829" y="35949"/>
                        <a:pt x="76892" y="35949"/>
                      </a:cubicBezTo>
                      <a:cubicBezTo>
                        <a:pt x="69451" y="35949"/>
                        <a:pt x="69451" y="36942"/>
                        <a:pt x="61514" y="36942"/>
                      </a:cubicBezTo>
                      <a:cubicBezTo>
                        <a:pt x="54073" y="36942"/>
                        <a:pt x="54073" y="35949"/>
                        <a:pt x="46135" y="35949"/>
                      </a:cubicBezTo>
                      <a:cubicBezTo>
                        <a:pt x="38694" y="35949"/>
                        <a:pt x="38694" y="37934"/>
                        <a:pt x="30757" y="37934"/>
                      </a:cubicBezTo>
                      <a:cubicBezTo>
                        <a:pt x="23316" y="37934"/>
                        <a:pt x="23316" y="35949"/>
                        <a:pt x="15378" y="35949"/>
                      </a:cubicBezTo>
                      <a:cubicBezTo>
                        <a:pt x="7441" y="35949"/>
                        <a:pt x="7937" y="37438"/>
                        <a:pt x="0" y="37438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10" name="Freeform: Shape 1709">
                  <a:extLst>
                    <a:ext uri="{FF2B5EF4-FFF2-40B4-BE49-F238E27FC236}">
                      <a16:creationId xmlns:a16="http://schemas.microsoft.com/office/drawing/2014/main" id="{21B1D293-27F3-A88A-0572-E0B1CC8D0C44}"/>
                    </a:ext>
                  </a:extLst>
                </p:cNvPr>
                <p:cNvSpPr/>
                <p:nvPr/>
              </p:nvSpPr>
              <p:spPr>
                <a:xfrm>
                  <a:off x="4067268" y="3226190"/>
                  <a:ext cx="130413" cy="39533"/>
                </a:xfrm>
                <a:custGeom>
                  <a:avLst/>
                  <a:gdLst>
                    <a:gd name="connsiteX0" fmla="*/ 130413 w 130413"/>
                    <a:gd name="connsiteY0" fmla="*/ 37506 h 39533"/>
                    <a:gd name="connsiteX1" fmla="*/ 114539 w 130413"/>
                    <a:gd name="connsiteY1" fmla="*/ 37010 h 39533"/>
                    <a:gd name="connsiteX2" fmla="*/ 98664 w 130413"/>
                    <a:gd name="connsiteY2" fmla="*/ 37010 h 39533"/>
                    <a:gd name="connsiteX3" fmla="*/ 82790 w 130413"/>
                    <a:gd name="connsiteY3" fmla="*/ 38002 h 39533"/>
                    <a:gd name="connsiteX4" fmla="*/ 66915 w 130413"/>
                    <a:gd name="connsiteY4" fmla="*/ 37506 h 39533"/>
                    <a:gd name="connsiteX5" fmla="*/ 51041 w 130413"/>
                    <a:gd name="connsiteY5" fmla="*/ 36514 h 39533"/>
                    <a:gd name="connsiteX6" fmla="*/ 35166 w 130413"/>
                    <a:gd name="connsiteY6" fmla="*/ 37010 h 39533"/>
                    <a:gd name="connsiteX7" fmla="*/ 19292 w 130413"/>
                    <a:gd name="connsiteY7" fmla="*/ 36514 h 39533"/>
                    <a:gd name="connsiteX8" fmla="*/ 3418 w 130413"/>
                    <a:gd name="connsiteY8" fmla="*/ 37010 h 39533"/>
                    <a:gd name="connsiteX9" fmla="*/ 2425 w 130413"/>
                    <a:gd name="connsiteY9" fmla="*/ 20144 h 39533"/>
                    <a:gd name="connsiteX10" fmla="*/ 2425 w 130413"/>
                    <a:gd name="connsiteY10" fmla="*/ 2781 h 39533"/>
                    <a:gd name="connsiteX11" fmla="*/ 18796 w 130413"/>
                    <a:gd name="connsiteY11" fmla="*/ 2285 h 39533"/>
                    <a:gd name="connsiteX12" fmla="*/ 34670 w 130413"/>
                    <a:gd name="connsiteY12" fmla="*/ 2781 h 39533"/>
                    <a:gd name="connsiteX13" fmla="*/ 50545 w 130413"/>
                    <a:gd name="connsiteY13" fmla="*/ 4269 h 39533"/>
                    <a:gd name="connsiteX14" fmla="*/ 66419 w 130413"/>
                    <a:gd name="connsiteY14" fmla="*/ 4269 h 39533"/>
                    <a:gd name="connsiteX15" fmla="*/ 82294 w 130413"/>
                    <a:gd name="connsiteY15" fmla="*/ 3773 h 39533"/>
                    <a:gd name="connsiteX16" fmla="*/ 98168 w 130413"/>
                    <a:gd name="connsiteY16" fmla="*/ 3773 h 39533"/>
                    <a:gd name="connsiteX17" fmla="*/ 114043 w 130413"/>
                    <a:gd name="connsiteY17" fmla="*/ 3277 h 39533"/>
                    <a:gd name="connsiteX18" fmla="*/ 129917 w 130413"/>
                    <a:gd name="connsiteY18" fmla="*/ 2781 h 39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30413" h="39533">
                      <a:moveTo>
                        <a:pt x="130413" y="37506"/>
                      </a:moveTo>
                      <a:cubicBezTo>
                        <a:pt x="122476" y="37506"/>
                        <a:pt x="122476" y="37010"/>
                        <a:pt x="114539" y="37010"/>
                      </a:cubicBezTo>
                      <a:cubicBezTo>
                        <a:pt x="106602" y="37010"/>
                        <a:pt x="106602" y="37010"/>
                        <a:pt x="98664" y="37010"/>
                      </a:cubicBezTo>
                      <a:cubicBezTo>
                        <a:pt x="90727" y="37010"/>
                        <a:pt x="90727" y="38002"/>
                        <a:pt x="82790" y="38002"/>
                      </a:cubicBezTo>
                      <a:cubicBezTo>
                        <a:pt x="74853" y="38002"/>
                        <a:pt x="74853" y="37506"/>
                        <a:pt x="66915" y="37506"/>
                      </a:cubicBezTo>
                      <a:cubicBezTo>
                        <a:pt x="58978" y="37506"/>
                        <a:pt x="58978" y="36514"/>
                        <a:pt x="51041" y="36514"/>
                      </a:cubicBezTo>
                      <a:cubicBezTo>
                        <a:pt x="43104" y="36514"/>
                        <a:pt x="43104" y="37010"/>
                        <a:pt x="35166" y="37010"/>
                      </a:cubicBezTo>
                      <a:cubicBezTo>
                        <a:pt x="27229" y="37010"/>
                        <a:pt x="27229" y="36514"/>
                        <a:pt x="19292" y="36514"/>
                      </a:cubicBezTo>
                      <a:cubicBezTo>
                        <a:pt x="11355" y="36514"/>
                        <a:pt x="8874" y="42963"/>
                        <a:pt x="3418" y="37010"/>
                      </a:cubicBezTo>
                      <a:cubicBezTo>
                        <a:pt x="-2535" y="30561"/>
                        <a:pt x="2425" y="28577"/>
                        <a:pt x="2425" y="20144"/>
                      </a:cubicBezTo>
                      <a:cubicBezTo>
                        <a:pt x="2425" y="11710"/>
                        <a:pt x="-3032" y="8734"/>
                        <a:pt x="2425" y="2781"/>
                      </a:cubicBezTo>
                      <a:cubicBezTo>
                        <a:pt x="7882" y="-3172"/>
                        <a:pt x="10362" y="2285"/>
                        <a:pt x="18796" y="2285"/>
                      </a:cubicBezTo>
                      <a:cubicBezTo>
                        <a:pt x="27229" y="2285"/>
                        <a:pt x="26733" y="2781"/>
                        <a:pt x="34670" y="2781"/>
                      </a:cubicBezTo>
                      <a:cubicBezTo>
                        <a:pt x="42608" y="2781"/>
                        <a:pt x="42608" y="4269"/>
                        <a:pt x="50545" y="4269"/>
                      </a:cubicBezTo>
                      <a:cubicBezTo>
                        <a:pt x="58482" y="4269"/>
                        <a:pt x="58482" y="4269"/>
                        <a:pt x="66419" y="4269"/>
                      </a:cubicBezTo>
                      <a:cubicBezTo>
                        <a:pt x="74357" y="4269"/>
                        <a:pt x="74357" y="3773"/>
                        <a:pt x="82294" y="3773"/>
                      </a:cubicBezTo>
                      <a:cubicBezTo>
                        <a:pt x="90231" y="3773"/>
                        <a:pt x="90231" y="3773"/>
                        <a:pt x="98168" y="3773"/>
                      </a:cubicBezTo>
                      <a:cubicBezTo>
                        <a:pt x="106105" y="3773"/>
                        <a:pt x="106105" y="3277"/>
                        <a:pt x="114043" y="3277"/>
                      </a:cubicBezTo>
                      <a:cubicBezTo>
                        <a:pt x="121980" y="3277"/>
                        <a:pt x="121980" y="2781"/>
                        <a:pt x="129917" y="2781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11" name="Freeform: Shape 1710">
                  <a:extLst>
                    <a:ext uri="{FF2B5EF4-FFF2-40B4-BE49-F238E27FC236}">
                      <a16:creationId xmlns:a16="http://schemas.microsoft.com/office/drawing/2014/main" id="{1C7C34F1-41B4-24A2-2C87-1BB39054A184}"/>
                    </a:ext>
                  </a:extLst>
                </p:cNvPr>
                <p:cNvSpPr/>
                <p:nvPr/>
              </p:nvSpPr>
              <p:spPr>
                <a:xfrm>
                  <a:off x="4067764" y="3120006"/>
                  <a:ext cx="300002" cy="297970"/>
                </a:xfrm>
                <a:custGeom>
                  <a:avLst/>
                  <a:gdLst>
                    <a:gd name="connsiteX0" fmla="*/ 1929 w 300002"/>
                    <a:gd name="connsiteY0" fmla="*/ 297971 h 297970"/>
                    <a:gd name="connsiteX1" fmla="*/ 1929 w 300002"/>
                    <a:gd name="connsiteY1" fmla="*/ 281600 h 297970"/>
                    <a:gd name="connsiteX2" fmla="*/ 1929 w 300002"/>
                    <a:gd name="connsiteY2" fmla="*/ 265230 h 297970"/>
                    <a:gd name="connsiteX3" fmla="*/ 2425 w 300002"/>
                    <a:gd name="connsiteY3" fmla="*/ 248859 h 297970"/>
                    <a:gd name="connsiteX4" fmla="*/ 1929 w 300002"/>
                    <a:gd name="connsiteY4" fmla="*/ 232488 h 297970"/>
                    <a:gd name="connsiteX5" fmla="*/ 1929 w 300002"/>
                    <a:gd name="connsiteY5" fmla="*/ 216118 h 297970"/>
                    <a:gd name="connsiteX6" fmla="*/ 1929 w 300002"/>
                    <a:gd name="connsiteY6" fmla="*/ 199747 h 297970"/>
                    <a:gd name="connsiteX7" fmla="*/ 1433 w 300002"/>
                    <a:gd name="connsiteY7" fmla="*/ 183377 h 297970"/>
                    <a:gd name="connsiteX8" fmla="*/ 1929 w 300002"/>
                    <a:gd name="connsiteY8" fmla="*/ 167006 h 297970"/>
                    <a:gd name="connsiteX9" fmla="*/ 2921 w 300002"/>
                    <a:gd name="connsiteY9" fmla="*/ 150635 h 297970"/>
                    <a:gd name="connsiteX10" fmla="*/ 937 w 300002"/>
                    <a:gd name="connsiteY10" fmla="*/ 134265 h 297970"/>
                    <a:gd name="connsiteX11" fmla="*/ 1929 w 300002"/>
                    <a:gd name="connsiteY11" fmla="*/ 117894 h 297970"/>
                    <a:gd name="connsiteX12" fmla="*/ 1929 w 300002"/>
                    <a:gd name="connsiteY12" fmla="*/ 101524 h 297970"/>
                    <a:gd name="connsiteX13" fmla="*/ 2425 w 300002"/>
                    <a:gd name="connsiteY13" fmla="*/ 85153 h 297970"/>
                    <a:gd name="connsiteX14" fmla="*/ 937 w 300002"/>
                    <a:gd name="connsiteY14" fmla="*/ 68783 h 297970"/>
                    <a:gd name="connsiteX15" fmla="*/ 2425 w 300002"/>
                    <a:gd name="connsiteY15" fmla="*/ 52412 h 297970"/>
                    <a:gd name="connsiteX16" fmla="*/ 3417 w 300002"/>
                    <a:gd name="connsiteY16" fmla="*/ 36042 h 297970"/>
                    <a:gd name="connsiteX17" fmla="*/ 2425 w 300002"/>
                    <a:gd name="connsiteY17" fmla="*/ 19671 h 297970"/>
                    <a:gd name="connsiteX18" fmla="*/ 2425 w 300002"/>
                    <a:gd name="connsiteY18" fmla="*/ 3796 h 297970"/>
                    <a:gd name="connsiteX19" fmla="*/ 18300 w 300002"/>
                    <a:gd name="connsiteY19" fmla="*/ 3300 h 297970"/>
                    <a:gd name="connsiteX20" fmla="*/ 34670 w 300002"/>
                    <a:gd name="connsiteY20" fmla="*/ 3300 h 297970"/>
                    <a:gd name="connsiteX21" fmla="*/ 51041 w 300002"/>
                    <a:gd name="connsiteY21" fmla="*/ 1812 h 297970"/>
                    <a:gd name="connsiteX22" fmla="*/ 67412 w 300002"/>
                    <a:gd name="connsiteY22" fmla="*/ 4292 h 297970"/>
                    <a:gd name="connsiteX23" fmla="*/ 83782 w 300002"/>
                    <a:gd name="connsiteY23" fmla="*/ 2804 h 297970"/>
                    <a:gd name="connsiteX24" fmla="*/ 100153 w 300002"/>
                    <a:gd name="connsiteY24" fmla="*/ 3796 h 297970"/>
                    <a:gd name="connsiteX25" fmla="*/ 116523 w 300002"/>
                    <a:gd name="connsiteY25" fmla="*/ 2308 h 297970"/>
                    <a:gd name="connsiteX26" fmla="*/ 132894 w 300002"/>
                    <a:gd name="connsiteY26" fmla="*/ 4292 h 297970"/>
                    <a:gd name="connsiteX27" fmla="*/ 149264 w 300002"/>
                    <a:gd name="connsiteY27" fmla="*/ 3300 h 297970"/>
                    <a:gd name="connsiteX28" fmla="*/ 165635 w 300002"/>
                    <a:gd name="connsiteY28" fmla="*/ 3796 h 297970"/>
                    <a:gd name="connsiteX29" fmla="*/ 182005 w 300002"/>
                    <a:gd name="connsiteY29" fmla="*/ 2308 h 297970"/>
                    <a:gd name="connsiteX30" fmla="*/ 198376 w 300002"/>
                    <a:gd name="connsiteY30" fmla="*/ 2308 h 297970"/>
                    <a:gd name="connsiteX31" fmla="*/ 214747 w 300002"/>
                    <a:gd name="connsiteY31" fmla="*/ 2804 h 297970"/>
                    <a:gd name="connsiteX32" fmla="*/ 231117 w 300002"/>
                    <a:gd name="connsiteY32" fmla="*/ 1812 h 297970"/>
                    <a:gd name="connsiteX33" fmla="*/ 247488 w 300002"/>
                    <a:gd name="connsiteY33" fmla="*/ 1812 h 297970"/>
                    <a:gd name="connsiteX34" fmla="*/ 263858 w 300002"/>
                    <a:gd name="connsiteY34" fmla="*/ 3300 h 297970"/>
                    <a:gd name="connsiteX35" fmla="*/ 280229 w 300002"/>
                    <a:gd name="connsiteY35" fmla="*/ 3796 h 297970"/>
                    <a:gd name="connsiteX36" fmla="*/ 297592 w 300002"/>
                    <a:gd name="connsiteY36" fmla="*/ 2308 h 297970"/>
                    <a:gd name="connsiteX37" fmla="*/ 296599 w 300002"/>
                    <a:gd name="connsiteY37" fmla="*/ 19671 h 297970"/>
                    <a:gd name="connsiteX38" fmla="*/ 296103 w 300002"/>
                    <a:gd name="connsiteY38" fmla="*/ 36042 h 297970"/>
                    <a:gd name="connsiteX39" fmla="*/ 296599 w 300002"/>
                    <a:gd name="connsiteY39" fmla="*/ 52412 h 297970"/>
                    <a:gd name="connsiteX40" fmla="*/ 297592 w 300002"/>
                    <a:gd name="connsiteY40" fmla="*/ 68783 h 297970"/>
                    <a:gd name="connsiteX41" fmla="*/ 298088 w 300002"/>
                    <a:gd name="connsiteY41" fmla="*/ 85153 h 297970"/>
                    <a:gd name="connsiteX42" fmla="*/ 296103 w 300002"/>
                    <a:gd name="connsiteY42" fmla="*/ 101524 h 297970"/>
                    <a:gd name="connsiteX43" fmla="*/ 295607 w 300002"/>
                    <a:gd name="connsiteY43" fmla="*/ 117894 h 297970"/>
                    <a:gd name="connsiteX44" fmla="*/ 298088 w 300002"/>
                    <a:gd name="connsiteY44" fmla="*/ 134265 h 297970"/>
                    <a:gd name="connsiteX45" fmla="*/ 298088 w 300002"/>
                    <a:gd name="connsiteY45" fmla="*/ 150635 h 297970"/>
                    <a:gd name="connsiteX46" fmla="*/ 296599 w 300002"/>
                    <a:gd name="connsiteY46" fmla="*/ 167006 h 297970"/>
                    <a:gd name="connsiteX47" fmla="*/ 296599 w 300002"/>
                    <a:gd name="connsiteY47" fmla="*/ 183377 h 297970"/>
                    <a:gd name="connsiteX48" fmla="*/ 296103 w 300002"/>
                    <a:gd name="connsiteY48" fmla="*/ 199747 h 297970"/>
                    <a:gd name="connsiteX49" fmla="*/ 298088 w 300002"/>
                    <a:gd name="connsiteY49" fmla="*/ 216118 h 297970"/>
                    <a:gd name="connsiteX50" fmla="*/ 296599 w 300002"/>
                    <a:gd name="connsiteY50" fmla="*/ 232488 h 297970"/>
                    <a:gd name="connsiteX51" fmla="*/ 296599 w 300002"/>
                    <a:gd name="connsiteY51" fmla="*/ 248859 h 297970"/>
                    <a:gd name="connsiteX52" fmla="*/ 298088 w 300002"/>
                    <a:gd name="connsiteY52" fmla="*/ 265230 h 297970"/>
                    <a:gd name="connsiteX53" fmla="*/ 298088 w 300002"/>
                    <a:gd name="connsiteY53" fmla="*/ 281600 h 297970"/>
                    <a:gd name="connsiteX54" fmla="*/ 298088 w 300002"/>
                    <a:gd name="connsiteY54" fmla="*/ 297971 h 297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300002" h="297970">
                      <a:moveTo>
                        <a:pt x="1929" y="297971"/>
                      </a:moveTo>
                      <a:cubicBezTo>
                        <a:pt x="1929" y="289537"/>
                        <a:pt x="1929" y="289537"/>
                        <a:pt x="1929" y="281600"/>
                      </a:cubicBezTo>
                      <a:cubicBezTo>
                        <a:pt x="1929" y="273167"/>
                        <a:pt x="1929" y="273167"/>
                        <a:pt x="1929" y="265230"/>
                      </a:cubicBezTo>
                      <a:cubicBezTo>
                        <a:pt x="1929" y="256796"/>
                        <a:pt x="2425" y="256796"/>
                        <a:pt x="2425" y="248859"/>
                      </a:cubicBezTo>
                      <a:cubicBezTo>
                        <a:pt x="2425" y="240426"/>
                        <a:pt x="1929" y="240426"/>
                        <a:pt x="1929" y="232488"/>
                      </a:cubicBezTo>
                      <a:cubicBezTo>
                        <a:pt x="1929" y="224055"/>
                        <a:pt x="1929" y="224055"/>
                        <a:pt x="1929" y="216118"/>
                      </a:cubicBezTo>
                      <a:cubicBezTo>
                        <a:pt x="1929" y="207684"/>
                        <a:pt x="1929" y="207684"/>
                        <a:pt x="1929" y="199747"/>
                      </a:cubicBezTo>
                      <a:cubicBezTo>
                        <a:pt x="1929" y="191314"/>
                        <a:pt x="1433" y="191314"/>
                        <a:pt x="1433" y="183377"/>
                      </a:cubicBezTo>
                      <a:cubicBezTo>
                        <a:pt x="1433" y="174943"/>
                        <a:pt x="1929" y="174943"/>
                        <a:pt x="1929" y="167006"/>
                      </a:cubicBezTo>
                      <a:cubicBezTo>
                        <a:pt x="1929" y="158573"/>
                        <a:pt x="2921" y="158573"/>
                        <a:pt x="2921" y="150635"/>
                      </a:cubicBezTo>
                      <a:cubicBezTo>
                        <a:pt x="2921" y="142202"/>
                        <a:pt x="937" y="142202"/>
                        <a:pt x="937" y="134265"/>
                      </a:cubicBezTo>
                      <a:cubicBezTo>
                        <a:pt x="937" y="125832"/>
                        <a:pt x="1929" y="125832"/>
                        <a:pt x="1929" y="117894"/>
                      </a:cubicBezTo>
                      <a:cubicBezTo>
                        <a:pt x="1929" y="109461"/>
                        <a:pt x="1929" y="109461"/>
                        <a:pt x="1929" y="101524"/>
                      </a:cubicBezTo>
                      <a:cubicBezTo>
                        <a:pt x="1929" y="93091"/>
                        <a:pt x="2425" y="93091"/>
                        <a:pt x="2425" y="85153"/>
                      </a:cubicBezTo>
                      <a:cubicBezTo>
                        <a:pt x="2425" y="76720"/>
                        <a:pt x="937" y="76720"/>
                        <a:pt x="937" y="68783"/>
                      </a:cubicBezTo>
                      <a:cubicBezTo>
                        <a:pt x="937" y="60349"/>
                        <a:pt x="2425" y="60349"/>
                        <a:pt x="2425" y="52412"/>
                      </a:cubicBezTo>
                      <a:cubicBezTo>
                        <a:pt x="2425" y="43979"/>
                        <a:pt x="3417" y="43979"/>
                        <a:pt x="3417" y="36042"/>
                      </a:cubicBezTo>
                      <a:cubicBezTo>
                        <a:pt x="3417" y="27608"/>
                        <a:pt x="2425" y="27608"/>
                        <a:pt x="2425" y="19671"/>
                      </a:cubicBezTo>
                      <a:cubicBezTo>
                        <a:pt x="2425" y="11238"/>
                        <a:pt x="-3032" y="9253"/>
                        <a:pt x="2425" y="3796"/>
                      </a:cubicBezTo>
                      <a:cubicBezTo>
                        <a:pt x="8378" y="-2157"/>
                        <a:pt x="10363" y="3300"/>
                        <a:pt x="18300" y="3300"/>
                      </a:cubicBezTo>
                      <a:cubicBezTo>
                        <a:pt x="26237" y="3300"/>
                        <a:pt x="26237" y="3300"/>
                        <a:pt x="34670" y="3300"/>
                      </a:cubicBezTo>
                      <a:cubicBezTo>
                        <a:pt x="42608" y="3300"/>
                        <a:pt x="42608" y="1812"/>
                        <a:pt x="51041" y="1812"/>
                      </a:cubicBezTo>
                      <a:cubicBezTo>
                        <a:pt x="59474" y="1812"/>
                        <a:pt x="59474" y="4292"/>
                        <a:pt x="67412" y="4292"/>
                      </a:cubicBezTo>
                      <a:cubicBezTo>
                        <a:pt x="75349" y="4292"/>
                        <a:pt x="75349" y="2804"/>
                        <a:pt x="83782" y="2804"/>
                      </a:cubicBezTo>
                      <a:cubicBezTo>
                        <a:pt x="92216" y="2804"/>
                        <a:pt x="92216" y="3796"/>
                        <a:pt x="100153" y="3796"/>
                      </a:cubicBezTo>
                      <a:cubicBezTo>
                        <a:pt x="108090" y="3796"/>
                        <a:pt x="108090" y="2308"/>
                        <a:pt x="116523" y="2308"/>
                      </a:cubicBezTo>
                      <a:cubicBezTo>
                        <a:pt x="124957" y="2308"/>
                        <a:pt x="124957" y="4292"/>
                        <a:pt x="132894" y="4292"/>
                      </a:cubicBezTo>
                      <a:cubicBezTo>
                        <a:pt x="141327" y="4292"/>
                        <a:pt x="141327" y="3300"/>
                        <a:pt x="149264" y="3300"/>
                      </a:cubicBezTo>
                      <a:cubicBezTo>
                        <a:pt x="157698" y="3300"/>
                        <a:pt x="157698" y="3796"/>
                        <a:pt x="165635" y="3796"/>
                      </a:cubicBezTo>
                      <a:cubicBezTo>
                        <a:pt x="174068" y="3796"/>
                        <a:pt x="174068" y="2308"/>
                        <a:pt x="182005" y="2308"/>
                      </a:cubicBezTo>
                      <a:cubicBezTo>
                        <a:pt x="190439" y="2308"/>
                        <a:pt x="190439" y="2308"/>
                        <a:pt x="198376" y="2308"/>
                      </a:cubicBezTo>
                      <a:cubicBezTo>
                        <a:pt x="206809" y="2308"/>
                        <a:pt x="206809" y="2804"/>
                        <a:pt x="214747" y="2804"/>
                      </a:cubicBezTo>
                      <a:cubicBezTo>
                        <a:pt x="223180" y="2804"/>
                        <a:pt x="223180" y="1812"/>
                        <a:pt x="231117" y="1812"/>
                      </a:cubicBezTo>
                      <a:cubicBezTo>
                        <a:pt x="239550" y="1812"/>
                        <a:pt x="239550" y="1812"/>
                        <a:pt x="247488" y="1812"/>
                      </a:cubicBezTo>
                      <a:cubicBezTo>
                        <a:pt x="255921" y="1812"/>
                        <a:pt x="255921" y="3300"/>
                        <a:pt x="263858" y="3300"/>
                      </a:cubicBezTo>
                      <a:cubicBezTo>
                        <a:pt x="272292" y="3300"/>
                        <a:pt x="272292" y="3796"/>
                        <a:pt x="280229" y="3796"/>
                      </a:cubicBezTo>
                      <a:cubicBezTo>
                        <a:pt x="288166" y="3796"/>
                        <a:pt x="291639" y="-3645"/>
                        <a:pt x="297592" y="2308"/>
                      </a:cubicBezTo>
                      <a:cubicBezTo>
                        <a:pt x="303545" y="8261"/>
                        <a:pt x="296599" y="11238"/>
                        <a:pt x="296599" y="19671"/>
                      </a:cubicBezTo>
                      <a:cubicBezTo>
                        <a:pt x="296599" y="28104"/>
                        <a:pt x="296103" y="28104"/>
                        <a:pt x="296103" y="36042"/>
                      </a:cubicBezTo>
                      <a:cubicBezTo>
                        <a:pt x="296103" y="44475"/>
                        <a:pt x="296599" y="44475"/>
                        <a:pt x="296599" y="52412"/>
                      </a:cubicBezTo>
                      <a:cubicBezTo>
                        <a:pt x="296599" y="60845"/>
                        <a:pt x="297592" y="60845"/>
                        <a:pt x="297592" y="68783"/>
                      </a:cubicBezTo>
                      <a:cubicBezTo>
                        <a:pt x="297592" y="77216"/>
                        <a:pt x="298088" y="77216"/>
                        <a:pt x="298088" y="85153"/>
                      </a:cubicBezTo>
                      <a:cubicBezTo>
                        <a:pt x="298088" y="93586"/>
                        <a:pt x="296103" y="93586"/>
                        <a:pt x="296103" y="101524"/>
                      </a:cubicBezTo>
                      <a:cubicBezTo>
                        <a:pt x="296103" y="109957"/>
                        <a:pt x="295607" y="109957"/>
                        <a:pt x="295607" y="117894"/>
                      </a:cubicBezTo>
                      <a:cubicBezTo>
                        <a:pt x="295607" y="126328"/>
                        <a:pt x="298088" y="126328"/>
                        <a:pt x="298088" y="134265"/>
                      </a:cubicBezTo>
                      <a:cubicBezTo>
                        <a:pt x="298088" y="142698"/>
                        <a:pt x="298088" y="142698"/>
                        <a:pt x="298088" y="150635"/>
                      </a:cubicBezTo>
                      <a:cubicBezTo>
                        <a:pt x="298088" y="159069"/>
                        <a:pt x="296599" y="159069"/>
                        <a:pt x="296599" y="167006"/>
                      </a:cubicBezTo>
                      <a:cubicBezTo>
                        <a:pt x="296599" y="175439"/>
                        <a:pt x="296599" y="175439"/>
                        <a:pt x="296599" y="183377"/>
                      </a:cubicBezTo>
                      <a:cubicBezTo>
                        <a:pt x="296599" y="191810"/>
                        <a:pt x="296103" y="191810"/>
                        <a:pt x="296103" y="199747"/>
                      </a:cubicBezTo>
                      <a:cubicBezTo>
                        <a:pt x="296103" y="208181"/>
                        <a:pt x="298088" y="208181"/>
                        <a:pt x="298088" y="216118"/>
                      </a:cubicBezTo>
                      <a:cubicBezTo>
                        <a:pt x="298088" y="224551"/>
                        <a:pt x="296599" y="224551"/>
                        <a:pt x="296599" y="232488"/>
                      </a:cubicBezTo>
                      <a:cubicBezTo>
                        <a:pt x="296599" y="240922"/>
                        <a:pt x="296599" y="240922"/>
                        <a:pt x="296599" y="248859"/>
                      </a:cubicBezTo>
                      <a:cubicBezTo>
                        <a:pt x="296599" y="257292"/>
                        <a:pt x="298088" y="257292"/>
                        <a:pt x="298088" y="265230"/>
                      </a:cubicBezTo>
                      <a:cubicBezTo>
                        <a:pt x="298088" y="273663"/>
                        <a:pt x="298088" y="273663"/>
                        <a:pt x="298088" y="281600"/>
                      </a:cubicBezTo>
                      <a:cubicBezTo>
                        <a:pt x="298088" y="289537"/>
                        <a:pt x="298088" y="290034"/>
                        <a:pt x="298088" y="297971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sp>
            <p:nvSpPr>
              <p:cNvPr id="1706" name="Freeform: Shape 1705">
                <a:extLst>
                  <a:ext uri="{FF2B5EF4-FFF2-40B4-BE49-F238E27FC236}">
                    <a16:creationId xmlns:a16="http://schemas.microsoft.com/office/drawing/2014/main" id="{D84CFD06-1C6E-F0E7-2EEE-142BAA430932}"/>
                  </a:ext>
                </a:extLst>
              </p:cNvPr>
              <p:cNvSpPr/>
              <p:nvPr/>
            </p:nvSpPr>
            <p:spPr>
              <a:xfrm>
                <a:off x="4197185" y="3123306"/>
                <a:ext cx="1984" cy="294670"/>
              </a:xfrm>
              <a:custGeom>
                <a:avLst/>
                <a:gdLst>
                  <a:gd name="connsiteX0" fmla="*/ 496 w 1984"/>
                  <a:gd name="connsiteY0" fmla="*/ 294670 h 294670"/>
                  <a:gd name="connsiteX1" fmla="*/ 496 w 1984"/>
                  <a:gd name="connsiteY1" fmla="*/ 278300 h 294670"/>
                  <a:gd name="connsiteX2" fmla="*/ 992 w 1984"/>
                  <a:gd name="connsiteY2" fmla="*/ 261929 h 294670"/>
                  <a:gd name="connsiteX3" fmla="*/ 1488 w 1984"/>
                  <a:gd name="connsiteY3" fmla="*/ 245559 h 294670"/>
                  <a:gd name="connsiteX4" fmla="*/ 1488 w 1984"/>
                  <a:gd name="connsiteY4" fmla="*/ 229188 h 294670"/>
                  <a:gd name="connsiteX5" fmla="*/ 992 w 1984"/>
                  <a:gd name="connsiteY5" fmla="*/ 212818 h 294670"/>
                  <a:gd name="connsiteX6" fmla="*/ 992 w 1984"/>
                  <a:gd name="connsiteY6" fmla="*/ 196447 h 294670"/>
                  <a:gd name="connsiteX7" fmla="*/ 1488 w 1984"/>
                  <a:gd name="connsiteY7" fmla="*/ 180077 h 294670"/>
                  <a:gd name="connsiteX8" fmla="*/ 0 w 1984"/>
                  <a:gd name="connsiteY8" fmla="*/ 163706 h 294670"/>
                  <a:gd name="connsiteX9" fmla="*/ 496 w 1984"/>
                  <a:gd name="connsiteY9" fmla="*/ 147335 h 294670"/>
                  <a:gd name="connsiteX10" fmla="*/ 1984 w 1984"/>
                  <a:gd name="connsiteY10" fmla="*/ 130965 h 294670"/>
                  <a:gd name="connsiteX11" fmla="*/ 1488 w 1984"/>
                  <a:gd name="connsiteY11" fmla="*/ 114594 h 294670"/>
                  <a:gd name="connsiteX12" fmla="*/ 496 w 1984"/>
                  <a:gd name="connsiteY12" fmla="*/ 98224 h 294670"/>
                  <a:gd name="connsiteX13" fmla="*/ 1488 w 1984"/>
                  <a:gd name="connsiteY13" fmla="*/ 81853 h 294670"/>
                  <a:gd name="connsiteX14" fmla="*/ 1488 w 1984"/>
                  <a:gd name="connsiteY14" fmla="*/ 65482 h 294670"/>
                  <a:gd name="connsiteX15" fmla="*/ 1984 w 1984"/>
                  <a:gd name="connsiteY15" fmla="*/ 49112 h 294670"/>
                  <a:gd name="connsiteX16" fmla="*/ 0 w 1984"/>
                  <a:gd name="connsiteY16" fmla="*/ 32741 h 294670"/>
                  <a:gd name="connsiteX17" fmla="*/ 1488 w 1984"/>
                  <a:gd name="connsiteY17" fmla="*/ 16371 h 294670"/>
                  <a:gd name="connsiteX18" fmla="*/ 496 w 1984"/>
                  <a:gd name="connsiteY18" fmla="*/ 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84" h="294670">
                    <a:moveTo>
                      <a:pt x="496" y="294670"/>
                    </a:moveTo>
                    <a:cubicBezTo>
                      <a:pt x="496" y="286237"/>
                      <a:pt x="496" y="286237"/>
                      <a:pt x="496" y="278300"/>
                    </a:cubicBezTo>
                    <a:cubicBezTo>
                      <a:pt x="496" y="269867"/>
                      <a:pt x="992" y="269867"/>
                      <a:pt x="992" y="261929"/>
                    </a:cubicBezTo>
                    <a:cubicBezTo>
                      <a:pt x="992" y="253496"/>
                      <a:pt x="1488" y="253496"/>
                      <a:pt x="1488" y="245559"/>
                    </a:cubicBezTo>
                    <a:cubicBezTo>
                      <a:pt x="1488" y="237125"/>
                      <a:pt x="1488" y="237125"/>
                      <a:pt x="1488" y="229188"/>
                    </a:cubicBezTo>
                    <a:cubicBezTo>
                      <a:pt x="1488" y="220755"/>
                      <a:pt x="992" y="220755"/>
                      <a:pt x="992" y="212818"/>
                    </a:cubicBezTo>
                    <a:cubicBezTo>
                      <a:pt x="992" y="204384"/>
                      <a:pt x="992" y="204384"/>
                      <a:pt x="992" y="196447"/>
                    </a:cubicBezTo>
                    <a:cubicBezTo>
                      <a:pt x="992" y="188014"/>
                      <a:pt x="1488" y="188014"/>
                      <a:pt x="1488" y="180077"/>
                    </a:cubicBezTo>
                    <a:cubicBezTo>
                      <a:pt x="1488" y="171643"/>
                      <a:pt x="0" y="171643"/>
                      <a:pt x="0" y="163706"/>
                    </a:cubicBezTo>
                    <a:cubicBezTo>
                      <a:pt x="0" y="155273"/>
                      <a:pt x="496" y="155273"/>
                      <a:pt x="496" y="147335"/>
                    </a:cubicBezTo>
                    <a:cubicBezTo>
                      <a:pt x="496" y="138902"/>
                      <a:pt x="1984" y="138902"/>
                      <a:pt x="1984" y="130965"/>
                    </a:cubicBezTo>
                    <a:cubicBezTo>
                      <a:pt x="1984" y="122531"/>
                      <a:pt x="1488" y="122531"/>
                      <a:pt x="1488" y="114594"/>
                    </a:cubicBezTo>
                    <a:cubicBezTo>
                      <a:pt x="1488" y="106161"/>
                      <a:pt x="496" y="106161"/>
                      <a:pt x="496" y="98224"/>
                    </a:cubicBezTo>
                    <a:cubicBezTo>
                      <a:pt x="496" y="89790"/>
                      <a:pt x="1488" y="89790"/>
                      <a:pt x="1488" y="81853"/>
                    </a:cubicBezTo>
                    <a:cubicBezTo>
                      <a:pt x="1488" y="73420"/>
                      <a:pt x="1488" y="73420"/>
                      <a:pt x="1488" y="65482"/>
                    </a:cubicBezTo>
                    <a:cubicBezTo>
                      <a:pt x="1488" y="57049"/>
                      <a:pt x="1984" y="57049"/>
                      <a:pt x="1984" y="49112"/>
                    </a:cubicBezTo>
                    <a:cubicBezTo>
                      <a:pt x="1984" y="40678"/>
                      <a:pt x="0" y="40678"/>
                      <a:pt x="0" y="32741"/>
                    </a:cubicBezTo>
                    <a:cubicBezTo>
                      <a:pt x="0" y="24308"/>
                      <a:pt x="1488" y="24308"/>
                      <a:pt x="1488" y="16371"/>
                    </a:cubicBezTo>
                    <a:cubicBezTo>
                      <a:pt x="1488" y="7937"/>
                      <a:pt x="496" y="7937"/>
                      <a:pt x="49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07" name="Freeform: Shape 1706">
                <a:extLst>
                  <a:ext uri="{FF2B5EF4-FFF2-40B4-BE49-F238E27FC236}">
                    <a16:creationId xmlns:a16="http://schemas.microsoft.com/office/drawing/2014/main" id="{1C6BE4F0-F4E2-2DC7-6F11-E8494A562987}"/>
                  </a:ext>
                </a:extLst>
              </p:cNvPr>
              <p:cNvSpPr/>
              <p:nvPr/>
            </p:nvSpPr>
            <p:spPr>
              <a:xfrm>
                <a:off x="4241832" y="3121322"/>
                <a:ext cx="2480" cy="294670"/>
              </a:xfrm>
              <a:custGeom>
                <a:avLst/>
                <a:gdLst>
                  <a:gd name="connsiteX0" fmla="*/ 992 w 2480"/>
                  <a:gd name="connsiteY0" fmla="*/ 0 h 294670"/>
                  <a:gd name="connsiteX1" fmla="*/ 496 w 2480"/>
                  <a:gd name="connsiteY1" fmla="*/ 16371 h 294670"/>
                  <a:gd name="connsiteX2" fmla="*/ 992 w 2480"/>
                  <a:gd name="connsiteY2" fmla="*/ 32741 h 294670"/>
                  <a:gd name="connsiteX3" fmla="*/ 1984 w 2480"/>
                  <a:gd name="connsiteY3" fmla="*/ 49112 h 294670"/>
                  <a:gd name="connsiteX4" fmla="*/ 1984 w 2480"/>
                  <a:gd name="connsiteY4" fmla="*/ 65482 h 294670"/>
                  <a:gd name="connsiteX5" fmla="*/ 2480 w 2480"/>
                  <a:gd name="connsiteY5" fmla="*/ 81853 h 294670"/>
                  <a:gd name="connsiteX6" fmla="*/ 992 w 2480"/>
                  <a:gd name="connsiteY6" fmla="*/ 98223 h 294670"/>
                  <a:gd name="connsiteX7" fmla="*/ 496 w 2480"/>
                  <a:gd name="connsiteY7" fmla="*/ 114594 h 294670"/>
                  <a:gd name="connsiteX8" fmla="*/ 0 w 2480"/>
                  <a:gd name="connsiteY8" fmla="*/ 130964 h 294670"/>
                  <a:gd name="connsiteX9" fmla="*/ 496 w 2480"/>
                  <a:gd name="connsiteY9" fmla="*/ 147335 h 294670"/>
                  <a:gd name="connsiteX10" fmla="*/ 496 w 2480"/>
                  <a:gd name="connsiteY10" fmla="*/ 163706 h 294670"/>
                  <a:gd name="connsiteX11" fmla="*/ 1488 w 2480"/>
                  <a:gd name="connsiteY11" fmla="*/ 180076 h 294670"/>
                  <a:gd name="connsiteX12" fmla="*/ 496 w 2480"/>
                  <a:gd name="connsiteY12" fmla="*/ 196447 h 294670"/>
                  <a:gd name="connsiteX13" fmla="*/ 496 w 2480"/>
                  <a:gd name="connsiteY13" fmla="*/ 212817 h 294670"/>
                  <a:gd name="connsiteX14" fmla="*/ 992 w 2480"/>
                  <a:gd name="connsiteY14" fmla="*/ 229188 h 294670"/>
                  <a:gd name="connsiteX15" fmla="*/ 0 w 2480"/>
                  <a:gd name="connsiteY15" fmla="*/ 245559 h 294670"/>
                  <a:gd name="connsiteX16" fmla="*/ 992 w 2480"/>
                  <a:gd name="connsiteY16" fmla="*/ 261929 h 294670"/>
                  <a:gd name="connsiteX17" fmla="*/ 496 w 2480"/>
                  <a:gd name="connsiteY17" fmla="*/ 278300 h 294670"/>
                  <a:gd name="connsiteX18" fmla="*/ 1984 w 2480"/>
                  <a:gd name="connsiteY18" fmla="*/ 29467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80" h="294670">
                    <a:moveTo>
                      <a:pt x="992" y="0"/>
                    </a:moveTo>
                    <a:cubicBezTo>
                      <a:pt x="992" y="8433"/>
                      <a:pt x="496" y="8433"/>
                      <a:pt x="496" y="16371"/>
                    </a:cubicBezTo>
                    <a:cubicBezTo>
                      <a:pt x="496" y="24804"/>
                      <a:pt x="992" y="24804"/>
                      <a:pt x="992" y="32741"/>
                    </a:cubicBezTo>
                    <a:cubicBezTo>
                      <a:pt x="992" y="41174"/>
                      <a:pt x="1984" y="41174"/>
                      <a:pt x="1984" y="49112"/>
                    </a:cubicBezTo>
                    <a:cubicBezTo>
                      <a:pt x="1984" y="57545"/>
                      <a:pt x="1984" y="57545"/>
                      <a:pt x="1984" y="65482"/>
                    </a:cubicBezTo>
                    <a:cubicBezTo>
                      <a:pt x="1984" y="73915"/>
                      <a:pt x="2480" y="73915"/>
                      <a:pt x="2480" y="81853"/>
                    </a:cubicBezTo>
                    <a:cubicBezTo>
                      <a:pt x="2480" y="90286"/>
                      <a:pt x="992" y="90286"/>
                      <a:pt x="992" y="98223"/>
                    </a:cubicBezTo>
                    <a:cubicBezTo>
                      <a:pt x="992" y="106657"/>
                      <a:pt x="496" y="106657"/>
                      <a:pt x="496" y="114594"/>
                    </a:cubicBezTo>
                    <a:cubicBezTo>
                      <a:pt x="496" y="123027"/>
                      <a:pt x="0" y="123027"/>
                      <a:pt x="0" y="130964"/>
                    </a:cubicBezTo>
                    <a:cubicBezTo>
                      <a:pt x="0" y="139398"/>
                      <a:pt x="496" y="139398"/>
                      <a:pt x="496" y="147335"/>
                    </a:cubicBezTo>
                    <a:cubicBezTo>
                      <a:pt x="496" y="155768"/>
                      <a:pt x="496" y="155768"/>
                      <a:pt x="496" y="163706"/>
                    </a:cubicBezTo>
                    <a:cubicBezTo>
                      <a:pt x="496" y="172139"/>
                      <a:pt x="1488" y="172139"/>
                      <a:pt x="1488" y="180076"/>
                    </a:cubicBezTo>
                    <a:cubicBezTo>
                      <a:pt x="1488" y="188510"/>
                      <a:pt x="496" y="188510"/>
                      <a:pt x="496" y="196447"/>
                    </a:cubicBezTo>
                    <a:cubicBezTo>
                      <a:pt x="496" y="204880"/>
                      <a:pt x="496" y="204880"/>
                      <a:pt x="496" y="212817"/>
                    </a:cubicBezTo>
                    <a:cubicBezTo>
                      <a:pt x="496" y="221251"/>
                      <a:pt x="992" y="221251"/>
                      <a:pt x="992" y="229188"/>
                    </a:cubicBezTo>
                    <a:cubicBezTo>
                      <a:pt x="992" y="237621"/>
                      <a:pt x="0" y="237621"/>
                      <a:pt x="0" y="245559"/>
                    </a:cubicBezTo>
                    <a:cubicBezTo>
                      <a:pt x="0" y="253992"/>
                      <a:pt x="992" y="253992"/>
                      <a:pt x="992" y="261929"/>
                    </a:cubicBezTo>
                    <a:cubicBezTo>
                      <a:pt x="992" y="270362"/>
                      <a:pt x="496" y="270362"/>
                      <a:pt x="496" y="278300"/>
                    </a:cubicBezTo>
                    <a:cubicBezTo>
                      <a:pt x="496" y="286237"/>
                      <a:pt x="1984" y="286733"/>
                      <a:pt x="1984" y="29467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7" name="Graphic 10">
              <a:extLst>
                <a:ext uri="{FF2B5EF4-FFF2-40B4-BE49-F238E27FC236}">
                  <a16:creationId xmlns:a16="http://schemas.microsoft.com/office/drawing/2014/main" id="{7A7E7D30-6ADE-F5E0-7E50-5211E00BDFE7}"/>
                </a:ext>
              </a:extLst>
            </p:cNvPr>
            <p:cNvGrpSpPr/>
            <p:nvPr/>
          </p:nvGrpSpPr>
          <p:grpSpPr>
            <a:xfrm>
              <a:off x="3979903" y="3415992"/>
              <a:ext cx="481720" cy="231985"/>
              <a:chOff x="3979903" y="3415992"/>
              <a:chExt cx="481720" cy="231985"/>
            </a:xfrm>
            <a:noFill/>
          </p:grpSpPr>
          <p:sp>
            <p:nvSpPr>
              <p:cNvPr id="1682" name="Freeform: Shape 1681">
                <a:extLst>
                  <a:ext uri="{FF2B5EF4-FFF2-40B4-BE49-F238E27FC236}">
                    <a16:creationId xmlns:a16="http://schemas.microsoft.com/office/drawing/2014/main" id="{19243C1C-0400-21CB-2561-0B3A80EA372C}"/>
                  </a:ext>
                </a:extLst>
              </p:cNvPr>
              <p:cNvSpPr/>
              <p:nvPr/>
            </p:nvSpPr>
            <p:spPr>
              <a:xfrm>
                <a:off x="3990647" y="3608966"/>
                <a:ext cx="463444" cy="39010"/>
              </a:xfrm>
              <a:custGeom>
                <a:avLst/>
                <a:gdLst>
                  <a:gd name="connsiteX0" fmla="*/ 447632 w 463444"/>
                  <a:gd name="connsiteY0" fmla="*/ 36710 h 39010"/>
                  <a:gd name="connsiteX1" fmla="*/ 454081 w 463444"/>
                  <a:gd name="connsiteY1" fmla="*/ 24804 h 39010"/>
                  <a:gd name="connsiteX2" fmla="*/ 460530 w 463444"/>
                  <a:gd name="connsiteY2" fmla="*/ 12898 h 39010"/>
                  <a:gd name="connsiteX3" fmla="*/ 461026 w 463444"/>
                  <a:gd name="connsiteY3" fmla="*/ 1984 h 39010"/>
                  <a:gd name="connsiteX4" fmla="*/ 444656 w 463444"/>
                  <a:gd name="connsiteY4" fmla="*/ 1984 h 39010"/>
                  <a:gd name="connsiteX5" fmla="*/ 428285 w 463444"/>
                  <a:gd name="connsiteY5" fmla="*/ 1488 h 39010"/>
                  <a:gd name="connsiteX6" fmla="*/ 411914 w 463444"/>
                  <a:gd name="connsiteY6" fmla="*/ 2480 h 39010"/>
                  <a:gd name="connsiteX7" fmla="*/ 395544 w 463444"/>
                  <a:gd name="connsiteY7" fmla="*/ 1488 h 39010"/>
                  <a:gd name="connsiteX8" fmla="*/ 379173 w 463444"/>
                  <a:gd name="connsiteY8" fmla="*/ 2976 h 39010"/>
                  <a:gd name="connsiteX9" fmla="*/ 362803 w 463444"/>
                  <a:gd name="connsiteY9" fmla="*/ 992 h 39010"/>
                  <a:gd name="connsiteX10" fmla="*/ 346432 w 463444"/>
                  <a:gd name="connsiteY10" fmla="*/ 992 h 39010"/>
                  <a:gd name="connsiteX11" fmla="*/ 330061 w 463444"/>
                  <a:gd name="connsiteY11" fmla="*/ 992 h 39010"/>
                  <a:gd name="connsiteX12" fmla="*/ 313691 w 463444"/>
                  <a:gd name="connsiteY12" fmla="*/ 992 h 39010"/>
                  <a:gd name="connsiteX13" fmla="*/ 297320 w 463444"/>
                  <a:gd name="connsiteY13" fmla="*/ 992 h 39010"/>
                  <a:gd name="connsiteX14" fmla="*/ 280950 w 463444"/>
                  <a:gd name="connsiteY14" fmla="*/ 2480 h 39010"/>
                  <a:gd name="connsiteX15" fmla="*/ 264579 w 463444"/>
                  <a:gd name="connsiteY15" fmla="*/ 1984 h 39010"/>
                  <a:gd name="connsiteX16" fmla="*/ 248208 w 463444"/>
                  <a:gd name="connsiteY16" fmla="*/ 2480 h 39010"/>
                  <a:gd name="connsiteX17" fmla="*/ 231838 w 463444"/>
                  <a:gd name="connsiteY17" fmla="*/ 1984 h 39010"/>
                  <a:gd name="connsiteX18" fmla="*/ 215467 w 463444"/>
                  <a:gd name="connsiteY18" fmla="*/ 3968 h 39010"/>
                  <a:gd name="connsiteX19" fmla="*/ 199097 w 463444"/>
                  <a:gd name="connsiteY19" fmla="*/ 3968 h 39010"/>
                  <a:gd name="connsiteX20" fmla="*/ 182726 w 463444"/>
                  <a:gd name="connsiteY20" fmla="*/ 2976 h 39010"/>
                  <a:gd name="connsiteX21" fmla="*/ 166356 w 463444"/>
                  <a:gd name="connsiteY21" fmla="*/ 3473 h 39010"/>
                  <a:gd name="connsiteX22" fmla="*/ 149985 w 463444"/>
                  <a:gd name="connsiteY22" fmla="*/ 2480 h 39010"/>
                  <a:gd name="connsiteX23" fmla="*/ 133615 w 463444"/>
                  <a:gd name="connsiteY23" fmla="*/ 2480 h 39010"/>
                  <a:gd name="connsiteX24" fmla="*/ 117244 w 463444"/>
                  <a:gd name="connsiteY24" fmla="*/ 2480 h 39010"/>
                  <a:gd name="connsiteX25" fmla="*/ 100873 w 463444"/>
                  <a:gd name="connsiteY25" fmla="*/ 3968 h 39010"/>
                  <a:gd name="connsiteX26" fmla="*/ 84503 w 463444"/>
                  <a:gd name="connsiteY26" fmla="*/ 2480 h 39010"/>
                  <a:gd name="connsiteX27" fmla="*/ 68132 w 463444"/>
                  <a:gd name="connsiteY27" fmla="*/ 2480 h 39010"/>
                  <a:gd name="connsiteX28" fmla="*/ 51762 w 463444"/>
                  <a:gd name="connsiteY28" fmla="*/ 3473 h 39010"/>
                  <a:gd name="connsiteX29" fmla="*/ 35391 w 463444"/>
                  <a:gd name="connsiteY29" fmla="*/ 4465 h 39010"/>
                  <a:gd name="connsiteX30" fmla="*/ 19020 w 463444"/>
                  <a:gd name="connsiteY30" fmla="*/ 3473 h 39010"/>
                  <a:gd name="connsiteX31" fmla="*/ 2154 w 463444"/>
                  <a:gd name="connsiteY31" fmla="*/ 2480 h 39010"/>
                  <a:gd name="connsiteX32" fmla="*/ 3642 w 463444"/>
                  <a:gd name="connsiteY32" fmla="*/ 13890 h 39010"/>
                  <a:gd name="connsiteX33" fmla="*/ 12075 w 463444"/>
                  <a:gd name="connsiteY33" fmla="*/ 26788 h 39010"/>
                  <a:gd name="connsiteX34" fmla="*/ 23485 w 463444"/>
                  <a:gd name="connsiteY34" fmla="*/ 36710 h 39010"/>
                  <a:gd name="connsiteX35" fmla="*/ 39360 w 463444"/>
                  <a:gd name="connsiteY35" fmla="*/ 38694 h 39010"/>
                  <a:gd name="connsiteX36" fmla="*/ 55730 w 463444"/>
                  <a:gd name="connsiteY36" fmla="*/ 37702 h 39010"/>
                  <a:gd name="connsiteX37" fmla="*/ 72101 w 463444"/>
                  <a:gd name="connsiteY37" fmla="*/ 36710 h 39010"/>
                  <a:gd name="connsiteX38" fmla="*/ 88471 w 463444"/>
                  <a:gd name="connsiteY38" fmla="*/ 36710 h 39010"/>
                  <a:gd name="connsiteX39" fmla="*/ 104842 w 463444"/>
                  <a:gd name="connsiteY39" fmla="*/ 38694 h 39010"/>
                  <a:gd name="connsiteX40" fmla="*/ 121213 w 463444"/>
                  <a:gd name="connsiteY40" fmla="*/ 37206 h 39010"/>
                  <a:gd name="connsiteX41" fmla="*/ 137583 w 463444"/>
                  <a:gd name="connsiteY41" fmla="*/ 37702 h 39010"/>
                  <a:gd name="connsiteX42" fmla="*/ 153954 w 463444"/>
                  <a:gd name="connsiteY42" fmla="*/ 37206 h 39010"/>
                  <a:gd name="connsiteX43" fmla="*/ 170324 w 463444"/>
                  <a:gd name="connsiteY43" fmla="*/ 38198 h 39010"/>
                  <a:gd name="connsiteX44" fmla="*/ 186695 w 463444"/>
                  <a:gd name="connsiteY44" fmla="*/ 38694 h 39010"/>
                  <a:gd name="connsiteX45" fmla="*/ 203065 w 463444"/>
                  <a:gd name="connsiteY45" fmla="*/ 38694 h 39010"/>
                  <a:gd name="connsiteX46" fmla="*/ 219436 w 463444"/>
                  <a:gd name="connsiteY46" fmla="*/ 36710 h 39010"/>
                  <a:gd name="connsiteX47" fmla="*/ 235807 w 463444"/>
                  <a:gd name="connsiteY47" fmla="*/ 37702 h 39010"/>
                  <a:gd name="connsiteX48" fmla="*/ 252177 w 463444"/>
                  <a:gd name="connsiteY48" fmla="*/ 37206 h 39010"/>
                  <a:gd name="connsiteX49" fmla="*/ 268548 w 463444"/>
                  <a:gd name="connsiteY49" fmla="*/ 38198 h 39010"/>
                  <a:gd name="connsiteX50" fmla="*/ 284918 w 463444"/>
                  <a:gd name="connsiteY50" fmla="*/ 38198 h 39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463444" h="39010">
                    <a:moveTo>
                      <a:pt x="447632" y="36710"/>
                    </a:moveTo>
                    <a:cubicBezTo>
                      <a:pt x="451104" y="30757"/>
                      <a:pt x="450608" y="30261"/>
                      <a:pt x="454081" y="24804"/>
                    </a:cubicBezTo>
                    <a:cubicBezTo>
                      <a:pt x="457553" y="19347"/>
                      <a:pt x="458546" y="19347"/>
                      <a:pt x="460530" y="12898"/>
                    </a:cubicBezTo>
                    <a:cubicBezTo>
                      <a:pt x="462018" y="7441"/>
                      <a:pt x="465987" y="4961"/>
                      <a:pt x="461026" y="1984"/>
                    </a:cubicBezTo>
                    <a:cubicBezTo>
                      <a:pt x="454081" y="-2480"/>
                      <a:pt x="452593" y="1984"/>
                      <a:pt x="444656" y="1984"/>
                    </a:cubicBezTo>
                    <a:cubicBezTo>
                      <a:pt x="436222" y="1984"/>
                      <a:pt x="436222" y="1488"/>
                      <a:pt x="428285" y="1488"/>
                    </a:cubicBezTo>
                    <a:cubicBezTo>
                      <a:pt x="419852" y="1488"/>
                      <a:pt x="419852" y="2480"/>
                      <a:pt x="411914" y="2480"/>
                    </a:cubicBezTo>
                    <a:cubicBezTo>
                      <a:pt x="403481" y="2480"/>
                      <a:pt x="403481" y="1488"/>
                      <a:pt x="395544" y="1488"/>
                    </a:cubicBezTo>
                    <a:cubicBezTo>
                      <a:pt x="387110" y="1488"/>
                      <a:pt x="387110" y="2976"/>
                      <a:pt x="379173" y="2976"/>
                    </a:cubicBezTo>
                    <a:cubicBezTo>
                      <a:pt x="370740" y="2976"/>
                      <a:pt x="370740" y="992"/>
                      <a:pt x="362803" y="992"/>
                    </a:cubicBezTo>
                    <a:cubicBezTo>
                      <a:pt x="354369" y="992"/>
                      <a:pt x="354369" y="992"/>
                      <a:pt x="346432" y="992"/>
                    </a:cubicBezTo>
                    <a:cubicBezTo>
                      <a:pt x="337999" y="992"/>
                      <a:pt x="337999" y="992"/>
                      <a:pt x="330061" y="992"/>
                    </a:cubicBezTo>
                    <a:cubicBezTo>
                      <a:pt x="321628" y="992"/>
                      <a:pt x="321628" y="992"/>
                      <a:pt x="313691" y="992"/>
                    </a:cubicBezTo>
                    <a:cubicBezTo>
                      <a:pt x="305257" y="992"/>
                      <a:pt x="305257" y="992"/>
                      <a:pt x="297320" y="992"/>
                    </a:cubicBezTo>
                    <a:cubicBezTo>
                      <a:pt x="288887" y="992"/>
                      <a:pt x="288887" y="2480"/>
                      <a:pt x="280950" y="2480"/>
                    </a:cubicBezTo>
                    <a:cubicBezTo>
                      <a:pt x="272516" y="2480"/>
                      <a:pt x="272516" y="1984"/>
                      <a:pt x="264579" y="1984"/>
                    </a:cubicBezTo>
                    <a:cubicBezTo>
                      <a:pt x="256146" y="1984"/>
                      <a:pt x="256146" y="2480"/>
                      <a:pt x="248208" y="2480"/>
                    </a:cubicBezTo>
                    <a:cubicBezTo>
                      <a:pt x="239775" y="2480"/>
                      <a:pt x="239775" y="1984"/>
                      <a:pt x="231838" y="1984"/>
                    </a:cubicBezTo>
                    <a:cubicBezTo>
                      <a:pt x="223405" y="1984"/>
                      <a:pt x="223405" y="3968"/>
                      <a:pt x="215467" y="3968"/>
                    </a:cubicBezTo>
                    <a:cubicBezTo>
                      <a:pt x="207034" y="3968"/>
                      <a:pt x="207034" y="3968"/>
                      <a:pt x="199097" y="3968"/>
                    </a:cubicBezTo>
                    <a:cubicBezTo>
                      <a:pt x="190664" y="3968"/>
                      <a:pt x="190664" y="2976"/>
                      <a:pt x="182726" y="2976"/>
                    </a:cubicBezTo>
                    <a:cubicBezTo>
                      <a:pt x="174293" y="2976"/>
                      <a:pt x="174293" y="3473"/>
                      <a:pt x="166356" y="3473"/>
                    </a:cubicBezTo>
                    <a:cubicBezTo>
                      <a:pt x="157922" y="3473"/>
                      <a:pt x="157922" y="2480"/>
                      <a:pt x="149985" y="2480"/>
                    </a:cubicBezTo>
                    <a:cubicBezTo>
                      <a:pt x="141552" y="2480"/>
                      <a:pt x="141552" y="2480"/>
                      <a:pt x="133615" y="2480"/>
                    </a:cubicBezTo>
                    <a:cubicBezTo>
                      <a:pt x="125181" y="2480"/>
                      <a:pt x="125181" y="2480"/>
                      <a:pt x="117244" y="2480"/>
                    </a:cubicBezTo>
                    <a:cubicBezTo>
                      <a:pt x="109307" y="2480"/>
                      <a:pt x="108811" y="3968"/>
                      <a:pt x="100873" y="3968"/>
                    </a:cubicBezTo>
                    <a:cubicBezTo>
                      <a:pt x="92440" y="3968"/>
                      <a:pt x="92440" y="2480"/>
                      <a:pt x="84503" y="2480"/>
                    </a:cubicBezTo>
                    <a:cubicBezTo>
                      <a:pt x="76069" y="2480"/>
                      <a:pt x="76069" y="2480"/>
                      <a:pt x="68132" y="2480"/>
                    </a:cubicBezTo>
                    <a:cubicBezTo>
                      <a:pt x="59699" y="2480"/>
                      <a:pt x="59699" y="3473"/>
                      <a:pt x="51762" y="3473"/>
                    </a:cubicBezTo>
                    <a:cubicBezTo>
                      <a:pt x="43328" y="3473"/>
                      <a:pt x="43328" y="4465"/>
                      <a:pt x="35391" y="4465"/>
                    </a:cubicBezTo>
                    <a:cubicBezTo>
                      <a:pt x="26958" y="4465"/>
                      <a:pt x="26958" y="3473"/>
                      <a:pt x="19020" y="3473"/>
                    </a:cubicBezTo>
                    <a:cubicBezTo>
                      <a:pt x="11083" y="3473"/>
                      <a:pt x="8603" y="-1985"/>
                      <a:pt x="2154" y="2480"/>
                    </a:cubicBezTo>
                    <a:cubicBezTo>
                      <a:pt x="-2311" y="5457"/>
                      <a:pt x="1162" y="8929"/>
                      <a:pt x="3642" y="13890"/>
                    </a:cubicBezTo>
                    <a:cubicBezTo>
                      <a:pt x="6618" y="20835"/>
                      <a:pt x="7115" y="20835"/>
                      <a:pt x="12075" y="26788"/>
                    </a:cubicBezTo>
                    <a:cubicBezTo>
                      <a:pt x="17036" y="32741"/>
                      <a:pt x="16540" y="33733"/>
                      <a:pt x="23485" y="36710"/>
                    </a:cubicBezTo>
                    <a:cubicBezTo>
                      <a:pt x="30926" y="40182"/>
                      <a:pt x="30926" y="38694"/>
                      <a:pt x="39360" y="38694"/>
                    </a:cubicBezTo>
                    <a:cubicBezTo>
                      <a:pt x="47297" y="38694"/>
                      <a:pt x="47297" y="37702"/>
                      <a:pt x="55730" y="37702"/>
                    </a:cubicBezTo>
                    <a:cubicBezTo>
                      <a:pt x="63667" y="37702"/>
                      <a:pt x="63667" y="36710"/>
                      <a:pt x="72101" y="36710"/>
                    </a:cubicBezTo>
                    <a:cubicBezTo>
                      <a:pt x="80038" y="36710"/>
                      <a:pt x="80038" y="36710"/>
                      <a:pt x="88471" y="36710"/>
                    </a:cubicBezTo>
                    <a:cubicBezTo>
                      <a:pt x="96409" y="36710"/>
                      <a:pt x="96409" y="38694"/>
                      <a:pt x="104842" y="38694"/>
                    </a:cubicBezTo>
                    <a:cubicBezTo>
                      <a:pt x="112779" y="38694"/>
                      <a:pt x="112779" y="37206"/>
                      <a:pt x="121213" y="37206"/>
                    </a:cubicBezTo>
                    <a:cubicBezTo>
                      <a:pt x="129150" y="37206"/>
                      <a:pt x="129150" y="37702"/>
                      <a:pt x="137583" y="37702"/>
                    </a:cubicBezTo>
                    <a:cubicBezTo>
                      <a:pt x="145520" y="37702"/>
                      <a:pt x="145520" y="37206"/>
                      <a:pt x="153954" y="37206"/>
                    </a:cubicBezTo>
                    <a:cubicBezTo>
                      <a:pt x="161891" y="37206"/>
                      <a:pt x="161891" y="38198"/>
                      <a:pt x="170324" y="38198"/>
                    </a:cubicBezTo>
                    <a:cubicBezTo>
                      <a:pt x="178758" y="38198"/>
                      <a:pt x="178262" y="38694"/>
                      <a:pt x="186695" y="38694"/>
                    </a:cubicBezTo>
                    <a:cubicBezTo>
                      <a:pt x="194632" y="38694"/>
                      <a:pt x="194632" y="38694"/>
                      <a:pt x="203065" y="38694"/>
                    </a:cubicBezTo>
                    <a:cubicBezTo>
                      <a:pt x="211003" y="38694"/>
                      <a:pt x="211003" y="36710"/>
                      <a:pt x="219436" y="36710"/>
                    </a:cubicBezTo>
                    <a:cubicBezTo>
                      <a:pt x="227373" y="36710"/>
                      <a:pt x="227373" y="37702"/>
                      <a:pt x="235807" y="37702"/>
                    </a:cubicBezTo>
                    <a:cubicBezTo>
                      <a:pt x="243744" y="37702"/>
                      <a:pt x="243744" y="37206"/>
                      <a:pt x="252177" y="37206"/>
                    </a:cubicBezTo>
                    <a:cubicBezTo>
                      <a:pt x="260114" y="37206"/>
                      <a:pt x="260114" y="38198"/>
                      <a:pt x="268548" y="38198"/>
                    </a:cubicBezTo>
                    <a:cubicBezTo>
                      <a:pt x="276485" y="38198"/>
                      <a:pt x="276485" y="38198"/>
                      <a:pt x="284918" y="38198"/>
                    </a:cubicBezTo>
                  </a:path>
                </a:pathLst>
              </a:custGeom>
              <a:solidFill>
                <a:srgbClr val="B6C2D6"/>
              </a:solidFill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83" name="Freeform: Shape 1682">
                <a:extLst>
                  <a:ext uri="{FF2B5EF4-FFF2-40B4-BE49-F238E27FC236}">
                    <a16:creationId xmlns:a16="http://schemas.microsoft.com/office/drawing/2014/main" id="{EFBB1E29-6CF7-822C-DBFB-1C5FEAED77A1}"/>
                  </a:ext>
                </a:extLst>
              </p:cNvPr>
              <p:cNvSpPr/>
              <p:nvPr/>
            </p:nvSpPr>
            <p:spPr>
              <a:xfrm>
                <a:off x="3979903" y="3415992"/>
                <a:ext cx="481720" cy="25796"/>
              </a:xfrm>
              <a:custGeom>
                <a:avLst/>
                <a:gdLst>
                  <a:gd name="connsiteX0" fmla="*/ 469786 w 481720"/>
                  <a:gd name="connsiteY0" fmla="*/ 24308 h 25796"/>
                  <a:gd name="connsiteX1" fmla="*/ 453415 w 481720"/>
                  <a:gd name="connsiteY1" fmla="*/ 25796 h 25796"/>
                  <a:gd name="connsiteX2" fmla="*/ 437045 w 481720"/>
                  <a:gd name="connsiteY2" fmla="*/ 25300 h 25796"/>
                  <a:gd name="connsiteX3" fmla="*/ 420674 w 481720"/>
                  <a:gd name="connsiteY3" fmla="*/ 24804 h 25796"/>
                  <a:gd name="connsiteX4" fmla="*/ 404304 w 481720"/>
                  <a:gd name="connsiteY4" fmla="*/ 24308 h 25796"/>
                  <a:gd name="connsiteX5" fmla="*/ 387933 w 481720"/>
                  <a:gd name="connsiteY5" fmla="*/ 25300 h 25796"/>
                  <a:gd name="connsiteX6" fmla="*/ 371563 w 481720"/>
                  <a:gd name="connsiteY6" fmla="*/ 25796 h 25796"/>
                  <a:gd name="connsiteX7" fmla="*/ 355192 w 481720"/>
                  <a:gd name="connsiteY7" fmla="*/ 25796 h 25796"/>
                  <a:gd name="connsiteX8" fmla="*/ 338821 w 481720"/>
                  <a:gd name="connsiteY8" fmla="*/ 25796 h 25796"/>
                  <a:gd name="connsiteX9" fmla="*/ 322451 w 481720"/>
                  <a:gd name="connsiteY9" fmla="*/ 25796 h 25796"/>
                  <a:gd name="connsiteX10" fmla="*/ 306080 w 481720"/>
                  <a:gd name="connsiteY10" fmla="*/ 25796 h 25796"/>
                  <a:gd name="connsiteX11" fmla="*/ 289710 w 481720"/>
                  <a:gd name="connsiteY11" fmla="*/ 25796 h 25796"/>
                  <a:gd name="connsiteX12" fmla="*/ 273339 w 481720"/>
                  <a:gd name="connsiteY12" fmla="*/ 25796 h 25796"/>
                  <a:gd name="connsiteX13" fmla="*/ 256969 w 481720"/>
                  <a:gd name="connsiteY13" fmla="*/ 25796 h 25796"/>
                  <a:gd name="connsiteX14" fmla="*/ 240598 w 481720"/>
                  <a:gd name="connsiteY14" fmla="*/ 25796 h 25796"/>
                  <a:gd name="connsiteX15" fmla="*/ 224227 w 481720"/>
                  <a:gd name="connsiteY15" fmla="*/ 25796 h 25796"/>
                  <a:gd name="connsiteX16" fmla="*/ 207857 w 481720"/>
                  <a:gd name="connsiteY16" fmla="*/ 24308 h 25796"/>
                  <a:gd name="connsiteX17" fmla="*/ 191486 w 481720"/>
                  <a:gd name="connsiteY17" fmla="*/ 24804 h 25796"/>
                  <a:gd name="connsiteX18" fmla="*/ 175116 w 481720"/>
                  <a:gd name="connsiteY18" fmla="*/ 25796 h 25796"/>
                  <a:gd name="connsiteX19" fmla="*/ 158745 w 481720"/>
                  <a:gd name="connsiteY19" fmla="*/ 24308 h 25796"/>
                  <a:gd name="connsiteX20" fmla="*/ 142374 w 481720"/>
                  <a:gd name="connsiteY20" fmla="*/ 25300 h 25796"/>
                  <a:gd name="connsiteX21" fmla="*/ 126004 w 481720"/>
                  <a:gd name="connsiteY21" fmla="*/ 24804 h 25796"/>
                  <a:gd name="connsiteX22" fmla="*/ 109633 w 481720"/>
                  <a:gd name="connsiteY22" fmla="*/ 24804 h 25796"/>
                  <a:gd name="connsiteX23" fmla="*/ 93263 w 481720"/>
                  <a:gd name="connsiteY23" fmla="*/ 24804 h 25796"/>
                  <a:gd name="connsiteX24" fmla="*/ 76892 w 481720"/>
                  <a:gd name="connsiteY24" fmla="*/ 25796 h 25796"/>
                  <a:gd name="connsiteX25" fmla="*/ 60522 w 481720"/>
                  <a:gd name="connsiteY25" fmla="*/ 23812 h 25796"/>
                  <a:gd name="connsiteX26" fmla="*/ 44151 w 481720"/>
                  <a:gd name="connsiteY26" fmla="*/ 24804 h 25796"/>
                  <a:gd name="connsiteX27" fmla="*/ 27781 w 481720"/>
                  <a:gd name="connsiteY27" fmla="*/ 24308 h 25796"/>
                  <a:gd name="connsiteX28" fmla="*/ 11410 w 481720"/>
                  <a:gd name="connsiteY28" fmla="*/ 25300 h 25796"/>
                  <a:gd name="connsiteX29" fmla="*/ 0 w 481720"/>
                  <a:gd name="connsiteY29" fmla="*/ 13394 h 25796"/>
                  <a:gd name="connsiteX30" fmla="*/ 496 w 481720"/>
                  <a:gd name="connsiteY30" fmla="*/ 13394 h 25796"/>
                  <a:gd name="connsiteX31" fmla="*/ 11410 w 481720"/>
                  <a:gd name="connsiteY31" fmla="*/ 496 h 25796"/>
                  <a:gd name="connsiteX32" fmla="*/ 27781 w 481720"/>
                  <a:gd name="connsiteY32" fmla="*/ 2480 h 25796"/>
                  <a:gd name="connsiteX33" fmla="*/ 44151 w 481720"/>
                  <a:gd name="connsiteY33" fmla="*/ 496 h 25796"/>
                  <a:gd name="connsiteX34" fmla="*/ 60522 w 481720"/>
                  <a:gd name="connsiteY34" fmla="*/ 1984 h 25796"/>
                  <a:gd name="connsiteX35" fmla="*/ 76892 w 481720"/>
                  <a:gd name="connsiteY35" fmla="*/ 496 h 25796"/>
                  <a:gd name="connsiteX36" fmla="*/ 93263 w 481720"/>
                  <a:gd name="connsiteY36" fmla="*/ 2480 h 25796"/>
                  <a:gd name="connsiteX37" fmla="*/ 109633 w 481720"/>
                  <a:gd name="connsiteY37" fmla="*/ 992 h 25796"/>
                  <a:gd name="connsiteX38" fmla="*/ 126004 w 481720"/>
                  <a:gd name="connsiteY38" fmla="*/ 496 h 25796"/>
                  <a:gd name="connsiteX39" fmla="*/ 142374 w 481720"/>
                  <a:gd name="connsiteY39" fmla="*/ 2480 h 25796"/>
                  <a:gd name="connsiteX40" fmla="*/ 158745 w 481720"/>
                  <a:gd name="connsiteY40" fmla="*/ 1488 h 25796"/>
                  <a:gd name="connsiteX41" fmla="*/ 175116 w 481720"/>
                  <a:gd name="connsiteY41" fmla="*/ 992 h 25796"/>
                  <a:gd name="connsiteX42" fmla="*/ 191486 w 481720"/>
                  <a:gd name="connsiteY42" fmla="*/ 1984 h 25796"/>
                  <a:gd name="connsiteX43" fmla="*/ 207857 w 481720"/>
                  <a:gd name="connsiteY43" fmla="*/ 1488 h 25796"/>
                  <a:gd name="connsiteX44" fmla="*/ 224227 w 481720"/>
                  <a:gd name="connsiteY44" fmla="*/ 496 h 25796"/>
                  <a:gd name="connsiteX45" fmla="*/ 240598 w 481720"/>
                  <a:gd name="connsiteY45" fmla="*/ 496 h 25796"/>
                  <a:gd name="connsiteX46" fmla="*/ 256969 w 481720"/>
                  <a:gd name="connsiteY46" fmla="*/ 1984 h 25796"/>
                  <a:gd name="connsiteX47" fmla="*/ 273339 w 481720"/>
                  <a:gd name="connsiteY47" fmla="*/ 496 h 25796"/>
                  <a:gd name="connsiteX48" fmla="*/ 289710 w 481720"/>
                  <a:gd name="connsiteY48" fmla="*/ 496 h 25796"/>
                  <a:gd name="connsiteX49" fmla="*/ 306080 w 481720"/>
                  <a:gd name="connsiteY49" fmla="*/ 1984 h 25796"/>
                  <a:gd name="connsiteX50" fmla="*/ 322451 w 481720"/>
                  <a:gd name="connsiteY50" fmla="*/ 0 h 25796"/>
                  <a:gd name="connsiteX51" fmla="*/ 338821 w 481720"/>
                  <a:gd name="connsiteY51" fmla="*/ 992 h 25796"/>
                  <a:gd name="connsiteX52" fmla="*/ 355192 w 481720"/>
                  <a:gd name="connsiteY52" fmla="*/ 1984 h 25796"/>
                  <a:gd name="connsiteX53" fmla="*/ 371563 w 481720"/>
                  <a:gd name="connsiteY53" fmla="*/ 992 h 25796"/>
                  <a:gd name="connsiteX54" fmla="*/ 387933 w 481720"/>
                  <a:gd name="connsiteY54" fmla="*/ 1488 h 25796"/>
                  <a:gd name="connsiteX55" fmla="*/ 404304 w 481720"/>
                  <a:gd name="connsiteY55" fmla="*/ 0 h 25796"/>
                  <a:gd name="connsiteX56" fmla="*/ 420674 w 481720"/>
                  <a:gd name="connsiteY56" fmla="*/ 496 h 25796"/>
                  <a:gd name="connsiteX57" fmla="*/ 437045 w 481720"/>
                  <a:gd name="connsiteY57" fmla="*/ 1984 h 25796"/>
                  <a:gd name="connsiteX58" fmla="*/ 453415 w 481720"/>
                  <a:gd name="connsiteY58" fmla="*/ 1488 h 25796"/>
                  <a:gd name="connsiteX59" fmla="*/ 469786 w 481720"/>
                  <a:gd name="connsiteY59" fmla="*/ 992 h 25796"/>
                  <a:gd name="connsiteX60" fmla="*/ 481196 w 481720"/>
                  <a:gd name="connsiteY60" fmla="*/ 12402 h 25796"/>
                  <a:gd name="connsiteX61" fmla="*/ 481692 w 481720"/>
                  <a:gd name="connsiteY61" fmla="*/ 12402 h 25796"/>
                  <a:gd name="connsiteX62" fmla="*/ 469786 w 481720"/>
                  <a:gd name="connsiteY62" fmla="*/ 24308 h 25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81720" h="25796">
                    <a:moveTo>
                      <a:pt x="469786" y="24308"/>
                    </a:moveTo>
                    <a:cubicBezTo>
                      <a:pt x="461352" y="24308"/>
                      <a:pt x="461352" y="25796"/>
                      <a:pt x="453415" y="25796"/>
                    </a:cubicBezTo>
                    <a:cubicBezTo>
                      <a:pt x="444982" y="25796"/>
                      <a:pt x="444982" y="25300"/>
                      <a:pt x="437045" y="25300"/>
                    </a:cubicBezTo>
                    <a:cubicBezTo>
                      <a:pt x="428611" y="25300"/>
                      <a:pt x="428611" y="24804"/>
                      <a:pt x="420674" y="24804"/>
                    </a:cubicBezTo>
                    <a:cubicBezTo>
                      <a:pt x="412241" y="24804"/>
                      <a:pt x="412241" y="24308"/>
                      <a:pt x="404304" y="24308"/>
                    </a:cubicBezTo>
                    <a:cubicBezTo>
                      <a:pt x="395870" y="24308"/>
                      <a:pt x="395870" y="25300"/>
                      <a:pt x="387933" y="25300"/>
                    </a:cubicBezTo>
                    <a:cubicBezTo>
                      <a:pt x="379500" y="25300"/>
                      <a:pt x="379500" y="25796"/>
                      <a:pt x="371563" y="25796"/>
                    </a:cubicBezTo>
                    <a:cubicBezTo>
                      <a:pt x="363129" y="25796"/>
                      <a:pt x="363129" y="25796"/>
                      <a:pt x="355192" y="25796"/>
                    </a:cubicBezTo>
                    <a:cubicBezTo>
                      <a:pt x="346759" y="25796"/>
                      <a:pt x="346759" y="25796"/>
                      <a:pt x="338821" y="25796"/>
                    </a:cubicBezTo>
                    <a:cubicBezTo>
                      <a:pt x="330388" y="25796"/>
                      <a:pt x="330388" y="25796"/>
                      <a:pt x="322451" y="25796"/>
                    </a:cubicBezTo>
                    <a:cubicBezTo>
                      <a:pt x="314018" y="25796"/>
                      <a:pt x="314018" y="25796"/>
                      <a:pt x="306080" y="25796"/>
                    </a:cubicBezTo>
                    <a:cubicBezTo>
                      <a:pt x="297647" y="25796"/>
                      <a:pt x="297647" y="25796"/>
                      <a:pt x="289710" y="25796"/>
                    </a:cubicBezTo>
                    <a:cubicBezTo>
                      <a:pt x="281276" y="25796"/>
                      <a:pt x="281276" y="25796"/>
                      <a:pt x="273339" y="25796"/>
                    </a:cubicBezTo>
                    <a:cubicBezTo>
                      <a:pt x="264906" y="25796"/>
                      <a:pt x="264906" y="25796"/>
                      <a:pt x="256969" y="25796"/>
                    </a:cubicBezTo>
                    <a:cubicBezTo>
                      <a:pt x="248535" y="25796"/>
                      <a:pt x="248535" y="25796"/>
                      <a:pt x="240598" y="25796"/>
                    </a:cubicBezTo>
                    <a:cubicBezTo>
                      <a:pt x="232165" y="25796"/>
                      <a:pt x="232165" y="25796"/>
                      <a:pt x="224227" y="25796"/>
                    </a:cubicBezTo>
                    <a:cubicBezTo>
                      <a:pt x="215794" y="25796"/>
                      <a:pt x="215794" y="24308"/>
                      <a:pt x="207857" y="24308"/>
                    </a:cubicBezTo>
                    <a:cubicBezTo>
                      <a:pt x="199423" y="24308"/>
                      <a:pt x="199423" y="24804"/>
                      <a:pt x="191486" y="24804"/>
                    </a:cubicBezTo>
                    <a:cubicBezTo>
                      <a:pt x="183053" y="24804"/>
                      <a:pt x="183053" y="25796"/>
                      <a:pt x="175116" y="25796"/>
                    </a:cubicBezTo>
                    <a:cubicBezTo>
                      <a:pt x="166682" y="25796"/>
                      <a:pt x="166682" y="24308"/>
                      <a:pt x="158745" y="24308"/>
                    </a:cubicBezTo>
                    <a:cubicBezTo>
                      <a:pt x="150312" y="24308"/>
                      <a:pt x="150312" y="25300"/>
                      <a:pt x="142374" y="25300"/>
                    </a:cubicBezTo>
                    <a:cubicBezTo>
                      <a:pt x="133941" y="25300"/>
                      <a:pt x="133941" y="24804"/>
                      <a:pt x="126004" y="24804"/>
                    </a:cubicBezTo>
                    <a:cubicBezTo>
                      <a:pt x="118067" y="24804"/>
                      <a:pt x="117571" y="24804"/>
                      <a:pt x="109633" y="24804"/>
                    </a:cubicBezTo>
                    <a:cubicBezTo>
                      <a:pt x="101200" y="24804"/>
                      <a:pt x="101200" y="24804"/>
                      <a:pt x="93263" y="24804"/>
                    </a:cubicBezTo>
                    <a:cubicBezTo>
                      <a:pt x="84830" y="24804"/>
                      <a:pt x="84830" y="25796"/>
                      <a:pt x="76892" y="25796"/>
                    </a:cubicBezTo>
                    <a:cubicBezTo>
                      <a:pt x="68459" y="25796"/>
                      <a:pt x="68459" y="23812"/>
                      <a:pt x="60522" y="23812"/>
                    </a:cubicBezTo>
                    <a:cubicBezTo>
                      <a:pt x="52088" y="23812"/>
                      <a:pt x="52088" y="24804"/>
                      <a:pt x="44151" y="24804"/>
                    </a:cubicBezTo>
                    <a:cubicBezTo>
                      <a:pt x="35718" y="24804"/>
                      <a:pt x="35718" y="24308"/>
                      <a:pt x="27781" y="24308"/>
                    </a:cubicBezTo>
                    <a:cubicBezTo>
                      <a:pt x="19843" y="24308"/>
                      <a:pt x="19347" y="25300"/>
                      <a:pt x="11410" y="25300"/>
                    </a:cubicBezTo>
                    <a:cubicBezTo>
                      <a:pt x="4961" y="25300"/>
                      <a:pt x="0" y="19843"/>
                      <a:pt x="0" y="13394"/>
                    </a:cubicBezTo>
                    <a:cubicBezTo>
                      <a:pt x="0" y="13394"/>
                      <a:pt x="496" y="13394"/>
                      <a:pt x="496" y="13394"/>
                    </a:cubicBezTo>
                    <a:cubicBezTo>
                      <a:pt x="496" y="6945"/>
                      <a:pt x="4961" y="496"/>
                      <a:pt x="11410" y="496"/>
                    </a:cubicBezTo>
                    <a:cubicBezTo>
                      <a:pt x="19843" y="496"/>
                      <a:pt x="19843" y="2480"/>
                      <a:pt x="27781" y="2480"/>
                    </a:cubicBezTo>
                    <a:cubicBezTo>
                      <a:pt x="36214" y="2480"/>
                      <a:pt x="36214" y="496"/>
                      <a:pt x="44151" y="496"/>
                    </a:cubicBezTo>
                    <a:cubicBezTo>
                      <a:pt x="52584" y="496"/>
                      <a:pt x="52584" y="1984"/>
                      <a:pt x="60522" y="1984"/>
                    </a:cubicBezTo>
                    <a:cubicBezTo>
                      <a:pt x="68955" y="1984"/>
                      <a:pt x="68955" y="496"/>
                      <a:pt x="76892" y="496"/>
                    </a:cubicBezTo>
                    <a:cubicBezTo>
                      <a:pt x="85325" y="496"/>
                      <a:pt x="85325" y="2480"/>
                      <a:pt x="93263" y="2480"/>
                    </a:cubicBezTo>
                    <a:cubicBezTo>
                      <a:pt x="101696" y="2480"/>
                      <a:pt x="101696" y="992"/>
                      <a:pt x="109633" y="992"/>
                    </a:cubicBezTo>
                    <a:cubicBezTo>
                      <a:pt x="118067" y="992"/>
                      <a:pt x="118067" y="496"/>
                      <a:pt x="126004" y="496"/>
                    </a:cubicBezTo>
                    <a:cubicBezTo>
                      <a:pt x="134437" y="496"/>
                      <a:pt x="134437" y="2480"/>
                      <a:pt x="142374" y="2480"/>
                    </a:cubicBezTo>
                    <a:cubicBezTo>
                      <a:pt x="150808" y="2480"/>
                      <a:pt x="150808" y="1488"/>
                      <a:pt x="158745" y="1488"/>
                    </a:cubicBezTo>
                    <a:cubicBezTo>
                      <a:pt x="167178" y="1488"/>
                      <a:pt x="167178" y="992"/>
                      <a:pt x="175116" y="992"/>
                    </a:cubicBezTo>
                    <a:cubicBezTo>
                      <a:pt x="183549" y="992"/>
                      <a:pt x="183549" y="1984"/>
                      <a:pt x="191486" y="1984"/>
                    </a:cubicBezTo>
                    <a:cubicBezTo>
                      <a:pt x="199920" y="1984"/>
                      <a:pt x="199920" y="1488"/>
                      <a:pt x="207857" y="1488"/>
                    </a:cubicBezTo>
                    <a:cubicBezTo>
                      <a:pt x="216290" y="1488"/>
                      <a:pt x="216290" y="496"/>
                      <a:pt x="224227" y="496"/>
                    </a:cubicBezTo>
                    <a:cubicBezTo>
                      <a:pt x="232661" y="496"/>
                      <a:pt x="232661" y="496"/>
                      <a:pt x="240598" y="496"/>
                    </a:cubicBezTo>
                    <a:cubicBezTo>
                      <a:pt x="249031" y="496"/>
                      <a:pt x="249031" y="1984"/>
                      <a:pt x="256969" y="1984"/>
                    </a:cubicBezTo>
                    <a:cubicBezTo>
                      <a:pt x="265402" y="1984"/>
                      <a:pt x="265402" y="496"/>
                      <a:pt x="273339" y="496"/>
                    </a:cubicBezTo>
                    <a:cubicBezTo>
                      <a:pt x="281773" y="496"/>
                      <a:pt x="281773" y="496"/>
                      <a:pt x="289710" y="496"/>
                    </a:cubicBezTo>
                    <a:cubicBezTo>
                      <a:pt x="298143" y="496"/>
                      <a:pt x="298143" y="1984"/>
                      <a:pt x="306080" y="1984"/>
                    </a:cubicBezTo>
                    <a:cubicBezTo>
                      <a:pt x="314514" y="1984"/>
                      <a:pt x="314514" y="0"/>
                      <a:pt x="322451" y="0"/>
                    </a:cubicBezTo>
                    <a:cubicBezTo>
                      <a:pt x="330884" y="0"/>
                      <a:pt x="330884" y="992"/>
                      <a:pt x="338821" y="992"/>
                    </a:cubicBezTo>
                    <a:cubicBezTo>
                      <a:pt x="347255" y="992"/>
                      <a:pt x="347255" y="1984"/>
                      <a:pt x="355192" y="1984"/>
                    </a:cubicBezTo>
                    <a:cubicBezTo>
                      <a:pt x="363129" y="1984"/>
                      <a:pt x="363625" y="992"/>
                      <a:pt x="371563" y="992"/>
                    </a:cubicBezTo>
                    <a:cubicBezTo>
                      <a:pt x="379996" y="992"/>
                      <a:pt x="379996" y="1488"/>
                      <a:pt x="387933" y="1488"/>
                    </a:cubicBezTo>
                    <a:cubicBezTo>
                      <a:pt x="396366" y="1488"/>
                      <a:pt x="396366" y="0"/>
                      <a:pt x="404304" y="0"/>
                    </a:cubicBezTo>
                    <a:cubicBezTo>
                      <a:pt x="412737" y="0"/>
                      <a:pt x="412737" y="496"/>
                      <a:pt x="420674" y="496"/>
                    </a:cubicBezTo>
                    <a:cubicBezTo>
                      <a:pt x="429107" y="496"/>
                      <a:pt x="429107" y="1984"/>
                      <a:pt x="437045" y="1984"/>
                    </a:cubicBezTo>
                    <a:cubicBezTo>
                      <a:pt x="445478" y="1984"/>
                      <a:pt x="445478" y="1488"/>
                      <a:pt x="453415" y="1488"/>
                    </a:cubicBezTo>
                    <a:cubicBezTo>
                      <a:pt x="461352" y="1488"/>
                      <a:pt x="461849" y="992"/>
                      <a:pt x="469786" y="992"/>
                    </a:cubicBezTo>
                    <a:cubicBezTo>
                      <a:pt x="476235" y="992"/>
                      <a:pt x="481196" y="5953"/>
                      <a:pt x="481196" y="12402"/>
                    </a:cubicBezTo>
                    <a:cubicBezTo>
                      <a:pt x="481196" y="12402"/>
                      <a:pt x="481692" y="12402"/>
                      <a:pt x="481692" y="12402"/>
                    </a:cubicBezTo>
                    <a:cubicBezTo>
                      <a:pt x="482188" y="19843"/>
                      <a:pt x="476235" y="24308"/>
                      <a:pt x="469786" y="24308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grpSp>
            <p:nvGrpSpPr>
              <p:cNvPr id="1684" name="Graphic 10">
                <a:extLst>
                  <a:ext uri="{FF2B5EF4-FFF2-40B4-BE49-F238E27FC236}">
                    <a16:creationId xmlns:a16="http://schemas.microsoft.com/office/drawing/2014/main" id="{23670975-D9CF-B4DA-D77B-900D7C22F839}"/>
                  </a:ext>
                </a:extLst>
              </p:cNvPr>
              <p:cNvGrpSpPr/>
              <p:nvPr/>
            </p:nvGrpSpPr>
            <p:grpSpPr>
              <a:xfrm>
                <a:off x="3997265" y="3440796"/>
                <a:ext cx="19843" cy="170154"/>
                <a:chOff x="3997265" y="3440796"/>
                <a:chExt cx="19843" cy="170154"/>
              </a:xfrm>
              <a:noFill/>
            </p:grpSpPr>
            <p:sp>
              <p:nvSpPr>
                <p:cNvPr id="1703" name="Freeform: Shape 1702">
                  <a:extLst>
                    <a:ext uri="{FF2B5EF4-FFF2-40B4-BE49-F238E27FC236}">
                      <a16:creationId xmlns:a16="http://schemas.microsoft.com/office/drawing/2014/main" id="{8357B9D1-B677-DE5D-5EFC-92B86B5B95AA}"/>
                    </a:ext>
                  </a:extLst>
                </p:cNvPr>
                <p:cNvSpPr/>
                <p:nvPr/>
              </p:nvSpPr>
              <p:spPr>
                <a:xfrm>
                  <a:off x="3997265" y="3442284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168666 h 168666"/>
                    <a:gd name="connsiteX1" fmla="*/ 1488 w 1984"/>
                    <a:gd name="connsiteY1" fmla="*/ 151800 h 168666"/>
                    <a:gd name="connsiteX2" fmla="*/ 1984 w 1984"/>
                    <a:gd name="connsiteY2" fmla="*/ 134933 h 168666"/>
                    <a:gd name="connsiteX3" fmla="*/ 0 w 1984"/>
                    <a:gd name="connsiteY3" fmla="*/ 118066 h 168666"/>
                    <a:gd name="connsiteX4" fmla="*/ 992 w 1984"/>
                    <a:gd name="connsiteY4" fmla="*/ 101200 h 168666"/>
                    <a:gd name="connsiteX5" fmla="*/ 496 w 1984"/>
                    <a:gd name="connsiteY5" fmla="*/ 84333 h 168666"/>
                    <a:gd name="connsiteX6" fmla="*/ 0 w 1984"/>
                    <a:gd name="connsiteY6" fmla="*/ 67466 h 168666"/>
                    <a:gd name="connsiteX7" fmla="*/ 496 w 1984"/>
                    <a:gd name="connsiteY7" fmla="*/ 50600 h 168666"/>
                    <a:gd name="connsiteX8" fmla="*/ 0 w 1984"/>
                    <a:gd name="connsiteY8" fmla="*/ 33733 h 168666"/>
                    <a:gd name="connsiteX9" fmla="*/ 496 w 1984"/>
                    <a:gd name="connsiteY9" fmla="*/ 16866 h 168666"/>
                    <a:gd name="connsiteX10" fmla="*/ 1488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168666"/>
                      </a:moveTo>
                      <a:cubicBezTo>
                        <a:pt x="992" y="160233"/>
                        <a:pt x="1488" y="160233"/>
                        <a:pt x="1488" y="151800"/>
                      </a:cubicBezTo>
                      <a:cubicBezTo>
                        <a:pt x="1488" y="143366"/>
                        <a:pt x="1984" y="143366"/>
                        <a:pt x="1984" y="134933"/>
                      </a:cubicBezTo>
                      <a:cubicBezTo>
                        <a:pt x="1984" y="126500"/>
                        <a:pt x="0" y="126500"/>
                        <a:pt x="0" y="118066"/>
                      </a:cubicBezTo>
                      <a:cubicBezTo>
                        <a:pt x="0" y="109633"/>
                        <a:pt x="992" y="109633"/>
                        <a:pt x="992" y="101200"/>
                      </a:cubicBezTo>
                      <a:cubicBezTo>
                        <a:pt x="992" y="92766"/>
                        <a:pt x="496" y="92766"/>
                        <a:pt x="496" y="84333"/>
                      </a:cubicBezTo>
                      <a:cubicBezTo>
                        <a:pt x="496" y="75900"/>
                        <a:pt x="0" y="75900"/>
                        <a:pt x="0" y="67466"/>
                      </a:cubicBezTo>
                      <a:cubicBezTo>
                        <a:pt x="0" y="59033"/>
                        <a:pt x="496" y="59033"/>
                        <a:pt x="496" y="50600"/>
                      </a:cubicBezTo>
                      <a:cubicBezTo>
                        <a:pt x="496" y="42167"/>
                        <a:pt x="0" y="42167"/>
                        <a:pt x="0" y="33733"/>
                      </a:cubicBezTo>
                      <a:cubicBezTo>
                        <a:pt x="0" y="25300"/>
                        <a:pt x="496" y="25300"/>
                        <a:pt x="496" y="16866"/>
                      </a:cubicBezTo>
                      <a:cubicBezTo>
                        <a:pt x="496" y="8433"/>
                        <a:pt x="1488" y="8433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4" name="Freeform: Shape 1703">
                  <a:extLst>
                    <a:ext uri="{FF2B5EF4-FFF2-40B4-BE49-F238E27FC236}">
                      <a16:creationId xmlns:a16="http://schemas.microsoft.com/office/drawing/2014/main" id="{A4CE097C-6423-8B01-0BF8-69B9342E8866}"/>
                    </a:ext>
                  </a:extLst>
                </p:cNvPr>
                <p:cNvSpPr/>
                <p:nvPr/>
              </p:nvSpPr>
              <p:spPr>
                <a:xfrm>
                  <a:off x="4015124" y="3440796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0 h 168666"/>
                    <a:gd name="connsiteX1" fmla="*/ 0 w 1984"/>
                    <a:gd name="connsiteY1" fmla="*/ 16867 h 168666"/>
                    <a:gd name="connsiteX2" fmla="*/ 0 w 1984"/>
                    <a:gd name="connsiteY2" fmla="*/ 33734 h 168666"/>
                    <a:gd name="connsiteX3" fmla="*/ 496 w 1984"/>
                    <a:gd name="connsiteY3" fmla="*/ 50600 h 168666"/>
                    <a:gd name="connsiteX4" fmla="*/ 992 w 1984"/>
                    <a:gd name="connsiteY4" fmla="*/ 67467 h 168666"/>
                    <a:gd name="connsiteX5" fmla="*/ 1488 w 1984"/>
                    <a:gd name="connsiteY5" fmla="*/ 84333 h 168666"/>
                    <a:gd name="connsiteX6" fmla="*/ 496 w 1984"/>
                    <a:gd name="connsiteY6" fmla="*/ 101200 h 168666"/>
                    <a:gd name="connsiteX7" fmla="*/ 1984 w 1984"/>
                    <a:gd name="connsiteY7" fmla="*/ 118067 h 168666"/>
                    <a:gd name="connsiteX8" fmla="*/ 1488 w 1984"/>
                    <a:gd name="connsiteY8" fmla="*/ 134933 h 168666"/>
                    <a:gd name="connsiteX9" fmla="*/ 0 w 1984"/>
                    <a:gd name="connsiteY9" fmla="*/ 151800 h 168666"/>
                    <a:gd name="connsiteX10" fmla="*/ 496 w 1984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0"/>
                      </a:moveTo>
                      <a:cubicBezTo>
                        <a:pt x="496" y="8433"/>
                        <a:pt x="0" y="8433"/>
                        <a:pt x="0" y="16867"/>
                      </a:cubicBezTo>
                      <a:cubicBezTo>
                        <a:pt x="0" y="25300"/>
                        <a:pt x="0" y="25300"/>
                        <a:pt x="0" y="33734"/>
                      </a:cubicBezTo>
                      <a:cubicBezTo>
                        <a:pt x="0" y="42167"/>
                        <a:pt x="496" y="42167"/>
                        <a:pt x="496" y="50600"/>
                      </a:cubicBezTo>
                      <a:cubicBezTo>
                        <a:pt x="496" y="59033"/>
                        <a:pt x="992" y="59033"/>
                        <a:pt x="992" y="67467"/>
                      </a:cubicBezTo>
                      <a:cubicBezTo>
                        <a:pt x="992" y="75900"/>
                        <a:pt x="1488" y="75900"/>
                        <a:pt x="1488" y="84333"/>
                      </a:cubicBezTo>
                      <a:cubicBezTo>
                        <a:pt x="1488" y="92767"/>
                        <a:pt x="496" y="92767"/>
                        <a:pt x="496" y="101200"/>
                      </a:cubicBezTo>
                      <a:cubicBezTo>
                        <a:pt x="496" y="109633"/>
                        <a:pt x="1984" y="109633"/>
                        <a:pt x="1984" y="118067"/>
                      </a:cubicBezTo>
                      <a:cubicBezTo>
                        <a:pt x="1984" y="126500"/>
                        <a:pt x="1488" y="126500"/>
                        <a:pt x="1488" y="134933"/>
                      </a:cubicBezTo>
                      <a:cubicBezTo>
                        <a:pt x="1488" y="143367"/>
                        <a:pt x="0" y="143367"/>
                        <a:pt x="0" y="151800"/>
                      </a:cubicBezTo>
                      <a:cubicBezTo>
                        <a:pt x="0" y="160233"/>
                        <a:pt x="496" y="160233"/>
                        <a:pt x="496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5" name="Graphic 10">
                <a:extLst>
                  <a:ext uri="{FF2B5EF4-FFF2-40B4-BE49-F238E27FC236}">
                    <a16:creationId xmlns:a16="http://schemas.microsoft.com/office/drawing/2014/main" id="{167B7E3F-207F-4055-9C28-A04DFF46AD46}"/>
                  </a:ext>
                </a:extLst>
              </p:cNvPr>
              <p:cNvGrpSpPr/>
              <p:nvPr/>
            </p:nvGrpSpPr>
            <p:grpSpPr>
              <a:xfrm>
                <a:off x="4067709" y="3442284"/>
                <a:ext cx="19347" cy="170154"/>
                <a:chOff x="4067709" y="3442284"/>
                <a:chExt cx="19347" cy="170154"/>
              </a:xfrm>
              <a:noFill/>
            </p:grpSpPr>
            <p:sp>
              <p:nvSpPr>
                <p:cNvPr id="1701" name="Freeform: Shape 1700">
                  <a:extLst>
                    <a:ext uri="{FF2B5EF4-FFF2-40B4-BE49-F238E27FC236}">
                      <a16:creationId xmlns:a16="http://schemas.microsoft.com/office/drawing/2014/main" id="{9FB820AE-C2B4-A9EB-3269-270676C83ABF}"/>
                    </a:ext>
                  </a:extLst>
                </p:cNvPr>
                <p:cNvSpPr/>
                <p:nvPr/>
              </p:nvSpPr>
              <p:spPr>
                <a:xfrm>
                  <a:off x="4067709" y="3442284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1984 w 1984"/>
                    <a:gd name="connsiteY1" fmla="*/ 151800 h 168666"/>
                    <a:gd name="connsiteX2" fmla="*/ 0 w 1984"/>
                    <a:gd name="connsiteY2" fmla="*/ 134933 h 168666"/>
                    <a:gd name="connsiteX3" fmla="*/ 496 w 1984"/>
                    <a:gd name="connsiteY3" fmla="*/ 118066 h 168666"/>
                    <a:gd name="connsiteX4" fmla="*/ 992 w 1984"/>
                    <a:gd name="connsiteY4" fmla="*/ 101200 h 168666"/>
                    <a:gd name="connsiteX5" fmla="*/ 496 w 1984"/>
                    <a:gd name="connsiteY5" fmla="*/ 84333 h 168666"/>
                    <a:gd name="connsiteX6" fmla="*/ 0 w 1984"/>
                    <a:gd name="connsiteY6" fmla="*/ 67466 h 168666"/>
                    <a:gd name="connsiteX7" fmla="*/ 1984 w 1984"/>
                    <a:gd name="connsiteY7" fmla="*/ 50600 h 168666"/>
                    <a:gd name="connsiteX8" fmla="*/ 496 w 1984"/>
                    <a:gd name="connsiteY8" fmla="*/ 33733 h 168666"/>
                    <a:gd name="connsiteX9" fmla="*/ 992 w 1984"/>
                    <a:gd name="connsiteY9" fmla="*/ 16866 h 168666"/>
                    <a:gd name="connsiteX10" fmla="*/ 496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1984" y="160233"/>
                        <a:pt x="1984" y="151800"/>
                      </a:cubicBezTo>
                      <a:cubicBezTo>
                        <a:pt x="1984" y="143366"/>
                        <a:pt x="0" y="143366"/>
                        <a:pt x="0" y="134933"/>
                      </a:cubicBezTo>
                      <a:cubicBezTo>
                        <a:pt x="0" y="126500"/>
                        <a:pt x="496" y="126500"/>
                        <a:pt x="496" y="118066"/>
                      </a:cubicBezTo>
                      <a:cubicBezTo>
                        <a:pt x="496" y="109633"/>
                        <a:pt x="992" y="109633"/>
                        <a:pt x="992" y="101200"/>
                      </a:cubicBezTo>
                      <a:cubicBezTo>
                        <a:pt x="992" y="92766"/>
                        <a:pt x="496" y="92766"/>
                        <a:pt x="496" y="84333"/>
                      </a:cubicBezTo>
                      <a:cubicBezTo>
                        <a:pt x="496" y="75900"/>
                        <a:pt x="0" y="75900"/>
                        <a:pt x="0" y="67466"/>
                      </a:cubicBezTo>
                      <a:cubicBezTo>
                        <a:pt x="0" y="59033"/>
                        <a:pt x="1984" y="59033"/>
                        <a:pt x="1984" y="50600"/>
                      </a:cubicBezTo>
                      <a:cubicBezTo>
                        <a:pt x="1984" y="42167"/>
                        <a:pt x="496" y="42167"/>
                        <a:pt x="496" y="33733"/>
                      </a:cubicBezTo>
                      <a:cubicBezTo>
                        <a:pt x="496" y="25300"/>
                        <a:pt x="992" y="25300"/>
                        <a:pt x="992" y="16866"/>
                      </a:cubicBezTo>
                      <a:cubicBezTo>
                        <a:pt x="992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2" name="Freeform: Shape 1701">
                  <a:extLst>
                    <a:ext uri="{FF2B5EF4-FFF2-40B4-BE49-F238E27FC236}">
                      <a16:creationId xmlns:a16="http://schemas.microsoft.com/office/drawing/2014/main" id="{A834870D-AEAF-9307-75BC-D8C5F1CC5129}"/>
                    </a:ext>
                  </a:extLst>
                </p:cNvPr>
                <p:cNvSpPr/>
                <p:nvPr/>
              </p:nvSpPr>
              <p:spPr>
                <a:xfrm>
                  <a:off x="4085071" y="3460639"/>
                  <a:ext cx="1984" cy="151800"/>
                </a:xfrm>
                <a:custGeom>
                  <a:avLst/>
                  <a:gdLst>
                    <a:gd name="connsiteX0" fmla="*/ 1488 w 1984"/>
                    <a:gd name="connsiteY0" fmla="*/ 0 h 151800"/>
                    <a:gd name="connsiteX1" fmla="*/ 992 w 1984"/>
                    <a:gd name="connsiteY1" fmla="*/ 16867 h 151800"/>
                    <a:gd name="connsiteX2" fmla="*/ 496 w 1984"/>
                    <a:gd name="connsiteY2" fmla="*/ 33734 h 151800"/>
                    <a:gd name="connsiteX3" fmla="*/ 1488 w 1984"/>
                    <a:gd name="connsiteY3" fmla="*/ 50600 h 151800"/>
                    <a:gd name="connsiteX4" fmla="*/ 0 w 1984"/>
                    <a:gd name="connsiteY4" fmla="*/ 67467 h 151800"/>
                    <a:gd name="connsiteX5" fmla="*/ 1984 w 1984"/>
                    <a:gd name="connsiteY5" fmla="*/ 84333 h 151800"/>
                    <a:gd name="connsiteX6" fmla="*/ 1984 w 1984"/>
                    <a:gd name="connsiteY6" fmla="*/ 101200 h 151800"/>
                    <a:gd name="connsiteX7" fmla="*/ 992 w 1984"/>
                    <a:gd name="connsiteY7" fmla="*/ 118067 h 151800"/>
                    <a:gd name="connsiteX8" fmla="*/ 1488 w 1984"/>
                    <a:gd name="connsiteY8" fmla="*/ 134933 h 151800"/>
                    <a:gd name="connsiteX9" fmla="*/ 1488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1488" y="0"/>
                      </a:moveTo>
                      <a:cubicBezTo>
                        <a:pt x="1488" y="8433"/>
                        <a:pt x="992" y="8433"/>
                        <a:pt x="992" y="16867"/>
                      </a:cubicBezTo>
                      <a:cubicBezTo>
                        <a:pt x="992" y="25300"/>
                        <a:pt x="496" y="25300"/>
                        <a:pt x="496" y="33734"/>
                      </a:cubicBezTo>
                      <a:cubicBezTo>
                        <a:pt x="496" y="42167"/>
                        <a:pt x="1488" y="42167"/>
                        <a:pt x="1488" y="50600"/>
                      </a:cubicBezTo>
                      <a:cubicBezTo>
                        <a:pt x="1488" y="59033"/>
                        <a:pt x="0" y="59033"/>
                        <a:pt x="0" y="67467"/>
                      </a:cubicBezTo>
                      <a:cubicBezTo>
                        <a:pt x="0" y="75900"/>
                        <a:pt x="1984" y="75900"/>
                        <a:pt x="1984" y="84333"/>
                      </a:cubicBezTo>
                      <a:cubicBezTo>
                        <a:pt x="1984" y="92767"/>
                        <a:pt x="1984" y="92767"/>
                        <a:pt x="1984" y="101200"/>
                      </a:cubicBezTo>
                      <a:cubicBezTo>
                        <a:pt x="1984" y="109633"/>
                        <a:pt x="992" y="109633"/>
                        <a:pt x="992" y="118067"/>
                      </a:cubicBezTo>
                      <a:cubicBezTo>
                        <a:pt x="992" y="126500"/>
                        <a:pt x="1488" y="126500"/>
                        <a:pt x="1488" y="134933"/>
                      </a:cubicBezTo>
                      <a:cubicBezTo>
                        <a:pt x="1488" y="143367"/>
                        <a:pt x="1488" y="143367"/>
                        <a:pt x="1488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6" name="Graphic 10">
                <a:extLst>
                  <a:ext uri="{FF2B5EF4-FFF2-40B4-BE49-F238E27FC236}">
                    <a16:creationId xmlns:a16="http://schemas.microsoft.com/office/drawing/2014/main" id="{4AE1082C-1EC7-C883-DA08-052D52A53DED}"/>
                  </a:ext>
                </a:extLst>
              </p:cNvPr>
              <p:cNvGrpSpPr/>
              <p:nvPr/>
            </p:nvGrpSpPr>
            <p:grpSpPr>
              <a:xfrm>
                <a:off x="4137656" y="3442284"/>
                <a:ext cx="19843" cy="170154"/>
                <a:chOff x="4137656" y="3442284"/>
                <a:chExt cx="19843" cy="170154"/>
              </a:xfrm>
              <a:noFill/>
            </p:grpSpPr>
            <p:sp>
              <p:nvSpPr>
                <p:cNvPr id="1699" name="Freeform: Shape 1698">
                  <a:extLst>
                    <a:ext uri="{FF2B5EF4-FFF2-40B4-BE49-F238E27FC236}">
                      <a16:creationId xmlns:a16="http://schemas.microsoft.com/office/drawing/2014/main" id="{0BC43907-D139-D6CE-11C0-7C0E54997A77}"/>
                    </a:ext>
                  </a:extLst>
                </p:cNvPr>
                <p:cNvSpPr/>
                <p:nvPr/>
              </p:nvSpPr>
              <p:spPr>
                <a:xfrm>
                  <a:off x="4137656" y="3442284"/>
                  <a:ext cx="2480" cy="168666"/>
                </a:xfrm>
                <a:custGeom>
                  <a:avLst/>
                  <a:gdLst>
                    <a:gd name="connsiteX0" fmla="*/ 992 w 2480"/>
                    <a:gd name="connsiteY0" fmla="*/ 168666 h 168666"/>
                    <a:gd name="connsiteX1" fmla="*/ 1984 w 2480"/>
                    <a:gd name="connsiteY1" fmla="*/ 151800 h 168666"/>
                    <a:gd name="connsiteX2" fmla="*/ 2480 w 2480"/>
                    <a:gd name="connsiteY2" fmla="*/ 134933 h 168666"/>
                    <a:gd name="connsiteX3" fmla="*/ 992 w 2480"/>
                    <a:gd name="connsiteY3" fmla="*/ 118066 h 168666"/>
                    <a:gd name="connsiteX4" fmla="*/ 496 w 2480"/>
                    <a:gd name="connsiteY4" fmla="*/ 101200 h 168666"/>
                    <a:gd name="connsiteX5" fmla="*/ 2480 w 2480"/>
                    <a:gd name="connsiteY5" fmla="*/ 84333 h 168666"/>
                    <a:gd name="connsiteX6" fmla="*/ 0 w 2480"/>
                    <a:gd name="connsiteY6" fmla="*/ 67466 h 168666"/>
                    <a:gd name="connsiteX7" fmla="*/ 0 w 2480"/>
                    <a:gd name="connsiteY7" fmla="*/ 50600 h 168666"/>
                    <a:gd name="connsiteX8" fmla="*/ 1984 w 2480"/>
                    <a:gd name="connsiteY8" fmla="*/ 33733 h 168666"/>
                    <a:gd name="connsiteX9" fmla="*/ 1488 w 2480"/>
                    <a:gd name="connsiteY9" fmla="*/ 16866 h 168666"/>
                    <a:gd name="connsiteX10" fmla="*/ 1984 w 2480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992" y="168666"/>
                      </a:moveTo>
                      <a:cubicBezTo>
                        <a:pt x="992" y="160233"/>
                        <a:pt x="1984" y="160233"/>
                        <a:pt x="1984" y="151800"/>
                      </a:cubicBezTo>
                      <a:cubicBezTo>
                        <a:pt x="1984" y="143366"/>
                        <a:pt x="2480" y="143366"/>
                        <a:pt x="2480" y="134933"/>
                      </a:cubicBezTo>
                      <a:cubicBezTo>
                        <a:pt x="2480" y="126500"/>
                        <a:pt x="992" y="126500"/>
                        <a:pt x="992" y="118066"/>
                      </a:cubicBezTo>
                      <a:cubicBezTo>
                        <a:pt x="992" y="109633"/>
                        <a:pt x="496" y="109633"/>
                        <a:pt x="496" y="101200"/>
                      </a:cubicBezTo>
                      <a:cubicBezTo>
                        <a:pt x="496" y="92766"/>
                        <a:pt x="2480" y="92766"/>
                        <a:pt x="2480" y="84333"/>
                      </a:cubicBezTo>
                      <a:cubicBezTo>
                        <a:pt x="2480" y="75900"/>
                        <a:pt x="0" y="75900"/>
                        <a:pt x="0" y="67466"/>
                      </a:cubicBezTo>
                      <a:cubicBezTo>
                        <a:pt x="0" y="59033"/>
                        <a:pt x="0" y="59033"/>
                        <a:pt x="0" y="50600"/>
                      </a:cubicBezTo>
                      <a:cubicBezTo>
                        <a:pt x="0" y="42167"/>
                        <a:pt x="1984" y="42167"/>
                        <a:pt x="1984" y="33733"/>
                      </a:cubicBezTo>
                      <a:cubicBezTo>
                        <a:pt x="1984" y="25300"/>
                        <a:pt x="1488" y="25300"/>
                        <a:pt x="1488" y="16866"/>
                      </a:cubicBezTo>
                      <a:cubicBezTo>
                        <a:pt x="1488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0" name="Freeform: Shape 1699">
                  <a:extLst>
                    <a:ext uri="{FF2B5EF4-FFF2-40B4-BE49-F238E27FC236}">
                      <a16:creationId xmlns:a16="http://schemas.microsoft.com/office/drawing/2014/main" id="{90ADF1C0-9290-F49A-0803-B24341BD6FC8}"/>
                    </a:ext>
                  </a:extLst>
                </p:cNvPr>
                <p:cNvSpPr/>
                <p:nvPr/>
              </p:nvSpPr>
              <p:spPr>
                <a:xfrm>
                  <a:off x="4155514" y="3460639"/>
                  <a:ext cx="1984" cy="151800"/>
                </a:xfrm>
                <a:custGeom>
                  <a:avLst/>
                  <a:gdLst>
                    <a:gd name="connsiteX0" fmla="*/ 496 w 1984"/>
                    <a:gd name="connsiteY0" fmla="*/ 0 h 151800"/>
                    <a:gd name="connsiteX1" fmla="*/ 992 w 1984"/>
                    <a:gd name="connsiteY1" fmla="*/ 16867 h 151800"/>
                    <a:gd name="connsiteX2" fmla="*/ 1488 w 1984"/>
                    <a:gd name="connsiteY2" fmla="*/ 33734 h 151800"/>
                    <a:gd name="connsiteX3" fmla="*/ 496 w 1984"/>
                    <a:gd name="connsiteY3" fmla="*/ 50600 h 151800"/>
                    <a:gd name="connsiteX4" fmla="*/ 1984 w 1984"/>
                    <a:gd name="connsiteY4" fmla="*/ 67467 h 151800"/>
                    <a:gd name="connsiteX5" fmla="*/ 1488 w 1984"/>
                    <a:gd name="connsiteY5" fmla="*/ 84333 h 151800"/>
                    <a:gd name="connsiteX6" fmla="*/ 1984 w 1984"/>
                    <a:gd name="connsiteY6" fmla="*/ 101200 h 151800"/>
                    <a:gd name="connsiteX7" fmla="*/ 0 w 1984"/>
                    <a:gd name="connsiteY7" fmla="*/ 118067 h 151800"/>
                    <a:gd name="connsiteX8" fmla="*/ 496 w 1984"/>
                    <a:gd name="connsiteY8" fmla="*/ 134933 h 151800"/>
                    <a:gd name="connsiteX9" fmla="*/ 496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496" y="0"/>
                      </a:moveTo>
                      <a:cubicBezTo>
                        <a:pt x="496" y="8433"/>
                        <a:pt x="992" y="8433"/>
                        <a:pt x="992" y="16867"/>
                      </a:cubicBezTo>
                      <a:cubicBezTo>
                        <a:pt x="992" y="25300"/>
                        <a:pt x="1488" y="25300"/>
                        <a:pt x="1488" y="33734"/>
                      </a:cubicBezTo>
                      <a:cubicBezTo>
                        <a:pt x="1488" y="42167"/>
                        <a:pt x="496" y="42167"/>
                        <a:pt x="496" y="50600"/>
                      </a:cubicBezTo>
                      <a:cubicBezTo>
                        <a:pt x="496" y="59033"/>
                        <a:pt x="1984" y="59033"/>
                        <a:pt x="1984" y="67467"/>
                      </a:cubicBezTo>
                      <a:cubicBezTo>
                        <a:pt x="1984" y="75900"/>
                        <a:pt x="1488" y="75900"/>
                        <a:pt x="1488" y="84333"/>
                      </a:cubicBezTo>
                      <a:cubicBezTo>
                        <a:pt x="1488" y="92767"/>
                        <a:pt x="1984" y="92767"/>
                        <a:pt x="1984" y="101200"/>
                      </a:cubicBezTo>
                      <a:cubicBezTo>
                        <a:pt x="1984" y="109633"/>
                        <a:pt x="0" y="109633"/>
                        <a:pt x="0" y="118067"/>
                      </a:cubicBezTo>
                      <a:cubicBezTo>
                        <a:pt x="0" y="126500"/>
                        <a:pt x="496" y="126500"/>
                        <a:pt x="496" y="134933"/>
                      </a:cubicBezTo>
                      <a:cubicBezTo>
                        <a:pt x="496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7" name="Graphic 10">
                <a:extLst>
                  <a:ext uri="{FF2B5EF4-FFF2-40B4-BE49-F238E27FC236}">
                    <a16:creationId xmlns:a16="http://schemas.microsoft.com/office/drawing/2014/main" id="{AC2B0B3B-5CCB-0B54-B2FF-605810A39FF7}"/>
                  </a:ext>
                </a:extLst>
              </p:cNvPr>
              <p:cNvGrpSpPr/>
              <p:nvPr/>
            </p:nvGrpSpPr>
            <p:grpSpPr>
              <a:xfrm>
                <a:off x="4208595" y="3442284"/>
                <a:ext cx="19346" cy="170154"/>
                <a:chOff x="4208595" y="3442284"/>
                <a:chExt cx="19346" cy="170154"/>
              </a:xfrm>
              <a:noFill/>
            </p:grpSpPr>
            <p:sp>
              <p:nvSpPr>
                <p:cNvPr id="1697" name="Freeform: Shape 1696">
                  <a:extLst>
                    <a:ext uri="{FF2B5EF4-FFF2-40B4-BE49-F238E27FC236}">
                      <a16:creationId xmlns:a16="http://schemas.microsoft.com/office/drawing/2014/main" id="{B4B1E567-9525-1A45-0F19-D24CF4000BFE}"/>
                    </a:ext>
                  </a:extLst>
                </p:cNvPr>
                <p:cNvSpPr/>
                <p:nvPr/>
              </p:nvSpPr>
              <p:spPr>
                <a:xfrm>
                  <a:off x="4208595" y="3442284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168666 h 168666"/>
                    <a:gd name="connsiteX1" fmla="*/ 496 w 1984"/>
                    <a:gd name="connsiteY1" fmla="*/ 151800 h 168666"/>
                    <a:gd name="connsiteX2" fmla="*/ 1984 w 1984"/>
                    <a:gd name="connsiteY2" fmla="*/ 134933 h 168666"/>
                    <a:gd name="connsiteX3" fmla="*/ 496 w 1984"/>
                    <a:gd name="connsiteY3" fmla="*/ 118066 h 168666"/>
                    <a:gd name="connsiteX4" fmla="*/ 496 w 1984"/>
                    <a:gd name="connsiteY4" fmla="*/ 101200 h 168666"/>
                    <a:gd name="connsiteX5" fmla="*/ 0 w 1984"/>
                    <a:gd name="connsiteY5" fmla="*/ 84333 h 168666"/>
                    <a:gd name="connsiteX6" fmla="*/ 0 w 1984"/>
                    <a:gd name="connsiteY6" fmla="*/ 67466 h 168666"/>
                    <a:gd name="connsiteX7" fmla="*/ 0 w 1984"/>
                    <a:gd name="connsiteY7" fmla="*/ 50600 h 168666"/>
                    <a:gd name="connsiteX8" fmla="*/ 1488 w 1984"/>
                    <a:gd name="connsiteY8" fmla="*/ 33733 h 168666"/>
                    <a:gd name="connsiteX9" fmla="*/ 1984 w 1984"/>
                    <a:gd name="connsiteY9" fmla="*/ 16866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168666"/>
                      </a:moveTo>
                      <a:cubicBezTo>
                        <a:pt x="992" y="160233"/>
                        <a:pt x="496" y="160233"/>
                        <a:pt x="496" y="151800"/>
                      </a:cubicBezTo>
                      <a:cubicBezTo>
                        <a:pt x="496" y="143366"/>
                        <a:pt x="1984" y="143366"/>
                        <a:pt x="1984" y="134933"/>
                      </a:cubicBezTo>
                      <a:cubicBezTo>
                        <a:pt x="1984" y="126500"/>
                        <a:pt x="496" y="126500"/>
                        <a:pt x="496" y="118066"/>
                      </a:cubicBezTo>
                      <a:cubicBezTo>
                        <a:pt x="496" y="109633"/>
                        <a:pt x="496" y="109633"/>
                        <a:pt x="496" y="101200"/>
                      </a:cubicBezTo>
                      <a:cubicBezTo>
                        <a:pt x="496" y="92766"/>
                        <a:pt x="0" y="92766"/>
                        <a:pt x="0" y="84333"/>
                      </a:cubicBezTo>
                      <a:cubicBezTo>
                        <a:pt x="0" y="75900"/>
                        <a:pt x="0" y="75900"/>
                        <a:pt x="0" y="67466"/>
                      </a:cubicBezTo>
                      <a:cubicBezTo>
                        <a:pt x="0" y="59033"/>
                        <a:pt x="0" y="59033"/>
                        <a:pt x="0" y="50600"/>
                      </a:cubicBezTo>
                      <a:cubicBezTo>
                        <a:pt x="0" y="42167"/>
                        <a:pt x="1488" y="42167"/>
                        <a:pt x="1488" y="33733"/>
                      </a:cubicBezTo>
                      <a:cubicBezTo>
                        <a:pt x="1488" y="25300"/>
                        <a:pt x="1984" y="25300"/>
                        <a:pt x="1984" y="16866"/>
                      </a:cubicBezTo>
                      <a:cubicBezTo>
                        <a:pt x="1984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8" name="Freeform: Shape 1697">
                  <a:extLst>
                    <a:ext uri="{FF2B5EF4-FFF2-40B4-BE49-F238E27FC236}">
                      <a16:creationId xmlns:a16="http://schemas.microsoft.com/office/drawing/2014/main" id="{3BFE496A-761A-BAEF-7271-58DA8A2F2DB3}"/>
                    </a:ext>
                  </a:extLst>
                </p:cNvPr>
                <p:cNvSpPr/>
                <p:nvPr/>
              </p:nvSpPr>
              <p:spPr>
                <a:xfrm>
                  <a:off x="4225461" y="3460639"/>
                  <a:ext cx="2480" cy="151800"/>
                </a:xfrm>
                <a:custGeom>
                  <a:avLst/>
                  <a:gdLst>
                    <a:gd name="connsiteX0" fmla="*/ 0 w 2480"/>
                    <a:gd name="connsiteY0" fmla="*/ 0 h 151800"/>
                    <a:gd name="connsiteX1" fmla="*/ 1488 w 2480"/>
                    <a:gd name="connsiteY1" fmla="*/ 16867 h 151800"/>
                    <a:gd name="connsiteX2" fmla="*/ 496 w 2480"/>
                    <a:gd name="connsiteY2" fmla="*/ 33734 h 151800"/>
                    <a:gd name="connsiteX3" fmla="*/ 992 w 2480"/>
                    <a:gd name="connsiteY3" fmla="*/ 50600 h 151800"/>
                    <a:gd name="connsiteX4" fmla="*/ 992 w 2480"/>
                    <a:gd name="connsiteY4" fmla="*/ 67467 h 151800"/>
                    <a:gd name="connsiteX5" fmla="*/ 992 w 2480"/>
                    <a:gd name="connsiteY5" fmla="*/ 84333 h 151800"/>
                    <a:gd name="connsiteX6" fmla="*/ 2480 w 2480"/>
                    <a:gd name="connsiteY6" fmla="*/ 101200 h 151800"/>
                    <a:gd name="connsiteX7" fmla="*/ 1984 w 2480"/>
                    <a:gd name="connsiteY7" fmla="*/ 118067 h 151800"/>
                    <a:gd name="connsiteX8" fmla="*/ 0 w 2480"/>
                    <a:gd name="connsiteY8" fmla="*/ 134933 h 151800"/>
                    <a:gd name="connsiteX9" fmla="*/ 1984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0" y="0"/>
                      </a:moveTo>
                      <a:cubicBezTo>
                        <a:pt x="0" y="8433"/>
                        <a:pt x="1488" y="8433"/>
                        <a:pt x="1488" y="16867"/>
                      </a:cubicBezTo>
                      <a:cubicBezTo>
                        <a:pt x="1488" y="25300"/>
                        <a:pt x="496" y="25300"/>
                        <a:pt x="496" y="33734"/>
                      </a:cubicBezTo>
                      <a:cubicBezTo>
                        <a:pt x="496" y="42167"/>
                        <a:pt x="992" y="42167"/>
                        <a:pt x="992" y="50600"/>
                      </a:cubicBezTo>
                      <a:cubicBezTo>
                        <a:pt x="992" y="59033"/>
                        <a:pt x="992" y="59033"/>
                        <a:pt x="992" y="67467"/>
                      </a:cubicBezTo>
                      <a:cubicBezTo>
                        <a:pt x="992" y="75900"/>
                        <a:pt x="992" y="75900"/>
                        <a:pt x="992" y="84333"/>
                      </a:cubicBezTo>
                      <a:cubicBezTo>
                        <a:pt x="992" y="92767"/>
                        <a:pt x="2480" y="92767"/>
                        <a:pt x="2480" y="101200"/>
                      </a:cubicBezTo>
                      <a:cubicBezTo>
                        <a:pt x="2480" y="109633"/>
                        <a:pt x="1984" y="109633"/>
                        <a:pt x="1984" y="118067"/>
                      </a:cubicBezTo>
                      <a:cubicBezTo>
                        <a:pt x="1984" y="126500"/>
                        <a:pt x="0" y="126500"/>
                        <a:pt x="0" y="134933"/>
                      </a:cubicBezTo>
                      <a:cubicBezTo>
                        <a:pt x="0" y="143367"/>
                        <a:pt x="1984" y="143367"/>
                        <a:pt x="1984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8" name="Graphic 10">
                <a:extLst>
                  <a:ext uri="{FF2B5EF4-FFF2-40B4-BE49-F238E27FC236}">
                    <a16:creationId xmlns:a16="http://schemas.microsoft.com/office/drawing/2014/main" id="{74EC2F08-B0B6-5F87-3DE3-6EB2DEF658F9}"/>
                  </a:ext>
                </a:extLst>
              </p:cNvPr>
              <p:cNvGrpSpPr/>
              <p:nvPr/>
            </p:nvGrpSpPr>
            <p:grpSpPr>
              <a:xfrm>
                <a:off x="4279038" y="3442284"/>
                <a:ext cx="18354" cy="170154"/>
                <a:chOff x="4279038" y="3442284"/>
                <a:chExt cx="18354" cy="170154"/>
              </a:xfrm>
              <a:noFill/>
            </p:grpSpPr>
            <p:sp>
              <p:nvSpPr>
                <p:cNvPr id="1695" name="Freeform: Shape 1694">
                  <a:extLst>
                    <a:ext uri="{FF2B5EF4-FFF2-40B4-BE49-F238E27FC236}">
                      <a16:creationId xmlns:a16="http://schemas.microsoft.com/office/drawing/2014/main" id="{0CCC9AEF-6B56-8552-A8D3-008FD90432AF}"/>
                    </a:ext>
                  </a:extLst>
                </p:cNvPr>
                <p:cNvSpPr/>
                <p:nvPr/>
              </p:nvSpPr>
              <p:spPr>
                <a:xfrm>
                  <a:off x="4279038" y="3442284"/>
                  <a:ext cx="1984" cy="168666"/>
                </a:xfrm>
                <a:custGeom>
                  <a:avLst/>
                  <a:gdLst>
                    <a:gd name="connsiteX0" fmla="*/ 1984 w 1984"/>
                    <a:gd name="connsiteY0" fmla="*/ 168666 h 168666"/>
                    <a:gd name="connsiteX1" fmla="*/ 992 w 1984"/>
                    <a:gd name="connsiteY1" fmla="*/ 151800 h 168666"/>
                    <a:gd name="connsiteX2" fmla="*/ 0 w 1984"/>
                    <a:gd name="connsiteY2" fmla="*/ 134933 h 168666"/>
                    <a:gd name="connsiteX3" fmla="*/ 0 w 1984"/>
                    <a:gd name="connsiteY3" fmla="*/ 118066 h 168666"/>
                    <a:gd name="connsiteX4" fmla="*/ 992 w 1984"/>
                    <a:gd name="connsiteY4" fmla="*/ 101200 h 168666"/>
                    <a:gd name="connsiteX5" fmla="*/ 0 w 1984"/>
                    <a:gd name="connsiteY5" fmla="*/ 84333 h 168666"/>
                    <a:gd name="connsiteX6" fmla="*/ 1488 w 1984"/>
                    <a:gd name="connsiteY6" fmla="*/ 67466 h 168666"/>
                    <a:gd name="connsiteX7" fmla="*/ 0 w 1984"/>
                    <a:gd name="connsiteY7" fmla="*/ 50600 h 168666"/>
                    <a:gd name="connsiteX8" fmla="*/ 0 w 1984"/>
                    <a:gd name="connsiteY8" fmla="*/ 33733 h 168666"/>
                    <a:gd name="connsiteX9" fmla="*/ 496 w 1984"/>
                    <a:gd name="connsiteY9" fmla="*/ 16866 h 168666"/>
                    <a:gd name="connsiteX10" fmla="*/ 0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984" y="168666"/>
                      </a:moveTo>
                      <a:cubicBezTo>
                        <a:pt x="1984" y="160233"/>
                        <a:pt x="992" y="160233"/>
                        <a:pt x="992" y="151800"/>
                      </a:cubicBezTo>
                      <a:cubicBezTo>
                        <a:pt x="992" y="143366"/>
                        <a:pt x="0" y="143366"/>
                        <a:pt x="0" y="134933"/>
                      </a:cubicBezTo>
                      <a:cubicBezTo>
                        <a:pt x="0" y="126500"/>
                        <a:pt x="0" y="126500"/>
                        <a:pt x="0" y="118066"/>
                      </a:cubicBezTo>
                      <a:cubicBezTo>
                        <a:pt x="0" y="109633"/>
                        <a:pt x="992" y="109633"/>
                        <a:pt x="992" y="101200"/>
                      </a:cubicBezTo>
                      <a:cubicBezTo>
                        <a:pt x="992" y="92766"/>
                        <a:pt x="0" y="92766"/>
                        <a:pt x="0" y="84333"/>
                      </a:cubicBezTo>
                      <a:cubicBezTo>
                        <a:pt x="0" y="75900"/>
                        <a:pt x="1488" y="75900"/>
                        <a:pt x="1488" y="67466"/>
                      </a:cubicBezTo>
                      <a:cubicBezTo>
                        <a:pt x="1488" y="59033"/>
                        <a:pt x="0" y="59033"/>
                        <a:pt x="0" y="50600"/>
                      </a:cubicBezTo>
                      <a:cubicBezTo>
                        <a:pt x="0" y="42167"/>
                        <a:pt x="0" y="42167"/>
                        <a:pt x="0" y="33733"/>
                      </a:cubicBezTo>
                      <a:cubicBezTo>
                        <a:pt x="0" y="25300"/>
                        <a:pt x="496" y="25300"/>
                        <a:pt x="496" y="16866"/>
                      </a:cubicBezTo>
                      <a:cubicBezTo>
                        <a:pt x="496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6" name="Freeform: Shape 1695">
                  <a:extLst>
                    <a:ext uri="{FF2B5EF4-FFF2-40B4-BE49-F238E27FC236}">
                      <a16:creationId xmlns:a16="http://schemas.microsoft.com/office/drawing/2014/main" id="{46C4E6A9-CCB7-BA8A-3FA4-093EB88D71F1}"/>
                    </a:ext>
                  </a:extLst>
                </p:cNvPr>
                <p:cNvSpPr/>
                <p:nvPr/>
              </p:nvSpPr>
              <p:spPr>
                <a:xfrm>
                  <a:off x="4295408" y="3460639"/>
                  <a:ext cx="1984" cy="151800"/>
                </a:xfrm>
                <a:custGeom>
                  <a:avLst/>
                  <a:gdLst>
                    <a:gd name="connsiteX0" fmla="*/ 992 w 1984"/>
                    <a:gd name="connsiteY0" fmla="*/ 0 h 151800"/>
                    <a:gd name="connsiteX1" fmla="*/ 992 w 1984"/>
                    <a:gd name="connsiteY1" fmla="*/ 16867 h 151800"/>
                    <a:gd name="connsiteX2" fmla="*/ 1488 w 1984"/>
                    <a:gd name="connsiteY2" fmla="*/ 33734 h 151800"/>
                    <a:gd name="connsiteX3" fmla="*/ 992 w 1984"/>
                    <a:gd name="connsiteY3" fmla="*/ 50600 h 151800"/>
                    <a:gd name="connsiteX4" fmla="*/ 1984 w 1984"/>
                    <a:gd name="connsiteY4" fmla="*/ 67467 h 151800"/>
                    <a:gd name="connsiteX5" fmla="*/ 0 w 1984"/>
                    <a:gd name="connsiteY5" fmla="*/ 84333 h 151800"/>
                    <a:gd name="connsiteX6" fmla="*/ 1984 w 1984"/>
                    <a:gd name="connsiteY6" fmla="*/ 101200 h 151800"/>
                    <a:gd name="connsiteX7" fmla="*/ 992 w 1984"/>
                    <a:gd name="connsiteY7" fmla="*/ 118067 h 151800"/>
                    <a:gd name="connsiteX8" fmla="*/ 496 w 1984"/>
                    <a:gd name="connsiteY8" fmla="*/ 134933 h 151800"/>
                    <a:gd name="connsiteX9" fmla="*/ 496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992" y="0"/>
                      </a:moveTo>
                      <a:cubicBezTo>
                        <a:pt x="992" y="8433"/>
                        <a:pt x="992" y="8433"/>
                        <a:pt x="992" y="16867"/>
                      </a:cubicBezTo>
                      <a:cubicBezTo>
                        <a:pt x="992" y="25300"/>
                        <a:pt x="1488" y="25300"/>
                        <a:pt x="1488" y="33734"/>
                      </a:cubicBezTo>
                      <a:cubicBezTo>
                        <a:pt x="1488" y="42167"/>
                        <a:pt x="992" y="42167"/>
                        <a:pt x="992" y="50600"/>
                      </a:cubicBezTo>
                      <a:cubicBezTo>
                        <a:pt x="992" y="59033"/>
                        <a:pt x="1984" y="59033"/>
                        <a:pt x="1984" y="67467"/>
                      </a:cubicBezTo>
                      <a:cubicBezTo>
                        <a:pt x="1984" y="75900"/>
                        <a:pt x="0" y="75900"/>
                        <a:pt x="0" y="84333"/>
                      </a:cubicBezTo>
                      <a:cubicBezTo>
                        <a:pt x="0" y="92767"/>
                        <a:pt x="1984" y="92767"/>
                        <a:pt x="1984" y="101200"/>
                      </a:cubicBezTo>
                      <a:cubicBezTo>
                        <a:pt x="1984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9" name="Graphic 10">
                <a:extLst>
                  <a:ext uri="{FF2B5EF4-FFF2-40B4-BE49-F238E27FC236}">
                    <a16:creationId xmlns:a16="http://schemas.microsoft.com/office/drawing/2014/main" id="{7C604C39-8510-FAED-4764-6C597DB5C949}"/>
                  </a:ext>
                </a:extLst>
              </p:cNvPr>
              <p:cNvGrpSpPr/>
              <p:nvPr/>
            </p:nvGrpSpPr>
            <p:grpSpPr>
              <a:xfrm>
                <a:off x="4348985" y="3442284"/>
                <a:ext cx="19843" cy="170154"/>
                <a:chOff x="4348985" y="3442284"/>
                <a:chExt cx="19843" cy="170154"/>
              </a:xfrm>
              <a:noFill/>
            </p:grpSpPr>
            <p:sp>
              <p:nvSpPr>
                <p:cNvPr id="1693" name="Freeform: Shape 1692">
                  <a:extLst>
                    <a:ext uri="{FF2B5EF4-FFF2-40B4-BE49-F238E27FC236}">
                      <a16:creationId xmlns:a16="http://schemas.microsoft.com/office/drawing/2014/main" id="{B1F054C6-3795-C5B6-2D9D-347A9C11DF3B}"/>
                    </a:ext>
                  </a:extLst>
                </p:cNvPr>
                <p:cNvSpPr/>
                <p:nvPr/>
              </p:nvSpPr>
              <p:spPr>
                <a:xfrm>
                  <a:off x="4348985" y="3442284"/>
                  <a:ext cx="1488" cy="168666"/>
                </a:xfrm>
                <a:custGeom>
                  <a:avLst/>
                  <a:gdLst>
                    <a:gd name="connsiteX0" fmla="*/ 992 w 1488"/>
                    <a:gd name="connsiteY0" fmla="*/ 168666 h 168666"/>
                    <a:gd name="connsiteX1" fmla="*/ 1488 w 1488"/>
                    <a:gd name="connsiteY1" fmla="*/ 151800 h 168666"/>
                    <a:gd name="connsiteX2" fmla="*/ 1488 w 1488"/>
                    <a:gd name="connsiteY2" fmla="*/ 134933 h 168666"/>
                    <a:gd name="connsiteX3" fmla="*/ 496 w 1488"/>
                    <a:gd name="connsiteY3" fmla="*/ 118066 h 168666"/>
                    <a:gd name="connsiteX4" fmla="*/ 992 w 1488"/>
                    <a:gd name="connsiteY4" fmla="*/ 101200 h 168666"/>
                    <a:gd name="connsiteX5" fmla="*/ 992 w 1488"/>
                    <a:gd name="connsiteY5" fmla="*/ 84333 h 168666"/>
                    <a:gd name="connsiteX6" fmla="*/ 496 w 1488"/>
                    <a:gd name="connsiteY6" fmla="*/ 67466 h 168666"/>
                    <a:gd name="connsiteX7" fmla="*/ 0 w 1488"/>
                    <a:gd name="connsiteY7" fmla="*/ 50600 h 168666"/>
                    <a:gd name="connsiteX8" fmla="*/ 496 w 1488"/>
                    <a:gd name="connsiteY8" fmla="*/ 33733 h 168666"/>
                    <a:gd name="connsiteX9" fmla="*/ 992 w 1488"/>
                    <a:gd name="connsiteY9" fmla="*/ 16866 h 168666"/>
                    <a:gd name="connsiteX10" fmla="*/ 496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992" y="168666"/>
                      </a:moveTo>
                      <a:cubicBezTo>
                        <a:pt x="992" y="160233"/>
                        <a:pt x="1488" y="160233"/>
                        <a:pt x="1488" y="151800"/>
                      </a:cubicBezTo>
                      <a:cubicBezTo>
                        <a:pt x="1488" y="143366"/>
                        <a:pt x="1488" y="143366"/>
                        <a:pt x="1488" y="134933"/>
                      </a:cubicBezTo>
                      <a:cubicBezTo>
                        <a:pt x="1488" y="126500"/>
                        <a:pt x="496" y="126500"/>
                        <a:pt x="496" y="118066"/>
                      </a:cubicBezTo>
                      <a:cubicBezTo>
                        <a:pt x="496" y="109633"/>
                        <a:pt x="992" y="109633"/>
                        <a:pt x="992" y="101200"/>
                      </a:cubicBezTo>
                      <a:cubicBezTo>
                        <a:pt x="992" y="92766"/>
                        <a:pt x="992" y="92766"/>
                        <a:pt x="992" y="84333"/>
                      </a:cubicBezTo>
                      <a:cubicBezTo>
                        <a:pt x="992" y="75900"/>
                        <a:pt x="496" y="75900"/>
                        <a:pt x="496" y="67466"/>
                      </a:cubicBezTo>
                      <a:cubicBezTo>
                        <a:pt x="496" y="59033"/>
                        <a:pt x="0" y="59033"/>
                        <a:pt x="0" y="50600"/>
                      </a:cubicBezTo>
                      <a:cubicBezTo>
                        <a:pt x="0" y="42167"/>
                        <a:pt x="496" y="42167"/>
                        <a:pt x="496" y="33733"/>
                      </a:cubicBezTo>
                      <a:cubicBezTo>
                        <a:pt x="496" y="25300"/>
                        <a:pt x="992" y="25300"/>
                        <a:pt x="992" y="16866"/>
                      </a:cubicBezTo>
                      <a:cubicBezTo>
                        <a:pt x="992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4" name="Freeform: Shape 1693">
                  <a:extLst>
                    <a:ext uri="{FF2B5EF4-FFF2-40B4-BE49-F238E27FC236}">
                      <a16:creationId xmlns:a16="http://schemas.microsoft.com/office/drawing/2014/main" id="{9B1BF795-AE9C-3E14-BA0B-7DE5B1B70F82}"/>
                    </a:ext>
                  </a:extLst>
                </p:cNvPr>
                <p:cNvSpPr/>
                <p:nvPr/>
              </p:nvSpPr>
              <p:spPr>
                <a:xfrm>
                  <a:off x="4366348" y="3460639"/>
                  <a:ext cx="2480" cy="151800"/>
                </a:xfrm>
                <a:custGeom>
                  <a:avLst/>
                  <a:gdLst>
                    <a:gd name="connsiteX0" fmla="*/ 1984 w 2480"/>
                    <a:gd name="connsiteY0" fmla="*/ 0 h 151800"/>
                    <a:gd name="connsiteX1" fmla="*/ 496 w 2480"/>
                    <a:gd name="connsiteY1" fmla="*/ 16867 h 151800"/>
                    <a:gd name="connsiteX2" fmla="*/ 992 w 2480"/>
                    <a:gd name="connsiteY2" fmla="*/ 33734 h 151800"/>
                    <a:gd name="connsiteX3" fmla="*/ 1984 w 2480"/>
                    <a:gd name="connsiteY3" fmla="*/ 50600 h 151800"/>
                    <a:gd name="connsiteX4" fmla="*/ 0 w 2480"/>
                    <a:gd name="connsiteY4" fmla="*/ 67467 h 151800"/>
                    <a:gd name="connsiteX5" fmla="*/ 992 w 2480"/>
                    <a:gd name="connsiteY5" fmla="*/ 84333 h 151800"/>
                    <a:gd name="connsiteX6" fmla="*/ 1984 w 2480"/>
                    <a:gd name="connsiteY6" fmla="*/ 101200 h 151800"/>
                    <a:gd name="connsiteX7" fmla="*/ 1984 w 2480"/>
                    <a:gd name="connsiteY7" fmla="*/ 118067 h 151800"/>
                    <a:gd name="connsiteX8" fmla="*/ 2480 w 2480"/>
                    <a:gd name="connsiteY8" fmla="*/ 134933 h 151800"/>
                    <a:gd name="connsiteX9" fmla="*/ 2480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984" y="0"/>
                      </a:moveTo>
                      <a:cubicBezTo>
                        <a:pt x="1984" y="8433"/>
                        <a:pt x="496" y="8433"/>
                        <a:pt x="496" y="16867"/>
                      </a:cubicBezTo>
                      <a:cubicBezTo>
                        <a:pt x="496" y="25300"/>
                        <a:pt x="992" y="25300"/>
                        <a:pt x="992" y="33734"/>
                      </a:cubicBezTo>
                      <a:cubicBezTo>
                        <a:pt x="992" y="42167"/>
                        <a:pt x="1984" y="42167"/>
                        <a:pt x="1984" y="50600"/>
                      </a:cubicBezTo>
                      <a:cubicBezTo>
                        <a:pt x="1984" y="59033"/>
                        <a:pt x="0" y="59033"/>
                        <a:pt x="0" y="67467"/>
                      </a:cubicBezTo>
                      <a:cubicBezTo>
                        <a:pt x="0" y="75900"/>
                        <a:pt x="992" y="75900"/>
                        <a:pt x="992" y="84333"/>
                      </a:cubicBezTo>
                      <a:cubicBezTo>
                        <a:pt x="992" y="92767"/>
                        <a:pt x="1984" y="92767"/>
                        <a:pt x="1984" y="101200"/>
                      </a:cubicBezTo>
                      <a:cubicBezTo>
                        <a:pt x="1984" y="109633"/>
                        <a:pt x="1984" y="109633"/>
                        <a:pt x="1984" y="118067"/>
                      </a:cubicBezTo>
                      <a:cubicBezTo>
                        <a:pt x="1984" y="126500"/>
                        <a:pt x="2480" y="126500"/>
                        <a:pt x="2480" y="134933"/>
                      </a:cubicBezTo>
                      <a:cubicBezTo>
                        <a:pt x="2480" y="143367"/>
                        <a:pt x="2480" y="143367"/>
                        <a:pt x="248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90" name="Graphic 10">
                <a:extLst>
                  <a:ext uri="{FF2B5EF4-FFF2-40B4-BE49-F238E27FC236}">
                    <a16:creationId xmlns:a16="http://schemas.microsoft.com/office/drawing/2014/main" id="{0660918F-798D-78C7-CF43-DBD3E776D05D}"/>
                  </a:ext>
                </a:extLst>
              </p:cNvPr>
              <p:cNvGrpSpPr/>
              <p:nvPr/>
            </p:nvGrpSpPr>
            <p:grpSpPr>
              <a:xfrm>
                <a:off x="4419428" y="3440796"/>
                <a:ext cx="19346" cy="170154"/>
                <a:chOff x="4419428" y="3440796"/>
                <a:chExt cx="19346" cy="170154"/>
              </a:xfrm>
              <a:noFill/>
            </p:grpSpPr>
            <p:sp>
              <p:nvSpPr>
                <p:cNvPr id="1691" name="Freeform: Shape 1690">
                  <a:extLst>
                    <a:ext uri="{FF2B5EF4-FFF2-40B4-BE49-F238E27FC236}">
                      <a16:creationId xmlns:a16="http://schemas.microsoft.com/office/drawing/2014/main" id="{375E8AE2-4C9C-79F4-ACA0-A0B3D92617E9}"/>
                    </a:ext>
                  </a:extLst>
                </p:cNvPr>
                <p:cNvSpPr/>
                <p:nvPr/>
              </p:nvSpPr>
              <p:spPr>
                <a:xfrm>
                  <a:off x="4419428" y="3442284"/>
                  <a:ext cx="2480" cy="168666"/>
                </a:xfrm>
                <a:custGeom>
                  <a:avLst/>
                  <a:gdLst>
                    <a:gd name="connsiteX0" fmla="*/ 496 w 2480"/>
                    <a:gd name="connsiteY0" fmla="*/ 168666 h 168666"/>
                    <a:gd name="connsiteX1" fmla="*/ 0 w 2480"/>
                    <a:gd name="connsiteY1" fmla="*/ 151800 h 168666"/>
                    <a:gd name="connsiteX2" fmla="*/ 496 w 2480"/>
                    <a:gd name="connsiteY2" fmla="*/ 134933 h 168666"/>
                    <a:gd name="connsiteX3" fmla="*/ 992 w 2480"/>
                    <a:gd name="connsiteY3" fmla="*/ 118066 h 168666"/>
                    <a:gd name="connsiteX4" fmla="*/ 496 w 2480"/>
                    <a:gd name="connsiteY4" fmla="*/ 101200 h 168666"/>
                    <a:gd name="connsiteX5" fmla="*/ 2480 w 2480"/>
                    <a:gd name="connsiteY5" fmla="*/ 84333 h 168666"/>
                    <a:gd name="connsiteX6" fmla="*/ 2480 w 2480"/>
                    <a:gd name="connsiteY6" fmla="*/ 67466 h 168666"/>
                    <a:gd name="connsiteX7" fmla="*/ 2480 w 2480"/>
                    <a:gd name="connsiteY7" fmla="*/ 50600 h 168666"/>
                    <a:gd name="connsiteX8" fmla="*/ 2480 w 2480"/>
                    <a:gd name="connsiteY8" fmla="*/ 33733 h 168666"/>
                    <a:gd name="connsiteX9" fmla="*/ 1488 w 2480"/>
                    <a:gd name="connsiteY9" fmla="*/ 16866 h 168666"/>
                    <a:gd name="connsiteX10" fmla="*/ 2480 w 2480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6"/>
                        <a:pt x="496" y="143366"/>
                        <a:pt x="496" y="134933"/>
                      </a:cubicBezTo>
                      <a:cubicBezTo>
                        <a:pt x="496" y="126500"/>
                        <a:pt x="992" y="126500"/>
                        <a:pt x="992" y="118066"/>
                      </a:cubicBezTo>
                      <a:cubicBezTo>
                        <a:pt x="992" y="109633"/>
                        <a:pt x="496" y="109633"/>
                        <a:pt x="496" y="101200"/>
                      </a:cubicBezTo>
                      <a:cubicBezTo>
                        <a:pt x="496" y="92766"/>
                        <a:pt x="2480" y="92766"/>
                        <a:pt x="2480" y="84333"/>
                      </a:cubicBezTo>
                      <a:cubicBezTo>
                        <a:pt x="2480" y="75900"/>
                        <a:pt x="2480" y="75900"/>
                        <a:pt x="2480" y="67466"/>
                      </a:cubicBezTo>
                      <a:cubicBezTo>
                        <a:pt x="2480" y="59033"/>
                        <a:pt x="2480" y="59033"/>
                        <a:pt x="2480" y="50600"/>
                      </a:cubicBezTo>
                      <a:cubicBezTo>
                        <a:pt x="2480" y="42167"/>
                        <a:pt x="2480" y="42167"/>
                        <a:pt x="2480" y="33733"/>
                      </a:cubicBezTo>
                      <a:cubicBezTo>
                        <a:pt x="2480" y="25300"/>
                        <a:pt x="1488" y="25300"/>
                        <a:pt x="1488" y="16866"/>
                      </a:cubicBezTo>
                      <a:cubicBezTo>
                        <a:pt x="1488" y="8433"/>
                        <a:pt x="2480" y="8433"/>
                        <a:pt x="248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2" name="Freeform: Shape 1691">
                  <a:extLst>
                    <a:ext uri="{FF2B5EF4-FFF2-40B4-BE49-F238E27FC236}">
                      <a16:creationId xmlns:a16="http://schemas.microsoft.com/office/drawing/2014/main" id="{A98C5934-8D76-74B2-07EF-5A85DAC226FF}"/>
                    </a:ext>
                  </a:extLst>
                </p:cNvPr>
                <p:cNvSpPr/>
                <p:nvPr/>
              </p:nvSpPr>
              <p:spPr>
                <a:xfrm>
                  <a:off x="4436294" y="3440796"/>
                  <a:ext cx="2480" cy="168666"/>
                </a:xfrm>
                <a:custGeom>
                  <a:avLst/>
                  <a:gdLst>
                    <a:gd name="connsiteX0" fmla="*/ 1984 w 2480"/>
                    <a:gd name="connsiteY0" fmla="*/ 0 h 168666"/>
                    <a:gd name="connsiteX1" fmla="*/ 0 w 2480"/>
                    <a:gd name="connsiteY1" fmla="*/ 16867 h 168666"/>
                    <a:gd name="connsiteX2" fmla="*/ 2480 w 2480"/>
                    <a:gd name="connsiteY2" fmla="*/ 33734 h 168666"/>
                    <a:gd name="connsiteX3" fmla="*/ 1488 w 2480"/>
                    <a:gd name="connsiteY3" fmla="*/ 50600 h 168666"/>
                    <a:gd name="connsiteX4" fmla="*/ 1488 w 2480"/>
                    <a:gd name="connsiteY4" fmla="*/ 67467 h 168666"/>
                    <a:gd name="connsiteX5" fmla="*/ 1488 w 2480"/>
                    <a:gd name="connsiteY5" fmla="*/ 84333 h 168666"/>
                    <a:gd name="connsiteX6" fmla="*/ 1488 w 2480"/>
                    <a:gd name="connsiteY6" fmla="*/ 101200 h 168666"/>
                    <a:gd name="connsiteX7" fmla="*/ 2480 w 2480"/>
                    <a:gd name="connsiteY7" fmla="*/ 118067 h 168666"/>
                    <a:gd name="connsiteX8" fmla="*/ 1488 w 2480"/>
                    <a:gd name="connsiteY8" fmla="*/ 134933 h 168666"/>
                    <a:gd name="connsiteX9" fmla="*/ 1488 w 2480"/>
                    <a:gd name="connsiteY9" fmla="*/ 151800 h 168666"/>
                    <a:gd name="connsiteX10" fmla="*/ 992 w 2480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1984" y="0"/>
                      </a:moveTo>
                      <a:cubicBezTo>
                        <a:pt x="1984" y="8433"/>
                        <a:pt x="0" y="8433"/>
                        <a:pt x="0" y="16867"/>
                      </a:cubicBezTo>
                      <a:cubicBezTo>
                        <a:pt x="0" y="25300"/>
                        <a:pt x="2480" y="25300"/>
                        <a:pt x="2480" y="33734"/>
                      </a:cubicBezTo>
                      <a:cubicBezTo>
                        <a:pt x="2480" y="42167"/>
                        <a:pt x="1488" y="42167"/>
                        <a:pt x="1488" y="50600"/>
                      </a:cubicBezTo>
                      <a:cubicBezTo>
                        <a:pt x="1488" y="59033"/>
                        <a:pt x="1488" y="59033"/>
                        <a:pt x="1488" y="67467"/>
                      </a:cubicBezTo>
                      <a:cubicBezTo>
                        <a:pt x="1488" y="75900"/>
                        <a:pt x="1488" y="75900"/>
                        <a:pt x="1488" y="84333"/>
                      </a:cubicBezTo>
                      <a:cubicBezTo>
                        <a:pt x="1488" y="92767"/>
                        <a:pt x="1488" y="92767"/>
                        <a:pt x="1488" y="101200"/>
                      </a:cubicBezTo>
                      <a:cubicBezTo>
                        <a:pt x="1488" y="109633"/>
                        <a:pt x="2480" y="109633"/>
                        <a:pt x="2480" y="118067"/>
                      </a:cubicBezTo>
                      <a:cubicBezTo>
                        <a:pt x="2480" y="126500"/>
                        <a:pt x="1488" y="126500"/>
                        <a:pt x="1488" y="134933"/>
                      </a:cubicBezTo>
                      <a:cubicBezTo>
                        <a:pt x="1488" y="143367"/>
                        <a:pt x="1488" y="143367"/>
                        <a:pt x="1488" y="151800"/>
                      </a:cubicBezTo>
                      <a:cubicBezTo>
                        <a:pt x="1488" y="160233"/>
                        <a:pt x="992" y="160233"/>
                        <a:pt x="992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</p:grpSp>
        <p:grpSp>
          <p:nvGrpSpPr>
            <p:cNvPr id="1388" name="Graphic 10">
              <a:extLst>
                <a:ext uri="{FF2B5EF4-FFF2-40B4-BE49-F238E27FC236}">
                  <a16:creationId xmlns:a16="http://schemas.microsoft.com/office/drawing/2014/main" id="{31A28A9B-F0A1-0A45-06D0-E4296A37E9F1}"/>
                </a:ext>
              </a:extLst>
            </p:cNvPr>
            <p:cNvGrpSpPr/>
            <p:nvPr/>
          </p:nvGrpSpPr>
          <p:grpSpPr>
            <a:xfrm>
              <a:off x="5018978" y="2459447"/>
              <a:ext cx="332745" cy="331487"/>
              <a:chOff x="5018978" y="2459447"/>
              <a:chExt cx="332745" cy="331487"/>
            </a:xfrm>
            <a:noFill/>
          </p:grpSpPr>
          <p:grpSp>
            <p:nvGrpSpPr>
              <p:cNvPr id="1675" name="Graphic 10">
                <a:extLst>
                  <a:ext uri="{FF2B5EF4-FFF2-40B4-BE49-F238E27FC236}">
                    <a16:creationId xmlns:a16="http://schemas.microsoft.com/office/drawing/2014/main" id="{8383DD45-E229-19B5-F47C-401F2A49B7DB}"/>
                  </a:ext>
                </a:extLst>
              </p:cNvPr>
              <p:cNvGrpSpPr/>
              <p:nvPr/>
            </p:nvGrpSpPr>
            <p:grpSpPr>
              <a:xfrm>
                <a:off x="5018978" y="2459447"/>
                <a:ext cx="332745" cy="331487"/>
                <a:chOff x="5018978" y="2459447"/>
                <a:chExt cx="332745" cy="331487"/>
              </a:xfrm>
              <a:noFill/>
            </p:grpSpPr>
            <p:sp>
              <p:nvSpPr>
                <p:cNvPr id="1678" name="Freeform: Shape 1677">
                  <a:extLst>
                    <a:ext uri="{FF2B5EF4-FFF2-40B4-BE49-F238E27FC236}">
                      <a16:creationId xmlns:a16="http://schemas.microsoft.com/office/drawing/2014/main" id="{4621933E-8E37-B27D-4041-D28E36C80517}"/>
                    </a:ext>
                  </a:extLst>
                </p:cNvPr>
                <p:cNvSpPr/>
                <p:nvPr/>
              </p:nvSpPr>
              <p:spPr>
                <a:xfrm>
                  <a:off x="5018978" y="2459447"/>
                  <a:ext cx="332745" cy="330495"/>
                </a:xfrm>
                <a:custGeom>
                  <a:avLst/>
                  <a:gdLst>
                    <a:gd name="connsiteX0" fmla="*/ 2688 w 332745"/>
                    <a:gd name="connsiteY0" fmla="*/ 330495 h 330495"/>
                    <a:gd name="connsiteX1" fmla="*/ 2688 w 332745"/>
                    <a:gd name="connsiteY1" fmla="*/ 314124 h 330495"/>
                    <a:gd name="connsiteX2" fmla="*/ 3184 w 332745"/>
                    <a:gd name="connsiteY2" fmla="*/ 297754 h 330495"/>
                    <a:gd name="connsiteX3" fmla="*/ 1200 w 332745"/>
                    <a:gd name="connsiteY3" fmla="*/ 281383 h 330495"/>
                    <a:gd name="connsiteX4" fmla="*/ 1696 w 332745"/>
                    <a:gd name="connsiteY4" fmla="*/ 265013 h 330495"/>
                    <a:gd name="connsiteX5" fmla="*/ 1200 w 332745"/>
                    <a:gd name="connsiteY5" fmla="*/ 248642 h 330495"/>
                    <a:gd name="connsiteX6" fmla="*/ 2688 w 332745"/>
                    <a:gd name="connsiteY6" fmla="*/ 232272 h 330495"/>
                    <a:gd name="connsiteX7" fmla="*/ 1200 w 332745"/>
                    <a:gd name="connsiteY7" fmla="*/ 215901 h 330495"/>
                    <a:gd name="connsiteX8" fmla="*/ 1696 w 332745"/>
                    <a:gd name="connsiteY8" fmla="*/ 199531 h 330495"/>
                    <a:gd name="connsiteX9" fmla="*/ 1200 w 332745"/>
                    <a:gd name="connsiteY9" fmla="*/ 183160 h 330495"/>
                    <a:gd name="connsiteX10" fmla="*/ 2192 w 332745"/>
                    <a:gd name="connsiteY10" fmla="*/ 166790 h 330495"/>
                    <a:gd name="connsiteX11" fmla="*/ 2192 w 332745"/>
                    <a:gd name="connsiteY11" fmla="*/ 150419 h 330495"/>
                    <a:gd name="connsiteX12" fmla="*/ 2688 w 332745"/>
                    <a:gd name="connsiteY12" fmla="*/ 134048 h 330495"/>
                    <a:gd name="connsiteX13" fmla="*/ 1200 w 332745"/>
                    <a:gd name="connsiteY13" fmla="*/ 117678 h 330495"/>
                    <a:gd name="connsiteX14" fmla="*/ 2688 w 332745"/>
                    <a:gd name="connsiteY14" fmla="*/ 101307 h 330495"/>
                    <a:gd name="connsiteX15" fmla="*/ 2192 w 332745"/>
                    <a:gd name="connsiteY15" fmla="*/ 84937 h 330495"/>
                    <a:gd name="connsiteX16" fmla="*/ 2688 w 332745"/>
                    <a:gd name="connsiteY16" fmla="*/ 68566 h 330495"/>
                    <a:gd name="connsiteX17" fmla="*/ 3184 w 332745"/>
                    <a:gd name="connsiteY17" fmla="*/ 52195 h 330495"/>
                    <a:gd name="connsiteX18" fmla="*/ 2192 w 332745"/>
                    <a:gd name="connsiteY18" fmla="*/ 35825 h 330495"/>
                    <a:gd name="connsiteX19" fmla="*/ 3184 w 332745"/>
                    <a:gd name="connsiteY19" fmla="*/ 19454 h 330495"/>
                    <a:gd name="connsiteX20" fmla="*/ 2192 w 332745"/>
                    <a:gd name="connsiteY20" fmla="*/ 3580 h 330495"/>
                    <a:gd name="connsiteX21" fmla="*/ 18563 w 332745"/>
                    <a:gd name="connsiteY21" fmla="*/ 2092 h 330495"/>
                    <a:gd name="connsiteX22" fmla="*/ 34933 w 332745"/>
                    <a:gd name="connsiteY22" fmla="*/ 2588 h 330495"/>
                    <a:gd name="connsiteX23" fmla="*/ 51304 w 332745"/>
                    <a:gd name="connsiteY23" fmla="*/ 4572 h 330495"/>
                    <a:gd name="connsiteX24" fmla="*/ 67675 w 332745"/>
                    <a:gd name="connsiteY24" fmla="*/ 3084 h 330495"/>
                    <a:gd name="connsiteX25" fmla="*/ 84045 w 332745"/>
                    <a:gd name="connsiteY25" fmla="*/ 2092 h 330495"/>
                    <a:gd name="connsiteX26" fmla="*/ 100416 w 332745"/>
                    <a:gd name="connsiteY26" fmla="*/ 3084 h 330495"/>
                    <a:gd name="connsiteX27" fmla="*/ 116786 w 332745"/>
                    <a:gd name="connsiteY27" fmla="*/ 2588 h 330495"/>
                    <a:gd name="connsiteX28" fmla="*/ 133157 w 332745"/>
                    <a:gd name="connsiteY28" fmla="*/ 3580 h 330495"/>
                    <a:gd name="connsiteX29" fmla="*/ 149527 w 332745"/>
                    <a:gd name="connsiteY29" fmla="*/ 3580 h 330495"/>
                    <a:gd name="connsiteX30" fmla="*/ 165898 w 332745"/>
                    <a:gd name="connsiteY30" fmla="*/ 3580 h 330495"/>
                    <a:gd name="connsiteX31" fmla="*/ 182268 w 332745"/>
                    <a:gd name="connsiteY31" fmla="*/ 3580 h 330495"/>
                    <a:gd name="connsiteX32" fmla="*/ 198639 w 332745"/>
                    <a:gd name="connsiteY32" fmla="*/ 1596 h 330495"/>
                    <a:gd name="connsiteX33" fmla="*/ 215010 w 332745"/>
                    <a:gd name="connsiteY33" fmla="*/ 3084 h 330495"/>
                    <a:gd name="connsiteX34" fmla="*/ 231380 w 332745"/>
                    <a:gd name="connsiteY34" fmla="*/ 3084 h 330495"/>
                    <a:gd name="connsiteX35" fmla="*/ 247751 w 332745"/>
                    <a:gd name="connsiteY35" fmla="*/ 1596 h 330495"/>
                    <a:gd name="connsiteX36" fmla="*/ 264121 w 332745"/>
                    <a:gd name="connsiteY36" fmla="*/ 3580 h 330495"/>
                    <a:gd name="connsiteX37" fmla="*/ 280492 w 332745"/>
                    <a:gd name="connsiteY37" fmla="*/ 3084 h 330495"/>
                    <a:gd name="connsiteX38" fmla="*/ 296863 w 332745"/>
                    <a:gd name="connsiteY38" fmla="*/ 2588 h 330495"/>
                    <a:gd name="connsiteX39" fmla="*/ 313233 w 332745"/>
                    <a:gd name="connsiteY39" fmla="*/ 3580 h 330495"/>
                    <a:gd name="connsiteX40" fmla="*/ 330100 w 332745"/>
                    <a:gd name="connsiteY40" fmla="*/ 2092 h 330495"/>
                    <a:gd name="connsiteX41" fmla="*/ 330100 w 332745"/>
                    <a:gd name="connsiteY41" fmla="*/ 18462 h 330495"/>
                    <a:gd name="connsiteX42" fmla="*/ 330100 w 332745"/>
                    <a:gd name="connsiteY42" fmla="*/ 34833 h 330495"/>
                    <a:gd name="connsiteX43" fmla="*/ 331092 w 332745"/>
                    <a:gd name="connsiteY43" fmla="*/ 51203 h 330495"/>
                    <a:gd name="connsiteX44" fmla="*/ 329108 w 332745"/>
                    <a:gd name="connsiteY44" fmla="*/ 67574 h 330495"/>
                    <a:gd name="connsiteX45" fmla="*/ 331092 w 332745"/>
                    <a:gd name="connsiteY45" fmla="*/ 83945 h 330495"/>
                    <a:gd name="connsiteX46" fmla="*/ 329604 w 332745"/>
                    <a:gd name="connsiteY46" fmla="*/ 100315 h 330495"/>
                    <a:gd name="connsiteX47" fmla="*/ 330100 w 332745"/>
                    <a:gd name="connsiteY47" fmla="*/ 116686 h 330495"/>
                    <a:gd name="connsiteX48" fmla="*/ 329604 w 332745"/>
                    <a:gd name="connsiteY48" fmla="*/ 133056 h 330495"/>
                    <a:gd name="connsiteX49" fmla="*/ 329604 w 332745"/>
                    <a:gd name="connsiteY49" fmla="*/ 149427 h 330495"/>
                    <a:gd name="connsiteX50" fmla="*/ 329604 w 332745"/>
                    <a:gd name="connsiteY50" fmla="*/ 165797 h 330495"/>
                    <a:gd name="connsiteX51" fmla="*/ 331588 w 332745"/>
                    <a:gd name="connsiteY51" fmla="*/ 182168 h 330495"/>
                    <a:gd name="connsiteX52" fmla="*/ 331092 w 332745"/>
                    <a:gd name="connsiteY52" fmla="*/ 198538 h 330495"/>
                    <a:gd name="connsiteX53" fmla="*/ 330100 w 332745"/>
                    <a:gd name="connsiteY53" fmla="*/ 214909 h 330495"/>
                    <a:gd name="connsiteX54" fmla="*/ 330596 w 332745"/>
                    <a:gd name="connsiteY54" fmla="*/ 231280 h 330495"/>
                    <a:gd name="connsiteX55" fmla="*/ 331588 w 332745"/>
                    <a:gd name="connsiteY55" fmla="*/ 247650 h 330495"/>
                    <a:gd name="connsiteX56" fmla="*/ 330100 w 332745"/>
                    <a:gd name="connsiteY56" fmla="*/ 264021 h 330495"/>
                    <a:gd name="connsiteX57" fmla="*/ 330100 w 332745"/>
                    <a:gd name="connsiteY57" fmla="*/ 280391 h 330495"/>
                    <a:gd name="connsiteX58" fmla="*/ 330100 w 332745"/>
                    <a:gd name="connsiteY58" fmla="*/ 296762 h 330495"/>
                    <a:gd name="connsiteX59" fmla="*/ 329604 w 332745"/>
                    <a:gd name="connsiteY59" fmla="*/ 313133 h 330495"/>
                    <a:gd name="connsiteX60" fmla="*/ 329108 w 332745"/>
                    <a:gd name="connsiteY60" fmla="*/ 329503 h 330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332745" h="330495">
                      <a:moveTo>
                        <a:pt x="2688" y="330495"/>
                      </a:moveTo>
                      <a:cubicBezTo>
                        <a:pt x="2688" y="322558"/>
                        <a:pt x="2688" y="322558"/>
                        <a:pt x="2688" y="314124"/>
                      </a:cubicBezTo>
                      <a:cubicBezTo>
                        <a:pt x="2688" y="306187"/>
                        <a:pt x="3184" y="306187"/>
                        <a:pt x="3184" y="297754"/>
                      </a:cubicBezTo>
                      <a:cubicBezTo>
                        <a:pt x="3184" y="289817"/>
                        <a:pt x="1200" y="289817"/>
                        <a:pt x="1200" y="281383"/>
                      </a:cubicBezTo>
                      <a:cubicBezTo>
                        <a:pt x="1200" y="273446"/>
                        <a:pt x="1696" y="273446"/>
                        <a:pt x="1696" y="265013"/>
                      </a:cubicBezTo>
                      <a:cubicBezTo>
                        <a:pt x="1696" y="257076"/>
                        <a:pt x="1200" y="257076"/>
                        <a:pt x="1200" y="248642"/>
                      </a:cubicBezTo>
                      <a:cubicBezTo>
                        <a:pt x="1200" y="240705"/>
                        <a:pt x="2688" y="240705"/>
                        <a:pt x="2688" y="232272"/>
                      </a:cubicBezTo>
                      <a:cubicBezTo>
                        <a:pt x="2688" y="224334"/>
                        <a:pt x="1200" y="224334"/>
                        <a:pt x="1200" y="215901"/>
                      </a:cubicBezTo>
                      <a:cubicBezTo>
                        <a:pt x="1200" y="207964"/>
                        <a:pt x="1696" y="207964"/>
                        <a:pt x="1696" y="199531"/>
                      </a:cubicBezTo>
                      <a:cubicBezTo>
                        <a:pt x="1696" y="191593"/>
                        <a:pt x="1200" y="191593"/>
                        <a:pt x="1200" y="183160"/>
                      </a:cubicBezTo>
                      <a:cubicBezTo>
                        <a:pt x="1200" y="175223"/>
                        <a:pt x="2192" y="175223"/>
                        <a:pt x="2192" y="166790"/>
                      </a:cubicBezTo>
                      <a:cubicBezTo>
                        <a:pt x="2192" y="158852"/>
                        <a:pt x="2192" y="158852"/>
                        <a:pt x="2192" y="150419"/>
                      </a:cubicBezTo>
                      <a:cubicBezTo>
                        <a:pt x="2192" y="142482"/>
                        <a:pt x="2688" y="142482"/>
                        <a:pt x="2688" y="134048"/>
                      </a:cubicBezTo>
                      <a:cubicBezTo>
                        <a:pt x="2688" y="126111"/>
                        <a:pt x="1200" y="126111"/>
                        <a:pt x="1200" y="117678"/>
                      </a:cubicBezTo>
                      <a:cubicBezTo>
                        <a:pt x="1200" y="109741"/>
                        <a:pt x="2688" y="109741"/>
                        <a:pt x="2688" y="101307"/>
                      </a:cubicBezTo>
                      <a:cubicBezTo>
                        <a:pt x="2688" y="93370"/>
                        <a:pt x="2192" y="93370"/>
                        <a:pt x="2192" y="84937"/>
                      </a:cubicBezTo>
                      <a:cubicBezTo>
                        <a:pt x="2192" y="76999"/>
                        <a:pt x="2688" y="76999"/>
                        <a:pt x="2688" y="68566"/>
                      </a:cubicBezTo>
                      <a:cubicBezTo>
                        <a:pt x="2688" y="60629"/>
                        <a:pt x="3184" y="60629"/>
                        <a:pt x="3184" y="52195"/>
                      </a:cubicBezTo>
                      <a:cubicBezTo>
                        <a:pt x="3184" y="44258"/>
                        <a:pt x="2192" y="44258"/>
                        <a:pt x="2192" y="35825"/>
                      </a:cubicBezTo>
                      <a:cubicBezTo>
                        <a:pt x="2192" y="27888"/>
                        <a:pt x="3184" y="27888"/>
                        <a:pt x="3184" y="19454"/>
                      </a:cubicBezTo>
                      <a:cubicBezTo>
                        <a:pt x="3184" y="11021"/>
                        <a:pt x="-3264" y="9037"/>
                        <a:pt x="2192" y="3580"/>
                      </a:cubicBezTo>
                      <a:cubicBezTo>
                        <a:pt x="8145" y="-2373"/>
                        <a:pt x="10129" y="2092"/>
                        <a:pt x="18563" y="2092"/>
                      </a:cubicBezTo>
                      <a:cubicBezTo>
                        <a:pt x="26996" y="2092"/>
                        <a:pt x="26996" y="2588"/>
                        <a:pt x="34933" y="2588"/>
                      </a:cubicBezTo>
                      <a:cubicBezTo>
                        <a:pt x="43367" y="2588"/>
                        <a:pt x="43367" y="4572"/>
                        <a:pt x="51304" y="4572"/>
                      </a:cubicBezTo>
                      <a:cubicBezTo>
                        <a:pt x="59737" y="4572"/>
                        <a:pt x="59737" y="3084"/>
                        <a:pt x="67675" y="3084"/>
                      </a:cubicBezTo>
                      <a:cubicBezTo>
                        <a:pt x="76108" y="3084"/>
                        <a:pt x="76108" y="2092"/>
                        <a:pt x="84045" y="2092"/>
                      </a:cubicBezTo>
                      <a:cubicBezTo>
                        <a:pt x="92478" y="2092"/>
                        <a:pt x="92478" y="3084"/>
                        <a:pt x="100416" y="3084"/>
                      </a:cubicBezTo>
                      <a:cubicBezTo>
                        <a:pt x="108849" y="3084"/>
                        <a:pt x="108849" y="2588"/>
                        <a:pt x="116786" y="2588"/>
                      </a:cubicBezTo>
                      <a:cubicBezTo>
                        <a:pt x="125220" y="2588"/>
                        <a:pt x="125220" y="3580"/>
                        <a:pt x="133157" y="3580"/>
                      </a:cubicBezTo>
                      <a:cubicBezTo>
                        <a:pt x="141590" y="3580"/>
                        <a:pt x="141590" y="3580"/>
                        <a:pt x="149527" y="3580"/>
                      </a:cubicBezTo>
                      <a:cubicBezTo>
                        <a:pt x="157961" y="3580"/>
                        <a:pt x="157961" y="3580"/>
                        <a:pt x="165898" y="3580"/>
                      </a:cubicBezTo>
                      <a:cubicBezTo>
                        <a:pt x="174331" y="3580"/>
                        <a:pt x="174331" y="3580"/>
                        <a:pt x="182268" y="3580"/>
                      </a:cubicBezTo>
                      <a:cubicBezTo>
                        <a:pt x="190702" y="3580"/>
                        <a:pt x="190702" y="1596"/>
                        <a:pt x="198639" y="1596"/>
                      </a:cubicBezTo>
                      <a:cubicBezTo>
                        <a:pt x="207072" y="1596"/>
                        <a:pt x="207072" y="3084"/>
                        <a:pt x="215010" y="3084"/>
                      </a:cubicBezTo>
                      <a:cubicBezTo>
                        <a:pt x="222947" y="3084"/>
                        <a:pt x="223443" y="3084"/>
                        <a:pt x="231380" y="3084"/>
                      </a:cubicBezTo>
                      <a:cubicBezTo>
                        <a:pt x="239814" y="3084"/>
                        <a:pt x="239814" y="1596"/>
                        <a:pt x="247751" y="1596"/>
                      </a:cubicBezTo>
                      <a:cubicBezTo>
                        <a:pt x="256184" y="1596"/>
                        <a:pt x="256184" y="3580"/>
                        <a:pt x="264121" y="3580"/>
                      </a:cubicBezTo>
                      <a:cubicBezTo>
                        <a:pt x="272555" y="3580"/>
                        <a:pt x="272555" y="3084"/>
                        <a:pt x="280492" y="3084"/>
                      </a:cubicBezTo>
                      <a:cubicBezTo>
                        <a:pt x="288925" y="3084"/>
                        <a:pt x="288925" y="2588"/>
                        <a:pt x="296863" y="2588"/>
                      </a:cubicBezTo>
                      <a:cubicBezTo>
                        <a:pt x="305296" y="2588"/>
                        <a:pt x="305296" y="3580"/>
                        <a:pt x="313233" y="3580"/>
                      </a:cubicBezTo>
                      <a:cubicBezTo>
                        <a:pt x="321170" y="3580"/>
                        <a:pt x="324147" y="-3365"/>
                        <a:pt x="330100" y="2092"/>
                      </a:cubicBezTo>
                      <a:cubicBezTo>
                        <a:pt x="336053" y="7548"/>
                        <a:pt x="330100" y="10525"/>
                        <a:pt x="330100" y="18462"/>
                      </a:cubicBezTo>
                      <a:cubicBezTo>
                        <a:pt x="330100" y="26399"/>
                        <a:pt x="330100" y="26399"/>
                        <a:pt x="330100" y="34833"/>
                      </a:cubicBezTo>
                      <a:cubicBezTo>
                        <a:pt x="330100" y="42770"/>
                        <a:pt x="331092" y="42770"/>
                        <a:pt x="331092" y="51203"/>
                      </a:cubicBezTo>
                      <a:cubicBezTo>
                        <a:pt x="331092" y="59141"/>
                        <a:pt x="329108" y="59141"/>
                        <a:pt x="329108" y="67574"/>
                      </a:cubicBezTo>
                      <a:cubicBezTo>
                        <a:pt x="329108" y="75511"/>
                        <a:pt x="331092" y="75511"/>
                        <a:pt x="331092" y="83945"/>
                      </a:cubicBezTo>
                      <a:cubicBezTo>
                        <a:pt x="331092" y="91882"/>
                        <a:pt x="329604" y="91882"/>
                        <a:pt x="329604" y="100315"/>
                      </a:cubicBezTo>
                      <a:cubicBezTo>
                        <a:pt x="329604" y="108252"/>
                        <a:pt x="330100" y="108252"/>
                        <a:pt x="330100" y="116686"/>
                      </a:cubicBezTo>
                      <a:cubicBezTo>
                        <a:pt x="330100" y="124623"/>
                        <a:pt x="329604" y="124623"/>
                        <a:pt x="329604" y="133056"/>
                      </a:cubicBezTo>
                      <a:cubicBezTo>
                        <a:pt x="329604" y="140993"/>
                        <a:pt x="329604" y="140993"/>
                        <a:pt x="329604" y="149427"/>
                      </a:cubicBezTo>
                      <a:cubicBezTo>
                        <a:pt x="329604" y="157364"/>
                        <a:pt x="329604" y="157364"/>
                        <a:pt x="329604" y="165797"/>
                      </a:cubicBezTo>
                      <a:cubicBezTo>
                        <a:pt x="329604" y="173734"/>
                        <a:pt x="331588" y="173734"/>
                        <a:pt x="331588" y="182168"/>
                      </a:cubicBezTo>
                      <a:cubicBezTo>
                        <a:pt x="331588" y="190105"/>
                        <a:pt x="331092" y="190105"/>
                        <a:pt x="331092" y="198538"/>
                      </a:cubicBezTo>
                      <a:cubicBezTo>
                        <a:pt x="331092" y="206476"/>
                        <a:pt x="330100" y="206476"/>
                        <a:pt x="330100" y="214909"/>
                      </a:cubicBezTo>
                      <a:cubicBezTo>
                        <a:pt x="330100" y="222846"/>
                        <a:pt x="330596" y="222846"/>
                        <a:pt x="330596" y="231280"/>
                      </a:cubicBezTo>
                      <a:cubicBezTo>
                        <a:pt x="330596" y="239217"/>
                        <a:pt x="331588" y="239217"/>
                        <a:pt x="331588" y="247650"/>
                      </a:cubicBezTo>
                      <a:cubicBezTo>
                        <a:pt x="331588" y="255587"/>
                        <a:pt x="330100" y="255587"/>
                        <a:pt x="330100" y="264021"/>
                      </a:cubicBezTo>
                      <a:cubicBezTo>
                        <a:pt x="330100" y="271958"/>
                        <a:pt x="330100" y="271958"/>
                        <a:pt x="330100" y="280391"/>
                      </a:cubicBezTo>
                      <a:cubicBezTo>
                        <a:pt x="330100" y="288329"/>
                        <a:pt x="330100" y="288329"/>
                        <a:pt x="330100" y="296762"/>
                      </a:cubicBezTo>
                      <a:cubicBezTo>
                        <a:pt x="330100" y="304699"/>
                        <a:pt x="329604" y="304699"/>
                        <a:pt x="329604" y="313133"/>
                      </a:cubicBezTo>
                      <a:cubicBezTo>
                        <a:pt x="329604" y="321070"/>
                        <a:pt x="329108" y="321070"/>
                        <a:pt x="329108" y="329503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9" name="Freeform: Shape 1678">
                  <a:extLst>
                    <a:ext uri="{FF2B5EF4-FFF2-40B4-BE49-F238E27FC236}">
                      <a16:creationId xmlns:a16="http://schemas.microsoft.com/office/drawing/2014/main" id="{DF37E958-5F75-B3B3-52BC-5795E3E7E430}"/>
                    </a:ext>
                  </a:extLst>
                </p:cNvPr>
                <p:cNvSpPr/>
                <p:nvPr/>
              </p:nvSpPr>
              <p:spPr>
                <a:xfrm>
                  <a:off x="5210672" y="2597794"/>
                  <a:ext cx="125934" cy="39894"/>
                </a:xfrm>
                <a:custGeom>
                  <a:avLst/>
                  <a:gdLst>
                    <a:gd name="connsiteX0" fmla="*/ 0 w 125934"/>
                    <a:gd name="connsiteY0" fmla="*/ 2646 h 39894"/>
                    <a:gd name="connsiteX1" fmla="*/ 15378 w 125934"/>
                    <a:gd name="connsiteY1" fmla="*/ 3142 h 39894"/>
                    <a:gd name="connsiteX2" fmla="*/ 30757 w 125934"/>
                    <a:gd name="connsiteY2" fmla="*/ 2646 h 39894"/>
                    <a:gd name="connsiteX3" fmla="*/ 46135 w 125934"/>
                    <a:gd name="connsiteY3" fmla="*/ 2150 h 39894"/>
                    <a:gd name="connsiteX4" fmla="*/ 61513 w 125934"/>
                    <a:gd name="connsiteY4" fmla="*/ 3142 h 39894"/>
                    <a:gd name="connsiteX5" fmla="*/ 76892 w 125934"/>
                    <a:gd name="connsiteY5" fmla="*/ 2646 h 39894"/>
                    <a:gd name="connsiteX6" fmla="*/ 92270 w 125934"/>
                    <a:gd name="connsiteY6" fmla="*/ 4134 h 39894"/>
                    <a:gd name="connsiteX7" fmla="*/ 107649 w 125934"/>
                    <a:gd name="connsiteY7" fmla="*/ 2646 h 39894"/>
                    <a:gd name="connsiteX8" fmla="*/ 123523 w 125934"/>
                    <a:gd name="connsiteY8" fmla="*/ 2646 h 39894"/>
                    <a:gd name="connsiteX9" fmla="*/ 122531 w 125934"/>
                    <a:gd name="connsiteY9" fmla="*/ 20504 h 39894"/>
                    <a:gd name="connsiteX10" fmla="*/ 122531 w 125934"/>
                    <a:gd name="connsiteY10" fmla="*/ 37371 h 39894"/>
                    <a:gd name="connsiteX11" fmla="*/ 107649 w 125934"/>
                    <a:gd name="connsiteY11" fmla="*/ 36875 h 39894"/>
                    <a:gd name="connsiteX12" fmla="*/ 92270 w 125934"/>
                    <a:gd name="connsiteY12" fmla="*/ 37867 h 39894"/>
                    <a:gd name="connsiteX13" fmla="*/ 76892 w 125934"/>
                    <a:gd name="connsiteY13" fmla="*/ 38363 h 39894"/>
                    <a:gd name="connsiteX14" fmla="*/ 61513 w 125934"/>
                    <a:gd name="connsiteY14" fmla="*/ 37867 h 39894"/>
                    <a:gd name="connsiteX15" fmla="*/ 46135 w 125934"/>
                    <a:gd name="connsiteY15" fmla="*/ 38363 h 39894"/>
                    <a:gd name="connsiteX16" fmla="*/ 30757 w 125934"/>
                    <a:gd name="connsiteY16" fmla="*/ 37867 h 39894"/>
                    <a:gd name="connsiteX17" fmla="*/ 15378 w 125934"/>
                    <a:gd name="connsiteY17" fmla="*/ 36875 h 39894"/>
                    <a:gd name="connsiteX18" fmla="*/ 0 w 125934"/>
                    <a:gd name="connsiteY18" fmla="*/ 38859 h 39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25934" h="39894">
                      <a:moveTo>
                        <a:pt x="0" y="2646"/>
                      </a:moveTo>
                      <a:cubicBezTo>
                        <a:pt x="7441" y="2646"/>
                        <a:pt x="7441" y="3142"/>
                        <a:pt x="15378" y="3142"/>
                      </a:cubicBezTo>
                      <a:cubicBezTo>
                        <a:pt x="22819" y="3142"/>
                        <a:pt x="22819" y="2646"/>
                        <a:pt x="30757" y="2646"/>
                      </a:cubicBezTo>
                      <a:cubicBezTo>
                        <a:pt x="38198" y="2646"/>
                        <a:pt x="38198" y="2150"/>
                        <a:pt x="46135" y="2150"/>
                      </a:cubicBezTo>
                      <a:cubicBezTo>
                        <a:pt x="53576" y="2150"/>
                        <a:pt x="53576" y="3142"/>
                        <a:pt x="61513" y="3142"/>
                      </a:cubicBezTo>
                      <a:cubicBezTo>
                        <a:pt x="68955" y="3142"/>
                        <a:pt x="68955" y="2646"/>
                        <a:pt x="76892" y="2646"/>
                      </a:cubicBezTo>
                      <a:cubicBezTo>
                        <a:pt x="84333" y="2646"/>
                        <a:pt x="84333" y="4134"/>
                        <a:pt x="92270" y="4134"/>
                      </a:cubicBezTo>
                      <a:cubicBezTo>
                        <a:pt x="99712" y="4134"/>
                        <a:pt x="99712" y="2646"/>
                        <a:pt x="107649" y="2646"/>
                      </a:cubicBezTo>
                      <a:cubicBezTo>
                        <a:pt x="115090" y="2646"/>
                        <a:pt x="118562" y="-3307"/>
                        <a:pt x="123523" y="2646"/>
                      </a:cubicBezTo>
                      <a:cubicBezTo>
                        <a:pt x="129476" y="9095"/>
                        <a:pt x="122531" y="12071"/>
                        <a:pt x="122531" y="20504"/>
                      </a:cubicBezTo>
                      <a:cubicBezTo>
                        <a:pt x="122531" y="28938"/>
                        <a:pt x="127988" y="30922"/>
                        <a:pt x="122531" y="37371"/>
                      </a:cubicBezTo>
                      <a:cubicBezTo>
                        <a:pt x="117571" y="43324"/>
                        <a:pt x="115586" y="36875"/>
                        <a:pt x="107649" y="36875"/>
                      </a:cubicBezTo>
                      <a:cubicBezTo>
                        <a:pt x="100208" y="36875"/>
                        <a:pt x="100208" y="37867"/>
                        <a:pt x="92270" y="37867"/>
                      </a:cubicBezTo>
                      <a:cubicBezTo>
                        <a:pt x="84829" y="37867"/>
                        <a:pt x="84829" y="38363"/>
                        <a:pt x="76892" y="38363"/>
                      </a:cubicBezTo>
                      <a:cubicBezTo>
                        <a:pt x="69451" y="38363"/>
                        <a:pt x="69451" y="37867"/>
                        <a:pt x="61513" y="37867"/>
                      </a:cubicBezTo>
                      <a:cubicBezTo>
                        <a:pt x="54072" y="37867"/>
                        <a:pt x="54072" y="38363"/>
                        <a:pt x="46135" y="38363"/>
                      </a:cubicBezTo>
                      <a:cubicBezTo>
                        <a:pt x="38694" y="38363"/>
                        <a:pt x="38694" y="37867"/>
                        <a:pt x="30757" y="37867"/>
                      </a:cubicBezTo>
                      <a:cubicBezTo>
                        <a:pt x="23316" y="37867"/>
                        <a:pt x="23316" y="36875"/>
                        <a:pt x="15378" y="36875"/>
                      </a:cubicBezTo>
                      <a:cubicBezTo>
                        <a:pt x="7937" y="36875"/>
                        <a:pt x="7937" y="38859"/>
                        <a:pt x="0" y="38859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80" name="Freeform: Shape 1679">
                  <a:extLst>
                    <a:ext uri="{FF2B5EF4-FFF2-40B4-BE49-F238E27FC236}">
                      <a16:creationId xmlns:a16="http://schemas.microsoft.com/office/drawing/2014/main" id="{DDA07D76-BAAE-1010-A3EC-A0EA6CCFE619}"/>
                    </a:ext>
                  </a:extLst>
                </p:cNvPr>
                <p:cNvSpPr/>
                <p:nvPr/>
              </p:nvSpPr>
              <p:spPr>
                <a:xfrm>
                  <a:off x="5034895" y="2599517"/>
                  <a:ext cx="130137" cy="39547"/>
                </a:xfrm>
                <a:custGeom>
                  <a:avLst/>
                  <a:gdLst>
                    <a:gd name="connsiteX0" fmla="*/ 130138 w 130137"/>
                    <a:gd name="connsiteY0" fmla="*/ 36640 h 39547"/>
                    <a:gd name="connsiteX1" fmla="*/ 114263 w 130137"/>
                    <a:gd name="connsiteY1" fmla="*/ 35648 h 39547"/>
                    <a:gd name="connsiteX2" fmla="*/ 98389 w 130137"/>
                    <a:gd name="connsiteY2" fmla="*/ 37632 h 39547"/>
                    <a:gd name="connsiteX3" fmla="*/ 82515 w 130137"/>
                    <a:gd name="connsiteY3" fmla="*/ 36640 h 39547"/>
                    <a:gd name="connsiteX4" fmla="*/ 66640 w 130137"/>
                    <a:gd name="connsiteY4" fmla="*/ 37136 h 39547"/>
                    <a:gd name="connsiteX5" fmla="*/ 50765 w 130137"/>
                    <a:gd name="connsiteY5" fmla="*/ 36640 h 39547"/>
                    <a:gd name="connsiteX6" fmla="*/ 34891 w 130137"/>
                    <a:gd name="connsiteY6" fmla="*/ 37136 h 39547"/>
                    <a:gd name="connsiteX7" fmla="*/ 19016 w 130137"/>
                    <a:gd name="connsiteY7" fmla="*/ 36144 h 39547"/>
                    <a:gd name="connsiteX8" fmla="*/ 2646 w 130137"/>
                    <a:gd name="connsiteY8" fmla="*/ 37136 h 39547"/>
                    <a:gd name="connsiteX9" fmla="*/ 2646 w 130137"/>
                    <a:gd name="connsiteY9" fmla="*/ 19278 h 39547"/>
                    <a:gd name="connsiteX10" fmla="*/ 3142 w 130137"/>
                    <a:gd name="connsiteY10" fmla="*/ 2411 h 39547"/>
                    <a:gd name="connsiteX11" fmla="*/ 18520 w 130137"/>
                    <a:gd name="connsiteY11" fmla="*/ 3403 h 39547"/>
                    <a:gd name="connsiteX12" fmla="*/ 34395 w 130137"/>
                    <a:gd name="connsiteY12" fmla="*/ 1419 h 39547"/>
                    <a:gd name="connsiteX13" fmla="*/ 50269 w 130137"/>
                    <a:gd name="connsiteY13" fmla="*/ 2411 h 39547"/>
                    <a:gd name="connsiteX14" fmla="*/ 66144 w 130137"/>
                    <a:gd name="connsiteY14" fmla="*/ 2907 h 39547"/>
                    <a:gd name="connsiteX15" fmla="*/ 82018 w 130137"/>
                    <a:gd name="connsiteY15" fmla="*/ 1915 h 39547"/>
                    <a:gd name="connsiteX16" fmla="*/ 97893 w 130137"/>
                    <a:gd name="connsiteY16" fmla="*/ 1915 h 39547"/>
                    <a:gd name="connsiteX17" fmla="*/ 113767 w 130137"/>
                    <a:gd name="connsiteY17" fmla="*/ 1419 h 39547"/>
                    <a:gd name="connsiteX18" fmla="*/ 129642 w 130137"/>
                    <a:gd name="connsiteY18" fmla="*/ 1915 h 39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30137" h="39547">
                      <a:moveTo>
                        <a:pt x="130138" y="36640"/>
                      </a:moveTo>
                      <a:cubicBezTo>
                        <a:pt x="122201" y="36640"/>
                        <a:pt x="122201" y="35648"/>
                        <a:pt x="114263" y="35648"/>
                      </a:cubicBezTo>
                      <a:cubicBezTo>
                        <a:pt x="106326" y="35648"/>
                        <a:pt x="106326" y="37632"/>
                        <a:pt x="98389" y="37632"/>
                      </a:cubicBezTo>
                      <a:cubicBezTo>
                        <a:pt x="90452" y="37632"/>
                        <a:pt x="90452" y="36640"/>
                        <a:pt x="82515" y="36640"/>
                      </a:cubicBezTo>
                      <a:cubicBezTo>
                        <a:pt x="74577" y="36640"/>
                        <a:pt x="74577" y="37136"/>
                        <a:pt x="66640" y="37136"/>
                      </a:cubicBezTo>
                      <a:cubicBezTo>
                        <a:pt x="58703" y="37136"/>
                        <a:pt x="58703" y="36640"/>
                        <a:pt x="50765" y="36640"/>
                      </a:cubicBezTo>
                      <a:cubicBezTo>
                        <a:pt x="42828" y="36640"/>
                        <a:pt x="42828" y="37136"/>
                        <a:pt x="34891" y="37136"/>
                      </a:cubicBezTo>
                      <a:cubicBezTo>
                        <a:pt x="26954" y="37136"/>
                        <a:pt x="26954" y="36144"/>
                        <a:pt x="19016" y="36144"/>
                      </a:cubicBezTo>
                      <a:cubicBezTo>
                        <a:pt x="11079" y="36144"/>
                        <a:pt x="8103" y="43089"/>
                        <a:pt x="2646" y="37136"/>
                      </a:cubicBezTo>
                      <a:cubicBezTo>
                        <a:pt x="-3307" y="30687"/>
                        <a:pt x="2646" y="28207"/>
                        <a:pt x="2646" y="19278"/>
                      </a:cubicBezTo>
                      <a:cubicBezTo>
                        <a:pt x="2646" y="10348"/>
                        <a:pt x="-2811" y="8860"/>
                        <a:pt x="3142" y="2411"/>
                      </a:cubicBezTo>
                      <a:cubicBezTo>
                        <a:pt x="8599" y="-3542"/>
                        <a:pt x="10583" y="3403"/>
                        <a:pt x="18520" y="3403"/>
                      </a:cubicBezTo>
                      <a:cubicBezTo>
                        <a:pt x="26457" y="3403"/>
                        <a:pt x="26457" y="1419"/>
                        <a:pt x="34395" y="1419"/>
                      </a:cubicBezTo>
                      <a:cubicBezTo>
                        <a:pt x="42332" y="1419"/>
                        <a:pt x="42332" y="2411"/>
                        <a:pt x="50269" y="2411"/>
                      </a:cubicBezTo>
                      <a:cubicBezTo>
                        <a:pt x="58207" y="2411"/>
                        <a:pt x="58207" y="2907"/>
                        <a:pt x="66144" y="2907"/>
                      </a:cubicBezTo>
                      <a:cubicBezTo>
                        <a:pt x="74081" y="2907"/>
                        <a:pt x="74081" y="1915"/>
                        <a:pt x="82018" y="1915"/>
                      </a:cubicBezTo>
                      <a:cubicBezTo>
                        <a:pt x="89956" y="1915"/>
                        <a:pt x="89956" y="1915"/>
                        <a:pt x="97893" y="1915"/>
                      </a:cubicBezTo>
                      <a:cubicBezTo>
                        <a:pt x="105830" y="1915"/>
                        <a:pt x="105830" y="1419"/>
                        <a:pt x="113767" y="1419"/>
                      </a:cubicBezTo>
                      <a:cubicBezTo>
                        <a:pt x="121704" y="1419"/>
                        <a:pt x="121704" y="1915"/>
                        <a:pt x="129642" y="1915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81" name="Freeform: Shape 1680">
                  <a:extLst>
                    <a:ext uri="{FF2B5EF4-FFF2-40B4-BE49-F238E27FC236}">
                      <a16:creationId xmlns:a16="http://schemas.microsoft.com/office/drawing/2014/main" id="{2A2FBDD9-F7C5-9E94-E0DA-194D1606ED17}"/>
                    </a:ext>
                  </a:extLst>
                </p:cNvPr>
                <p:cNvSpPr/>
                <p:nvPr/>
              </p:nvSpPr>
              <p:spPr>
                <a:xfrm>
                  <a:off x="5035391" y="2492341"/>
                  <a:ext cx="299749" cy="298592"/>
                </a:xfrm>
                <a:custGeom>
                  <a:avLst/>
                  <a:gdLst>
                    <a:gd name="connsiteX0" fmla="*/ 1654 w 299749"/>
                    <a:gd name="connsiteY0" fmla="*/ 297600 h 298592"/>
                    <a:gd name="connsiteX1" fmla="*/ 3142 w 299749"/>
                    <a:gd name="connsiteY1" fmla="*/ 281230 h 298592"/>
                    <a:gd name="connsiteX2" fmla="*/ 3142 w 299749"/>
                    <a:gd name="connsiteY2" fmla="*/ 264859 h 298592"/>
                    <a:gd name="connsiteX3" fmla="*/ 2646 w 299749"/>
                    <a:gd name="connsiteY3" fmla="*/ 248489 h 298592"/>
                    <a:gd name="connsiteX4" fmla="*/ 2646 w 299749"/>
                    <a:gd name="connsiteY4" fmla="*/ 232118 h 298592"/>
                    <a:gd name="connsiteX5" fmla="*/ 3142 w 299749"/>
                    <a:gd name="connsiteY5" fmla="*/ 215748 h 298592"/>
                    <a:gd name="connsiteX6" fmla="*/ 2646 w 299749"/>
                    <a:gd name="connsiteY6" fmla="*/ 199377 h 298592"/>
                    <a:gd name="connsiteX7" fmla="*/ 1654 w 299749"/>
                    <a:gd name="connsiteY7" fmla="*/ 183006 h 298592"/>
                    <a:gd name="connsiteX8" fmla="*/ 1654 w 299749"/>
                    <a:gd name="connsiteY8" fmla="*/ 166636 h 298592"/>
                    <a:gd name="connsiteX9" fmla="*/ 3638 w 299749"/>
                    <a:gd name="connsiteY9" fmla="*/ 150265 h 298592"/>
                    <a:gd name="connsiteX10" fmla="*/ 2150 w 299749"/>
                    <a:gd name="connsiteY10" fmla="*/ 133895 h 298592"/>
                    <a:gd name="connsiteX11" fmla="*/ 3638 w 299749"/>
                    <a:gd name="connsiteY11" fmla="*/ 117524 h 298592"/>
                    <a:gd name="connsiteX12" fmla="*/ 1654 w 299749"/>
                    <a:gd name="connsiteY12" fmla="*/ 101153 h 298592"/>
                    <a:gd name="connsiteX13" fmla="*/ 2646 w 299749"/>
                    <a:gd name="connsiteY13" fmla="*/ 84783 h 298592"/>
                    <a:gd name="connsiteX14" fmla="*/ 3142 w 299749"/>
                    <a:gd name="connsiteY14" fmla="*/ 68412 h 298592"/>
                    <a:gd name="connsiteX15" fmla="*/ 1654 w 299749"/>
                    <a:gd name="connsiteY15" fmla="*/ 52042 h 298592"/>
                    <a:gd name="connsiteX16" fmla="*/ 3142 w 299749"/>
                    <a:gd name="connsiteY16" fmla="*/ 35671 h 298592"/>
                    <a:gd name="connsiteX17" fmla="*/ 2646 w 299749"/>
                    <a:gd name="connsiteY17" fmla="*/ 19301 h 298592"/>
                    <a:gd name="connsiteX18" fmla="*/ 2646 w 299749"/>
                    <a:gd name="connsiteY18" fmla="*/ 2930 h 298592"/>
                    <a:gd name="connsiteX19" fmla="*/ 19016 w 299749"/>
                    <a:gd name="connsiteY19" fmla="*/ 1938 h 298592"/>
                    <a:gd name="connsiteX20" fmla="*/ 35387 w 299749"/>
                    <a:gd name="connsiteY20" fmla="*/ 1938 h 298592"/>
                    <a:gd name="connsiteX21" fmla="*/ 51757 w 299749"/>
                    <a:gd name="connsiteY21" fmla="*/ 2930 h 298592"/>
                    <a:gd name="connsiteX22" fmla="*/ 68128 w 299749"/>
                    <a:gd name="connsiteY22" fmla="*/ 3426 h 298592"/>
                    <a:gd name="connsiteX23" fmla="*/ 84499 w 299749"/>
                    <a:gd name="connsiteY23" fmla="*/ 2930 h 298592"/>
                    <a:gd name="connsiteX24" fmla="*/ 100869 w 299749"/>
                    <a:gd name="connsiteY24" fmla="*/ 2930 h 298592"/>
                    <a:gd name="connsiteX25" fmla="*/ 117240 w 299749"/>
                    <a:gd name="connsiteY25" fmla="*/ 1938 h 298592"/>
                    <a:gd name="connsiteX26" fmla="*/ 133610 w 299749"/>
                    <a:gd name="connsiteY26" fmla="*/ 2930 h 298592"/>
                    <a:gd name="connsiteX27" fmla="*/ 149981 w 299749"/>
                    <a:gd name="connsiteY27" fmla="*/ 3426 h 298592"/>
                    <a:gd name="connsiteX28" fmla="*/ 166351 w 299749"/>
                    <a:gd name="connsiteY28" fmla="*/ 3922 h 298592"/>
                    <a:gd name="connsiteX29" fmla="*/ 182722 w 299749"/>
                    <a:gd name="connsiteY29" fmla="*/ 2930 h 298592"/>
                    <a:gd name="connsiteX30" fmla="*/ 199093 w 299749"/>
                    <a:gd name="connsiteY30" fmla="*/ 1938 h 298592"/>
                    <a:gd name="connsiteX31" fmla="*/ 215463 w 299749"/>
                    <a:gd name="connsiteY31" fmla="*/ 3426 h 298592"/>
                    <a:gd name="connsiteX32" fmla="*/ 231834 w 299749"/>
                    <a:gd name="connsiteY32" fmla="*/ 2434 h 298592"/>
                    <a:gd name="connsiteX33" fmla="*/ 248204 w 299749"/>
                    <a:gd name="connsiteY33" fmla="*/ 2930 h 298592"/>
                    <a:gd name="connsiteX34" fmla="*/ 264575 w 299749"/>
                    <a:gd name="connsiteY34" fmla="*/ 2434 h 298592"/>
                    <a:gd name="connsiteX35" fmla="*/ 280945 w 299749"/>
                    <a:gd name="connsiteY35" fmla="*/ 2434 h 298592"/>
                    <a:gd name="connsiteX36" fmla="*/ 296820 w 299749"/>
                    <a:gd name="connsiteY36" fmla="*/ 4418 h 298592"/>
                    <a:gd name="connsiteX37" fmla="*/ 297812 w 299749"/>
                    <a:gd name="connsiteY37" fmla="*/ 20293 h 298592"/>
                    <a:gd name="connsiteX38" fmla="*/ 297316 w 299749"/>
                    <a:gd name="connsiteY38" fmla="*/ 36663 h 298592"/>
                    <a:gd name="connsiteX39" fmla="*/ 298308 w 299749"/>
                    <a:gd name="connsiteY39" fmla="*/ 53034 h 298592"/>
                    <a:gd name="connsiteX40" fmla="*/ 297812 w 299749"/>
                    <a:gd name="connsiteY40" fmla="*/ 69405 h 298592"/>
                    <a:gd name="connsiteX41" fmla="*/ 298308 w 299749"/>
                    <a:gd name="connsiteY41" fmla="*/ 85775 h 298592"/>
                    <a:gd name="connsiteX42" fmla="*/ 299300 w 299749"/>
                    <a:gd name="connsiteY42" fmla="*/ 102146 h 298592"/>
                    <a:gd name="connsiteX43" fmla="*/ 298308 w 299749"/>
                    <a:gd name="connsiteY43" fmla="*/ 118516 h 298592"/>
                    <a:gd name="connsiteX44" fmla="*/ 298308 w 299749"/>
                    <a:gd name="connsiteY44" fmla="*/ 134887 h 298592"/>
                    <a:gd name="connsiteX45" fmla="*/ 299300 w 299749"/>
                    <a:gd name="connsiteY45" fmla="*/ 151257 h 298592"/>
                    <a:gd name="connsiteX46" fmla="*/ 296820 w 299749"/>
                    <a:gd name="connsiteY46" fmla="*/ 167628 h 298592"/>
                    <a:gd name="connsiteX47" fmla="*/ 297812 w 299749"/>
                    <a:gd name="connsiteY47" fmla="*/ 183998 h 298592"/>
                    <a:gd name="connsiteX48" fmla="*/ 297812 w 299749"/>
                    <a:gd name="connsiteY48" fmla="*/ 200369 h 298592"/>
                    <a:gd name="connsiteX49" fmla="*/ 298308 w 299749"/>
                    <a:gd name="connsiteY49" fmla="*/ 216739 h 298592"/>
                    <a:gd name="connsiteX50" fmla="*/ 298804 w 299749"/>
                    <a:gd name="connsiteY50" fmla="*/ 233110 h 298592"/>
                    <a:gd name="connsiteX51" fmla="*/ 298308 w 299749"/>
                    <a:gd name="connsiteY51" fmla="*/ 249481 h 298592"/>
                    <a:gd name="connsiteX52" fmla="*/ 297812 w 299749"/>
                    <a:gd name="connsiteY52" fmla="*/ 265851 h 298592"/>
                    <a:gd name="connsiteX53" fmla="*/ 298308 w 299749"/>
                    <a:gd name="connsiteY53" fmla="*/ 282222 h 298592"/>
                    <a:gd name="connsiteX54" fmla="*/ 297316 w 299749"/>
                    <a:gd name="connsiteY54" fmla="*/ 298592 h 298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299749" h="298592">
                      <a:moveTo>
                        <a:pt x="1654" y="297600"/>
                      </a:moveTo>
                      <a:cubicBezTo>
                        <a:pt x="1654" y="289167"/>
                        <a:pt x="3142" y="289167"/>
                        <a:pt x="3142" y="281230"/>
                      </a:cubicBezTo>
                      <a:cubicBezTo>
                        <a:pt x="3142" y="272797"/>
                        <a:pt x="3142" y="272797"/>
                        <a:pt x="3142" y="264859"/>
                      </a:cubicBezTo>
                      <a:cubicBezTo>
                        <a:pt x="3142" y="256426"/>
                        <a:pt x="2646" y="256426"/>
                        <a:pt x="2646" y="248489"/>
                      </a:cubicBezTo>
                      <a:cubicBezTo>
                        <a:pt x="2646" y="240055"/>
                        <a:pt x="2646" y="240055"/>
                        <a:pt x="2646" y="232118"/>
                      </a:cubicBezTo>
                      <a:cubicBezTo>
                        <a:pt x="2646" y="223685"/>
                        <a:pt x="3142" y="223685"/>
                        <a:pt x="3142" y="215748"/>
                      </a:cubicBezTo>
                      <a:cubicBezTo>
                        <a:pt x="3142" y="207314"/>
                        <a:pt x="2646" y="207314"/>
                        <a:pt x="2646" y="199377"/>
                      </a:cubicBezTo>
                      <a:cubicBezTo>
                        <a:pt x="2646" y="190944"/>
                        <a:pt x="1654" y="190944"/>
                        <a:pt x="1654" y="183006"/>
                      </a:cubicBezTo>
                      <a:cubicBezTo>
                        <a:pt x="1654" y="174573"/>
                        <a:pt x="1654" y="174573"/>
                        <a:pt x="1654" y="166636"/>
                      </a:cubicBezTo>
                      <a:cubicBezTo>
                        <a:pt x="1654" y="158202"/>
                        <a:pt x="3638" y="158202"/>
                        <a:pt x="3638" y="150265"/>
                      </a:cubicBezTo>
                      <a:cubicBezTo>
                        <a:pt x="3638" y="141832"/>
                        <a:pt x="2150" y="141832"/>
                        <a:pt x="2150" y="133895"/>
                      </a:cubicBezTo>
                      <a:cubicBezTo>
                        <a:pt x="2150" y="125461"/>
                        <a:pt x="3638" y="125461"/>
                        <a:pt x="3638" y="117524"/>
                      </a:cubicBezTo>
                      <a:cubicBezTo>
                        <a:pt x="3638" y="109091"/>
                        <a:pt x="1654" y="109091"/>
                        <a:pt x="1654" y="101153"/>
                      </a:cubicBezTo>
                      <a:cubicBezTo>
                        <a:pt x="1654" y="92720"/>
                        <a:pt x="2646" y="92720"/>
                        <a:pt x="2646" y="84783"/>
                      </a:cubicBezTo>
                      <a:cubicBezTo>
                        <a:pt x="2646" y="76349"/>
                        <a:pt x="3142" y="76349"/>
                        <a:pt x="3142" y="68412"/>
                      </a:cubicBezTo>
                      <a:cubicBezTo>
                        <a:pt x="3142" y="59979"/>
                        <a:pt x="1654" y="59979"/>
                        <a:pt x="1654" y="52042"/>
                      </a:cubicBezTo>
                      <a:cubicBezTo>
                        <a:pt x="1654" y="43608"/>
                        <a:pt x="3142" y="43608"/>
                        <a:pt x="3142" y="35671"/>
                      </a:cubicBezTo>
                      <a:cubicBezTo>
                        <a:pt x="3142" y="27238"/>
                        <a:pt x="2646" y="27238"/>
                        <a:pt x="2646" y="19301"/>
                      </a:cubicBezTo>
                      <a:cubicBezTo>
                        <a:pt x="2646" y="11363"/>
                        <a:pt x="-3307" y="8387"/>
                        <a:pt x="2646" y="2930"/>
                      </a:cubicBezTo>
                      <a:cubicBezTo>
                        <a:pt x="8598" y="-3023"/>
                        <a:pt x="11079" y="1938"/>
                        <a:pt x="19016" y="1938"/>
                      </a:cubicBezTo>
                      <a:cubicBezTo>
                        <a:pt x="26953" y="1938"/>
                        <a:pt x="26953" y="1938"/>
                        <a:pt x="35387" y="1938"/>
                      </a:cubicBezTo>
                      <a:cubicBezTo>
                        <a:pt x="43324" y="1938"/>
                        <a:pt x="43324" y="2930"/>
                        <a:pt x="51757" y="2930"/>
                      </a:cubicBezTo>
                      <a:cubicBezTo>
                        <a:pt x="60191" y="2930"/>
                        <a:pt x="60191" y="3426"/>
                        <a:pt x="68128" y="3426"/>
                      </a:cubicBezTo>
                      <a:cubicBezTo>
                        <a:pt x="76065" y="3426"/>
                        <a:pt x="76065" y="2930"/>
                        <a:pt x="84499" y="2930"/>
                      </a:cubicBezTo>
                      <a:cubicBezTo>
                        <a:pt x="92932" y="2930"/>
                        <a:pt x="92932" y="2930"/>
                        <a:pt x="100869" y="2930"/>
                      </a:cubicBezTo>
                      <a:cubicBezTo>
                        <a:pt x="108806" y="2930"/>
                        <a:pt x="108806" y="1938"/>
                        <a:pt x="117240" y="1938"/>
                      </a:cubicBezTo>
                      <a:cubicBezTo>
                        <a:pt x="125673" y="1938"/>
                        <a:pt x="125673" y="2930"/>
                        <a:pt x="133610" y="2930"/>
                      </a:cubicBezTo>
                      <a:cubicBezTo>
                        <a:pt x="142044" y="2930"/>
                        <a:pt x="142044" y="3426"/>
                        <a:pt x="149981" y="3426"/>
                      </a:cubicBezTo>
                      <a:cubicBezTo>
                        <a:pt x="158414" y="3426"/>
                        <a:pt x="158414" y="3922"/>
                        <a:pt x="166351" y="3922"/>
                      </a:cubicBezTo>
                      <a:cubicBezTo>
                        <a:pt x="174785" y="3922"/>
                        <a:pt x="174785" y="2930"/>
                        <a:pt x="182722" y="2930"/>
                      </a:cubicBezTo>
                      <a:cubicBezTo>
                        <a:pt x="191155" y="2930"/>
                        <a:pt x="191155" y="1938"/>
                        <a:pt x="199093" y="1938"/>
                      </a:cubicBezTo>
                      <a:cubicBezTo>
                        <a:pt x="207526" y="1938"/>
                        <a:pt x="207526" y="3426"/>
                        <a:pt x="215463" y="3426"/>
                      </a:cubicBezTo>
                      <a:cubicBezTo>
                        <a:pt x="223896" y="3426"/>
                        <a:pt x="223896" y="2434"/>
                        <a:pt x="231834" y="2434"/>
                      </a:cubicBezTo>
                      <a:cubicBezTo>
                        <a:pt x="240267" y="2434"/>
                        <a:pt x="240267" y="2930"/>
                        <a:pt x="248204" y="2930"/>
                      </a:cubicBezTo>
                      <a:cubicBezTo>
                        <a:pt x="256637" y="2930"/>
                        <a:pt x="256637" y="2434"/>
                        <a:pt x="264575" y="2434"/>
                      </a:cubicBezTo>
                      <a:cubicBezTo>
                        <a:pt x="273008" y="2434"/>
                        <a:pt x="273008" y="2434"/>
                        <a:pt x="280945" y="2434"/>
                      </a:cubicBezTo>
                      <a:cubicBezTo>
                        <a:pt x="288883" y="2434"/>
                        <a:pt x="290867" y="-1535"/>
                        <a:pt x="296820" y="4418"/>
                      </a:cubicBezTo>
                      <a:cubicBezTo>
                        <a:pt x="302773" y="10371"/>
                        <a:pt x="297812" y="11859"/>
                        <a:pt x="297812" y="20293"/>
                      </a:cubicBezTo>
                      <a:cubicBezTo>
                        <a:pt x="297812" y="28726"/>
                        <a:pt x="297316" y="28726"/>
                        <a:pt x="297316" y="36663"/>
                      </a:cubicBezTo>
                      <a:cubicBezTo>
                        <a:pt x="297316" y="45097"/>
                        <a:pt x="298308" y="45097"/>
                        <a:pt x="298308" y="53034"/>
                      </a:cubicBezTo>
                      <a:cubicBezTo>
                        <a:pt x="298308" y="61467"/>
                        <a:pt x="297812" y="61467"/>
                        <a:pt x="297812" y="69405"/>
                      </a:cubicBezTo>
                      <a:cubicBezTo>
                        <a:pt x="297812" y="77838"/>
                        <a:pt x="298308" y="77838"/>
                        <a:pt x="298308" y="85775"/>
                      </a:cubicBezTo>
                      <a:cubicBezTo>
                        <a:pt x="298308" y="94208"/>
                        <a:pt x="299300" y="94208"/>
                        <a:pt x="299300" y="102146"/>
                      </a:cubicBezTo>
                      <a:cubicBezTo>
                        <a:pt x="299300" y="110579"/>
                        <a:pt x="298308" y="110579"/>
                        <a:pt x="298308" y="118516"/>
                      </a:cubicBezTo>
                      <a:cubicBezTo>
                        <a:pt x="298308" y="126949"/>
                        <a:pt x="298308" y="126949"/>
                        <a:pt x="298308" y="134887"/>
                      </a:cubicBezTo>
                      <a:cubicBezTo>
                        <a:pt x="298308" y="143320"/>
                        <a:pt x="299300" y="143320"/>
                        <a:pt x="299300" y="151257"/>
                      </a:cubicBezTo>
                      <a:cubicBezTo>
                        <a:pt x="299300" y="159691"/>
                        <a:pt x="296820" y="159691"/>
                        <a:pt x="296820" y="167628"/>
                      </a:cubicBezTo>
                      <a:cubicBezTo>
                        <a:pt x="296820" y="176061"/>
                        <a:pt x="297812" y="176061"/>
                        <a:pt x="297812" y="183998"/>
                      </a:cubicBezTo>
                      <a:cubicBezTo>
                        <a:pt x="297812" y="192432"/>
                        <a:pt x="297812" y="192432"/>
                        <a:pt x="297812" y="200369"/>
                      </a:cubicBezTo>
                      <a:cubicBezTo>
                        <a:pt x="297812" y="208802"/>
                        <a:pt x="298308" y="208802"/>
                        <a:pt x="298308" y="216739"/>
                      </a:cubicBezTo>
                      <a:cubicBezTo>
                        <a:pt x="298308" y="225173"/>
                        <a:pt x="298804" y="225173"/>
                        <a:pt x="298804" y="233110"/>
                      </a:cubicBezTo>
                      <a:cubicBezTo>
                        <a:pt x="298804" y="241543"/>
                        <a:pt x="298308" y="241543"/>
                        <a:pt x="298308" y="249481"/>
                      </a:cubicBezTo>
                      <a:cubicBezTo>
                        <a:pt x="298308" y="257914"/>
                        <a:pt x="297812" y="257914"/>
                        <a:pt x="297812" y="265851"/>
                      </a:cubicBezTo>
                      <a:cubicBezTo>
                        <a:pt x="297812" y="274285"/>
                        <a:pt x="298308" y="274285"/>
                        <a:pt x="298308" y="282222"/>
                      </a:cubicBezTo>
                      <a:cubicBezTo>
                        <a:pt x="298308" y="290159"/>
                        <a:pt x="297316" y="290655"/>
                        <a:pt x="297316" y="298592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sp>
            <p:nvSpPr>
              <p:cNvPr id="1676" name="Freeform: Shape 1675">
                <a:extLst>
                  <a:ext uri="{FF2B5EF4-FFF2-40B4-BE49-F238E27FC236}">
                    <a16:creationId xmlns:a16="http://schemas.microsoft.com/office/drawing/2014/main" id="{F0E03998-9F07-C41B-A97B-00A8386AB952}"/>
                  </a:ext>
                </a:extLst>
              </p:cNvPr>
              <p:cNvSpPr/>
              <p:nvPr/>
            </p:nvSpPr>
            <p:spPr>
              <a:xfrm>
                <a:off x="5164041" y="2495271"/>
                <a:ext cx="2480" cy="294670"/>
              </a:xfrm>
              <a:custGeom>
                <a:avLst/>
                <a:gdLst>
                  <a:gd name="connsiteX0" fmla="*/ 496 w 2480"/>
                  <a:gd name="connsiteY0" fmla="*/ 294670 h 294670"/>
                  <a:gd name="connsiteX1" fmla="*/ 2480 w 2480"/>
                  <a:gd name="connsiteY1" fmla="*/ 278300 h 294670"/>
                  <a:gd name="connsiteX2" fmla="*/ 496 w 2480"/>
                  <a:gd name="connsiteY2" fmla="*/ 261929 h 294670"/>
                  <a:gd name="connsiteX3" fmla="*/ 0 w 2480"/>
                  <a:gd name="connsiteY3" fmla="*/ 245559 h 294670"/>
                  <a:gd name="connsiteX4" fmla="*/ 0 w 2480"/>
                  <a:gd name="connsiteY4" fmla="*/ 229188 h 294670"/>
                  <a:gd name="connsiteX5" fmla="*/ 496 w 2480"/>
                  <a:gd name="connsiteY5" fmla="*/ 212818 h 294670"/>
                  <a:gd name="connsiteX6" fmla="*/ 1488 w 2480"/>
                  <a:gd name="connsiteY6" fmla="*/ 196447 h 294670"/>
                  <a:gd name="connsiteX7" fmla="*/ 2480 w 2480"/>
                  <a:gd name="connsiteY7" fmla="*/ 180076 h 294670"/>
                  <a:gd name="connsiteX8" fmla="*/ 1488 w 2480"/>
                  <a:gd name="connsiteY8" fmla="*/ 163706 h 294670"/>
                  <a:gd name="connsiteX9" fmla="*/ 992 w 2480"/>
                  <a:gd name="connsiteY9" fmla="*/ 147335 h 294670"/>
                  <a:gd name="connsiteX10" fmla="*/ 1984 w 2480"/>
                  <a:gd name="connsiteY10" fmla="*/ 130965 h 294670"/>
                  <a:gd name="connsiteX11" fmla="*/ 2480 w 2480"/>
                  <a:gd name="connsiteY11" fmla="*/ 114594 h 294670"/>
                  <a:gd name="connsiteX12" fmla="*/ 2480 w 2480"/>
                  <a:gd name="connsiteY12" fmla="*/ 98223 h 294670"/>
                  <a:gd name="connsiteX13" fmla="*/ 496 w 2480"/>
                  <a:gd name="connsiteY13" fmla="*/ 81853 h 294670"/>
                  <a:gd name="connsiteX14" fmla="*/ 1984 w 2480"/>
                  <a:gd name="connsiteY14" fmla="*/ 65482 h 294670"/>
                  <a:gd name="connsiteX15" fmla="*/ 496 w 2480"/>
                  <a:gd name="connsiteY15" fmla="*/ 49112 h 294670"/>
                  <a:gd name="connsiteX16" fmla="*/ 992 w 2480"/>
                  <a:gd name="connsiteY16" fmla="*/ 32741 h 294670"/>
                  <a:gd name="connsiteX17" fmla="*/ 0 w 2480"/>
                  <a:gd name="connsiteY17" fmla="*/ 16371 h 294670"/>
                  <a:gd name="connsiteX18" fmla="*/ 0 w 2480"/>
                  <a:gd name="connsiteY18" fmla="*/ 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80" h="294670">
                    <a:moveTo>
                      <a:pt x="496" y="294670"/>
                    </a:moveTo>
                    <a:cubicBezTo>
                      <a:pt x="496" y="286237"/>
                      <a:pt x="2480" y="286237"/>
                      <a:pt x="2480" y="278300"/>
                    </a:cubicBezTo>
                    <a:cubicBezTo>
                      <a:pt x="2480" y="269867"/>
                      <a:pt x="496" y="269867"/>
                      <a:pt x="496" y="261929"/>
                    </a:cubicBezTo>
                    <a:cubicBezTo>
                      <a:pt x="496" y="253496"/>
                      <a:pt x="0" y="253496"/>
                      <a:pt x="0" y="245559"/>
                    </a:cubicBezTo>
                    <a:cubicBezTo>
                      <a:pt x="0" y="237125"/>
                      <a:pt x="0" y="237125"/>
                      <a:pt x="0" y="229188"/>
                    </a:cubicBezTo>
                    <a:cubicBezTo>
                      <a:pt x="0" y="220755"/>
                      <a:pt x="496" y="220755"/>
                      <a:pt x="496" y="212818"/>
                    </a:cubicBezTo>
                    <a:cubicBezTo>
                      <a:pt x="496" y="204384"/>
                      <a:pt x="1488" y="204384"/>
                      <a:pt x="1488" y="196447"/>
                    </a:cubicBezTo>
                    <a:cubicBezTo>
                      <a:pt x="1488" y="188014"/>
                      <a:pt x="2480" y="188014"/>
                      <a:pt x="2480" y="180076"/>
                    </a:cubicBezTo>
                    <a:cubicBezTo>
                      <a:pt x="2480" y="171643"/>
                      <a:pt x="1488" y="171643"/>
                      <a:pt x="1488" y="163706"/>
                    </a:cubicBezTo>
                    <a:cubicBezTo>
                      <a:pt x="1488" y="155272"/>
                      <a:pt x="992" y="155272"/>
                      <a:pt x="992" y="147335"/>
                    </a:cubicBezTo>
                    <a:cubicBezTo>
                      <a:pt x="992" y="138902"/>
                      <a:pt x="1984" y="138902"/>
                      <a:pt x="1984" y="130965"/>
                    </a:cubicBezTo>
                    <a:cubicBezTo>
                      <a:pt x="1984" y="122531"/>
                      <a:pt x="2480" y="122531"/>
                      <a:pt x="2480" y="114594"/>
                    </a:cubicBezTo>
                    <a:cubicBezTo>
                      <a:pt x="2480" y="106161"/>
                      <a:pt x="2480" y="106161"/>
                      <a:pt x="2480" y="98223"/>
                    </a:cubicBezTo>
                    <a:cubicBezTo>
                      <a:pt x="2480" y="89790"/>
                      <a:pt x="496" y="89790"/>
                      <a:pt x="496" y="81853"/>
                    </a:cubicBezTo>
                    <a:cubicBezTo>
                      <a:pt x="496" y="73419"/>
                      <a:pt x="1984" y="73419"/>
                      <a:pt x="1984" y="65482"/>
                    </a:cubicBezTo>
                    <a:cubicBezTo>
                      <a:pt x="1984" y="57049"/>
                      <a:pt x="496" y="57049"/>
                      <a:pt x="496" y="49112"/>
                    </a:cubicBezTo>
                    <a:cubicBezTo>
                      <a:pt x="496" y="40678"/>
                      <a:pt x="992" y="40678"/>
                      <a:pt x="992" y="32741"/>
                    </a:cubicBezTo>
                    <a:cubicBezTo>
                      <a:pt x="992" y="24308"/>
                      <a:pt x="0" y="24308"/>
                      <a:pt x="0" y="16371"/>
                    </a:cubicBezTo>
                    <a:cubicBezTo>
                      <a:pt x="0" y="8433"/>
                      <a:pt x="0" y="7937"/>
                      <a:pt x="0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77" name="Freeform: Shape 1676">
                <a:extLst>
                  <a:ext uri="{FF2B5EF4-FFF2-40B4-BE49-F238E27FC236}">
                    <a16:creationId xmlns:a16="http://schemas.microsoft.com/office/drawing/2014/main" id="{D95F7408-3E60-ECA9-D9ED-62452B9562CA}"/>
                  </a:ext>
                </a:extLst>
              </p:cNvPr>
              <p:cNvSpPr/>
              <p:nvPr/>
            </p:nvSpPr>
            <p:spPr>
              <a:xfrm>
                <a:off x="5209680" y="2493287"/>
                <a:ext cx="1488" cy="294670"/>
              </a:xfrm>
              <a:custGeom>
                <a:avLst/>
                <a:gdLst>
                  <a:gd name="connsiteX0" fmla="*/ 496 w 1488"/>
                  <a:gd name="connsiteY0" fmla="*/ 0 h 294670"/>
                  <a:gd name="connsiteX1" fmla="*/ 0 w 1488"/>
                  <a:gd name="connsiteY1" fmla="*/ 16371 h 294670"/>
                  <a:gd name="connsiteX2" fmla="*/ 992 w 1488"/>
                  <a:gd name="connsiteY2" fmla="*/ 32741 h 294670"/>
                  <a:gd name="connsiteX3" fmla="*/ 992 w 1488"/>
                  <a:gd name="connsiteY3" fmla="*/ 49112 h 294670"/>
                  <a:gd name="connsiteX4" fmla="*/ 0 w 1488"/>
                  <a:gd name="connsiteY4" fmla="*/ 65482 h 294670"/>
                  <a:gd name="connsiteX5" fmla="*/ 0 w 1488"/>
                  <a:gd name="connsiteY5" fmla="*/ 81853 h 294670"/>
                  <a:gd name="connsiteX6" fmla="*/ 0 w 1488"/>
                  <a:gd name="connsiteY6" fmla="*/ 98224 h 294670"/>
                  <a:gd name="connsiteX7" fmla="*/ 496 w 1488"/>
                  <a:gd name="connsiteY7" fmla="*/ 114594 h 294670"/>
                  <a:gd name="connsiteX8" fmla="*/ 0 w 1488"/>
                  <a:gd name="connsiteY8" fmla="*/ 130965 h 294670"/>
                  <a:gd name="connsiteX9" fmla="*/ 0 w 1488"/>
                  <a:gd name="connsiteY9" fmla="*/ 147335 h 294670"/>
                  <a:gd name="connsiteX10" fmla="*/ 992 w 1488"/>
                  <a:gd name="connsiteY10" fmla="*/ 163706 h 294670"/>
                  <a:gd name="connsiteX11" fmla="*/ 0 w 1488"/>
                  <a:gd name="connsiteY11" fmla="*/ 180076 h 294670"/>
                  <a:gd name="connsiteX12" fmla="*/ 1488 w 1488"/>
                  <a:gd name="connsiteY12" fmla="*/ 196447 h 294670"/>
                  <a:gd name="connsiteX13" fmla="*/ 1488 w 1488"/>
                  <a:gd name="connsiteY13" fmla="*/ 212817 h 294670"/>
                  <a:gd name="connsiteX14" fmla="*/ 992 w 1488"/>
                  <a:gd name="connsiteY14" fmla="*/ 229188 h 294670"/>
                  <a:gd name="connsiteX15" fmla="*/ 992 w 1488"/>
                  <a:gd name="connsiteY15" fmla="*/ 245558 h 294670"/>
                  <a:gd name="connsiteX16" fmla="*/ 496 w 1488"/>
                  <a:gd name="connsiteY16" fmla="*/ 261929 h 294670"/>
                  <a:gd name="connsiteX17" fmla="*/ 496 w 1488"/>
                  <a:gd name="connsiteY17" fmla="*/ 278300 h 294670"/>
                  <a:gd name="connsiteX18" fmla="*/ 0 w 1488"/>
                  <a:gd name="connsiteY18" fmla="*/ 29467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88" h="294670">
                    <a:moveTo>
                      <a:pt x="496" y="0"/>
                    </a:moveTo>
                    <a:cubicBezTo>
                      <a:pt x="496" y="8433"/>
                      <a:pt x="0" y="8433"/>
                      <a:pt x="0" y="16371"/>
                    </a:cubicBezTo>
                    <a:cubicBezTo>
                      <a:pt x="0" y="24804"/>
                      <a:pt x="992" y="24804"/>
                      <a:pt x="992" y="32741"/>
                    </a:cubicBezTo>
                    <a:cubicBezTo>
                      <a:pt x="992" y="41174"/>
                      <a:pt x="992" y="41174"/>
                      <a:pt x="992" y="49112"/>
                    </a:cubicBezTo>
                    <a:cubicBezTo>
                      <a:pt x="992" y="57545"/>
                      <a:pt x="0" y="57545"/>
                      <a:pt x="0" y="65482"/>
                    </a:cubicBezTo>
                    <a:cubicBezTo>
                      <a:pt x="0" y="73916"/>
                      <a:pt x="0" y="73916"/>
                      <a:pt x="0" y="81853"/>
                    </a:cubicBezTo>
                    <a:cubicBezTo>
                      <a:pt x="0" y="90286"/>
                      <a:pt x="0" y="90286"/>
                      <a:pt x="0" y="98224"/>
                    </a:cubicBezTo>
                    <a:cubicBezTo>
                      <a:pt x="0" y="106657"/>
                      <a:pt x="496" y="106657"/>
                      <a:pt x="496" y="114594"/>
                    </a:cubicBezTo>
                    <a:cubicBezTo>
                      <a:pt x="496" y="123027"/>
                      <a:pt x="0" y="123027"/>
                      <a:pt x="0" y="130965"/>
                    </a:cubicBezTo>
                    <a:cubicBezTo>
                      <a:pt x="0" y="139398"/>
                      <a:pt x="0" y="139398"/>
                      <a:pt x="0" y="147335"/>
                    </a:cubicBezTo>
                    <a:cubicBezTo>
                      <a:pt x="0" y="155768"/>
                      <a:pt x="992" y="155768"/>
                      <a:pt x="992" y="163706"/>
                    </a:cubicBezTo>
                    <a:cubicBezTo>
                      <a:pt x="992" y="172139"/>
                      <a:pt x="0" y="172139"/>
                      <a:pt x="0" y="180076"/>
                    </a:cubicBezTo>
                    <a:cubicBezTo>
                      <a:pt x="0" y="188509"/>
                      <a:pt x="1488" y="188509"/>
                      <a:pt x="1488" y="196447"/>
                    </a:cubicBezTo>
                    <a:cubicBezTo>
                      <a:pt x="1488" y="204880"/>
                      <a:pt x="1488" y="204880"/>
                      <a:pt x="1488" y="212817"/>
                    </a:cubicBezTo>
                    <a:cubicBezTo>
                      <a:pt x="1488" y="221251"/>
                      <a:pt x="992" y="221251"/>
                      <a:pt x="992" y="229188"/>
                    </a:cubicBezTo>
                    <a:cubicBezTo>
                      <a:pt x="992" y="237621"/>
                      <a:pt x="992" y="237621"/>
                      <a:pt x="992" y="245558"/>
                    </a:cubicBezTo>
                    <a:cubicBezTo>
                      <a:pt x="992" y="253992"/>
                      <a:pt x="496" y="253992"/>
                      <a:pt x="496" y="261929"/>
                    </a:cubicBezTo>
                    <a:cubicBezTo>
                      <a:pt x="496" y="270362"/>
                      <a:pt x="496" y="270362"/>
                      <a:pt x="496" y="278300"/>
                    </a:cubicBezTo>
                    <a:cubicBezTo>
                      <a:pt x="496" y="286237"/>
                      <a:pt x="0" y="286733"/>
                      <a:pt x="0" y="29467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9" name="Graphic 10">
              <a:extLst>
                <a:ext uri="{FF2B5EF4-FFF2-40B4-BE49-F238E27FC236}">
                  <a16:creationId xmlns:a16="http://schemas.microsoft.com/office/drawing/2014/main" id="{D4DCB1D5-4228-3718-F67B-7C312523E27A}"/>
                </a:ext>
              </a:extLst>
            </p:cNvPr>
            <p:cNvGrpSpPr/>
            <p:nvPr/>
          </p:nvGrpSpPr>
          <p:grpSpPr>
            <a:xfrm>
              <a:off x="4947255" y="2788453"/>
              <a:ext cx="481195" cy="230676"/>
              <a:chOff x="4947255" y="2788453"/>
              <a:chExt cx="481195" cy="230676"/>
            </a:xfrm>
            <a:noFill/>
          </p:grpSpPr>
          <p:sp>
            <p:nvSpPr>
              <p:cNvPr id="1652" name="Freeform: Shape 1651">
                <a:extLst>
                  <a:ext uri="{FF2B5EF4-FFF2-40B4-BE49-F238E27FC236}">
                    <a16:creationId xmlns:a16="http://schemas.microsoft.com/office/drawing/2014/main" id="{C1D457F1-FB73-A0DA-99E4-353E815AF6F0}"/>
                  </a:ext>
                </a:extLst>
              </p:cNvPr>
              <p:cNvSpPr/>
              <p:nvPr/>
            </p:nvSpPr>
            <p:spPr>
              <a:xfrm>
                <a:off x="4958279" y="2980263"/>
                <a:ext cx="464095" cy="38866"/>
              </a:xfrm>
              <a:custGeom>
                <a:avLst/>
                <a:gdLst>
                  <a:gd name="connsiteX0" fmla="*/ 447351 w 464095"/>
                  <a:gd name="connsiteY0" fmla="*/ 36882 h 38866"/>
                  <a:gd name="connsiteX1" fmla="*/ 453304 w 464095"/>
                  <a:gd name="connsiteY1" fmla="*/ 24480 h 38866"/>
                  <a:gd name="connsiteX2" fmla="*/ 461738 w 464095"/>
                  <a:gd name="connsiteY2" fmla="*/ 13566 h 38866"/>
                  <a:gd name="connsiteX3" fmla="*/ 461738 w 464095"/>
                  <a:gd name="connsiteY3" fmla="*/ 1660 h 38866"/>
                  <a:gd name="connsiteX4" fmla="*/ 444871 w 464095"/>
                  <a:gd name="connsiteY4" fmla="*/ 3149 h 38866"/>
                  <a:gd name="connsiteX5" fmla="*/ 428500 w 464095"/>
                  <a:gd name="connsiteY5" fmla="*/ 3645 h 38866"/>
                  <a:gd name="connsiteX6" fmla="*/ 412130 w 464095"/>
                  <a:gd name="connsiteY6" fmla="*/ 3645 h 38866"/>
                  <a:gd name="connsiteX7" fmla="*/ 395759 w 464095"/>
                  <a:gd name="connsiteY7" fmla="*/ 2653 h 38866"/>
                  <a:gd name="connsiteX8" fmla="*/ 379389 w 464095"/>
                  <a:gd name="connsiteY8" fmla="*/ 3645 h 38866"/>
                  <a:gd name="connsiteX9" fmla="*/ 363018 w 464095"/>
                  <a:gd name="connsiteY9" fmla="*/ 2653 h 38866"/>
                  <a:gd name="connsiteX10" fmla="*/ 346648 w 464095"/>
                  <a:gd name="connsiteY10" fmla="*/ 3645 h 38866"/>
                  <a:gd name="connsiteX11" fmla="*/ 330277 w 464095"/>
                  <a:gd name="connsiteY11" fmla="*/ 2157 h 38866"/>
                  <a:gd name="connsiteX12" fmla="*/ 313906 w 464095"/>
                  <a:gd name="connsiteY12" fmla="*/ 2157 h 38866"/>
                  <a:gd name="connsiteX13" fmla="*/ 297536 w 464095"/>
                  <a:gd name="connsiteY13" fmla="*/ 3645 h 38866"/>
                  <a:gd name="connsiteX14" fmla="*/ 281165 w 464095"/>
                  <a:gd name="connsiteY14" fmla="*/ 2653 h 38866"/>
                  <a:gd name="connsiteX15" fmla="*/ 264795 w 464095"/>
                  <a:gd name="connsiteY15" fmla="*/ 3645 h 38866"/>
                  <a:gd name="connsiteX16" fmla="*/ 248424 w 464095"/>
                  <a:gd name="connsiteY16" fmla="*/ 2653 h 38866"/>
                  <a:gd name="connsiteX17" fmla="*/ 232053 w 464095"/>
                  <a:gd name="connsiteY17" fmla="*/ 3149 h 38866"/>
                  <a:gd name="connsiteX18" fmla="*/ 215683 w 464095"/>
                  <a:gd name="connsiteY18" fmla="*/ 3149 h 38866"/>
                  <a:gd name="connsiteX19" fmla="*/ 199312 w 464095"/>
                  <a:gd name="connsiteY19" fmla="*/ 3149 h 38866"/>
                  <a:gd name="connsiteX20" fmla="*/ 182942 w 464095"/>
                  <a:gd name="connsiteY20" fmla="*/ 4637 h 38866"/>
                  <a:gd name="connsiteX21" fmla="*/ 166571 w 464095"/>
                  <a:gd name="connsiteY21" fmla="*/ 4637 h 38866"/>
                  <a:gd name="connsiteX22" fmla="*/ 150201 w 464095"/>
                  <a:gd name="connsiteY22" fmla="*/ 4141 h 38866"/>
                  <a:gd name="connsiteX23" fmla="*/ 133830 w 464095"/>
                  <a:gd name="connsiteY23" fmla="*/ 3149 h 38866"/>
                  <a:gd name="connsiteX24" fmla="*/ 117460 w 464095"/>
                  <a:gd name="connsiteY24" fmla="*/ 2653 h 38866"/>
                  <a:gd name="connsiteX25" fmla="*/ 101089 w 464095"/>
                  <a:gd name="connsiteY25" fmla="*/ 2653 h 38866"/>
                  <a:gd name="connsiteX26" fmla="*/ 84719 w 464095"/>
                  <a:gd name="connsiteY26" fmla="*/ 2653 h 38866"/>
                  <a:gd name="connsiteX27" fmla="*/ 68348 w 464095"/>
                  <a:gd name="connsiteY27" fmla="*/ 3645 h 38866"/>
                  <a:gd name="connsiteX28" fmla="*/ 51977 w 464095"/>
                  <a:gd name="connsiteY28" fmla="*/ 4141 h 38866"/>
                  <a:gd name="connsiteX29" fmla="*/ 35607 w 464095"/>
                  <a:gd name="connsiteY29" fmla="*/ 3149 h 38866"/>
                  <a:gd name="connsiteX30" fmla="*/ 19236 w 464095"/>
                  <a:gd name="connsiteY30" fmla="*/ 2653 h 38866"/>
                  <a:gd name="connsiteX31" fmla="*/ 2866 w 464095"/>
                  <a:gd name="connsiteY31" fmla="*/ 3645 h 38866"/>
                  <a:gd name="connsiteX32" fmla="*/ 2369 w 464095"/>
                  <a:gd name="connsiteY32" fmla="*/ 14062 h 38866"/>
                  <a:gd name="connsiteX33" fmla="*/ 12787 w 464095"/>
                  <a:gd name="connsiteY33" fmla="*/ 25472 h 38866"/>
                  <a:gd name="connsiteX34" fmla="*/ 22709 w 464095"/>
                  <a:gd name="connsiteY34" fmla="*/ 36882 h 38866"/>
                  <a:gd name="connsiteX35" fmla="*/ 38087 w 464095"/>
                  <a:gd name="connsiteY35" fmla="*/ 37874 h 38866"/>
                  <a:gd name="connsiteX36" fmla="*/ 53465 w 464095"/>
                  <a:gd name="connsiteY36" fmla="*/ 36882 h 38866"/>
                  <a:gd name="connsiteX37" fmla="*/ 68844 w 464095"/>
                  <a:gd name="connsiteY37" fmla="*/ 38866 h 38866"/>
                  <a:gd name="connsiteX38" fmla="*/ 84222 w 464095"/>
                  <a:gd name="connsiteY38" fmla="*/ 37874 h 38866"/>
                  <a:gd name="connsiteX39" fmla="*/ 99601 w 464095"/>
                  <a:gd name="connsiteY39" fmla="*/ 37378 h 38866"/>
                  <a:gd name="connsiteX40" fmla="*/ 114979 w 464095"/>
                  <a:gd name="connsiteY40" fmla="*/ 38866 h 38866"/>
                  <a:gd name="connsiteX41" fmla="*/ 130357 w 464095"/>
                  <a:gd name="connsiteY41" fmla="*/ 36882 h 38866"/>
                  <a:gd name="connsiteX42" fmla="*/ 145736 w 464095"/>
                  <a:gd name="connsiteY42" fmla="*/ 38866 h 38866"/>
                  <a:gd name="connsiteX43" fmla="*/ 161114 w 464095"/>
                  <a:gd name="connsiteY43" fmla="*/ 38866 h 3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64095" h="38866">
                    <a:moveTo>
                      <a:pt x="447351" y="36882"/>
                    </a:moveTo>
                    <a:cubicBezTo>
                      <a:pt x="450824" y="30929"/>
                      <a:pt x="449832" y="30433"/>
                      <a:pt x="453304" y="24480"/>
                    </a:cubicBezTo>
                    <a:cubicBezTo>
                      <a:pt x="456777" y="18527"/>
                      <a:pt x="459753" y="20015"/>
                      <a:pt x="461738" y="13566"/>
                    </a:cubicBezTo>
                    <a:cubicBezTo>
                      <a:pt x="463226" y="8110"/>
                      <a:pt x="466202" y="5133"/>
                      <a:pt x="461738" y="1660"/>
                    </a:cubicBezTo>
                    <a:cubicBezTo>
                      <a:pt x="454793" y="-2804"/>
                      <a:pt x="453304" y="3149"/>
                      <a:pt x="444871" y="3149"/>
                    </a:cubicBezTo>
                    <a:cubicBezTo>
                      <a:pt x="436438" y="3149"/>
                      <a:pt x="436438" y="3645"/>
                      <a:pt x="428500" y="3645"/>
                    </a:cubicBezTo>
                    <a:cubicBezTo>
                      <a:pt x="420067" y="3645"/>
                      <a:pt x="420067" y="3645"/>
                      <a:pt x="412130" y="3645"/>
                    </a:cubicBezTo>
                    <a:cubicBezTo>
                      <a:pt x="403697" y="3645"/>
                      <a:pt x="403697" y="2653"/>
                      <a:pt x="395759" y="2653"/>
                    </a:cubicBezTo>
                    <a:cubicBezTo>
                      <a:pt x="387326" y="2653"/>
                      <a:pt x="387326" y="3645"/>
                      <a:pt x="379389" y="3645"/>
                    </a:cubicBezTo>
                    <a:cubicBezTo>
                      <a:pt x="370955" y="3645"/>
                      <a:pt x="370955" y="2653"/>
                      <a:pt x="363018" y="2653"/>
                    </a:cubicBezTo>
                    <a:cubicBezTo>
                      <a:pt x="354585" y="2653"/>
                      <a:pt x="354585" y="3645"/>
                      <a:pt x="346648" y="3645"/>
                    </a:cubicBezTo>
                    <a:cubicBezTo>
                      <a:pt x="338214" y="3645"/>
                      <a:pt x="338214" y="2157"/>
                      <a:pt x="330277" y="2157"/>
                    </a:cubicBezTo>
                    <a:cubicBezTo>
                      <a:pt x="321844" y="2157"/>
                      <a:pt x="321844" y="2157"/>
                      <a:pt x="313906" y="2157"/>
                    </a:cubicBezTo>
                    <a:cubicBezTo>
                      <a:pt x="305473" y="2157"/>
                      <a:pt x="305473" y="3645"/>
                      <a:pt x="297536" y="3645"/>
                    </a:cubicBezTo>
                    <a:cubicBezTo>
                      <a:pt x="289102" y="3645"/>
                      <a:pt x="289102" y="2653"/>
                      <a:pt x="281165" y="2653"/>
                    </a:cubicBezTo>
                    <a:cubicBezTo>
                      <a:pt x="272732" y="2653"/>
                      <a:pt x="272732" y="3645"/>
                      <a:pt x="264795" y="3645"/>
                    </a:cubicBezTo>
                    <a:cubicBezTo>
                      <a:pt x="256361" y="3645"/>
                      <a:pt x="256361" y="2653"/>
                      <a:pt x="248424" y="2653"/>
                    </a:cubicBezTo>
                    <a:cubicBezTo>
                      <a:pt x="239991" y="2653"/>
                      <a:pt x="239991" y="3149"/>
                      <a:pt x="232053" y="3149"/>
                    </a:cubicBezTo>
                    <a:cubicBezTo>
                      <a:pt x="223620" y="3149"/>
                      <a:pt x="223620" y="3149"/>
                      <a:pt x="215683" y="3149"/>
                    </a:cubicBezTo>
                    <a:cubicBezTo>
                      <a:pt x="207250" y="3149"/>
                      <a:pt x="207250" y="3149"/>
                      <a:pt x="199312" y="3149"/>
                    </a:cubicBezTo>
                    <a:cubicBezTo>
                      <a:pt x="190879" y="3149"/>
                      <a:pt x="190879" y="4637"/>
                      <a:pt x="182942" y="4637"/>
                    </a:cubicBezTo>
                    <a:cubicBezTo>
                      <a:pt x="174508" y="4637"/>
                      <a:pt x="174508" y="4637"/>
                      <a:pt x="166571" y="4637"/>
                    </a:cubicBezTo>
                    <a:cubicBezTo>
                      <a:pt x="158138" y="4637"/>
                      <a:pt x="158138" y="4141"/>
                      <a:pt x="150201" y="4141"/>
                    </a:cubicBezTo>
                    <a:cubicBezTo>
                      <a:pt x="141767" y="4141"/>
                      <a:pt x="141767" y="3149"/>
                      <a:pt x="133830" y="3149"/>
                    </a:cubicBezTo>
                    <a:cubicBezTo>
                      <a:pt x="125397" y="3149"/>
                      <a:pt x="125397" y="2653"/>
                      <a:pt x="117460" y="2653"/>
                    </a:cubicBezTo>
                    <a:cubicBezTo>
                      <a:pt x="109026" y="2653"/>
                      <a:pt x="109026" y="2653"/>
                      <a:pt x="101089" y="2653"/>
                    </a:cubicBezTo>
                    <a:cubicBezTo>
                      <a:pt x="92656" y="2653"/>
                      <a:pt x="92656" y="2653"/>
                      <a:pt x="84719" y="2653"/>
                    </a:cubicBezTo>
                    <a:cubicBezTo>
                      <a:pt x="76285" y="2653"/>
                      <a:pt x="76285" y="3645"/>
                      <a:pt x="68348" y="3645"/>
                    </a:cubicBezTo>
                    <a:cubicBezTo>
                      <a:pt x="59915" y="3645"/>
                      <a:pt x="59915" y="4141"/>
                      <a:pt x="51977" y="4141"/>
                    </a:cubicBezTo>
                    <a:cubicBezTo>
                      <a:pt x="43544" y="4141"/>
                      <a:pt x="43544" y="3149"/>
                      <a:pt x="35607" y="3149"/>
                    </a:cubicBezTo>
                    <a:cubicBezTo>
                      <a:pt x="27173" y="3149"/>
                      <a:pt x="27173" y="2653"/>
                      <a:pt x="19236" y="2653"/>
                    </a:cubicBezTo>
                    <a:cubicBezTo>
                      <a:pt x="10803" y="2653"/>
                      <a:pt x="9811" y="-820"/>
                      <a:pt x="2866" y="3645"/>
                    </a:cubicBezTo>
                    <a:cubicBezTo>
                      <a:pt x="-1599" y="6621"/>
                      <a:pt x="-111" y="9101"/>
                      <a:pt x="2369" y="14062"/>
                    </a:cubicBezTo>
                    <a:cubicBezTo>
                      <a:pt x="5346" y="21007"/>
                      <a:pt x="7826" y="19519"/>
                      <a:pt x="12787" y="25472"/>
                    </a:cubicBezTo>
                    <a:cubicBezTo>
                      <a:pt x="17748" y="31425"/>
                      <a:pt x="15764" y="33409"/>
                      <a:pt x="22709" y="36882"/>
                    </a:cubicBezTo>
                    <a:cubicBezTo>
                      <a:pt x="29654" y="39858"/>
                      <a:pt x="30150" y="37874"/>
                      <a:pt x="38087" y="37874"/>
                    </a:cubicBezTo>
                    <a:cubicBezTo>
                      <a:pt x="46024" y="37874"/>
                      <a:pt x="46024" y="36882"/>
                      <a:pt x="53465" y="36882"/>
                    </a:cubicBezTo>
                    <a:cubicBezTo>
                      <a:pt x="61403" y="36882"/>
                      <a:pt x="61403" y="38866"/>
                      <a:pt x="68844" y="38866"/>
                    </a:cubicBezTo>
                    <a:cubicBezTo>
                      <a:pt x="76781" y="38866"/>
                      <a:pt x="76781" y="37874"/>
                      <a:pt x="84222" y="37874"/>
                    </a:cubicBezTo>
                    <a:cubicBezTo>
                      <a:pt x="92160" y="37874"/>
                      <a:pt x="92160" y="37378"/>
                      <a:pt x="99601" y="37378"/>
                    </a:cubicBezTo>
                    <a:cubicBezTo>
                      <a:pt x="107538" y="37378"/>
                      <a:pt x="107538" y="38866"/>
                      <a:pt x="114979" y="38866"/>
                    </a:cubicBezTo>
                    <a:cubicBezTo>
                      <a:pt x="122916" y="38866"/>
                      <a:pt x="122916" y="36882"/>
                      <a:pt x="130357" y="36882"/>
                    </a:cubicBezTo>
                    <a:cubicBezTo>
                      <a:pt x="138295" y="36882"/>
                      <a:pt x="138295" y="38866"/>
                      <a:pt x="145736" y="38866"/>
                    </a:cubicBezTo>
                    <a:cubicBezTo>
                      <a:pt x="153177" y="38866"/>
                      <a:pt x="153673" y="38866"/>
                      <a:pt x="161114" y="3886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3" name="Freeform: Shape 1652">
                <a:extLst>
                  <a:ext uri="{FF2B5EF4-FFF2-40B4-BE49-F238E27FC236}">
                    <a16:creationId xmlns:a16="http://schemas.microsoft.com/office/drawing/2014/main" id="{D78FD7A4-5FFD-A76B-AAA1-3E0183C94C79}"/>
                  </a:ext>
                </a:extLst>
              </p:cNvPr>
              <p:cNvSpPr/>
              <p:nvPr/>
            </p:nvSpPr>
            <p:spPr>
              <a:xfrm>
                <a:off x="4947255" y="2788453"/>
                <a:ext cx="481195" cy="25300"/>
              </a:xfrm>
              <a:custGeom>
                <a:avLst/>
                <a:gdLst>
                  <a:gd name="connsiteX0" fmla="*/ 470282 w 481195"/>
                  <a:gd name="connsiteY0" fmla="*/ 23812 h 25300"/>
                  <a:gd name="connsiteX1" fmla="*/ 453911 w 481195"/>
                  <a:gd name="connsiteY1" fmla="*/ 24308 h 25300"/>
                  <a:gd name="connsiteX2" fmla="*/ 437541 w 481195"/>
                  <a:gd name="connsiteY2" fmla="*/ 25300 h 25300"/>
                  <a:gd name="connsiteX3" fmla="*/ 421170 w 481195"/>
                  <a:gd name="connsiteY3" fmla="*/ 25300 h 25300"/>
                  <a:gd name="connsiteX4" fmla="*/ 404800 w 481195"/>
                  <a:gd name="connsiteY4" fmla="*/ 23316 h 25300"/>
                  <a:gd name="connsiteX5" fmla="*/ 388429 w 481195"/>
                  <a:gd name="connsiteY5" fmla="*/ 24804 h 25300"/>
                  <a:gd name="connsiteX6" fmla="*/ 372058 w 481195"/>
                  <a:gd name="connsiteY6" fmla="*/ 23316 h 25300"/>
                  <a:gd name="connsiteX7" fmla="*/ 355688 w 481195"/>
                  <a:gd name="connsiteY7" fmla="*/ 24804 h 25300"/>
                  <a:gd name="connsiteX8" fmla="*/ 339317 w 481195"/>
                  <a:gd name="connsiteY8" fmla="*/ 24308 h 25300"/>
                  <a:gd name="connsiteX9" fmla="*/ 322947 w 481195"/>
                  <a:gd name="connsiteY9" fmla="*/ 22820 h 25300"/>
                  <a:gd name="connsiteX10" fmla="*/ 306576 w 481195"/>
                  <a:gd name="connsiteY10" fmla="*/ 24308 h 25300"/>
                  <a:gd name="connsiteX11" fmla="*/ 290206 w 481195"/>
                  <a:gd name="connsiteY11" fmla="*/ 22820 h 25300"/>
                  <a:gd name="connsiteX12" fmla="*/ 273835 w 481195"/>
                  <a:gd name="connsiteY12" fmla="*/ 24308 h 25300"/>
                  <a:gd name="connsiteX13" fmla="*/ 257465 w 481195"/>
                  <a:gd name="connsiteY13" fmla="*/ 24308 h 25300"/>
                  <a:gd name="connsiteX14" fmla="*/ 241094 w 481195"/>
                  <a:gd name="connsiteY14" fmla="*/ 25300 h 25300"/>
                  <a:gd name="connsiteX15" fmla="*/ 224724 w 481195"/>
                  <a:gd name="connsiteY15" fmla="*/ 23812 h 25300"/>
                  <a:gd name="connsiteX16" fmla="*/ 208353 w 481195"/>
                  <a:gd name="connsiteY16" fmla="*/ 25300 h 25300"/>
                  <a:gd name="connsiteX17" fmla="*/ 191982 w 481195"/>
                  <a:gd name="connsiteY17" fmla="*/ 25300 h 25300"/>
                  <a:gd name="connsiteX18" fmla="*/ 175612 w 481195"/>
                  <a:gd name="connsiteY18" fmla="*/ 25300 h 25300"/>
                  <a:gd name="connsiteX19" fmla="*/ 159241 w 481195"/>
                  <a:gd name="connsiteY19" fmla="*/ 25300 h 25300"/>
                  <a:gd name="connsiteX20" fmla="*/ 142871 w 481195"/>
                  <a:gd name="connsiteY20" fmla="*/ 25300 h 25300"/>
                  <a:gd name="connsiteX21" fmla="*/ 126500 w 481195"/>
                  <a:gd name="connsiteY21" fmla="*/ 23812 h 25300"/>
                  <a:gd name="connsiteX22" fmla="*/ 110129 w 481195"/>
                  <a:gd name="connsiteY22" fmla="*/ 24308 h 25300"/>
                  <a:gd name="connsiteX23" fmla="*/ 93759 w 481195"/>
                  <a:gd name="connsiteY23" fmla="*/ 22820 h 25300"/>
                  <a:gd name="connsiteX24" fmla="*/ 77388 w 481195"/>
                  <a:gd name="connsiteY24" fmla="*/ 23316 h 25300"/>
                  <a:gd name="connsiteX25" fmla="*/ 61018 w 481195"/>
                  <a:gd name="connsiteY25" fmla="*/ 23316 h 25300"/>
                  <a:gd name="connsiteX26" fmla="*/ 44647 w 481195"/>
                  <a:gd name="connsiteY26" fmla="*/ 24804 h 25300"/>
                  <a:gd name="connsiteX27" fmla="*/ 28277 w 481195"/>
                  <a:gd name="connsiteY27" fmla="*/ 23812 h 25300"/>
                  <a:gd name="connsiteX28" fmla="*/ 11906 w 481195"/>
                  <a:gd name="connsiteY28" fmla="*/ 23316 h 25300"/>
                  <a:gd name="connsiteX29" fmla="*/ 0 w 481195"/>
                  <a:gd name="connsiteY29" fmla="*/ 12402 h 25300"/>
                  <a:gd name="connsiteX30" fmla="*/ 0 w 481195"/>
                  <a:gd name="connsiteY30" fmla="*/ 12402 h 25300"/>
                  <a:gd name="connsiteX31" fmla="*/ 12402 w 481195"/>
                  <a:gd name="connsiteY31" fmla="*/ 0 h 25300"/>
                  <a:gd name="connsiteX32" fmla="*/ 28773 w 481195"/>
                  <a:gd name="connsiteY32" fmla="*/ 992 h 25300"/>
                  <a:gd name="connsiteX33" fmla="*/ 45143 w 481195"/>
                  <a:gd name="connsiteY33" fmla="*/ 992 h 25300"/>
                  <a:gd name="connsiteX34" fmla="*/ 61514 w 481195"/>
                  <a:gd name="connsiteY34" fmla="*/ 992 h 25300"/>
                  <a:gd name="connsiteX35" fmla="*/ 77884 w 481195"/>
                  <a:gd name="connsiteY35" fmla="*/ 1488 h 25300"/>
                  <a:gd name="connsiteX36" fmla="*/ 94255 w 481195"/>
                  <a:gd name="connsiteY36" fmla="*/ 1488 h 25300"/>
                  <a:gd name="connsiteX37" fmla="*/ 110626 w 481195"/>
                  <a:gd name="connsiteY37" fmla="*/ 2480 h 25300"/>
                  <a:gd name="connsiteX38" fmla="*/ 126996 w 481195"/>
                  <a:gd name="connsiteY38" fmla="*/ 992 h 25300"/>
                  <a:gd name="connsiteX39" fmla="*/ 143367 w 481195"/>
                  <a:gd name="connsiteY39" fmla="*/ 1984 h 25300"/>
                  <a:gd name="connsiteX40" fmla="*/ 159737 w 481195"/>
                  <a:gd name="connsiteY40" fmla="*/ 496 h 25300"/>
                  <a:gd name="connsiteX41" fmla="*/ 176108 w 481195"/>
                  <a:gd name="connsiteY41" fmla="*/ 1984 h 25300"/>
                  <a:gd name="connsiteX42" fmla="*/ 192478 w 481195"/>
                  <a:gd name="connsiteY42" fmla="*/ 496 h 25300"/>
                  <a:gd name="connsiteX43" fmla="*/ 208849 w 481195"/>
                  <a:gd name="connsiteY43" fmla="*/ 1984 h 25300"/>
                  <a:gd name="connsiteX44" fmla="*/ 225220 w 481195"/>
                  <a:gd name="connsiteY44" fmla="*/ 0 h 25300"/>
                  <a:gd name="connsiteX45" fmla="*/ 241590 w 481195"/>
                  <a:gd name="connsiteY45" fmla="*/ 992 h 25300"/>
                  <a:gd name="connsiteX46" fmla="*/ 257961 w 481195"/>
                  <a:gd name="connsiteY46" fmla="*/ 992 h 25300"/>
                  <a:gd name="connsiteX47" fmla="*/ 274331 w 481195"/>
                  <a:gd name="connsiteY47" fmla="*/ 992 h 25300"/>
                  <a:gd name="connsiteX48" fmla="*/ 290702 w 481195"/>
                  <a:gd name="connsiteY48" fmla="*/ 992 h 25300"/>
                  <a:gd name="connsiteX49" fmla="*/ 307072 w 481195"/>
                  <a:gd name="connsiteY49" fmla="*/ 0 h 25300"/>
                  <a:gd name="connsiteX50" fmla="*/ 323443 w 481195"/>
                  <a:gd name="connsiteY50" fmla="*/ 0 h 25300"/>
                  <a:gd name="connsiteX51" fmla="*/ 339813 w 481195"/>
                  <a:gd name="connsiteY51" fmla="*/ 1488 h 25300"/>
                  <a:gd name="connsiteX52" fmla="*/ 356184 w 481195"/>
                  <a:gd name="connsiteY52" fmla="*/ 496 h 25300"/>
                  <a:gd name="connsiteX53" fmla="*/ 372555 w 481195"/>
                  <a:gd name="connsiteY53" fmla="*/ 1984 h 25300"/>
                  <a:gd name="connsiteX54" fmla="*/ 388925 w 481195"/>
                  <a:gd name="connsiteY54" fmla="*/ 496 h 25300"/>
                  <a:gd name="connsiteX55" fmla="*/ 405296 w 481195"/>
                  <a:gd name="connsiteY55" fmla="*/ 1488 h 25300"/>
                  <a:gd name="connsiteX56" fmla="*/ 421666 w 481195"/>
                  <a:gd name="connsiteY56" fmla="*/ 496 h 25300"/>
                  <a:gd name="connsiteX57" fmla="*/ 438037 w 481195"/>
                  <a:gd name="connsiteY57" fmla="*/ 496 h 25300"/>
                  <a:gd name="connsiteX58" fmla="*/ 454408 w 481195"/>
                  <a:gd name="connsiteY58" fmla="*/ 0 h 25300"/>
                  <a:gd name="connsiteX59" fmla="*/ 470778 w 481195"/>
                  <a:gd name="connsiteY59" fmla="*/ 496 h 25300"/>
                  <a:gd name="connsiteX60" fmla="*/ 481196 w 481195"/>
                  <a:gd name="connsiteY60" fmla="*/ 12402 h 25300"/>
                  <a:gd name="connsiteX61" fmla="*/ 481196 w 481195"/>
                  <a:gd name="connsiteY61" fmla="*/ 12402 h 25300"/>
                  <a:gd name="connsiteX62" fmla="*/ 470282 w 481195"/>
                  <a:gd name="connsiteY62" fmla="*/ 23812 h 2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81195" h="25300">
                    <a:moveTo>
                      <a:pt x="470282" y="23812"/>
                    </a:moveTo>
                    <a:cubicBezTo>
                      <a:pt x="461849" y="23812"/>
                      <a:pt x="461849" y="24308"/>
                      <a:pt x="453911" y="24308"/>
                    </a:cubicBezTo>
                    <a:cubicBezTo>
                      <a:pt x="445478" y="24308"/>
                      <a:pt x="445478" y="25300"/>
                      <a:pt x="437541" y="25300"/>
                    </a:cubicBezTo>
                    <a:cubicBezTo>
                      <a:pt x="429107" y="25300"/>
                      <a:pt x="429107" y="25300"/>
                      <a:pt x="421170" y="25300"/>
                    </a:cubicBezTo>
                    <a:cubicBezTo>
                      <a:pt x="412737" y="25300"/>
                      <a:pt x="412737" y="23316"/>
                      <a:pt x="404800" y="23316"/>
                    </a:cubicBezTo>
                    <a:cubicBezTo>
                      <a:pt x="396366" y="23316"/>
                      <a:pt x="396366" y="24804"/>
                      <a:pt x="388429" y="24804"/>
                    </a:cubicBezTo>
                    <a:cubicBezTo>
                      <a:pt x="379996" y="24804"/>
                      <a:pt x="379996" y="23316"/>
                      <a:pt x="372058" y="23316"/>
                    </a:cubicBezTo>
                    <a:cubicBezTo>
                      <a:pt x="363625" y="23316"/>
                      <a:pt x="363625" y="24804"/>
                      <a:pt x="355688" y="24804"/>
                    </a:cubicBezTo>
                    <a:cubicBezTo>
                      <a:pt x="347255" y="24804"/>
                      <a:pt x="347255" y="24308"/>
                      <a:pt x="339317" y="24308"/>
                    </a:cubicBezTo>
                    <a:cubicBezTo>
                      <a:pt x="330884" y="24308"/>
                      <a:pt x="330884" y="22820"/>
                      <a:pt x="322947" y="22820"/>
                    </a:cubicBezTo>
                    <a:cubicBezTo>
                      <a:pt x="314514" y="22820"/>
                      <a:pt x="314514" y="24308"/>
                      <a:pt x="306576" y="24308"/>
                    </a:cubicBezTo>
                    <a:cubicBezTo>
                      <a:pt x="298143" y="24308"/>
                      <a:pt x="298143" y="22820"/>
                      <a:pt x="290206" y="22820"/>
                    </a:cubicBezTo>
                    <a:cubicBezTo>
                      <a:pt x="281773" y="22820"/>
                      <a:pt x="281773" y="24308"/>
                      <a:pt x="273835" y="24308"/>
                    </a:cubicBezTo>
                    <a:cubicBezTo>
                      <a:pt x="265402" y="24308"/>
                      <a:pt x="265402" y="24308"/>
                      <a:pt x="257465" y="24308"/>
                    </a:cubicBezTo>
                    <a:cubicBezTo>
                      <a:pt x="249031" y="24308"/>
                      <a:pt x="249031" y="25300"/>
                      <a:pt x="241094" y="25300"/>
                    </a:cubicBezTo>
                    <a:cubicBezTo>
                      <a:pt x="232661" y="25300"/>
                      <a:pt x="232661" y="23812"/>
                      <a:pt x="224724" y="23812"/>
                    </a:cubicBezTo>
                    <a:cubicBezTo>
                      <a:pt x="216290" y="23812"/>
                      <a:pt x="216290" y="25300"/>
                      <a:pt x="208353" y="25300"/>
                    </a:cubicBezTo>
                    <a:cubicBezTo>
                      <a:pt x="199920" y="25300"/>
                      <a:pt x="199920" y="25300"/>
                      <a:pt x="191982" y="25300"/>
                    </a:cubicBezTo>
                    <a:cubicBezTo>
                      <a:pt x="183549" y="25300"/>
                      <a:pt x="183549" y="25300"/>
                      <a:pt x="175612" y="25300"/>
                    </a:cubicBezTo>
                    <a:cubicBezTo>
                      <a:pt x="167178" y="25300"/>
                      <a:pt x="167178" y="25300"/>
                      <a:pt x="159241" y="25300"/>
                    </a:cubicBezTo>
                    <a:cubicBezTo>
                      <a:pt x="150808" y="25300"/>
                      <a:pt x="150808" y="25300"/>
                      <a:pt x="142871" y="25300"/>
                    </a:cubicBezTo>
                    <a:cubicBezTo>
                      <a:pt x="134437" y="25300"/>
                      <a:pt x="134437" y="23812"/>
                      <a:pt x="126500" y="23812"/>
                    </a:cubicBezTo>
                    <a:cubicBezTo>
                      <a:pt x="118563" y="23812"/>
                      <a:pt x="118067" y="24308"/>
                      <a:pt x="110129" y="24308"/>
                    </a:cubicBezTo>
                    <a:cubicBezTo>
                      <a:pt x="101696" y="24308"/>
                      <a:pt x="101696" y="22820"/>
                      <a:pt x="93759" y="22820"/>
                    </a:cubicBezTo>
                    <a:cubicBezTo>
                      <a:pt x="85325" y="22820"/>
                      <a:pt x="85325" y="23316"/>
                      <a:pt x="77388" y="23316"/>
                    </a:cubicBezTo>
                    <a:cubicBezTo>
                      <a:pt x="68955" y="23316"/>
                      <a:pt x="68955" y="23316"/>
                      <a:pt x="61018" y="23316"/>
                    </a:cubicBezTo>
                    <a:cubicBezTo>
                      <a:pt x="52584" y="23316"/>
                      <a:pt x="52584" y="24804"/>
                      <a:pt x="44647" y="24804"/>
                    </a:cubicBezTo>
                    <a:cubicBezTo>
                      <a:pt x="36214" y="24804"/>
                      <a:pt x="36214" y="23812"/>
                      <a:pt x="28277" y="23812"/>
                    </a:cubicBezTo>
                    <a:cubicBezTo>
                      <a:pt x="20339" y="23812"/>
                      <a:pt x="19843" y="23316"/>
                      <a:pt x="11906" y="23316"/>
                    </a:cubicBezTo>
                    <a:cubicBezTo>
                      <a:pt x="5457" y="23316"/>
                      <a:pt x="0" y="18851"/>
                      <a:pt x="0" y="12402"/>
                    </a:cubicBezTo>
                    <a:cubicBezTo>
                      <a:pt x="0" y="12402"/>
                      <a:pt x="0" y="12402"/>
                      <a:pt x="0" y="12402"/>
                    </a:cubicBezTo>
                    <a:cubicBezTo>
                      <a:pt x="0" y="5953"/>
                      <a:pt x="5953" y="0"/>
                      <a:pt x="12402" y="0"/>
                    </a:cubicBezTo>
                    <a:cubicBezTo>
                      <a:pt x="20835" y="0"/>
                      <a:pt x="20835" y="992"/>
                      <a:pt x="28773" y="992"/>
                    </a:cubicBezTo>
                    <a:cubicBezTo>
                      <a:pt x="37206" y="992"/>
                      <a:pt x="37206" y="992"/>
                      <a:pt x="45143" y="992"/>
                    </a:cubicBezTo>
                    <a:cubicBezTo>
                      <a:pt x="53577" y="992"/>
                      <a:pt x="53577" y="992"/>
                      <a:pt x="61514" y="992"/>
                    </a:cubicBezTo>
                    <a:cubicBezTo>
                      <a:pt x="69947" y="992"/>
                      <a:pt x="69947" y="1488"/>
                      <a:pt x="77884" y="1488"/>
                    </a:cubicBezTo>
                    <a:cubicBezTo>
                      <a:pt x="86318" y="1488"/>
                      <a:pt x="86318" y="1488"/>
                      <a:pt x="94255" y="1488"/>
                    </a:cubicBezTo>
                    <a:cubicBezTo>
                      <a:pt x="102688" y="1488"/>
                      <a:pt x="102688" y="2480"/>
                      <a:pt x="110626" y="2480"/>
                    </a:cubicBezTo>
                    <a:cubicBezTo>
                      <a:pt x="119059" y="2480"/>
                      <a:pt x="119059" y="992"/>
                      <a:pt x="126996" y="992"/>
                    </a:cubicBezTo>
                    <a:cubicBezTo>
                      <a:pt x="135430" y="992"/>
                      <a:pt x="135430" y="1984"/>
                      <a:pt x="143367" y="1984"/>
                    </a:cubicBezTo>
                    <a:cubicBezTo>
                      <a:pt x="151800" y="1984"/>
                      <a:pt x="151800" y="496"/>
                      <a:pt x="159737" y="496"/>
                    </a:cubicBezTo>
                    <a:cubicBezTo>
                      <a:pt x="168171" y="496"/>
                      <a:pt x="168171" y="1984"/>
                      <a:pt x="176108" y="1984"/>
                    </a:cubicBezTo>
                    <a:cubicBezTo>
                      <a:pt x="184541" y="1984"/>
                      <a:pt x="184541" y="496"/>
                      <a:pt x="192478" y="496"/>
                    </a:cubicBezTo>
                    <a:cubicBezTo>
                      <a:pt x="200912" y="496"/>
                      <a:pt x="200912" y="1984"/>
                      <a:pt x="208849" y="1984"/>
                    </a:cubicBezTo>
                    <a:cubicBezTo>
                      <a:pt x="217282" y="1984"/>
                      <a:pt x="217282" y="0"/>
                      <a:pt x="225220" y="0"/>
                    </a:cubicBezTo>
                    <a:cubicBezTo>
                      <a:pt x="233653" y="0"/>
                      <a:pt x="233653" y="992"/>
                      <a:pt x="241590" y="992"/>
                    </a:cubicBezTo>
                    <a:cubicBezTo>
                      <a:pt x="250023" y="992"/>
                      <a:pt x="250023" y="992"/>
                      <a:pt x="257961" y="992"/>
                    </a:cubicBezTo>
                    <a:cubicBezTo>
                      <a:pt x="266394" y="992"/>
                      <a:pt x="266394" y="992"/>
                      <a:pt x="274331" y="992"/>
                    </a:cubicBezTo>
                    <a:cubicBezTo>
                      <a:pt x="282764" y="992"/>
                      <a:pt x="282764" y="992"/>
                      <a:pt x="290702" y="992"/>
                    </a:cubicBezTo>
                    <a:cubicBezTo>
                      <a:pt x="299135" y="992"/>
                      <a:pt x="299135" y="0"/>
                      <a:pt x="307072" y="0"/>
                    </a:cubicBezTo>
                    <a:cubicBezTo>
                      <a:pt x="315506" y="0"/>
                      <a:pt x="315506" y="0"/>
                      <a:pt x="323443" y="0"/>
                    </a:cubicBezTo>
                    <a:cubicBezTo>
                      <a:pt x="331876" y="0"/>
                      <a:pt x="331876" y="1488"/>
                      <a:pt x="339813" y="1488"/>
                    </a:cubicBezTo>
                    <a:cubicBezTo>
                      <a:pt x="348247" y="1488"/>
                      <a:pt x="348247" y="496"/>
                      <a:pt x="356184" y="496"/>
                    </a:cubicBezTo>
                    <a:cubicBezTo>
                      <a:pt x="364121" y="496"/>
                      <a:pt x="364617" y="1984"/>
                      <a:pt x="372555" y="1984"/>
                    </a:cubicBezTo>
                    <a:cubicBezTo>
                      <a:pt x="380988" y="1984"/>
                      <a:pt x="380988" y="496"/>
                      <a:pt x="388925" y="496"/>
                    </a:cubicBezTo>
                    <a:cubicBezTo>
                      <a:pt x="397359" y="496"/>
                      <a:pt x="397359" y="1488"/>
                      <a:pt x="405296" y="1488"/>
                    </a:cubicBezTo>
                    <a:cubicBezTo>
                      <a:pt x="413729" y="1488"/>
                      <a:pt x="413729" y="496"/>
                      <a:pt x="421666" y="496"/>
                    </a:cubicBezTo>
                    <a:cubicBezTo>
                      <a:pt x="430100" y="496"/>
                      <a:pt x="430100" y="496"/>
                      <a:pt x="438037" y="496"/>
                    </a:cubicBezTo>
                    <a:cubicBezTo>
                      <a:pt x="446470" y="496"/>
                      <a:pt x="446470" y="0"/>
                      <a:pt x="454408" y="0"/>
                    </a:cubicBezTo>
                    <a:cubicBezTo>
                      <a:pt x="462345" y="0"/>
                      <a:pt x="462841" y="496"/>
                      <a:pt x="470778" y="496"/>
                    </a:cubicBezTo>
                    <a:cubicBezTo>
                      <a:pt x="477227" y="496"/>
                      <a:pt x="481196" y="5953"/>
                      <a:pt x="481196" y="12402"/>
                    </a:cubicBezTo>
                    <a:cubicBezTo>
                      <a:pt x="481196" y="12402"/>
                      <a:pt x="481196" y="12402"/>
                      <a:pt x="481196" y="12402"/>
                    </a:cubicBezTo>
                    <a:cubicBezTo>
                      <a:pt x="480700" y="19347"/>
                      <a:pt x="476731" y="23812"/>
                      <a:pt x="470282" y="2381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grpSp>
            <p:nvGrpSpPr>
              <p:cNvPr id="1654" name="Graphic 10">
                <a:extLst>
                  <a:ext uri="{FF2B5EF4-FFF2-40B4-BE49-F238E27FC236}">
                    <a16:creationId xmlns:a16="http://schemas.microsoft.com/office/drawing/2014/main" id="{C6FF5040-0DF9-3F53-4AE4-C6210F2622B4}"/>
                  </a:ext>
                </a:extLst>
              </p:cNvPr>
              <p:cNvGrpSpPr/>
              <p:nvPr/>
            </p:nvGrpSpPr>
            <p:grpSpPr>
              <a:xfrm>
                <a:off x="4965610" y="2813257"/>
                <a:ext cx="18850" cy="169658"/>
                <a:chOff x="4965610" y="2813257"/>
                <a:chExt cx="18850" cy="169658"/>
              </a:xfrm>
              <a:noFill/>
            </p:grpSpPr>
            <p:sp>
              <p:nvSpPr>
                <p:cNvPr id="1673" name="Freeform: Shape 1672">
                  <a:extLst>
                    <a:ext uri="{FF2B5EF4-FFF2-40B4-BE49-F238E27FC236}">
                      <a16:creationId xmlns:a16="http://schemas.microsoft.com/office/drawing/2014/main" id="{972736AF-A6FB-D2F1-FEC3-BD15F06F385A}"/>
                    </a:ext>
                  </a:extLst>
                </p:cNvPr>
                <p:cNvSpPr/>
                <p:nvPr/>
              </p:nvSpPr>
              <p:spPr>
                <a:xfrm>
                  <a:off x="4965610" y="2814249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0 w 1984"/>
                    <a:gd name="connsiteY1" fmla="*/ 151800 h 168666"/>
                    <a:gd name="connsiteX2" fmla="*/ 992 w 1984"/>
                    <a:gd name="connsiteY2" fmla="*/ 134933 h 168666"/>
                    <a:gd name="connsiteX3" fmla="*/ 496 w 1984"/>
                    <a:gd name="connsiteY3" fmla="*/ 118066 h 168666"/>
                    <a:gd name="connsiteX4" fmla="*/ 0 w 1984"/>
                    <a:gd name="connsiteY4" fmla="*/ 101200 h 168666"/>
                    <a:gd name="connsiteX5" fmla="*/ 0 w 1984"/>
                    <a:gd name="connsiteY5" fmla="*/ 84333 h 168666"/>
                    <a:gd name="connsiteX6" fmla="*/ 992 w 1984"/>
                    <a:gd name="connsiteY6" fmla="*/ 67467 h 168666"/>
                    <a:gd name="connsiteX7" fmla="*/ 496 w 1984"/>
                    <a:gd name="connsiteY7" fmla="*/ 50600 h 168666"/>
                    <a:gd name="connsiteX8" fmla="*/ 1488 w 1984"/>
                    <a:gd name="connsiteY8" fmla="*/ 33733 h 168666"/>
                    <a:gd name="connsiteX9" fmla="*/ 1488 w 1984"/>
                    <a:gd name="connsiteY9" fmla="*/ 16867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7"/>
                        <a:pt x="992" y="143367"/>
                        <a:pt x="992" y="134933"/>
                      </a:cubicBezTo>
                      <a:cubicBezTo>
                        <a:pt x="992" y="126500"/>
                        <a:pt x="496" y="126500"/>
                        <a:pt x="496" y="118066"/>
                      </a:cubicBezTo>
                      <a:cubicBezTo>
                        <a:pt x="496" y="109633"/>
                        <a:pt x="0" y="109633"/>
                        <a:pt x="0" y="101200"/>
                      </a:cubicBezTo>
                      <a:cubicBezTo>
                        <a:pt x="0" y="92767"/>
                        <a:pt x="0" y="92767"/>
                        <a:pt x="0" y="84333"/>
                      </a:cubicBezTo>
                      <a:cubicBezTo>
                        <a:pt x="0" y="75900"/>
                        <a:pt x="992" y="75900"/>
                        <a:pt x="992" y="67467"/>
                      </a:cubicBezTo>
                      <a:cubicBezTo>
                        <a:pt x="992" y="59033"/>
                        <a:pt x="496" y="59033"/>
                        <a:pt x="496" y="50600"/>
                      </a:cubicBezTo>
                      <a:cubicBezTo>
                        <a:pt x="496" y="42167"/>
                        <a:pt x="1488" y="42167"/>
                        <a:pt x="1488" y="33733"/>
                      </a:cubicBezTo>
                      <a:cubicBezTo>
                        <a:pt x="1488" y="25300"/>
                        <a:pt x="1488" y="25300"/>
                        <a:pt x="1488" y="16867"/>
                      </a:cubicBezTo>
                      <a:cubicBezTo>
                        <a:pt x="1488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4" name="Freeform: Shape 1673">
                  <a:extLst>
                    <a:ext uri="{FF2B5EF4-FFF2-40B4-BE49-F238E27FC236}">
                      <a16:creationId xmlns:a16="http://schemas.microsoft.com/office/drawing/2014/main" id="{C6AA7043-7B9B-D158-4CC8-3B7C1C080F58}"/>
                    </a:ext>
                  </a:extLst>
                </p:cNvPr>
                <p:cNvSpPr/>
                <p:nvPr/>
              </p:nvSpPr>
              <p:spPr>
                <a:xfrm>
                  <a:off x="4982476" y="2813257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0 h 168666"/>
                    <a:gd name="connsiteX1" fmla="*/ 1984 w 1984"/>
                    <a:gd name="connsiteY1" fmla="*/ 16867 h 168666"/>
                    <a:gd name="connsiteX2" fmla="*/ 1984 w 1984"/>
                    <a:gd name="connsiteY2" fmla="*/ 33734 h 168666"/>
                    <a:gd name="connsiteX3" fmla="*/ 992 w 1984"/>
                    <a:gd name="connsiteY3" fmla="*/ 50600 h 168666"/>
                    <a:gd name="connsiteX4" fmla="*/ 1488 w 1984"/>
                    <a:gd name="connsiteY4" fmla="*/ 67467 h 168666"/>
                    <a:gd name="connsiteX5" fmla="*/ 0 w 1984"/>
                    <a:gd name="connsiteY5" fmla="*/ 84333 h 168666"/>
                    <a:gd name="connsiteX6" fmla="*/ 992 w 1984"/>
                    <a:gd name="connsiteY6" fmla="*/ 101200 h 168666"/>
                    <a:gd name="connsiteX7" fmla="*/ 992 w 1984"/>
                    <a:gd name="connsiteY7" fmla="*/ 118067 h 168666"/>
                    <a:gd name="connsiteX8" fmla="*/ 496 w 1984"/>
                    <a:gd name="connsiteY8" fmla="*/ 134933 h 168666"/>
                    <a:gd name="connsiteX9" fmla="*/ 1984 w 1984"/>
                    <a:gd name="connsiteY9" fmla="*/ 151800 h 168666"/>
                    <a:gd name="connsiteX10" fmla="*/ 1488 w 1984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0"/>
                      </a:moveTo>
                      <a:cubicBezTo>
                        <a:pt x="992" y="8433"/>
                        <a:pt x="1984" y="8433"/>
                        <a:pt x="1984" y="16867"/>
                      </a:cubicBezTo>
                      <a:cubicBezTo>
                        <a:pt x="1984" y="25300"/>
                        <a:pt x="1984" y="25300"/>
                        <a:pt x="1984" y="33734"/>
                      </a:cubicBezTo>
                      <a:cubicBezTo>
                        <a:pt x="1984" y="42167"/>
                        <a:pt x="992" y="42167"/>
                        <a:pt x="992" y="50600"/>
                      </a:cubicBezTo>
                      <a:cubicBezTo>
                        <a:pt x="992" y="59033"/>
                        <a:pt x="1488" y="59033"/>
                        <a:pt x="1488" y="67467"/>
                      </a:cubicBezTo>
                      <a:cubicBezTo>
                        <a:pt x="1488" y="75900"/>
                        <a:pt x="0" y="75900"/>
                        <a:pt x="0" y="84333"/>
                      </a:cubicBezTo>
                      <a:cubicBezTo>
                        <a:pt x="0" y="92767"/>
                        <a:pt x="992" y="92767"/>
                        <a:pt x="992" y="101200"/>
                      </a:cubicBezTo>
                      <a:cubicBezTo>
                        <a:pt x="992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1984" y="143367"/>
                        <a:pt x="1984" y="151800"/>
                      </a:cubicBezTo>
                      <a:cubicBezTo>
                        <a:pt x="1984" y="160233"/>
                        <a:pt x="1488" y="160233"/>
                        <a:pt x="1488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5" name="Graphic 10">
                <a:extLst>
                  <a:ext uri="{FF2B5EF4-FFF2-40B4-BE49-F238E27FC236}">
                    <a16:creationId xmlns:a16="http://schemas.microsoft.com/office/drawing/2014/main" id="{F50817C6-A045-B96A-F89C-0E630014FC5F}"/>
                  </a:ext>
                </a:extLst>
              </p:cNvPr>
              <p:cNvGrpSpPr/>
              <p:nvPr/>
            </p:nvGrpSpPr>
            <p:grpSpPr>
              <a:xfrm>
                <a:off x="5035557" y="2814249"/>
                <a:ext cx="18850" cy="170650"/>
                <a:chOff x="5035557" y="2814249"/>
                <a:chExt cx="18850" cy="170650"/>
              </a:xfrm>
              <a:noFill/>
            </p:grpSpPr>
            <p:sp>
              <p:nvSpPr>
                <p:cNvPr id="1671" name="Freeform: Shape 1670">
                  <a:extLst>
                    <a:ext uri="{FF2B5EF4-FFF2-40B4-BE49-F238E27FC236}">
                      <a16:creationId xmlns:a16="http://schemas.microsoft.com/office/drawing/2014/main" id="{B3A27E2C-5B2F-C5AE-8315-639E382EEB53}"/>
                    </a:ext>
                  </a:extLst>
                </p:cNvPr>
                <p:cNvSpPr/>
                <p:nvPr/>
              </p:nvSpPr>
              <p:spPr>
                <a:xfrm>
                  <a:off x="5035557" y="2814249"/>
                  <a:ext cx="1984" cy="168666"/>
                </a:xfrm>
                <a:custGeom>
                  <a:avLst/>
                  <a:gdLst>
                    <a:gd name="connsiteX0" fmla="*/ 1984 w 1984"/>
                    <a:gd name="connsiteY0" fmla="*/ 168666 h 168666"/>
                    <a:gd name="connsiteX1" fmla="*/ 992 w 1984"/>
                    <a:gd name="connsiteY1" fmla="*/ 151800 h 168666"/>
                    <a:gd name="connsiteX2" fmla="*/ 0 w 1984"/>
                    <a:gd name="connsiteY2" fmla="*/ 134933 h 168666"/>
                    <a:gd name="connsiteX3" fmla="*/ 1984 w 1984"/>
                    <a:gd name="connsiteY3" fmla="*/ 118066 h 168666"/>
                    <a:gd name="connsiteX4" fmla="*/ 1984 w 1984"/>
                    <a:gd name="connsiteY4" fmla="*/ 101200 h 168666"/>
                    <a:gd name="connsiteX5" fmla="*/ 496 w 1984"/>
                    <a:gd name="connsiteY5" fmla="*/ 84333 h 168666"/>
                    <a:gd name="connsiteX6" fmla="*/ 1984 w 1984"/>
                    <a:gd name="connsiteY6" fmla="*/ 67467 h 168666"/>
                    <a:gd name="connsiteX7" fmla="*/ 1488 w 1984"/>
                    <a:gd name="connsiteY7" fmla="*/ 50600 h 168666"/>
                    <a:gd name="connsiteX8" fmla="*/ 1984 w 1984"/>
                    <a:gd name="connsiteY8" fmla="*/ 33733 h 168666"/>
                    <a:gd name="connsiteX9" fmla="*/ 1984 w 1984"/>
                    <a:gd name="connsiteY9" fmla="*/ 16867 h 168666"/>
                    <a:gd name="connsiteX10" fmla="*/ 0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984" y="168666"/>
                      </a:moveTo>
                      <a:cubicBezTo>
                        <a:pt x="1984" y="160233"/>
                        <a:pt x="992" y="160233"/>
                        <a:pt x="992" y="151800"/>
                      </a:cubicBezTo>
                      <a:cubicBezTo>
                        <a:pt x="992" y="143367"/>
                        <a:pt x="0" y="143367"/>
                        <a:pt x="0" y="134933"/>
                      </a:cubicBezTo>
                      <a:cubicBezTo>
                        <a:pt x="0" y="126500"/>
                        <a:pt x="1984" y="126500"/>
                        <a:pt x="1984" y="118066"/>
                      </a:cubicBezTo>
                      <a:cubicBezTo>
                        <a:pt x="1984" y="109633"/>
                        <a:pt x="1984" y="109633"/>
                        <a:pt x="1984" y="101200"/>
                      </a:cubicBezTo>
                      <a:cubicBezTo>
                        <a:pt x="1984" y="92767"/>
                        <a:pt x="496" y="92767"/>
                        <a:pt x="496" y="84333"/>
                      </a:cubicBezTo>
                      <a:cubicBezTo>
                        <a:pt x="496" y="75900"/>
                        <a:pt x="1984" y="75900"/>
                        <a:pt x="1984" y="67467"/>
                      </a:cubicBezTo>
                      <a:cubicBezTo>
                        <a:pt x="1984" y="59033"/>
                        <a:pt x="1488" y="59033"/>
                        <a:pt x="1488" y="50600"/>
                      </a:cubicBezTo>
                      <a:cubicBezTo>
                        <a:pt x="1488" y="42167"/>
                        <a:pt x="1984" y="42167"/>
                        <a:pt x="1984" y="33733"/>
                      </a:cubicBezTo>
                      <a:cubicBezTo>
                        <a:pt x="1984" y="25300"/>
                        <a:pt x="1984" y="25300"/>
                        <a:pt x="1984" y="16867"/>
                      </a:cubicBezTo>
                      <a:cubicBezTo>
                        <a:pt x="1984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2" name="Freeform: Shape 1671">
                  <a:extLst>
                    <a:ext uri="{FF2B5EF4-FFF2-40B4-BE49-F238E27FC236}">
                      <a16:creationId xmlns:a16="http://schemas.microsoft.com/office/drawing/2014/main" id="{08BAC710-13A6-BA9F-533A-4EF3981AD9BF}"/>
                    </a:ext>
                  </a:extLst>
                </p:cNvPr>
                <p:cNvSpPr/>
                <p:nvPr/>
              </p:nvSpPr>
              <p:spPr>
                <a:xfrm>
                  <a:off x="5052920" y="2833100"/>
                  <a:ext cx="1488" cy="151800"/>
                </a:xfrm>
                <a:custGeom>
                  <a:avLst/>
                  <a:gdLst>
                    <a:gd name="connsiteX0" fmla="*/ 1488 w 1488"/>
                    <a:gd name="connsiteY0" fmla="*/ 0 h 151800"/>
                    <a:gd name="connsiteX1" fmla="*/ 1488 w 1488"/>
                    <a:gd name="connsiteY1" fmla="*/ 16867 h 151800"/>
                    <a:gd name="connsiteX2" fmla="*/ 0 w 1488"/>
                    <a:gd name="connsiteY2" fmla="*/ 33734 h 151800"/>
                    <a:gd name="connsiteX3" fmla="*/ 1488 w 1488"/>
                    <a:gd name="connsiteY3" fmla="*/ 50600 h 151800"/>
                    <a:gd name="connsiteX4" fmla="*/ 992 w 1488"/>
                    <a:gd name="connsiteY4" fmla="*/ 67467 h 151800"/>
                    <a:gd name="connsiteX5" fmla="*/ 496 w 1488"/>
                    <a:gd name="connsiteY5" fmla="*/ 84333 h 151800"/>
                    <a:gd name="connsiteX6" fmla="*/ 1488 w 1488"/>
                    <a:gd name="connsiteY6" fmla="*/ 101200 h 151800"/>
                    <a:gd name="connsiteX7" fmla="*/ 496 w 1488"/>
                    <a:gd name="connsiteY7" fmla="*/ 118067 h 151800"/>
                    <a:gd name="connsiteX8" fmla="*/ 0 w 1488"/>
                    <a:gd name="connsiteY8" fmla="*/ 134933 h 151800"/>
                    <a:gd name="connsiteX9" fmla="*/ 0 w 1488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88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0" y="25300"/>
                        <a:pt x="0" y="33734"/>
                      </a:cubicBezTo>
                      <a:cubicBezTo>
                        <a:pt x="0" y="42167"/>
                        <a:pt x="1488" y="42167"/>
                        <a:pt x="1488" y="50600"/>
                      </a:cubicBezTo>
                      <a:cubicBezTo>
                        <a:pt x="1488" y="59033"/>
                        <a:pt x="992" y="59033"/>
                        <a:pt x="992" y="67467"/>
                      </a:cubicBezTo>
                      <a:cubicBezTo>
                        <a:pt x="992" y="75900"/>
                        <a:pt x="496" y="75900"/>
                        <a:pt x="496" y="84333"/>
                      </a:cubicBezTo>
                      <a:cubicBezTo>
                        <a:pt x="496" y="92767"/>
                        <a:pt x="1488" y="92767"/>
                        <a:pt x="1488" y="101200"/>
                      </a:cubicBezTo>
                      <a:cubicBezTo>
                        <a:pt x="1488" y="109633"/>
                        <a:pt x="496" y="109633"/>
                        <a:pt x="496" y="118067"/>
                      </a:cubicBezTo>
                      <a:cubicBezTo>
                        <a:pt x="496" y="126500"/>
                        <a:pt x="0" y="126500"/>
                        <a:pt x="0" y="134933"/>
                      </a:cubicBezTo>
                      <a:cubicBezTo>
                        <a:pt x="0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6" name="Graphic 10">
                <a:extLst>
                  <a:ext uri="{FF2B5EF4-FFF2-40B4-BE49-F238E27FC236}">
                    <a16:creationId xmlns:a16="http://schemas.microsoft.com/office/drawing/2014/main" id="{7C7AC48A-E225-4165-F236-00C5F088611A}"/>
                  </a:ext>
                </a:extLst>
              </p:cNvPr>
              <p:cNvGrpSpPr/>
              <p:nvPr/>
            </p:nvGrpSpPr>
            <p:grpSpPr>
              <a:xfrm>
                <a:off x="5106496" y="2814249"/>
                <a:ext cx="19346" cy="170650"/>
                <a:chOff x="5106496" y="2814249"/>
                <a:chExt cx="19346" cy="170650"/>
              </a:xfrm>
              <a:noFill/>
            </p:grpSpPr>
            <p:sp>
              <p:nvSpPr>
                <p:cNvPr id="1669" name="Freeform: Shape 1668">
                  <a:extLst>
                    <a:ext uri="{FF2B5EF4-FFF2-40B4-BE49-F238E27FC236}">
                      <a16:creationId xmlns:a16="http://schemas.microsoft.com/office/drawing/2014/main" id="{0AEE5E13-FB95-5350-FB6E-E62F208CBA06}"/>
                    </a:ext>
                  </a:extLst>
                </p:cNvPr>
                <p:cNvSpPr/>
                <p:nvPr/>
              </p:nvSpPr>
              <p:spPr>
                <a:xfrm>
                  <a:off x="5106496" y="2814249"/>
                  <a:ext cx="1984" cy="168666"/>
                </a:xfrm>
                <a:custGeom>
                  <a:avLst/>
                  <a:gdLst>
                    <a:gd name="connsiteX0" fmla="*/ 0 w 1984"/>
                    <a:gd name="connsiteY0" fmla="*/ 168666 h 168666"/>
                    <a:gd name="connsiteX1" fmla="*/ 0 w 1984"/>
                    <a:gd name="connsiteY1" fmla="*/ 151800 h 168666"/>
                    <a:gd name="connsiteX2" fmla="*/ 1984 w 1984"/>
                    <a:gd name="connsiteY2" fmla="*/ 134933 h 168666"/>
                    <a:gd name="connsiteX3" fmla="*/ 496 w 1984"/>
                    <a:gd name="connsiteY3" fmla="*/ 118066 h 168666"/>
                    <a:gd name="connsiteX4" fmla="*/ 1984 w 1984"/>
                    <a:gd name="connsiteY4" fmla="*/ 101200 h 168666"/>
                    <a:gd name="connsiteX5" fmla="*/ 992 w 1984"/>
                    <a:gd name="connsiteY5" fmla="*/ 84333 h 168666"/>
                    <a:gd name="connsiteX6" fmla="*/ 992 w 1984"/>
                    <a:gd name="connsiteY6" fmla="*/ 67467 h 168666"/>
                    <a:gd name="connsiteX7" fmla="*/ 1488 w 1984"/>
                    <a:gd name="connsiteY7" fmla="*/ 50600 h 168666"/>
                    <a:gd name="connsiteX8" fmla="*/ 1984 w 1984"/>
                    <a:gd name="connsiteY8" fmla="*/ 33733 h 168666"/>
                    <a:gd name="connsiteX9" fmla="*/ 496 w 1984"/>
                    <a:gd name="connsiteY9" fmla="*/ 16867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0" y="168666"/>
                      </a:moveTo>
                      <a:cubicBezTo>
                        <a:pt x="0" y="160233"/>
                        <a:pt x="0" y="160233"/>
                        <a:pt x="0" y="151800"/>
                      </a:cubicBezTo>
                      <a:cubicBezTo>
                        <a:pt x="0" y="143367"/>
                        <a:pt x="1984" y="143367"/>
                        <a:pt x="1984" y="134933"/>
                      </a:cubicBezTo>
                      <a:cubicBezTo>
                        <a:pt x="1984" y="126500"/>
                        <a:pt x="496" y="126500"/>
                        <a:pt x="496" y="118066"/>
                      </a:cubicBezTo>
                      <a:cubicBezTo>
                        <a:pt x="496" y="109633"/>
                        <a:pt x="1984" y="109633"/>
                        <a:pt x="1984" y="101200"/>
                      </a:cubicBezTo>
                      <a:cubicBezTo>
                        <a:pt x="1984" y="92767"/>
                        <a:pt x="992" y="92767"/>
                        <a:pt x="992" y="84333"/>
                      </a:cubicBezTo>
                      <a:cubicBezTo>
                        <a:pt x="992" y="75900"/>
                        <a:pt x="992" y="75900"/>
                        <a:pt x="992" y="67467"/>
                      </a:cubicBezTo>
                      <a:cubicBezTo>
                        <a:pt x="992" y="59033"/>
                        <a:pt x="1488" y="59033"/>
                        <a:pt x="1488" y="50600"/>
                      </a:cubicBezTo>
                      <a:cubicBezTo>
                        <a:pt x="1488" y="42167"/>
                        <a:pt x="1984" y="42167"/>
                        <a:pt x="1984" y="33733"/>
                      </a:cubicBezTo>
                      <a:cubicBezTo>
                        <a:pt x="1984" y="25300"/>
                        <a:pt x="496" y="25300"/>
                        <a:pt x="496" y="16867"/>
                      </a:cubicBezTo>
                      <a:cubicBezTo>
                        <a:pt x="496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0" name="Freeform: Shape 1669">
                  <a:extLst>
                    <a:ext uri="{FF2B5EF4-FFF2-40B4-BE49-F238E27FC236}">
                      <a16:creationId xmlns:a16="http://schemas.microsoft.com/office/drawing/2014/main" id="{D2B4F9B2-0743-485D-1B86-0DA2A381AC35}"/>
                    </a:ext>
                  </a:extLst>
                </p:cNvPr>
                <p:cNvSpPr/>
                <p:nvPr/>
              </p:nvSpPr>
              <p:spPr>
                <a:xfrm>
                  <a:off x="5122866" y="2833100"/>
                  <a:ext cx="2976" cy="151800"/>
                </a:xfrm>
                <a:custGeom>
                  <a:avLst/>
                  <a:gdLst>
                    <a:gd name="connsiteX0" fmla="*/ 496 w 2976"/>
                    <a:gd name="connsiteY0" fmla="*/ 0 h 151800"/>
                    <a:gd name="connsiteX1" fmla="*/ 0 w 2976"/>
                    <a:gd name="connsiteY1" fmla="*/ 16867 h 151800"/>
                    <a:gd name="connsiteX2" fmla="*/ 1984 w 2976"/>
                    <a:gd name="connsiteY2" fmla="*/ 33734 h 151800"/>
                    <a:gd name="connsiteX3" fmla="*/ 1984 w 2976"/>
                    <a:gd name="connsiteY3" fmla="*/ 50600 h 151800"/>
                    <a:gd name="connsiteX4" fmla="*/ 1488 w 2976"/>
                    <a:gd name="connsiteY4" fmla="*/ 67467 h 151800"/>
                    <a:gd name="connsiteX5" fmla="*/ 1984 w 2976"/>
                    <a:gd name="connsiteY5" fmla="*/ 84333 h 151800"/>
                    <a:gd name="connsiteX6" fmla="*/ 2480 w 2976"/>
                    <a:gd name="connsiteY6" fmla="*/ 101200 h 151800"/>
                    <a:gd name="connsiteX7" fmla="*/ 1984 w 2976"/>
                    <a:gd name="connsiteY7" fmla="*/ 118067 h 151800"/>
                    <a:gd name="connsiteX8" fmla="*/ 1488 w 2976"/>
                    <a:gd name="connsiteY8" fmla="*/ 134933 h 151800"/>
                    <a:gd name="connsiteX9" fmla="*/ 2976 w 2976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976" h="151800">
                      <a:moveTo>
                        <a:pt x="496" y="0"/>
                      </a:moveTo>
                      <a:cubicBezTo>
                        <a:pt x="496" y="8433"/>
                        <a:pt x="0" y="8433"/>
                        <a:pt x="0" y="16867"/>
                      </a:cubicBezTo>
                      <a:cubicBezTo>
                        <a:pt x="0" y="25300"/>
                        <a:pt x="1984" y="25300"/>
                        <a:pt x="1984" y="33734"/>
                      </a:cubicBezTo>
                      <a:cubicBezTo>
                        <a:pt x="1984" y="42167"/>
                        <a:pt x="1984" y="42167"/>
                        <a:pt x="1984" y="50600"/>
                      </a:cubicBezTo>
                      <a:cubicBezTo>
                        <a:pt x="1984" y="59033"/>
                        <a:pt x="1488" y="59033"/>
                        <a:pt x="1488" y="67467"/>
                      </a:cubicBezTo>
                      <a:cubicBezTo>
                        <a:pt x="1488" y="75900"/>
                        <a:pt x="1984" y="75900"/>
                        <a:pt x="1984" y="84333"/>
                      </a:cubicBezTo>
                      <a:cubicBezTo>
                        <a:pt x="1984" y="92767"/>
                        <a:pt x="2480" y="92767"/>
                        <a:pt x="2480" y="101200"/>
                      </a:cubicBezTo>
                      <a:cubicBezTo>
                        <a:pt x="2480" y="109633"/>
                        <a:pt x="1984" y="109633"/>
                        <a:pt x="1984" y="118067"/>
                      </a:cubicBezTo>
                      <a:cubicBezTo>
                        <a:pt x="1984" y="126500"/>
                        <a:pt x="1488" y="126500"/>
                        <a:pt x="1488" y="134933"/>
                      </a:cubicBezTo>
                      <a:cubicBezTo>
                        <a:pt x="1488" y="143367"/>
                        <a:pt x="2976" y="143367"/>
                        <a:pt x="297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7" name="Graphic 10">
                <a:extLst>
                  <a:ext uri="{FF2B5EF4-FFF2-40B4-BE49-F238E27FC236}">
                    <a16:creationId xmlns:a16="http://schemas.microsoft.com/office/drawing/2014/main" id="{68BD72F6-487B-4CB5-548E-124ABD2198BE}"/>
                  </a:ext>
                </a:extLst>
              </p:cNvPr>
              <p:cNvGrpSpPr/>
              <p:nvPr/>
            </p:nvGrpSpPr>
            <p:grpSpPr>
              <a:xfrm>
                <a:off x="5176443" y="2814249"/>
                <a:ext cx="18850" cy="170650"/>
                <a:chOff x="5176443" y="2814249"/>
                <a:chExt cx="18850" cy="170650"/>
              </a:xfrm>
              <a:noFill/>
            </p:grpSpPr>
            <p:sp>
              <p:nvSpPr>
                <p:cNvPr id="1667" name="Freeform: Shape 1666">
                  <a:extLst>
                    <a:ext uri="{FF2B5EF4-FFF2-40B4-BE49-F238E27FC236}">
                      <a16:creationId xmlns:a16="http://schemas.microsoft.com/office/drawing/2014/main" id="{81BD9D4E-213C-1396-9991-FF0B709B7596}"/>
                    </a:ext>
                  </a:extLst>
                </p:cNvPr>
                <p:cNvSpPr/>
                <p:nvPr/>
              </p:nvSpPr>
              <p:spPr>
                <a:xfrm>
                  <a:off x="5176443" y="2814249"/>
                  <a:ext cx="1984" cy="168666"/>
                </a:xfrm>
                <a:custGeom>
                  <a:avLst/>
                  <a:gdLst>
                    <a:gd name="connsiteX0" fmla="*/ 1488 w 1984"/>
                    <a:gd name="connsiteY0" fmla="*/ 168666 h 168666"/>
                    <a:gd name="connsiteX1" fmla="*/ 496 w 1984"/>
                    <a:gd name="connsiteY1" fmla="*/ 151800 h 168666"/>
                    <a:gd name="connsiteX2" fmla="*/ 992 w 1984"/>
                    <a:gd name="connsiteY2" fmla="*/ 134933 h 168666"/>
                    <a:gd name="connsiteX3" fmla="*/ 1984 w 1984"/>
                    <a:gd name="connsiteY3" fmla="*/ 118066 h 168666"/>
                    <a:gd name="connsiteX4" fmla="*/ 496 w 1984"/>
                    <a:gd name="connsiteY4" fmla="*/ 101200 h 168666"/>
                    <a:gd name="connsiteX5" fmla="*/ 0 w 1984"/>
                    <a:gd name="connsiteY5" fmla="*/ 84333 h 168666"/>
                    <a:gd name="connsiteX6" fmla="*/ 496 w 1984"/>
                    <a:gd name="connsiteY6" fmla="*/ 67467 h 168666"/>
                    <a:gd name="connsiteX7" fmla="*/ 0 w 1984"/>
                    <a:gd name="connsiteY7" fmla="*/ 50600 h 168666"/>
                    <a:gd name="connsiteX8" fmla="*/ 1984 w 1984"/>
                    <a:gd name="connsiteY8" fmla="*/ 33733 h 168666"/>
                    <a:gd name="connsiteX9" fmla="*/ 496 w 1984"/>
                    <a:gd name="connsiteY9" fmla="*/ 16867 h 168666"/>
                    <a:gd name="connsiteX10" fmla="*/ 1488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488" y="168666"/>
                      </a:moveTo>
                      <a:cubicBezTo>
                        <a:pt x="1488" y="160233"/>
                        <a:pt x="496" y="160233"/>
                        <a:pt x="496" y="151800"/>
                      </a:cubicBezTo>
                      <a:cubicBezTo>
                        <a:pt x="496" y="143367"/>
                        <a:pt x="992" y="143367"/>
                        <a:pt x="992" y="134933"/>
                      </a:cubicBezTo>
                      <a:cubicBezTo>
                        <a:pt x="992" y="126500"/>
                        <a:pt x="1984" y="126500"/>
                        <a:pt x="1984" y="118066"/>
                      </a:cubicBezTo>
                      <a:cubicBezTo>
                        <a:pt x="1984" y="109633"/>
                        <a:pt x="496" y="109633"/>
                        <a:pt x="496" y="101200"/>
                      </a:cubicBezTo>
                      <a:cubicBezTo>
                        <a:pt x="496" y="92767"/>
                        <a:pt x="0" y="92767"/>
                        <a:pt x="0" y="84333"/>
                      </a:cubicBezTo>
                      <a:cubicBezTo>
                        <a:pt x="0" y="75900"/>
                        <a:pt x="496" y="75900"/>
                        <a:pt x="496" y="67467"/>
                      </a:cubicBezTo>
                      <a:cubicBezTo>
                        <a:pt x="496" y="59033"/>
                        <a:pt x="0" y="59033"/>
                        <a:pt x="0" y="50600"/>
                      </a:cubicBezTo>
                      <a:cubicBezTo>
                        <a:pt x="0" y="42167"/>
                        <a:pt x="1984" y="42167"/>
                        <a:pt x="1984" y="33733"/>
                      </a:cubicBezTo>
                      <a:cubicBezTo>
                        <a:pt x="1984" y="25300"/>
                        <a:pt x="496" y="25300"/>
                        <a:pt x="496" y="16867"/>
                      </a:cubicBezTo>
                      <a:cubicBezTo>
                        <a:pt x="496" y="8433"/>
                        <a:pt x="1488" y="8433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8" name="Freeform: Shape 1667">
                  <a:extLst>
                    <a:ext uri="{FF2B5EF4-FFF2-40B4-BE49-F238E27FC236}">
                      <a16:creationId xmlns:a16="http://schemas.microsoft.com/office/drawing/2014/main" id="{D0D6FA4B-A15B-1004-E161-967E41B3B293}"/>
                    </a:ext>
                  </a:extLst>
                </p:cNvPr>
                <p:cNvSpPr/>
                <p:nvPr/>
              </p:nvSpPr>
              <p:spPr>
                <a:xfrm>
                  <a:off x="5192813" y="2833100"/>
                  <a:ext cx="2480" cy="151800"/>
                </a:xfrm>
                <a:custGeom>
                  <a:avLst/>
                  <a:gdLst>
                    <a:gd name="connsiteX0" fmla="*/ 1488 w 2480"/>
                    <a:gd name="connsiteY0" fmla="*/ 0 h 151800"/>
                    <a:gd name="connsiteX1" fmla="*/ 1488 w 2480"/>
                    <a:gd name="connsiteY1" fmla="*/ 16867 h 151800"/>
                    <a:gd name="connsiteX2" fmla="*/ 992 w 2480"/>
                    <a:gd name="connsiteY2" fmla="*/ 33734 h 151800"/>
                    <a:gd name="connsiteX3" fmla="*/ 1984 w 2480"/>
                    <a:gd name="connsiteY3" fmla="*/ 50600 h 151800"/>
                    <a:gd name="connsiteX4" fmla="*/ 496 w 2480"/>
                    <a:gd name="connsiteY4" fmla="*/ 67467 h 151800"/>
                    <a:gd name="connsiteX5" fmla="*/ 0 w 2480"/>
                    <a:gd name="connsiteY5" fmla="*/ 84333 h 151800"/>
                    <a:gd name="connsiteX6" fmla="*/ 1488 w 2480"/>
                    <a:gd name="connsiteY6" fmla="*/ 101200 h 151800"/>
                    <a:gd name="connsiteX7" fmla="*/ 2480 w 2480"/>
                    <a:gd name="connsiteY7" fmla="*/ 118067 h 151800"/>
                    <a:gd name="connsiteX8" fmla="*/ 1984 w 2480"/>
                    <a:gd name="connsiteY8" fmla="*/ 134933 h 151800"/>
                    <a:gd name="connsiteX9" fmla="*/ 496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992" y="25300"/>
                        <a:pt x="992" y="33734"/>
                      </a:cubicBezTo>
                      <a:cubicBezTo>
                        <a:pt x="992" y="42167"/>
                        <a:pt x="1984" y="42167"/>
                        <a:pt x="1984" y="50600"/>
                      </a:cubicBezTo>
                      <a:cubicBezTo>
                        <a:pt x="1984" y="59033"/>
                        <a:pt x="496" y="59033"/>
                        <a:pt x="496" y="67467"/>
                      </a:cubicBezTo>
                      <a:cubicBezTo>
                        <a:pt x="496" y="75900"/>
                        <a:pt x="0" y="75900"/>
                        <a:pt x="0" y="84333"/>
                      </a:cubicBezTo>
                      <a:cubicBezTo>
                        <a:pt x="0" y="92767"/>
                        <a:pt x="1488" y="92767"/>
                        <a:pt x="1488" y="101200"/>
                      </a:cubicBezTo>
                      <a:cubicBezTo>
                        <a:pt x="1488" y="109633"/>
                        <a:pt x="2480" y="109633"/>
                        <a:pt x="2480" y="118067"/>
                      </a:cubicBezTo>
                      <a:cubicBezTo>
                        <a:pt x="2480" y="126500"/>
                        <a:pt x="1984" y="126500"/>
                        <a:pt x="1984" y="134933"/>
                      </a:cubicBezTo>
                      <a:cubicBezTo>
                        <a:pt x="1984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8" name="Graphic 10">
                <a:extLst>
                  <a:ext uri="{FF2B5EF4-FFF2-40B4-BE49-F238E27FC236}">
                    <a16:creationId xmlns:a16="http://schemas.microsoft.com/office/drawing/2014/main" id="{F8B384C2-CAC0-56E9-0E0E-48D0F4E89794}"/>
                  </a:ext>
                </a:extLst>
              </p:cNvPr>
              <p:cNvGrpSpPr/>
              <p:nvPr/>
            </p:nvGrpSpPr>
            <p:grpSpPr>
              <a:xfrm>
                <a:off x="5246390" y="2814249"/>
                <a:ext cx="19346" cy="170650"/>
                <a:chOff x="5246390" y="2814249"/>
                <a:chExt cx="19346" cy="170650"/>
              </a:xfrm>
              <a:noFill/>
            </p:grpSpPr>
            <p:sp>
              <p:nvSpPr>
                <p:cNvPr id="1665" name="Freeform: Shape 1664">
                  <a:extLst>
                    <a:ext uri="{FF2B5EF4-FFF2-40B4-BE49-F238E27FC236}">
                      <a16:creationId xmlns:a16="http://schemas.microsoft.com/office/drawing/2014/main" id="{CE6DDBB1-CF5F-36FE-9C8C-63814A5D12FC}"/>
                    </a:ext>
                  </a:extLst>
                </p:cNvPr>
                <p:cNvSpPr/>
                <p:nvPr/>
              </p:nvSpPr>
              <p:spPr>
                <a:xfrm>
                  <a:off x="5246390" y="2814249"/>
                  <a:ext cx="1488" cy="168666"/>
                </a:xfrm>
                <a:custGeom>
                  <a:avLst/>
                  <a:gdLst>
                    <a:gd name="connsiteX0" fmla="*/ 496 w 1488"/>
                    <a:gd name="connsiteY0" fmla="*/ 168666 h 168666"/>
                    <a:gd name="connsiteX1" fmla="*/ 992 w 1488"/>
                    <a:gd name="connsiteY1" fmla="*/ 151800 h 168666"/>
                    <a:gd name="connsiteX2" fmla="*/ 992 w 1488"/>
                    <a:gd name="connsiteY2" fmla="*/ 134933 h 168666"/>
                    <a:gd name="connsiteX3" fmla="*/ 496 w 1488"/>
                    <a:gd name="connsiteY3" fmla="*/ 118066 h 168666"/>
                    <a:gd name="connsiteX4" fmla="*/ 1488 w 1488"/>
                    <a:gd name="connsiteY4" fmla="*/ 101200 h 168666"/>
                    <a:gd name="connsiteX5" fmla="*/ 496 w 1488"/>
                    <a:gd name="connsiteY5" fmla="*/ 84333 h 168666"/>
                    <a:gd name="connsiteX6" fmla="*/ 1488 w 1488"/>
                    <a:gd name="connsiteY6" fmla="*/ 67467 h 168666"/>
                    <a:gd name="connsiteX7" fmla="*/ 0 w 1488"/>
                    <a:gd name="connsiteY7" fmla="*/ 50600 h 168666"/>
                    <a:gd name="connsiteX8" fmla="*/ 496 w 1488"/>
                    <a:gd name="connsiteY8" fmla="*/ 33733 h 168666"/>
                    <a:gd name="connsiteX9" fmla="*/ 1488 w 1488"/>
                    <a:gd name="connsiteY9" fmla="*/ 16867 h 168666"/>
                    <a:gd name="connsiteX10" fmla="*/ 0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496" y="168666"/>
                      </a:moveTo>
                      <a:cubicBezTo>
                        <a:pt x="496" y="160233"/>
                        <a:pt x="992" y="160233"/>
                        <a:pt x="992" y="151800"/>
                      </a:cubicBezTo>
                      <a:cubicBezTo>
                        <a:pt x="992" y="143367"/>
                        <a:pt x="992" y="143367"/>
                        <a:pt x="992" y="134933"/>
                      </a:cubicBezTo>
                      <a:cubicBezTo>
                        <a:pt x="992" y="126500"/>
                        <a:pt x="496" y="126500"/>
                        <a:pt x="496" y="118066"/>
                      </a:cubicBezTo>
                      <a:cubicBezTo>
                        <a:pt x="496" y="109633"/>
                        <a:pt x="1488" y="109633"/>
                        <a:pt x="1488" y="101200"/>
                      </a:cubicBezTo>
                      <a:cubicBezTo>
                        <a:pt x="1488" y="92767"/>
                        <a:pt x="496" y="92767"/>
                        <a:pt x="496" y="84333"/>
                      </a:cubicBezTo>
                      <a:cubicBezTo>
                        <a:pt x="496" y="75900"/>
                        <a:pt x="1488" y="75900"/>
                        <a:pt x="1488" y="67467"/>
                      </a:cubicBezTo>
                      <a:cubicBezTo>
                        <a:pt x="1488" y="59033"/>
                        <a:pt x="0" y="59033"/>
                        <a:pt x="0" y="50600"/>
                      </a:cubicBezTo>
                      <a:cubicBezTo>
                        <a:pt x="0" y="42167"/>
                        <a:pt x="496" y="42167"/>
                        <a:pt x="496" y="33733"/>
                      </a:cubicBezTo>
                      <a:cubicBezTo>
                        <a:pt x="496" y="25300"/>
                        <a:pt x="1488" y="25300"/>
                        <a:pt x="1488" y="16867"/>
                      </a:cubicBezTo>
                      <a:cubicBezTo>
                        <a:pt x="1488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6" name="Freeform: Shape 1665">
                  <a:extLst>
                    <a:ext uri="{FF2B5EF4-FFF2-40B4-BE49-F238E27FC236}">
                      <a16:creationId xmlns:a16="http://schemas.microsoft.com/office/drawing/2014/main" id="{2CF7FE9B-0389-A2D9-59D2-D2949A83DCED}"/>
                    </a:ext>
                  </a:extLst>
                </p:cNvPr>
                <p:cNvSpPr/>
                <p:nvPr/>
              </p:nvSpPr>
              <p:spPr>
                <a:xfrm>
                  <a:off x="5263256" y="2833100"/>
                  <a:ext cx="2480" cy="151800"/>
                </a:xfrm>
                <a:custGeom>
                  <a:avLst/>
                  <a:gdLst>
                    <a:gd name="connsiteX0" fmla="*/ 1488 w 2480"/>
                    <a:gd name="connsiteY0" fmla="*/ 0 h 151800"/>
                    <a:gd name="connsiteX1" fmla="*/ 1488 w 2480"/>
                    <a:gd name="connsiteY1" fmla="*/ 16867 h 151800"/>
                    <a:gd name="connsiteX2" fmla="*/ 1984 w 2480"/>
                    <a:gd name="connsiteY2" fmla="*/ 33734 h 151800"/>
                    <a:gd name="connsiteX3" fmla="*/ 1488 w 2480"/>
                    <a:gd name="connsiteY3" fmla="*/ 50600 h 151800"/>
                    <a:gd name="connsiteX4" fmla="*/ 496 w 2480"/>
                    <a:gd name="connsiteY4" fmla="*/ 67467 h 151800"/>
                    <a:gd name="connsiteX5" fmla="*/ 2480 w 2480"/>
                    <a:gd name="connsiteY5" fmla="*/ 84333 h 151800"/>
                    <a:gd name="connsiteX6" fmla="*/ 992 w 2480"/>
                    <a:gd name="connsiteY6" fmla="*/ 101200 h 151800"/>
                    <a:gd name="connsiteX7" fmla="*/ 992 w 2480"/>
                    <a:gd name="connsiteY7" fmla="*/ 118067 h 151800"/>
                    <a:gd name="connsiteX8" fmla="*/ 1488 w 2480"/>
                    <a:gd name="connsiteY8" fmla="*/ 134933 h 151800"/>
                    <a:gd name="connsiteX9" fmla="*/ 0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1984" y="25300"/>
                        <a:pt x="1984" y="33734"/>
                      </a:cubicBezTo>
                      <a:cubicBezTo>
                        <a:pt x="1984" y="42167"/>
                        <a:pt x="1488" y="42167"/>
                        <a:pt x="1488" y="50600"/>
                      </a:cubicBezTo>
                      <a:cubicBezTo>
                        <a:pt x="1488" y="59033"/>
                        <a:pt x="496" y="59033"/>
                        <a:pt x="496" y="67467"/>
                      </a:cubicBezTo>
                      <a:cubicBezTo>
                        <a:pt x="496" y="75900"/>
                        <a:pt x="2480" y="75900"/>
                        <a:pt x="2480" y="84333"/>
                      </a:cubicBezTo>
                      <a:cubicBezTo>
                        <a:pt x="2480" y="92767"/>
                        <a:pt x="992" y="92767"/>
                        <a:pt x="992" y="101200"/>
                      </a:cubicBezTo>
                      <a:cubicBezTo>
                        <a:pt x="992" y="109633"/>
                        <a:pt x="992" y="109633"/>
                        <a:pt x="992" y="118067"/>
                      </a:cubicBezTo>
                      <a:cubicBezTo>
                        <a:pt x="992" y="126500"/>
                        <a:pt x="1488" y="126500"/>
                        <a:pt x="1488" y="134933"/>
                      </a:cubicBezTo>
                      <a:cubicBezTo>
                        <a:pt x="1488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9" name="Graphic 10">
                <a:extLst>
                  <a:ext uri="{FF2B5EF4-FFF2-40B4-BE49-F238E27FC236}">
                    <a16:creationId xmlns:a16="http://schemas.microsoft.com/office/drawing/2014/main" id="{12445AB5-BD91-16B8-1D80-02D7BFFDCF20}"/>
                  </a:ext>
                </a:extLst>
              </p:cNvPr>
              <p:cNvGrpSpPr/>
              <p:nvPr/>
            </p:nvGrpSpPr>
            <p:grpSpPr>
              <a:xfrm>
                <a:off x="5316833" y="2814249"/>
                <a:ext cx="17858" cy="170650"/>
                <a:chOff x="5316833" y="2814249"/>
                <a:chExt cx="17858" cy="170650"/>
              </a:xfrm>
              <a:noFill/>
            </p:grpSpPr>
            <p:sp>
              <p:nvSpPr>
                <p:cNvPr id="1663" name="Freeform: Shape 1662">
                  <a:extLst>
                    <a:ext uri="{FF2B5EF4-FFF2-40B4-BE49-F238E27FC236}">
                      <a16:creationId xmlns:a16="http://schemas.microsoft.com/office/drawing/2014/main" id="{EE18EB62-E942-7C69-BF41-9C8DCE78B586}"/>
                    </a:ext>
                  </a:extLst>
                </p:cNvPr>
                <p:cNvSpPr/>
                <p:nvPr/>
              </p:nvSpPr>
              <p:spPr>
                <a:xfrm>
                  <a:off x="5316833" y="2814249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0 w 1984"/>
                    <a:gd name="connsiteY1" fmla="*/ 151800 h 168666"/>
                    <a:gd name="connsiteX2" fmla="*/ 1984 w 1984"/>
                    <a:gd name="connsiteY2" fmla="*/ 134933 h 168666"/>
                    <a:gd name="connsiteX3" fmla="*/ 1984 w 1984"/>
                    <a:gd name="connsiteY3" fmla="*/ 118066 h 168666"/>
                    <a:gd name="connsiteX4" fmla="*/ 496 w 1984"/>
                    <a:gd name="connsiteY4" fmla="*/ 101200 h 168666"/>
                    <a:gd name="connsiteX5" fmla="*/ 496 w 1984"/>
                    <a:gd name="connsiteY5" fmla="*/ 84333 h 168666"/>
                    <a:gd name="connsiteX6" fmla="*/ 1984 w 1984"/>
                    <a:gd name="connsiteY6" fmla="*/ 67467 h 168666"/>
                    <a:gd name="connsiteX7" fmla="*/ 496 w 1984"/>
                    <a:gd name="connsiteY7" fmla="*/ 50600 h 168666"/>
                    <a:gd name="connsiteX8" fmla="*/ 496 w 1984"/>
                    <a:gd name="connsiteY8" fmla="*/ 33733 h 168666"/>
                    <a:gd name="connsiteX9" fmla="*/ 1488 w 1984"/>
                    <a:gd name="connsiteY9" fmla="*/ 16867 h 168666"/>
                    <a:gd name="connsiteX10" fmla="*/ 496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7"/>
                        <a:pt x="1984" y="143367"/>
                        <a:pt x="1984" y="134933"/>
                      </a:cubicBezTo>
                      <a:cubicBezTo>
                        <a:pt x="1984" y="126500"/>
                        <a:pt x="1984" y="126500"/>
                        <a:pt x="1984" y="118066"/>
                      </a:cubicBezTo>
                      <a:cubicBezTo>
                        <a:pt x="1984" y="109633"/>
                        <a:pt x="496" y="109633"/>
                        <a:pt x="496" y="101200"/>
                      </a:cubicBezTo>
                      <a:cubicBezTo>
                        <a:pt x="496" y="92767"/>
                        <a:pt x="496" y="92767"/>
                        <a:pt x="496" y="84333"/>
                      </a:cubicBezTo>
                      <a:cubicBezTo>
                        <a:pt x="496" y="75900"/>
                        <a:pt x="1984" y="75900"/>
                        <a:pt x="1984" y="67467"/>
                      </a:cubicBezTo>
                      <a:cubicBezTo>
                        <a:pt x="1984" y="59033"/>
                        <a:pt x="496" y="59033"/>
                        <a:pt x="496" y="50600"/>
                      </a:cubicBezTo>
                      <a:cubicBezTo>
                        <a:pt x="496" y="42167"/>
                        <a:pt x="496" y="42167"/>
                        <a:pt x="496" y="33733"/>
                      </a:cubicBezTo>
                      <a:cubicBezTo>
                        <a:pt x="496" y="25300"/>
                        <a:pt x="1488" y="25300"/>
                        <a:pt x="1488" y="16867"/>
                      </a:cubicBezTo>
                      <a:cubicBezTo>
                        <a:pt x="1488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4" name="Freeform: Shape 1663">
                  <a:extLst>
                    <a:ext uri="{FF2B5EF4-FFF2-40B4-BE49-F238E27FC236}">
                      <a16:creationId xmlns:a16="http://schemas.microsoft.com/office/drawing/2014/main" id="{96AAFB3A-69E3-2931-0937-D79918D8C7EF}"/>
                    </a:ext>
                  </a:extLst>
                </p:cNvPr>
                <p:cNvSpPr/>
                <p:nvPr/>
              </p:nvSpPr>
              <p:spPr>
                <a:xfrm>
                  <a:off x="5333204" y="2833100"/>
                  <a:ext cx="1488" cy="151800"/>
                </a:xfrm>
                <a:custGeom>
                  <a:avLst/>
                  <a:gdLst>
                    <a:gd name="connsiteX0" fmla="*/ 992 w 1488"/>
                    <a:gd name="connsiteY0" fmla="*/ 0 h 151800"/>
                    <a:gd name="connsiteX1" fmla="*/ 1488 w 1488"/>
                    <a:gd name="connsiteY1" fmla="*/ 16867 h 151800"/>
                    <a:gd name="connsiteX2" fmla="*/ 496 w 1488"/>
                    <a:gd name="connsiteY2" fmla="*/ 33734 h 151800"/>
                    <a:gd name="connsiteX3" fmla="*/ 496 w 1488"/>
                    <a:gd name="connsiteY3" fmla="*/ 50600 h 151800"/>
                    <a:gd name="connsiteX4" fmla="*/ 496 w 1488"/>
                    <a:gd name="connsiteY4" fmla="*/ 67467 h 151800"/>
                    <a:gd name="connsiteX5" fmla="*/ 992 w 1488"/>
                    <a:gd name="connsiteY5" fmla="*/ 84333 h 151800"/>
                    <a:gd name="connsiteX6" fmla="*/ 0 w 1488"/>
                    <a:gd name="connsiteY6" fmla="*/ 101200 h 151800"/>
                    <a:gd name="connsiteX7" fmla="*/ 992 w 1488"/>
                    <a:gd name="connsiteY7" fmla="*/ 118067 h 151800"/>
                    <a:gd name="connsiteX8" fmla="*/ 496 w 1488"/>
                    <a:gd name="connsiteY8" fmla="*/ 134933 h 151800"/>
                    <a:gd name="connsiteX9" fmla="*/ 0 w 1488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88" h="151800">
                      <a:moveTo>
                        <a:pt x="992" y="0"/>
                      </a:moveTo>
                      <a:cubicBezTo>
                        <a:pt x="992" y="8433"/>
                        <a:pt x="1488" y="8433"/>
                        <a:pt x="1488" y="16867"/>
                      </a:cubicBezTo>
                      <a:cubicBezTo>
                        <a:pt x="1488" y="25300"/>
                        <a:pt x="496" y="25300"/>
                        <a:pt x="496" y="33734"/>
                      </a:cubicBezTo>
                      <a:cubicBezTo>
                        <a:pt x="496" y="42167"/>
                        <a:pt x="496" y="42167"/>
                        <a:pt x="496" y="50600"/>
                      </a:cubicBezTo>
                      <a:cubicBezTo>
                        <a:pt x="496" y="59033"/>
                        <a:pt x="496" y="59033"/>
                        <a:pt x="496" y="67467"/>
                      </a:cubicBezTo>
                      <a:cubicBezTo>
                        <a:pt x="496" y="75900"/>
                        <a:pt x="992" y="75900"/>
                        <a:pt x="992" y="84333"/>
                      </a:cubicBezTo>
                      <a:cubicBezTo>
                        <a:pt x="992" y="92767"/>
                        <a:pt x="0" y="92767"/>
                        <a:pt x="0" y="101200"/>
                      </a:cubicBezTo>
                      <a:cubicBezTo>
                        <a:pt x="0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60" name="Graphic 10">
                <a:extLst>
                  <a:ext uri="{FF2B5EF4-FFF2-40B4-BE49-F238E27FC236}">
                    <a16:creationId xmlns:a16="http://schemas.microsoft.com/office/drawing/2014/main" id="{D886D33F-E0C5-8532-1EE2-01AD6A02A51D}"/>
                  </a:ext>
                </a:extLst>
              </p:cNvPr>
              <p:cNvGrpSpPr/>
              <p:nvPr/>
            </p:nvGrpSpPr>
            <p:grpSpPr>
              <a:xfrm>
                <a:off x="5387772" y="2813257"/>
                <a:ext cx="18850" cy="169658"/>
                <a:chOff x="5387772" y="2813257"/>
                <a:chExt cx="18850" cy="169658"/>
              </a:xfrm>
              <a:noFill/>
            </p:grpSpPr>
            <p:sp>
              <p:nvSpPr>
                <p:cNvPr id="1661" name="Freeform: Shape 1660">
                  <a:extLst>
                    <a:ext uri="{FF2B5EF4-FFF2-40B4-BE49-F238E27FC236}">
                      <a16:creationId xmlns:a16="http://schemas.microsoft.com/office/drawing/2014/main" id="{B2F53F43-9D41-04E1-2931-C29480F289DD}"/>
                    </a:ext>
                  </a:extLst>
                </p:cNvPr>
                <p:cNvSpPr/>
                <p:nvPr/>
              </p:nvSpPr>
              <p:spPr>
                <a:xfrm>
                  <a:off x="5387772" y="2814249"/>
                  <a:ext cx="1488" cy="168666"/>
                </a:xfrm>
                <a:custGeom>
                  <a:avLst/>
                  <a:gdLst>
                    <a:gd name="connsiteX0" fmla="*/ 992 w 1488"/>
                    <a:gd name="connsiteY0" fmla="*/ 168666 h 168666"/>
                    <a:gd name="connsiteX1" fmla="*/ 496 w 1488"/>
                    <a:gd name="connsiteY1" fmla="*/ 151800 h 168666"/>
                    <a:gd name="connsiteX2" fmla="*/ 1488 w 1488"/>
                    <a:gd name="connsiteY2" fmla="*/ 134933 h 168666"/>
                    <a:gd name="connsiteX3" fmla="*/ 0 w 1488"/>
                    <a:gd name="connsiteY3" fmla="*/ 118066 h 168666"/>
                    <a:gd name="connsiteX4" fmla="*/ 496 w 1488"/>
                    <a:gd name="connsiteY4" fmla="*/ 101200 h 168666"/>
                    <a:gd name="connsiteX5" fmla="*/ 992 w 1488"/>
                    <a:gd name="connsiteY5" fmla="*/ 84333 h 168666"/>
                    <a:gd name="connsiteX6" fmla="*/ 0 w 1488"/>
                    <a:gd name="connsiteY6" fmla="*/ 67467 h 168666"/>
                    <a:gd name="connsiteX7" fmla="*/ 1488 w 1488"/>
                    <a:gd name="connsiteY7" fmla="*/ 50600 h 168666"/>
                    <a:gd name="connsiteX8" fmla="*/ 0 w 1488"/>
                    <a:gd name="connsiteY8" fmla="*/ 33733 h 168666"/>
                    <a:gd name="connsiteX9" fmla="*/ 0 w 1488"/>
                    <a:gd name="connsiteY9" fmla="*/ 16867 h 168666"/>
                    <a:gd name="connsiteX10" fmla="*/ 496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992" y="168666"/>
                      </a:moveTo>
                      <a:cubicBezTo>
                        <a:pt x="992" y="160233"/>
                        <a:pt x="496" y="160233"/>
                        <a:pt x="496" y="151800"/>
                      </a:cubicBezTo>
                      <a:cubicBezTo>
                        <a:pt x="496" y="143367"/>
                        <a:pt x="1488" y="143367"/>
                        <a:pt x="1488" y="134933"/>
                      </a:cubicBezTo>
                      <a:cubicBezTo>
                        <a:pt x="1488" y="126500"/>
                        <a:pt x="0" y="126500"/>
                        <a:pt x="0" y="118066"/>
                      </a:cubicBezTo>
                      <a:cubicBezTo>
                        <a:pt x="0" y="109633"/>
                        <a:pt x="496" y="109633"/>
                        <a:pt x="496" y="101200"/>
                      </a:cubicBezTo>
                      <a:cubicBezTo>
                        <a:pt x="496" y="92767"/>
                        <a:pt x="992" y="92767"/>
                        <a:pt x="992" y="84333"/>
                      </a:cubicBezTo>
                      <a:cubicBezTo>
                        <a:pt x="992" y="75900"/>
                        <a:pt x="0" y="75900"/>
                        <a:pt x="0" y="67467"/>
                      </a:cubicBezTo>
                      <a:cubicBezTo>
                        <a:pt x="0" y="59033"/>
                        <a:pt x="1488" y="59033"/>
                        <a:pt x="1488" y="50600"/>
                      </a:cubicBezTo>
                      <a:cubicBezTo>
                        <a:pt x="1488" y="42167"/>
                        <a:pt x="0" y="42167"/>
                        <a:pt x="0" y="33733"/>
                      </a:cubicBezTo>
                      <a:cubicBezTo>
                        <a:pt x="0" y="25300"/>
                        <a:pt x="0" y="25300"/>
                        <a:pt x="0" y="16867"/>
                      </a:cubicBezTo>
                      <a:cubicBezTo>
                        <a:pt x="0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2" name="Freeform: Shape 1661">
                  <a:extLst>
                    <a:ext uri="{FF2B5EF4-FFF2-40B4-BE49-F238E27FC236}">
                      <a16:creationId xmlns:a16="http://schemas.microsoft.com/office/drawing/2014/main" id="{2FB27B91-586B-674C-6C84-8ACFC4542F5F}"/>
                    </a:ext>
                  </a:extLst>
                </p:cNvPr>
                <p:cNvSpPr/>
                <p:nvPr/>
              </p:nvSpPr>
              <p:spPr>
                <a:xfrm>
                  <a:off x="5404143" y="2813257"/>
                  <a:ext cx="2480" cy="168666"/>
                </a:xfrm>
                <a:custGeom>
                  <a:avLst/>
                  <a:gdLst>
                    <a:gd name="connsiteX0" fmla="*/ 0 w 2480"/>
                    <a:gd name="connsiteY0" fmla="*/ 0 h 168666"/>
                    <a:gd name="connsiteX1" fmla="*/ 496 w 2480"/>
                    <a:gd name="connsiteY1" fmla="*/ 16867 h 168666"/>
                    <a:gd name="connsiteX2" fmla="*/ 1488 w 2480"/>
                    <a:gd name="connsiteY2" fmla="*/ 33734 h 168666"/>
                    <a:gd name="connsiteX3" fmla="*/ 2480 w 2480"/>
                    <a:gd name="connsiteY3" fmla="*/ 50600 h 168666"/>
                    <a:gd name="connsiteX4" fmla="*/ 1984 w 2480"/>
                    <a:gd name="connsiteY4" fmla="*/ 67467 h 168666"/>
                    <a:gd name="connsiteX5" fmla="*/ 1984 w 2480"/>
                    <a:gd name="connsiteY5" fmla="*/ 84333 h 168666"/>
                    <a:gd name="connsiteX6" fmla="*/ 1488 w 2480"/>
                    <a:gd name="connsiteY6" fmla="*/ 101200 h 168666"/>
                    <a:gd name="connsiteX7" fmla="*/ 496 w 2480"/>
                    <a:gd name="connsiteY7" fmla="*/ 118067 h 168666"/>
                    <a:gd name="connsiteX8" fmla="*/ 2480 w 2480"/>
                    <a:gd name="connsiteY8" fmla="*/ 134933 h 168666"/>
                    <a:gd name="connsiteX9" fmla="*/ 992 w 2480"/>
                    <a:gd name="connsiteY9" fmla="*/ 151800 h 168666"/>
                    <a:gd name="connsiteX10" fmla="*/ 1984 w 2480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0" y="0"/>
                      </a:moveTo>
                      <a:cubicBezTo>
                        <a:pt x="0" y="8433"/>
                        <a:pt x="496" y="8433"/>
                        <a:pt x="496" y="16867"/>
                      </a:cubicBezTo>
                      <a:cubicBezTo>
                        <a:pt x="496" y="25300"/>
                        <a:pt x="1488" y="25300"/>
                        <a:pt x="1488" y="33734"/>
                      </a:cubicBezTo>
                      <a:cubicBezTo>
                        <a:pt x="1488" y="42167"/>
                        <a:pt x="2480" y="42167"/>
                        <a:pt x="2480" y="50600"/>
                      </a:cubicBezTo>
                      <a:cubicBezTo>
                        <a:pt x="2480" y="59033"/>
                        <a:pt x="1984" y="59033"/>
                        <a:pt x="1984" y="67467"/>
                      </a:cubicBezTo>
                      <a:cubicBezTo>
                        <a:pt x="1984" y="75900"/>
                        <a:pt x="1984" y="75900"/>
                        <a:pt x="1984" y="84333"/>
                      </a:cubicBezTo>
                      <a:cubicBezTo>
                        <a:pt x="1984" y="92767"/>
                        <a:pt x="1488" y="92767"/>
                        <a:pt x="1488" y="101200"/>
                      </a:cubicBezTo>
                      <a:cubicBezTo>
                        <a:pt x="1488" y="109633"/>
                        <a:pt x="496" y="109633"/>
                        <a:pt x="496" y="118067"/>
                      </a:cubicBezTo>
                      <a:cubicBezTo>
                        <a:pt x="496" y="126500"/>
                        <a:pt x="2480" y="126500"/>
                        <a:pt x="2480" y="134933"/>
                      </a:cubicBezTo>
                      <a:cubicBezTo>
                        <a:pt x="2480" y="143367"/>
                        <a:pt x="992" y="143367"/>
                        <a:pt x="992" y="151800"/>
                      </a:cubicBezTo>
                      <a:cubicBezTo>
                        <a:pt x="992" y="160233"/>
                        <a:pt x="1984" y="160233"/>
                        <a:pt x="1984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</p:grpSp>
        <p:grpSp>
          <p:nvGrpSpPr>
            <p:cNvPr id="1390" name="Graphic 10">
              <a:extLst>
                <a:ext uri="{FF2B5EF4-FFF2-40B4-BE49-F238E27FC236}">
                  <a16:creationId xmlns:a16="http://schemas.microsoft.com/office/drawing/2014/main" id="{6680866B-AC5B-22C9-7562-68D5EE8B3A5F}"/>
                </a:ext>
              </a:extLst>
            </p:cNvPr>
            <p:cNvGrpSpPr/>
            <p:nvPr/>
          </p:nvGrpSpPr>
          <p:grpSpPr>
            <a:xfrm>
              <a:off x="6022752" y="3195182"/>
              <a:ext cx="674025" cy="313080"/>
              <a:chOff x="6022752" y="3195182"/>
              <a:chExt cx="674025" cy="313080"/>
            </a:xfrm>
            <a:noFill/>
          </p:grpSpPr>
          <p:sp>
            <p:nvSpPr>
              <p:cNvPr id="1648" name="Freeform: Shape 1647">
                <a:extLst>
                  <a:ext uri="{FF2B5EF4-FFF2-40B4-BE49-F238E27FC236}">
                    <a16:creationId xmlns:a16="http://schemas.microsoft.com/office/drawing/2014/main" id="{CDC7CB94-040B-0A98-6D1C-FB582965A9F8}"/>
                  </a:ext>
                </a:extLst>
              </p:cNvPr>
              <p:cNvSpPr/>
              <p:nvPr/>
            </p:nvSpPr>
            <p:spPr>
              <a:xfrm>
                <a:off x="6022752" y="3195182"/>
                <a:ext cx="674025" cy="313080"/>
              </a:xfrm>
              <a:custGeom>
                <a:avLst/>
                <a:gdLst>
                  <a:gd name="connsiteX0" fmla="*/ 0 w 674025"/>
                  <a:gd name="connsiteY0" fmla="*/ 299190 h 313080"/>
                  <a:gd name="connsiteX1" fmla="*/ 11906 w 674025"/>
                  <a:gd name="connsiteY1" fmla="*/ 288276 h 313080"/>
                  <a:gd name="connsiteX2" fmla="*/ 23315 w 674025"/>
                  <a:gd name="connsiteY2" fmla="*/ 276867 h 313080"/>
                  <a:gd name="connsiteX3" fmla="*/ 34230 w 674025"/>
                  <a:gd name="connsiteY3" fmla="*/ 264961 h 313080"/>
                  <a:gd name="connsiteX4" fmla="*/ 46631 w 674025"/>
                  <a:gd name="connsiteY4" fmla="*/ 254543 h 313080"/>
                  <a:gd name="connsiteX5" fmla="*/ 57545 w 674025"/>
                  <a:gd name="connsiteY5" fmla="*/ 242637 h 313080"/>
                  <a:gd name="connsiteX6" fmla="*/ 68458 w 674025"/>
                  <a:gd name="connsiteY6" fmla="*/ 230731 h 313080"/>
                  <a:gd name="connsiteX7" fmla="*/ 79868 w 674025"/>
                  <a:gd name="connsiteY7" fmla="*/ 219322 h 313080"/>
                  <a:gd name="connsiteX8" fmla="*/ 91278 w 674025"/>
                  <a:gd name="connsiteY8" fmla="*/ 207912 h 313080"/>
                  <a:gd name="connsiteX9" fmla="*/ 102192 w 674025"/>
                  <a:gd name="connsiteY9" fmla="*/ 196006 h 313080"/>
                  <a:gd name="connsiteX10" fmla="*/ 114594 w 674025"/>
                  <a:gd name="connsiteY10" fmla="*/ 185588 h 313080"/>
                  <a:gd name="connsiteX11" fmla="*/ 126500 w 674025"/>
                  <a:gd name="connsiteY11" fmla="*/ 174675 h 313080"/>
                  <a:gd name="connsiteX12" fmla="*/ 137413 w 674025"/>
                  <a:gd name="connsiteY12" fmla="*/ 162769 h 313080"/>
                  <a:gd name="connsiteX13" fmla="*/ 148823 w 674025"/>
                  <a:gd name="connsiteY13" fmla="*/ 151359 h 313080"/>
                  <a:gd name="connsiteX14" fmla="*/ 159737 w 674025"/>
                  <a:gd name="connsiteY14" fmla="*/ 139453 h 313080"/>
                  <a:gd name="connsiteX15" fmla="*/ 171147 w 674025"/>
                  <a:gd name="connsiteY15" fmla="*/ 128043 h 313080"/>
                  <a:gd name="connsiteX16" fmla="*/ 183549 w 674025"/>
                  <a:gd name="connsiteY16" fmla="*/ 117626 h 313080"/>
                  <a:gd name="connsiteX17" fmla="*/ 194958 w 674025"/>
                  <a:gd name="connsiteY17" fmla="*/ 105720 h 313080"/>
                  <a:gd name="connsiteX18" fmla="*/ 206368 w 674025"/>
                  <a:gd name="connsiteY18" fmla="*/ 94310 h 313080"/>
                  <a:gd name="connsiteX19" fmla="*/ 217778 w 674025"/>
                  <a:gd name="connsiteY19" fmla="*/ 82900 h 313080"/>
                  <a:gd name="connsiteX20" fmla="*/ 229188 w 674025"/>
                  <a:gd name="connsiteY20" fmla="*/ 71490 h 313080"/>
                  <a:gd name="connsiteX21" fmla="*/ 241094 w 674025"/>
                  <a:gd name="connsiteY21" fmla="*/ 60577 h 313080"/>
                  <a:gd name="connsiteX22" fmla="*/ 252007 w 674025"/>
                  <a:gd name="connsiteY22" fmla="*/ 48671 h 313080"/>
                  <a:gd name="connsiteX23" fmla="*/ 263417 w 674025"/>
                  <a:gd name="connsiteY23" fmla="*/ 37261 h 313080"/>
                  <a:gd name="connsiteX24" fmla="*/ 274827 w 674025"/>
                  <a:gd name="connsiteY24" fmla="*/ 25851 h 313080"/>
                  <a:gd name="connsiteX25" fmla="*/ 285741 w 674025"/>
                  <a:gd name="connsiteY25" fmla="*/ 13945 h 313080"/>
                  <a:gd name="connsiteX26" fmla="*/ 297647 w 674025"/>
                  <a:gd name="connsiteY26" fmla="*/ 3032 h 313080"/>
                  <a:gd name="connsiteX27" fmla="*/ 314017 w 674025"/>
                  <a:gd name="connsiteY27" fmla="*/ 2039 h 313080"/>
                  <a:gd name="connsiteX28" fmla="*/ 330388 w 674025"/>
                  <a:gd name="connsiteY28" fmla="*/ 3528 h 313080"/>
                  <a:gd name="connsiteX29" fmla="*/ 346759 w 674025"/>
                  <a:gd name="connsiteY29" fmla="*/ 2039 h 313080"/>
                  <a:gd name="connsiteX30" fmla="*/ 363129 w 674025"/>
                  <a:gd name="connsiteY30" fmla="*/ 2535 h 313080"/>
                  <a:gd name="connsiteX31" fmla="*/ 379500 w 674025"/>
                  <a:gd name="connsiteY31" fmla="*/ 3528 h 313080"/>
                  <a:gd name="connsiteX32" fmla="*/ 395870 w 674025"/>
                  <a:gd name="connsiteY32" fmla="*/ 2039 h 313080"/>
                  <a:gd name="connsiteX33" fmla="*/ 412241 w 674025"/>
                  <a:gd name="connsiteY33" fmla="*/ 3528 h 313080"/>
                  <a:gd name="connsiteX34" fmla="*/ 428611 w 674025"/>
                  <a:gd name="connsiteY34" fmla="*/ 4024 h 313080"/>
                  <a:gd name="connsiteX35" fmla="*/ 444982 w 674025"/>
                  <a:gd name="connsiteY35" fmla="*/ 2039 h 313080"/>
                  <a:gd name="connsiteX36" fmla="*/ 461352 w 674025"/>
                  <a:gd name="connsiteY36" fmla="*/ 2535 h 313080"/>
                  <a:gd name="connsiteX37" fmla="*/ 477723 w 674025"/>
                  <a:gd name="connsiteY37" fmla="*/ 4024 h 313080"/>
                  <a:gd name="connsiteX38" fmla="*/ 494094 w 674025"/>
                  <a:gd name="connsiteY38" fmla="*/ 4024 h 313080"/>
                  <a:gd name="connsiteX39" fmla="*/ 510464 w 674025"/>
                  <a:gd name="connsiteY39" fmla="*/ 3528 h 313080"/>
                  <a:gd name="connsiteX40" fmla="*/ 526835 w 674025"/>
                  <a:gd name="connsiteY40" fmla="*/ 1543 h 313080"/>
                  <a:gd name="connsiteX41" fmla="*/ 543205 w 674025"/>
                  <a:gd name="connsiteY41" fmla="*/ 2039 h 313080"/>
                  <a:gd name="connsiteX42" fmla="*/ 559576 w 674025"/>
                  <a:gd name="connsiteY42" fmla="*/ 4024 h 313080"/>
                  <a:gd name="connsiteX43" fmla="*/ 575946 w 674025"/>
                  <a:gd name="connsiteY43" fmla="*/ 4024 h 313080"/>
                  <a:gd name="connsiteX44" fmla="*/ 592317 w 674025"/>
                  <a:gd name="connsiteY44" fmla="*/ 3528 h 313080"/>
                  <a:gd name="connsiteX45" fmla="*/ 608687 w 674025"/>
                  <a:gd name="connsiteY45" fmla="*/ 2535 h 313080"/>
                  <a:gd name="connsiteX46" fmla="*/ 625058 w 674025"/>
                  <a:gd name="connsiteY46" fmla="*/ 2039 h 313080"/>
                  <a:gd name="connsiteX47" fmla="*/ 641428 w 674025"/>
                  <a:gd name="connsiteY47" fmla="*/ 2535 h 313080"/>
                  <a:gd name="connsiteX48" fmla="*/ 657799 w 674025"/>
                  <a:gd name="connsiteY48" fmla="*/ 3528 h 313080"/>
                  <a:gd name="connsiteX49" fmla="*/ 673178 w 674025"/>
                  <a:gd name="connsiteY49" fmla="*/ 3528 h 313080"/>
                  <a:gd name="connsiteX50" fmla="*/ 662760 w 674025"/>
                  <a:gd name="connsiteY50" fmla="*/ 14441 h 313080"/>
                  <a:gd name="connsiteX51" fmla="*/ 651847 w 674025"/>
                  <a:gd name="connsiteY51" fmla="*/ 26347 h 313080"/>
                  <a:gd name="connsiteX52" fmla="*/ 640932 w 674025"/>
                  <a:gd name="connsiteY52" fmla="*/ 37757 h 313080"/>
                  <a:gd name="connsiteX53" fmla="*/ 628035 w 674025"/>
                  <a:gd name="connsiteY53" fmla="*/ 47679 h 313080"/>
                  <a:gd name="connsiteX54" fmla="*/ 617121 w 674025"/>
                  <a:gd name="connsiteY54" fmla="*/ 59584 h 313080"/>
                  <a:gd name="connsiteX55" fmla="*/ 606703 w 674025"/>
                  <a:gd name="connsiteY55" fmla="*/ 71490 h 313080"/>
                  <a:gd name="connsiteX56" fmla="*/ 595294 w 674025"/>
                  <a:gd name="connsiteY56" fmla="*/ 82404 h 313080"/>
                  <a:gd name="connsiteX57" fmla="*/ 583388 w 674025"/>
                  <a:gd name="connsiteY57" fmla="*/ 93318 h 313080"/>
                  <a:gd name="connsiteX58" fmla="*/ 572474 w 674025"/>
                  <a:gd name="connsiteY58" fmla="*/ 105224 h 313080"/>
                  <a:gd name="connsiteX59" fmla="*/ 561560 w 674025"/>
                  <a:gd name="connsiteY59" fmla="*/ 117130 h 313080"/>
                  <a:gd name="connsiteX60" fmla="*/ 549158 w 674025"/>
                  <a:gd name="connsiteY60" fmla="*/ 127547 h 313080"/>
                  <a:gd name="connsiteX61" fmla="*/ 538741 w 674025"/>
                  <a:gd name="connsiteY61" fmla="*/ 139453 h 313080"/>
                  <a:gd name="connsiteX62" fmla="*/ 527331 w 674025"/>
                  <a:gd name="connsiteY62" fmla="*/ 150863 h 313080"/>
                  <a:gd name="connsiteX63" fmla="*/ 515425 w 674025"/>
                  <a:gd name="connsiteY63" fmla="*/ 161777 h 313080"/>
                  <a:gd name="connsiteX64" fmla="*/ 504511 w 674025"/>
                  <a:gd name="connsiteY64" fmla="*/ 173682 h 313080"/>
                  <a:gd name="connsiteX65" fmla="*/ 492605 w 674025"/>
                  <a:gd name="connsiteY65" fmla="*/ 184596 h 313080"/>
                  <a:gd name="connsiteX66" fmla="*/ 481196 w 674025"/>
                  <a:gd name="connsiteY66" fmla="*/ 196006 h 313080"/>
                  <a:gd name="connsiteX67" fmla="*/ 470282 w 674025"/>
                  <a:gd name="connsiteY67" fmla="*/ 207912 h 313080"/>
                  <a:gd name="connsiteX68" fmla="*/ 459368 w 674025"/>
                  <a:gd name="connsiteY68" fmla="*/ 219818 h 313080"/>
                  <a:gd name="connsiteX69" fmla="*/ 447958 w 674025"/>
                  <a:gd name="connsiteY69" fmla="*/ 231228 h 313080"/>
                  <a:gd name="connsiteX70" fmla="*/ 436053 w 674025"/>
                  <a:gd name="connsiteY70" fmla="*/ 242141 h 313080"/>
                  <a:gd name="connsiteX71" fmla="*/ 424147 w 674025"/>
                  <a:gd name="connsiteY71" fmla="*/ 253055 h 313080"/>
                  <a:gd name="connsiteX72" fmla="*/ 413729 w 674025"/>
                  <a:gd name="connsiteY72" fmla="*/ 265457 h 313080"/>
                  <a:gd name="connsiteX73" fmla="*/ 401823 w 674025"/>
                  <a:gd name="connsiteY73" fmla="*/ 275875 h 313080"/>
                  <a:gd name="connsiteX74" fmla="*/ 390413 w 674025"/>
                  <a:gd name="connsiteY74" fmla="*/ 287284 h 313080"/>
                  <a:gd name="connsiteX75" fmla="*/ 379500 w 674025"/>
                  <a:gd name="connsiteY75" fmla="*/ 299190 h 313080"/>
                  <a:gd name="connsiteX76" fmla="*/ 368090 w 674025"/>
                  <a:gd name="connsiteY76" fmla="*/ 311096 h 313080"/>
                  <a:gd name="connsiteX77" fmla="*/ 351719 w 674025"/>
                  <a:gd name="connsiteY77" fmla="*/ 311096 h 313080"/>
                  <a:gd name="connsiteX78" fmla="*/ 335845 w 674025"/>
                  <a:gd name="connsiteY78" fmla="*/ 310600 h 313080"/>
                  <a:gd name="connsiteX79" fmla="*/ 319970 w 674025"/>
                  <a:gd name="connsiteY79" fmla="*/ 311096 h 313080"/>
                  <a:gd name="connsiteX80" fmla="*/ 304095 w 674025"/>
                  <a:gd name="connsiteY80" fmla="*/ 310600 h 313080"/>
                  <a:gd name="connsiteX81" fmla="*/ 288221 w 674025"/>
                  <a:gd name="connsiteY81" fmla="*/ 311096 h 313080"/>
                  <a:gd name="connsiteX82" fmla="*/ 272347 w 674025"/>
                  <a:gd name="connsiteY82" fmla="*/ 311096 h 313080"/>
                  <a:gd name="connsiteX83" fmla="*/ 256472 w 674025"/>
                  <a:gd name="connsiteY83" fmla="*/ 313080 h 313080"/>
                  <a:gd name="connsiteX84" fmla="*/ 240598 w 674025"/>
                  <a:gd name="connsiteY84" fmla="*/ 311592 h 313080"/>
                  <a:gd name="connsiteX85" fmla="*/ 224723 w 674025"/>
                  <a:gd name="connsiteY85" fmla="*/ 313080 h 313080"/>
                  <a:gd name="connsiteX86" fmla="*/ 208849 w 674025"/>
                  <a:gd name="connsiteY86" fmla="*/ 312584 h 313080"/>
                  <a:gd name="connsiteX87" fmla="*/ 192974 w 674025"/>
                  <a:gd name="connsiteY87" fmla="*/ 312584 h 313080"/>
                  <a:gd name="connsiteX88" fmla="*/ 177100 w 674025"/>
                  <a:gd name="connsiteY88" fmla="*/ 312584 h 313080"/>
                  <a:gd name="connsiteX89" fmla="*/ 161225 w 674025"/>
                  <a:gd name="connsiteY89" fmla="*/ 311096 h 313080"/>
                  <a:gd name="connsiteX90" fmla="*/ 145350 w 674025"/>
                  <a:gd name="connsiteY90" fmla="*/ 312584 h 313080"/>
                  <a:gd name="connsiteX91" fmla="*/ 129476 w 674025"/>
                  <a:gd name="connsiteY91" fmla="*/ 311096 h 313080"/>
                  <a:gd name="connsiteX92" fmla="*/ 113602 w 674025"/>
                  <a:gd name="connsiteY92" fmla="*/ 311096 h 313080"/>
                  <a:gd name="connsiteX93" fmla="*/ 97727 w 674025"/>
                  <a:gd name="connsiteY93" fmla="*/ 311592 h 313080"/>
                  <a:gd name="connsiteX94" fmla="*/ 81853 w 674025"/>
                  <a:gd name="connsiteY94" fmla="*/ 312584 h 313080"/>
                  <a:gd name="connsiteX95" fmla="*/ 65978 w 674025"/>
                  <a:gd name="connsiteY95" fmla="*/ 312584 h 313080"/>
                  <a:gd name="connsiteX96" fmla="*/ 50104 w 674025"/>
                  <a:gd name="connsiteY96" fmla="*/ 311096 h 313080"/>
                  <a:gd name="connsiteX97" fmla="*/ 34230 w 674025"/>
                  <a:gd name="connsiteY97" fmla="*/ 312088 h 313080"/>
                  <a:gd name="connsiteX98" fmla="*/ 17859 w 674025"/>
                  <a:gd name="connsiteY98" fmla="*/ 312088 h 313080"/>
                  <a:gd name="connsiteX99" fmla="*/ 1488 w 674025"/>
                  <a:gd name="connsiteY99" fmla="*/ 311592 h 313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674025" h="313080">
                    <a:moveTo>
                      <a:pt x="0" y="299190"/>
                    </a:moveTo>
                    <a:cubicBezTo>
                      <a:pt x="5953" y="293237"/>
                      <a:pt x="6449" y="294229"/>
                      <a:pt x="11906" y="288276"/>
                    </a:cubicBezTo>
                    <a:cubicBezTo>
                      <a:pt x="17859" y="282323"/>
                      <a:pt x="17363" y="282323"/>
                      <a:pt x="23315" y="276867"/>
                    </a:cubicBezTo>
                    <a:cubicBezTo>
                      <a:pt x="29269" y="270914"/>
                      <a:pt x="28772" y="270914"/>
                      <a:pt x="34230" y="264961"/>
                    </a:cubicBezTo>
                    <a:cubicBezTo>
                      <a:pt x="40182" y="259008"/>
                      <a:pt x="40678" y="260000"/>
                      <a:pt x="46631" y="254543"/>
                    </a:cubicBezTo>
                    <a:cubicBezTo>
                      <a:pt x="52088" y="249086"/>
                      <a:pt x="51592" y="248590"/>
                      <a:pt x="57545" y="242637"/>
                    </a:cubicBezTo>
                    <a:cubicBezTo>
                      <a:pt x="63002" y="237181"/>
                      <a:pt x="63002" y="236684"/>
                      <a:pt x="68458" y="230731"/>
                    </a:cubicBezTo>
                    <a:cubicBezTo>
                      <a:pt x="73916" y="225275"/>
                      <a:pt x="74412" y="225275"/>
                      <a:pt x="79868" y="219322"/>
                    </a:cubicBezTo>
                    <a:cubicBezTo>
                      <a:pt x="85821" y="213369"/>
                      <a:pt x="85821" y="213865"/>
                      <a:pt x="91278" y="207912"/>
                    </a:cubicBezTo>
                    <a:cubicBezTo>
                      <a:pt x="97231" y="201959"/>
                      <a:pt x="96239" y="201463"/>
                      <a:pt x="102192" y="196006"/>
                    </a:cubicBezTo>
                    <a:cubicBezTo>
                      <a:pt x="107649" y="190549"/>
                      <a:pt x="108641" y="191045"/>
                      <a:pt x="114594" y="185588"/>
                    </a:cubicBezTo>
                    <a:cubicBezTo>
                      <a:pt x="120547" y="179635"/>
                      <a:pt x="120547" y="180132"/>
                      <a:pt x="126500" y="174675"/>
                    </a:cubicBezTo>
                    <a:cubicBezTo>
                      <a:pt x="132453" y="168722"/>
                      <a:pt x="131461" y="168226"/>
                      <a:pt x="137413" y="162769"/>
                    </a:cubicBezTo>
                    <a:cubicBezTo>
                      <a:pt x="143367" y="156816"/>
                      <a:pt x="143367" y="157312"/>
                      <a:pt x="148823" y="151359"/>
                    </a:cubicBezTo>
                    <a:cubicBezTo>
                      <a:pt x="154776" y="145406"/>
                      <a:pt x="154280" y="145406"/>
                      <a:pt x="159737" y="139453"/>
                    </a:cubicBezTo>
                    <a:cubicBezTo>
                      <a:pt x="165690" y="133500"/>
                      <a:pt x="165194" y="133500"/>
                      <a:pt x="171147" y="128043"/>
                    </a:cubicBezTo>
                    <a:cubicBezTo>
                      <a:pt x="177100" y="122090"/>
                      <a:pt x="177596" y="123083"/>
                      <a:pt x="183549" y="117626"/>
                    </a:cubicBezTo>
                    <a:cubicBezTo>
                      <a:pt x="189502" y="111673"/>
                      <a:pt x="189006" y="111673"/>
                      <a:pt x="194958" y="105720"/>
                    </a:cubicBezTo>
                    <a:cubicBezTo>
                      <a:pt x="200912" y="99767"/>
                      <a:pt x="200912" y="100263"/>
                      <a:pt x="206368" y="94310"/>
                    </a:cubicBezTo>
                    <a:cubicBezTo>
                      <a:pt x="212321" y="88357"/>
                      <a:pt x="211825" y="88357"/>
                      <a:pt x="217778" y="82900"/>
                    </a:cubicBezTo>
                    <a:cubicBezTo>
                      <a:pt x="223731" y="76947"/>
                      <a:pt x="223731" y="77443"/>
                      <a:pt x="229188" y="71490"/>
                    </a:cubicBezTo>
                    <a:cubicBezTo>
                      <a:pt x="235141" y="65537"/>
                      <a:pt x="235141" y="66034"/>
                      <a:pt x="241094" y="60577"/>
                    </a:cubicBezTo>
                    <a:cubicBezTo>
                      <a:pt x="247046" y="54624"/>
                      <a:pt x="246550" y="54624"/>
                      <a:pt x="252007" y="48671"/>
                    </a:cubicBezTo>
                    <a:cubicBezTo>
                      <a:pt x="257961" y="42718"/>
                      <a:pt x="257465" y="42718"/>
                      <a:pt x="263417" y="37261"/>
                    </a:cubicBezTo>
                    <a:cubicBezTo>
                      <a:pt x="269370" y="31308"/>
                      <a:pt x="268874" y="31308"/>
                      <a:pt x="274827" y="25851"/>
                    </a:cubicBezTo>
                    <a:cubicBezTo>
                      <a:pt x="280780" y="19898"/>
                      <a:pt x="280284" y="19898"/>
                      <a:pt x="285741" y="13945"/>
                    </a:cubicBezTo>
                    <a:cubicBezTo>
                      <a:pt x="291198" y="7992"/>
                      <a:pt x="290206" y="6504"/>
                      <a:pt x="297647" y="3032"/>
                    </a:cubicBezTo>
                    <a:cubicBezTo>
                      <a:pt x="305088" y="55"/>
                      <a:pt x="305584" y="2039"/>
                      <a:pt x="314017" y="2039"/>
                    </a:cubicBezTo>
                    <a:cubicBezTo>
                      <a:pt x="322451" y="2039"/>
                      <a:pt x="322451" y="3528"/>
                      <a:pt x="330388" y="3528"/>
                    </a:cubicBezTo>
                    <a:cubicBezTo>
                      <a:pt x="338821" y="3528"/>
                      <a:pt x="338821" y="2039"/>
                      <a:pt x="346759" y="2039"/>
                    </a:cubicBezTo>
                    <a:cubicBezTo>
                      <a:pt x="355192" y="2039"/>
                      <a:pt x="355192" y="2535"/>
                      <a:pt x="363129" y="2535"/>
                    </a:cubicBezTo>
                    <a:cubicBezTo>
                      <a:pt x="371563" y="2535"/>
                      <a:pt x="371563" y="3528"/>
                      <a:pt x="379500" y="3528"/>
                    </a:cubicBezTo>
                    <a:cubicBezTo>
                      <a:pt x="387933" y="3528"/>
                      <a:pt x="387933" y="2039"/>
                      <a:pt x="395870" y="2039"/>
                    </a:cubicBezTo>
                    <a:cubicBezTo>
                      <a:pt x="404304" y="2039"/>
                      <a:pt x="404304" y="3528"/>
                      <a:pt x="412241" y="3528"/>
                    </a:cubicBezTo>
                    <a:cubicBezTo>
                      <a:pt x="420674" y="3528"/>
                      <a:pt x="420674" y="4024"/>
                      <a:pt x="428611" y="4024"/>
                    </a:cubicBezTo>
                    <a:cubicBezTo>
                      <a:pt x="437045" y="4024"/>
                      <a:pt x="437045" y="2039"/>
                      <a:pt x="444982" y="2039"/>
                    </a:cubicBezTo>
                    <a:cubicBezTo>
                      <a:pt x="453415" y="2039"/>
                      <a:pt x="453415" y="2535"/>
                      <a:pt x="461352" y="2535"/>
                    </a:cubicBezTo>
                    <a:cubicBezTo>
                      <a:pt x="469786" y="2535"/>
                      <a:pt x="469786" y="4024"/>
                      <a:pt x="477723" y="4024"/>
                    </a:cubicBezTo>
                    <a:cubicBezTo>
                      <a:pt x="486156" y="4024"/>
                      <a:pt x="486156" y="4024"/>
                      <a:pt x="494094" y="4024"/>
                    </a:cubicBezTo>
                    <a:cubicBezTo>
                      <a:pt x="502527" y="4024"/>
                      <a:pt x="502527" y="3528"/>
                      <a:pt x="510464" y="3528"/>
                    </a:cubicBezTo>
                    <a:cubicBezTo>
                      <a:pt x="518897" y="3528"/>
                      <a:pt x="518897" y="1543"/>
                      <a:pt x="526835" y="1543"/>
                    </a:cubicBezTo>
                    <a:cubicBezTo>
                      <a:pt x="535268" y="1543"/>
                      <a:pt x="535268" y="2039"/>
                      <a:pt x="543205" y="2039"/>
                    </a:cubicBezTo>
                    <a:cubicBezTo>
                      <a:pt x="551638" y="2039"/>
                      <a:pt x="551638" y="4024"/>
                      <a:pt x="559576" y="4024"/>
                    </a:cubicBezTo>
                    <a:cubicBezTo>
                      <a:pt x="568009" y="4024"/>
                      <a:pt x="568009" y="4024"/>
                      <a:pt x="575946" y="4024"/>
                    </a:cubicBezTo>
                    <a:cubicBezTo>
                      <a:pt x="584379" y="4024"/>
                      <a:pt x="584379" y="3528"/>
                      <a:pt x="592317" y="3528"/>
                    </a:cubicBezTo>
                    <a:cubicBezTo>
                      <a:pt x="600750" y="3528"/>
                      <a:pt x="600750" y="2535"/>
                      <a:pt x="608687" y="2535"/>
                    </a:cubicBezTo>
                    <a:cubicBezTo>
                      <a:pt x="617121" y="2535"/>
                      <a:pt x="617121" y="2039"/>
                      <a:pt x="625058" y="2039"/>
                    </a:cubicBezTo>
                    <a:cubicBezTo>
                      <a:pt x="633491" y="2039"/>
                      <a:pt x="633491" y="2535"/>
                      <a:pt x="641428" y="2535"/>
                    </a:cubicBezTo>
                    <a:cubicBezTo>
                      <a:pt x="649862" y="2535"/>
                      <a:pt x="649862" y="3528"/>
                      <a:pt x="657799" y="3528"/>
                    </a:cubicBezTo>
                    <a:cubicBezTo>
                      <a:pt x="665736" y="3528"/>
                      <a:pt x="669705" y="-4410"/>
                      <a:pt x="673178" y="3528"/>
                    </a:cubicBezTo>
                    <a:cubicBezTo>
                      <a:pt x="676650" y="10969"/>
                      <a:pt x="668713" y="8488"/>
                      <a:pt x="662760" y="14441"/>
                    </a:cubicBezTo>
                    <a:cubicBezTo>
                      <a:pt x="657303" y="19898"/>
                      <a:pt x="657303" y="20394"/>
                      <a:pt x="651847" y="26347"/>
                    </a:cubicBezTo>
                    <a:cubicBezTo>
                      <a:pt x="646389" y="31804"/>
                      <a:pt x="646389" y="32300"/>
                      <a:pt x="640932" y="37757"/>
                    </a:cubicBezTo>
                    <a:cubicBezTo>
                      <a:pt x="635476" y="43214"/>
                      <a:pt x="633987" y="42222"/>
                      <a:pt x="628035" y="47679"/>
                    </a:cubicBezTo>
                    <a:cubicBezTo>
                      <a:pt x="622578" y="53135"/>
                      <a:pt x="622578" y="53632"/>
                      <a:pt x="617121" y="59584"/>
                    </a:cubicBezTo>
                    <a:cubicBezTo>
                      <a:pt x="611664" y="65041"/>
                      <a:pt x="612160" y="66034"/>
                      <a:pt x="606703" y="71490"/>
                    </a:cubicBezTo>
                    <a:cubicBezTo>
                      <a:pt x="601246" y="76947"/>
                      <a:pt x="600750" y="76947"/>
                      <a:pt x="595294" y="82404"/>
                    </a:cubicBezTo>
                    <a:cubicBezTo>
                      <a:pt x="589837" y="87861"/>
                      <a:pt x="589340" y="87861"/>
                      <a:pt x="583388" y="93318"/>
                    </a:cubicBezTo>
                    <a:cubicBezTo>
                      <a:pt x="577931" y="98775"/>
                      <a:pt x="577931" y="99271"/>
                      <a:pt x="572474" y="105224"/>
                    </a:cubicBezTo>
                    <a:cubicBezTo>
                      <a:pt x="567017" y="110681"/>
                      <a:pt x="567017" y="111177"/>
                      <a:pt x="561560" y="117130"/>
                    </a:cubicBezTo>
                    <a:cubicBezTo>
                      <a:pt x="556103" y="122586"/>
                      <a:pt x="555111" y="122090"/>
                      <a:pt x="549158" y="127547"/>
                    </a:cubicBezTo>
                    <a:cubicBezTo>
                      <a:pt x="543701" y="133004"/>
                      <a:pt x="544197" y="133996"/>
                      <a:pt x="538741" y="139453"/>
                    </a:cubicBezTo>
                    <a:cubicBezTo>
                      <a:pt x="533284" y="144910"/>
                      <a:pt x="532788" y="144910"/>
                      <a:pt x="527331" y="150863"/>
                    </a:cubicBezTo>
                    <a:cubicBezTo>
                      <a:pt x="521874" y="156320"/>
                      <a:pt x="520882" y="155824"/>
                      <a:pt x="515425" y="161777"/>
                    </a:cubicBezTo>
                    <a:cubicBezTo>
                      <a:pt x="509968" y="167233"/>
                      <a:pt x="510464" y="167730"/>
                      <a:pt x="504511" y="173682"/>
                    </a:cubicBezTo>
                    <a:cubicBezTo>
                      <a:pt x="499054" y="179139"/>
                      <a:pt x="498062" y="178643"/>
                      <a:pt x="492605" y="184596"/>
                    </a:cubicBezTo>
                    <a:cubicBezTo>
                      <a:pt x="487148" y="190053"/>
                      <a:pt x="486652" y="190053"/>
                      <a:pt x="481196" y="196006"/>
                    </a:cubicBezTo>
                    <a:cubicBezTo>
                      <a:pt x="475739" y="201463"/>
                      <a:pt x="475739" y="201959"/>
                      <a:pt x="470282" y="207912"/>
                    </a:cubicBezTo>
                    <a:cubicBezTo>
                      <a:pt x="464825" y="213369"/>
                      <a:pt x="464825" y="213865"/>
                      <a:pt x="459368" y="219818"/>
                    </a:cubicBezTo>
                    <a:cubicBezTo>
                      <a:pt x="453911" y="225770"/>
                      <a:pt x="453415" y="225275"/>
                      <a:pt x="447958" y="231228"/>
                    </a:cubicBezTo>
                    <a:cubicBezTo>
                      <a:pt x="442501" y="236684"/>
                      <a:pt x="441509" y="236188"/>
                      <a:pt x="436053" y="242141"/>
                    </a:cubicBezTo>
                    <a:cubicBezTo>
                      <a:pt x="430595" y="247598"/>
                      <a:pt x="429603" y="247102"/>
                      <a:pt x="424147" y="253055"/>
                    </a:cubicBezTo>
                    <a:cubicBezTo>
                      <a:pt x="418690" y="258512"/>
                      <a:pt x="419682" y="260000"/>
                      <a:pt x="413729" y="265457"/>
                    </a:cubicBezTo>
                    <a:cubicBezTo>
                      <a:pt x="408272" y="270914"/>
                      <a:pt x="407280" y="270417"/>
                      <a:pt x="401823" y="275875"/>
                    </a:cubicBezTo>
                    <a:cubicBezTo>
                      <a:pt x="396366" y="281331"/>
                      <a:pt x="396366" y="281331"/>
                      <a:pt x="390413" y="287284"/>
                    </a:cubicBezTo>
                    <a:cubicBezTo>
                      <a:pt x="384460" y="293237"/>
                      <a:pt x="384956" y="293237"/>
                      <a:pt x="379500" y="299190"/>
                    </a:cubicBezTo>
                    <a:cubicBezTo>
                      <a:pt x="373546" y="305143"/>
                      <a:pt x="376027" y="307623"/>
                      <a:pt x="368090" y="311096"/>
                    </a:cubicBezTo>
                    <a:cubicBezTo>
                      <a:pt x="360648" y="314073"/>
                      <a:pt x="360152" y="311096"/>
                      <a:pt x="351719" y="311096"/>
                    </a:cubicBezTo>
                    <a:cubicBezTo>
                      <a:pt x="343782" y="311096"/>
                      <a:pt x="343782" y="310600"/>
                      <a:pt x="335845" y="310600"/>
                    </a:cubicBezTo>
                    <a:cubicBezTo>
                      <a:pt x="327907" y="310600"/>
                      <a:pt x="327907" y="311096"/>
                      <a:pt x="319970" y="311096"/>
                    </a:cubicBezTo>
                    <a:cubicBezTo>
                      <a:pt x="312033" y="311096"/>
                      <a:pt x="312033" y="310600"/>
                      <a:pt x="304095" y="310600"/>
                    </a:cubicBezTo>
                    <a:cubicBezTo>
                      <a:pt x="296158" y="310600"/>
                      <a:pt x="296158" y="311096"/>
                      <a:pt x="288221" y="311096"/>
                    </a:cubicBezTo>
                    <a:cubicBezTo>
                      <a:pt x="280284" y="311096"/>
                      <a:pt x="280284" y="311096"/>
                      <a:pt x="272347" y="311096"/>
                    </a:cubicBezTo>
                    <a:cubicBezTo>
                      <a:pt x="264409" y="311096"/>
                      <a:pt x="264409" y="313080"/>
                      <a:pt x="256472" y="313080"/>
                    </a:cubicBezTo>
                    <a:cubicBezTo>
                      <a:pt x="248535" y="313080"/>
                      <a:pt x="248535" y="311592"/>
                      <a:pt x="240598" y="311592"/>
                    </a:cubicBezTo>
                    <a:cubicBezTo>
                      <a:pt x="232661" y="311592"/>
                      <a:pt x="232661" y="313080"/>
                      <a:pt x="224723" y="313080"/>
                    </a:cubicBezTo>
                    <a:cubicBezTo>
                      <a:pt x="216786" y="313080"/>
                      <a:pt x="216786" y="312584"/>
                      <a:pt x="208849" y="312584"/>
                    </a:cubicBezTo>
                    <a:cubicBezTo>
                      <a:pt x="200912" y="312584"/>
                      <a:pt x="200912" y="312584"/>
                      <a:pt x="192974" y="312584"/>
                    </a:cubicBezTo>
                    <a:cubicBezTo>
                      <a:pt x="185037" y="312584"/>
                      <a:pt x="185037" y="312584"/>
                      <a:pt x="177100" y="312584"/>
                    </a:cubicBezTo>
                    <a:cubicBezTo>
                      <a:pt x="169162" y="312584"/>
                      <a:pt x="169162" y="311096"/>
                      <a:pt x="161225" y="311096"/>
                    </a:cubicBezTo>
                    <a:cubicBezTo>
                      <a:pt x="153288" y="311096"/>
                      <a:pt x="153288" y="312584"/>
                      <a:pt x="145350" y="312584"/>
                    </a:cubicBezTo>
                    <a:cubicBezTo>
                      <a:pt x="137413" y="312584"/>
                      <a:pt x="137413" y="311096"/>
                      <a:pt x="129476" y="311096"/>
                    </a:cubicBezTo>
                    <a:cubicBezTo>
                      <a:pt x="121539" y="311096"/>
                      <a:pt x="121539" y="311096"/>
                      <a:pt x="113602" y="311096"/>
                    </a:cubicBezTo>
                    <a:cubicBezTo>
                      <a:pt x="105664" y="311096"/>
                      <a:pt x="105664" y="311592"/>
                      <a:pt x="97727" y="311592"/>
                    </a:cubicBezTo>
                    <a:cubicBezTo>
                      <a:pt x="89790" y="311592"/>
                      <a:pt x="89790" y="312584"/>
                      <a:pt x="81853" y="312584"/>
                    </a:cubicBezTo>
                    <a:cubicBezTo>
                      <a:pt x="73916" y="312584"/>
                      <a:pt x="73916" y="312584"/>
                      <a:pt x="65978" y="312584"/>
                    </a:cubicBezTo>
                    <a:cubicBezTo>
                      <a:pt x="58041" y="312584"/>
                      <a:pt x="58041" y="311096"/>
                      <a:pt x="50104" y="311096"/>
                    </a:cubicBezTo>
                    <a:cubicBezTo>
                      <a:pt x="42167" y="311096"/>
                      <a:pt x="42167" y="312088"/>
                      <a:pt x="34230" y="312088"/>
                    </a:cubicBezTo>
                    <a:cubicBezTo>
                      <a:pt x="26292" y="312088"/>
                      <a:pt x="26292" y="312088"/>
                      <a:pt x="17859" y="312088"/>
                    </a:cubicBezTo>
                    <a:cubicBezTo>
                      <a:pt x="9922" y="312088"/>
                      <a:pt x="9922" y="311592"/>
                      <a:pt x="1488" y="3115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9" name="Freeform: Shape 1648">
                <a:extLst>
                  <a:ext uri="{FF2B5EF4-FFF2-40B4-BE49-F238E27FC236}">
                    <a16:creationId xmlns:a16="http://schemas.microsoft.com/office/drawing/2014/main" id="{BDD61BB6-FE6C-5569-5135-ABC52C20DE78}"/>
                  </a:ext>
                </a:extLst>
              </p:cNvPr>
              <p:cNvSpPr/>
              <p:nvPr/>
            </p:nvSpPr>
            <p:spPr>
              <a:xfrm>
                <a:off x="6112046" y="3406070"/>
                <a:ext cx="376523" cy="2480"/>
              </a:xfrm>
              <a:custGeom>
                <a:avLst/>
                <a:gdLst>
                  <a:gd name="connsiteX0" fmla="*/ 0 w 376523"/>
                  <a:gd name="connsiteY0" fmla="*/ 0 h 2480"/>
                  <a:gd name="connsiteX1" fmla="*/ 16370 w 376523"/>
                  <a:gd name="connsiteY1" fmla="*/ 496 h 2480"/>
                  <a:gd name="connsiteX2" fmla="*/ 32741 w 376523"/>
                  <a:gd name="connsiteY2" fmla="*/ 1488 h 2480"/>
                  <a:gd name="connsiteX3" fmla="*/ 49112 w 376523"/>
                  <a:gd name="connsiteY3" fmla="*/ 1488 h 2480"/>
                  <a:gd name="connsiteX4" fmla="*/ 65482 w 376523"/>
                  <a:gd name="connsiteY4" fmla="*/ 1984 h 2480"/>
                  <a:gd name="connsiteX5" fmla="*/ 81853 w 376523"/>
                  <a:gd name="connsiteY5" fmla="*/ 992 h 2480"/>
                  <a:gd name="connsiteX6" fmla="*/ 98223 w 376523"/>
                  <a:gd name="connsiteY6" fmla="*/ 992 h 2480"/>
                  <a:gd name="connsiteX7" fmla="*/ 114594 w 376523"/>
                  <a:gd name="connsiteY7" fmla="*/ 2480 h 2480"/>
                  <a:gd name="connsiteX8" fmla="*/ 130965 w 376523"/>
                  <a:gd name="connsiteY8" fmla="*/ 1488 h 2480"/>
                  <a:gd name="connsiteX9" fmla="*/ 147335 w 376523"/>
                  <a:gd name="connsiteY9" fmla="*/ 2480 h 2480"/>
                  <a:gd name="connsiteX10" fmla="*/ 163706 w 376523"/>
                  <a:gd name="connsiteY10" fmla="*/ 496 h 2480"/>
                  <a:gd name="connsiteX11" fmla="*/ 180076 w 376523"/>
                  <a:gd name="connsiteY11" fmla="*/ 1488 h 2480"/>
                  <a:gd name="connsiteX12" fmla="*/ 196447 w 376523"/>
                  <a:gd name="connsiteY12" fmla="*/ 1488 h 2480"/>
                  <a:gd name="connsiteX13" fmla="*/ 212818 w 376523"/>
                  <a:gd name="connsiteY13" fmla="*/ 2480 h 2480"/>
                  <a:gd name="connsiteX14" fmla="*/ 229188 w 376523"/>
                  <a:gd name="connsiteY14" fmla="*/ 992 h 2480"/>
                  <a:gd name="connsiteX15" fmla="*/ 245559 w 376523"/>
                  <a:gd name="connsiteY15" fmla="*/ 1488 h 2480"/>
                  <a:gd name="connsiteX16" fmla="*/ 261929 w 376523"/>
                  <a:gd name="connsiteY16" fmla="*/ 496 h 2480"/>
                  <a:gd name="connsiteX17" fmla="*/ 278300 w 376523"/>
                  <a:gd name="connsiteY17" fmla="*/ 496 h 2480"/>
                  <a:gd name="connsiteX18" fmla="*/ 294670 w 376523"/>
                  <a:gd name="connsiteY18" fmla="*/ 1984 h 2480"/>
                  <a:gd name="connsiteX19" fmla="*/ 311041 w 376523"/>
                  <a:gd name="connsiteY19" fmla="*/ 0 h 2480"/>
                  <a:gd name="connsiteX20" fmla="*/ 327411 w 376523"/>
                  <a:gd name="connsiteY20" fmla="*/ 1488 h 2480"/>
                  <a:gd name="connsiteX21" fmla="*/ 343782 w 376523"/>
                  <a:gd name="connsiteY21" fmla="*/ 992 h 2480"/>
                  <a:gd name="connsiteX22" fmla="*/ 360152 w 376523"/>
                  <a:gd name="connsiteY22" fmla="*/ 1984 h 2480"/>
                  <a:gd name="connsiteX23" fmla="*/ 376523 w 376523"/>
                  <a:gd name="connsiteY23" fmla="*/ 496 h 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76523" h="2480">
                    <a:moveTo>
                      <a:pt x="0" y="0"/>
                    </a:moveTo>
                    <a:cubicBezTo>
                      <a:pt x="8433" y="0"/>
                      <a:pt x="8433" y="496"/>
                      <a:pt x="16370" y="496"/>
                    </a:cubicBezTo>
                    <a:cubicBezTo>
                      <a:pt x="24804" y="496"/>
                      <a:pt x="24804" y="1488"/>
                      <a:pt x="32741" y="1488"/>
                    </a:cubicBezTo>
                    <a:cubicBezTo>
                      <a:pt x="41174" y="1488"/>
                      <a:pt x="41174" y="1488"/>
                      <a:pt x="49112" y="1488"/>
                    </a:cubicBezTo>
                    <a:cubicBezTo>
                      <a:pt x="57545" y="1488"/>
                      <a:pt x="57545" y="1984"/>
                      <a:pt x="65482" y="1984"/>
                    </a:cubicBezTo>
                    <a:cubicBezTo>
                      <a:pt x="73916" y="1984"/>
                      <a:pt x="73916" y="992"/>
                      <a:pt x="81853" y="992"/>
                    </a:cubicBezTo>
                    <a:cubicBezTo>
                      <a:pt x="89790" y="992"/>
                      <a:pt x="90286" y="992"/>
                      <a:pt x="98223" y="992"/>
                    </a:cubicBezTo>
                    <a:cubicBezTo>
                      <a:pt x="106657" y="992"/>
                      <a:pt x="106657" y="2480"/>
                      <a:pt x="114594" y="2480"/>
                    </a:cubicBezTo>
                    <a:cubicBezTo>
                      <a:pt x="123027" y="2480"/>
                      <a:pt x="123027" y="1488"/>
                      <a:pt x="130965" y="1488"/>
                    </a:cubicBezTo>
                    <a:cubicBezTo>
                      <a:pt x="139398" y="1488"/>
                      <a:pt x="139398" y="2480"/>
                      <a:pt x="147335" y="2480"/>
                    </a:cubicBezTo>
                    <a:cubicBezTo>
                      <a:pt x="155769" y="2480"/>
                      <a:pt x="155769" y="496"/>
                      <a:pt x="163706" y="496"/>
                    </a:cubicBezTo>
                    <a:cubicBezTo>
                      <a:pt x="172139" y="496"/>
                      <a:pt x="172139" y="1488"/>
                      <a:pt x="180076" y="1488"/>
                    </a:cubicBezTo>
                    <a:cubicBezTo>
                      <a:pt x="188510" y="1488"/>
                      <a:pt x="188510" y="1488"/>
                      <a:pt x="196447" y="1488"/>
                    </a:cubicBezTo>
                    <a:cubicBezTo>
                      <a:pt x="204880" y="1488"/>
                      <a:pt x="204880" y="2480"/>
                      <a:pt x="212818" y="2480"/>
                    </a:cubicBezTo>
                    <a:cubicBezTo>
                      <a:pt x="221251" y="2480"/>
                      <a:pt x="221251" y="992"/>
                      <a:pt x="229188" y="992"/>
                    </a:cubicBezTo>
                    <a:cubicBezTo>
                      <a:pt x="237621" y="992"/>
                      <a:pt x="237621" y="1488"/>
                      <a:pt x="245559" y="1488"/>
                    </a:cubicBezTo>
                    <a:cubicBezTo>
                      <a:pt x="253992" y="1488"/>
                      <a:pt x="253992" y="496"/>
                      <a:pt x="261929" y="496"/>
                    </a:cubicBezTo>
                    <a:cubicBezTo>
                      <a:pt x="270362" y="496"/>
                      <a:pt x="270362" y="496"/>
                      <a:pt x="278300" y="496"/>
                    </a:cubicBezTo>
                    <a:cubicBezTo>
                      <a:pt x="286733" y="496"/>
                      <a:pt x="286733" y="1984"/>
                      <a:pt x="294670" y="1984"/>
                    </a:cubicBezTo>
                    <a:cubicBezTo>
                      <a:pt x="303104" y="1984"/>
                      <a:pt x="303104" y="0"/>
                      <a:pt x="311041" y="0"/>
                    </a:cubicBezTo>
                    <a:cubicBezTo>
                      <a:pt x="319474" y="0"/>
                      <a:pt x="319474" y="1488"/>
                      <a:pt x="327411" y="1488"/>
                    </a:cubicBezTo>
                    <a:cubicBezTo>
                      <a:pt x="335845" y="1488"/>
                      <a:pt x="335845" y="992"/>
                      <a:pt x="343782" y="992"/>
                    </a:cubicBezTo>
                    <a:cubicBezTo>
                      <a:pt x="352215" y="992"/>
                      <a:pt x="352215" y="1984"/>
                      <a:pt x="360152" y="1984"/>
                    </a:cubicBezTo>
                    <a:cubicBezTo>
                      <a:pt x="368586" y="1984"/>
                      <a:pt x="368586" y="496"/>
                      <a:pt x="376523" y="49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0" name="Freeform: Shape 1649">
                <a:extLst>
                  <a:ext uri="{FF2B5EF4-FFF2-40B4-BE49-F238E27FC236}">
                    <a16:creationId xmlns:a16="http://schemas.microsoft.com/office/drawing/2014/main" id="{D09DE758-9C0A-1FEE-FDFA-18BB6ACF259B}"/>
                  </a:ext>
                </a:extLst>
              </p:cNvPr>
              <p:cNvSpPr/>
              <p:nvPr/>
            </p:nvSpPr>
            <p:spPr>
              <a:xfrm>
                <a:off x="6231601" y="3285523"/>
                <a:ext cx="376523" cy="2976"/>
              </a:xfrm>
              <a:custGeom>
                <a:avLst/>
                <a:gdLst>
                  <a:gd name="connsiteX0" fmla="*/ 0 w 376523"/>
                  <a:gd name="connsiteY0" fmla="*/ 496 h 2976"/>
                  <a:gd name="connsiteX1" fmla="*/ 16371 w 376523"/>
                  <a:gd name="connsiteY1" fmla="*/ 1984 h 2976"/>
                  <a:gd name="connsiteX2" fmla="*/ 32741 w 376523"/>
                  <a:gd name="connsiteY2" fmla="*/ 496 h 2976"/>
                  <a:gd name="connsiteX3" fmla="*/ 49112 w 376523"/>
                  <a:gd name="connsiteY3" fmla="*/ 1984 h 2976"/>
                  <a:gd name="connsiteX4" fmla="*/ 65482 w 376523"/>
                  <a:gd name="connsiteY4" fmla="*/ 992 h 2976"/>
                  <a:gd name="connsiteX5" fmla="*/ 81853 w 376523"/>
                  <a:gd name="connsiteY5" fmla="*/ 1984 h 2976"/>
                  <a:gd name="connsiteX6" fmla="*/ 98224 w 376523"/>
                  <a:gd name="connsiteY6" fmla="*/ 1488 h 2976"/>
                  <a:gd name="connsiteX7" fmla="*/ 114594 w 376523"/>
                  <a:gd name="connsiteY7" fmla="*/ 496 h 2976"/>
                  <a:gd name="connsiteX8" fmla="*/ 130965 w 376523"/>
                  <a:gd name="connsiteY8" fmla="*/ 1984 h 2976"/>
                  <a:gd name="connsiteX9" fmla="*/ 147335 w 376523"/>
                  <a:gd name="connsiteY9" fmla="*/ 1488 h 2976"/>
                  <a:gd name="connsiteX10" fmla="*/ 163706 w 376523"/>
                  <a:gd name="connsiteY10" fmla="*/ 992 h 2976"/>
                  <a:gd name="connsiteX11" fmla="*/ 180077 w 376523"/>
                  <a:gd name="connsiteY11" fmla="*/ 0 h 2976"/>
                  <a:gd name="connsiteX12" fmla="*/ 196447 w 376523"/>
                  <a:gd name="connsiteY12" fmla="*/ 496 h 2976"/>
                  <a:gd name="connsiteX13" fmla="*/ 212818 w 376523"/>
                  <a:gd name="connsiteY13" fmla="*/ 1488 h 2976"/>
                  <a:gd name="connsiteX14" fmla="*/ 229188 w 376523"/>
                  <a:gd name="connsiteY14" fmla="*/ 1984 h 2976"/>
                  <a:gd name="connsiteX15" fmla="*/ 245559 w 376523"/>
                  <a:gd name="connsiteY15" fmla="*/ 496 h 2976"/>
                  <a:gd name="connsiteX16" fmla="*/ 261929 w 376523"/>
                  <a:gd name="connsiteY16" fmla="*/ 0 h 2976"/>
                  <a:gd name="connsiteX17" fmla="*/ 278300 w 376523"/>
                  <a:gd name="connsiteY17" fmla="*/ 1984 h 2976"/>
                  <a:gd name="connsiteX18" fmla="*/ 294670 w 376523"/>
                  <a:gd name="connsiteY18" fmla="*/ 2480 h 2976"/>
                  <a:gd name="connsiteX19" fmla="*/ 311041 w 376523"/>
                  <a:gd name="connsiteY19" fmla="*/ 496 h 2976"/>
                  <a:gd name="connsiteX20" fmla="*/ 327411 w 376523"/>
                  <a:gd name="connsiteY20" fmla="*/ 2977 h 2976"/>
                  <a:gd name="connsiteX21" fmla="*/ 343782 w 376523"/>
                  <a:gd name="connsiteY21" fmla="*/ 2480 h 2976"/>
                  <a:gd name="connsiteX22" fmla="*/ 360152 w 376523"/>
                  <a:gd name="connsiteY22" fmla="*/ 2977 h 2976"/>
                  <a:gd name="connsiteX23" fmla="*/ 376523 w 376523"/>
                  <a:gd name="connsiteY23" fmla="*/ 1488 h 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76523" h="2976">
                    <a:moveTo>
                      <a:pt x="0" y="496"/>
                    </a:moveTo>
                    <a:cubicBezTo>
                      <a:pt x="7937" y="496"/>
                      <a:pt x="7937" y="1984"/>
                      <a:pt x="16371" y="1984"/>
                    </a:cubicBezTo>
                    <a:cubicBezTo>
                      <a:pt x="24308" y="1984"/>
                      <a:pt x="24308" y="496"/>
                      <a:pt x="32741" y="496"/>
                    </a:cubicBezTo>
                    <a:cubicBezTo>
                      <a:pt x="40678" y="496"/>
                      <a:pt x="40678" y="1984"/>
                      <a:pt x="49112" y="1984"/>
                    </a:cubicBezTo>
                    <a:cubicBezTo>
                      <a:pt x="57049" y="1984"/>
                      <a:pt x="57049" y="992"/>
                      <a:pt x="65482" y="992"/>
                    </a:cubicBezTo>
                    <a:cubicBezTo>
                      <a:pt x="73420" y="992"/>
                      <a:pt x="73420" y="1984"/>
                      <a:pt x="81853" y="1984"/>
                    </a:cubicBezTo>
                    <a:cubicBezTo>
                      <a:pt x="89790" y="1984"/>
                      <a:pt x="89790" y="1488"/>
                      <a:pt x="98224" y="1488"/>
                    </a:cubicBezTo>
                    <a:cubicBezTo>
                      <a:pt x="106161" y="1488"/>
                      <a:pt x="106161" y="496"/>
                      <a:pt x="114594" y="496"/>
                    </a:cubicBezTo>
                    <a:cubicBezTo>
                      <a:pt x="122531" y="496"/>
                      <a:pt x="122531" y="1984"/>
                      <a:pt x="130965" y="1984"/>
                    </a:cubicBezTo>
                    <a:cubicBezTo>
                      <a:pt x="138902" y="1984"/>
                      <a:pt x="138902" y="1488"/>
                      <a:pt x="147335" y="1488"/>
                    </a:cubicBezTo>
                    <a:cubicBezTo>
                      <a:pt x="155273" y="1488"/>
                      <a:pt x="155273" y="992"/>
                      <a:pt x="163706" y="992"/>
                    </a:cubicBezTo>
                    <a:cubicBezTo>
                      <a:pt x="171643" y="992"/>
                      <a:pt x="171643" y="0"/>
                      <a:pt x="180077" y="0"/>
                    </a:cubicBezTo>
                    <a:cubicBezTo>
                      <a:pt x="188014" y="0"/>
                      <a:pt x="188014" y="496"/>
                      <a:pt x="196447" y="496"/>
                    </a:cubicBezTo>
                    <a:cubicBezTo>
                      <a:pt x="204384" y="496"/>
                      <a:pt x="204384" y="1488"/>
                      <a:pt x="212818" y="1488"/>
                    </a:cubicBezTo>
                    <a:cubicBezTo>
                      <a:pt x="220755" y="1488"/>
                      <a:pt x="220755" y="1984"/>
                      <a:pt x="229188" y="1984"/>
                    </a:cubicBezTo>
                    <a:cubicBezTo>
                      <a:pt x="237125" y="1984"/>
                      <a:pt x="237125" y="496"/>
                      <a:pt x="245559" y="496"/>
                    </a:cubicBezTo>
                    <a:cubicBezTo>
                      <a:pt x="253496" y="496"/>
                      <a:pt x="253496" y="0"/>
                      <a:pt x="261929" y="0"/>
                    </a:cubicBezTo>
                    <a:cubicBezTo>
                      <a:pt x="270362" y="0"/>
                      <a:pt x="269867" y="1984"/>
                      <a:pt x="278300" y="1984"/>
                    </a:cubicBezTo>
                    <a:cubicBezTo>
                      <a:pt x="286237" y="1984"/>
                      <a:pt x="286237" y="2480"/>
                      <a:pt x="294670" y="2480"/>
                    </a:cubicBezTo>
                    <a:cubicBezTo>
                      <a:pt x="302608" y="2480"/>
                      <a:pt x="302608" y="496"/>
                      <a:pt x="311041" y="496"/>
                    </a:cubicBezTo>
                    <a:cubicBezTo>
                      <a:pt x="318978" y="496"/>
                      <a:pt x="318978" y="2977"/>
                      <a:pt x="327411" y="2977"/>
                    </a:cubicBezTo>
                    <a:cubicBezTo>
                      <a:pt x="335349" y="2977"/>
                      <a:pt x="335349" y="2480"/>
                      <a:pt x="343782" y="2480"/>
                    </a:cubicBezTo>
                    <a:cubicBezTo>
                      <a:pt x="351719" y="2480"/>
                      <a:pt x="351719" y="2977"/>
                      <a:pt x="360152" y="2977"/>
                    </a:cubicBezTo>
                    <a:cubicBezTo>
                      <a:pt x="368586" y="2977"/>
                      <a:pt x="368090" y="1488"/>
                      <a:pt x="376523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1" name="Freeform: Shape 1650">
                <a:extLst>
                  <a:ext uri="{FF2B5EF4-FFF2-40B4-BE49-F238E27FC236}">
                    <a16:creationId xmlns:a16="http://schemas.microsoft.com/office/drawing/2014/main" id="{6110096C-C973-E291-EDE4-2E9B5B61F888}"/>
                  </a:ext>
                </a:extLst>
              </p:cNvPr>
              <p:cNvSpPr/>
              <p:nvPr/>
            </p:nvSpPr>
            <p:spPr>
              <a:xfrm>
                <a:off x="6198860" y="3196726"/>
                <a:ext cx="307568" cy="307568"/>
              </a:xfrm>
              <a:custGeom>
                <a:avLst/>
                <a:gdLst>
                  <a:gd name="connsiteX0" fmla="*/ 0 w 307568"/>
                  <a:gd name="connsiteY0" fmla="*/ 307568 h 307568"/>
                  <a:gd name="connsiteX1" fmla="*/ 11906 w 307568"/>
                  <a:gd name="connsiteY1" fmla="*/ 296655 h 307568"/>
                  <a:gd name="connsiteX2" fmla="*/ 23811 w 307568"/>
                  <a:gd name="connsiteY2" fmla="*/ 285741 h 307568"/>
                  <a:gd name="connsiteX3" fmla="*/ 34230 w 307568"/>
                  <a:gd name="connsiteY3" fmla="*/ 273339 h 307568"/>
                  <a:gd name="connsiteX4" fmla="*/ 46135 w 307568"/>
                  <a:gd name="connsiteY4" fmla="*/ 262425 h 307568"/>
                  <a:gd name="connsiteX5" fmla="*/ 58041 w 307568"/>
                  <a:gd name="connsiteY5" fmla="*/ 251511 h 307568"/>
                  <a:gd name="connsiteX6" fmla="*/ 68955 w 307568"/>
                  <a:gd name="connsiteY6" fmla="*/ 239606 h 307568"/>
                  <a:gd name="connsiteX7" fmla="*/ 80860 w 307568"/>
                  <a:gd name="connsiteY7" fmla="*/ 228692 h 307568"/>
                  <a:gd name="connsiteX8" fmla="*/ 92270 w 307568"/>
                  <a:gd name="connsiteY8" fmla="*/ 217282 h 307568"/>
                  <a:gd name="connsiteX9" fmla="*/ 103680 w 307568"/>
                  <a:gd name="connsiteY9" fmla="*/ 205872 h 307568"/>
                  <a:gd name="connsiteX10" fmla="*/ 114098 w 307568"/>
                  <a:gd name="connsiteY10" fmla="*/ 193470 h 307568"/>
                  <a:gd name="connsiteX11" fmla="*/ 126996 w 307568"/>
                  <a:gd name="connsiteY11" fmla="*/ 183549 h 307568"/>
                  <a:gd name="connsiteX12" fmla="*/ 137413 w 307568"/>
                  <a:gd name="connsiteY12" fmla="*/ 171643 h 307568"/>
                  <a:gd name="connsiteX13" fmla="*/ 148823 w 307568"/>
                  <a:gd name="connsiteY13" fmla="*/ 160233 h 307568"/>
                  <a:gd name="connsiteX14" fmla="*/ 160729 w 307568"/>
                  <a:gd name="connsiteY14" fmla="*/ 149815 h 307568"/>
                  <a:gd name="connsiteX15" fmla="*/ 172139 w 307568"/>
                  <a:gd name="connsiteY15" fmla="*/ 138406 h 307568"/>
                  <a:gd name="connsiteX16" fmla="*/ 183053 w 307568"/>
                  <a:gd name="connsiteY16" fmla="*/ 126500 h 307568"/>
                  <a:gd name="connsiteX17" fmla="*/ 194958 w 307568"/>
                  <a:gd name="connsiteY17" fmla="*/ 115586 h 307568"/>
                  <a:gd name="connsiteX18" fmla="*/ 205376 w 307568"/>
                  <a:gd name="connsiteY18" fmla="*/ 103184 h 307568"/>
                  <a:gd name="connsiteX19" fmla="*/ 216786 w 307568"/>
                  <a:gd name="connsiteY19" fmla="*/ 91774 h 307568"/>
                  <a:gd name="connsiteX20" fmla="*/ 228196 w 307568"/>
                  <a:gd name="connsiteY20" fmla="*/ 80364 h 307568"/>
                  <a:gd name="connsiteX21" fmla="*/ 239605 w 307568"/>
                  <a:gd name="connsiteY21" fmla="*/ 68955 h 307568"/>
                  <a:gd name="connsiteX22" fmla="*/ 252007 w 307568"/>
                  <a:gd name="connsiteY22" fmla="*/ 58537 h 307568"/>
                  <a:gd name="connsiteX23" fmla="*/ 262921 w 307568"/>
                  <a:gd name="connsiteY23" fmla="*/ 46631 h 307568"/>
                  <a:gd name="connsiteX24" fmla="*/ 274827 w 307568"/>
                  <a:gd name="connsiteY24" fmla="*/ 35717 h 307568"/>
                  <a:gd name="connsiteX25" fmla="*/ 284749 w 307568"/>
                  <a:gd name="connsiteY25" fmla="*/ 22819 h 307568"/>
                  <a:gd name="connsiteX26" fmla="*/ 296158 w 307568"/>
                  <a:gd name="connsiteY26" fmla="*/ 11410 h 307568"/>
                  <a:gd name="connsiteX27" fmla="*/ 307568 w 307568"/>
                  <a:gd name="connsiteY27" fmla="*/ 0 h 30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07568" h="307568">
                    <a:moveTo>
                      <a:pt x="0" y="307568"/>
                    </a:moveTo>
                    <a:cubicBezTo>
                      <a:pt x="5457" y="302111"/>
                      <a:pt x="5953" y="302111"/>
                      <a:pt x="11906" y="296655"/>
                    </a:cubicBezTo>
                    <a:cubicBezTo>
                      <a:pt x="17363" y="291198"/>
                      <a:pt x="18355" y="291694"/>
                      <a:pt x="23811" y="285741"/>
                    </a:cubicBezTo>
                    <a:cubicBezTo>
                      <a:pt x="29269" y="280284"/>
                      <a:pt x="28772" y="279292"/>
                      <a:pt x="34230" y="273339"/>
                    </a:cubicBezTo>
                    <a:cubicBezTo>
                      <a:pt x="39686" y="267882"/>
                      <a:pt x="40678" y="268378"/>
                      <a:pt x="46135" y="262425"/>
                    </a:cubicBezTo>
                    <a:cubicBezTo>
                      <a:pt x="51592" y="256968"/>
                      <a:pt x="52088" y="256968"/>
                      <a:pt x="58041" y="251511"/>
                    </a:cubicBezTo>
                    <a:cubicBezTo>
                      <a:pt x="63498" y="246055"/>
                      <a:pt x="63498" y="245559"/>
                      <a:pt x="68955" y="239606"/>
                    </a:cubicBezTo>
                    <a:cubicBezTo>
                      <a:pt x="74412" y="234149"/>
                      <a:pt x="74908" y="234645"/>
                      <a:pt x="80860" y="228692"/>
                    </a:cubicBezTo>
                    <a:cubicBezTo>
                      <a:pt x="86318" y="223235"/>
                      <a:pt x="86318" y="222739"/>
                      <a:pt x="92270" y="217282"/>
                    </a:cubicBezTo>
                    <a:cubicBezTo>
                      <a:pt x="97727" y="211825"/>
                      <a:pt x="98223" y="211825"/>
                      <a:pt x="103680" y="205872"/>
                    </a:cubicBezTo>
                    <a:cubicBezTo>
                      <a:pt x="109137" y="200415"/>
                      <a:pt x="108145" y="199423"/>
                      <a:pt x="114098" y="193470"/>
                    </a:cubicBezTo>
                    <a:cubicBezTo>
                      <a:pt x="119555" y="188013"/>
                      <a:pt x="121043" y="189006"/>
                      <a:pt x="126996" y="183549"/>
                    </a:cubicBezTo>
                    <a:cubicBezTo>
                      <a:pt x="132453" y="178092"/>
                      <a:pt x="131957" y="177100"/>
                      <a:pt x="137413" y="171643"/>
                    </a:cubicBezTo>
                    <a:cubicBezTo>
                      <a:pt x="142870" y="166186"/>
                      <a:pt x="142870" y="165690"/>
                      <a:pt x="148823" y="160233"/>
                    </a:cubicBezTo>
                    <a:cubicBezTo>
                      <a:pt x="154280" y="154776"/>
                      <a:pt x="155272" y="155272"/>
                      <a:pt x="160729" y="149815"/>
                    </a:cubicBezTo>
                    <a:cubicBezTo>
                      <a:pt x="166186" y="144359"/>
                      <a:pt x="166186" y="143863"/>
                      <a:pt x="172139" y="138406"/>
                    </a:cubicBezTo>
                    <a:cubicBezTo>
                      <a:pt x="177596" y="132949"/>
                      <a:pt x="177596" y="132453"/>
                      <a:pt x="183053" y="126500"/>
                    </a:cubicBezTo>
                    <a:cubicBezTo>
                      <a:pt x="188510" y="121043"/>
                      <a:pt x="189006" y="121043"/>
                      <a:pt x="194958" y="115586"/>
                    </a:cubicBezTo>
                    <a:cubicBezTo>
                      <a:pt x="200416" y="110129"/>
                      <a:pt x="199423" y="109137"/>
                      <a:pt x="205376" y="103184"/>
                    </a:cubicBezTo>
                    <a:cubicBezTo>
                      <a:pt x="210833" y="97727"/>
                      <a:pt x="210833" y="97231"/>
                      <a:pt x="216786" y="91774"/>
                    </a:cubicBezTo>
                    <a:cubicBezTo>
                      <a:pt x="222243" y="86317"/>
                      <a:pt x="222739" y="86317"/>
                      <a:pt x="228196" y="80364"/>
                    </a:cubicBezTo>
                    <a:cubicBezTo>
                      <a:pt x="233653" y="74908"/>
                      <a:pt x="234149" y="74908"/>
                      <a:pt x="239605" y="68955"/>
                    </a:cubicBezTo>
                    <a:cubicBezTo>
                      <a:pt x="245063" y="63498"/>
                      <a:pt x="246550" y="64490"/>
                      <a:pt x="252007" y="58537"/>
                    </a:cubicBezTo>
                    <a:cubicBezTo>
                      <a:pt x="257465" y="53080"/>
                      <a:pt x="257465" y="52584"/>
                      <a:pt x="262921" y="46631"/>
                    </a:cubicBezTo>
                    <a:cubicBezTo>
                      <a:pt x="268378" y="41174"/>
                      <a:pt x="268874" y="41174"/>
                      <a:pt x="274827" y="35717"/>
                    </a:cubicBezTo>
                    <a:cubicBezTo>
                      <a:pt x="280284" y="30261"/>
                      <a:pt x="279292" y="28772"/>
                      <a:pt x="284749" y="22819"/>
                    </a:cubicBezTo>
                    <a:cubicBezTo>
                      <a:pt x="290702" y="16866"/>
                      <a:pt x="290702" y="17363"/>
                      <a:pt x="296158" y="11410"/>
                    </a:cubicBezTo>
                    <a:cubicBezTo>
                      <a:pt x="302112" y="5457"/>
                      <a:pt x="301615" y="5457"/>
                      <a:pt x="307568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525D7AB0-8E10-5823-9704-431E244046AC}"/>
                </a:ext>
              </a:extLst>
            </p:cNvPr>
            <p:cNvSpPr/>
            <p:nvPr/>
          </p:nvSpPr>
          <p:spPr>
            <a:xfrm>
              <a:off x="5792422" y="3094699"/>
              <a:ext cx="930296" cy="494694"/>
            </a:xfrm>
            <a:custGeom>
              <a:avLst/>
              <a:gdLst>
                <a:gd name="connsiteX0" fmla="*/ 496290 w 951279"/>
                <a:gd name="connsiteY0" fmla="*/ 207 h 494694"/>
                <a:gd name="connsiteX1" fmla="*/ 504661 w 951279"/>
                <a:gd name="connsiteY1" fmla="*/ 1323 h 494694"/>
                <a:gd name="connsiteX2" fmla="*/ 521032 w 951279"/>
                <a:gd name="connsiteY2" fmla="*/ 1323 h 494694"/>
                <a:gd name="connsiteX3" fmla="*/ 537403 w 951279"/>
                <a:gd name="connsiteY3" fmla="*/ 1819 h 494694"/>
                <a:gd name="connsiteX4" fmla="*/ 553773 w 951279"/>
                <a:gd name="connsiteY4" fmla="*/ 1819 h 494694"/>
                <a:gd name="connsiteX5" fmla="*/ 570144 w 951279"/>
                <a:gd name="connsiteY5" fmla="*/ 2812 h 494694"/>
                <a:gd name="connsiteX6" fmla="*/ 586514 w 951279"/>
                <a:gd name="connsiteY6" fmla="*/ 1819 h 494694"/>
                <a:gd name="connsiteX7" fmla="*/ 602885 w 951279"/>
                <a:gd name="connsiteY7" fmla="*/ 2812 h 494694"/>
                <a:gd name="connsiteX8" fmla="*/ 619256 w 951279"/>
                <a:gd name="connsiteY8" fmla="*/ 1819 h 494694"/>
                <a:gd name="connsiteX9" fmla="*/ 635626 w 951279"/>
                <a:gd name="connsiteY9" fmla="*/ 1323 h 494694"/>
                <a:gd name="connsiteX10" fmla="*/ 651997 w 951279"/>
                <a:gd name="connsiteY10" fmla="*/ 1819 h 494694"/>
                <a:gd name="connsiteX11" fmla="*/ 668367 w 951279"/>
                <a:gd name="connsiteY11" fmla="*/ 2315 h 494694"/>
                <a:gd name="connsiteX12" fmla="*/ 684738 w 951279"/>
                <a:gd name="connsiteY12" fmla="*/ 2812 h 494694"/>
                <a:gd name="connsiteX13" fmla="*/ 701109 w 951279"/>
                <a:gd name="connsiteY13" fmla="*/ 1323 h 494694"/>
                <a:gd name="connsiteX14" fmla="*/ 717479 w 951279"/>
                <a:gd name="connsiteY14" fmla="*/ 2315 h 494694"/>
                <a:gd name="connsiteX15" fmla="*/ 733850 w 951279"/>
                <a:gd name="connsiteY15" fmla="*/ 3308 h 494694"/>
                <a:gd name="connsiteX16" fmla="*/ 750220 w 951279"/>
                <a:gd name="connsiteY16" fmla="*/ 3308 h 494694"/>
                <a:gd name="connsiteX17" fmla="*/ 766591 w 951279"/>
                <a:gd name="connsiteY17" fmla="*/ 2315 h 494694"/>
                <a:gd name="connsiteX18" fmla="*/ 782962 w 951279"/>
                <a:gd name="connsiteY18" fmla="*/ 2315 h 494694"/>
                <a:gd name="connsiteX19" fmla="*/ 799332 w 951279"/>
                <a:gd name="connsiteY19" fmla="*/ 2812 h 494694"/>
                <a:gd name="connsiteX20" fmla="*/ 815703 w 951279"/>
                <a:gd name="connsiteY20" fmla="*/ 2812 h 494694"/>
                <a:gd name="connsiteX21" fmla="*/ 832073 w 951279"/>
                <a:gd name="connsiteY21" fmla="*/ 2315 h 494694"/>
                <a:gd name="connsiteX22" fmla="*/ 848444 w 951279"/>
                <a:gd name="connsiteY22" fmla="*/ 2812 h 494694"/>
                <a:gd name="connsiteX23" fmla="*/ 864814 w 951279"/>
                <a:gd name="connsiteY23" fmla="*/ 1323 h 494694"/>
                <a:gd name="connsiteX24" fmla="*/ 881185 w 951279"/>
                <a:gd name="connsiteY24" fmla="*/ 2315 h 494694"/>
                <a:gd name="connsiteX25" fmla="*/ 897555 w 951279"/>
                <a:gd name="connsiteY25" fmla="*/ 1323 h 494694"/>
                <a:gd name="connsiteX26" fmla="*/ 913926 w 951279"/>
                <a:gd name="connsiteY26" fmla="*/ 827 h 494694"/>
                <a:gd name="connsiteX27" fmla="*/ 930296 w 951279"/>
                <a:gd name="connsiteY27" fmla="*/ 2315 h 494694"/>
                <a:gd name="connsiteX28" fmla="*/ 946667 w 951279"/>
                <a:gd name="connsiteY28" fmla="*/ 827 h 494694"/>
                <a:gd name="connsiteX29" fmla="*/ 951279 w 951279"/>
                <a:gd name="connsiteY29" fmla="*/ 827 h 494694"/>
                <a:gd name="connsiteX30" fmla="*/ 951279 w 951279"/>
                <a:gd name="connsiteY30" fmla="*/ 491448 h 494694"/>
                <a:gd name="connsiteX31" fmla="*/ 949148 w 951279"/>
                <a:gd name="connsiteY31" fmla="*/ 491448 h 494694"/>
                <a:gd name="connsiteX32" fmla="*/ 932777 w 951279"/>
                <a:gd name="connsiteY32" fmla="*/ 491448 h 494694"/>
                <a:gd name="connsiteX33" fmla="*/ 916406 w 951279"/>
                <a:gd name="connsiteY33" fmla="*/ 490456 h 494694"/>
                <a:gd name="connsiteX34" fmla="*/ 900036 w 951279"/>
                <a:gd name="connsiteY34" fmla="*/ 490456 h 494694"/>
                <a:gd name="connsiteX35" fmla="*/ 883665 w 951279"/>
                <a:gd name="connsiteY35" fmla="*/ 491944 h 494694"/>
                <a:gd name="connsiteX36" fmla="*/ 867295 w 951279"/>
                <a:gd name="connsiteY36" fmla="*/ 490456 h 494694"/>
                <a:gd name="connsiteX37" fmla="*/ 850924 w 951279"/>
                <a:gd name="connsiteY37" fmla="*/ 490952 h 494694"/>
                <a:gd name="connsiteX38" fmla="*/ 834553 w 951279"/>
                <a:gd name="connsiteY38" fmla="*/ 491448 h 494694"/>
                <a:gd name="connsiteX39" fmla="*/ 818183 w 951279"/>
                <a:gd name="connsiteY39" fmla="*/ 491944 h 494694"/>
                <a:gd name="connsiteX40" fmla="*/ 801812 w 951279"/>
                <a:gd name="connsiteY40" fmla="*/ 491944 h 494694"/>
                <a:gd name="connsiteX41" fmla="*/ 785442 w 951279"/>
                <a:gd name="connsiteY41" fmla="*/ 491944 h 494694"/>
                <a:gd name="connsiteX42" fmla="*/ 769071 w 951279"/>
                <a:gd name="connsiteY42" fmla="*/ 489960 h 494694"/>
                <a:gd name="connsiteX43" fmla="*/ 752700 w 951279"/>
                <a:gd name="connsiteY43" fmla="*/ 490952 h 494694"/>
                <a:gd name="connsiteX44" fmla="*/ 736330 w 951279"/>
                <a:gd name="connsiteY44" fmla="*/ 491944 h 494694"/>
                <a:gd name="connsiteX45" fmla="*/ 719959 w 951279"/>
                <a:gd name="connsiteY45" fmla="*/ 490456 h 494694"/>
                <a:gd name="connsiteX46" fmla="*/ 703589 w 951279"/>
                <a:gd name="connsiteY46" fmla="*/ 491944 h 494694"/>
                <a:gd name="connsiteX47" fmla="*/ 687218 w 951279"/>
                <a:gd name="connsiteY47" fmla="*/ 491944 h 494694"/>
                <a:gd name="connsiteX48" fmla="*/ 670847 w 951279"/>
                <a:gd name="connsiteY48" fmla="*/ 491944 h 494694"/>
                <a:gd name="connsiteX49" fmla="*/ 654477 w 951279"/>
                <a:gd name="connsiteY49" fmla="*/ 492440 h 494694"/>
                <a:gd name="connsiteX50" fmla="*/ 638106 w 951279"/>
                <a:gd name="connsiteY50" fmla="*/ 490952 h 494694"/>
                <a:gd name="connsiteX51" fmla="*/ 621736 w 951279"/>
                <a:gd name="connsiteY51" fmla="*/ 490952 h 494694"/>
                <a:gd name="connsiteX52" fmla="*/ 605365 w 951279"/>
                <a:gd name="connsiteY52" fmla="*/ 492936 h 494694"/>
                <a:gd name="connsiteX53" fmla="*/ 588995 w 951279"/>
                <a:gd name="connsiteY53" fmla="*/ 491944 h 494694"/>
                <a:gd name="connsiteX54" fmla="*/ 572624 w 951279"/>
                <a:gd name="connsiteY54" fmla="*/ 492936 h 494694"/>
                <a:gd name="connsiteX55" fmla="*/ 556254 w 951279"/>
                <a:gd name="connsiteY55" fmla="*/ 491944 h 494694"/>
                <a:gd name="connsiteX56" fmla="*/ 539883 w 951279"/>
                <a:gd name="connsiteY56" fmla="*/ 490952 h 494694"/>
                <a:gd name="connsiteX57" fmla="*/ 523513 w 951279"/>
                <a:gd name="connsiteY57" fmla="*/ 491944 h 494694"/>
                <a:gd name="connsiteX58" fmla="*/ 507142 w 951279"/>
                <a:gd name="connsiteY58" fmla="*/ 492936 h 494694"/>
                <a:gd name="connsiteX59" fmla="*/ 490771 w 951279"/>
                <a:gd name="connsiteY59" fmla="*/ 492440 h 494694"/>
                <a:gd name="connsiteX60" fmla="*/ 474401 w 951279"/>
                <a:gd name="connsiteY60" fmla="*/ 491448 h 494694"/>
                <a:gd name="connsiteX61" fmla="*/ 458030 w 951279"/>
                <a:gd name="connsiteY61" fmla="*/ 492440 h 494694"/>
                <a:gd name="connsiteX62" fmla="*/ 441660 w 951279"/>
                <a:gd name="connsiteY62" fmla="*/ 491944 h 494694"/>
                <a:gd name="connsiteX63" fmla="*/ 425289 w 951279"/>
                <a:gd name="connsiteY63" fmla="*/ 492936 h 494694"/>
                <a:gd name="connsiteX64" fmla="*/ 408919 w 951279"/>
                <a:gd name="connsiteY64" fmla="*/ 493432 h 494694"/>
                <a:gd name="connsiteX65" fmla="*/ 392548 w 951279"/>
                <a:gd name="connsiteY65" fmla="*/ 492440 h 494694"/>
                <a:gd name="connsiteX66" fmla="*/ 376178 w 951279"/>
                <a:gd name="connsiteY66" fmla="*/ 491448 h 494694"/>
                <a:gd name="connsiteX67" fmla="*/ 359807 w 951279"/>
                <a:gd name="connsiteY67" fmla="*/ 492440 h 494694"/>
                <a:gd name="connsiteX68" fmla="*/ 343436 w 951279"/>
                <a:gd name="connsiteY68" fmla="*/ 492936 h 494694"/>
                <a:gd name="connsiteX69" fmla="*/ 327066 w 951279"/>
                <a:gd name="connsiteY69" fmla="*/ 492936 h 494694"/>
                <a:gd name="connsiteX70" fmla="*/ 310695 w 951279"/>
                <a:gd name="connsiteY70" fmla="*/ 492440 h 494694"/>
                <a:gd name="connsiteX71" fmla="*/ 294325 w 951279"/>
                <a:gd name="connsiteY71" fmla="*/ 491944 h 494694"/>
                <a:gd name="connsiteX72" fmla="*/ 277954 w 951279"/>
                <a:gd name="connsiteY72" fmla="*/ 492440 h 494694"/>
                <a:gd name="connsiteX73" fmla="*/ 261583 w 951279"/>
                <a:gd name="connsiteY73" fmla="*/ 490952 h 494694"/>
                <a:gd name="connsiteX74" fmla="*/ 245213 w 951279"/>
                <a:gd name="connsiteY74" fmla="*/ 493432 h 494694"/>
                <a:gd name="connsiteX75" fmla="*/ 228842 w 951279"/>
                <a:gd name="connsiteY75" fmla="*/ 493432 h 494694"/>
                <a:gd name="connsiteX76" fmla="*/ 212472 w 951279"/>
                <a:gd name="connsiteY76" fmla="*/ 492936 h 494694"/>
                <a:gd name="connsiteX77" fmla="*/ 196101 w 951279"/>
                <a:gd name="connsiteY77" fmla="*/ 491944 h 494694"/>
                <a:gd name="connsiteX78" fmla="*/ 179730 w 951279"/>
                <a:gd name="connsiteY78" fmla="*/ 493432 h 494694"/>
                <a:gd name="connsiteX79" fmla="*/ 163360 w 951279"/>
                <a:gd name="connsiteY79" fmla="*/ 492936 h 494694"/>
                <a:gd name="connsiteX80" fmla="*/ 146989 w 951279"/>
                <a:gd name="connsiteY80" fmla="*/ 492440 h 494694"/>
                <a:gd name="connsiteX81" fmla="*/ 130619 w 951279"/>
                <a:gd name="connsiteY81" fmla="*/ 493432 h 494694"/>
                <a:gd name="connsiteX82" fmla="*/ 114248 w 951279"/>
                <a:gd name="connsiteY82" fmla="*/ 491448 h 494694"/>
                <a:gd name="connsiteX83" fmla="*/ 97877 w 951279"/>
                <a:gd name="connsiteY83" fmla="*/ 491448 h 494694"/>
                <a:gd name="connsiteX84" fmla="*/ 81507 w 951279"/>
                <a:gd name="connsiteY84" fmla="*/ 492936 h 494694"/>
                <a:gd name="connsiteX85" fmla="*/ 65136 w 951279"/>
                <a:gd name="connsiteY85" fmla="*/ 492440 h 494694"/>
                <a:gd name="connsiteX86" fmla="*/ 48766 w 951279"/>
                <a:gd name="connsiteY86" fmla="*/ 492440 h 494694"/>
                <a:gd name="connsiteX87" fmla="*/ 32395 w 951279"/>
                <a:gd name="connsiteY87" fmla="*/ 492936 h 494694"/>
                <a:gd name="connsiteX88" fmla="*/ 16025 w 951279"/>
                <a:gd name="connsiteY88" fmla="*/ 492440 h 494694"/>
                <a:gd name="connsiteX89" fmla="*/ 646 w 951279"/>
                <a:gd name="connsiteY89" fmla="*/ 490952 h 494694"/>
                <a:gd name="connsiteX90" fmla="*/ 11560 w 951279"/>
                <a:gd name="connsiteY90" fmla="*/ 480038 h 494694"/>
                <a:gd name="connsiteX91" fmla="*/ 22474 w 951279"/>
                <a:gd name="connsiteY91" fmla="*/ 468133 h 494694"/>
                <a:gd name="connsiteX92" fmla="*/ 33884 w 951279"/>
                <a:gd name="connsiteY92" fmla="*/ 456723 h 494694"/>
                <a:gd name="connsiteX93" fmla="*/ 46286 w 951279"/>
                <a:gd name="connsiteY93" fmla="*/ 446305 h 494694"/>
                <a:gd name="connsiteX94" fmla="*/ 57695 w 951279"/>
                <a:gd name="connsiteY94" fmla="*/ 434895 h 494694"/>
                <a:gd name="connsiteX95" fmla="*/ 68113 w 951279"/>
                <a:gd name="connsiteY95" fmla="*/ 422493 h 494694"/>
                <a:gd name="connsiteX96" fmla="*/ 80019 w 951279"/>
                <a:gd name="connsiteY96" fmla="*/ 411580 h 494694"/>
                <a:gd name="connsiteX97" fmla="*/ 90436 w 951279"/>
                <a:gd name="connsiteY97" fmla="*/ 399178 h 494694"/>
                <a:gd name="connsiteX98" fmla="*/ 101846 w 951279"/>
                <a:gd name="connsiteY98" fmla="*/ 387768 h 494694"/>
                <a:gd name="connsiteX99" fmla="*/ 113256 w 951279"/>
                <a:gd name="connsiteY99" fmla="*/ 376358 h 494694"/>
                <a:gd name="connsiteX100" fmla="*/ 125658 w 951279"/>
                <a:gd name="connsiteY100" fmla="*/ 365940 h 494694"/>
                <a:gd name="connsiteX101" fmla="*/ 136572 w 951279"/>
                <a:gd name="connsiteY101" fmla="*/ 354035 h 494694"/>
                <a:gd name="connsiteX102" fmla="*/ 147485 w 951279"/>
                <a:gd name="connsiteY102" fmla="*/ 342129 h 494694"/>
                <a:gd name="connsiteX103" fmla="*/ 158399 w 951279"/>
                <a:gd name="connsiteY103" fmla="*/ 330223 h 494694"/>
                <a:gd name="connsiteX104" fmla="*/ 170801 w 951279"/>
                <a:gd name="connsiteY104" fmla="*/ 320301 h 494694"/>
                <a:gd name="connsiteX105" fmla="*/ 181715 w 951279"/>
                <a:gd name="connsiteY105" fmla="*/ 308395 h 494694"/>
                <a:gd name="connsiteX106" fmla="*/ 193621 w 951279"/>
                <a:gd name="connsiteY106" fmla="*/ 297482 h 494694"/>
                <a:gd name="connsiteX107" fmla="*/ 204534 w 951279"/>
                <a:gd name="connsiteY107" fmla="*/ 285576 h 494694"/>
                <a:gd name="connsiteX108" fmla="*/ 215944 w 951279"/>
                <a:gd name="connsiteY108" fmla="*/ 274166 h 494694"/>
                <a:gd name="connsiteX109" fmla="*/ 226858 w 951279"/>
                <a:gd name="connsiteY109" fmla="*/ 262260 h 494694"/>
                <a:gd name="connsiteX110" fmla="*/ 239260 w 951279"/>
                <a:gd name="connsiteY110" fmla="*/ 251842 h 494694"/>
                <a:gd name="connsiteX111" fmla="*/ 249181 w 951279"/>
                <a:gd name="connsiteY111" fmla="*/ 239440 h 494694"/>
                <a:gd name="connsiteX112" fmla="*/ 261087 w 951279"/>
                <a:gd name="connsiteY112" fmla="*/ 229023 h 494694"/>
                <a:gd name="connsiteX113" fmla="*/ 272993 w 951279"/>
                <a:gd name="connsiteY113" fmla="*/ 218109 h 494694"/>
                <a:gd name="connsiteX114" fmla="*/ 283411 w 951279"/>
                <a:gd name="connsiteY114" fmla="*/ 205707 h 494694"/>
                <a:gd name="connsiteX115" fmla="*/ 295317 w 951279"/>
                <a:gd name="connsiteY115" fmla="*/ 194793 h 494694"/>
                <a:gd name="connsiteX116" fmla="*/ 307223 w 951279"/>
                <a:gd name="connsiteY116" fmla="*/ 183880 h 494694"/>
                <a:gd name="connsiteX117" fmla="*/ 318632 w 951279"/>
                <a:gd name="connsiteY117" fmla="*/ 172470 h 494694"/>
                <a:gd name="connsiteX118" fmla="*/ 329546 w 951279"/>
                <a:gd name="connsiteY118" fmla="*/ 161060 h 494694"/>
                <a:gd name="connsiteX119" fmla="*/ 340460 w 951279"/>
                <a:gd name="connsiteY119" fmla="*/ 149155 h 494694"/>
                <a:gd name="connsiteX120" fmla="*/ 352366 w 951279"/>
                <a:gd name="connsiteY120" fmla="*/ 138241 h 494694"/>
                <a:gd name="connsiteX121" fmla="*/ 363279 w 951279"/>
                <a:gd name="connsiteY121" fmla="*/ 126335 h 494694"/>
                <a:gd name="connsiteX122" fmla="*/ 375185 w 951279"/>
                <a:gd name="connsiteY122" fmla="*/ 115421 h 494694"/>
                <a:gd name="connsiteX123" fmla="*/ 385603 w 951279"/>
                <a:gd name="connsiteY123" fmla="*/ 103019 h 494694"/>
                <a:gd name="connsiteX124" fmla="*/ 398005 w 951279"/>
                <a:gd name="connsiteY124" fmla="*/ 92602 h 494694"/>
                <a:gd name="connsiteX125" fmla="*/ 408423 w 951279"/>
                <a:gd name="connsiteY125" fmla="*/ 80200 h 494694"/>
                <a:gd name="connsiteX126" fmla="*/ 420328 w 951279"/>
                <a:gd name="connsiteY126" fmla="*/ 69782 h 494694"/>
                <a:gd name="connsiteX127" fmla="*/ 430746 w 951279"/>
                <a:gd name="connsiteY127" fmla="*/ 57876 h 494694"/>
                <a:gd name="connsiteX128" fmla="*/ 443148 w 951279"/>
                <a:gd name="connsiteY128" fmla="*/ 47459 h 494694"/>
                <a:gd name="connsiteX129" fmla="*/ 454062 w 951279"/>
                <a:gd name="connsiteY129" fmla="*/ 35553 h 494694"/>
                <a:gd name="connsiteX130" fmla="*/ 466464 w 951279"/>
                <a:gd name="connsiteY130" fmla="*/ 25135 h 494694"/>
                <a:gd name="connsiteX131" fmla="*/ 477377 w 951279"/>
                <a:gd name="connsiteY131" fmla="*/ 13229 h 494694"/>
                <a:gd name="connsiteX132" fmla="*/ 488291 w 951279"/>
                <a:gd name="connsiteY132" fmla="*/ 1323 h 494694"/>
                <a:gd name="connsiteX133" fmla="*/ 496290 w 951279"/>
                <a:gd name="connsiteY133" fmla="*/ 207 h 494694"/>
                <a:gd name="connsiteX0" fmla="*/ 951279 w 1042719"/>
                <a:gd name="connsiteY0" fmla="*/ 827 h 494694"/>
                <a:gd name="connsiteX1" fmla="*/ 951279 w 1042719"/>
                <a:gd name="connsiteY1" fmla="*/ 491448 h 494694"/>
                <a:gd name="connsiteX2" fmla="*/ 949148 w 1042719"/>
                <a:gd name="connsiteY2" fmla="*/ 491448 h 494694"/>
                <a:gd name="connsiteX3" fmla="*/ 932777 w 1042719"/>
                <a:gd name="connsiteY3" fmla="*/ 491448 h 494694"/>
                <a:gd name="connsiteX4" fmla="*/ 916406 w 1042719"/>
                <a:gd name="connsiteY4" fmla="*/ 490456 h 494694"/>
                <a:gd name="connsiteX5" fmla="*/ 900036 w 1042719"/>
                <a:gd name="connsiteY5" fmla="*/ 490456 h 494694"/>
                <a:gd name="connsiteX6" fmla="*/ 883665 w 1042719"/>
                <a:gd name="connsiteY6" fmla="*/ 491944 h 494694"/>
                <a:gd name="connsiteX7" fmla="*/ 867295 w 1042719"/>
                <a:gd name="connsiteY7" fmla="*/ 490456 h 494694"/>
                <a:gd name="connsiteX8" fmla="*/ 850924 w 1042719"/>
                <a:gd name="connsiteY8" fmla="*/ 490952 h 494694"/>
                <a:gd name="connsiteX9" fmla="*/ 834553 w 1042719"/>
                <a:gd name="connsiteY9" fmla="*/ 491448 h 494694"/>
                <a:gd name="connsiteX10" fmla="*/ 818183 w 1042719"/>
                <a:gd name="connsiteY10" fmla="*/ 491944 h 494694"/>
                <a:gd name="connsiteX11" fmla="*/ 801812 w 1042719"/>
                <a:gd name="connsiteY11" fmla="*/ 491944 h 494694"/>
                <a:gd name="connsiteX12" fmla="*/ 785442 w 1042719"/>
                <a:gd name="connsiteY12" fmla="*/ 491944 h 494694"/>
                <a:gd name="connsiteX13" fmla="*/ 769071 w 1042719"/>
                <a:gd name="connsiteY13" fmla="*/ 489960 h 494694"/>
                <a:gd name="connsiteX14" fmla="*/ 752700 w 1042719"/>
                <a:gd name="connsiteY14" fmla="*/ 490952 h 494694"/>
                <a:gd name="connsiteX15" fmla="*/ 736330 w 1042719"/>
                <a:gd name="connsiteY15" fmla="*/ 491944 h 494694"/>
                <a:gd name="connsiteX16" fmla="*/ 719959 w 1042719"/>
                <a:gd name="connsiteY16" fmla="*/ 490456 h 494694"/>
                <a:gd name="connsiteX17" fmla="*/ 703589 w 1042719"/>
                <a:gd name="connsiteY17" fmla="*/ 491944 h 494694"/>
                <a:gd name="connsiteX18" fmla="*/ 687218 w 1042719"/>
                <a:gd name="connsiteY18" fmla="*/ 491944 h 494694"/>
                <a:gd name="connsiteX19" fmla="*/ 670847 w 1042719"/>
                <a:gd name="connsiteY19" fmla="*/ 491944 h 494694"/>
                <a:gd name="connsiteX20" fmla="*/ 654477 w 1042719"/>
                <a:gd name="connsiteY20" fmla="*/ 492440 h 494694"/>
                <a:gd name="connsiteX21" fmla="*/ 638106 w 1042719"/>
                <a:gd name="connsiteY21" fmla="*/ 490952 h 494694"/>
                <a:gd name="connsiteX22" fmla="*/ 621736 w 1042719"/>
                <a:gd name="connsiteY22" fmla="*/ 490952 h 494694"/>
                <a:gd name="connsiteX23" fmla="*/ 605365 w 1042719"/>
                <a:gd name="connsiteY23" fmla="*/ 492936 h 494694"/>
                <a:gd name="connsiteX24" fmla="*/ 588995 w 1042719"/>
                <a:gd name="connsiteY24" fmla="*/ 491944 h 494694"/>
                <a:gd name="connsiteX25" fmla="*/ 572624 w 1042719"/>
                <a:gd name="connsiteY25" fmla="*/ 492936 h 494694"/>
                <a:gd name="connsiteX26" fmla="*/ 556254 w 1042719"/>
                <a:gd name="connsiteY26" fmla="*/ 491944 h 494694"/>
                <a:gd name="connsiteX27" fmla="*/ 539883 w 1042719"/>
                <a:gd name="connsiteY27" fmla="*/ 490952 h 494694"/>
                <a:gd name="connsiteX28" fmla="*/ 523513 w 1042719"/>
                <a:gd name="connsiteY28" fmla="*/ 491944 h 494694"/>
                <a:gd name="connsiteX29" fmla="*/ 507142 w 1042719"/>
                <a:gd name="connsiteY29" fmla="*/ 492936 h 494694"/>
                <a:gd name="connsiteX30" fmla="*/ 490771 w 1042719"/>
                <a:gd name="connsiteY30" fmla="*/ 492440 h 494694"/>
                <a:gd name="connsiteX31" fmla="*/ 474401 w 1042719"/>
                <a:gd name="connsiteY31" fmla="*/ 491448 h 494694"/>
                <a:gd name="connsiteX32" fmla="*/ 458030 w 1042719"/>
                <a:gd name="connsiteY32" fmla="*/ 492440 h 494694"/>
                <a:gd name="connsiteX33" fmla="*/ 441660 w 1042719"/>
                <a:gd name="connsiteY33" fmla="*/ 491944 h 494694"/>
                <a:gd name="connsiteX34" fmla="*/ 425289 w 1042719"/>
                <a:gd name="connsiteY34" fmla="*/ 492936 h 494694"/>
                <a:gd name="connsiteX35" fmla="*/ 408919 w 1042719"/>
                <a:gd name="connsiteY35" fmla="*/ 493432 h 494694"/>
                <a:gd name="connsiteX36" fmla="*/ 392548 w 1042719"/>
                <a:gd name="connsiteY36" fmla="*/ 492440 h 494694"/>
                <a:gd name="connsiteX37" fmla="*/ 376178 w 1042719"/>
                <a:gd name="connsiteY37" fmla="*/ 491448 h 494694"/>
                <a:gd name="connsiteX38" fmla="*/ 359807 w 1042719"/>
                <a:gd name="connsiteY38" fmla="*/ 492440 h 494694"/>
                <a:gd name="connsiteX39" fmla="*/ 343436 w 1042719"/>
                <a:gd name="connsiteY39" fmla="*/ 492936 h 494694"/>
                <a:gd name="connsiteX40" fmla="*/ 327066 w 1042719"/>
                <a:gd name="connsiteY40" fmla="*/ 492936 h 494694"/>
                <a:gd name="connsiteX41" fmla="*/ 310695 w 1042719"/>
                <a:gd name="connsiteY41" fmla="*/ 492440 h 494694"/>
                <a:gd name="connsiteX42" fmla="*/ 294325 w 1042719"/>
                <a:gd name="connsiteY42" fmla="*/ 491944 h 494694"/>
                <a:gd name="connsiteX43" fmla="*/ 277954 w 1042719"/>
                <a:gd name="connsiteY43" fmla="*/ 492440 h 494694"/>
                <a:gd name="connsiteX44" fmla="*/ 261583 w 1042719"/>
                <a:gd name="connsiteY44" fmla="*/ 490952 h 494694"/>
                <a:gd name="connsiteX45" fmla="*/ 245213 w 1042719"/>
                <a:gd name="connsiteY45" fmla="*/ 493432 h 494694"/>
                <a:gd name="connsiteX46" fmla="*/ 228842 w 1042719"/>
                <a:gd name="connsiteY46" fmla="*/ 493432 h 494694"/>
                <a:gd name="connsiteX47" fmla="*/ 212472 w 1042719"/>
                <a:gd name="connsiteY47" fmla="*/ 492936 h 494694"/>
                <a:gd name="connsiteX48" fmla="*/ 196101 w 1042719"/>
                <a:gd name="connsiteY48" fmla="*/ 491944 h 494694"/>
                <a:gd name="connsiteX49" fmla="*/ 179730 w 1042719"/>
                <a:gd name="connsiteY49" fmla="*/ 493432 h 494694"/>
                <a:gd name="connsiteX50" fmla="*/ 163360 w 1042719"/>
                <a:gd name="connsiteY50" fmla="*/ 492936 h 494694"/>
                <a:gd name="connsiteX51" fmla="*/ 146989 w 1042719"/>
                <a:gd name="connsiteY51" fmla="*/ 492440 h 494694"/>
                <a:gd name="connsiteX52" fmla="*/ 130619 w 1042719"/>
                <a:gd name="connsiteY52" fmla="*/ 493432 h 494694"/>
                <a:gd name="connsiteX53" fmla="*/ 114248 w 1042719"/>
                <a:gd name="connsiteY53" fmla="*/ 491448 h 494694"/>
                <a:gd name="connsiteX54" fmla="*/ 97877 w 1042719"/>
                <a:gd name="connsiteY54" fmla="*/ 491448 h 494694"/>
                <a:gd name="connsiteX55" fmla="*/ 81507 w 1042719"/>
                <a:gd name="connsiteY55" fmla="*/ 492936 h 494694"/>
                <a:gd name="connsiteX56" fmla="*/ 65136 w 1042719"/>
                <a:gd name="connsiteY56" fmla="*/ 492440 h 494694"/>
                <a:gd name="connsiteX57" fmla="*/ 48766 w 1042719"/>
                <a:gd name="connsiteY57" fmla="*/ 492440 h 494694"/>
                <a:gd name="connsiteX58" fmla="*/ 32395 w 1042719"/>
                <a:gd name="connsiteY58" fmla="*/ 492936 h 494694"/>
                <a:gd name="connsiteX59" fmla="*/ 16025 w 1042719"/>
                <a:gd name="connsiteY59" fmla="*/ 492440 h 494694"/>
                <a:gd name="connsiteX60" fmla="*/ 646 w 1042719"/>
                <a:gd name="connsiteY60" fmla="*/ 490952 h 494694"/>
                <a:gd name="connsiteX61" fmla="*/ 11560 w 1042719"/>
                <a:gd name="connsiteY61" fmla="*/ 480038 h 494694"/>
                <a:gd name="connsiteX62" fmla="*/ 22474 w 1042719"/>
                <a:gd name="connsiteY62" fmla="*/ 468133 h 494694"/>
                <a:gd name="connsiteX63" fmla="*/ 33884 w 1042719"/>
                <a:gd name="connsiteY63" fmla="*/ 456723 h 494694"/>
                <a:gd name="connsiteX64" fmla="*/ 46286 w 1042719"/>
                <a:gd name="connsiteY64" fmla="*/ 446305 h 494694"/>
                <a:gd name="connsiteX65" fmla="*/ 57695 w 1042719"/>
                <a:gd name="connsiteY65" fmla="*/ 434895 h 494694"/>
                <a:gd name="connsiteX66" fmla="*/ 68113 w 1042719"/>
                <a:gd name="connsiteY66" fmla="*/ 422493 h 494694"/>
                <a:gd name="connsiteX67" fmla="*/ 80019 w 1042719"/>
                <a:gd name="connsiteY67" fmla="*/ 411580 h 494694"/>
                <a:gd name="connsiteX68" fmla="*/ 90436 w 1042719"/>
                <a:gd name="connsiteY68" fmla="*/ 399178 h 494694"/>
                <a:gd name="connsiteX69" fmla="*/ 101846 w 1042719"/>
                <a:gd name="connsiteY69" fmla="*/ 387768 h 494694"/>
                <a:gd name="connsiteX70" fmla="*/ 113256 w 1042719"/>
                <a:gd name="connsiteY70" fmla="*/ 376358 h 494694"/>
                <a:gd name="connsiteX71" fmla="*/ 125658 w 1042719"/>
                <a:gd name="connsiteY71" fmla="*/ 365940 h 494694"/>
                <a:gd name="connsiteX72" fmla="*/ 136572 w 1042719"/>
                <a:gd name="connsiteY72" fmla="*/ 354035 h 494694"/>
                <a:gd name="connsiteX73" fmla="*/ 147485 w 1042719"/>
                <a:gd name="connsiteY73" fmla="*/ 342129 h 494694"/>
                <a:gd name="connsiteX74" fmla="*/ 158399 w 1042719"/>
                <a:gd name="connsiteY74" fmla="*/ 330223 h 494694"/>
                <a:gd name="connsiteX75" fmla="*/ 170801 w 1042719"/>
                <a:gd name="connsiteY75" fmla="*/ 320301 h 494694"/>
                <a:gd name="connsiteX76" fmla="*/ 181715 w 1042719"/>
                <a:gd name="connsiteY76" fmla="*/ 308395 h 494694"/>
                <a:gd name="connsiteX77" fmla="*/ 193621 w 1042719"/>
                <a:gd name="connsiteY77" fmla="*/ 297482 h 494694"/>
                <a:gd name="connsiteX78" fmla="*/ 204534 w 1042719"/>
                <a:gd name="connsiteY78" fmla="*/ 285576 h 494694"/>
                <a:gd name="connsiteX79" fmla="*/ 215944 w 1042719"/>
                <a:gd name="connsiteY79" fmla="*/ 274166 h 494694"/>
                <a:gd name="connsiteX80" fmla="*/ 226858 w 1042719"/>
                <a:gd name="connsiteY80" fmla="*/ 262260 h 494694"/>
                <a:gd name="connsiteX81" fmla="*/ 239260 w 1042719"/>
                <a:gd name="connsiteY81" fmla="*/ 251842 h 494694"/>
                <a:gd name="connsiteX82" fmla="*/ 249181 w 1042719"/>
                <a:gd name="connsiteY82" fmla="*/ 239440 h 494694"/>
                <a:gd name="connsiteX83" fmla="*/ 261087 w 1042719"/>
                <a:gd name="connsiteY83" fmla="*/ 229023 h 494694"/>
                <a:gd name="connsiteX84" fmla="*/ 272993 w 1042719"/>
                <a:gd name="connsiteY84" fmla="*/ 218109 h 494694"/>
                <a:gd name="connsiteX85" fmla="*/ 283411 w 1042719"/>
                <a:gd name="connsiteY85" fmla="*/ 205707 h 494694"/>
                <a:gd name="connsiteX86" fmla="*/ 295317 w 1042719"/>
                <a:gd name="connsiteY86" fmla="*/ 194793 h 494694"/>
                <a:gd name="connsiteX87" fmla="*/ 307223 w 1042719"/>
                <a:gd name="connsiteY87" fmla="*/ 183880 h 494694"/>
                <a:gd name="connsiteX88" fmla="*/ 318632 w 1042719"/>
                <a:gd name="connsiteY88" fmla="*/ 172470 h 494694"/>
                <a:gd name="connsiteX89" fmla="*/ 329546 w 1042719"/>
                <a:gd name="connsiteY89" fmla="*/ 161060 h 494694"/>
                <a:gd name="connsiteX90" fmla="*/ 340460 w 1042719"/>
                <a:gd name="connsiteY90" fmla="*/ 149155 h 494694"/>
                <a:gd name="connsiteX91" fmla="*/ 352366 w 1042719"/>
                <a:gd name="connsiteY91" fmla="*/ 138241 h 494694"/>
                <a:gd name="connsiteX92" fmla="*/ 363279 w 1042719"/>
                <a:gd name="connsiteY92" fmla="*/ 126335 h 494694"/>
                <a:gd name="connsiteX93" fmla="*/ 375185 w 1042719"/>
                <a:gd name="connsiteY93" fmla="*/ 115421 h 494694"/>
                <a:gd name="connsiteX94" fmla="*/ 385603 w 1042719"/>
                <a:gd name="connsiteY94" fmla="*/ 103019 h 494694"/>
                <a:gd name="connsiteX95" fmla="*/ 398005 w 1042719"/>
                <a:gd name="connsiteY95" fmla="*/ 92602 h 494694"/>
                <a:gd name="connsiteX96" fmla="*/ 408423 w 1042719"/>
                <a:gd name="connsiteY96" fmla="*/ 80200 h 494694"/>
                <a:gd name="connsiteX97" fmla="*/ 420328 w 1042719"/>
                <a:gd name="connsiteY97" fmla="*/ 69782 h 494694"/>
                <a:gd name="connsiteX98" fmla="*/ 430746 w 1042719"/>
                <a:gd name="connsiteY98" fmla="*/ 57876 h 494694"/>
                <a:gd name="connsiteX99" fmla="*/ 443148 w 1042719"/>
                <a:gd name="connsiteY99" fmla="*/ 47459 h 494694"/>
                <a:gd name="connsiteX100" fmla="*/ 454062 w 1042719"/>
                <a:gd name="connsiteY100" fmla="*/ 35553 h 494694"/>
                <a:gd name="connsiteX101" fmla="*/ 466464 w 1042719"/>
                <a:gd name="connsiteY101" fmla="*/ 25135 h 494694"/>
                <a:gd name="connsiteX102" fmla="*/ 477377 w 1042719"/>
                <a:gd name="connsiteY102" fmla="*/ 13229 h 494694"/>
                <a:gd name="connsiteX103" fmla="*/ 488291 w 1042719"/>
                <a:gd name="connsiteY103" fmla="*/ 1323 h 494694"/>
                <a:gd name="connsiteX104" fmla="*/ 496290 w 1042719"/>
                <a:gd name="connsiteY104" fmla="*/ 207 h 494694"/>
                <a:gd name="connsiteX105" fmla="*/ 504661 w 1042719"/>
                <a:gd name="connsiteY105" fmla="*/ 1323 h 494694"/>
                <a:gd name="connsiteX106" fmla="*/ 521032 w 1042719"/>
                <a:gd name="connsiteY106" fmla="*/ 1323 h 494694"/>
                <a:gd name="connsiteX107" fmla="*/ 537403 w 1042719"/>
                <a:gd name="connsiteY107" fmla="*/ 1819 h 494694"/>
                <a:gd name="connsiteX108" fmla="*/ 553773 w 1042719"/>
                <a:gd name="connsiteY108" fmla="*/ 1819 h 494694"/>
                <a:gd name="connsiteX109" fmla="*/ 570144 w 1042719"/>
                <a:gd name="connsiteY109" fmla="*/ 2812 h 494694"/>
                <a:gd name="connsiteX110" fmla="*/ 586514 w 1042719"/>
                <a:gd name="connsiteY110" fmla="*/ 1819 h 494694"/>
                <a:gd name="connsiteX111" fmla="*/ 602885 w 1042719"/>
                <a:gd name="connsiteY111" fmla="*/ 2812 h 494694"/>
                <a:gd name="connsiteX112" fmla="*/ 619256 w 1042719"/>
                <a:gd name="connsiteY112" fmla="*/ 1819 h 494694"/>
                <a:gd name="connsiteX113" fmla="*/ 635626 w 1042719"/>
                <a:gd name="connsiteY113" fmla="*/ 1323 h 494694"/>
                <a:gd name="connsiteX114" fmla="*/ 651997 w 1042719"/>
                <a:gd name="connsiteY114" fmla="*/ 1819 h 494694"/>
                <a:gd name="connsiteX115" fmla="*/ 668367 w 1042719"/>
                <a:gd name="connsiteY115" fmla="*/ 2315 h 494694"/>
                <a:gd name="connsiteX116" fmla="*/ 684738 w 1042719"/>
                <a:gd name="connsiteY116" fmla="*/ 2812 h 494694"/>
                <a:gd name="connsiteX117" fmla="*/ 701109 w 1042719"/>
                <a:gd name="connsiteY117" fmla="*/ 1323 h 494694"/>
                <a:gd name="connsiteX118" fmla="*/ 717479 w 1042719"/>
                <a:gd name="connsiteY118" fmla="*/ 2315 h 494694"/>
                <a:gd name="connsiteX119" fmla="*/ 733850 w 1042719"/>
                <a:gd name="connsiteY119" fmla="*/ 3308 h 494694"/>
                <a:gd name="connsiteX120" fmla="*/ 750220 w 1042719"/>
                <a:gd name="connsiteY120" fmla="*/ 3308 h 494694"/>
                <a:gd name="connsiteX121" fmla="*/ 766591 w 1042719"/>
                <a:gd name="connsiteY121" fmla="*/ 2315 h 494694"/>
                <a:gd name="connsiteX122" fmla="*/ 782962 w 1042719"/>
                <a:gd name="connsiteY122" fmla="*/ 2315 h 494694"/>
                <a:gd name="connsiteX123" fmla="*/ 799332 w 1042719"/>
                <a:gd name="connsiteY123" fmla="*/ 2812 h 494694"/>
                <a:gd name="connsiteX124" fmla="*/ 815703 w 1042719"/>
                <a:gd name="connsiteY124" fmla="*/ 2812 h 494694"/>
                <a:gd name="connsiteX125" fmla="*/ 832073 w 1042719"/>
                <a:gd name="connsiteY125" fmla="*/ 2315 h 494694"/>
                <a:gd name="connsiteX126" fmla="*/ 848444 w 1042719"/>
                <a:gd name="connsiteY126" fmla="*/ 2812 h 494694"/>
                <a:gd name="connsiteX127" fmla="*/ 864814 w 1042719"/>
                <a:gd name="connsiteY127" fmla="*/ 1323 h 494694"/>
                <a:gd name="connsiteX128" fmla="*/ 881185 w 1042719"/>
                <a:gd name="connsiteY128" fmla="*/ 2315 h 494694"/>
                <a:gd name="connsiteX129" fmla="*/ 897555 w 1042719"/>
                <a:gd name="connsiteY129" fmla="*/ 1323 h 494694"/>
                <a:gd name="connsiteX130" fmla="*/ 913926 w 1042719"/>
                <a:gd name="connsiteY130" fmla="*/ 827 h 494694"/>
                <a:gd name="connsiteX131" fmla="*/ 930296 w 1042719"/>
                <a:gd name="connsiteY131" fmla="*/ 2315 h 494694"/>
                <a:gd name="connsiteX132" fmla="*/ 946667 w 1042719"/>
                <a:gd name="connsiteY132" fmla="*/ 827 h 494694"/>
                <a:gd name="connsiteX133" fmla="*/ 1042719 w 1042719"/>
                <a:gd name="connsiteY133" fmla="*/ 92267 h 494694"/>
                <a:gd name="connsiteX0" fmla="*/ 951279 w 951279"/>
                <a:gd name="connsiteY0" fmla="*/ 827 h 494694"/>
                <a:gd name="connsiteX1" fmla="*/ 951279 w 951279"/>
                <a:gd name="connsiteY1" fmla="*/ 491448 h 494694"/>
                <a:gd name="connsiteX2" fmla="*/ 949148 w 951279"/>
                <a:gd name="connsiteY2" fmla="*/ 491448 h 494694"/>
                <a:gd name="connsiteX3" fmla="*/ 932777 w 951279"/>
                <a:gd name="connsiteY3" fmla="*/ 491448 h 494694"/>
                <a:gd name="connsiteX4" fmla="*/ 916406 w 951279"/>
                <a:gd name="connsiteY4" fmla="*/ 490456 h 494694"/>
                <a:gd name="connsiteX5" fmla="*/ 900036 w 951279"/>
                <a:gd name="connsiteY5" fmla="*/ 490456 h 494694"/>
                <a:gd name="connsiteX6" fmla="*/ 883665 w 951279"/>
                <a:gd name="connsiteY6" fmla="*/ 491944 h 494694"/>
                <a:gd name="connsiteX7" fmla="*/ 867295 w 951279"/>
                <a:gd name="connsiteY7" fmla="*/ 490456 h 494694"/>
                <a:gd name="connsiteX8" fmla="*/ 850924 w 951279"/>
                <a:gd name="connsiteY8" fmla="*/ 490952 h 494694"/>
                <a:gd name="connsiteX9" fmla="*/ 834553 w 951279"/>
                <a:gd name="connsiteY9" fmla="*/ 491448 h 494694"/>
                <a:gd name="connsiteX10" fmla="*/ 818183 w 951279"/>
                <a:gd name="connsiteY10" fmla="*/ 491944 h 494694"/>
                <a:gd name="connsiteX11" fmla="*/ 801812 w 951279"/>
                <a:gd name="connsiteY11" fmla="*/ 491944 h 494694"/>
                <a:gd name="connsiteX12" fmla="*/ 785442 w 951279"/>
                <a:gd name="connsiteY12" fmla="*/ 491944 h 494694"/>
                <a:gd name="connsiteX13" fmla="*/ 769071 w 951279"/>
                <a:gd name="connsiteY13" fmla="*/ 489960 h 494694"/>
                <a:gd name="connsiteX14" fmla="*/ 752700 w 951279"/>
                <a:gd name="connsiteY14" fmla="*/ 490952 h 494694"/>
                <a:gd name="connsiteX15" fmla="*/ 736330 w 951279"/>
                <a:gd name="connsiteY15" fmla="*/ 491944 h 494694"/>
                <a:gd name="connsiteX16" fmla="*/ 719959 w 951279"/>
                <a:gd name="connsiteY16" fmla="*/ 490456 h 494694"/>
                <a:gd name="connsiteX17" fmla="*/ 703589 w 951279"/>
                <a:gd name="connsiteY17" fmla="*/ 491944 h 494694"/>
                <a:gd name="connsiteX18" fmla="*/ 687218 w 951279"/>
                <a:gd name="connsiteY18" fmla="*/ 491944 h 494694"/>
                <a:gd name="connsiteX19" fmla="*/ 670847 w 951279"/>
                <a:gd name="connsiteY19" fmla="*/ 491944 h 494694"/>
                <a:gd name="connsiteX20" fmla="*/ 654477 w 951279"/>
                <a:gd name="connsiteY20" fmla="*/ 492440 h 494694"/>
                <a:gd name="connsiteX21" fmla="*/ 638106 w 951279"/>
                <a:gd name="connsiteY21" fmla="*/ 490952 h 494694"/>
                <a:gd name="connsiteX22" fmla="*/ 621736 w 951279"/>
                <a:gd name="connsiteY22" fmla="*/ 490952 h 494694"/>
                <a:gd name="connsiteX23" fmla="*/ 605365 w 951279"/>
                <a:gd name="connsiteY23" fmla="*/ 492936 h 494694"/>
                <a:gd name="connsiteX24" fmla="*/ 588995 w 951279"/>
                <a:gd name="connsiteY24" fmla="*/ 491944 h 494694"/>
                <a:gd name="connsiteX25" fmla="*/ 572624 w 951279"/>
                <a:gd name="connsiteY25" fmla="*/ 492936 h 494694"/>
                <a:gd name="connsiteX26" fmla="*/ 556254 w 951279"/>
                <a:gd name="connsiteY26" fmla="*/ 491944 h 494694"/>
                <a:gd name="connsiteX27" fmla="*/ 539883 w 951279"/>
                <a:gd name="connsiteY27" fmla="*/ 490952 h 494694"/>
                <a:gd name="connsiteX28" fmla="*/ 523513 w 951279"/>
                <a:gd name="connsiteY28" fmla="*/ 491944 h 494694"/>
                <a:gd name="connsiteX29" fmla="*/ 507142 w 951279"/>
                <a:gd name="connsiteY29" fmla="*/ 492936 h 494694"/>
                <a:gd name="connsiteX30" fmla="*/ 490771 w 951279"/>
                <a:gd name="connsiteY30" fmla="*/ 492440 h 494694"/>
                <a:gd name="connsiteX31" fmla="*/ 474401 w 951279"/>
                <a:gd name="connsiteY31" fmla="*/ 491448 h 494694"/>
                <a:gd name="connsiteX32" fmla="*/ 458030 w 951279"/>
                <a:gd name="connsiteY32" fmla="*/ 492440 h 494694"/>
                <a:gd name="connsiteX33" fmla="*/ 441660 w 951279"/>
                <a:gd name="connsiteY33" fmla="*/ 491944 h 494694"/>
                <a:gd name="connsiteX34" fmla="*/ 425289 w 951279"/>
                <a:gd name="connsiteY34" fmla="*/ 492936 h 494694"/>
                <a:gd name="connsiteX35" fmla="*/ 408919 w 951279"/>
                <a:gd name="connsiteY35" fmla="*/ 493432 h 494694"/>
                <a:gd name="connsiteX36" fmla="*/ 392548 w 951279"/>
                <a:gd name="connsiteY36" fmla="*/ 492440 h 494694"/>
                <a:gd name="connsiteX37" fmla="*/ 376178 w 951279"/>
                <a:gd name="connsiteY37" fmla="*/ 491448 h 494694"/>
                <a:gd name="connsiteX38" fmla="*/ 359807 w 951279"/>
                <a:gd name="connsiteY38" fmla="*/ 492440 h 494694"/>
                <a:gd name="connsiteX39" fmla="*/ 343436 w 951279"/>
                <a:gd name="connsiteY39" fmla="*/ 492936 h 494694"/>
                <a:gd name="connsiteX40" fmla="*/ 327066 w 951279"/>
                <a:gd name="connsiteY40" fmla="*/ 492936 h 494694"/>
                <a:gd name="connsiteX41" fmla="*/ 310695 w 951279"/>
                <a:gd name="connsiteY41" fmla="*/ 492440 h 494694"/>
                <a:gd name="connsiteX42" fmla="*/ 294325 w 951279"/>
                <a:gd name="connsiteY42" fmla="*/ 491944 h 494694"/>
                <a:gd name="connsiteX43" fmla="*/ 277954 w 951279"/>
                <a:gd name="connsiteY43" fmla="*/ 492440 h 494694"/>
                <a:gd name="connsiteX44" fmla="*/ 261583 w 951279"/>
                <a:gd name="connsiteY44" fmla="*/ 490952 h 494694"/>
                <a:gd name="connsiteX45" fmla="*/ 245213 w 951279"/>
                <a:gd name="connsiteY45" fmla="*/ 493432 h 494694"/>
                <a:gd name="connsiteX46" fmla="*/ 228842 w 951279"/>
                <a:gd name="connsiteY46" fmla="*/ 493432 h 494694"/>
                <a:gd name="connsiteX47" fmla="*/ 212472 w 951279"/>
                <a:gd name="connsiteY47" fmla="*/ 492936 h 494694"/>
                <a:gd name="connsiteX48" fmla="*/ 196101 w 951279"/>
                <a:gd name="connsiteY48" fmla="*/ 491944 h 494694"/>
                <a:gd name="connsiteX49" fmla="*/ 179730 w 951279"/>
                <a:gd name="connsiteY49" fmla="*/ 493432 h 494694"/>
                <a:gd name="connsiteX50" fmla="*/ 163360 w 951279"/>
                <a:gd name="connsiteY50" fmla="*/ 492936 h 494694"/>
                <a:gd name="connsiteX51" fmla="*/ 146989 w 951279"/>
                <a:gd name="connsiteY51" fmla="*/ 492440 h 494694"/>
                <a:gd name="connsiteX52" fmla="*/ 130619 w 951279"/>
                <a:gd name="connsiteY52" fmla="*/ 493432 h 494694"/>
                <a:gd name="connsiteX53" fmla="*/ 114248 w 951279"/>
                <a:gd name="connsiteY53" fmla="*/ 491448 h 494694"/>
                <a:gd name="connsiteX54" fmla="*/ 97877 w 951279"/>
                <a:gd name="connsiteY54" fmla="*/ 491448 h 494694"/>
                <a:gd name="connsiteX55" fmla="*/ 81507 w 951279"/>
                <a:gd name="connsiteY55" fmla="*/ 492936 h 494694"/>
                <a:gd name="connsiteX56" fmla="*/ 65136 w 951279"/>
                <a:gd name="connsiteY56" fmla="*/ 492440 h 494694"/>
                <a:gd name="connsiteX57" fmla="*/ 48766 w 951279"/>
                <a:gd name="connsiteY57" fmla="*/ 492440 h 494694"/>
                <a:gd name="connsiteX58" fmla="*/ 32395 w 951279"/>
                <a:gd name="connsiteY58" fmla="*/ 492936 h 494694"/>
                <a:gd name="connsiteX59" fmla="*/ 16025 w 951279"/>
                <a:gd name="connsiteY59" fmla="*/ 492440 h 494694"/>
                <a:gd name="connsiteX60" fmla="*/ 646 w 951279"/>
                <a:gd name="connsiteY60" fmla="*/ 490952 h 494694"/>
                <a:gd name="connsiteX61" fmla="*/ 11560 w 951279"/>
                <a:gd name="connsiteY61" fmla="*/ 480038 h 494694"/>
                <a:gd name="connsiteX62" fmla="*/ 22474 w 951279"/>
                <a:gd name="connsiteY62" fmla="*/ 468133 h 494694"/>
                <a:gd name="connsiteX63" fmla="*/ 33884 w 951279"/>
                <a:gd name="connsiteY63" fmla="*/ 456723 h 494694"/>
                <a:gd name="connsiteX64" fmla="*/ 46286 w 951279"/>
                <a:gd name="connsiteY64" fmla="*/ 446305 h 494694"/>
                <a:gd name="connsiteX65" fmla="*/ 57695 w 951279"/>
                <a:gd name="connsiteY65" fmla="*/ 434895 h 494694"/>
                <a:gd name="connsiteX66" fmla="*/ 68113 w 951279"/>
                <a:gd name="connsiteY66" fmla="*/ 422493 h 494694"/>
                <a:gd name="connsiteX67" fmla="*/ 80019 w 951279"/>
                <a:gd name="connsiteY67" fmla="*/ 411580 h 494694"/>
                <a:gd name="connsiteX68" fmla="*/ 90436 w 951279"/>
                <a:gd name="connsiteY68" fmla="*/ 399178 h 494694"/>
                <a:gd name="connsiteX69" fmla="*/ 101846 w 951279"/>
                <a:gd name="connsiteY69" fmla="*/ 387768 h 494694"/>
                <a:gd name="connsiteX70" fmla="*/ 113256 w 951279"/>
                <a:gd name="connsiteY70" fmla="*/ 376358 h 494694"/>
                <a:gd name="connsiteX71" fmla="*/ 125658 w 951279"/>
                <a:gd name="connsiteY71" fmla="*/ 365940 h 494694"/>
                <a:gd name="connsiteX72" fmla="*/ 136572 w 951279"/>
                <a:gd name="connsiteY72" fmla="*/ 354035 h 494694"/>
                <a:gd name="connsiteX73" fmla="*/ 147485 w 951279"/>
                <a:gd name="connsiteY73" fmla="*/ 342129 h 494694"/>
                <a:gd name="connsiteX74" fmla="*/ 158399 w 951279"/>
                <a:gd name="connsiteY74" fmla="*/ 330223 h 494694"/>
                <a:gd name="connsiteX75" fmla="*/ 170801 w 951279"/>
                <a:gd name="connsiteY75" fmla="*/ 320301 h 494694"/>
                <a:gd name="connsiteX76" fmla="*/ 181715 w 951279"/>
                <a:gd name="connsiteY76" fmla="*/ 308395 h 494694"/>
                <a:gd name="connsiteX77" fmla="*/ 193621 w 951279"/>
                <a:gd name="connsiteY77" fmla="*/ 297482 h 494694"/>
                <a:gd name="connsiteX78" fmla="*/ 204534 w 951279"/>
                <a:gd name="connsiteY78" fmla="*/ 285576 h 494694"/>
                <a:gd name="connsiteX79" fmla="*/ 215944 w 951279"/>
                <a:gd name="connsiteY79" fmla="*/ 274166 h 494694"/>
                <a:gd name="connsiteX80" fmla="*/ 226858 w 951279"/>
                <a:gd name="connsiteY80" fmla="*/ 262260 h 494694"/>
                <a:gd name="connsiteX81" fmla="*/ 239260 w 951279"/>
                <a:gd name="connsiteY81" fmla="*/ 251842 h 494694"/>
                <a:gd name="connsiteX82" fmla="*/ 249181 w 951279"/>
                <a:gd name="connsiteY82" fmla="*/ 239440 h 494694"/>
                <a:gd name="connsiteX83" fmla="*/ 261087 w 951279"/>
                <a:gd name="connsiteY83" fmla="*/ 229023 h 494694"/>
                <a:gd name="connsiteX84" fmla="*/ 272993 w 951279"/>
                <a:gd name="connsiteY84" fmla="*/ 218109 h 494694"/>
                <a:gd name="connsiteX85" fmla="*/ 283411 w 951279"/>
                <a:gd name="connsiteY85" fmla="*/ 205707 h 494694"/>
                <a:gd name="connsiteX86" fmla="*/ 295317 w 951279"/>
                <a:gd name="connsiteY86" fmla="*/ 194793 h 494694"/>
                <a:gd name="connsiteX87" fmla="*/ 307223 w 951279"/>
                <a:gd name="connsiteY87" fmla="*/ 183880 h 494694"/>
                <a:gd name="connsiteX88" fmla="*/ 318632 w 951279"/>
                <a:gd name="connsiteY88" fmla="*/ 172470 h 494694"/>
                <a:gd name="connsiteX89" fmla="*/ 329546 w 951279"/>
                <a:gd name="connsiteY89" fmla="*/ 161060 h 494694"/>
                <a:gd name="connsiteX90" fmla="*/ 340460 w 951279"/>
                <a:gd name="connsiteY90" fmla="*/ 149155 h 494694"/>
                <a:gd name="connsiteX91" fmla="*/ 352366 w 951279"/>
                <a:gd name="connsiteY91" fmla="*/ 138241 h 494694"/>
                <a:gd name="connsiteX92" fmla="*/ 363279 w 951279"/>
                <a:gd name="connsiteY92" fmla="*/ 126335 h 494694"/>
                <a:gd name="connsiteX93" fmla="*/ 375185 w 951279"/>
                <a:gd name="connsiteY93" fmla="*/ 115421 h 494694"/>
                <a:gd name="connsiteX94" fmla="*/ 385603 w 951279"/>
                <a:gd name="connsiteY94" fmla="*/ 103019 h 494694"/>
                <a:gd name="connsiteX95" fmla="*/ 398005 w 951279"/>
                <a:gd name="connsiteY95" fmla="*/ 92602 h 494694"/>
                <a:gd name="connsiteX96" fmla="*/ 408423 w 951279"/>
                <a:gd name="connsiteY96" fmla="*/ 80200 h 494694"/>
                <a:gd name="connsiteX97" fmla="*/ 420328 w 951279"/>
                <a:gd name="connsiteY97" fmla="*/ 69782 h 494694"/>
                <a:gd name="connsiteX98" fmla="*/ 430746 w 951279"/>
                <a:gd name="connsiteY98" fmla="*/ 57876 h 494694"/>
                <a:gd name="connsiteX99" fmla="*/ 443148 w 951279"/>
                <a:gd name="connsiteY99" fmla="*/ 47459 h 494694"/>
                <a:gd name="connsiteX100" fmla="*/ 454062 w 951279"/>
                <a:gd name="connsiteY100" fmla="*/ 35553 h 494694"/>
                <a:gd name="connsiteX101" fmla="*/ 466464 w 951279"/>
                <a:gd name="connsiteY101" fmla="*/ 25135 h 494694"/>
                <a:gd name="connsiteX102" fmla="*/ 477377 w 951279"/>
                <a:gd name="connsiteY102" fmla="*/ 13229 h 494694"/>
                <a:gd name="connsiteX103" fmla="*/ 488291 w 951279"/>
                <a:gd name="connsiteY103" fmla="*/ 1323 h 494694"/>
                <a:gd name="connsiteX104" fmla="*/ 496290 w 951279"/>
                <a:gd name="connsiteY104" fmla="*/ 207 h 494694"/>
                <a:gd name="connsiteX105" fmla="*/ 504661 w 951279"/>
                <a:gd name="connsiteY105" fmla="*/ 1323 h 494694"/>
                <a:gd name="connsiteX106" fmla="*/ 521032 w 951279"/>
                <a:gd name="connsiteY106" fmla="*/ 1323 h 494694"/>
                <a:gd name="connsiteX107" fmla="*/ 537403 w 951279"/>
                <a:gd name="connsiteY107" fmla="*/ 1819 h 494694"/>
                <a:gd name="connsiteX108" fmla="*/ 553773 w 951279"/>
                <a:gd name="connsiteY108" fmla="*/ 1819 h 494694"/>
                <a:gd name="connsiteX109" fmla="*/ 570144 w 951279"/>
                <a:gd name="connsiteY109" fmla="*/ 2812 h 494694"/>
                <a:gd name="connsiteX110" fmla="*/ 586514 w 951279"/>
                <a:gd name="connsiteY110" fmla="*/ 1819 h 494694"/>
                <a:gd name="connsiteX111" fmla="*/ 602885 w 951279"/>
                <a:gd name="connsiteY111" fmla="*/ 2812 h 494694"/>
                <a:gd name="connsiteX112" fmla="*/ 619256 w 951279"/>
                <a:gd name="connsiteY112" fmla="*/ 1819 h 494694"/>
                <a:gd name="connsiteX113" fmla="*/ 635626 w 951279"/>
                <a:gd name="connsiteY113" fmla="*/ 1323 h 494694"/>
                <a:gd name="connsiteX114" fmla="*/ 651997 w 951279"/>
                <a:gd name="connsiteY114" fmla="*/ 1819 h 494694"/>
                <a:gd name="connsiteX115" fmla="*/ 668367 w 951279"/>
                <a:gd name="connsiteY115" fmla="*/ 2315 h 494694"/>
                <a:gd name="connsiteX116" fmla="*/ 684738 w 951279"/>
                <a:gd name="connsiteY116" fmla="*/ 2812 h 494694"/>
                <a:gd name="connsiteX117" fmla="*/ 701109 w 951279"/>
                <a:gd name="connsiteY117" fmla="*/ 1323 h 494694"/>
                <a:gd name="connsiteX118" fmla="*/ 717479 w 951279"/>
                <a:gd name="connsiteY118" fmla="*/ 2315 h 494694"/>
                <a:gd name="connsiteX119" fmla="*/ 733850 w 951279"/>
                <a:gd name="connsiteY119" fmla="*/ 3308 h 494694"/>
                <a:gd name="connsiteX120" fmla="*/ 750220 w 951279"/>
                <a:gd name="connsiteY120" fmla="*/ 3308 h 494694"/>
                <a:gd name="connsiteX121" fmla="*/ 766591 w 951279"/>
                <a:gd name="connsiteY121" fmla="*/ 2315 h 494694"/>
                <a:gd name="connsiteX122" fmla="*/ 782962 w 951279"/>
                <a:gd name="connsiteY122" fmla="*/ 2315 h 494694"/>
                <a:gd name="connsiteX123" fmla="*/ 799332 w 951279"/>
                <a:gd name="connsiteY123" fmla="*/ 2812 h 494694"/>
                <a:gd name="connsiteX124" fmla="*/ 815703 w 951279"/>
                <a:gd name="connsiteY124" fmla="*/ 2812 h 494694"/>
                <a:gd name="connsiteX125" fmla="*/ 832073 w 951279"/>
                <a:gd name="connsiteY125" fmla="*/ 2315 h 494694"/>
                <a:gd name="connsiteX126" fmla="*/ 848444 w 951279"/>
                <a:gd name="connsiteY126" fmla="*/ 2812 h 494694"/>
                <a:gd name="connsiteX127" fmla="*/ 864814 w 951279"/>
                <a:gd name="connsiteY127" fmla="*/ 1323 h 494694"/>
                <a:gd name="connsiteX128" fmla="*/ 881185 w 951279"/>
                <a:gd name="connsiteY128" fmla="*/ 2315 h 494694"/>
                <a:gd name="connsiteX129" fmla="*/ 897555 w 951279"/>
                <a:gd name="connsiteY129" fmla="*/ 1323 h 494694"/>
                <a:gd name="connsiteX130" fmla="*/ 913926 w 951279"/>
                <a:gd name="connsiteY130" fmla="*/ 827 h 494694"/>
                <a:gd name="connsiteX131" fmla="*/ 930296 w 951279"/>
                <a:gd name="connsiteY131" fmla="*/ 2315 h 494694"/>
                <a:gd name="connsiteX132" fmla="*/ 946667 w 951279"/>
                <a:gd name="connsiteY132" fmla="*/ 827 h 494694"/>
                <a:gd name="connsiteX0" fmla="*/ 951279 w 951279"/>
                <a:gd name="connsiteY0" fmla="*/ 827 h 494694"/>
                <a:gd name="connsiteX1" fmla="*/ 951279 w 951279"/>
                <a:gd name="connsiteY1" fmla="*/ 491448 h 494694"/>
                <a:gd name="connsiteX2" fmla="*/ 949148 w 951279"/>
                <a:gd name="connsiteY2" fmla="*/ 491448 h 494694"/>
                <a:gd name="connsiteX3" fmla="*/ 932777 w 951279"/>
                <a:gd name="connsiteY3" fmla="*/ 491448 h 494694"/>
                <a:gd name="connsiteX4" fmla="*/ 916406 w 951279"/>
                <a:gd name="connsiteY4" fmla="*/ 490456 h 494694"/>
                <a:gd name="connsiteX5" fmla="*/ 900036 w 951279"/>
                <a:gd name="connsiteY5" fmla="*/ 490456 h 494694"/>
                <a:gd name="connsiteX6" fmla="*/ 883665 w 951279"/>
                <a:gd name="connsiteY6" fmla="*/ 491944 h 494694"/>
                <a:gd name="connsiteX7" fmla="*/ 867295 w 951279"/>
                <a:gd name="connsiteY7" fmla="*/ 490456 h 494694"/>
                <a:gd name="connsiteX8" fmla="*/ 850924 w 951279"/>
                <a:gd name="connsiteY8" fmla="*/ 490952 h 494694"/>
                <a:gd name="connsiteX9" fmla="*/ 834553 w 951279"/>
                <a:gd name="connsiteY9" fmla="*/ 491448 h 494694"/>
                <a:gd name="connsiteX10" fmla="*/ 818183 w 951279"/>
                <a:gd name="connsiteY10" fmla="*/ 491944 h 494694"/>
                <a:gd name="connsiteX11" fmla="*/ 801812 w 951279"/>
                <a:gd name="connsiteY11" fmla="*/ 491944 h 494694"/>
                <a:gd name="connsiteX12" fmla="*/ 785442 w 951279"/>
                <a:gd name="connsiteY12" fmla="*/ 491944 h 494694"/>
                <a:gd name="connsiteX13" fmla="*/ 769071 w 951279"/>
                <a:gd name="connsiteY13" fmla="*/ 489960 h 494694"/>
                <a:gd name="connsiteX14" fmla="*/ 752700 w 951279"/>
                <a:gd name="connsiteY14" fmla="*/ 490952 h 494694"/>
                <a:gd name="connsiteX15" fmla="*/ 736330 w 951279"/>
                <a:gd name="connsiteY15" fmla="*/ 491944 h 494694"/>
                <a:gd name="connsiteX16" fmla="*/ 719959 w 951279"/>
                <a:gd name="connsiteY16" fmla="*/ 490456 h 494694"/>
                <a:gd name="connsiteX17" fmla="*/ 703589 w 951279"/>
                <a:gd name="connsiteY17" fmla="*/ 491944 h 494694"/>
                <a:gd name="connsiteX18" fmla="*/ 687218 w 951279"/>
                <a:gd name="connsiteY18" fmla="*/ 491944 h 494694"/>
                <a:gd name="connsiteX19" fmla="*/ 670847 w 951279"/>
                <a:gd name="connsiteY19" fmla="*/ 491944 h 494694"/>
                <a:gd name="connsiteX20" fmla="*/ 654477 w 951279"/>
                <a:gd name="connsiteY20" fmla="*/ 492440 h 494694"/>
                <a:gd name="connsiteX21" fmla="*/ 638106 w 951279"/>
                <a:gd name="connsiteY21" fmla="*/ 490952 h 494694"/>
                <a:gd name="connsiteX22" fmla="*/ 621736 w 951279"/>
                <a:gd name="connsiteY22" fmla="*/ 490952 h 494694"/>
                <a:gd name="connsiteX23" fmla="*/ 605365 w 951279"/>
                <a:gd name="connsiteY23" fmla="*/ 492936 h 494694"/>
                <a:gd name="connsiteX24" fmla="*/ 588995 w 951279"/>
                <a:gd name="connsiteY24" fmla="*/ 491944 h 494694"/>
                <a:gd name="connsiteX25" fmla="*/ 572624 w 951279"/>
                <a:gd name="connsiteY25" fmla="*/ 492936 h 494694"/>
                <a:gd name="connsiteX26" fmla="*/ 556254 w 951279"/>
                <a:gd name="connsiteY26" fmla="*/ 491944 h 494694"/>
                <a:gd name="connsiteX27" fmla="*/ 539883 w 951279"/>
                <a:gd name="connsiteY27" fmla="*/ 490952 h 494694"/>
                <a:gd name="connsiteX28" fmla="*/ 523513 w 951279"/>
                <a:gd name="connsiteY28" fmla="*/ 491944 h 494694"/>
                <a:gd name="connsiteX29" fmla="*/ 507142 w 951279"/>
                <a:gd name="connsiteY29" fmla="*/ 492936 h 494694"/>
                <a:gd name="connsiteX30" fmla="*/ 490771 w 951279"/>
                <a:gd name="connsiteY30" fmla="*/ 492440 h 494694"/>
                <a:gd name="connsiteX31" fmla="*/ 474401 w 951279"/>
                <a:gd name="connsiteY31" fmla="*/ 491448 h 494694"/>
                <a:gd name="connsiteX32" fmla="*/ 458030 w 951279"/>
                <a:gd name="connsiteY32" fmla="*/ 492440 h 494694"/>
                <a:gd name="connsiteX33" fmla="*/ 441660 w 951279"/>
                <a:gd name="connsiteY33" fmla="*/ 491944 h 494694"/>
                <a:gd name="connsiteX34" fmla="*/ 425289 w 951279"/>
                <a:gd name="connsiteY34" fmla="*/ 492936 h 494694"/>
                <a:gd name="connsiteX35" fmla="*/ 408919 w 951279"/>
                <a:gd name="connsiteY35" fmla="*/ 493432 h 494694"/>
                <a:gd name="connsiteX36" fmla="*/ 392548 w 951279"/>
                <a:gd name="connsiteY36" fmla="*/ 492440 h 494694"/>
                <a:gd name="connsiteX37" fmla="*/ 376178 w 951279"/>
                <a:gd name="connsiteY37" fmla="*/ 491448 h 494694"/>
                <a:gd name="connsiteX38" fmla="*/ 359807 w 951279"/>
                <a:gd name="connsiteY38" fmla="*/ 492440 h 494694"/>
                <a:gd name="connsiteX39" fmla="*/ 343436 w 951279"/>
                <a:gd name="connsiteY39" fmla="*/ 492936 h 494694"/>
                <a:gd name="connsiteX40" fmla="*/ 327066 w 951279"/>
                <a:gd name="connsiteY40" fmla="*/ 492936 h 494694"/>
                <a:gd name="connsiteX41" fmla="*/ 310695 w 951279"/>
                <a:gd name="connsiteY41" fmla="*/ 492440 h 494694"/>
                <a:gd name="connsiteX42" fmla="*/ 294325 w 951279"/>
                <a:gd name="connsiteY42" fmla="*/ 491944 h 494694"/>
                <a:gd name="connsiteX43" fmla="*/ 277954 w 951279"/>
                <a:gd name="connsiteY43" fmla="*/ 492440 h 494694"/>
                <a:gd name="connsiteX44" fmla="*/ 261583 w 951279"/>
                <a:gd name="connsiteY44" fmla="*/ 490952 h 494694"/>
                <a:gd name="connsiteX45" fmla="*/ 245213 w 951279"/>
                <a:gd name="connsiteY45" fmla="*/ 493432 h 494694"/>
                <a:gd name="connsiteX46" fmla="*/ 228842 w 951279"/>
                <a:gd name="connsiteY46" fmla="*/ 493432 h 494694"/>
                <a:gd name="connsiteX47" fmla="*/ 212472 w 951279"/>
                <a:gd name="connsiteY47" fmla="*/ 492936 h 494694"/>
                <a:gd name="connsiteX48" fmla="*/ 196101 w 951279"/>
                <a:gd name="connsiteY48" fmla="*/ 491944 h 494694"/>
                <a:gd name="connsiteX49" fmla="*/ 179730 w 951279"/>
                <a:gd name="connsiteY49" fmla="*/ 493432 h 494694"/>
                <a:gd name="connsiteX50" fmla="*/ 163360 w 951279"/>
                <a:gd name="connsiteY50" fmla="*/ 492936 h 494694"/>
                <a:gd name="connsiteX51" fmla="*/ 146989 w 951279"/>
                <a:gd name="connsiteY51" fmla="*/ 492440 h 494694"/>
                <a:gd name="connsiteX52" fmla="*/ 130619 w 951279"/>
                <a:gd name="connsiteY52" fmla="*/ 493432 h 494694"/>
                <a:gd name="connsiteX53" fmla="*/ 114248 w 951279"/>
                <a:gd name="connsiteY53" fmla="*/ 491448 h 494694"/>
                <a:gd name="connsiteX54" fmla="*/ 97877 w 951279"/>
                <a:gd name="connsiteY54" fmla="*/ 491448 h 494694"/>
                <a:gd name="connsiteX55" fmla="*/ 81507 w 951279"/>
                <a:gd name="connsiteY55" fmla="*/ 492936 h 494694"/>
                <a:gd name="connsiteX56" fmla="*/ 65136 w 951279"/>
                <a:gd name="connsiteY56" fmla="*/ 492440 h 494694"/>
                <a:gd name="connsiteX57" fmla="*/ 48766 w 951279"/>
                <a:gd name="connsiteY57" fmla="*/ 492440 h 494694"/>
                <a:gd name="connsiteX58" fmla="*/ 32395 w 951279"/>
                <a:gd name="connsiteY58" fmla="*/ 492936 h 494694"/>
                <a:gd name="connsiteX59" fmla="*/ 16025 w 951279"/>
                <a:gd name="connsiteY59" fmla="*/ 492440 h 494694"/>
                <a:gd name="connsiteX60" fmla="*/ 646 w 951279"/>
                <a:gd name="connsiteY60" fmla="*/ 490952 h 494694"/>
                <a:gd name="connsiteX61" fmla="*/ 11560 w 951279"/>
                <a:gd name="connsiteY61" fmla="*/ 480038 h 494694"/>
                <a:gd name="connsiteX62" fmla="*/ 22474 w 951279"/>
                <a:gd name="connsiteY62" fmla="*/ 468133 h 494694"/>
                <a:gd name="connsiteX63" fmla="*/ 33884 w 951279"/>
                <a:gd name="connsiteY63" fmla="*/ 456723 h 494694"/>
                <a:gd name="connsiteX64" fmla="*/ 46286 w 951279"/>
                <a:gd name="connsiteY64" fmla="*/ 446305 h 494694"/>
                <a:gd name="connsiteX65" fmla="*/ 57695 w 951279"/>
                <a:gd name="connsiteY65" fmla="*/ 434895 h 494694"/>
                <a:gd name="connsiteX66" fmla="*/ 68113 w 951279"/>
                <a:gd name="connsiteY66" fmla="*/ 422493 h 494694"/>
                <a:gd name="connsiteX67" fmla="*/ 80019 w 951279"/>
                <a:gd name="connsiteY67" fmla="*/ 411580 h 494694"/>
                <a:gd name="connsiteX68" fmla="*/ 90436 w 951279"/>
                <a:gd name="connsiteY68" fmla="*/ 399178 h 494694"/>
                <a:gd name="connsiteX69" fmla="*/ 101846 w 951279"/>
                <a:gd name="connsiteY69" fmla="*/ 387768 h 494694"/>
                <a:gd name="connsiteX70" fmla="*/ 113256 w 951279"/>
                <a:gd name="connsiteY70" fmla="*/ 376358 h 494694"/>
                <a:gd name="connsiteX71" fmla="*/ 125658 w 951279"/>
                <a:gd name="connsiteY71" fmla="*/ 365940 h 494694"/>
                <a:gd name="connsiteX72" fmla="*/ 136572 w 951279"/>
                <a:gd name="connsiteY72" fmla="*/ 354035 h 494694"/>
                <a:gd name="connsiteX73" fmla="*/ 147485 w 951279"/>
                <a:gd name="connsiteY73" fmla="*/ 342129 h 494694"/>
                <a:gd name="connsiteX74" fmla="*/ 158399 w 951279"/>
                <a:gd name="connsiteY74" fmla="*/ 330223 h 494694"/>
                <a:gd name="connsiteX75" fmla="*/ 170801 w 951279"/>
                <a:gd name="connsiteY75" fmla="*/ 320301 h 494694"/>
                <a:gd name="connsiteX76" fmla="*/ 181715 w 951279"/>
                <a:gd name="connsiteY76" fmla="*/ 308395 h 494694"/>
                <a:gd name="connsiteX77" fmla="*/ 193621 w 951279"/>
                <a:gd name="connsiteY77" fmla="*/ 297482 h 494694"/>
                <a:gd name="connsiteX78" fmla="*/ 204534 w 951279"/>
                <a:gd name="connsiteY78" fmla="*/ 285576 h 494694"/>
                <a:gd name="connsiteX79" fmla="*/ 215944 w 951279"/>
                <a:gd name="connsiteY79" fmla="*/ 274166 h 494694"/>
                <a:gd name="connsiteX80" fmla="*/ 226858 w 951279"/>
                <a:gd name="connsiteY80" fmla="*/ 262260 h 494694"/>
                <a:gd name="connsiteX81" fmla="*/ 239260 w 951279"/>
                <a:gd name="connsiteY81" fmla="*/ 251842 h 494694"/>
                <a:gd name="connsiteX82" fmla="*/ 249181 w 951279"/>
                <a:gd name="connsiteY82" fmla="*/ 239440 h 494694"/>
                <a:gd name="connsiteX83" fmla="*/ 261087 w 951279"/>
                <a:gd name="connsiteY83" fmla="*/ 229023 h 494694"/>
                <a:gd name="connsiteX84" fmla="*/ 272993 w 951279"/>
                <a:gd name="connsiteY84" fmla="*/ 218109 h 494694"/>
                <a:gd name="connsiteX85" fmla="*/ 283411 w 951279"/>
                <a:gd name="connsiteY85" fmla="*/ 205707 h 494694"/>
                <a:gd name="connsiteX86" fmla="*/ 295317 w 951279"/>
                <a:gd name="connsiteY86" fmla="*/ 194793 h 494694"/>
                <a:gd name="connsiteX87" fmla="*/ 307223 w 951279"/>
                <a:gd name="connsiteY87" fmla="*/ 183880 h 494694"/>
                <a:gd name="connsiteX88" fmla="*/ 318632 w 951279"/>
                <a:gd name="connsiteY88" fmla="*/ 172470 h 494694"/>
                <a:gd name="connsiteX89" fmla="*/ 329546 w 951279"/>
                <a:gd name="connsiteY89" fmla="*/ 161060 h 494694"/>
                <a:gd name="connsiteX90" fmla="*/ 340460 w 951279"/>
                <a:gd name="connsiteY90" fmla="*/ 149155 h 494694"/>
                <a:gd name="connsiteX91" fmla="*/ 352366 w 951279"/>
                <a:gd name="connsiteY91" fmla="*/ 138241 h 494694"/>
                <a:gd name="connsiteX92" fmla="*/ 363279 w 951279"/>
                <a:gd name="connsiteY92" fmla="*/ 126335 h 494694"/>
                <a:gd name="connsiteX93" fmla="*/ 375185 w 951279"/>
                <a:gd name="connsiteY93" fmla="*/ 115421 h 494694"/>
                <a:gd name="connsiteX94" fmla="*/ 385603 w 951279"/>
                <a:gd name="connsiteY94" fmla="*/ 103019 h 494694"/>
                <a:gd name="connsiteX95" fmla="*/ 398005 w 951279"/>
                <a:gd name="connsiteY95" fmla="*/ 92602 h 494694"/>
                <a:gd name="connsiteX96" fmla="*/ 408423 w 951279"/>
                <a:gd name="connsiteY96" fmla="*/ 80200 h 494694"/>
                <a:gd name="connsiteX97" fmla="*/ 420328 w 951279"/>
                <a:gd name="connsiteY97" fmla="*/ 69782 h 494694"/>
                <a:gd name="connsiteX98" fmla="*/ 430746 w 951279"/>
                <a:gd name="connsiteY98" fmla="*/ 57876 h 494694"/>
                <a:gd name="connsiteX99" fmla="*/ 443148 w 951279"/>
                <a:gd name="connsiteY99" fmla="*/ 47459 h 494694"/>
                <a:gd name="connsiteX100" fmla="*/ 454062 w 951279"/>
                <a:gd name="connsiteY100" fmla="*/ 35553 h 494694"/>
                <a:gd name="connsiteX101" fmla="*/ 466464 w 951279"/>
                <a:gd name="connsiteY101" fmla="*/ 25135 h 494694"/>
                <a:gd name="connsiteX102" fmla="*/ 477377 w 951279"/>
                <a:gd name="connsiteY102" fmla="*/ 13229 h 494694"/>
                <a:gd name="connsiteX103" fmla="*/ 488291 w 951279"/>
                <a:gd name="connsiteY103" fmla="*/ 1323 h 494694"/>
                <a:gd name="connsiteX104" fmla="*/ 496290 w 951279"/>
                <a:gd name="connsiteY104" fmla="*/ 207 h 494694"/>
                <a:gd name="connsiteX105" fmla="*/ 504661 w 951279"/>
                <a:gd name="connsiteY105" fmla="*/ 1323 h 494694"/>
                <a:gd name="connsiteX106" fmla="*/ 521032 w 951279"/>
                <a:gd name="connsiteY106" fmla="*/ 1323 h 494694"/>
                <a:gd name="connsiteX107" fmla="*/ 537403 w 951279"/>
                <a:gd name="connsiteY107" fmla="*/ 1819 h 494694"/>
                <a:gd name="connsiteX108" fmla="*/ 553773 w 951279"/>
                <a:gd name="connsiteY108" fmla="*/ 1819 h 494694"/>
                <a:gd name="connsiteX109" fmla="*/ 570144 w 951279"/>
                <a:gd name="connsiteY109" fmla="*/ 2812 h 494694"/>
                <a:gd name="connsiteX110" fmla="*/ 586514 w 951279"/>
                <a:gd name="connsiteY110" fmla="*/ 1819 h 494694"/>
                <a:gd name="connsiteX111" fmla="*/ 602885 w 951279"/>
                <a:gd name="connsiteY111" fmla="*/ 2812 h 494694"/>
                <a:gd name="connsiteX112" fmla="*/ 619256 w 951279"/>
                <a:gd name="connsiteY112" fmla="*/ 1819 h 494694"/>
                <a:gd name="connsiteX113" fmla="*/ 635626 w 951279"/>
                <a:gd name="connsiteY113" fmla="*/ 1323 h 494694"/>
                <a:gd name="connsiteX114" fmla="*/ 651997 w 951279"/>
                <a:gd name="connsiteY114" fmla="*/ 1819 h 494694"/>
                <a:gd name="connsiteX115" fmla="*/ 668367 w 951279"/>
                <a:gd name="connsiteY115" fmla="*/ 2315 h 494694"/>
                <a:gd name="connsiteX116" fmla="*/ 684738 w 951279"/>
                <a:gd name="connsiteY116" fmla="*/ 2812 h 494694"/>
                <a:gd name="connsiteX117" fmla="*/ 701109 w 951279"/>
                <a:gd name="connsiteY117" fmla="*/ 1323 h 494694"/>
                <a:gd name="connsiteX118" fmla="*/ 717479 w 951279"/>
                <a:gd name="connsiteY118" fmla="*/ 2315 h 494694"/>
                <a:gd name="connsiteX119" fmla="*/ 733850 w 951279"/>
                <a:gd name="connsiteY119" fmla="*/ 3308 h 494694"/>
                <a:gd name="connsiteX120" fmla="*/ 750220 w 951279"/>
                <a:gd name="connsiteY120" fmla="*/ 3308 h 494694"/>
                <a:gd name="connsiteX121" fmla="*/ 766591 w 951279"/>
                <a:gd name="connsiteY121" fmla="*/ 2315 h 494694"/>
                <a:gd name="connsiteX122" fmla="*/ 782962 w 951279"/>
                <a:gd name="connsiteY122" fmla="*/ 2315 h 494694"/>
                <a:gd name="connsiteX123" fmla="*/ 799332 w 951279"/>
                <a:gd name="connsiteY123" fmla="*/ 2812 h 494694"/>
                <a:gd name="connsiteX124" fmla="*/ 815703 w 951279"/>
                <a:gd name="connsiteY124" fmla="*/ 2812 h 494694"/>
                <a:gd name="connsiteX125" fmla="*/ 832073 w 951279"/>
                <a:gd name="connsiteY125" fmla="*/ 2315 h 494694"/>
                <a:gd name="connsiteX126" fmla="*/ 848444 w 951279"/>
                <a:gd name="connsiteY126" fmla="*/ 2812 h 494694"/>
                <a:gd name="connsiteX127" fmla="*/ 864814 w 951279"/>
                <a:gd name="connsiteY127" fmla="*/ 1323 h 494694"/>
                <a:gd name="connsiteX128" fmla="*/ 881185 w 951279"/>
                <a:gd name="connsiteY128" fmla="*/ 2315 h 494694"/>
                <a:gd name="connsiteX129" fmla="*/ 897555 w 951279"/>
                <a:gd name="connsiteY129" fmla="*/ 1323 h 494694"/>
                <a:gd name="connsiteX130" fmla="*/ 913926 w 951279"/>
                <a:gd name="connsiteY130" fmla="*/ 827 h 494694"/>
                <a:gd name="connsiteX131" fmla="*/ 930296 w 951279"/>
                <a:gd name="connsiteY131" fmla="*/ 2315 h 494694"/>
                <a:gd name="connsiteX0" fmla="*/ 951279 w 951279"/>
                <a:gd name="connsiteY0" fmla="*/ 491448 h 494694"/>
                <a:gd name="connsiteX1" fmla="*/ 949148 w 951279"/>
                <a:gd name="connsiteY1" fmla="*/ 491448 h 494694"/>
                <a:gd name="connsiteX2" fmla="*/ 932777 w 951279"/>
                <a:gd name="connsiteY2" fmla="*/ 491448 h 494694"/>
                <a:gd name="connsiteX3" fmla="*/ 916406 w 951279"/>
                <a:gd name="connsiteY3" fmla="*/ 490456 h 494694"/>
                <a:gd name="connsiteX4" fmla="*/ 900036 w 951279"/>
                <a:gd name="connsiteY4" fmla="*/ 490456 h 494694"/>
                <a:gd name="connsiteX5" fmla="*/ 883665 w 951279"/>
                <a:gd name="connsiteY5" fmla="*/ 491944 h 494694"/>
                <a:gd name="connsiteX6" fmla="*/ 867295 w 951279"/>
                <a:gd name="connsiteY6" fmla="*/ 490456 h 494694"/>
                <a:gd name="connsiteX7" fmla="*/ 850924 w 951279"/>
                <a:gd name="connsiteY7" fmla="*/ 490952 h 494694"/>
                <a:gd name="connsiteX8" fmla="*/ 834553 w 951279"/>
                <a:gd name="connsiteY8" fmla="*/ 491448 h 494694"/>
                <a:gd name="connsiteX9" fmla="*/ 818183 w 951279"/>
                <a:gd name="connsiteY9" fmla="*/ 491944 h 494694"/>
                <a:gd name="connsiteX10" fmla="*/ 801812 w 951279"/>
                <a:gd name="connsiteY10" fmla="*/ 491944 h 494694"/>
                <a:gd name="connsiteX11" fmla="*/ 785442 w 951279"/>
                <a:gd name="connsiteY11" fmla="*/ 491944 h 494694"/>
                <a:gd name="connsiteX12" fmla="*/ 769071 w 951279"/>
                <a:gd name="connsiteY12" fmla="*/ 489960 h 494694"/>
                <a:gd name="connsiteX13" fmla="*/ 752700 w 951279"/>
                <a:gd name="connsiteY13" fmla="*/ 490952 h 494694"/>
                <a:gd name="connsiteX14" fmla="*/ 736330 w 951279"/>
                <a:gd name="connsiteY14" fmla="*/ 491944 h 494694"/>
                <a:gd name="connsiteX15" fmla="*/ 719959 w 951279"/>
                <a:gd name="connsiteY15" fmla="*/ 490456 h 494694"/>
                <a:gd name="connsiteX16" fmla="*/ 703589 w 951279"/>
                <a:gd name="connsiteY16" fmla="*/ 491944 h 494694"/>
                <a:gd name="connsiteX17" fmla="*/ 687218 w 951279"/>
                <a:gd name="connsiteY17" fmla="*/ 491944 h 494694"/>
                <a:gd name="connsiteX18" fmla="*/ 670847 w 951279"/>
                <a:gd name="connsiteY18" fmla="*/ 491944 h 494694"/>
                <a:gd name="connsiteX19" fmla="*/ 654477 w 951279"/>
                <a:gd name="connsiteY19" fmla="*/ 492440 h 494694"/>
                <a:gd name="connsiteX20" fmla="*/ 638106 w 951279"/>
                <a:gd name="connsiteY20" fmla="*/ 490952 h 494694"/>
                <a:gd name="connsiteX21" fmla="*/ 621736 w 951279"/>
                <a:gd name="connsiteY21" fmla="*/ 490952 h 494694"/>
                <a:gd name="connsiteX22" fmla="*/ 605365 w 951279"/>
                <a:gd name="connsiteY22" fmla="*/ 492936 h 494694"/>
                <a:gd name="connsiteX23" fmla="*/ 588995 w 951279"/>
                <a:gd name="connsiteY23" fmla="*/ 491944 h 494694"/>
                <a:gd name="connsiteX24" fmla="*/ 572624 w 951279"/>
                <a:gd name="connsiteY24" fmla="*/ 492936 h 494694"/>
                <a:gd name="connsiteX25" fmla="*/ 556254 w 951279"/>
                <a:gd name="connsiteY25" fmla="*/ 491944 h 494694"/>
                <a:gd name="connsiteX26" fmla="*/ 539883 w 951279"/>
                <a:gd name="connsiteY26" fmla="*/ 490952 h 494694"/>
                <a:gd name="connsiteX27" fmla="*/ 523513 w 951279"/>
                <a:gd name="connsiteY27" fmla="*/ 491944 h 494694"/>
                <a:gd name="connsiteX28" fmla="*/ 507142 w 951279"/>
                <a:gd name="connsiteY28" fmla="*/ 492936 h 494694"/>
                <a:gd name="connsiteX29" fmla="*/ 490771 w 951279"/>
                <a:gd name="connsiteY29" fmla="*/ 492440 h 494694"/>
                <a:gd name="connsiteX30" fmla="*/ 474401 w 951279"/>
                <a:gd name="connsiteY30" fmla="*/ 491448 h 494694"/>
                <a:gd name="connsiteX31" fmla="*/ 458030 w 951279"/>
                <a:gd name="connsiteY31" fmla="*/ 492440 h 494694"/>
                <a:gd name="connsiteX32" fmla="*/ 441660 w 951279"/>
                <a:gd name="connsiteY32" fmla="*/ 491944 h 494694"/>
                <a:gd name="connsiteX33" fmla="*/ 425289 w 951279"/>
                <a:gd name="connsiteY33" fmla="*/ 492936 h 494694"/>
                <a:gd name="connsiteX34" fmla="*/ 408919 w 951279"/>
                <a:gd name="connsiteY34" fmla="*/ 493432 h 494694"/>
                <a:gd name="connsiteX35" fmla="*/ 392548 w 951279"/>
                <a:gd name="connsiteY35" fmla="*/ 492440 h 494694"/>
                <a:gd name="connsiteX36" fmla="*/ 376178 w 951279"/>
                <a:gd name="connsiteY36" fmla="*/ 491448 h 494694"/>
                <a:gd name="connsiteX37" fmla="*/ 359807 w 951279"/>
                <a:gd name="connsiteY37" fmla="*/ 492440 h 494694"/>
                <a:gd name="connsiteX38" fmla="*/ 343436 w 951279"/>
                <a:gd name="connsiteY38" fmla="*/ 492936 h 494694"/>
                <a:gd name="connsiteX39" fmla="*/ 327066 w 951279"/>
                <a:gd name="connsiteY39" fmla="*/ 492936 h 494694"/>
                <a:gd name="connsiteX40" fmla="*/ 310695 w 951279"/>
                <a:gd name="connsiteY40" fmla="*/ 492440 h 494694"/>
                <a:gd name="connsiteX41" fmla="*/ 294325 w 951279"/>
                <a:gd name="connsiteY41" fmla="*/ 491944 h 494694"/>
                <a:gd name="connsiteX42" fmla="*/ 277954 w 951279"/>
                <a:gd name="connsiteY42" fmla="*/ 492440 h 494694"/>
                <a:gd name="connsiteX43" fmla="*/ 261583 w 951279"/>
                <a:gd name="connsiteY43" fmla="*/ 490952 h 494694"/>
                <a:gd name="connsiteX44" fmla="*/ 245213 w 951279"/>
                <a:gd name="connsiteY44" fmla="*/ 493432 h 494694"/>
                <a:gd name="connsiteX45" fmla="*/ 228842 w 951279"/>
                <a:gd name="connsiteY45" fmla="*/ 493432 h 494694"/>
                <a:gd name="connsiteX46" fmla="*/ 212472 w 951279"/>
                <a:gd name="connsiteY46" fmla="*/ 492936 h 494694"/>
                <a:gd name="connsiteX47" fmla="*/ 196101 w 951279"/>
                <a:gd name="connsiteY47" fmla="*/ 491944 h 494694"/>
                <a:gd name="connsiteX48" fmla="*/ 179730 w 951279"/>
                <a:gd name="connsiteY48" fmla="*/ 493432 h 494694"/>
                <a:gd name="connsiteX49" fmla="*/ 163360 w 951279"/>
                <a:gd name="connsiteY49" fmla="*/ 492936 h 494694"/>
                <a:gd name="connsiteX50" fmla="*/ 146989 w 951279"/>
                <a:gd name="connsiteY50" fmla="*/ 492440 h 494694"/>
                <a:gd name="connsiteX51" fmla="*/ 130619 w 951279"/>
                <a:gd name="connsiteY51" fmla="*/ 493432 h 494694"/>
                <a:gd name="connsiteX52" fmla="*/ 114248 w 951279"/>
                <a:gd name="connsiteY52" fmla="*/ 491448 h 494694"/>
                <a:gd name="connsiteX53" fmla="*/ 97877 w 951279"/>
                <a:gd name="connsiteY53" fmla="*/ 491448 h 494694"/>
                <a:gd name="connsiteX54" fmla="*/ 81507 w 951279"/>
                <a:gd name="connsiteY54" fmla="*/ 492936 h 494694"/>
                <a:gd name="connsiteX55" fmla="*/ 65136 w 951279"/>
                <a:gd name="connsiteY55" fmla="*/ 492440 h 494694"/>
                <a:gd name="connsiteX56" fmla="*/ 48766 w 951279"/>
                <a:gd name="connsiteY56" fmla="*/ 492440 h 494694"/>
                <a:gd name="connsiteX57" fmla="*/ 32395 w 951279"/>
                <a:gd name="connsiteY57" fmla="*/ 492936 h 494694"/>
                <a:gd name="connsiteX58" fmla="*/ 16025 w 951279"/>
                <a:gd name="connsiteY58" fmla="*/ 492440 h 494694"/>
                <a:gd name="connsiteX59" fmla="*/ 646 w 951279"/>
                <a:gd name="connsiteY59" fmla="*/ 490952 h 494694"/>
                <a:gd name="connsiteX60" fmla="*/ 11560 w 951279"/>
                <a:gd name="connsiteY60" fmla="*/ 480038 h 494694"/>
                <a:gd name="connsiteX61" fmla="*/ 22474 w 951279"/>
                <a:gd name="connsiteY61" fmla="*/ 468133 h 494694"/>
                <a:gd name="connsiteX62" fmla="*/ 33884 w 951279"/>
                <a:gd name="connsiteY62" fmla="*/ 456723 h 494694"/>
                <a:gd name="connsiteX63" fmla="*/ 46286 w 951279"/>
                <a:gd name="connsiteY63" fmla="*/ 446305 h 494694"/>
                <a:gd name="connsiteX64" fmla="*/ 57695 w 951279"/>
                <a:gd name="connsiteY64" fmla="*/ 434895 h 494694"/>
                <a:gd name="connsiteX65" fmla="*/ 68113 w 951279"/>
                <a:gd name="connsiteY65" fmla="*/ 422493 h 494694"/>
                <a:gd name="connsiteX66" fmla="*/ 80019 w 951279"/>
                <a:gd name="connsiteY66" fmla="*/ 411580 h 494694"/>
                <a:gd name="connsiteX67" fmla="*/ 90436 w 951279"/>
                <a:gd name="connsiteY67" fmla="*/ 399178 h 494694"/>
                <a:gd name="connsiteX68" fmla="*/ 101846 w 951279"/>
                <a:gd name="connsiteY68" fmla="*/ 387768 h 494694"/>
                <a:gd name="connsiteX69" fmla="*/ 113256 w 951279"/>
                <a:gd name="connsiteY69" fmla="*/ 376358 h 494694"/>
                <a:gd name="connsiteX70" fmla="*/ 125658 w 951279"/>
                <a:gd name="connsiteY70" fmla="*/ 365940 h 494694"/>
                <a:gd name="connsiteX71" fmla="*/ 136572 w 951279"/>
                <a:gd name="connsiteY71" fmla="*/ 354035 h 494694"/>
                <a:gd name="connsiteX72" fmla="*/ 147485 w 951279"/>
                <a:gd name="connsiteY72" fmla="*/ 342129 h 494694"/>
                <a:gd name="connsiteX73" fmla="*/ 158399 w 951279"/>
                <a:gd name="connsiteY73" fmla="*/ 330223 h 494694"/>
                <a:gd name="connsiteX74" fmla="*/ 170801 w 951279"/>
                <a:gd name="connsiteY74" fmla="*/ 320301 h 494694"/>
                <a:gd name="connsiteX75" fmla="*/ 181715 w 951279"/>
                <a:gd name="connsiteY75" fmla="*/ 308395 h 494694"/>
                <a:gd name="connsiteX76" fmla="*/ 193621 w 951279"/>
                <a:gd name="connsiteY76" fmla="*/ 297482 h 494694"/>
                <a:gd name="connsiteX77" fmla="*/ 204534 w 951279"/>
                <a:gd name="connsiteY77" fmla="*/ 285576 h 494694"/>
                <a:gd name="connsiteX78" fmla="*/ 215944 w 951279"/>
                <a:gd name="connsiteY78" fmla="*/ 274166 h 494694"/>
                <a:gd name="connsiteX79" fmla="*/ 226858 w 951279"/>
                <a:gd name="connsiteY79" fmla="*/ 262260 h 494694"/>
                <a:gd name="connsiteX80" fmla="*/ 239260 w 951279"/>
                <a:gd name="connsiteY80" fmla="*/ 251842 h 494694"/>
                <a:gd name="connsiteX81" fmla="*/ 249181 w 951279"/>
                <a:gd name="connsiteY81" fmla="*/ 239440 h 494694"/>
                <a:gd name="connsiteX82" fmla="*/ 261087 w 951279"/>
                <a:gd name="connsiteY82" fmla="*/ 229023 h 494694"/>
                <a:gd name="connsiteX83" fmla="*/ 272993 w 951279"/>
                <a:gd name="connsiteY83" fmla="*/ 218109 h 494694"/>
                <a:gd name="connsiteX84" fmla="*/ 283411 w 951279"/>
                <a:gd name="connsiteY84" fmla="*/ 205707 h 494694"/>
                <a:gd name="connsiteX85" fmla="*/ 295317 w 951279"/>
                <a:gd name="connsiteY85" fmla="*/ 194793 h 494694"/>
                <a:gd name="connsiteX86" fmla="*/ 307223 w 951279"/>
                <a:gd name="connsiteY86" fmla="*/ 183880 h 494694"/>
                <a:gd name="connsiteX87" fmla="*/ 318632 w 951279"/>
                <a:gd name="connsiteY87" fmla="*/ 172470 h 494694"/>
                <a:gd name="connsiteX88" fmla="*/ 329546 w 951279"/>
                <a:gd name="connsiteY88" fmla="*/ 161060 h 494694"/>
                <a:gd name="connsiteX89" fmla="*/ 340460 w 951279"/>
                <a:gd name="connsiteY89" fmla="*/ 149155 h 494694"/>
                <a:gd name="connsiteX90" fmla="*/ 352366 w 951279"/>
                <a:gd name="connsiteY90" fmla="*/ 138241 h 494694"/>
                <a:gd name="connsiteX91" fmla="*/ 363279 w 951279"/>
                <a:gd name="connsiteY91" fmla="*/ 126335 h 494694"/>
                <a:gd name="connsiteX92" fmla="*/ 375185 w 951279"/>
                <a:gd name="connsiteY92" fmla="*/ 115421 h 494694"/>
                <a:gd name="connsiteX93" fmla="*/ 385603 w 951279"/>
                <a:gd name="connsiteY93" fmla="*/ 103019 h 494694"/>
                <a:gd name="connsiteX94" fmla="*/ 398005 w 951279"/>
                <a:gd name="connsiteY94" fmla="*/ 92602 h 494694"/>
                <a:gd name="connsiteX95" fmla="*/ 408423 w 951279"/>
                <a:gd name="connsiteY95" fmla="*/ 80200 h 494694"/>
                <a:gd name="connsiteX96" fmla="*/ 420328 w 951279"/>
                <a:gd name="connsiteY96" fmla="*/ 69782 h 494694"/>
                <a:gd name="connsiteX97" fmla="*/ 430746 w 951279"/>
                <a:gd name="connsiteY97" fmla="*/ 57876 h 494694"/>
                <a:gd name="connsiteX98" fmla="*/ 443148 w 951279"/>
                <a:gd name="connsiteY98" fmla="*/ 47459 h 494694"/>
                <a:gd name="connsiteX99" fmla="*/ 454062 w 951279"/>
                <a:gd name="connsiteY99" fmla="*/ 35553 h 494694"/>
                <a:gd name="connsiteX100" fmla="*/ 466464 w 951279"/>
                <a:gd name="connsiteY100" fmla="*/ 25135 h 494694"/>
                <a:gd name="connsiteX101" fmla="*/ 477377 w 951279"/>
                <a:gd name="connsiteY101" fmla="*/ 13229 h 494694"/>
                <a:gd name="connsiteX102" fmla="*/ 488291 w 951279"/>
                <a:gd name="connsiteY102" fmla="*/ 1323 h 494694"/>
                <a:gd name="connsiteX103" fmla="*/ 496290 w 951279"/>
                <a:gd name="connsiteY103" fmla="*/ 207 h 494694"/>
                <a:gd name="connsiteX104" fmla="*/ 504661 w 951279"/>
                <a:gd name="connsiteY104" fmla="*/ 1323 h 494694"/>
                <a:gd name="connsiteX105" fmla="*/ 521032 w 951279"/>
                <a:gd name="connsiteY105" fmla="*/ 1323 h 494694"/>
                <a:gd name="connsiteX106" fmla="*/ 537403 w 951279"/>
                <a:gd name="connsiteY106" fmla="*/ 1819 h 494694"/>
                <a:gd name="connsiteX107" fmla="*/ 553773 w 951279"/>
                <a:gd name="connsiteY107" fmla="*/ 1819 h 494694"/>
                <a:gd name="connsiteX108" fmla="*/ 570144 w 951279"/>
                <a:gd name="connsiteY108" fmla="*/ 2812 h 494694"/>
                <a:gd name="connsiteX109" fmla="*/ 586514 w 951279"/>
                <a:gd name="connsiteY109" fmla="*/ 1819 h 494694"/>
                <a:gd name="connsiteX110" fmla="*/ 602885 w 951279"/>
                <a:gd name="connsiteY110" fmla="*/ 2812 h 494694"/>
                <a:gd name="connsiteX111" fmla="*/ 619256 w 951279"/>
                <a:gd name="connsiteY111" fmla="*/ 1819 h 494694"/>
                <a:gd name="connsiteX112" fmla="*/ 635626 w 951279"/>
                <a:gd name="connsiteY112" fmla="*/ 1323 h 494694"/>
                <a:gd name="connsiteX113" fmla="*/ 651997 w 951279"/>
                <a:gd name="connsiteY113" fmla="*/ 1819 h 494694"/>
                <a:gd name="connsiteX114" fmla="*/ 668367 w 951279"/>
                <a:gd name="connsiteY114" fmla="*/ 2315 h 494694"/>
                <a:gd name="connsiteX115" fmla="*/ 684738 w 951279"/>
                <a:gd name="connsiteY115" fmla="*/ 2812 h 494694"/>
                <a:gd name="connsiteX116" fmla="*/ 701109 w 951279"/>
                <a:gd name="connsiteY116" fmla="*/ 1323 h 494694"/>
                <a:gd name="connsiteX117" fmla="*/ 717479 w 951279"/>
                <a:gd name="connsiteY117" fmla="*/ 2315 h 494694"/>
                <a:gd name="connsiteX118" fmla="*/ 733850 w 951279"/>
                <a:gd name="connsiteY118" fmla="*/ 3308 h 494694"/>
                <a:gd name="connsiteX119" fmla="*/ 750220 w 951279"/>
                <a:gd name="connsiteY119" fmla="*/ 3308 h 494694"/>
                <a:gd name="connsiteX120" fmla="*/ 766591 w 951279"/>
                <a:gd name="connsiteY120" fmla="*/ 2315 h 494694"/>
                <a:gd name="connsiteX121" fmla="*/ 782962 w 951279"/>
                <a:gd name="connsiteY121" fmla="*/ 2315 h 494694"/>
                <a:gd name="connsiteX122" fmla="*/ 799332 w 951279"/>
                <a:gd name="connsiteY122" fmla="*/ 2812 h 494694"/>
                <a:gd name="connsiteX123" fmla="*/ 815703 w 951279"/>
                <a:gd name="connsiteY123" fmla="*/ 2812 h 494694"/>
                <a:gd name="connsiteX124" fmla="*/ 832073 w 951279"/>
                <a:gd name="connsiteY124" fmla="*/ 2315 h 494694"/>
                <a:gd name="connsiteX125" fmla="*/ 848444 w 951279"/>
                <a:gd name="connsiteY125" fmla="*/ 2812 h 494694"/>
                <a:gd name="connsiteX126" fmla="*/ 864814 w 951279"/>
                <a:gd name="connsiteY126" fmla="*/ 1323 h 494694"/>
                <a:gd name="connsiteX127" fmla="*/ 881185 w 951279"/>
                <a:gd name="connsiteY127" fmla="*/ 2315 h 494694"/>
                <a:gd name="connsiteX128" fmla="*/ 897555 w 951279"/>
                <a:gd name="connsiteY128" fmla="*/ 1323 h 494694"/>
                <a:gd name="connsiteX129" fmla="*/ 913926 w 951279"/>
                <a:gd name="connsiteY129" fmla="*/ 827 h 494694"/>
                <a:gd name="connsiteX130" fmla="*/ 930296 w 951279"/>
                <a:gd name="connsiteY130" fmla="*/ 2315 h 494694"/>
                <a:gd name="connsiteX0" fmla="*/ 951279 w 951279"/>
                <a:gd name="connsiteY0" fmla="*/ 491448 h 494694"/>
                <a:gd name="connsiteX1" fmla="*/ 949148 w 951279"/>
                <a:gd name="connsiteY1" fmla="*/ 491448 h 494694"/>
                <a:gd name="connsiteX2" fmla="*/ 916406 w 951279"/>
                <a:gd name="connsiteY2" fmla="*/ 490456 h 494694"/>
                <a:gd name="connsiteX3" fmla="*/ 900036 w 951279"/>
                <a:gd name="connsiteY3" fmla="*/ 490456 h 494694"/>
                <a:gd name="connsiteX4" fmla="*/ 883665 w 951279"/>
                <a:gd name="connsiteY4" fmla="*/ 491944 h 494694"/>
                <a:gd name="connsiteX5" fmla="*/ 867295 w 951279"/>
                <a:gd name="connsiteY5" fmla="*/ 490456 h 494694"/>
                <a:gd name="connsiteX6" fmla="*/ 850924 w 951279"/>
                <a:gd name="connsiteY6" fmla="*/ 490952 h 494694"/>
                <a:gd name="connsiteX7" fmla="*/ 834553 w 951279"/>
                <a:gd name="connsiteY7" fmla="*/ 491448 h 494694"/>
                <a:gd name="connsiteX8" fmla="*/ 818183 w 951279"/>
                <a:gd name="connsiteY8" fmla="*/ 491944 h 494694"/>
                <a:gd name="connsiteX9" fmla="*/ 801812 w 951279"/>
                <a:gd name="connsiteY9" fmla="*/ 491944 h 494694"/>
                <a:gd name="connsiteX10" fmla="*/ 785442 w 951279"/>
                <a:gd name="connsiteY10" fmla="*/ 491944 h 494694"/>
                <a:gd name="connsiteX11" fmla="*/ 769071 w 951279"/>
                <a:gd name="connsiteY11" fmla="*/ 489960 h 494694"/>
                <a:gd name="connsiteX12" fmla="*/ 752700 w 951279"/>
                <a:gd name="connsiteY12" fmla="*/ 490952 h 494694"/>
                <a:gd name="connsiteX13" fmla="*/ 736330 w 951279"/>
                <a:gd name="connsiteY13" fmla="*/ 491944 h 494694"/>
                <a:gd name="connsiteX14" fmla="*/ 719959 w 951279"/>
                <a:gd name="connsiteY14" fmla="*/ 490456 h 494694"/>
                <a:gd name="connsiteX15" fmla="*/ 703589 w 951279"/>
                <a:gd name="connsiteY15" fmla="*/ 491944 h 494694"/>
                <a:gd name="connsiteX16" fmla="*/ 687218 w 951279"/>
                <a:gd name="connsiteY16" fmla="*/ 491944 h 494694"/>
                <a:gd name="connsiteX17" fmla="*/ 670847 w 951279"/>
                <a:gd name="connsiteY17" fmla="*/ 491944 h 494694"/>
                <a:gd name="connsiteX18" fmla="*/ 654477 w 951279"/>
                <a:gd name="connsiteY18" fmla="*/ 492440 h 494694"/>
                <a:gd name="connsiteX19" fmla="*/ 638106 w 951279"/>
                <a:gd name="connsiteY19" fmla="*/ 490952 h 494694"/>
                <a:gd name="connsiteX20" fmla="*/ 621736 w 951279"/>
                <a:gd name="connsiteY20" fmla="*/ 490952 h 494694"/>
                <a:gd name="connsiteX21" fmla="*/ 605365 w 951279"/>
                <a:gd name="connsiteY21" fmla="*/ 492936 h 494694"/>
                <a:gd name="connsiteX22" fmla="*/ 588995 w 951279"/>
                <a:gd name="connsiteY22" fmla="*/ 491944 h 494694"/>
                <a:gd name="connsiteX23" fmla="*/ 572624 w 951279"/>
                <a:gd name="connsiteY23" fmla="*/ 492936 h 494694"/>
                <a:gd name="connsiteX24" fmla="*/ 556254 w 951279"/>
                <a:gd name="connsiteY24" fmla="*/ 491944 h 494694"/>
                <a:gd name="connsiteX25" fmla="*/ 539883 w 951279"/>
                <a:gd name="connsiteY25" fmla="*/ 490952 h 494694"/>
                <a:gd name="connsiteX26" fmla="*/ 523513 w 951279"/>
                <a:gd name="connsiteY26" fmla="*/ 491944 h 494694"/>
                <a:gd name="connsiteX27" fmla="*/ 507142 w 951279"/>
                <a:gd name="connsiteY27" fmla="*/ 492936 h 494694"/>
                <a:gd name="connsiteX28" fmla="*/ 490771 w 951279"/>
                <a:gd name="connsiteY28" fmla="*/ 492440 h 494694"/>
                <a:gd name="connsiteX29" fmla="*/ 474401 w 951279"/>
                <a:gd name="connsiteY29" fmla="*/ 491448 h 494694"/>
                <a:gd name="connsiteX30" fmla="*/ 458030 w 951279"/>
                <a:gd name="connsiteY30" fmla="*/ 492440 h 494694"/>
                <a:gd name="connsiteX31" fmla="*/ 441660 w 951279"/>
                <a:gd name="connsiteY31" fmla="*/ 491944 h 494694"/>
                <a:gd name="connsiteX32" fmla="*/ 425289 w 951279"/>
                <a:gd name="connsiteY32" fmla="*/ 492936 h 494694"/>
                <a:gd name="connsiteX33" fmla="*/ 408919 w 951279"/>
                <a:gd name="connsiteY33" fmla="*/ 493432 h 494694"/>
                <a:gd name="connsiteX34" fmla="*/ 392548 w 951279"/>
                <a:gd name="connsiteY34" fmla="*/ 492440 h 494694"/>
                <a:gd name="connsiteX35" fmla="*/ 376178 w 951279"/>
                <a:gd name="connsiteY35" fmla="*/ 491448 h 494694"/>
                <a:gd name="connsiteX36" fmla="*/ 359807 w 951279"/>
                <a:gd name="connsiteY36" fmla="*/ 492440 h 494694"/>
                <a:gd name="connsiteX37" fmla="*/ 343436 w 951279"/>
                <a:gd name="connsiteY37" fmla="*/ 492936 h 494694"/>
                <a:gd name="connsiteX38" fmla="*/ 327066 w 951279"/>
                <a:gd name="connsiteY38" fmla="*/ 492936 h 494694"/>
                <a:gd name="connsiteX39" fmla="*/ 310695 w 951279"/>
                <a:gd name="connsiteY39" fmla="*/ 492440 h 494694"/>
                <a:gd name="connsiteX40" fmla="*/ 294325 w 951279"/>
                <a:gd name="connsiteY40" fmla="*/ 491944 h 494694"/>
                <a:gd name="connsiteX41" fmla="*/ 277954 w 951279"/>
                <a:gd name="connsiteY41" fmla="*/ 492440 h 494694"/>
                <a:gd name="connsiteX42" fmla="*/ 261583 w 951279"/>
                <a:gd name="connsiteY42" fmla="*/ 490952 h 494694"/>
                <a:gd name="connsiteX43" fmla="*/ 245213 w 951279"/>
                <a:gd name="connsiteY43" fmla="*/ 493432 h 494694"/>
                <a:gd name="connsiteX44" fmla="*/ 228842 w 951279"/>
                <a:gd name="connsiteY44" fmla="*/ 493432 h 494694"/>
                <a:gd name="connsiteX45" fmla="*/ 212472 w 951279"/>
                <a:gd name="connsiteY45" fmla="*/ 492936 h 494694"/>
                <a:gd name="connsiteX46" fmla="*/ 196101 w 951279"/>
                <a:gd name="connsiteY46" fmla="*/ 491944 h 494694"/>
                <a:gd name="connsiteX47" fmla="*/ 179730 w 951279"/>
                <a:gd name="connsiteY47" fmla="*/ 493432 h 494694"/>
                <a:gd name="connsiteX48" fmla="*/ 163360 w 951279"/>
                <a:gd name="connsiteY48" fmla="*/ 492936 h 494694"/>
                <a:gd name="connsiteX49" fmla="*/ 146989 w 951279"/>
                <a:gd name="connsiteY49" fmla="*/ 492440 h 494694"/>
                <a:gd name="connsiteX50" fmla="*/ 130619 w 951279"/>
                <a:gd name="connsiteY50" fmla="*/ 493432 h 494694"/>
                <a:gd name="connsiteX51" fmla="*/ 114248 w 951279"/>
                <a:gd name="connsiteY51" fmla="*/ 491448 h 494694"/>
                <a:gd name="connsiteX52" fmla="*/ 97877 w 951279"/>
                <a:gd name="connsiteY52" fmla="*/ 491448 h 494694"/>
                <a:gd name="connsiteX53" fmla="*/ 81507 w 951279"/>
                <a:gd name="connsiteY53" fmla="*/ 492936 h 494694"/>
                <a:gd name="connsiteX54" fmla="*/ 65136 w 951279"/>
                <a:gd name="connsiteY54" fmla="*/ 492440 h 494694"/>
                <a:gd name="connsiteX55" fmla="*/ 48766 w 951279"/>
                <a:gd name="connsiteY55" fmla="*/ 492440 h 494694"/>
                <a:gd name="connsiteX56" fmla="*/ 32395 w 951279"/>
                <a:gd name="connsiteY56" fmla="*/ 492936 h 494694"/>
                <a:gd name="connsiteX57" fmla="*/ 16025 w 951279"/>
                <a:gd name="connsiteY57" fmla="*/ 492440 h 494694"/>
                <a:gd name="connsiteX58" fmla="*/ 646 w 951279"/>
                <a:gd name="connsiteY58" fmla="*/ 490952 h 494694"/>
                <a:gd name="connsiteX59" fmla="*/ 11560 w 951279"/>
                <a:gd name="connsiteY59" fmla="*/ 480038 h 494694"/>
                <a:gd name="connsiteX60" fmla="*/ 22474 w 951279"/>
                <a:gd name="connsiteY60" fmla="*/ 468133 h 494694"/>
                <a:gd name="connsiteX61" fmla="*/ 33884 w 951279"/>
                <a:gd name="connsiteY61" fmla="*/ 456723 h 494694"/>
                <a:gd name="connsiteX62" fmla="*/ 46286 w 951279"/>
                <a:gd name="connsiteY62" fmla="*/ 446305 h 494694"/>
                <a:gd name="connsiteX63" fmla="*/ 57695 w 951279"/>
                <a:gd name="connsiteY63" fmla="*/ 434895 h 494694"/>
                <a:gd name="connsiteX64" fmla="*/ 68113 w 951279"/>
                <a:gd name="connsiteY64" fmla="*/ 422493 h 494694"/>
                <a:gd name="connsiteX65" fmla="*/ 80019 w 951279"/>
                <a:gd name="connsiteY65" fmla="*/ 411580 h 494694"/>
                <a:gd name="connsiteX66" fmla="*/ 90436 w 951279"/>
                <a:gd name="connsiteY66" fmla="*/ 399178 h 494694"/>
                <a:gd name="connsiteX67" fmla="*/ 101846 w 951279"/>
                <a:gd name="connsiteY67" fmla="*/ 387768 h 494694"/>
                <a:gd name="connsiteX68" fmla="*/ 113256 w 951279"/>
                <a:gd name="connsiteY68" fmla="*/ 376358 h 494694"/>
                <a:gd name="connsiteX69" fmla="*/ 125658 w 951279"/>
                <a:gd name="connsiteY69" fmla="*/ 365940 h 494694"/>
                <a:gd name="connsiteX70" fmla="*/ 136572 w 951279"/>
                <a:gd name="connsiteY70" fmla="*/ 354035 h 494694"/>
                <a:gd name="connsiteX71" fmla="*/ 147485 w 951279"/>
                <a:gd name="connsiteY71" fmla="*/ 342129 h 494694"/>
                <a:gd name="connsiteX72" fmla="*/ 158399 w 951279"/>
                <a:gd name="connsiteY72" fmla="*/ 330223 h 494694"/>
                <a:gd name="connsiteX73" fmla="*/ 170801 w 951279"/>
                <a:gd name="connsiteY73" fmla="*/ 320301 h 494694"/>
                <a:gd name="connsiteX74" fmla="*/ 181715 w 951279"/>
                <a:gd name="connsiteY74" fmla="*/ 308395 h 494694"/>
                <a:gd name="connsiteX75" fmla="*/ 193621 w 951279"/>
                <a:gd name="connsiteY75" fmla="*/ 297482 h 494694"/>
                <a:gd name="connsiteX76" fmla="*/ 204534 w 951279"/>
                <a:gd name="connsiteY76" fmla="*/ 285576 h 494694"/>
                <a:gd name="connsiteX77" fmla="*/ 215944 w 951279"/>
                <a:gd name="connsiteY77" fmla="*/ 274166 h 494694"/>
                <a:gd name="connsiteX78" fmla="*/ 226858 w 951279"/>
                <a:gd name="connsiteY78" fmla="*/ 262260 h 494694"/>
                <a:gd name="connsiteX79" fmla="*/ 239260 w 951279"/>
                <a:gd name="connsiteY79" fmla="*/ 251842 h 494694"/>
                <a:gd name="connsiteX80" fmla="*/ 249181 w 951279"/>
                <a:gd name="connsiteY80" fmla="*/ 239440 h 494694"/>
                <a:gd name="connsiteX81" fmla="*/ 261087 w 951279"/>
                <a:gd name="connsiteY81" fmla="*/ 229023 h 494694"/>
                <a:gd name="connsiteX82" fmla="*/ 272993 w 951279"/>
                <a:gd name="connsiteY82" fmla="*/ 218109 h 494694"/>
                <a:gd name="connsiteX83" fmla="*/ 283411 w 951279"/>
                <a:gd name="connsiteY83" fmla="*/ 205707 h 494694"/>
                <a:gd name="connsiteX84" fmla="*/ 295317 w 951279"/>
                <a:gd name="connsiteY84" fmla="*/ 194793 h 494694"/>
                <a:gd name="connsiteX85" fmla="*/ 307223 w 951279"/>
                <a:gd name="connsiteY85" fmla="*/ 183880 h 494694"/>
                <a:gd name="connsiteX86" fmla="*/ 318632 w 951279"/>
                <a:gd name="connsiteY86" fmla="*/ 172470 h 494694"/>
                <a:gd name="connsiteX87" fmla="*/ 329546 w 951279"/>
                <a:gd name="connsiteY87" fmla="*/ 161060 h 494694"/>
                <a:gd name="connsiteX88" fmla="*/ 340460 w 951279"/>
                <a:gd name="connsiteY88" fmla="*/ 149155 h 494694"/>
                <a:gd name="connsiteX89" fmla="*/ 352366 w 951279"/>
                <a:gd name="connsiteY89" fmla="*/ 138241 h 494694"/>
                <a:gd name="connsiteX90" fmla="*/ 363279 w 951279"/>
                <a:gd name="connsiteY90" fmla="*/ 126335 h 494694"/>
                <a:gd name="connsiteX91" fmla="*/ 375185 w 951279"/>
                <a:gd name="connsiteY91" fmla="*/ 115421 h 494694"/>
                <a:gd name="connsiteX92" fmla="*/ 385603 w 951279"/>
                <a:gd name="connsiteY92" fmla="*/ 103019 h 494694"/>
                <a:gd name="connsiteX93" fmla="*/ 398005 w 951279"/>
                <a:gd name="connsiteY93" fmla="*/ 92602 h 494694"/>
                <a:gd name="connsiteX94" fmla="*/ 408423 w 951279"/>
                <a:gd name="connsiteY94" fmla="*/ 80200 h 494694"/>
                <a:gd name="connsiteX95" fmla="*/ 420328 w 951279"/>
                <a:gd name="connsiteY95" fmla="*/ 69782 h 494694"/>
                <a:gd name="connsiteX96" fmla="*/ 430746 w 951279"/>
                <a:gd name="connsiteY96" fmla="*/ 57876 h 494694"/>
                <a:gd name="connsiteX97" fmla="*/ 443148 w 951279"/>
                <a:gd name="connsiteY97" fmla="*/ 47459 h 494694"/>
                <a:gd name="connsiteX98" fmla="*/ 454062 w 951279"/>
                <a:gd name="connsiteY98" fmla="*/ 35553 h 494694"/>
                <a:gd name="connsiteX99" fmla="*/ 466464 w 951279"/>
                <a:gd name="connsiteY99" fmla="*/ 25135 h 494694"/>
                <a:gd name="connsiteX100" fmla="*/ 477377 w 951279"/>
                <a:gd name="connsiteY100" fmla="*/ 13229 h 494694"/>
                <a:gd name="connsiteX101" fmla="*/ 488291 w 951279"/>
                <a:gd name="connsiteY101" fmla="*/ 1323 h 494694"/>
                <a:gd name="connsiteX102" fmla="*/ 496290 w 951279"/>
                <a:gd name="connsiteY102" fmla="*/ 207 h 494694"/>
                <a:gd name="connsiteX103" fmla="*/ 504661 w 951279"/>
                <a:gd name="connsiteY103" fmla="*/ 1323 h 494694"/>
                <a:gd name="connsiteX104" fmla="*/ 521032 w 951279"/>
                <a:gd name="connsiteY104" fmla="*/ 1323 h 494694"/>
                <a:gd name="connsiteX105" fmla="*/ 537403 w 951279"/>
                <a:gd name="connsiteY105" fmla="*/ 1819 h 494694"/>
                <a:gd name="connsiteX106" fmla="*/ 553773 w 951279"/>
                <a:gd name="connsiteY106" fmla="*/ 1819 h 494694"/>
                <a:gd name="connsiteX107" fmla="*/ 570144 w 951279"/>
                <a:gd name="connsiteY107" fmla="*/ 2812 h 494694"/>
                <a:gd name="connsiteX108" fmla="*/ 586514 w 951279"/>
                <a:gd name="connsiteY108" fmla="*/ 1819 h 494694"/>
                <a:gd name="connsiteX109" fmla="*/ 602885 w 951279"/>
                <a:gd name="connsiteY109" fmla="*/ 2812 h 494694"/>
                <a:gd name="connsiteX110" fmla="*/ 619256 w 951279"/>
                <a:gd name="connsiteY110" fmla="*/ 1819 h 494694"/>
                <a:gd name="connsiteX111" fmla="*/ 635626 w 951279"/>
                <a:gd name="connsiteY111" fmla="*/ 1323 h 494694"/>
                <a:gd name="connsiteX112" fmla="*/ 651997 w 951279"/>
                <a:gd name="connsiteY112" fmla="*/ 1819 h 494694"/>
                <a:gd name="connsiteX113" fmla="*/ 668367 w 951279"/>
                <a:gd name="connsiteY113" fmla="*/ 2315 h 494694"/>
                <a:gd name="connsiteX114" fmla="*/ 684738 w 951279"/>
                <a:gd name="connsiteY114" fmla="*/ 2812 h 494694"/>
                <a:gd name="connsiteX115" fmla="*/ 701109 w 951279"/>
                <a:gd name="connsiteY115" fmla="*/ 1323 h 494694"/>
                <a:gd name="connsiteX116" fmla="*/ 717479 w 951279"/>
                <a:gd name="connsiteY116" fmla="*/ 2315 h 494694"/>
                <a:gd name="connsiteX117" fmla="*/ 733850 w 951279"/>
                <a:gd name="connsiteY117" fmla="*/ 3308 h 494694"/>
                <a:gd name="connsiteX118" fmla="*/ 750220 w 951279"/>
                <a:gd name="connsiteY118" fmla="*/ 3308 h 494694"/>
                <a:gd name="connsiteX119" fmla="*/ 766591 w 951279"/>
                <a:gd name="connsiteY119" fmla="*/ 2315 h 494694"/>
                <a:gd name="connsiteX120" fmla="*/ 782962 w 951279"/>
                <a:gd name="connsiteY120" fmla="*/ 2315 h 494694"/>
                <a:gd name="connsiteX121" fmla="*/ 799332 w 951279"/>
                <a:gd name="connsiteY121" fmla="*/ 2812 h 494694"/>
                <a:gd name="connsiteX122" fmla="*/ 815703 w 951279"/>
                <a:gd name="connsiteY122" fmla="*/ 2812 h 494694"/>
                <a:gd name="connsiteX123" fmla="*/ 832073 w 951279"/>
                <a:gd name="connsiteY123" fmla="*/ 2315 h 494694"/>
                <a:gd name="connsiteX124" fmla="*/ 848444 w 951279"/>
                <a:gd name="connsiteY124" fmla="*/ 2812 h 494694"/>
                <a:gd name="connsiteX125" fmla="*/ 864814 w 951279"/>
                <a:gd name="connsiteY125" fmla="*/ 1323 h 494694"/>
                <a:gd name="connsiteX126" fmla="*/ 881185 w 951279"/>
                <a:gd name="connsiteY126" fmla="*/ 2315 h 494694"/>
                <a:gd name="connsiteX127" fmla="*/ 897555 w 951279"/>
                <a:gd name="connsiteY127" fmla="*/ 1323 h 494694"/>
                <a:gd name="connsiteX128" fmla="*/ 913926 w 951279"/>
                <a:gd name="connsiteY128" fmla="*/ 827 h 494694"/>
                <a:gd name="connsiteX129" fmla="*/ 930296 w 951279"/>
                <a:gd name="connsiteY129" fmla="*/ 2315 h 494694"/>
                <a:gd name="connsiteX0" fmla="*/ 951279 w 951279"/>
                <a:gd name="connsiteY0" fmla="*/ 491448 h 494694"/>
                <a:gd name="connsiteX1" fmla="*/ 916406 w 951279"/>
                <a:gd name="connsiteY1" fmla="*/ 490456 h 494694"/>
                <a:gd name="connsiteX2" fmla="*/ 900036 w 951279"/>
                <a:gd name="connsiteY2" fmla="*/ 490456 h 494694"/>
                <a:gd name="connsiteX3" fmla="*/ 883665 w 951279"/>
                <a:gd name="connsiteY3" fmla="*/ 491944 h 494694"/>
                <a:gd name="connsiteX4" fmla="*/ 867295 w 951279"/>
                <a:gd name="connsiteY4" fmla="*/ 490456 h 494694"/>
                <a:gd name="connsiteX5" fmla="*/ 850924 w 951279"/>
                <a:gd name="connsiteY5" fmla="*/ 490952 h 494694"/>
                <a:gd name="connsiteX6" fmla="*/ 834553 w 951279"/>
                <a:gd name="connsiteY6" fmla="*/ 491448 h 494694"/>
                <a:gd name="connsiteX7" fmla="*/ 818183 w 951279"/>
                <a:gd name="connsiteY7" fmla="*/ 491944 h 494694"/>
                <a:gd name="connsiteX8" fmla="*/ 801812 w 951279"/>
                <a:gd name="connsiteY8" fmla="*/ 491944 h 494694"/>
                <a:gd name="connsiteX9" fmla="*/ 785442 w 951279"/>
                <a:gd name="connsiteY9" fmla="*/ 491944 h 494694"/>
                <a:gd name="connsiteX10" fmla="*/ 769071 w 951279"/>
                <a:gd name="connsiteY10" fmla="*/ 489960 h 494694"/>
                <a:gd name="connsiteX11" fmla="*/ 752700 w 951279"/>
                <a:gd name="connsiteY11" fmla="*/ 490952 h 494694"/>
                <a:gd name="connsiteX12" fmla="*/ 736330 w 951279"/>
                <a:gd name="connsiteY12" fmla="*/ 491944 h 494694"/>
                <a:gd name="connsiteX13" fmla="*/ 719959 w 951279"/>
                <a:gd name="connsiteY13" fmla="*/ 490456 h 494694"/>
                <a:gd name="connsiteX14" fmla="*/ 703589 w 951279"/>
                <a:gd name="connsiteY14" fmla="*/ 491944 h 494694"/>
                <a:gd name="connsiteX15" fmla="*/ 687218 w 951279"/>
                <a:gd name="connsiteY15" fmla="*/ 491944 h 494694"/>
                <a:gd name="connsiteX16" fmla="*/ 670847 w 951279"/>
                <a:gd name="connsiteY16" fmla="*/ 491944 h 494694"/>
                <a:gd name="connsiteX17" fmla="*/ 654477 w 951279"/>
                <a:gd name="connsiteY17" fmla="*/ 492440 h 494694"/>
                <a:gd name="connsiteX18" fmla="*/ 638106 w 951279"/>
                <a:gd name="connsiteY18" fmla="*/ 490952 h 494694"/>
                <a:gd name="connsiteX19" fmla="*/ 621736 w 951279"/>
                <a:gd name="connsiteY19" fmla="*/ 490952 h 494694"/>
                <a:gd name="connsiteX20" fmla="*/ 605365 w 951279"/>
                <a:gd name="connsiteY20" fmla="*/ 492936 h 494694"/>
                <a:gd name="connsiteX21" fmla="*/ 588995 w 951279"/>
                <a:gd name="connsiteY21" fmla="*/ 491944 h 494694"/>
                <a:gd name="connsiteX22" fmla="*/ 572624 w 951279"/>
                <a:gd name="connsiteY22" fmla="*/ 492936 h 494694"/>
                <a:gd name="connsiteX23" fmla="*/ 556254 w 951279"/>
                <a:gd name="connsiteY23" fmla="*/ 491944 h 494694"/>
                <a:gd name="connsiteX24" fmla="*/ 539883 w 951279"/>
                <a:gd name="connsiteY24" fmla="*/ 490952 h 494694"/>
                <a:gd name="connsiteX25" fmla="*/ 523513 w 951279"/>
                <a:gd name="connsiteY25" fmla="*/ 491944 h 494694"/>
                <a:gd name="connsiteX26" fmla="*/ 507142 w 951279"/>
                <a:gd name="connsiteY26" fmla="*/ 492936 h 494694"/>
                <a:gd name="connsiteX27" fmla="*/ 490771 w 951279"/>
                <a:gd name="connsiteY27" fmla="*/ 492440 h 494694"/>
                <a:gd name="connsiteX28" fmla="*/ 474401 w 951279"/>
                <a:gd name="connsiteY28" fmla="*/ 491448 h 494694"/>
                <a:gd name="connsiteX29" fmla="*/ 458030 w 951279"/>
                <a:gd name="connsiteY29" fmla="*/ 492440 h 494694"/>
                <a:gd name="connsiteX30" fmla="*/ 441660 w 951279"/>
                <a:gd name="connsiteY30" fmla="*/ 491944 h 494694"/>
                <a:gd name="connsiteX31" fmla="*/ 425289 w 951279"/>
                <a:gd name="connsiteY31" fmla="*/ 492936 h 494694"/>
                <a:gd name="connsiteX32" fmla="*/ 408919 w 951279"/>
                <a:gd name="connsiteY32" fmla="*/ 493432 h 494694"/>
                <a:gd name="connsiteX33" fmla="*/ 392548 w 951279"/>
                <a:gd name="connsiteY33" fmla="*/ 492440 h 494694"/>
                <a:gd name="connsiteX34" fmla="*/ 376178 w 951279"/>
                <a:gd name="connsiteY34" fmla="*/ 491448 h 494694"/>
                <a:gd name="connsiteX35" fmla="*/ 359807 w 951279"/>
                <a:gd name="connsiteY35" fmla="*/ 492440 h 494694"/>
                <a:gd name="connsiteX36" fmla="*/ 343436 w 951279"/>
                <a:gd name="connsiteY36" fmla="*/ 492936 h 494694"/>
                <a:gd name="connsiteX37" fmla="*/ 327066 w 951279"/>
                <a:gd name="connsiteY37" fmla="*/ 492936 h 494694"/>
                <a:gd name="connsiteX38" fmla="*/ 310695 w 951279"/>
                <a:gd name="connsiteY38" fmla="*/ 492440 h 494694"/>
                <a:gd name="connsiteX39" fmla="*/ 294325 w 951279"/>
                <a:gd name="connsiteY39" fmla="*/ 491944 h 494694"/>
                <a:gd name="connsiteX40" fmla="*/ 277954 w 951279"/>
                <a:gd name="connsiteY40" fmla="*/ 492440 h 494694"/>
                <a:gd name="connsiteX41" fmla="*/ 261583 w 951279"/>
                <a:gd name="connsiteY41" fmla="*/ 490952 h 494694"/>
                <a:gd name="connsiteX42" fmla="*/ 245213 w 951279"/>
                <a:gd name="connsiteY42" fmla="*/ 493432 h 494694"/>
                <a:gd name="connsiteX43" fmla="*/ 228842 w 951279"/>
                <a:gd name="connsiteY43" fmla="*/ 493432 h 494694"/>
                <a:gd name="connsiteX44" fmla="*/ 212472 w 951279"/>
                <a:gd name="connsiteY44" fmla="*/ 492936 h 494694"/>
                <a:gd name="connsiteX45" fmla="*/ 196101 w 951279"/>
                <a:gd name="connsiteY45" fmla="*/ 491944 h 494694"/>
                <a:gd name="connsiteX46" fmla="*/ 179730 w 951279"/>
                <a:gd name="connsiteY46" fmla="*/ 493432 h 494694"/>
                <a:gd name="connsiteX47" fmla="*/ 163360 w 951279"/>
                <a:gd name="connsiteY47" fmla="*/ 492936 h 494694"/>
                <a:gd name="connsiteX48" fmla="*/ 146989 w 951279"/>
                <a:gd name="connsiteY48" fmla="*/ 492440 h 494694"/>
                <a:gd name="connsiteX49" fmla="*/ 130619 w 951279"/>
                <a:gd name="connsiteY49" fmla="*/ 493432 h 494694"/>
                <a:gd name="connsiteX50" fmla="*/ 114248 w 951279"/>
                <a:gd name="connsiteY50" fmla="*/ 491448 h 494694"/>
                <a:gd name="connsiteX51" fmla="*/ 97877 w 951279"/>
                <a:gd name="connsiteY51" fmla="*/ 491448 h 494694"/>
                <a:gd name="connsiteX52" fmla="*/ 81507 w 951279"/>
                <a:gd name="connsiteY52" fmla="*/ 492936 h 494694"/>
                <a:gd name="connsiteX53" fmla="*/ 65136 w 951279"/>
                <a:gd name="connsiteY53" fmla="*/ 492440 h 494694"/>
                <a:gd name="connsiteX54" fmla="*/ 48766 w 951279"/>
                <a:gd name="connsiteY54" fmla="*/ 492440 h 494694"/>
                <a:gd name="connsiteX55" fmla="*/ 32395 w 951279"/>
                <a:gd name="connsiteY55" fmla="*/ 492936 h 494694"/>
                <a:gd name="connsiteX56" fmla="*/ 16025 w 951279"/>
                <a:gd name="connsiteY56" fmla="*/ 492440 h 494694"/>
                <a:gd name="connsiteX57" fmla="*/ 646 w 951279"/>
                <a:gd name="connsiteY57" fmla="*/ 490952 h 494694"/>
                <a:gd name="connsiteX58" fmla="*/ 11560 w 951279"/>
                <a:gd name="connsiteY58" fmla="*/ 480038 h 494694"/>
                <a:gd name="connsiteX59" fmla="*/ 22474 w 951279"/>
                <a:gd name="connsiteY59" fmla="*/ 468133 h 494694"/>
                <a:gd name="connsiteX60" fmla="*/ 33884 w 951279"/>
                <a:gd name="connsiteY60" fmla="*/ 456723 h 494694"/>
                <a:gd name="connsiteX61" fmla="*/ 46286 w 951279"/>
                <a:gd name="connsiteY61" fmla="*/ 446305 h 494694"/>
                <a:gd name="connsiteX62" fmla="*/ 57695 w 951279"/>
                <a:gd name="connsiteY62" fmla="*/ 434895 h 494694"/>
                <a:gd name="connsiteX63" fmla="*/ 68113 w 951279"/>
                <a:gd name="connsiteY63" fmla="*/ 422493 h 494694"/>
                <a:gd name="connsiteX64" fmla="*/ 80019 w 951279"/>
                <a:gd name="connsiteY64" fmla="*/ 411580 h 494694"/>
                <a:gd name="connsiteX65" fmla="*/ 90436 w 951279"/>
                <a:gd name="connsiteY65" fmla="*/ 399178 h 494694"/>
                <a:gd name="connsiteX66" fmla="*/ 101846 w 951279"/>
                <a:gd name="connsiteY66" fmla="*/ 387768 h 494694"/>
                <a:gd name="connsiteX67" fmla="*/ 113256 w 951279"/>
                <a:gd name="connsiteY67" fmla="*/ 376358 h 494694"/>
                <a:gd name="connsiteX68" fmla="*/ 125658 w 951279"/>
                <a:gd name="connsiteY68" fmla="*/ 365940 h 494694"/>
                <a:gd name="connsiteX69" fmla="*/ 136572 w 951279"/>
                <a:gd name="connsiteY69" fmla="*/ 354035 h 494694"/>
                <a:gd name="connsiteX70" fmla="*/ 147485 w 951279"/>
                <a:gd name="connsiteY70" fmla="*/ 342129 h 494694"/>
                <a:gd name="connsiteX71" fmla="*/ 158399 w 951279"/>
                <a:gd name="connsiteY71" fmla="*/ 330223 h 494694"/>
                <a:gd name="connsiteX72" fmla="*/ 170801 w 951279"/>
                <a:gd name="connsiteY72" fmla="*/ 320301 h 494694"/>
                <a:gd name="connsiteX73" fmla="*/ 181715 w 951279"/>
                <a:gd name="connsiteY73" fmla="*/ 308395 h 494694"/>
                <a:gd name="connsiteX74" fmla="*/ 193621 w 951279"/>
                <a:gd name="connsiteY74" fmla="*/ 297482 h 494694"/>
                <a:gd name="connsiteX75" fmla="*/ 204534 w 951279"/>
                <a:gd name="connsiteY75" fmla="*/ 285576 h 494694"/>
                <a:gd name="connsiteX76" fmla="*/ 215944 w 951279"/>
                <a:gd name="connsiteY76" fmla="*/ 274166 h 494694"/>
                <a:gd name="connsiteX77" fmla="*/ 226858 w 951279"/>
                <a:gd name="connsiteY77" fmla="*/ 262260 h 494694"/>
                <a:gd name="connsiteX78" fmla="*/ 239260 w 951279"/>
                <a:gd name="connsiteY78" fmla="*/ 251842 h 494694"/>
                <a:gd name="connsiteX79" fmla="*/ 249181 w 951279"/>
                <a:gd name="connsiteY79" fmla="*/ 239440 h 494694"/>
                <a:gd name="connsiteX80" fmla="*/ 261087 w 951279"/>
                <a:gd name="connsiteY80" fmla="*/ 229023 h 494694"/>
                <a:gd name="connsiteX81" fmla="*/ 272993 w 951279"/>
                <a:gd name="connsiteY81" fmla="*/ 218109 h 494694"/>
                <a:gd name="connsiteX82" fmla="*/ 283411 w 951279"/>
                <a:gd name="connsiteY82" fmla="*/ 205707 h 494694"/>
                <a:gd name="connsiteX83" fmla="*/ 295317 w 951279"/>
                <a:gd name="connsiteY83" fmla="*/ 194793 h 494694"/>
                <a:gd name="connsiteX84" fmla="*/ 307223 w 951279"/>
                <a:gd name="connsiteY84" fmla="*/ 183880 h 494694"/>
                <a:gd name="connsiteX85" fmla="*/ 318632 w 951279"/>
                <a:gd name="connsiteY85" fmla="*/ 172470 h 494694"/>
                <a:gd name="connsiteX86" fmla="*/ 329546 w 951279"/>
                <a:gd name="connsiteY86" fmla="*/ 161060 h 494694"/>
                <a:gd name="connsiteX87" fmla="*/ 340460 w 951279"/>
                <a:gd name="connsiteY87" fmla="*/ 149155 h 494694"/>
                <a:gd name="connsiteX88" fmla="*/ 352366 w 951279"/>
                <a:gd name="connsiteY88" fmla="*/ 138241 h 494694"/>
                <a:gd name="connsiteX89" fmla="*/ 363279 w 951279"/>
                <a:gd name="connsiteY89" fmla="*/ 126335 h 494694"/>
                <a:gd name="connsiteX90" fmla="*/ 375185 w 951279"/>
                <a:gd name="connsiteY90" fmla="*/ 115421 h 494694"/>
                <a:gd name="connsiteX91" fmla="*/ 385603 w 951279"/>
                <a:gd name="connsiteY91" fmla="*/ 103019 h 494694"/>
                <a:gd name="connsiteX92" fmla="*/ 398005 w 951279"/>
                <a:gd name="connsiteY92" fmla="*/ 92602 h 494694"/>
                <a:gd name="connsiteX93" fmla="*/ 408423 w 951279"/>
                <a:gd name="connsiteY93" fmla="*/ 80200 h 494694"/>
                <a:gd name="connsiteX94" fmla="*/ 420328 w 951279"/>
                <a:gd name="connsiteY94" fmla="*/ 69782 h 494694"/>
                <a:gd name="connsiteX95" fmla="*/ 430746 w 951279"/>
                <a:gd name="connsiteY95" fmla="*/ 57876 h 494694"/>
                <a:gd name="connsiteX96" fmla="*/ 443148 w 951279"/>
                <a:gd name="connsiteY96" fmla="*/ 47459 h 494694"/>
                <a:gd name="connsiteX97" fmla="*/ 454062 w 951279"/>
                <a:gd name="connsiteY97" fmla="*/ 35553 h 494694"/>
                <a:gd name="connsiteX98" fmla="*/ 466464 w 951279"/>
                <a:gd name="connsiteY98" fmla="*/ 25135 h 494694"/>
                <a:gd name="connsiteX99" fmla="*/ 477377 w 951279"/>
                <a:gd name="connsiteY99" fmla="*/ 13229 h 494694"/>
                <a:gd name="connsiteX100" fmla="*/ 488291 w 951279"/>
                <a:gd name="connsiteY100" fmla="*/ 1323 h 494694"/>
                <a:gd name="connsiteX101" fmla="*/ 496290 w 951279"/>
                <a:gd name="connsiteY101" fmla="*/ 207 h 494694"/>
                <a:gd name="connsiteX102" fmla="*/ 504661 w 951279"/>
                <a:gd name="connsiteY102" fmla="*/ 1323 h 494694"/>
                <a:gd name="connsiteX103" fmla="*/ 521032 w 951279"/>
                <a:gd name="connsiteY103" fmla="*/ 1323 h 494694"/>
                <a:gd name="connsiteX104" fmla="*/ 537403 w 951279"/>
                <a:gd name="connsiteY104" fmla="*/ 1819 h 494694"/>
                <a:gd name="connsiteX105" fmla="*/ 553773 w 951279"/>
                <a:gd name="connsiteY105" fmla="*/ 1819 h 494694"/>
                <a:gd name="connsiteX106" fmla="*/ 570144 w 951279"/>
                <a:gd name="connsiteY106" fmla="*/ 2812 h 494694"/>
                <a:gd name="connsiteX107" fmla="*/ 586514 w 951279"/>
                <a:gd name="connsiteY107" fmla="*/ 1819 h 494694"/>
                <a:gd name="connsiteX108" fmla="*/ 602885 w 951279"/>
                <a:gd name="connsiteY108" fmla="*/ 2812 h 494694"/>
                <a:gd name="connsiteX109" fmla="*/ 619256 w 951279"/>
                <a:gd name="connsiteY109" fmla="*/ 1819 h 494694"/>
                <a:gd name="connsiteX110" fmla="*/ 635626 w 951279"/>
                <a:gd name="connsiteY110" fmla="*/ 1323 h 494694"/>
                <a:gd name="connsiteX111" fmla="*/ 651997 w 951279"/>
                <a:gd name="connsiteY111" fmla="*/ 1819 h 494694"/>
                <a:gd name="connsiteX112" fmla="*/ 668367 w 951279"/>
                <a:gd name="connsiteY112" fmla="*/ 2315 h 494694"/>
                <a:gd name="connsiteX113" fmla="*/ 684738 w 951279"/>
                <a:gd name="connsiteY113" fmla="*/ 2812 h 494694"/>
                <a:gd name="connsiteX114" fmla="*/ 701109 w 951279"/>
                <a:gd name="connsiteY114" fmla="*/ 1323 h 494694"/>
                <a:gd name="connsiteX115" fmla="*/ 717479 w 951279"/>
                <a:gd name="connsiteY115" fmla="*/ 2315 h 494694"/>
                <a:gd name="connsiteX116" fmla="*/ 733850 w 951279"/>
                <a:gd name="connsiteY116" fmla="*/ 3308 h 494694"/>
                <a:gd name="connsiteX117" fmla="*/ 750220 w 951279"/>
                <a:gd name="connsiteY117" fmla="*/ 3308 h 494694"/>
                <a:gd name="connsiteX118" fmla="*/ 766591 w 951279"/>
                <a:gd name="connsiteY118" fmla="*/ 2315 h 494694"/>
                <a:gd name="connsiteX119" fmla="*/ 782962 w 951279"/>
                <a:gd name="connsiteY119" fmla="*/ 2315 h 494694"/>
                <a:gd name="connsiteX120" fmla="*/ 799332 w 951279"/>
                <a:gd name="connsiteY120" fmla="*/ 2812 h 494694"/>
                <a:gd name="connsiteX121" fmla="*/ 815703 w 951279"/>
                <a:gd name="connsiteY121" fmla="*/ 2812 h 494694"/>
                <a:gd name="connsiteX122" fmla="*/ 832073 w 951279"/>
                <a:gd name="connsiteY122" fmla="*/ 2315 h 494694"/>
                <a:gd name="connsiteX123" fmla="*/ 848444 w 951279"/>
                <a:gd name="connsiteY123" fmla="*/ 2812 h 494694"/>
                <a:gd name="connsiteX124" fmla="*/ 864814 w 951279"/>
                <a:gd name="connsiteY124" fmla="*/ 1323 h 494694"/>
                <a:gd name="connsiteX125" fmla="*/ 881185 w 951279"/>
                <a:gd name="connsiteY125" fmla="*/ 2315 h 494694"/>
                <a:gd name="connsiteX126" fmla="*/ 897555 w 951279"/>
                <a:gd name="connsiteY126" fmla="*/ 1323 h 494694"/>
                <a:gd name="connsiteX127" fmla="*/ 913926 w 951279"/>
                <a:gd name="connsiteY127" fmla="*/ 827 h 494694"/>
                <a:gd name="connsiteX128" fmla="*/ 930296 w 951279"/>
                <a:gd name="connsiteY128" fmla="*/ 2315 h 494694"/>
                <a:gd name="connsiteX0" fmla="*/ 916406 w 930296"/>
                <a:gd name="connsiteY0" fmla="*/ 490456 h 494694"/>
                <a:gd name="connsiteX1" fmla="*/ 900036 w 930296"/>
                <a:gd name="connsiteY1" fmla="*/ 490456 h 494694"/>
                <a:gd name="connsiteX2" fmla="*/ 883665 w 930296"/>
                <a:gd name="connsiteY2" fmla="*/ 491944 h 494694"/>
                <a:gd name="connsiteX3" fmla="*/ 867295 w 930296"/>
                <a:gd name="connsiteY3" fmla="*/ 490456 h 494694"/>
                <a:gd name="connsiteX4" fmla="*/ 850924 w 930296"/>
                <a:gd name="connsiteY4" fmla="*/ 490952 h 494694"/>
                <a:gd name="connsiteX5" fmla="*/ 834553 w 930296"/>
                <a:gd name="connsiteY5" fmla="*/ 491448 h 494694"/>
                <a:gd name="connsiteX6" fmla="*/ 818183 w 930296"/>
                <a:gd name="connsiteY6" fmla="*/ 491944 h 494694"/>
                <a:gd name="connsiteX7" fmla="*/ 801812 w 930296"/>
                <a:gd name="connsiteY7" fmla="*/ 491944 h 494694"/>
                <a:gd name="connsiteX8" fmla="*/ 785442 w 930296"/>
                <a:gd name="connsiteY8" fmla="*/ 491944 h 494694"/>
                <a:gd name="connsiteX9" fmla="*/ 769071 w 930296"/>
                <a:gd name="connsiteY9" fmla="*/ 489960 h 494694"/>
                <a:gd name="connsiteX10" fmla="*/ 752700 w 930296"/>
                <a:gd name="connsiteY10" fmla="*/ 490952 h 494694"/>
                <a:gd name="connsiteX11" fmla="*/ 736330 w 930296"/>
                <a:gd name="connsiteY11" fmla="*/ 491944 h 494694"/>
                <a:gd name="connsiteX12" fmla="*/ 719959 w 930296"/>
                <a:gd name="connsiteY12" fmla="*/ 490456 h 494694"/>
                <a:gd name="connsiteX13" fmla="*/ 703589 w 930296"/>
                <a:gd name="connsiteY13" fmla="*/ 491944 h 494694"/>
                <a:gd name="connsiteX14" fmla="*/ 687218 w 930296"/>
                <a:gd name="connsiteY14" fmla="*/ 491944 h 494694"/>
                <a:gd name="connsiteX15" fmla="*/ 670847 w 930296"/>
                <a:gd name="connsiteY15" fmla="*/ 491944 h 494694"/>
                <a:gd name="connsiteX16" fmla="*/ 654477 w 930296"/>
                <a:gd name="connsiteY16" fmla="*/ 492440 h 494694"/>
                <a:gd name="connsiteX17" fmla="*/ 638106 w 930296"/>
                <a:gd name="connsiteY17" fmla="*/ 490952 h 494694"/>
                <a:gd name="connsiteX18" fmla="*/ 621736 w 930296"/>
                <a:gd name="connsiteY18" fmla="*/ 490952 h 494694"/>
                <a:gd name="connsiteX19" fmla="*/ 605365 w 930296"/>
                <a:gd name="connsiteY19" fmla="*/ 492936 h 494694"/>
                <a:gd name="connsiteX20" fmla="*/ 588995 w 930296"/>
                <a:gd name="connsiteY20" fmla="*/ 491944 h 494694"/>
                <a:gd name="connsiteX21" fmla="*/ 572624 w 930296"/>
                <a:gd name="connsiteY21" fmla="*/ 492936 h 494694"/>
                <a:gd name="connsiteX22" fmla="*/ 556254 w 930296"/>
                <a:gd name="connsiteY22" fmla="*/ 491944 h 494694"/>
                <a:gd name="connsiteX23" fmla="*/ 539883 w 930296"/>
                <a:gd name="connsiteY23" fmla="*/ 490952 h 494694"/>
                <a:gd name="connsiteX24" fmla="*/ 523513 w 930296"/>
                <a:gd name="connsiteY24" fmla="*/ 491944 h 494694"/>
                <a:gd name="connsiteX25" fmla="*/ 507142 w 930296"/>
                <a:gd name="connsiteY25" fmla="*/ 492936 h 494694"/>
                <a:gd name="connsiteX26" fmla="*/ 490771 w 930296"/>
                <a:gd name="connsiteY26" fmla="*/ 492440 h 494694"/>
                <a:gd name="connsiteX27" fmla="*/ 474401 w 930296"/>
                <a:gd name="connsiteY27" fmla="*/ 491448 h 494694"/>
                <a:gd name="connsiteX28" fmla="*/ 458030 w 930296"/>
                <a:gd name="connsiteY28" fmla="*/ 492440 h 494694"/>
                <a:gd name="connsiteX29" fmla="*/ 441660 w 930296"/>
                <a:gd name="connsiteY29" fmla="*/ 491944 h 494694"/>
                <a:gd name="connsiteX30" fmla="*/ 425289 w 930296"/>
                <a:gd name="connsiteY30" fmla="*/ 492936 h 494694"/>
                <a:gd name="connsiteX31" fmla="*/ 408919 w 930296"/>
                <a:gd name="connsiteY31" fmla="*/ 493432 h 494694"/>
                <a:gd name="connsiteX32" fmla="*/ 392548 w 930296"/>
                <a:gd name="connsiteY32" fmla="*/ 492440 h 494694"/>
                <a:gd name="connsiteX33" fmla="*/ 376178 w 930296"/>
                <a:gd name="connsiteY33" fmla="*/ 491448 h 494694"/>
                <a:gd name="connsiteX34" fmla="*/ 359807 w 930296"/>
                <a:gd name="connsiteY34" fmla="*/ 492440 h 494694"/>
                <a:gd name="connsiteX35" fmla="*/ 343436 w 930296"/>
                <a:gd name="connsiteY35" fmla="*/ 492936 h 494694"/>
                <a:gd name="connsiteX36" fmla="*/ 327066 w 930296"/>
                <a:gd name="connsiteY36" fmla="*/ 492936 h 494694"/>
                <a:gd name="connsiteX37" fmla="*/ 310695 w 930296"/>
                <a:gd name="connsiteY37" fmla="*/ 492440 h 494694"/>
                <a:gd name="connsiteX38" fmla="*/ 294325 w 930296"/>
                <a:gd name="connsiteY38" fmla="*/ 491944 h 494694"/>
                <a:gd name="connsiteX39" fmla="*/ 277954 w 930296"/>
                <a:gd name="connsiteY39" fmla="*/ 492440 h 494694"/>
                <a:gd name="connsiteX40" fmla="*/ 261583 w 930296"/>
                <a:gd name="connsiteY40" fmla="*/ 490952 h 494694"/>
                <a:gd name="connsiteX41" fmla="*/ 245213 w 930296"/>
                <a:gd name="connsiteY41" fmla="*/ 493432 h 494694"/>
                <a:gd name="connsiteX42" fmla="*/ 228842 w 930296"/>
                <a:gd name="connsiteY42" fmla="*/ 493432 h 494694"/>
                <a:gd name="connsiteX43" fmla="*/ 212472 w 930296"/>
                <a:gd name="connsiteY43" fmla="*/ 492936 h 494694"/>
                <a:gd name="connsiteX44" fmla="*/ 196101 w 930296"/>
                <a:gd name="connsiteY44" fmla="*/ 491944 h 494694"/>
                <a:gd name="connsiteX45" fmla="*/ 179730 w 930296"/>
                <a:gd name="connsiteY45" fmla="*/ 493432 h 494694"/>
                <a:gd name="connsiteX46" fmla="*/ 163360 w 930296"/>
                <a:gd name="connsiteY46" fmla="*/ 492936 h 494694"/>
                <a:gd name="connsiteX47" fmla="*/ 146989 w 930296"/>
                <a:gd name="connsiteY47" fmla="*/ 492440 h 494694"/>
                <a:gd name="connsiteX48" fmla="*/ 130619 w 930296"/>
                <a:gd name="connsiteY48" fmla="*/ 493432 h 494694"/>
                <a:gd name="connsiteX49" fmla="*/ 114248 w 930296"/>
                <a:gd name="connsiteY49" fmla="*/ 491448 h 494694"/>
                <a:gd name="connsiteX50" fmla="*/ 97877 w 930296"/>
                <a:gd name="connsiteY50" fmla="*/ 491448 h 494694"/>
                <a:gd name="connsiteX51" fmla="*/ 81507 w 930296"/>
                <a:gd name="connsiteY51" fmla="*/ 492936 h 494694"/>
                <a:gd name="connsiteX52" fmla="*/ 65136 w 930296"/>
                <a:gd name="connsiteY52" fmla="*/ 492440 h 494694"/>
                <a:gd name="connsiteX53" fmla="*/ 48766 w 930296"/>
                <a:gd name="connsiteY53" fmla="*/ 492440 h 494694"/>
                <a:gd name="connsiteX54" fmla="*/ 32395 w 930296"/>
                <a:gd name="connsiteY54" fmla="*/ 492936 h 494694"/>
                <a:gd name="connsiteX55" fmla="*/ 16025 w 930296"/>
                <a:gd name="connsiteY55" fmla="*/ 492440 h 494694"/>
                <a:gd name="connsiteX56" fmla="*/ 646 w 930296"/>
                <a:gd name="connsiteY56" fmla="*/ 490952 h 494694"/>
                <a:gd name="connsiteX57" fmla="*/ 11560 w 930296"/>
                <a:gd name="connsiteY57" fmla="*/ 480038 h 494694"/>
                <a:gd name="connsiteX58" fmla="*/ 22474 w 930296"/>
                <a:gd name="connsiteY58" fmla="*/ 468133 h 494694"/>
                <a:gd name="connsiteX59" fmla="*/ 33884 w 930296"/>
                <a:gd name="connsiteY59" fmla="*/ 456723 h 494694"/>
                <a:gd name="connsiteX60" fmla="*/ 46286 w 930296"/>
                <a:gd name="connsiteY60" fmla="*/ 446305 h 494694"/>
                <a:gd name="connsiteX61" fmla="*/ 57695 w 930296"/>
                <a:gd name="connsiteY61" fmla="*/ 434895 h 494694"/>
                <a:gd name="connsiteX62" fmla="*/ 68113 w 930296"/>
                <a:gd name="connsiteY62" fmla="*/ 422493 h 494694"/>
                <a:gd name="connsiteX63" fmla="*/ 80019 w 930296"/>
                <a:gd name="connsiteY63" fmla="*/ 411580 h 494694"/>
                <a:gd name="connsiteX64" fmla="*/ 90436 w 930296"/>
                <a:gd name="connsiteY64" fmla="*/ 399178 h 494694"/>
                <a:gd name="connsiteX65" fmla="*/ 101846 w 930296"/>
                <a:gd name="connsiteY65" fmla="*/ 387768 h 494694"/>
                <a:gd name="connsiteX66" fmla="*/ 113256 w 930296"/>
                <a:gd name="connsiteY66" fmla="*/ 376358 h 494694"/>
                <a:gd name="connsiteX67" fmla="*/ 125658 w 930296"/>
                <a:gd name="connsiteY67" fmla="*/ 365940 h 494694"/>
                <a:gd name="connsiteX68" fmla="*/ 136572 w 930296"/>
                <a:gd name="connsiteY68" fmla="*/ 354035 h 494694"/>
                <a:gd name="connsiteX69" fmla="*/ 147485 w 930296"/>
                <a:gd name="connsiteY69" fmla="*/ 342129 h 494694"/>
                <a:gd name="connsiteX70" fmla="*/ 158399 w 930296"/>
                <a:gd name="connsiteY70" fmla="*/ 330223 h 494694"/>
                <a:gd name="connsiteX71" fmla="*/ 170801 w 930296"/>
                <a:gd name="connsiteY71" fmla="*/ 320301 h 494694"/>
                <a:gd name="connsiteX72" fmla="*/ 181715 w 930296"/>
                <a:gd name="connsiteY72" fmla="*/ 308395 h 494694"/>
                <a:gd name="connsiteX73" fmla="*/ 193621 w 930296"/>
                <a:gd name="connsiteY73" fmla="*/ 297482 h 494694"/>
                <a:gd name="connsiteX74" fmla="*/ 204534 w 930296"/>
                <a:gd name="connsiteY74" fmla="*/ 285576 h 494694"/>
                <a:gd name="connsiteX75" fmla="*/ 215944 w 930296"/>
                <a:gd name="connsiteY75" fmla="*/ 274166 h 494694"/>
                <a:gd name="connsiteX76" fmla="*/ 226858 w 930296"/>
                <a:gd name="connsiteY76" fmla="*/ 262260 h 494694"/>
                <a:gd name="connsiteX77" fmla="*/ 239260 w 930296"/>
                <a:gd name="connsiteY77" fmla="*/ 251842 h 494694"/>
                <a:gd name="connsiteX78" fmla="*/ 249181 w 930296"/>
                <a:gd name="connsiteY78" fmla="*/ 239440 h 494694"/>
                <a:gd name="connsiteX79" fmla="*/ 261087 w 930296"/>
                <a:gd name="connsiteY79" fmla="*/ 229023 h 494694"/>
                <a:gd name="connsiteX80" fmla="*/ 272993 w 930296"/>
                <a:gd name="connsiteY80" fmla="*/ 218109 h 494694"/>
                <a:gd name="connsiteX81" fmla="*/ 283411 w 930296"/>
                <a:gd name="connsiteY81" fmla="*/ 205707 h 494694"/>
                <a:gd name="connsiteX82" fmla="*/ 295317 w 930296"/>
                <a:gd name="connsiteY82" fmla="*/ 194793 h 494694"/>
                <a:gd name="connsiteX83" fmla="*/ 307223 w 930296"/>
                <a:gd name="connsiteY83" fmla="*/ 183880 h 494694"/>
                <a:gd name="connsiteX84" fmla="*/ 318632 w 930296"/>
                <a:gd name="connsiteY84" fmla="*/ 172470 h 494694"/>
                <a:gd name="connsiteX85" fmla="*/ 329546 w 930296"/>
                <a:gd name="connsiteY85" fmla="*/ 161060 h 494694"/>
                <a:gd name="connsiteX86" fmla="*/ 340460 w 930296"/>
                <a:gd name="connsiteY86" fmla="*/ 149155 h 494694"/>
                <a:gd name="connsiteX87" fmla="*/ 352366 w 930296"/>
                <a:gd name="connsiteY87" fmla="*/ 138241 h 494694"/>
                <a:gd name="connsiteX88" fmla="*/ 363279 w 930296"/>
                <a:gd name="connsiteY88" fmla="*/ 126335 h 494694"/>
                <a:gd name="connsiteX89" fmla="*/ 375185 w 930296"/>
                <a:gd name="connsiteY89" fmla="*/ 115421 h 494694"/>
                <a:gd name="connsiteX90" fmla="*/ 385603 w 930296"/>
                <a:gd name="connsiteY90" fmla="*/ 103019 h 494694"/>
                <a:gd name="connsiteX91" fmla="*/ 398005 w 930296"/>
                <a:gd name="connsiteY91" fmla="*/ 92602 h 494694"/>
                <a:gd name="connsiteX92" fmla="*/ 408423 w 930296"/>
                <a:gd name="connsiteY92" fmla="*/ 80200 h 494694"/>
                <a:gd name="connsiteX93" fmla="*/ 420328 w 930296"/>
                <a:gd name="connsiteY93" fmla="*/ 69782 h 494694"/>
                <a:gd name="connsiteX94" fmla="*/ 430746 w 930296"/>
                <a:gd name="connsiteY94" fmla="*/ 57876 h 494694"/>
                <a:gd name="connsiteX95" fmla="*/ 443148 w 930296"/>
                <a:gd name="connsiteY95" fmla="*/ 47459 h 494694"/>
                <a:gd name="connsiteX96" fmla="*/ 454062 w 930296"/>
                <a:gd name="connsiteY96" fmla="*/ 35553 h 494694"/>
                <a:gd name="connsiteX97" fmla="*/ 466464 w 930296"/>
                <a:gd name="connsiteY97" fmla="*/ 25135 h 494694"/>
                <a:gd name="connsiteX98" fmla="*/ 477377 w 930296"/>
                <a:gd name="connsiteY98" fmla="*/ 13229 h 494694"/>
                <a:gd name="connsiteX99" fmla="*/ 488291 w 930296"/>
                <a:gd name="connsiteY99" fmla="*/ 1323 h 494694"/>
                <a:gd name="connsiteX100" fmla="*/ 496290 w 930296"/>
                <a:gd name="connsiteY100" fmla="*/ 207 h 494694"/>
                <a:gd name="connsiteX101" fmla="*/ 504661 w 930296"/>
                <a:gd name="connsiteY101" fmla="*/ 1323 h 494694"/>
                <a:gd name="connsiteX102" fmla="*/ 521032 w 930296"/>
                <a:gd name="connsiteY102" fmla="*/ 1323 h 494694"/>
                <a:gd name="connsiteX103" fmla="*/ 537403 w 930296"/>
                <a:gd name="connsiteY103" fmla="*/ 1819 h 494694"/>
                <a:gd name="connsiteX104" fmla="*/ 553773 w 930296"/>
                <a:gd name="connsiteY104" fmla="*/ 1819 h 494694"/>
                <a:gd name="connsiteX105" fmla="*/ 570144 w 930296"/>
                <a:gd name="connsiteY105" fmla="*/ 2812 h 494694"/>
                <a:gd name="connsiteX106" fmla="*/ 586514 w 930296"/>
                <a:gd name="connsiteY106" fmla="*/ 1819 h 494694"/>
                <a:gd name="connsiteX107" fmla="*/ 602885 w 930296"/>
                <a:gd name="connsiteY107" fmla="*/ 2812 h 494694"/>
                <a:gd name="connsiteX108" fmla="*/ 619256 w 930296"/>
                <a:gd name="connsiteY108" fmla="*/ 1819 h 494694"/>
                <a:gd name="connsiteX109" fmla="*/ 635626 w 930296"/>
                <a:gd name="connsiteY109" fmla="*/ 1323 h 494694"/>
                <a:gd name="connsiteX110" fmla="*/ 651997 w 930296"/>
                <a:gd name="connsiteY110" fmla="*/ 1819 h 494694"/>
                <a:gd name="connsiteX111" fmla="*/ 668367 w 930296"/>
                <a:gd name="connsiteY111" fmla="*/ 2315 h 494694"/>
                <a:gd name="connsiteX112" fmla="*/ 684738 w 930296"/>
                <a:gd name="connsiteY112" fmla="*/ 2812 h 494694"/>
                <a:gd name="connsiteX113" fmla="*/ 701109 w 930296"/>
                <a:gd name="connsiteY113" fmla="*/ 1323 h 494694"/>
                <a:gd name="connsiteX114" fmla="*/ 717479 w 930296"/>
                <a:gd name="connsiteY114" fmla="*/ 2315 h 494694"/>
                <a:gd name="connsiteX115" fmla="*/ 733850 w 930296"/>
                <a:gd name="connsiteY115" fmla="*/ 3308 h 494694"/>
                <a:gd name="connsiteX116" fmla="*/ 750220 w 930296"/>
                <a:gd name="connsiteY116" fmla="*/ 3308 h 494694"/>
                <a:gd name="connsiteX117" fmla="*/ 766591 w 930296"/>
                <a:gd name="connsiteY117" fmla="*/ 2315 h 494694"/>
                <a:gd name="connsiteX118" fmla="*/ 782962 w 930296"/>
                <a:gd name="connsiteY118" fmla="*/ 2315 h 494694"/>
                <a:gd name="connsiteX119" fmla="*/ 799332 w 930296"/>
                <a:gd name="connsiteY119" fmla="*/ 2812 h 494694"/>
                <a:gd name="connsiteX120" fmla="*/ 815703 w 930296"/>
                <a:gd name="connsiteY120" fmla="*/ 2812 h 494694"/>
                <a:gd name="connsiteX121" fmla="*/ 832073 w 930296"/>
                <a:gd name="connsiteY121" fmla="*/ 2315 h 494694"/>
                <a:gd name="connsiteX122" fmla="*/ 848444 w 930296"/>
                <a:gd name="connsiteY122" fmla="*/ 2812 h 494694"/>
                <a:gd name="connsiteX123" fmla="*/ 864814 w 930296"/>
                <a:gd name="connsiteY123" fmla="*/ 1323 h 494694"/>
                <a:gd name="connsiteX124" fmla="*/ 881185 w 930296"/>
                <a:gd name="connsiteY124" fmla="*/ 2315 h 494694"/>
                <a:gd name="connsiteX125" fmla="*/ 897555 w 930296"/>
                <a:gd name="connsiteY125" fmla="*/ 1323 h 494694"/>
                <a:gd name="connsiteX126" fmla="*/ 913926 w 930296"/>
                <a:gd name="connsiteY126" fmla="*/ 827 h 494694"/>
                <a:gd name="connsiteX127" fmla="*/ 930296 w 930296"/>
                <a:gd name="connsiteY127" fmla="*/ 2315 h 49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930296" h="494694">
                  <a:moveTo>
                    <a:pt x="916406" y="490456"/>
                  </a:moveTo>
                  <a:lnTo>
                    <a:pt x="900036" y="490456"/>
                  </a:lnTo>
                  <a:cubicBezTo>
                    <a:pt x="891602" y="490456"/>
                    <a:pt x="891602" y="491944"/>
                    <a:pt x="883665" y="491944"/>
                  </a:cubicBezTo>
                  <a:cubicBezTo>
                    <a:pt x="875232" y="491944"/>
                    <a:pt x="875232" y="490456"/>
                    <a:pt x="867295" y="490456"/>
                  </a:cubicBezTo>
                  <a:cubicBezTo>
                    <a:pt x="858861" y="490456"/>
                    <a:pt x="858861" y="490952"/>
                    <a:pt x="850924" y="490952"/>
                  </a:cubicBezTo>
                  <a:cubicBezTo>
                    <a:pt x="842491" y="490952"/>
                    <a:pt x="842491" y="491448"/>
                    <a:pt x="834553" y="491448"/>
                  </a:cubicBezTo>
                  <a:cubicBezTo>
                    <a:pt x="826120" y="491448"/>
                    <a:pt x="826616" y="491944"/>
                    <a:pt x="818183" y="491944"/>
                  </a:cubicBezTo>
                  <a:lnTo>
                    <a:pt x="801812" y="491944"/>
                  </a:lnTo>
                  <a:lnTo>
                    <a:pt x="785442" y="491944"/>
                  </a:lnTo>
                  <a:cubicBezTo>
                    <a:pt x="777008" y="491944"/>
                    <a:pt x="777008" y="489960"/>
                    <a:pt x="769071" y="489960"/>
                  </a:cubicBezTo>
                  <a:cubicBezTo>
                    <a:pt x="760638" y="489960"/>
                    <a:pt x="760638" y="490952"/>
                    <a:pt x="752700" y="490952"/>
                  </a:cubicBezTo>
                  <a:cubicBezTo>
                    <a:pt x="744267" y="490952"/>
                    <a:pt x="744267" y="491944"/>
                    <a:pt x="736330" y="491944"/>
                  </a:cubicBezTo>
                  <a:cubicBezTo>
                    <a:pt x="727896" y="491944"/>
                    <a:pt x="727896" y="490456"/>
                    <a:pt x="719959" y="490456"/>
                  </a:cubicBezTo>
                  <a:cubicBezTo>
                    <a:pt x="711526" y="490456"/>
                    <a:pt x="711526" y="491944"/>
                    <a:pt x="703589" y="491944"/>
                  </a:cubicBezTo>
                  <a:lnTo>
                    <a:pt x="687218" y="491944"/>
                  </a:lnTo>
                  <a:lnTo>
                    <a:pt x="670847" y="491944"/>
                  </a:lnTo>
                  <a:cubicBezTo>
                    <a:pt x="662414" y="491944"/>
                    <a:pt x="662414" y="492440"/>
                    <a:pt x="654477" y="492440"/>
                  </a:cubicBezTo>
                  <a:cubicBezTo>
                    <a:pt x="646044" y="492440"/>
                    <a:pt x="646044" y="490952"/>
                    <a:pt x="638106" y="490952"/>
                  </a:cubicBezTo>
                  <a:lnTo>
                    <a:pt x="621736" y="490952"/>
                  </a:lnTo>
                  <a:cubicBezTo>
                    <a:pt x="613303" y="490952"/>
                    <a:pt x="613303" y="492936"/>
                    <a:pt x="605365" y="492936"/>
                  </a:cubicBezTo>
                  <a:cubicBezTo>
                    <a:pt x="596932" y="492936"/>
                    <a:pt x="596932" y="491944"/>
                    <a:pt x="588995" y="491944"/>
                  </a:cubicBezTo>
                  <a:cubicBezTo>
                    <a:pt x="580561" y="491944"/>
                    <a:pt x="580561" y="492936"/>
                    <a:pt x="572624" y="492936"/>
                  </a:cubicBezTo>
                  <a:cubicBezTo>
                    <a:pt x="564191" y="492936"/>
                    <a:pt x="564191" y="491944"/>
                    <a:pt x="556254" y="491944"/>
                  </a:cubicBezTo>
                  <a:cubicBezTo>
                    <a:pt x="547820" y="491944"/>
                    <a:pt x="548316" y="490952"/>
                    <a:pt x="539883" y="490952"/>
                  </a:cubicBezTo>
                  <a:cubicBezTo>
                    <a:pt x="531450" y="490952"/>
                    <a:pt x="531450" y="491944"/>
                    <a:pt x="523513" y="491944"/>
                  </a:cubicBezTo>
                  <a:cubicBezTo>
                    <a:pt x="515079" y="491944"/>
                    <a:pt x="515079" y="492936"/>
                    <a:pt x="507142" y="492936"/>
                  </a:cubicBezTo>
                  <a:cubicBezTo>
                    <a:pt x="498709" y="492936"/>
                    <a:pt x="498709" y="492440"/>
                    <a:pt x="490771" y="492440"/>
                  </a:cubicBezTo>
                  <a:cubicBezTo>
                    <a:pt x="482338" y="492440"/>
                    <a:pt x="482338" y="491448"/>
                    <a:pt x="474401" y="491448"/>
                  </a:cubicBezTo>
                  <a:cubicBezTo>
                    <a:pt x="465968" y="491448"/>
                    <a:pt x="465968" y="492440"/>
                    <a:pt x="458030" y="492440"/>
                  </a:cubicBezTo>
                  <a:cubicBezTo>
                    <a:pt x="449597" y="492440"/>
                    <a:pt x="449597" y="491944"/>
                    <a:pt x="441660" y="491944"/>
                  </a:cubicBezTo>
                  <a:cubicBezTo>
                    <a:pt x="433227" y="491944"/>
                    <a:pt x="433227" y="492936"/>
                    <a:pt x="425289" y="492936"/>
                  </a:cubicBezTo>
                  <a:cubicBezTo>
                    <a:pt x="416856" y="492936"/>
                    <a:pt x="416856" y="493432"/>
                    <a:pt x="408919" y="493432"/>
                  </a:cubicBezTo>
                  <a:cubicBezTo>
                    <a:pt x="400485" y="493432"/>
                    <a:pt x="400485" y="492440"/>
                    <a:pt x="392548" y="492440"/>
                  </a:cubicBezTo>
                  <a:cubicBezTo>
                    <a:pt x="384115" y="492440"/>
                    <a:pt x="384115" y="491448"/>
                    <a:pt x="376178" y="491448"/>
                  </a:cubicBezTo>
                  <a:cubicBezTo>
                    <a:pt x="367744" y="491448"/>
                    <a:pt x="368240" y="492440"/>
                    <a:pt x="359807" y="492440"/>
                  </a:cubicBezTo>
                  <a:cubicBezTo>
                    <a:pt x="351374" y="492440"/>
                    <a:pt x="351374" y="492936"/>
                    <a:pt x="343436" y="492936"/>
                  </a:cubicBezTo>
                  <a:lnTo>
                    <a:pt x="327066" y="492936"/>
                  </a:lnTo>
                  <a:cubicBezTo>
                    <a:pt x="318632" y="492936"/>
                    <a:pt x="318632" y="492440"/>
                    <a:pt x="310695" y="492440"/>
                  </a:cubicBezTo>
                  <a:cubicBezTo>
                    <a:pt x="302262" y="492440"/>
                    <a:pt x="302262" y="491944"/>
                    <a:pt x="294325" y="491944"/>
                  </a:cubicBezTo>
                  <a:cubicBezTo>
                    <a:pt x="285891" y="491944"/>
                    <a:pt x="285891" y="492440"/>
                    <a:pt x="277954" y="492440"/>
                  </a:cubicBezTo>
                  <a:cubicBezTo>
                    <a:pt x="269521" y="492440"/>
                    <a:pt x="269521" y="490952"/>
                    <a:pt x="261583" y="490952"/>
                  </a:cubicBezTo>
                  <a:cubicBezTo>
                    <a:pt x="253150" y="490952"/>
                    <a:pt x="253150" y="493432"/>
                    <a:pt x="245213" y="493432"/>
                  </a:cubicBezTo>
                  <a:lnTo>
                    <a:pt x="228842" y="493432"/>
                  </a:lnTo>
                  <a:cubicBezTo>
                    <a:pt x="220409" y="493432"/>
                    <a:pt x="220409" y="492936"/>
                    <a:pt x="212472" y="492936"/>
                  </a:cubicBezTo>
                  <a:cubicBezTo>
                    <a:pt x="204038" y="492936"/>
                    <a:pt x="204038" y="491944"/>
                    <a:pt x="196101" y="491944"/>
                  </a:cubicBezTo>
                  <a:cubicBezTo>
                    <a:pt x="187668" y="491944"/>
                    <a:pt x="187668" y="493432"/>
                    <a:pt x="179730" y="493432"/>
                  </a:cubicBezTo>
                  <a:cubicBezTo>
                    <a:pt x="171297" y="493432"/>
                    <a:pt x="171297" y="492936"/>
                    <a:pt x="163360" y="492936"/>
                  </a:cubicBezTo>
                  <a:cubicBezTo>
                    <a:pt x="154926" y="492936"/>
                    <a:pt x="154926" y="492440"/>
                    <a:pt x="146989" y="492440"/>
                  </a:cubicBezTo>
                  <a:cubicBezTo>
                    <a:pt x="138556" y="492440"/>
                    <a:pt x="139052" y="493432"/>
                    <a:pt x="130619" y="493432"/>
                  </a:cubicBezTo>
                  <a:cubicBezTo>
                    <a:pt x="122185" y="493432"/>
                    <a:pt x="122185" y="491448"/>
                    <a:pt x="114248" y="491448"/>
                  </a:cubicBezTo>
                  <a:lnTo>
                    <a:pt x="97877" y="491448"/>
                  </a:lnTo>
                  <a:cubicBezTo>
                    <a:pt x="89444" y="491448"/>
                    <a:pt x="89444" y="492936"/>
                    <a:pt x="81507" y="492936"/>
                  </a:cubicBezTo>
                  <a:cubicBezTo>
                    <a:pt x="73073" y="492936"/>
                    <a:pt x="73073" y="492440"/>
                    <a:pt x="65136" y="492440"/>
                  </a:cubicBezTo>
                  <a:lnTo>
                    <a:pt x="48766" y="492440"/>
                  </a:lnTo>
                  <a:cubicBezTo>
                    <a:pt x="40332" y="492440"/>
                    <a:pt x="40332" y="492936"/>
                    <a:pt x="32395" y="492936"/>
                  </a:cubicBezTo>
                  <a:cubicBezTo>
                    <a:pt x="23962" y="492936"/>
                    <a:pt x="23962" y="492440"/>
                    <a:pt x="16025" y="492440"/>
                  </a:cubicBezTo>
                  <a:cubicBezTo>
                    <a:pt x="8087" y="492440"/>
                    <a:pt x="3623" y="498393"/>
                    <a:pt x="646" y="490952"/>
                  </a:cubicBezTo>
                  <a:cubicBezTo>
                    <a:pt x="-2330" y="483511"/>
                    <a:pt x="5607" y="485991"/>
                    <a:pt x="11560" y="480038"/>
                  </a:cubicBezTo>
                  <a:cubicBezTo>
                    <a:pt x="17017" y="474582"/>
                    <a:pt x="16521" y="474086"/>
                    <a:pt x="22474" y="468133"/>
                  </a:cubicBezTo>
                  <a:cubicBezTo>
                    <a:pt x="27931" y="462180"/>
                    <a:pt x="28426" y="462180"/>
                    <a:pt x="33884" y="456723"/>
                  </a:cubicBezTo>
                  <a:cubicBezTo>
                    <a:pt x="39837" y="451266"/>
                    <a:pt x="40828" y="451762"/>
                    <a:pt x="46286" y="446305"/>
                  </a:cubicBezTo>
                  <a:cubicBezTo>
                    <a:pt x="52238" y="440848"/>
                    <a:pt x="52238" y="440352"/>
                    <a:pt x="57695" y="434895"/>
                  </a:cubicBezTo>
                  <a:cubicBezTo>
                    <a:pt x="63152" y="428942"/>
                    <a:pt x="62656" y="427950"/>
                    <a:pt x="68113" y="422493"/>
                  </a:cubicBezTo>
                  <a:cubicBezTo>
                    <a:pt x="73570" y="416540"/>
                    <a:pt x="74562" y="417037"/>
                    <a:pt x="80019" y="411580"/>
                  </a:cubicBezTo>
                  <a:cubicBezTo>
                    <a:pt x="85475" y="405627"/>
                    <a:pt x="84979" y="404635"/>
                    <a:pt x="90436" y="399178"/>
                  </a:cubicBezTo>
                  <a:cubicBezTo>
                    <a:pt x="95894" y="393225"/>
                    <a:pt x="96390" y="393225"/>
                    <a:pt x="101846" y="387768"/>
                  </a:cubicBezTo>
                  <a:cubicBezTo>
                    <a:pt x="107799" y="382311"/>
                    <a:pt x="107799" y="381815"/>
                    <a:pt x="113256" y="376358"/>
                  </a:cubicBezTo>
                  <a:cubicBezTo>
                    <a:pt x="118713" y="370405"/>
                    <a:pt x="120201" y="371397"/>
                    <a:pt x="125658" y="365940"/>
                  </a:cubicBezTo>
                  <a:cubicBezTo>
                    <a:pt x="131611" y="360484"/>
                    <a:pt x="131115" y="359491"/>
                    <a:pt x="136572" y="354035"/>
                  </a:cubicBezTo>
                  <a:cubicBezTo>
                    <a:pt x="142028" y="348082"/>
                    <a:pt x="142028" y="347586"/>
                    <a:pt x="147485" y="342129"/>
                  </a:cubicBezTo>
                  <a:cubicBezTo>
                    <a:pt x="152943" y="336176"/>
                    <a:pt x="152943" y="335680"/>
                    <a:pt x="158399" y="330223"/>
                  </a:cubicBezTo>
                  <a:cubicBezTo>
                    <a:pt x="163856" y="324766"/>
                    <a:pt x="165344" y="325758"/>
                    <a:pt x="170801" y="320301"/>
                  </a:cubicBezTo>
                  <a:cubicBezTo>
                    <a:pt x="176258" y="314348"/>
                    <a:pt x="176258" y="313852"/>
                    <a:pt x="181715" y="308395"/>
                  </a:cubicBezTo>
                  <a:cubicBezTo>
                    <a:pt x="187668" y="302939"/>
                    <a:pt x="188164" y="302939"/>
                    <a:pt x="193621" y="297482"/>
                  </a:cubicBezTo>
                  <a:cubicBezTo>
                    <a:pt x="199573" y="292025"/>
                    <a:pt x="199077" y="291033"/>
                    <a:pt x="204534" y="285576"/>
                  </a:cubicBezTo>
                  <a:cubicBezTo>
                    <a:pt x="209991" y="279623"/>
                    <a:pt x="210487" y="279623"/>
                    <a:pt x="215944" y="274166"/>
                  </a:cubicBezTo>
                  <a:cubicBezTo>
                    <a:pt x="221897" y="268709"/>
                    <a:pt x="221401" y="267717"/>
                    <a:pt x="226858" y="262260"/>
                  </a:cubicBezTo>
                  <a:cubicBezTo>
                    <a:pt x="232315" y="256307"/>
                    <a:pt x="233803" y="257299"/>
                    <a:pt x="239260" y="251842"/>
                  </a:cubicBezTo>
                  <a:cubicBezTo>
                    <a:pt x="244717" y="246386"/>
                    <a:pt x="243724" y="244898"/>
                    <a:pt x="249181" y="239440"/>
                  </a:cubicBezTo>
                  <a:cubicBezTo>
                    <a:pt x="254638" y="233984"/>
                    <a:pt x="255630" y="234480"/>
                    <a:pt x="261087" y="229023"/>
                  </a:cubicBezTo>
                  <a:cubicBezTo>
                    <a:pt x="267040" y="223070"/>
                    <a:pt x="267536" y="223566"/>
                    <a:pt x="272993" y="218109"/>
                  </a:cubicBezTo>
                  <a:cubicBezTo>
                    <a:pt x="278450" y="212156"/>
                    <a:pt x="277954" y="211164"/>
                    <a:pt x="283411" y="205707"/>
                  </a:cubicBezTo>
                  <a:cubicBezTo>
                    <a:pt x="288867" y="199754"/>
                    <a:pt x="289860" y="200251"/>
                    <a:pt x="295317" y="194793"/>
                  </a:cubicBezTo>
                  <a:cubicBezTo>
                    <a:pt x="300773" y="188841"/>
                    <a:pt x="301766" y="189337"/>
                    <a:pt x="307223" y="183880"/>
                  </a:cubicBezTo>
                  <a:cubicBezTo>
                    <a:pt x="313175" y="178423"/>
                    <a:pt x="313175" y="177927"/>
                    <a:pt x="318632" y="172470"/>
                  </a:cubicBezTo>
                  <a:cubicBezTo>
                    <a:pt x="324089" y="167013"/>
                    <a:pt x="324089" y="166517"/>
                    <a:pt x="329546" y="161060"/>
                  </a:cubicBezTo>
                  <a:cubicBezTo>
                    <a:pt x="335003" y="155107"/>
                    <a:pt x="335003" y="154611"/>
                    <a:pt x="340460" y="149155"/>
                  </a:cubicBezTo>
                  <a:cubicBezTo>
                    <a:pt x="346413" y="143697"/>
                    <a:pt x="346909" y="143697"/>
                    <a:pt x="352366" y="138241"/>
                  </a:cubicBezTo>
                  <a:cubicBezTo>
                    <a:pt x="358318" y="132784"/>
                    <a:pt x="357822" y="131792"/>
                    <a:pt x="363279" y="126335"/>
                  </a:cubicBezTo>
                  <a:cubicBezTo>
                    <a:pt x="368736" y="120382"/>
                    <a:pt x="369728" y="120878"/>
                    <a:pt x="375185" y="115421"/>
                  </a:cubicBezTo>
                  <a:cubicBezTo>
                    <a:pt x="380642" y="109468"/>
                    <a:pt x="380146" y="108476"/>
                    <a:pt x="385603" y="103019"/>
                  </a:cubicBezTo>
                  <a:cubicBezTo>
                    <a:pt x="391556" y="97066"/>
                    <a:pt x="392548" y="98058"/>
                    <a:pt x="398005" y="92602"/>
                  </a:cubicBezTo>
                  <a:cubicBezTo>
                    <a:pt x="403462" y="86649"/>
                    <a:pt x="402965" y="85656"/>
                    <a:pt x="408423" y="80200"/>
                  </a:cubicBezTo>
                  <a:cubicBezTo>
                    <a:pt x="413879" y="74743"/>
                    <a:pt x="414871" y="75239"/>
                    <a:pt x="420328" y="69782"/>
                  </a:cubicBezTo>
                  <a:cubicBezTo>
                    <a:pt x="425785" y="64325"/>
                    <a:pt x="425289" y="63333"/>
                    <a:pt x="430746" y="57876"/>
                  </a:cubicBezTo>
                  <a:cubicBezTo>
                    <a:pt x="436699" y="52419"/>
                    <a:pt x="437691" y="52915"/>
                    <a:pt x="443148" y="47459"/>
                  </a:cubicBezTo>
                  <a:cubicBezTo>
                    <a:pt x="449101" y="42002"/>
                    <a:pt x="448605" y="41009"/>
                    <a:pt x="454062" y="35553"/>
                  </a:cubicBezTo>
                  <a:cubicBezTo>
                    <a:pt x="460014" y="30096"/>
                    <a:pt x="461007" y="30592"/>
                    <a:pt x="466464" y="25135"/>
                  </a:cubicBezTo>
                  <a:cubicBezTo>
                    <a:pt x="471920" y="19182"/>
                    <a:pt x="471920" y="18686"/>
                    <a:pt x="477377" y="13229"/>
                  </a:cubicBezTo>
                  <a:cubicBezTo>
                    <a:pt x="482834" y="7772"/>
                    <a:pt x="480850" y="4300"/>
                    <a:pt x="488291" y="1323"/>
                  </a:cubicBezTo>
                  <a:cubicBezTo>
                    <a:pt x="492012" y="-165"/>
                    <a:pt x="494120" y="-165"/>
                    <a:pt x="496290" y="207"/>
                  </a:cubicBezTo>
                  <a:cubicBezTo>
                    <a:pt x="498461" y="579"/>
                    <a:pt x="500693" y="1323"/>
                    <a:pt x="504661" y="1323"/>
                  </a:cubicBezTo>
                  <a:lnTo>
                    <a:pt x="521032" y="1323"/>
                  </a:lnTo>
                  <a:cubicBezTo>
                    <a:pt x="529465" y="1323"/>
                    <a:pt x="529465" y="1819"/>
                    <a:pt x="537403" y="1819"/>
                  </a:cubicBezTo>
                  <a:lnTo>
                    <a:pt x="553773" y="1819"/>
                  </a:lnTo>
                  <a:cubicBezTo>
                    <a:pt x="562207" y="1819"/>
                    <a:pt x="562207" y="2812"/>
                    <a:pt x="570144" y="2812"/>
                  </a:cubicBezTo>
                  <a:cubicBezTo>
                    <a:pt x="578577" y="2812"/>
                    <a:pt x="578577" y="1819"/>
                    <a:pt x="586514" y="1819"/>
                  </a:cubicBezTo>
                  <a:cubicBezTo>
                    <a:pt x="594948" y="1819"/>
                    <a:pt x="594452" y="2812"/>
                    <a:pt x="602885" y="2812"/>
                  </a:cubicBezTo>
                  <a:cubicBezTo>
                    <a:pt x="611318" y="2812"/>
                    <a:pt x="611318" y="1819"/>
                    <a:pt x="619256" y="1819"/>
                  </a:cubicBezTo>
                  <a:cubicBezTo>
                    <a:pt x="627689" y="1819"/>
                    <a:pt x="627689" y="1323"/>
                    <a:pt x="635626" y="1323"/>
                  </a:cubicBezTo>
                  <a:cubicBezTo>
                    <a:pt x="644060" y="1323"/>
                    <a:pt x="644060" y="1819"/>
                    <a:pt x="651997" y="1819"/>
                  </a:cubicBezTo>
                  <a:cubicBezTo>
                    <a:pt x="660430" y="1819"/>
                    <a:pt x="660430" y="2315"/>
                    <a:pt x="668367" y="2315"/>
                  </a:cubicBezTo>
                  <a:cubicBezTo>
                    <a:pt x="676801" y="2315"/>
                    <a:pt x="676801" y="2812"/>
                    <a:pt x="684738" y="2812"/>
                  </a:cubicBezTo>
                  <a:cubicBezTo>
                    <a:pt x="693171" y="2812"/>
                    <a:pt x="693171" y="1323"/>
                    <a:pt x="701109" y="1323"/>
                  </a:cubicBezTo>
                  <a:cubicBezTo>
                    <a:pt x="709542" y="1323"/>
                    <a:pt x="709542" y="2315"/>
                    <a:pt x="717479" y="2315"/>
                  </a:cubicBezTo>
                  <a:cubicBezTo>
                    <a:pt x="725913" y="2315"/>
                    <a:pt x="725913" y="3308"/>
                    <a:pt x="733850" y="3308"/>
                  </a:cubicBezTo>
                  <a:lnTo>
                    <a:pt x="750220" y="3308"/>
                  </a:lnTo>
                  <a:cubicBezTo>
                    <a:pt x="758654" y="3308"/>
                    <a:pt x="758654" y="2315"/>
                    <a:pt x="766591" y="2315"/>
                  </a:cubicBezTo>
                  <a:lnTo>
                    <a:pt x="782962" y="2315"/>
                  </a:lnTo>
                  <a:cubicBezTo>
                    <a:pt x="791395" y="2315"/>
                    <a:pt x="791395" y="2812"/>
                    <a:pt x="799332" y="2812"/>
                  </a:cubicBezTo>
                  <a:lnTo>
                    <a:pt x="815703" y="2812"/>
                  </a:lnTo>
                  <a:cubicBezTo>
                    <a:pt x="824136" y="2812"/>
                    <a:pt x="824136" y="2315"/>
                    <a:pt x="832073" y="2315"/>
                  </a:cubicBezTo>
                  <a:cubicBezTo>
                    <a:pt x="840506" y="2315"/>
                    <a:pt x="840506" y="2812"/>
                    <a:pt x="848444" y="2812"/>
                  </a:cubicBezTo>
                  <a:cubicBezTo>
                    <a:pt x="856877" y="2812"/>
                    <a:pt x="856877" y="1323"/>
                    <a:pt x="864814" y="1323"/>
                  </a:cubicBezTo>
                  <a:cubicBezTo>
                    <a:pt x="873247" y="1323"/>
                    <a:pt x="873247" y="2315"/>
                    <a:pt x="881185" y="2315"/>
                  </a:cubicBezTo>
                  <a:cubicBezTo>
                    <a:pt x="889618" y="2315"/>
                    <a:pt x="889618" y="1323"/>
                    <a:pt x="897555" y="1323"/>
                  </a:cubicBezTo>
                  <a:cubicBezTo>
                    <a:pt x="905988" y="1323"/>
                    <a:pt x="905988" y="827"/>
                    <a:pt x="913926" y="827"/>
                  </a:cubicBezTo>
                  <a:cubicBezTo>
                    <a:pt x="922359" y="827"/>
                    <a:pt x="922359" y="2315"/>
                    <a:pt x="930296" y="231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92" name="Graphic 10">
              <a:extLst>
                <a:ext uri="{FF2B5EF4-FFF2-40B4-BE49-F238E27FC236}">
                  <a16:creationId xmlns:a16="http://schemas.microsoft.com/office/drawing/2014/main" id="{E3F78421-5179-76A5-66C9-6C48DCA39450}"/>
                </a:ext>
              </a:extLst>
            </p:cNvPr>
            <p:cNvGrpSpPr/>
            <p:nvPr/>
          </p:nvGrpSpPr>
          <p:grpSpPr>
            <a:xfrm>
              <a:off x="6270245" y="4755229"/>
              <a:ext cx="340359" cy="500716"/>
              <a:chOff x="6270245" y="4755229"/>
              <a:chExt cx="340359" cy="500716"/>
            </a:xfrm>
            <a:noFill/>
          </p:grpSpPr>
          <p:sp>
            <p:nvSpPr>
              <p:cNvPr id="1634" name="Freeform: Shape 1633">
                <a:extLst>
                  <a:ext uri="{FF2B5EF4-FFF2-40B4-BE49-F238E27FC236}">
                    <a16:creationId xmlns:a16="http://schemas.microsoft.com/office/drawing/2014/main" id="{B618F6E5-3459-B715-AC7E-6E8C282E8034}"/>
                  </a:ext>
                </a:extLst>
              </p:cNvPr>
              <p:cNvSpPr/>
              <p:nvPr/>
            </p:nvSpPr>
            <p:spPr>
              <a:xfrm>
                <a:off x="6393221" y="4838247"/>
                <a:ext cx="153885" cy="199251"/>
              </a:xfrm>
              <a:custGeom>
                <a:avLst/>
                <a:gdLst>
                  <a:gd name="connsiteX0" fmla="*/ 152397 w 153885"/>
                  <a:gd name="connsiteY0" fmla="*/ 100704 h 199251"/>
                  <a:gd name="connsiteX1" fmla="*/ 152397 w 153885"/>
                  <a:gd name="connsiteY1" fmla="*/ 116082 h 199251"/>
                  <a:gd name="connsiteX2" fmla="*/ 148925 w 153885"/>
                  <a:gd name="connsiteY2" fmla="*/ 130965 h 199251"/>
                  <a:gd name="connsiteX3" fmla="*/ 145452 w 153885"/>
                  <a:gd name="connsiteY3" fmla="*/ 146343 h 199251"/>
                  <a:gd name="connsiteX4" fmla="*/ 138507 w 153885"/>
                  <a:gd name="connsiteY4" fmla="*/ 160233 h 199251"/>
                  <a:gd name="connsiteX5" fmla="*/ 129577 w 153885"/>
                  <a:gd name="connsiteY5" fmla="*/ 172635 h 199251"/>
                  <a:gd name="connsiteX6" fmla="*/ 118664 w 153885"/>
                  <a:gd name="connsiteY6" fmla="*/ 183549 h 199251"/>
                  <a:gd name="connsiteX7" fmla="*/ 106262 w 153885"/>
                  <a:gd name="connsiteY7" fmla="*/ 192974 h 199251"/>
                  <a:gd name="connsiteX8" fmla="*/ 91876 w 153885"/>
                  <a:gd name="connsiteY8" fmla="*/ 198431 h 199251"/>
                  <a:gd name="connsiteX9" fmla="*/ 76497 w 153885"/>
                  <a:gd name="connsiteY9" fmla="*/ 198927 h 199251"/>
                  <a:gd name="connsiteX10" fmla="*/ 61119 w 153885"/>
                  <a:gd name="connsiteY10" fmla="*/ 197439 h 199251"/>
                  <a:gd name="connsiteX11" fmla="*/ 46237 w 153885"/>
                  <a:gd name="connsiteY11" fmla="*/ 192478 h 199251"/>
                  <a:gd name="connsiteX12" fmla="*/ 33835 w 153885"/>
                  <a:gd name="connsiteY12" fmla="*/ 183053 h 199251"/>
                  <a:gd name="connsiteX13" fmla="*/ 22921 w 153885"/>
                  <a:gd name="connsiteY13" fmla="*/ 172139 h 199251"/>
                  <a:gd name="connsiteX14" fmla="*/ 14984 w 153885"/>
                  <a:gd name="connsiteY14" fmla="*/ 158745 h 199251"/>
                  <a:gd name="connsiteX15" fmla="*/ 8535 w 153885"/>
                  <a:gd name="connsiteY15" fmla="*/ 144855 h 199251"/>
                  <a:gd name="connsiteX16" fmla="*/ 2582 w 153885"/>
                  <a:gd name="connsiteY16" fmla="*/ 130468 h 199251"/>
                  <a:gd name="connsiteX17" fmla="*/ 101 w 153885"/>
                  <a:gd name="connsiteY17" fmla="*/ 115090 h 199251"/>
                  <a:gd name="connsiteX18" fmla="*/ 1094 w 153885"/>
                  <a:gd name="connsiteY18" fmla="*/ 99712 h 199251"/>
                  <a:gd name="connsiteX19" fmla="*/ 597 w 153885"/>
                  <a:gd name="connsiteY19" fmla="*/ 84333 h 199251"/>
                  <a:gd name="connsiteX20" fmla="*/ 4566 w 153885"/>
                  <a:gd name="connsiteY20" fmla="*/ 69451 h 199251"/>
                  <a:gd name="connsiteX21" fmla="*/ 9527 w 153885"/>
                  <a:gd name="connsiteY21" fmla="*/ 55065 h 199251"/>
                  <a:gd name="connsiteX22" fmla="*/ 15479 w 153885"/>
                  <a:gd name="connsiteY22" fmla="*/ 41174 h 199251"/>
                  <a:gd name="connsiteX23" fmla="*/ 23913 w 153885"/>
                  <a:gd name="connsiteY23" fmla="*/ 28277 h 199251"/>
                  <a:gd name="connsiteX24" fmla="*/ 34827 w 153885"/>
                  <a:gd name="connsiteY24" fmla="*/ 17363 h 199251"/>
                  <a:gd name="connsiteX25" fmla="*/ 47725 w 153885"/>
                  <a:gd name="connsiteY25" fmla="*/ 8929 h 199251"/>
                  <a:gd name="connsiteX26" fmla="*/ 61615 w 153885"/>
                  <a:gd name="connsiteY26" fmla="*/ 2480 h 199251"/>
                  <a:gd name="connsiteX27" fmla="*/ 76993 w 153885"/>
                  <a:gd name="connsiteY27" fmla="*/ 0 h 199251"/>
                  <a:gd name="connsiteX28" fmla="*/ 92372 w 153885"/>
                  <a:gd name="connsiteY28" fmla="*/ 3473 h 199251"/>
                  <a:gd name="connsiteX29" fmla="*/ 106758 w 153885"/>
                  <a:gd name="connsiteY29" fmla="*/ 8929 h 199251"/>
                  <a:gd name="connsiteX30" fmla="*/ 120152 w 153885"/>
                  <a:gd name="connsiteY30" fmla="*/ 17363 h 199251"/>
                  <a:gd name="connsiteX31" fmla="*/ 131066 w 153885"/>
                  <a:gd name="connsiteY31" fmla="*/ 28277 h 199251"/>
                  <a:gd name="connsiteX32" fmla="*/ 139996 w 153885"/>
                  <a:gd name="connsiteY32" fmla="*/ 41174 h 199251"/>
                  <a:gd name="connsiteX33" fmla="*/ 144956 w 153885"/>
                  <a:gd name="connsiteY33" fmla="*/ 56057 h 199251"/>
                  <a:gd name="connsiteX34" fmla="*/ 150413 w 153885"/>
                  <a:gd name="connsiteY34" fmla="*/ 70443 h 199251"/>
                  <a:gd name="connsiteX35" fmla="*/ 153885 w 153885"/>
                  <a:gd name="connsiteY35" fmla="*/ 85325 h 199251"/>
                  <a:gd name="connsiteX36" fmla="*/ 152397 w 153885"/>
                  <a:gd name="connsiteY36" fmla="*/ 100704 h 199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53885" h="199251">
                    <a:moveTo>
                      <a:pt x="152397" y="100704"/>
                    </a:moveTo>
                    <a:cubicBezTo>
                      <a:pt x="152397" y="106161"/>
                      <a:pt x="152893" y="111122"/>
                      <a:pt x="152397" y="116082"/>
                    </a:cubicBezTo>
                    <a:cubicBezTo>
                      <a:pt x="151901" y="121539"/>
                      <a:pt x="149917" y="126500"/>
                      <a:pt x="148925" y="130965"/>
                    </a:cubicBezTo>
                    <a:cubicBezTo>
                      <a:pt x="147437" y="135925"/>
                      <a:pt x="147437" y="141382"/>
                      <a:pt x="145452" y="146343"/>
                    </a:cubicBezTo>
                    <a:cubicBezTo>
                      <a:pt x="143468" y="151304"/>
                      <a:pt x="140987" y="155769"/>
                      <a:pt x="138507" y="160233"/>
                    </a:cubicBezTo>
                    <a:cubicBezTo>
                      <a:pt x="136027" y="164698"/>
                      <a:pt x="132554" y="169163"/>
                      <a:pt x="129577" y="172635"/>
                    </a:cubicBezTo>
                    <a:cubicBezTo>
                      <a:pt x="126105" y="176604"/>
                      <a:pt x="122633" y="180572"/>
                      <a:pt x="118664" y="183549"/>
                    </a:cubicBezTo>
                    <a:cubicBezTo>
                      <a:pt x="114695" y="187021"/>
                      <a:pt x="110727" y="190494"/>
                      <a:pt x="106262" y="192974"/>
                    </a:cubicBezTo>
                    <a:cubicBezTo>
                      <a:pt x="101797" y="195455"/>
                      <a:pt x="96836" y="196943"/>
                      <a:pt x="91876" y="198431"/>
                    </a:cubicBezTo>
                    <a:cubicBezTo>
                      <a:pt x="86915" y="199919"/>
                      <a:pt x="81458" y="198927"/>
                      <a:pt x="76497" y="198927"/>
                    </a:cubicBezTo>
                    <a:cubicBezTo>
                      <a:pt x="71041" y="198927"/>
                      <a:pt x="66080" y="198927"/>
                      <a:pt x="61119" y="197439"/>
                    </a:cubicBezTo>
                    <a:cubicBezTo>
                      <a:pt x="56158" y="195951"/>
                      <a:pt x="51197" y="194959"/>
                      <a:pt x="46237" y="192478"/>
                    </a:cubicBezTo>
                    <a:cubicBezTo>
                      <a:pt x="41772" y="189998"/>
                      <a:pt x="37803" y="186525"/>
                      <a:pt x="33835" y="183053"/>
                    </a:cubicBezTo>
                    <a:cubicBezTo>
                      <a:pt x="29866" y="179580"/>
                      <a:pt x="25898" y="176604"/>
                      <a:pt x="22921" y="172139"/>
                    </a:cubicBezTo>
                    <a:cubicBezTo>
                      <a:pt x="19944" y="168171"/>
                      <a:pt x="17464" y="163706"/>
                      <a:pt x="14984" y="158745"/>
                    </a:cubicBezTo>
                    <a:cubicBezTo>
                      <a:pt x="12503" y="154280"/>
                      <a:pt x="10519" y="149816"/>
                      <a:pt x="8535" y="144855"/>
                    </a:cubicBezTo>
                    <a:cubicBezTo>
                      <a:pt x="6550" y="140390"/>
                      <a:pt x="4070" y="135429"/>
                      <a:pt x="2582" y="130468"/>
                    </a:cubicBezTo>
                    <a:cubicBezTo>
                      <a:pt x="1590" y="125508"/>
                      <a:pt x="597" y="120547"/>
                      <a:pt x="101" y="115090"/>
                    </a:cubicBezTo>
                    <a:cubicBezTo>
                      <a:pt x="-395" y="110129"/>
                      <a:pt x="1094" y="104673"/>
                      <a:pt x="1094" y="99712"/>
                    </a:cubicBezTo>
                    <a:cubicBezTo>
                      <a:pt x="1094" y="94255"/>
                      <a:pt x="-395" y="89294"/>
                      <a:pt x="597" y="84333"/>
                    </a:cubicBezTo>
                    <a:cubicBezTo>
                      <a:pt x="1094" y="78877"/>
                      <a:pt x="3574" y="74412"/>
                      <a:pt x="4566" y="69451"/>
                    </a:cubicBezTo>
                    <a:cubicBezTo>
                      <a:pt x="6054" y="64490"/>
                      <a:pt x="7542" y="59529"/>
                      <a:pt x="9527" y="55065"/>
                    </a:cubicBezTo>
                    <a:cubicBezTo>
                      <a:pt x="11511" y="50104"/>
                      <a:pt x="12999" y="45143"/>
                      <a:pt x="15479" y="41174"/>
                    </a:cubicBezTo>
                    <a:cubicBezTo>
                      <a:pt x="17960" y="36710"/>
                      <a:pt x="20440" y="32245"/>
                      <a:pt x="23913" y="28277"/>
                    </a:cubicBezTo>
                    <a:cubicBezTo>
                      <a:pt x="27385" y="24308"/>
                      <a:pt x="30858" y="20835"/>
                      <a:pt x="34827" y="17363"/>
                    </a:cubicBezTo>
                    <a:cubicBezTo>
                      <a:pt x="38796" y="13890"/>
                      <a:pt x="43260" y="11410"/>
                      <a:pt x="47725" y="8929"/>
                    </a:cubicBezTo>
                    <a:cubicBezTo>
                      <a:pt x="52189" y="6449"/>
                      <a:pt x="56654" y="3473"/>
                      <a:pt x="61615" y="2480"/>
                    </a:cubicBezTo>
                    <a:cubicBezTo>
                      <a:pt x="66576" y="992"/>
                      <a:pt x="71537" y="0"/>
                      <a:pt x="76993" y="0"/>
                    </a:cubicBezTo>
                    <a:cubicBezTo>
                      <a:pt x="82450" y="0"/>
                      <a:pt x="87411" y="1984"/>
                      <a:pt x="92372" y="3473"/>
                    </a:cubicBezTo>
                    <a:cubicBezTo>
                      <a:pt x="97332" y="4961"/>
                      <a:pt x="102293" y="6449"/>
                      <a:pt x="106758" y="8929"/>
                    </a:cubicBezTo>
                    <a:cubicBezTo>
                      <a:pt x="111223" y="11410"/>
                      <a:pt x="116184" y="13890"/>
                      <a:pt x="120152" y="17363"/>
                    </a:cubicBezTo>
                    <a:cubicBezTo>
                      <a:pt x="124121" y="20835"/>
                      <a:pt x="127594" y="24308"/>
                      <a:pt x="131066" y="28277"/>
                    </a:cubicBezTo>
                    <a:cubicBezTo>
                      <a:pt x="134042" y="32245"/>
                      <a:pt x="137515" y="36710"/>
                      <a:pt x="139996" y="41174"/>
                    </a:cubicBezTo>
                    <a:cubicBezTo>
                      <a:pt x="142476" y="45639"/>
                      <a:pt x="142972" y="51096"/>
                      <a:pt x="144956" y="56057"/>
                    </a:cubicBezTo>
                    <a:cubicBezTo>
                      <a:pt x="146940" y="60522"/>
                      <a:pt x="148925" y="65482"/>
                      <a:pt x="150413" y="70443"/>
                    </a:cubicBezTo>
                    <a:cubicBezTo>
                      <a:pt x="151405" y="75404"/>
                      <a:pt x="153389" y="80365"/>
                      <a:pt x="153885" y="85325"/>
                    </a:cubicBezTo>
                    <a:cubicBezTo>
                      <a:pt x="152893" y="90286"/>
                      <a:pt x="152397" y="95247"/>
                      <a:pt x="152397" y="10070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5" name="Freeform: Shape 1634">
                <a:extLst>
                  <a:ext uri="{FF2B5EF4-FFF2-40B4-BE49-F238E27FC236}">
                    <a16:creationId xmlns:a16="http://schemas.microsoft.com/office/drawing/2014/main" id="{446E3E66-CD90-33A5-20D3-362A94F35009}"/>
                  </a:ext>
                </a:extLst>
              </p:cNvPr>
              <p:cNvSpPr/>
              <p:nvPr/>
            </p:nvSpPr>
            <p:spPr>
              <a:xfrm>
                <a:off x="6433087" y="4943912"/>
                <a:ext cx="112531" cy="93573"/>
              </a:xfrm>
              <a:custGeom>
                <a:avLst/>
                <a:gdLst>
                  <a:gd name="connsiteX0" fmla="*/ 1906 w 112531"/>
                  <a:gd name="connsiteY0" fmla="*/ 23316 h 93573"/>
                  <a:gd name="connsiteX1" fmla="*/ 17284 w 112531"/>
                  <a:gd name="connsiteY1" fmla="*/ 21332 h 93573"/>
                  <a:gd name="connsiteX2" fmla="*/ 33655 w 112531"/>
                  <a:gd name="connsiteY2" fmla="*/ 20835 h 93573"/>
                  <a:gd name="connsiteX3" fmla="*/ 50025 w 112531"/>
                  <a:gd name="connsiteY3" fmla="*/ 20339 h 93573"/>
                  <a:gd name="connsiteX4" fmla="*/ 65900 w 112531"/>
                  <a:gd name="connsiteY4" fmla="*/ 15875 h 93573"/>
                  <a:gd name="connsiteX5" fmla="*/ 82270 w 112531"/>
                  <a:gd name="connsiteY5" fmla="*/ 13394 h 93573"/>
                  <a:gd name="connsiteX6" fmla="*/ 97649 w 112531"/>
                  <a:gd name="connsiteY6" fmla="*/ 6945 h 93573"/>
                  <a:gd name="connsiteX7" fmla="*/ 112531 w 112531"/>
                  <a:gd name="connsiteY7" fmla="*/ 0 h 93573"/>
                  <a:gd name="connsiteX8" fmla="*/ 109554 w 112531"/>
                  <a:gd name="connsiteY8" fmla="*/ 15875 h 93573"/>
                  <a:gd name="connsiteX9" fmla="*/ 104593 w 112531"/>
                  <a:gd name="connsiteY9" fmla="*/ 31253 h 93573"/>
                  <a:gd name="connsiteX10" fmla="*/ 99633 w 112531"/>
                  <a:gd name="connsiteY10" fmla="*/ 46631 h 93573"/>
                  <a:gd name="connsiteX11" fmla="*/ 93184 w 112531"/>
                  <a:gd name="connsiteY11" fmla="*/ 61018 h 93573"/>
                  <a:gd name="connsiteX12" fmla="*/ 83262 w 112531"/>
                  <a:gd name="connsiteY12" fmla="*/ 73420 h 93573"/>
                  <a:gd name="connsiteX13" fmla="*/ 71852 w 112531"/>
                  <a:gd name="connsiteY13" fmla="*/ 84333 h 93573"/>
                  <a:gd name="connsiteX14" fmla="*/ 56970 w 112531"/>
                  <a:gd name="connsiteY14" fmla="*/ 90286 h 93573"/>
                  <a:gd name="connsiteX15" fmla="*/ 40600 w 112531"/>
                  <a:gd name="connsiteY15" fmla="*/ 93263 h 93573"/>
                  <a:gd name="connsiteX16" fmla="*/ 26213 w 112531"/>
                  <a:gd name="connsiteY16" fmla="*/ 84333 h 93573"/>
                  <a:gd name="connsiteX17" fmla="*/ 17284 w 112531"/>
                  <a:gd name="connsiteY17" fmla="*/ 69947 h 93573"/>
                  <a:gd name="connsiteX18" fmla="*/ 9843 w 112531"/>
                  <a:gd name="connsiteY18" fmla="*/ 54569 h 93573"/>
                  <a:gd name="connsiteX19" fmla="*/ 5874 w 112531"/>
                  <a:gd name="connsiteY19" fmla="*/ 38198 h 93573"/>
                  <a:gd name="connsiteX20" fmla="*/ 1906 w 112531"/>
                  <a:gd name="connsiteY20" fmla="*/ 23316 h 93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2531" h="93573">
                    <a:moveTo>
                      <a:pt x="1906" y="23316"/>
                    </a:moveTo>
                    <a:cubicBezTo>
                      <a:pt x="6866" y="16867"/>
                      <a:pt x="7362" y="21828"/>
                      <a:pt x="17284" y="21332"/>
                    </a:cubicBezTo>
                    <a:cubicBezTo>
                      <a:pt x="22245" y="21332"/>
                      <a:pt x="27701" y="21332"/>
                      <a:pt x="33655" y="20835"/>
                    </a:cubicBezTo>
                    <a:cubicBezTo>
                      <a:pt x="38615" y="20339"/>
                      <a:pt x="44568" y="21332"/>
                      <a:pt x="50025" y="20339"/>
                    </a:cubicBezTo>
                    <a:cubicBezTo>
                      <a:pt x="55482" y="19843"/>
                      <a:pt x="60443" y="16867"/>
                      <a:pt x="65900" y="15875"/>
                    </a:cubicBezTo>
                    <a:cubicBezTo>
                      <a:pt x="71356" y="14882"/>
                      <a:pt x="76813" y="14386"/>
                      <a:pt x="82270" y="13394"/>
                    </a:cubicBezTo>
                    <a:cubicBezTo>
                      <a:pt x="87727" y="11906"/>
                      <a:pt x="92688" y="8930"/>
                      <a:pt x="97649" y="6945"/>
                    </a:cubicBezTo>
                    <a:cubicBezTo>
                      <a:pt x="103106" y="4961"/>
                      <a:pt x="108562" y="2977"/>
                      <a:pt x="112531" y="0"/>
                    </a:cubicBezTo>
                    <a:cubicBezTo>
                      <a:pt x="111043" y="5457"/>
                      <a:pt x="110547" y="10914"/>
                      <a:pt x="109554" y="15875"/>
                    </a:cubicBezTo>
                    <a:cubicBezTo>
                      <a:pt x="108066" y="21332"/>
                      <a:pt x="105586" y="26292"/>
                      <a:pt x="104593" y="31253"/>
                    </a:cubicBezTo>
                    <a:cubicBezTo>
                      <a:pt x="103106" y="36710"/>
                      <a:pt x="101617" y="41671"/>
                      <a:pt x="99633" y="46631"/>
                    </a:cubicBezTo>
                    <a:cubicBezTo>
                      <a:pt x="97649" y="52088"/>
                      <a:pt x="96160" y="56553"/>
                      <a:pt x="93184" y="61018"/>
                    </a:cubicBezTo>
                    <a:cubicBezTo>
                      <a:pt x="90704" y="65482"/>
                      <a:pt x="87231" y="69451"/>
                      <a:pt x="83262" y="73420"/>
                    </a:cubicBezTo>
                    <a:cubicBezTo>
                      <a:pt x="79790" y="76892"/>
                      <a:pt x="76317" y="81357"/>
                      <a:pt x="71852" y="84333"/>
                    </a:cubicBezTo>
                    <a:cubicBezTo>
                      <a:pt x="67884" y="86814"/>
                      <a:pt x="61931" y="87806"/>
                      <a:pt x="56970" y="90286"/>
                    </a:cubicBezTo>
                    <a:cubicBezTo>
                      <a:pt x="51017" y="92767"/>
                      <a:pt x="45561" y="94255"/>
                      <a:pt x="40600" y="93263"/>
                    </a:cubicBezTo>
                    <a:cubicBezTo>
                      <a:pt x="35142" y="91774"/>
                      <a:pt x="30182" y="88798"/>
                      <a:pt x="26213" y="84333"/>
                    </a:cubicBezTo>
                    <a:cubicBezTo>
                      <a:pt x="22741" y="80365"/>
                      <a:pt x="20260" y="74908"/>
                      <a:pt x="17284" y="69947"/>
                    </a:cubicBezTo>
                    <a:cubicBezTo>
                      <a:pt x="14803" y="64986"/>
                      <a:pt x="11827" y="60026"/>
                      <a:pt x="9843" y="54569"/>
                    </a:cubicBezTo>
                    <a:cubicBezTo>
                      <a:pt x="7858" y="49112"/>
                      <a:pt x="6866" y="43159"/>
                      <a:pt x="5874" y="38198"/>
                    </a:cubicBezTo>
                    <a:cubicBezTo>
                      <a:pt x="2897" y="29269"/>
                      <a:pt x="-3055" y="29765"/>
                      <a:pt x="1906" y="23316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6" name="Freeform: Shape 1635">
                <a:extLst>
                  <a:ext uri="{FF2B5EF4-FFF2-40B4-BE49-F238E27FC236}">
                    <a16:creationId xmlns:a16="http://schemas.microsoft.com/office/drawing/2014/main" id="{1B732EC4-6BBC-66F2-2042-B797888C1538}"/>
                  </a:ext>
                </a:extLst>
              </p:cNvPr>
              <p:cNvSpPr/>
              <p:nvPr/>
            </p:nvSpPr>
            <p:spPr>
              <a:xfrm>
                <a:off x="6461285" y="4891328"/>
                <a:ext cx="1983" cy="22323"/>
              </a:xfrm>
              <a:custGeom>
                <a:avLst/>
                <a:gdLst>
                  <a:gd name="connsiteX0" fmla="*/ 1984 w 1983"/>
                  <a:gd name="connsiteY0" fmla="*/ 0 h 22323"/>
                  <a:gd name="connsiteX1" fmla="*/ 0 w 1983"/>
                  <a:gd name="connsiteY1" fmla="*/ 22324 h 22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3" h="22323">
                    <a:moveTo>
                      <a:pt x="1984" y="0"/>
                    </a:moveTo>
                    <a:cubicBezTo>
                      <a:pt x="1984" y="10914"/>
                      <a:pt x="0" y="10914"/>
                      <a:pt x="0" y="2232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7" name="Freeform: Shape 1636">
                <a:extLst>
                  <a:ext uri="{FF2B5EF4-FFF2-40B4-BE49-F238E27FC236}">
                    <a16:creationId xmlns:a16="http://schemas.microsoft.com/office/drawing/2014/main" id="{319D8E57-3266-76AB-2C37-70DD015B2B1F}"/>
                  </a:ext>
                </a:extLst>
              </p:cNvPr>
              <p:cNvSpPr/>
              <p:nvPr/>
            </p:nvSpPr>
            <p:spPr>
              <a:xfrm>
                <a:off x="6496506" y="4891328"/>
                <a:ext cx="991" cy="19843"/>
              </a:xfrm>
              <a:custGeom>
                <a:avLst/>
                <a:gdLst>
                  <a:gd name="connsiteX0" fmla="*/ 992 w 991"/>
                  <a:gd name="connsiteY0" fmla="*/ 0 h 19843"/>
                  <a:gd name="connsiteX1" fmla="*/ 0 w 991"/>
                  <a:gd name="connsiteY1" fmla="*/ 19843 h 1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1" h="19843">
                    <a:moveTo>
                      <a:pt x="992" y="0"/>
                    </a:moveTo>
                    <a:cubicBezTo>
                      <a:pt x="992" y="9922"/>
                      <a:pt x="0" y="9922"/>
                      <a:pt x="0" y="19843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8" name="Freeform: Shape 1637">
                <a:extLst>
                  <a:ext uri="{FF2B5EF4-FFF2-40B4-BE49-F238E27FC236}">
                    <a16:creationId xmlns:a16="http://schemas.microsoft.com/office/drawing/2014/main" id="{658ADABF-DCD2-91AF-3C79-3989D618346E}"/>
                  </a:ext>
                </a:extLst>
              </p:cNvPr>
              <p:cNvSpPr/>
              <p:nvPr/>
            </p:nvSpPr>
            <p:spPr>
              <a:xfrm>
                <a:off x="6395802" y="4857098"/>
                <a:ext cx="120051" cy="51096"/>
              </a:xfrm>
              <a:custGeom>
                <a:avLst/>
                <a:gdLst>
                  <a:gd name="connsiteX0" fmla="*/ 0 w 120051"/>
                  <a:gd name="connsiteY0" fmla="*/ 51096 h 51096"/>
                  <a:gd name="connsiteX1" fmla="*/ 12898 w 120051"/>
                  <a:gd name="connsiteY1" fmla="*/ 40182 h 51096"/>
                  <a:gd name="connsiteX2" fmla="*/ 25796 w 120051"/>
                  <a:gd name="connsiteY2" fmla="*/ 29269 h 51096"/>
                  <a:gd name="connsiteX3" fmla="*/ 40182 w 120051"/>
                  <a:gd name="connsiteY3" fmla="*/ 20835 h 51096"/>
                  <a:gd name="connsiteX4" fmla="*/ 55065 w 120051"/>
                  <a:gd name="connsiteY4" fmla="*/ 12898 h 51096"/>
                  <a:gd name="connsiteX5" fmla="*/ 70939 w 120051"/>
                  <a:gd name="connsiteY5" fmla="*/ 7441 h 51096"/>
                  <a:gd name="connsiteX6" fmla="*/ 86814 w 120051"/>
                  <a:gd name="connsiteY6" fmla="*/ 2977 h 51096"/>
                  <a:gd name="connsiteX7" fmla="*/ 103184 w 120051"/>
                  <a:gd name="connsiteY7" fmla="*/ 0 h 51096"/>
                  <a:gd name="connsiteX8" fmla="*/ 120051 w 120051"/>
                  <a:gd name="connsiteY8" fmla="*/ 2480 h 51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051" h="51096">
                    <a:moveTo>
                      <a:pt x="0" y="51096"/>
                    </a:moveTo>
                    <a:cubicBezTo>
                      <a:pt x="5953" y="45143"/>
                      <a:pt x="4961" y="46631"/>
                      <a:pt x="12898" y="40182"/>
                    </a:cubicBezTo>
                    <a:cubicBezTo>
                      <a:pt x="16867" y="37206"/>
                      <a:pt x="20836" y="33237"/>
                      <a:pt x="25796" y="29269"/>
                    </a:cubicBezTo>
                    <a:cubicBezTo>
                      <a:pt x="30261" y="26292"/>
                      <a:pt x="35221" y="23812"/>
                      <a:pt x="40182" y="20835"/>
                    </a:cubicBezTo>
                    <a:cubicBezTo>
                      <a:pt x="44647" y="17859"/>
                      <a:pt x="49608" y="15379"/>
                      <a:pt x="55065" y="12898"/>
                    </a:cubicBezTo>
                    <a:cubicBezTo>
                      <a:pt x="60025" y="10418"/>
                      <a:pt x="65483" y="9426"/>
                      <a:pt x="70939" y="7441"/>
                    </a:cubicBezTo>
                    <a:cubicBezTo>
                      <a:pt x="76396" y="5457"/>
                      <a:pt x="81357" y="3969"/>
                      <a:pt x="86814" y="2977"/>
                    </a:cubicBezTo>
                    <a:cubicBezTo>
                      <a:pt x="92270" y="1984"/>
                      <a:pt x="97728" y="0"/>
                      <a:pt x="103184" y="0"/>
                    </a:cubicBezTo>
                    <a:cubicBezTo>
                      <a:pt x="108641" y="0"/>
                      <a:pt x="114098" y="992"/>
                      <a:pt x="120051" y="24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9" name="Freeform: Shape 1638">
                <a:extLst>
                  <a:ext uri="{FF2B5EF4-FFF2-40B4-BE49-F238E27FC236}">
                    <a16:creationId xmlns:a16="http://schemas.microsoft.com/office/drawing/2014/main" id="{811838D0-6772-66DE-C246-47316C97C7E5}"/>
                  </a:ext>
                </a:extLst>
              </p:cNvPr>
              <p:cNvSpPr/>
              <p:nvPr/>
            </p:nvSpPr>
            <p:spPr>
              <a:xfrm>
                <a:off x="6353886" y="4868926"/>
                <a:ext cx="32952" cy="43236"/>
              </a:xfrm>
              <a:custGeom>
                <a:avLst/>
                <a:gdLst>
                  <a:gd name="connsiteX0" fmla="*/ 8184 w 32952"/>
                  <a:gd name="connsiteY0" fmla="*/ 41749 h 43236"/>
                  <a:gd name="connsiteX1" fmla="*/ 7687 w 32952"/>
                  <a:gd name="connsiteY1" fmla="*/ 43237 h 43236"/>
                  <a:gd name="connsiteX2" fmla="*/ 1238 w 32952"/>
                  <a:gd name="connsiteY2" fmla="*/ 24882 h 43236"/>
                  <a:gd name="connsiteX3" fmla="*/ 7687 w 32952"/>
                  <a:gd name="connsiteY3" fmla="*/ 8511 h 43236"/>
                  <a:gd name="connsiteX4" fmla="*/ 26042 w 32952"/>
                  <a:gd name="connsiteY4" fmla="*/ 1070 h 43236"/>
                  <a:gd name="connsiteX5" fmla="*/ 26042 w 32952"/>
                  <a:gd name="connsiteY5" fmla="*/ 1070 h 43236"/>
                  <a:gd name="connsiteX6" fmla="*/ 31499 w 32952"/>
                  <a:gd name="connsiteY6" fmla="*/ 18929 h 43236"/>
                  <a:gd name="connsiteX7" fmla="*/ 25546 w 32952"/>
                  <a:gd name="connsiteY7" fmla="*/ 35299 h 43236"/>
                  <a:gd name="connsiteX8" fmla="*/ 8184 w 32952"/>
                  <a:gd name="connsiteY8" fmla="*/ 41749 h 43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52" h="43236">
                    <a:moveTo>
                      <a:pt x="8184" y="41749"/>
                    </a:moveTo>
                    <a:cubicBezTo>
                      <a:pt x="8184" y="41749"/>
                      <a:pt x="7687" y="43237"/>
                      <a:pt x="7687" y="43237"/>
                    </a:cubicBezTo>
                    <a:cubicBezTo>
                      <a:pt x="743" y="40260"/>
                      <a:pt x="-1738" y="31827"/>
                      <a:pt x="1238" y="24882"/>
                    </a:cubicBezTo>
                    <a:cubicBezTo>
                      <a:pt x="4711" y="16945"/>
                      <a:pt x="4215" y="16945"/>
                      <a:pt x="7687" y="8511"/>
                    </a:cubicBezTo>
                    <a:cubicBezTo>
                      <a:pt x="10664" y="1566"/>
                      <a:pt x="19593" y="-1906"/>
                      <a:pt x="26042" y="1070"/>
                    </a:cubicBezTo>
                    <a:cubicBezTo>
                      <a:pt x="26042" y="1070"/>
                      <a:pt x="26042" y="1070"/>
                      <a:pt x="26042" y="1070"/>
                    </a:cubicBezTo>
                    <a:cubicBezTo>
                      <a:pt x="32988" y="4047"/>
                      <a:pt x="34475" y="12480"/>
                      <a:pt x="31499" y="18929"/>
                    </a:cubicBezTo>
                    <a:cubicBezTo>
                      <a:pt x="28027" y="26866"/>
                      <a:pt x="29019" y="27362"/>
                      <a:pt x="25546" y="35299"/>
                    </a:cubicBezTo>
                    <a:cubicBezTo>
                      <a:pt x="22569" y="42741"/>
                      <a:pt x="15128" y="44725"/>
                      <a:pt x="8184" y="41749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0" name="Freeform: Shape 1639">
                <a:extLst>
                  <a:ext uri="{FF2B5EF4-FFF2-40B4-BE49-F238E27FC236}">
                    <a16:creationId xmlns:a16="http://schemas.microsoft.com/office/drawing/2014/main" id="{55D98AF9-064C-24D9-5CEA-46E43C5C1F3E}"/>
                  </a:ext>
                </a:extLst>
              </p:cNvPr>
              <p:cNvSpPr/>
              <p:nvPr/>
            </p:nvSpPr>
            <p:spPr>
              <a:xfrm>
                <a:off x="6285705" y="4814277"/>
                <a:ext cx="66148" cy="55388"/>
              </a:xfrm>
              <a:custGeom>
                <a:avLst/>
                <a:gdLst>
                  <a:gd name="connsiteX0" fmla="*/ 64954 w 66148"/>
                  <a:gd name="connsiteY0" fmla="*/ 53735 h 55388"/>
                  <a:gd name="connsiteX1" fmla="*/ 59002 w 66148"/>
                  <a:gd name="connsiteY1" fmla="*/ 38853 h 55388"/>
                  <a:gd name="connsiteX2" fmla="*/ 54041 w 66148"/>
                  <a:gd name="connsiteY2" fmla="*/ 24467 h 55388"/>
                  <a:gd name="connsiteX3" fmla="*/ 44119 w 66148"/>
                  <a:gd name="connsiteY3" fmla="*/ 13057 h 55388"/>
                  <a:gd name="connsiteX4" fmla="*/ 32213 w 66148"/>
                  <a:gd name="connsiteY4" fmla="*/ 4127 h 55388"/>
                  <a:gd name="connsiteX5" fmla="*/ 17827 w 66148"/>
                  <a:gd name="connsiteY5" fmla="*/ 159 h 55388"/>
                  <a:gd name="connsiteX6" fmla="*/ 2945 w 66148"/>
                  <a:gd name="connsiteY6" fmla="*/ 4127 h 55388"/>
                  <a:gd name="connsiteX7" fmla="*/ 464 w 66148"/>
                  <a:gd name="connsiteY7" fmla="*/ 20002 h 55388"/>
                  <a:gd name="connsiteX8" fmla="*/ 6913 w 66148"/>
                  <a:gd name="connsiteY8" fmla="*/ 34388 h 55388"/>
                  <a:gd name="connsiteX9" fmla="*/ 17331 w 66148"/>
                  <a:gd name="connsiteY9" fmla="*/ 46790 h 55388"/>
                  <a:gd name="connsiteX10" fmla="*/ 31717 w 66148"/>
                  <a:gd name="connsiteY10" fmla="*/ 54727 h 55388"/>
                  <a:gd name="connsiteX11" fmla="*/ 48088 w 66148"/>
                  <a:gd name="connsiteY11" fmla="*/ 54727 h 55388"/>
                  <a:gd name="connsiteX12" fmla="*/ 64954 w 66148"/>
                  <a:gd name="connsiteY12" fmla="*/ 53735 h 5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6148" h="55388">
                    <a:moveTo>
                      <a:pt x="64954" y="53735"/>
                    </a:moveTo>
                    <a:cubicBezTo>
                      <a:pt x="68923" y="47286"/>
                      <a:pt x="61978" y="47286"/>
                      <a:pt x="59002" y="38853"/>
                    </a:cubicBezTo>
                    <a:cubicBezTo>
                      <a:pt x="57513" y="34388"/>
                      <a:pt x="56521" y="29427"/>
                      <a:pt x="54041" y="24467"/>
                    </a:cubicBezTo>
                    <a:cubicBezTo>
                      <a:pt x="51561" y="20002"/>
                      <a:pt x="47592" y="16529"/>
                      <a:pt x="44119" y="13057"/>
                    </a:cubicBezTo>
                    <a:cubicBezTo>
                      <a:pt x="40646" y="9584"/>
                      <a:pt x="36678" y="6608"/>
                      <a:pt x="32213" y="4127"/>
                    </a:cubicBezTo>
                    <a:cubicBezTo>
                      <a:pt x="27749" y="2143"/>
                      <a:pt x="23284" y="655"/>
                      <a:pt x="17827" y="159"/>
                    </a:cubicBezTo>
                    <a:cubicBezTo>
                      <a:pt x="10882" y="-337"/>
                      <a:pt x="5921" y="159"/>
                      <a:pt x="2945" y="4127"/>
                    </a:cubicBezTo>
                    <a:cubicBezTo>
                      <a:pt x="-32" y="8096"/>
                      <a:pt x="-528" y="14049"/>
                      <a:pt x="464" y="20002"/>
                    </a:cubicBezTo>
                    <a:cubicBezTo>
                      <a:pt x="1456" y="24963"/>
                      <a:pt x="3441" y="29923"/>
                      <a:pt x="6913" y="34388"/>
                    </a:cubicBezTo>
                    <a:cubicBezTo>
                      <a:pt x="9890" y="38853"/>
                      <a:pt x="12866" y="43318"/>
                      <a:pt x="17331" y="46790"/>
                    </a:cubicBezTo>
                    <a:cubicBezTo>
                      <a:pt x="21299" y="49766"/>
                      <a:pt x="26260" y="53239"/>
                      <a:pt x="31717" y="54727"/>
                    </a:cubicBezTo>
                    <a:cubicBezTo>
                      <a:pt x="36678" y="56215"/>
                      <a:pt x="42135" y="54727"/>
                      <a:pt x="48088" y="54727"/>
                    </a:cubicBezTo>
                    <a:cubicBezTo>
                      <a:pt x="52552" y="54231"/>
                      <a:pt x="59002" y="55223"/>
                      <a:pt x="64954" y="5373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1" name="Freeform: Shape 1640">
                <a:extLst>
                  <a:ext uri="{FF2B5EF4-FFF2-40B4-BE49-F238E27FC236}">
                    <a16:creationId xmlns:a16="http://schemas.microsoft.com/office/drawing/2014/main" id="{C07BD190-96C7-C153-D44C-BEE0B1A9488D}"/>
                  </a:ext>
                </a:extLst>
              </p:cNvPr>
              <p:cNvSpPr/>
              <p:nvPr/>
            </p:nvSpPr>
            <p:spPr>
              <a:xfrm>
                <a:off x="6455998" y="4755229"/>
                <a:ext cx="47453" cy="74496"/>
              </a:xfrm>
              <a:custGeom>
                <a:avLst/>
                <a:gdLst>
                  <a:gd name="connsiteX0" fmla="*/ 41500 w 47453"/>
                  <a:gd name="connsiteY0" fmla="*/ 73593 h 74496"/>
                  <a:gd name="connsiteX1" fmla="*/ 28106 w 47453"/>
                  <a:gd name="connsiteY1" fmla="*/ 67144 h 74496"/>
                  <a:gd name="connsiteX2" fmla="*/ 16200 w 47453"/>
                  <a:gd name="connsiteY2" fmla="*/ 58711 h 74496"/>
                  <a:gd name="connsiteX3" fmla="*/ 6279 w 47453"/>
                  <a:gd name="connsiteY3" fmla="*/ 47301 h 74496"/>
                  <a:gd name="connsiteX4" fmla="*/ 822 w 47453"/>
                  <a:gd name="connsiteY4" fmla="*/ 33411 h 74496"/>
                  <a:gd name="connsiteX5" fmla="*/ 326 w 47453"/>
                  <a:gd name="connsiteY5" fmla="*/ 18528 h 74496"/>
                  <a:gd name="connsiteX6" fmla="*/ 7271 w 47453"/>
                  <a:gd name="connsiteY6" fmla="*/ 3646 h 74496"/>
                  <a:gd name="connsiteX7" fmla="*/ 23146 w 47453"/>
                  <a:gd name="connsiteY7" fmla="*/ 670 h 74496"/>
                  <a:gd name="connsiteX8" fmla="*/ 37532 w 47453"/>
                  <a:gd name="connsiteY8" fmla="*/ 9103 h 74496"/>
                  <a:gd name="connsiteX9" fmla="*/ 45965 w 47453"/>
                  <a:gd name="connsiteY9" fmla="*/ 23985 h 74496"/>
                  <a:gd name="connsiteX10" fmla="*/ 47454 w 47453"/>
                  <a:gd name="connsiteY10" fmla="*/ 40852 h 74496"/>
                  <a:gd name="connsiteX11" fmla="*/ 44973 w 47453"/>
                  <a:gd name="connsiteY11" fmla="*/ 57222 h 74496"/>
                  <a:gd name="connsiteX12" fmla="*/ 41500 w 47453"/>
                  <a:gd name="connsiteY12" fmla="*/ 73593 h 7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453" h="74496">
                    <a:moveTo>
                      <a:pt x="41500" y="73593"/>
                    </a:moveTo>
                    <a:cubicBezTo>
                      <a:pt x="34555" y="76570"/>
                      <a:pt x="35548" y="71609"/>
                      <a:pt x="28106" y="67144"/>
                    </a:cubicBezTo>
                    <a:cubicBezTo>
                      <a:pt x="24138" y="64664"/>
                      <a:pt x="20169" y="62183"/>
                      <a:pt x="16200" y="58711"/>
                    </a:cubicBezTo>
                    <a:cubicBezTo>
                      <a:pt x="12728" y="55734"/>
                      <a:pt x="9255" y="51766"/>
                      <a:pt x="6279" y="47301"/>
                    </a:cubicBezTo>
                    <a:cubicBezTo>
                      <a:pt x="3799" y="43332"/>
                      <a:pt x="1814" y="38868"/>
                      <a:pt x="822" y="33411"/>
                    </a:cubicBezTo>
                    <a:cubicBezTo>
                      <a:pt x="-170" y="28946"/>
                      <a:pt x="-170" y="23985"/>
                      <a:pt x="326" y="18528"/>
                    </a:cubicBezTo>
                    <a:cubicBezTo>
                      <a:pt x="1318" y="11583"/>
                      <a:pt x="3799" y="6623"/>
                      <a:pt x="7271" y="3646"/>
                    </a:cubicBezTo>
                    <a:cubicBezTo>
                      <a:pt x="11736" y="173"/>
                      <a:pt x="17689" y="-818"/>
                      <a:pt x="23146" y="670"/>
                    </a:cubicBezTo>
                    <a:cubicBezTo>
                      <a:pt x="28106" y="2158"/>
                      <a:pt x="33563" y="4638"/>
                      <a:pt x="37532" y="9103"/>
                    </a:cubicBezTo>
                    <a:cubicBezTo>
                      <a:pt x="41004" y="13072"/>
                      <a:pt x="43981" y="18032"/>
                      <a:pt x="45965" y="23985"/>
                    </a:cubicBezTo>
                    <a:cubicBezTo>
                      <a:pt x="47454" y="28946"/>
                      <a:pt x="47454" y="34403"/>
                      <a:pt x="47454" y="40852"/>
                    </a:cubicBezTo>
                    <a:cubicBezTo>
                      <a:pt x="47454" y="45813"/>
                      <a:pt x="46461" y="51270"/>
                      <a:pt x="44973" y="57222"/>
                    </a:cubicBezTo>
                    <a:cubicBezTo>
                      <a:pt x="43981" y="62183"/>
                      <a:pt x="43485" y="67640"/>
                      <a:pt x="41500" y="7359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2" name="Freeform: Shape 1641">
                <a:extLst>
                  <a:ext uri="{FF2B5EF4-FFF2-40B4-BE49-F238E27FC236}">
                    <a16:creationId xmlns:a16="http://schemas.microsoft.com/office/drawing/2014/main" id="{9B0BE456-542F-DE9F-C8A8-E6EBD6235279}"/>
                  </a:ext>
                </a:extLst>
              </p:cNvPr>
              <p:cNvSpPr/>
              <p:nvPr/>
            </p:nvSpPr>
            <p:spPr>
              <a:xfrm>
                <a:off x="6483112" y="5034694"/>
                <a:ext cx="5953" cy="39686"/>
              </a:xfrm>
              <a:custGeom>
                <a:avLst/>
                <a:gdLst>
                  <a:gd name="connsiteX0" fmla="*/ 0 w 5953"/>
                  <a:gd name="connsiteY0" fmla="*/ 39686 h 39686"/>
                  <a:gd name="connsiteX1" fmla="*/ 2977 w 5953"/>
                  <a:gd name="connsiteY1" fmla="*/ 19843 h 39686"/>
                  <a:gd name="connsiteX2" fmla="*/ 5953 w 5953"/>
                  <a:gd name="connsiteY2" fmla="*/ 0 h 39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53" h="39686">
                    <a:moveTo>
                      <a:pt x="0" y="39686"/>
                    </a:moveTo>
                    <a:cubicBezTo>
                      <a:pt x="1488" y="29765"/>
                      <a:pt x="1488" y="29765"/>
                      <a:pt x="2977" y="19843"/>
                    </a:cubicBezTo>
                    <a:cubicBezTo>
                      <a:pt x="4465" y="9922"/>
                      <a:pt x="4465" y="9922"/>
                      <a:pt x="5953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3" name="Freeform: Shape 1642">
                <a:extLst>
                  <a:ext uri="{FF2B5EF4-FFF2-40B4-BE49-F238E27FC236}">
                    <a16:creationId xmlns:a16="http://schemas.microsoft.com/office/drawing/2014/main" id="{A11E99A9-389E-CD69-DC9B-34DC573EA281}"/>
                  </a:ext>
                </a:extLst>
              </p:cNvPr>
              <p:cNvSpPr/>
              <p:nvPr/>
            </p:nvSpPr>
            <p:spPr>
              <a:xfrm>
                <a:off x="6355619" y="5006418"/>
                <a:ext cx="124516" cy="166944"/>
              </a:xfrm>
              <a:custGeom>
                <a:avLst/>
                <a:gdLst>
                  <a:gd name="connsiteX0" fmla="*/ 57546 w 124516"/>
                  <a:gd name="connsiteY0" fmla="*/ 0 h 166944"/>
                  <a:gd name="connsiteX1" fmla="*/ 49608 w 124516"/>
                  <a:gd name="connsiteY1" fmla="*/ 14386 h 166944"/>
                  <a:gd name="connsiteX2" fmla="*/ 42663 w 124516"/>
                  <a:gd name="connsiteY2" fmla="*/ 29268 h 166944"/>
                  <a:gd name="connsiteX3" fmla="*/ 35222 w 124516"/>
                  <a:gd name="connsiteY3" fmla="*/ 43655 h 166944"/>
                  <a:gd name="connsiteX4" fmla="*/ 29269 w 124516"/>
                  <a:gd name="connsiteY4" fmla="*/ 59033 h 166944"/>
                  <a:gd name="connsiteX5" fmla="*/ 21332 w 124516"/>
                  <a:gd name="connsiteY5" fmla="*/ 73419 h 166944"/>
                  <a:gd name="connsiteX6" fmla="*/ 15379 w 124516"/>
                  <a:gd name="connsiteY6" fmla="*/ 88798 h 166944"/>
                  <a:gd name="connsiteX7" fmla="*/ 8930 w 124516"/>
                  <a:gd name="connsiteY7" fmla="*/ 104176 h 166944"/>
                  <a:gd name="connsiteX8" fmla="*/ 497 w 124516"/>
                  <a:gd name="connsiteY8" fmla="*/ 119058 h 166944"/>
                  <a:gd name="connsiteX9" fmla="*/ 15875 w 124516"/>
                  <a:gd name="connsiteY9" fmla="*/ 123523 h 166944"/>
                  <a:gd name="connsiteX10" fmla="*/ 29269 w 124516"/>
                  <a:gd name="connsiteY10" fmla="*/ 130964 h 166944"/>
                  <a:gd name="connsiteX11" fmla="*/ 43656 w 124516"/>
                  <a:gd name="connsiteY11" fmla="*/ 135429 h 166944"/>
                  <a:gd name="connsiteX12" fmla="*/ 57050 w 124516"/>
                  <a:gd name="connsiteY12" fmla="*/ 142870 h 166944"/>
                  <a:gd name="connsiteX13" fmla="*/ 71436 w 124516"/>
                  <a:gd name="connsiteY13" fmla="*/ 148327 h 166944"/>
                  <a:gd name="connsiteX14" fmla="*/ 85822 w 124516"/>
                  <a:gd name="connsiteY14" fmla="*/ 153784 h 166944"/>
                  <a:gd name="connsiteX15" fmla="*/ 99712 w 124516"/>
                  <a:gd name="connsiteY15" fmla="*/ 160233 h 166944"/>
                  <a:gd name="connsiteX16" fmla="*/ 114099 w 124516"/>
                  <a:gd name="connsiteY16" fmla="*/ 165690 h 166944"/>
                  <a:gd name="connsiteX17" fmla="*/ 116083 w 124516"/>
                  <a:gd name="connsiteY17" fmla="*/ 150312 h 166944"/>
                  <a:gd name="connsiteX18" fmla="*/ 117571 w 124516"/>
                  <a:gd name="connsiteY18" fmla="*/ 134933 h 166944"/>
                  <a:gd name="connsiteX19" fmla="*/ 121044 w 124516"/>
                  <a:gd name="connsiteY19" fmla="*/ 119555 h 166944"/>
                  <a:gd name="connsiteX20" fmla="*/ 124516 w 124516"/>
                  <a:gd name="connsiteY20" fmla="*/ 104176 h 166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4516" h="166944">
                    <a:moveTo>
                      <a:pt x="57546" y="0"/>
                    </a:moveTo>
                    <a:cubicBezTo>
                      <a:pt x="54073" y="7441"/>
                      <a:pt x="53081" y="6945"/>
                      <a:pt x="49608" y="14386"/>
                    </a:cubicBezTo>
                    <a:cubicBezTo>
                      <a:pt x="46136" y="21827"/>
                      <a:pt x="46136" y="21827"/>
                      <a:pt x="42663" y="29268"/>
                    </a:cubicBezTo>
                    <a:cubicBezTo>
                      <a:pt x="39191" y="36710"/>
                      <a:pt x="38695" y="36214"/>
                      <a:pt x="35222" y="43655"/>
                    </a:cubicBezTo>
                    <a:cubicBezTo>
                      <a:pt x="31750" y="51096"/>
                      <a:pt x="32742" y="51592"/>
                      <a:pt x="29269" y="59033"/>
                    </a:cubicBezTo>
                    <a:cubicBezTo>
                      <a:pt x="25796" y="66474"/>
                      <a:pt x="24804" y="65978"/>
                      <a:pt x="21332" y="73419"/>
                    </a:cubicBezTo>
                    <a:cubicBezTo>
                      <a:pt x="17859" y="80861"/>
                      <a:pt x="18852" y="81357"/>
                      <a:pt x="15379" y="88798"/>
                    </a:cubicBezTo>
                    <a:cubicBezTo>
                      <a:pt x="11907" y="96239"/>
                      <a:pt x="12403" y="96239"/>
                      <a:pt x="8930" y="104176"/>
                    </a:cubicBezTo>
                    <a:cubicBezTo>
                      <a:pt x="5457" y="112114"/>
                      <a:pt x="-1984" y="111121"/>
                      <a:pt x="497" y="119058"/>
                    </a:cubicBezTo>
                    <a:cubicBezTo>
                      <a:pt x="2977" y="126500"/>
                      <a:pt x="8434" y="120547"/>
                      <a:pt x="15875" y="123523"/>
                    </a:cubicBezTo>
                    <a:cubicBezTo>
                      <a:pt x="23316" y="126500"/>
                      <a:pt x="22324" y="127988"/>
                      <a:pt x="29269" y="130964"/>
                    </a:cubicBezTo>
                    <a:cubicBezTo>
                      <a:pt x="36215" y="133941"/>
                      <a:pt x="36710" y="132949"/>
                      <a:pt x="43656" y="135429"/>
                    </a:cubicBezTo>
                    <a:cubicBezTo>
                      <a:pt x="50600" y="138406"/>
                      <a:pt x="50104" y="139894"/>
                      <a:pt x="57050" y="142870"/>
                    </a:cubicBezTo>
                    <a:cubicBezTo>
                      <a:pt x="63995" y="145847"/>
                      <a:pt x="64491" y="145351"/>
                      <a:pt x="71436" y="148327"/>
                    </a:cubicBezTo>
                    <a:cubicBezTo>
                      <a:pt x="78381" y="151303"/>
                      <a:pt x="78877" y="150808"/>
                      <a:pt x="85822" y="153784"/>
                    </a:cubicBezTo>
                    <a:cubicBezTo>
                      <a:pt x="92767" y="156761"/>
                      <a:pt x="92767" y="157257"/>
                      <a:pt x="99712" y="160233"/>
                    </a:cubicBezTo>
                    <a:cubicBezTo>
                      <a:pt x="106657" y="163209"/>
                      <a:pt x="107649" y="169659"/>
                      <a:pt x="114099" y="165690"/>
                    </a:cubicBezTo>
                    <a:cubicBezTo>
                      <a:pt x="121044" y="161722"/>
                      <a:pt x="115090" y="157753"/>
                      <a:pt x="116083" y="150312"/>
                    </a:cubicBezTo>
                    <a:cubicBezTo>
                      <a:pt x="117075" y="142870"/>
                      <a:pt x="116579" y="142374"/>
                      <a:pt x="117571" y="134933"/>
                    </a:cubicBezTo>
                    <a:cubicBezTo>
                      <a:pt x="118563" y="127492"/>
                      <a:pt x="119555" y="127492"/>
                      <a:pt x="121044" y="119555"/>
                    </a:cubicBezTo>
                    <a:cubicBezTo>
                      <a:pt x="122532" y="111617"/>
                      <a:pt x="123524" y="112114"/>
                      <a:pt x="124516" y="10417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4" name="Freeform: Shape 1643">
                <a:extLst>
                  <a:ext uri="{FF2B5EF4-FFF2-40B4-BE49-F238E27FC236}">
                    <a16:creationId xmlns:a16="http://schemas.microsoft.com/office/drawing/2014/main" id="{472FF063-43D4-F290-811C-4383D162E271}"/>
                  </a:ext>
                </a:extLst>
              </p:cNvPr>
              <p:cNvSpPr/>
              <p:nvPr/>
            </p:nvSpPr>
            <p:spPr>
              <a:xfrm>
                <a:off x="6379989" y="5135805"/>
                <a:ext cx="99650" cy="120139"/>
              </a:xfrm>
              <a:custGeom>
                <a:avLst/>
                <a:gdLst>
                  <a:gd name="connsiteX0" fmla="*/ 99650 w 99650"/>
                  <a:gd name="connsiteY0" fmla="*/ 120140 h 120139"/>
                  <a:gd name="connsiteX1" fmla="*/ 90225 w 99650"/>
                  <a:gd name="connsiteY1" fmla="*/ 105754 h 120139"/>
                  <a:gd name="connsiteX2" fmla="*/ 78319 w 99650"/>
                  <a:gd name="connsiteY2" fmla="*/ 93352 h 120139"/>
                  <a:gd name="connsiteX3" fmla="*/ 67901 w 99650"/>
                  <a:gd name="connsiteY3" fmla="*/ 79958 h 120139"/>
                  <a:gd name="connsiteX4" fmla="*/ 56492 w 99650"/>
                  <a:gd name="connsiteY4" fmla="*/ 67060 h 120139"/>
                  <a:gd name="connsiteX5" fmla="*/ 47066 w 99650"/>
                  <a:gd name="connsiteY5" fmla="*/ 52673 h 120139"/>
                  <a:gd name="connsiteX6" fmla="*/ 34664 w 99650"/>
                  <a:gd name="connsiteY6" fmla="*/ 40767 h 120139"/>
                  <a:gd name="connsiteX7" fmla="*/ 23750 w 99650"/>
                  <a:gd name="connsiteY7" fmla="*/ 27870 h 120139"/>
                  <a:gd name="connsiteX8" fmla="*/ 12837 w 99650"/>
                  <a:gd name="connsiteY8" fmla="*/ 14475 h 120139"/>
                  <a:gd name="connsiteX9" fmla="*/ 2915 w 99650"/>
                  <a:gd name="connsiteY9" fmla="*/ 89 h 120139"/>
                  <a:gd name="connsiteX10" fmla="*/ 16806 w 99650"/>
                  <a:gd name="connsiteY10" fmla="*/ 7530 h 120139"/>
                  <a:gd name="connsiteX11" fmla="*/ 31688 w 99650"/>
                  <a:gd name="connsiteY11" fmla="*/ 12491 h 120139"/>
                  <a:gd name="connsiteX12" fmla="*/ 46074 w 99650"/>
                  <a:gd name="connsiteY12" fmla="*/ 18940 h 120139"/>
                  <a:gd name="connsiteX13" fmla="*/ 60956 w 99650"/>
                  <a:gd name="connsiteY13" fmla="*/ 23901 h 120139"/>
                  <a:gd name="connsiteX14" fmla="*/ 74351 w 99650"/>
                  <a:gd name="connsiteY14" fmla="*/ 31838 h 120139"/>
                  <a:gd name="connsiteX15" fmla="*/ 89729 w 99650"/>
                  <a:gd name="connsiteY15" fmla="*/ 36799 h 120139"/>
                  <a:gd name="connsiteX16" fmla="*/ 91713 w 99650"/>
                  <a:gd name="connsiteY16" fmla="*/ 53665 h 120139"/>
                  <a:gd name="connsiteX17" fmla="*/ 92209 w 99650"/>
                  <a:gd name="connsiteY17" fmla="*/ 70532 h 120139"/>
                  <a:gd name="connsiteX18" fmla="*/ 94194 w 99650"/>
                  <a:gd name="connsiteY18" fmla="*/ 87399 h 120139"/>
                  <a:gd name="connsiteX19" fmla="*/ 97666 w 99650"/>
                  <a:gd name="connsiteY19" fmla="*/ 103769 h 120139"/>
                  <a:gd name="connsiteX20" fmla="*/ 99650 w 99650"/>
                  <a:gd name="connsiteY20" fmla="*/ 120140 h 120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99650" h="120139">
                    <a:moveTo>
                      <a:pt x="99650" y="120140"/>
                    </a:moveTo>
                    <a:cubicBezTo>
                      <a:pt x="99650" y="119644"/>
                      <a:pt x="96674" y="113691"/>
                      <a:pt x="90225" y="105754"/>
                    </a:cubicBezTo>
                    <a:cubicBezTo>
                      <a:pt x="87248" y="101785"/>
                      <a:pt x="82288" y="98312"/>
                      <a:pt x="78319" y="93352"/>
                    </a:cubicBezTo>
                    <a:cubicBezTo>
                      <a:pt x="74847" y="89383"/>
                      <a:pt x="71374" y="84423"/>
                      <a:pt x="67901" y="79958"/>
                    </a:cubicBezTo>
                    <a:cubicBezTo>
                      <a:pt x="64429" y="75493"/>
                      <a:pt x="60460" y="71524"/>
                      <a:pt x="56492" y="67060"/>
                    </a:cubicBezTo>
                    <a:cubicBezTo>
                      <a:pt x="53019" y="62595"/>
                      <a:pt x="51035" y="57138"/>
                      <a:pt x="47066" y="52673"/>
                    </a:cubicBezTo>
                    <a:cubicBezTo>
                      <a:pt x="43593" y="48209"/>
                      <a:pt x="38137" y="44736"/>
                      <a:pt x="34664" y="40767"/>
                    </a:cubicBezTo>
                    <a:cubicBezTo>
                      <a:pt x="30695" y="36303"/>
                      <a:pt x="27223" y="31838"/>
                      <a:pt x="23750" y="27870"/>
                    </a:cubicBezTo>
                    <a:cubicBezTo>
                      <a:pt x="19782" y="22909"/>
                      <a:pt x="16309" y="18444"/>
                      <a:pt x="12837" y="14475"/>
                    </a:cubicBezTo>
                    <a:cubicBezTo>
                      <a:pt x="6388" y="6538"/>
                      <a:pt x="-5518" y="-903"/>
                      <a:pt x="2915" y="89"/>
                    </a:cubicBezTo>
                    <a:cubicBezTo>
                      <a:pt x="10852" y="585"/>
                      <a:pt x="9860" y="4554"/>
                      <a:pt x="16806" y="7530"/>
                    </a:cubicBezTo>
                    <a:cubicBezTo>
                      <a:pt x="23750" y="10507"/>
                      <a:pt x="24247" y="9514"/>
                      <a:pt x="31688" y="12491"/>
                    </a:cubicBezTo>
                    <a:cubicBezTo>
                      <a:pt x="38633" y="15468"/>
                      <a:pt x="38633" y="15964"/>
                      <a:pt x="46074" y="18940"/>
                    </a:cubicBezTo>
                    <a:cubicBezTo>
                      <a:pt x="53019" y="21916"/>
                      <a:pt x="53515" y="20924"/>
                      <a:pt x="60956" y="23901"/>
                    </a:cubicBezTo>
                    <a:cubicBezTo>
                      <a:pt x="67901" y="26877"/>
                      <a:pt x="67405" y="28861"/>
                      <a:pt x="74351" y="31838"/>
                    </a:cubicBezTo>
                    <a:cubicBezTo>
                      <a:pt x="81296" y="34815"/>
                      <a:pt x="85264" y="30350"/>
                      <a:pt x="89729" y="36799"/>
                    </a:cubicBezTo>
                    <a:cubicBezTo>
                      <a:pt x="94690" y="43744"/>
                      <a:pt x="90721" y="45728"/>
                      <a:pt x="91713" y="53665"/>
                    </a:cubicBezTo>
                    <a:cubicBezTo>
                      <a:pt x="92705" y="62099"/>
                      <a:pt x="91217" y="62099"/>
                      <a:pt x="92209" y="70532"/>
                    </a:cubicBezTo>
                    <a:cubicBezTo>
                      <a:pt x="93201" y="78965"/>
                      <a:pt x="93201" y="78965"/>
                      <a:pt x="94194" y="87399"/>
                    </a:cubicBezTo>
                    <a:cubicBezTo>
                      <a:pt x="95186" y="95832"/>
                      <a:pt x="96674" y="95832"/>
                      <a:pt x="97666" y="103769"/>
                    </a:cubicBezTo>
                    <a:cubicBezTo>
                      <a:pt x="98659" y="111707"/>
                      <a:pt x="98659" y="112203"/>
                      <a:pt x="99650" y="12014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5" name="Freeform: Shape 1644">
                <a:extLst>
                  <a:ext uri="{FF2B5EF4-FFF2-40B4-BE49-F238E27FC236}">
                    <a16:creationId xmlns:a16="http://schemas.microsoft.com/office/drawing/2014/main" id="{2EB156F1-CCCE-D651-F786-DEB1BFE3C4CD}"/>
                  </a:ext>
                </a:extLst>
              </p:cNvPr>
              <p:cNvSpPr/>
              <p:nvPr/>
            </p:nvSpPr>
            <p:spPr>
              <a:xfrm>
                <a:off x="6270245" y="5125434"/>
                <a:ext cx="138765" cy="59043"/>
              </a:xfrm>
              <a:custGeom>
                <a:avLst/>
                <a:gdLst>
                  <a:gd name="connsiteX0" fmla="*/ 2034 w 138765"/>
                  <a:gd name="connsiteY0" fmla="*/ 47170 h 59043"/>
                  <a:gd name="connsiteX1" fmla="*/ 15429 w 138765"/>
                  <a:gd name="connsiteY1" fmla="*/ 38737 h 59043"/>
                  <a:gd name="connsiteX2" fmla="*/ 29318 w 138765"/>
                  <a:gd name="connsiteY2" fmla="*/ 30799 h 59043"/>
                  <a:gd name="connsiteX3" fmla="*/ 43209 w 138765"/>
                  <a:gd name="connsiteY3" fmla="*/ 22862 h 59043"/>
                  <a:gd name="connsiteX4" fmla="*/ 57099 w 138765"/>
                  <a:gd name="connsiteY4" fmla="*/ 14429 h 59043"/>
                  <a:gd name="connsiteX5" fmla="*/ 71982 w 138765"/>
                  <a:gd name="connsiteY5" fmla="*/ 7980 h 59043"/>
                  <a:gd name="connsiteX6" fmla="*/ 85871 w 138765"/>
                  <a:gd name="connsiteY6" fmla="*/ 42 h 59043"/>
                  <a:gd name="connsiteX7" fmla="*/ 99266 w 138765"/>
                  <a:gd name="connsiteY7" fmla="*/ 6492 h 59043"/>
                  <a:gd name="connsiteX8" fmla="*/ 113156 w 138765"/>
                  <a:gd name="connsiteY8" fmla="*/ 11452 h 59043"/>
                  <a:gd name="connsiteX9" fmla="*/ 126054 w 138765"/>
                  <a:gd name="connsiteY9" fmla="*/ 26335 h 59043"/>
                  <a:gd name="connsiteX10" fmla="*/ 138456 w 138765"/>
                  <a:gd name="connsiteY10" fmla="*/ 41713 h 59043"/>
                  <a:gd name="connsiteX11" fmla="*/ 122085 w 138765"/>
                  <a:gd name="connsiteY11" fmla="*/ 43201 h 59043"/>
                  <a:gd name="connsiteX12" fmla="*/ 105714 w 138765"/>
                  <a:gd name="connsiteY12" fmla="*/ 46178 h 59043"/>
                  <a:gd name="connsiteX13" fmla="*/ 89344 w 138765"/>
                  <a:gd name="connsiteY13" fmla="*/ 49154 h 59043"/>
                  <a:gd name="connsiteX14" fmla="*/ 72477 w 138765"/>
                  <a:gd name="connsiteY14" fmla="*/ 49650 h 59043"/>
                  <a:gd name="connsiteX15" fmla="*/ 55611 w 138765"/>
                  <a:gd name="connsiteY15" fmla="*/ 51635 h 59043"/>
                  <a:gd name="connsiteX16" fmla="*/ 38744 w 138765"/>
                  <a:gd name="connsiteY16" fmla="*/ 53619 h 59043"/>
                  <a:gd name="connsiteX17" fmla="*/ 22374 w 138765"/>
                  <a:gd name="connsiteY17" fmla="*/ 56595 h 59043"/>
                  <a:gd name="connsiteX18" fmla="*/ 6003 w 138765"/>
                  <a:gd name="connsiteY18" fmla="*/ 58580 h 59043"/>
                  <a:gd name="connsiteX19" fmla="*/ 2034 w 138765"/>
                  <a:gd name="connsiteY19" fmla="*/ 47170 h 5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38765" h="59043">
                    <a:moveTo>
                      <a:pt x="2034" y="47170"/>
                    </a:moveTo>
                    <a:cubicBezTo>
                      <a:pt x="5507" y="40225"/>
                      <a:pt x="8483" y="42705"/>
                      <a:pt x="15429" y="38737"/>
                    </a:cubicBezTo>
                    <a:cubicBezTo>
                      <a:pt x="22374" y="34768"/>
                      <a:pt x="22374" y="34768"/>
                      <a:pt x="29318" y="30799"/>
                    </a:cubicBezTo>
                    <a:cubicBezTo>
                      <a:pt x="36264" y="26831"/>
                      <a:pt x="36264" y="26335"/>
                      <a:pt x="43209" y="22862"/>
                    </a:cubicBezTo>
                    <a:cubicBezTo>
                      <a:pt x="50154" y="18894"/>
                      <a:pt x="49658" y="18398"/>
                      <a:pt x="57099" y="14429"/>
                    </a:cubicBezTo>
                    <a:cubicBezTo>
                      <a:pt x="64044" y="10460"/>
                      <a:pt x="65036" y="11948"/>
                      <a:pt x="71982" y="7980"/>
                    </a:cubicBezTo>
                    <a:cubicBezTo>
                      <a:pt x="78926" y="4011"/>
                      <a:pt x="77934" y="539"/>
                      <a:pt x="85871" y="42"/>
                    </a:cubicBezTo>
                    <a:cubicBezTo>
                      <a:pt x="93313" y="-454"/>
                      <a:pt x="92321" y="3515"/>
                      <a:pt x="99266" y="6492"/>
                    </a:cubicBezTo>
                    <a:cubicBezTo>
                      <a:pt x="106210" y="9468"/>
                      <a:pt x="107203" y="6988"/>
                      <a:pt x="113156" y="11452"/>
                    </a:cubicBezTo>
                    <a:cubicBezTo>
                      <a:pt x="121093" y="17902"/>
                      <a:pt x="119605" y="18894"/>
                      <a:pt x="126054" y="26335"/>
                    </a:cubicBezTo>
                    <a:cubicBezTo>
                      <a:pt x="132503" y="33776"/>
                      <a:pt x="140440" y="31791"/>
                      <a:pt x="138456" y="41713"/>
                    </a:cubicBezTo>
                    <a:cubicBezTo>
                      <a:pt x="136472" y="49650"/>
                      <a:pt x="130518" y="42209"/>
                      <a:pt x="122085" y="43201"/>
                    </a:cubicBezTo>
                    <a:cubicBezTo>
                      <a:pt x="113652" y="44193"/>
                      <a:pt x="114148" y="45186"/>
                      <a:pt x="105714" y="46178"/>
                    </a:cubicBezTo>
                    <a:cubicBezTo>
                      <a:pt x="97281" y="47170"/>
                      <a:pt x="97281" y="48162"/>
                      <a:pt x="89344" y="49154"/>
                    </a:cubicBezTo>
                    <a:cubicBezTo>
                      <a:pt x="80911" y="50147"/>
                      <a:pt x="80911" y="48162"/>
                      <a:pt x="72477" y="49650"/>
                    </a:cubicBezTo>
                    <a:cubicBezTo>
                      <a:pt x="64044" y="50643"/>
                      <a:pt x="64044" y="50643"/>
                      <a:pt x="55611" y="51635"/>
                    </a:cubicBezTo>
                    <a:cubicBezTo>
                      <a:pt x="47178" y="52627"/>
                      <a:pt x="47178" y="52627"/>
                      <a:pt x="38744" y="53619"/>
                    </a:cubicBezTo>
                    <a:cubicBezTo>
                      <a:pt x="30311" y="54611"/>
                      <a:pt x="30311" y="55107"/>
                      <a:pt x="22374" y="56595"/>
                    </a:cubicBezTo>
                    <a:cubicBezTo>
                      <a:pt x="13940" y="57588"/>
                      <a:pt x="14436" y="60068"/>
                      <a:pt x="6003" y="58580"/>
                    </a:cubicBezTo>
                    <a:cubicBezTo>
                      <a:pt x="-1438" y="57588"/>
                      <a:pt x="-942" y="53123"/>
                      <a:pt x="2034" y="4717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6" name="Freeform: Shape 1645">
                <a:extLst>
                  <a:ext uri="{FF2B5EF4-FFF2-40B4-BE49-F238E27FC236}">
                    <a16:creationId xmlns:a16="http://schemas.microsoft.com/office/drawing/2014/main" id="{AA76A9F7-2960-EF49-ECB3-C95679A7B116}"/>
                  </a:ext>
                </a:extLst>
              </p:cNvPr>
              <p:cNvSpPr/>
              <p:nvPr/>
            </p:nvSpPr>
            <p:spPr>
              <a:xfrm>
                <a:off x="6456324" y="5052553"/>
                <a:ext cx="103405" cy="110416"/>
              </a:xfrm>
              <a:custGeom>
                <a:avLst/>
                <a:gdLst>
                  <a:gd name="connsiteX0" fmla="*/ 0 w 103405"/>
                  <a:gd name="connsiteY0" fmla="*/ 44151 h 110416"/>
                  <a:gd name="connsiteX1" fmla="*/ 12898 w 103405"/>
                  <a:gd name="connsiteY1" fmla="*/ 52088 h 110416"/>
                  <a:gd name="connsiteX2" fmla="*/ 25796 w 103405"/>
                  <a:gd name="connsiteY2" fmla="*/ 60025 h 110416"/>
                  <a:gd name="connsiteX3" fmla="*/ 38694 w 103405"/>
                  <a:gd name="connsiteY3" fmla="*/ 68459 h 110416"/>
                  <a:gd name="connsiteX4" fmla="*/ 51592 w 103405"/>
                  <a:gd name="connsiteY4" fmla="*/ 76396 h 110416"/>
                  <a:gd name="connsiteX5" fmla="*/ 64986 w 103405"/>
                  <a:gd name="connsiteY5" fmla="*/ 83837 h 110416"/>
                  <a:gd name="connsiteX6" fmla="*/ 76892 w 103405"/>
                  <a:gd name="connsiteY6" fmla="*/ 93263 h 110416"/>
                  <a:gd name="connsiteX7" fmla="*/ 89790 w 103405"/>
                  <a:gd name="connsiteY7" fmla="*/ 101696 h 110416"/>
                  <a:gd name="connsiteX8" fmla="*/ 102192 w 103405"/>
                  <a:gd name="connsiteY8" fmla="*/ 108145 h 110416"/>
                  <a:gd name="connsiteX9" fmla="*/ 92766 w 103405"/>
                  <a:gd name="connsiteY9" fmla="*/ 96735 h 110416"/>
                  <a:gd name="connsiteX10" fmla="*/ 82349 w 103405"/>
                  <a:gd name="connsiteY10" fmla="*/ 84829 h 110416"/>
                  <a:gd name="connsiteX11" fmla="*/ 72427 w 103405"/>
                  <a:gd name="connsiteY11" fmla="*/ 72427 h 110416"/>
                  <a:gd name="connsiteX12" fmla="*/ 62010 w 103405"/>
                  <a:gd name="connsiteY12" fmla="*/ 60521 h 110416"/>
                  <a:gd name="connsiteX13" fmla="*/ 52584 w 103405"/>
                  <a:gd name="connsiteY13" fmla="*/ 47623 h 110416"/>
                  <a:gd name="connsiteX14" fmla="*/ 41174 w 103405"/>
                  <a:gd name="connsiteY14" fmla="*/ 36214 h 110416"/>
                  <a:gd name="connsiteX15" fmla="*/ 31253 w 103405"/>
                  <a:gd name="connsiteY15" fmla="*/ 23812 h 110416"/>
                  <a:gd name="connsiteX16" fmla="*/ 21331 w 103405"/>
                  <a:gd name="connsiteY16" fmla="*/ 11410 h 110416"/>
                  <a:gd name="connsiteX17" fmla="*/ 10418 w 103405"/>
                  <a:gd name="connsiteY17" fmla="*/ 0 h 110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3405" h="110416">
                    <a:moveTo>
                      <a:pt x="0" y="44151"/>
                    </a:moveTo>
                    <a:cubicBezTo>
                      <a:pt x="6449" y="48119"/>
                      <a:pt x="6449" y="48119"/>
                      <a:pt x="12898" y="52088"/>
                    </a:cubicBezTo>
                    <a:cubicBezTo>
                      <a:pt x="19347" y="56057"/>
                      <a:pt x="19347" y="56057"/>
                      <a:pt x="25796" y="60025"/>
                    </a:cubicBezTo>
                    <a:cubicBezTo>
                      <a:pt x="32245" y="63994"/>
                      <a:pt x="32245" y="64490"/>
                      <a:pt x="38694" y="68459"/>
                    </a:cubicBezTo>
                    <a:cubicBezTo>
                      <a:pt x="45143" y="72427"/>
                      <a:pt x="45143" y="72427"/>
                      <a:pt x="51592" y="76396"/>
                    </a:cubicBezTo>
                    <a:cubicBezTo>
                      <a:pt x="58041" y="80364"/>
                      <a:pt x="58537" y="79868"/>
                      <a:pt x="64986" y="83837"/>
                    </a:cubicBezTo>
                    <a:cubicBezTo>
                      <a:pt x="71435" y="87806"/>
                      <a:pt x="70443" y="89294"/>
                      <a:pt x="76892" y="93263"/>
                    </a:cubicBezTo>
                    <a:cubicBezTo>
                      <a:pt x="83341" y="97231"/>
                      <a:pt x="83341" y="97727"/>
                      <a:pt x="89790" y="101696"/>
                    </a:cubicBezTo>
                    <a:cubicBezTo>
                      <a:pt x="96239" y="105665"/>
                      <a:pt x="98223" y="114594"/>
                      <a:pt x="102192" y="108145"/>
                    </a:cubicBezTo>
                    <a:cubicBezTo>
                      <a:pt x="106657" y="101696"/>
                      <a:pt x="97727" y="102688"/>
                      <a:pt x="92766" y="96735"/>
                    </a:cubicBezTo>
                    <a:cubicBezTo>
                      <a:pt x="87806" y="90783"/>
                      <a:pt x="87310" y="90783"/>
                      <a:pt x="82349" y="84829"/>
                    </a:cubicBezTo>
                    <a:cubicBezTo>
                      <a:pt x="77388" y="78877"/>
                      <a:pt x="77388" y="78381"/>
                      <a:pt x="72427" y="72427"/>
                    </a:cubicBezTo>
                    <a:cubicBezTo>
                      <a:pt x="67466" y="66475"/>
                      <a:pt x="66971" y="66475"/>
                      <a:pt x="62010" y="60521"/>
                    </a:cubicBezTo>
                    <a:cubicBezTo>
                      <a:pt x="57049" y="54569"/>
                      <a:pt x="58041" y="53577"/>
                      <a:pt x="52584" y="47623"/>
                    </a:cubicBezTo>
                    <a:cubicBezTo>
                      <a:pt x="47623" y="41671"/>
                      <a:pt x="46631" y="42663"/>
                      <a:pt x="41174" y="36214"/>
                    </a:cubicBezTo>
                    <a:cubicBezTo>
                      <a:pt x="36213" y="30261"/>
                      <a:pt x="36213" y="29765"/>
                      <a:pt x="31253" y="23812"/>
                    </a:cubicBezTo>
                    <a:cubicBezTo>
                      <a:pt x="26292" y="17859"/>
                      <a:pt x="26292" y="17363"/>
                      <a:pt x="21331" y="11410"/>
                    </a:cubicBezTo>
                    <a:cubicBezTo>
                      <a:pt x="16370" y="5457"/>
                      <a:pt x="15378" y="5953"/>
                      <a:pt x="10418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7" name="Freeform: Shape 1646">
                <a:extLst>
                  <a:ext uri="{FF2B5EF4-FFF2-40B4-BE49-F238E27FC236}">
                    <a16:creationId xmlns:a16="http://schemas.microsoft.com/office/drawing/2014/main" id="{BA9C0309-618A-B0A4-3176-509C151EBDC7}"/>
                  </a:ext>
                </a:extLst>
              </p:cNvPr>
              <p:cNvSpPr/>
              <p:nvPr/>
            </p:nvSpPr>
            <p:spPr>
              <a:xfrm>
                <a:off x="6511885" y="5039655"/>
                <a:ext cx="98719" cy="75899"/>
              </a:xfrm>
              <a:custGeom>
                <a:avLst/>
                <a:gdLst>
                  <a:gd name="connsiteX0" fmla="*/ 12898 w 98719"/>
                  <a:gd name="connsiteY0" fmla="*/ 0 h 75899"/>
                  <a:gd name="connsiteX1" fmla="*/ 26292 w 98719"/>
                  <a:gd name="connsiteY1" fmla="*/ 9922 h 75899"/>
                  <a:gd name="connsiteX2" fmla="*/ 38198 w 98719"/>
                  <a:gd name="connsiteY2" fmla="*/ 20835 h 75899"/>
                  <a:gd name="connsiteX3" fmla="*/ 50104 w 98719"/>
                  <a:gd name="connsiteY3" fmla="*/ 31749 h 75899"/>
                  <a:gd name="connsiteX4" fmla="*/ 62010 w 98719"/>
                  <a:gd name="connsiteY4" fmla="*/ 43159 h 75899"/>
                  <a:gd name="connsiteX5" fmla="*/ 74412 w 98719"/>
                  <a:gd name="connsiteY5" fmla="*/ 53576 h 75899"/>
                  <a:gd name="connsiteX6" fmla="*/ 87310 w 98719"/>
                  <a:gd name="connsiteY6" fmla="*/ 63994 h 75899"/>
                  <a:gd name="connsiteX7" fmla="*/ 98720 w 98719"/>
                  <a:gd name="connsiteY7" fmla="*/ 75900 h 75899"/>
                  <a:gd name="connsiteX8" fmla="*/ 82349 w 98719"/>
                  <a:gd name="connsiteY8" fmla="*/ 69947 h 75899"/>
                  <a:gd name="connsiteX9" fmla="*/ 65979 w 98719"/>
                  <a:gd name="connsiteY9" fmla="*/ 63994 h 75899"/>
                  <a:gd name="connsiteX10" fmla="*/ 49112 w 98719"/>
                  <a:gd name="connsiteY10" fmla="*/ 59529 h 75899"/>
                  <a:gd name="connsiteX11" fmla="*/ 32741 w 98719"/>
                  <a:gd name="connsiteY11" fmla="*/ 53080 h 75899"/>
                  <a:gd name="connsiteX12" fmla="*/ 16371 w 98719"/>
                  <a:gd name="connsiteY12" fmla="*/ 46135 h 75899"/>
                  <a:gd name="connsiteX13" fmla="*/ 0 w 98719"/>
                  <a:gd name="connsiteY13" fmla="*/ 40182 h 75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8719" h="75899">
                    <a:moveTo>
                      <a:pt x="12898" y="0"/>
                    </a:moveTo>
                    <a:cubicBezTo>
                      <a:pt x="18851" y="5457"/>
                      <a:pt x="18851" y="2976"/>
                      <a:pt x="26292" y="9922"/>
                    </a:cubicBezTo>
                    <a:cubicBezTo>
                      <a:pt x="29765" y="12898"/>
                      <a:pt x="33734" y="16866"/>
                      <a:pt x="38198" y="20835"/>
                    </a:cubicBezTo>
                    <a:cubicBezTo>
                      <a:pt x="42167" y="24308"/>
                      <a:pt x="46135" y="28276"/>
                      <a:pt x="50104" y="31749"/>
                    </a:cubicBezTo>
                    <a:cubicBezTo>
                      <a:pt x="54073" y="35221"/>
                      <a:pt x="58041" y="39686"/>
                      <a:pt x="62010" y="43159"/>
                    </a:cubicBezTo>
                    <a:cubicBezTo>
                      <a:pt x="65979" y="47127"/>
                      <a:pt x="70939" y="50104"/>
                      <a:pt x="74412" y="53576"/>
                    </a:cubicBezTo>
                    <a:cubicBezTo>
                      <a:pt x="78877" y="57545"/>
                      <a:pt x="83837" y="60521"/>
                      <a:pt x="87310" y="63994"/>
                    </a:cubicBezTo>
                    <a:cubicBezTo>
                      <a:pt x="94751" y="70939"/>
                      <a:pt x="98720" y="75900"/>
                      <a:pt x="98720" y="75900"/>
                    </a:cubicBezTo>
                    <a:cubicBezTo>
                      <a:pt x="98224" y="75900"/>
                      <a:pt x="91774" y="72923"/>
                      <a:pt x="82349" y="69947"/>
                    </a:cubicBezTo>
                    <a:cubicBezTo>
                      <a:pt x="77388" y="68458"/>
                      <a:pt x="71931" y="65978"/>
                      <a:pt x="65979" y="63994"/>
                    </a:cubicBezTo>
                    <a:cubicBezTo>
                      <a:pt x="60521" y="62010"/>
                      <a:pt x="54569" y="61514"/>
                      <a:pt x="49112" y="59529"/>
                    </a:cubicBezTo>
                    <a:cubicBezTo>
                      <a:pt x="43655" y="57545"/>
                      <a:pt x="38198" y="55065"/>
                      <a:pt x="32741" y="53080"/>
                    </a:cubicBezTo>
                    <a:cubicBezTo>
                      <a:pt x="26788" y="51096"/>
                      <a:pt x="21332" y="48119"/>
                      <a:pt x="16371" y="46135"/>
                    </a:cubicBezTo>
                    <a:cubicBezTo>
                      <a:pt x="6449" y="42663"/>
                      <a:pt x="8433" y="43159"/>
                      <a:pt x="0" y="4018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93" name="Graphic 10">
              <a:extLst>
                <a:ext uri="{FF2B5EF4-FFF2-40B4-BE49-F238E27FC236}">
                  <a16:creationId xmlns:a16="http://schemas.microsoft.com/office/drawing/2014/main" id="{9AFF9592-5811-C6B4-38A8-A7369305B6EC}"/>
                </a:ext>
              </a:extLst>
            </p:cNvPr>
            <p:cNvGrpSpPr/>
            <p:nvPr/>
          </p:nvGrpSpPr>
          <p:grpSpPr>
            <a:xfrm>
              <a:off x="4501146" y="2464561"/>
              <a:ext cx="363478" cy="393122"/>
              <a:chOff x="4501146" y="2464561"/>
              <a:chExt cx="363478" cy="393122"/>
            </a:xfrm>
            <a:noFill/>
          </p:grpSpPr>
          <p:sp>
            <p:nvSpPr>
              <p:cNvPr id="1627" name="Freeform: Shape 1626">
                <a:extLst>
                  <a:ext uri="{FF2B5EF4-FFF2-40B4-BE49-F238E27FC236}">
                    <a16:creationId xmlns:a16="http://schemas.microsoft.com/office/drawing/2014/main" id="{CA3FE3F1-FEC1-59E1-DF6B-2D6521F39078}"/>
                  </a:ext>
                </a:extLst>
              </p:cNvPr>
              <p:cNvSpPr/>
              <p:nvPr/>
            </p:nvSpPr>
            <p:spPr>
              <a:xfrm>
                <a:off x="4516359" y="2464561"/>
                <a:ext cx="334983" cy="333547"/>
              </a:xfrm>
              <a:custGeom>
                <a:avLst/>
                <a:gdLst>
                  <a:gd name="connsiteX0" fmla="*/ 331680 w 334983"/>
                  <a:gd name="connsiteY0" fmla="*/ 331333 h 333547"/>
                  <a:gd name="connsiteX1" fmla="*/ 314318 w 334983"/>
                  <a:gd name="connsiteY1" fmla="*/ 329349 h 333547"/>
                  <a:gd name="connsiteX2" fmla="*/ 297947 w 334983"/>
                  <a:gd name="connsiteY2" fmla="*/ 329845 h 333547"/>
                  <a:gd name="connsiteX3" fmla="*/ 281577 w 334983"/>
                  <a:gd name="connsiteY3" fmla="*/ 330341 h 333547"/>
                  <a:gd name="connsiteX4" fmla="*/ 265206 w 334983"/>
                  <a:gd name="connsiteY4" fmla="*/ 329845 h 333547"/>
                  <a:gd name="connsiteX5" fmla="*/ 248836 w 334983"/>
                  <a:gd name="connsiteY5" fmla="*/ 330341 h 333547"/>
                  <a:gd name="connsiteX6" fmla="*/ 232465 w 334983"/>
                  <a:gd name="connsiteY6" fmla="*/ 330341 h 333547"/>
                  <a:gd name="connsiteX7" fmla="*/ 216094 w 334983"/>
                  <a:gd name="connsiteY7" fmla="*/ 330837 h 333547"/>
                  <a:gd name="connsiteX8" fmla="*/ 199724 w 334983"/>
                  <a:gd name="connsiteY8" fmla="*/ 330837 h 333547"/>
                  <a:gd name="connsiteX9" fmla="*/ 183353 w 334983"/>
                  <a:gd name="connsiteY9" fmla="*/ 331333 h 333547"/>
                  <a:gd name="connsiteX10" fmla="*/ 166983 w 334983"/>
                  <a:gd name="connsiteY10" fmla="*/ 331333 h 333547"/>
                  <a:gd name="connsiteX11" fmla="*/ 150612 w 334983"/>
                  <a:gd name="connsiteY11" fmla="*/ 331333 h 333547"/>
                  <a:gd name="connsiteX12" fmla="*/ 134241 w 334983"/>
                  <a:gd name="connsiteY12" fmla="*/ 331830 h 333547"/>
                  <a:gd name="connsiteX13" fmla="*/ 117871 w 334983"/>
                  <a:gd name="connsiteY13" fmla="*/ 330341 h 333547"/>
                  <a:gd name="connsiteX14" fmla="*/ 101500 w 334983"/>
                  <a:gd name="connsiteY14" fmla="*/ 330341 h 333547"/>
                  <a:gd name="connsiteX15" fmla="*/ 85130 w 334983"/>
                  <a:gd name="connsiteY15" fmla="*/ 329845 h 333547"/>
                  <a:gd name="connsiteX16" fmla="*/ 68759 w 334983"/>
                  <a:gd name="connsiteY16" fmla="*/ 330837 h 333547"/>
                  <a:gd name="connsiteX17" fmla="*/ 52389 w 334983"/>
                  <a:gd name="connsiteY17" fmla="*/ 331333 h 333547"/>
                  <a:gd name="connsiteX18" fmla="*/ 36018 w 334983"/>
                  <a:gd name="connsiteY18" fmla="*/ 329349 h 333547"/>
                  <a:gd name="connsiteX19" fmla="*/ 19648 w 334983"/>
                  <a:gd name="connsiteY19" fmla="*/ 329845 h 333547"/>
                  <a:gd name="connsiteX20" fmla="*/ 3773 w 334983"/>
                  <a:gd name="connsiteY20" fmla="*/ 329845 h 333547"/>
                  <a:gd name="connsiteX21" fmla="*/ 2781 w 334983"/>
                  <a:gd name="connsiteY21" fmla="*/ 313971 h 333547"/>
                  <a:gd name="connsiteX22" fmla="*/ 2285 w 334983"/>
                  <a:gd name="connsiteY22" fmla="*/ 297600 h 333547"/>
                  <a:gd name="connsiteX23" fmla="*/ 1789 w 334983"/>
                  <a:gd name="connsiteY23" fmla="*/ 281230 h 333547"/>
                  <a:gd name="connsiteX24" fmla="*/ 3277 w 334983"/>
                  <a:gd name="connsiteY24" fmla="*/ 264859 h 333547"/>
                  <a:gd name="connsiteX25" fmla="*/ 3277 w 334983"/>
                  <a:gd name="connsiteY25" fmla="*/ 248489 h 333547"/>
                  <a:gd name="connsiteX26" fmla="*/ 2285 w 334983"/>
                  <a:gd name="connsiteY26" fmla="*/ 232118 h 333547"/>
                  <a:gd name="connsiteX27" fmla="*/ 4269 w 334983"/>
                  <a:gd name="connsiteY27" fmla="*/ 215747 h 333547"/>
                  <a:gd name="connsiteX28" fmla="*/ 4269 w 334983"/>
                  <a:gd name="connsiteY28" fmla="*/ 199377 h 333547"/>
                  <a:gd name="connsiteX29" fmla="*/ 3277 w 334983"/>
                  <a:gd name="connsiteY29" fmla="*/ 183006 h 333547"/>
                  <a:gd name="connsiteX30" fmla="*/ 2285 w 334983"/>
                  <a:gd name="connsiteY30" fmla="*/ 166636 h 333547"/>
                  <a:gd name="connsiteX31" fmla="*/ 4269 w 334983"/>
                  <a:gd name="connsiteY31" fmla="*/ 150265 h 333547"/>
                  <a:gd name="connsiteX32" fmla="*/ 1789 w 334983"/>
                  <a:gd name="connsiteY32" fmla="*/ 133894 h 333547"/>
                  <a:gd name="connsiteX33" fmla="*/ 2781 w 334983"/>
                  <a:gd name="connsiteY33" fmla="*/ 117524 h 333547"/>
                  <a:gd name="connsiteX34" fmla="*/ 2781 w 334983"/>
                  <a:gd name="connsiteY34" fmla="*/ 101153 h 333547"/>
                  <a:gd name="connsiteX35" fmla="*/ 3277 w 334983"/>
                  <a:gd name="connsiteY35" fmla="*/ 84783 h 333547"/>
                  <a:gd name="connsiteX36" fmla="*/ 3773 w 334983"/>
                  <a:gd name="connsiteY36" fmla="*/ 68412 h 333547"/>
                  <a:gd name="connsiteX37" fmla="*/ 1789 w 334983"/>
                  <a:gd name="connsiteY37" fmla="*/ 52042 h 333547"/>
                  <a:gd name="connsiteX38" fmla="*/ 3773 w 334983"/>
                  <a:gd name="connsiteY38" fmla="*/ 35671 h 333547"/>
                  <a:gd name="connsiteX39" fmla="*/ 2285 w 334983"/>
                  <a:gd name="connsiteY39" fmla="*/ 19301 h 333547"/>
                  <a:gd name="connsiteX40" fmla="*/ 2781 w 334983"/>
                  <a:gd name="connsiteY40" fmla="*/ 2930 h 333547"/>
                  <a:gd name="connsiteX41" fmla="*/ 19151 w 334983"/>
                  <a:gd name="connsiteY41" fmla="*/ 1938 h 333547"/>
                  <a:gd name="connsiteX42" fmla="*/ 35522 w 334983"/>
                  <a:gd name="connsiteY42" fmla="*/ 2434 h 333547"/>
                  <a:gd name="connsiteX43" fmla="*/ 51893 w 334983"/>
                  <a:gd name="connsiteY43" fmla="*/ 1938 h 333547"/>
                  <a:gd name="connsiteX44" fmla="*/ 68263 w 334983"/>
                  <a:gd name="connsiteY44" fmla="*/ 1938 h 333547"/>
                  <a:gd name="connsiteX45" fmla="*/ 84634 w 334983"/>
                  <a:gd name="connsiteY45" fmla="*/ 2930 h 333547"/>
                  <a:gd name="connsiteX46" fmla="*/ 101004 w 334983"/>
                  <a:gd name="connsiteY46" fmla="*/ 2434 h 333547"/>
                  <a:gd name="connsiteX47" fmla="*/ 117375 w 334983"/>
                  <a:gd name="connsiteY47" fmla="*/ 2930 h 333547"/>
                  <a:gd name="connsiteX48" fmla="*/ 133745 w 334983"/>
                  <a:gd name="connsiteY48" fmla="*/ 2434 h 333547"/>
                  <a:gd name="connsiteX49" fmla="*/ 150116 w 334983"/>
                  <a:gd name="connsiteY49" fmla="*/ 4418 h 333547"/>
                  <a:gd name="connsiteX50" fmla="*/ 166486 w 334983"/>
                  <a:gd name="connsiteY50" fmla="*/ 3426 h 333547"/>
                  <a:gd name="connsiteX51" fmla="*/ 182857 w 334983"/>
                  <a:gd name="connsiteY51" fmla="*/ 3426 h 333547"/>
                  <a:gd name="connsiteX52" fmla="*/ 199228 w 334983"/>
                  <a:gd name="connsiteY52" fmla="*/ 2434 h 333547"/>
                  <a:gd name="connsiteX53" fmla="*/ 215598 w 334983"/>
                  <a:gd name="connsiteY53" fmla="*/ 2434 h 333547"/>
                  <a:gd name="connsiteX54" fmla="*/ 231969 w 334983"/>
                  <a:gd name="connsiteY54" fmla="*/ 3922 h 333547"/>
                  <a:gd name="connsiteX55" fmla="*/ 248339 w 334983"/>
                  <a:gd name="connsiteY55" fmla="*/ 3922 h 333547"/>
                  <a:gd name="connsiteX56" fmla="*/ 264710 w 334983"/>
                  <a:gd name="connsiteY56" fmla="*/ 3922 h 333547"/>
                  <a:gd name="connsiteX57" fmla="*/ 281081 w 334983"/>
                  <a:gd name="connsiteY57" fmla="*/ 2930 h 333547"/>
                  <a:gd name="connsiteX58" fmla="*/ 297451 w 334983"/>
                  <a:gd name="connsiteY58" fmla="*/ 4418 h 333547"/>
                  <a:gd name="connsiteX59" fmla="*/ 313822 w 334983"/>
                  <a:gd name="connsiteY59" fmla="*/ 2930 h 333547"/>
                  <a:gd name="connsiteX60" fmla="*/ 330688 w 334983"/>
                  <a:gd name="connsiteY60" fmla="*/ 2930 h 333547"/>
                  <a:gd name="connsiteX61" fmla="*/ 330688 w 334983"/>
                  <a:gd name="connsiteY61" fmla="*/ 19797 h 333547"/>
                  <a:gd name="connsiteX62" fmla="*/ 331680 w 334983"/>
                  <a:gd name="connsiteY62" fmla="*/ 36167 h 333547"/>
                  <a:gd name="connsiteX63" fmla="*/ 331184 w 334983"/>
                  <a:gd name="connsiteY63" fmla="*/ 52538 h 333547"/>
                  <a:gd name="connsiteX64" fmla="*/ 329696 w 334983"/>
                  <a:gd name="connsiteY64" fmla="*/ 68908 h 333547"/>
                  <a:gd name="connsiteX65" fmla="*/ 329696 w 334983"/>
                  <a:gd name="connsiteY65" fmla="*/ 85279 h 333547"/>
                  <a:gd name="connsiteX66" fmla="*/ 329696 w 334983"/>
                  <a:gd name="connsiteY66" fmla="*/ 101649 h 333547"/>
                  <a:gd name="connsiteX67" fmla="*/ 331184 w 334983"/>
                  <a:gd name="connsiteY67" fmla="*/ 118020 h 333547"/>
                  <a:gd name="connsiteX68" fmla="*/ 329200 w 334983"/>
                  <a:gd name="connsiteY68" fmla="*/ 134391 h 333547"/>
                  <a:gd name="connsiteX69" fmla="*/ 330192 w 334983"/>
                  <a:gd name="connsiteY69" fmla="*/ 150761 h 333547"/>
                  <a:gd name="connsiteX70" fmla="*/ 328704 w 334983"/>
                  <a:gd name="connsiteY70" fmla="*/ 167132 h 333547"/>
                  <a:gd name="connsiteX71" fmla="*/ 328704 w 334983"/>
                  <a:gd name="connsiteY71" fmla="*/ 183502 h 333547"/>
                  <a:gd name="connsiteX72" fmla="*/ 328704 w 334983"/>
                  <a:gd name="connsiteY72" fmla="*/ 199873 h 333547"/>
                  <a:gd name="connsiteX73" fmla="*/ 329696 w 334983"/>
                  <a:gd name="connsiteY73" fmla="*/ 216244 h 333547"/>
                  <a:gd name="connsiteX74" fmla="*/ 330192 w 334983"/>
                  <a:gd name="connsiteY74" fmla="*/ 232614 h 333547"/>
                  <a:gd name="connsiteX75" fmla="*/ 328704 w 334983"/>
                  <a:gd name="connsiteY75" fmla="*/ 248985 h 333547"/>
                  <a:gd name="connsiteX76" fmla="*/ 328208 w 334983"/>
                  <a:gd name="connsiteY76" fmla="*/ 265355 h 333547"/>
                  <a:gd name="connsiteX77" fmla="*/ 329200 w 334983"/>
                  <a:gd name="connsiteY77" fmla="*/ 281726 h 333547"/>
                  <a:gd name="connsiteX78" fmla="*/ 328704 w 334983"/>
                  <a:gd name="connsiteY78" fmla="*/ 298096 h 333547"/>
                  <a:gd name="connsiteX79" fmla="*/ 329696 w 334983"/>
                  <a:gd name="connsiteY79" fmla="*/ 314467 h 333547"/>
                  <a:gd name="connsiteX80" fmla="*/ 331680 w 334983"/>
                  <a:gd name="connsiteY80" fmla="*/ 331333 h 33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4983" h="333547">
                    <a:moveTo>
                      <a:pt x="331680" y="331333"/>
                    </a:moveTo>
                    <a:cubicBezTo>
                      <a:pt x="325728" y="337286"/>
                      <a:pt x="322751" y="329349"/>
                      <a:pt x="314318" y="329349"/>
                    </a:cubicBezTo>
                    <a:cubicBezTo>
                      <a:pt x="305885" y="329349"/>
                      <a:pt x="305885" y="329845"/>
                      <a:pt x="297947" y="329845"/>
                    </a:cubicBezTo>
                    <a:cubicBezTo>
                      <a:pt x="289514" y="329845"/>
                      <a:pt x="289514" y="330341"/>
                      <a:pt x="281577" y="330341"/>
                    </a:cubicBezTo>
                    <a:cubicBezTo>
                      <a:pt x="273143" y="330341"/>
                      <a:pt x="273143" y="329845"/>
                      <a:pt x="265206" y="329845"/>
                    </a:cubicBezTo>
                    <a:cubicBezTo>
                      <a:pt x="256773" y="329845"/>
                      <a:pt x="256773" y="330341"/>
                      <a:pt x="248836" y="330341"/>
                    </a:cubicBezTo>
                    <a:cubicBezTo>
                      <a:pt x="240402" y="330341"/>
                      <a:pt x="240402" y="330341"/>
                      <a:pt x="232465" y="330341"/>
                    </a:cubicBezTo>
                    <a:cubicBezTo>
                      <a:pt x="224032" y="330341"/>
                      <a:pt x="224032" y="330837"/>
                      <a:pt x="216094" y="330837"/>
                    </a:cubicBezTo>
                    <a:cubicBezTo>
                      <a:pt x="207661" y="330837"/>
                      <a:pt x="207661" y="330837"/>
                      <a:pt x="199724" y="330837"/>
                    </a:cubicBezTo>
                    <a:cubicBezTo>
                      <a:pt x="191290" y="330837"/>
                      <a:pt x="191290" y="331333"/>
                      <a:pt x="183353" y="331333"/>
                    </a:cubicBezTo>
                    <a:cubicBezTo>
                      <a:pt x="174920" y="331333"/>
                      <a:pt x="174920" y="331333"/>
                      <a:pt x="166983" y="331333"/>
                    </a:cubicBezTo>
                    <a:cubicBezTo>
                      <a:pt x="158549" y="331333"/>
                      <a:pt x="158549" y="331333"/>
                      <a:pt x="150612" y="331333"/>
                    </a:cubicBezTo>
                    <a:cubicBezTo>
                      <a:pt x="142179" y="331333"/>
                      <a:pt x="142179" y="331830"/>
                      <a:pt x="134241" y="331830"/>
                    </a:cubicBezTo>
                    <a:cubicBezTo>
                      <a:pt x="125808" y="331830"/>
                      <a:pt x="125808" y="330341"/>
                      <a:pt x="117871" y="330341"/>
                    </a:cubicBezTo>
                    <a:cubicBezTo>
                      <a:pt x="109934" y="330341"/>
                      <a:pt x="109438" y="330341"/>
                      <a:pt x="101500" y="330341"/>
                    </a:cubicBezTo>
                    <a:cubicBezTo>
                      <a:pt x="93067" y="330341"/>
                      <a:pt x="93067" y="329845"/>
                      <a:pt x="85130" y="329845"/>
                    </a:cubicBezTo>
                    <a:cubicBezTo>
                      <a:pt x="76697" y="329845"/>
                      <a:pt x="76697" y="330837"/>
                      <a:pt x="68759" y="330837"/>
                    </a:cubicBezTo>
                    <a:cubicBezTo>
                      <a:pt x="60326" y="330837"/>
                      <a:pt x="60326" y="331333"/>
                      <a:pt x="52389" y="331333"/>
                    </a:cubicBezTo>
                    <a:cubicBezTo>
                      <a:pt x="43955" y="331333"/>
                      <a:pt x="43955" y="329349"/>
                      <a:pt x="36018" y="329349"/>
                    </a:cubicBezTo>
                    <a:cubicBezTo>
                      <a:pt x="27585" y="329349"/>
                      <a:pt x="27585" y="329845"/>
                      <a:pt x="19648" y="329845"/>
                    </a:cubicBezTo>
                    <a:cubicBezTo>
                      <a:pt x="11214" y="329845"/>
                      <a:pt x="9726" y="335302"/>
                      <a:pt x="3773" y="329845"/>
                    </a:cubicBezTo>
                    <a:cubicBezTo>
                      <a:pt x="-2180" y="323892"/>
                      <a:pt x="2781" y="322404"/>
                      <a:pt x="2781" y="313971"/>
                    </a:cubicBezTo>
                    <a:cubicBezTo>
                      <a:pt x="2781" y="305538"/>
                      <a:pt x="2285" y="305538"/>
                      <a:pt x="2285" y="297600"/>
                    </a:cubicBezTo>
                    <a:cubicBezTo>
                      <a:pt x="2285" y="289167"/>
                      <a:pt x="1789" y="289167"/>
                      <a:pt x="1789" y="281230"/>
                    </a:cubicBezTo>
                    <a:cubicBezTo>
                      <a:pt x="1789" y="272796"/>
                      <a:pt x="3277" y="272796"/>
                      <a:pt x="3277" y="264859"/>
                    </a:cubicBezTo>
                    <a:cubicBezTo>
                      <a:pt x="3277" y="256426"/>
                      <a:pt x="3277" y="256426"/>
                      <a:pt x="3277" y="248489"/>
                    </a:cubicBezTo>
                    <a:cubicBezTo>
                      <a:pt x="3277" y="240055"/>
                      <a:pt x="2285" y="240055"/>
                      <a:pt x="2285" y="232118"/>
                    </a:cubicBezTo>
                    <a:cubicBezTo>
                      <a:pt x="2285" y="223685"/>
                      <a:pt x="4269" y="223685"/>
                      <a:pt x="4269" y="215747"/>
                    </a:cubicBezTo>
                    <a:cubicBezTo>
                      <a:pt x="4269" y="207314"/>
                      <a:pt x="4269" y="207314"/>
                      <a:pt x="4269" y="199377"/>
                    </a:cubicBezTo>
                    <a:cubicBezTo>
                      <a:pt x="4269" y="190943"/>
                      <a:pt x="3277" y="190943"/>
                      <a:pt x="3277" y="183006"/>
                    </a:cubicBezTo>
                    <a:cubicBezTo>
                      <a:pt x="3277" y="174573"/>
                      <a:pt x="2285" y="174573"/>
                      <a:pt x="2285" y="166636"/>
                    </a:cubicBezTo>
                    <a:cubicBezTo>
                      <a:pt x="2285" y="158202"/>
                      <a:pt x="4269" y="158202"/>
                      <a:pt x="4269" y="150265"/>
                    </a:cubicBezTo>
                    <a:cubicBezTo>
                      <a:pt x="4269" y="141832"/>
                      <a:pt x="1789" y="141832"/>
                      <a:pt x="1789" y="133894"/>
                    </a:cubicBezTo>
                    <a:cubicBezTo>
                      <a:pt x="1789" y="125461"/>
                      <a:pt x="2781" y="125461"/>
                      <a:pt x="2781" y="117524"/>
                    </a:cubicBezTo>
                    <a:cubicBezTo>
                      <a:pt x="2781" y="109587"/>
                      <a:pt x="2781" y="109091"/>
                      <a:pt x="2781" y="101153"/>
                    </a:cubicBezTo>
                    <a:cubicBezTo>
                      <a:pt x="2781" y="92720"/>
                      <a:pt x="3277" y="92720"/>
                      <a:pt x="3277" y="84783"/>
                    </a:cubicBezTo>
                    <a:cubicBezTo>
                      <a:pt x="3277" y="76350"/>
                      <a:pt x="3773" y="76350"/>
                      <a:pt x="3773" y="68412"/>
                    </a:cubicBezTo>
                    <a:cubicBezTo>
                      <a:pt x="3773" y="59979"/>
                      <a:pt x="1789" y="59979"/>
                      <a:pt x="1789" y="52042"/>
                    </a:cubicBezTo>
                    <a:cubicBezTo>
                      <a:pt x="1789" y="43608"/>
                      <a:pt x="3773" y="43608"/>
                      <a:pt x="3773" y="35671"/>
                    </a:cubicBezTo>
                    <a:cubicBezTo>
                      <a:pt x="3773" y="27238"/>
                      <a:pt x="2285" y="27238"/>
                      <a:pt x="2285" y="19301"/>
                    </a:cubicBezTo>
                    <a:cubicBezTo>
                      <a:pt x="2285" y="11363"/>
                      <a:pt x="-3172" y="8883"/>
                      <a:pt x="2781" y="2930"/>
                    </a:cubicBezTo>
                    <a:cubicBezTo>
                      <a:pt x="8734" y="-3023"/>
                      <a:pt x="10718" y="1938"/>
                      <a:pt x="19151" y="1938"/>
                    </a:cubicBezTo>
                    <a:cubicBezTo>
                      <a:pt x="27585" y="1938"/>
                      <a:pt x="27585" y="2434"/>
                      <a:pt x="35522" y="2434"/>
                    </a:cubicBezTo>
                    <a:cubicBezTo>
                      <a:pt x="43955" y="2434"/>
                      <a:pt x="43955" y="1938"/>
                      <a:pt x="51893" y="1938"/>
                    </a:cubicBezTo>
                    <a:cubicBezTo>
                      <a:pt x="60326" y="1938"/>
                      <a:pt x="60326" y="1938"/>
                      <a:pt x="68263" y="1938"/>
                    </a:cubicBezTo>
                    <a:cubicBezTo>
                      <a:pt x="76697" y="1938"/>
                      <a:pt x="76697" y="2930"/>
                      <a:pt x="84634" y="2930"/>
                    </a:cubicBezTo>
                    <a:cubicBezTo>
                      <a:pt x="93067" y="2930"/>
                      <a:pt x="93067" y="2434"/>
                      <a:pt x="101004" y="2434"/>
                    </a:cubicBezTo>
                    <a:cubicBezTo>
                      <a:pt x="109438" y="2434"/>
                      <a:pt x="109438" y="2930"/>
                      <a:pt x="117375" y="2930"/>
                    </a:cubicBezTo>
                    <a:cubicBezTo>
                      <a:pt x="125808" y="2930"/>
                      <a:pt x="125808" y="2434"/>
                      <a:pt x="133745" y="2434"/>
                    </a:cubicBezTo>
                    <a:cubicBezTo>
                      <a:pt x="142179" y="2434"/>
                      <a:pt x="142179" y="4418"/>
                      <a:pt x="150116" y="4418"/>
                    </a:cubicBezTo>
                    <a:cubicBezTo>
                      <a:pt x="158549" y="4418"/>
                      <a:pt x="158549" y="3426"/>
                      <a:pt x="166486" y="3426"/>
                    </a:cubicBezTo>
                    <a:cubicBezTo>
                      <a:pt x="174920" y="3426"/>
                      <a:pt x="174920" y="3426"/>
                      <a:pt x="182857" y="3426"/>
                    </a:cubicBezTo>
                    <a:cubicBezTo>
                      <a:pt x="191290" y="3426"/>
                      <a:pt x="191290" y="2434"/>
                      <a:pt x="199228" y="2434"/>
                    </a:cubicBezTo>
                    <a:cubicBezTo>
                      <a:pt x="207661" y="2434"/>
                      <a:pt x="207661" y="2434"/>
                      <a:pt x="215598" y="2434"/>
                    </a:cubicBezTo>
                    <a:cubicBezTo>
                      <a:pt x="223535" y="2434"/>
                      <a:pt x="224032" y="3922"/>
                      <a:pt x="231969" y="3922"/>
                    </a:cubicBezTo>
                    <a:cubicBezTo>
                      <a:pt x="240402" y="3922"/>
                      <a:pt x="240402" y="3922"/>
                      <a:pt x="248339" y="3922"/>
                    </a:cubicBezTo>
                    <a:cubicBezTo>
                      <a:pt x="256773" y="3922"/>
                      <a:pt x="256773" y="3922"/>
                      <a:pt x="264710" y="3922"/>
                    </a:cubicBezTo>
                    <a:cubicBezTo>
                      <a:pt x="273143" y="3922"/>
                      <a:pt x="273143" y="2930"/>
                      <a:pt x="281081" y="2930"/>
                    </a:cubicBezTo>
                    <a:cubicBezTo>
                      <a:pt x="289514" y="2930"/>
                      <a:pt x="289514" y="4418"/>
                      <a:pt x="297451" y="4418"/>
                    </a:cubicBezTo>
                    <a:cubicBezTo>
                      <a:pt x="305885" y="4418"/>
                      <a:pt x="305885" y="2930"/>
                      <a:pt x="313822" y="2930"/>
                    </a:cubicBezTo>
                    <a:cubicBezTo>
                      <a:pt x="322255" y="2930"/>
                      <a:pt x="324735" y="-3023"/>
                      <a:pt x="330688" y="2930"/>
                    </a:cubicBezTo>
                    <a:cubicBezTo>
                      <a:pt x="336641" y="8883"/>
                      <a:pt x="330688" y="11363"/>
                      <a:pt x="330688" y="19797"/>
                    </a:cubicBezTo>
                    <a:cubicBezTo>
                      <a:pt x="330688" y="28230"/>
                      <a:pt x="331680" y="28230"/>
                      <a:pt x="331680" y="36167"/>
                    </a:cubicBezTo>
                    <a:cubicBezTo>
                      <a:pt x="331680" y="44600"/>
                      <a:pt x="331184" y="44600"/>
                      <a:pt x="331184" y="52538"/>
                    </a:cubicBezTo>
                    <a:cubicBezTo>
                      <a:pt x="331184" y="60971"/>
                      <a:pt x="329696" y="60971"/>
                      <a:pt x="329696" y="68908"/>
                    </a:cubicBezTo>
                    <a:cubicBezTo>
                      <a:pt x="329696" y="77342"/>
                      <a:pt x="329696" y="77342"/>
                      <a:pt x="329696" y="85279"/>
                    </a:cubicBezTo>
                    <a:cubicBezTo>
                      <a:pt x="329696" y="93712"/>
                      <a:pt x="329696" y="93712"/>
                      <a:pt x="329696" y="101649"/>
                    </a:cubicBezTo>
                    <a:cubicBezTo>
                      <a:pt x="329696" y="110083"/>
                      <a:pt x="331184" y="110083"/>
                      <a:pt x="331184" y="118020"/>
                    </a:cubicBezTo>
                    <a:cubicBezTo>
                      <a:pt x="331184" y="126453"/>
                      <a:pt x="329200" y="126453"/>
                      <a:pt x="329200" y="134391"/>
                    </a:cubicBezTo>
                    <a:cubicBezTo>
                      <a:pt x="329200" y="142824"/>
                      <a:pt x="330192" y="142824"/>
                      <a:pt x="330192" y="150761"/>
                    </a:cubicBezTo>
                    <a:cubicBezTo>
                      <a:pt x="330192" y="159195"/>
                      <a:pt x="328704" y="159195"/>
                      <a:pt x="328704" y="167132"/>
                    </a:cubicBezTo>
                    <a:cubicBezTo>
                      <a:pt x="328704" y="175565"/>
                      <a:pt x="328704" y="175565"/>
                      <a:pt x="328704" y="183502"/>
                    </a:cubicBezTo>
                    <a:cubicBezTo>
                      <a:pt x="328704" y="191936"/>
                      <a:pt x="328704" y="191936"/>
                      <a:pt x="328704" y="199873"/>
                    </a:cubicBezTo>
                    <a:cubicBezTo>
                      <a:pt x="328704" y="208306"/>
                      <a:pt x="329696" y="208306"/>
                      <a:pt x="329696" y="216244"/>
                    </a:cubicBezTo>
                    <a:cubicBezTo>
                      <a:pt x="329696" y="224181"/>
                      <a:pt x="330192" y="224677"/>
                      <a:pt x="330192" y="232614"/>
                    </a:cubicBezTo>
                    <a:cubicBezTo>
                      <a:pt x="330192" y="241047"/>
                      <a:pt x="328704" y="241047"/>
                      <a:pt x="328704" y="248985"/>
                    </a:cubicBezTo>
                    <a:cubicBezTo>
                      <a:pt x="328704" y="257418"/>
                      <a:pt x="328208" y="257418"/>
                      <a:pt x="328208" y="265355"/>
                    </a:cubicBezTo>
                    <a:cubicBezTo>
                      <a:pt x="328208" y="273788"/>
                      <a:pt x="329200" y="273788"/>
                      <a:pt x="329200" y="281726"/>
                    </a:cubicBezTo>
                    <a:cubicBezTo>
                      <a:pt x="329200" y="290159"/>
                      <a:pt x="328704" y="290159"/>
                      <a:pt x="328704" y="298096"/>
                    </a:cubicBezTo>
                    <a:cubicBezTo>
                      <a:pt x="328704" y="306530"/>
                      <a:pt x="328208" y="306530"/>
                      <a:pt x="329696" y="314467"/>
                    </a:cubicBezTo>
                    <a:cubicBezTo>
                      <a:pt x="334657" y="322900"/>
                      <a:pt x="337633" y="325381"/>
                      <a:pt x="331680" y="33133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8" name="Freeform: Shape 1627">
                <a:extLst>
                  <a:ext uri="{FF2B5EF4-FFF2-40B4-BE49-F238E27FC236}">
                    <a16:creationId xmlns:a16="http://schemas.microsoft.com/office/drawing/2014/main" id="{7E6BE64F-10FC-EDF4-716E-09A9C2A60024}"/>
                  </a:ext>
                </a:extLst>
              </p:cNvPr>
              <p:cNvSpPr/>
              <p:nvPr/>
            </p:nvSpPr>
            <p:spPr>
              <a:xfrm>
                <a:off x="4713602" y="2633677"/>
                <a:ext cx="41670" cy="1488"/>
              </a:xfrm>
              <a:custGeom>
                <a:avLst/>
                <a:gdLst>
                  <a:gd name="connsiteX0" fmla="*/ 41671 w 41670"/>
                  <a:gd name="connsiteY0" fmla="*/ 0 h 1488"/>
                  <a:gd name="connsiteX1" fmla="*/ 27780 w 41670"/>
                  <a:gd name="connsiteY1" fmla="*/ 1488 h 1488"/>
                  <a:gd name="connsiteX2" fmla="*/ 13890 w 41670"/>
                  <a:gd name="connsiteY2" fmla="*/ 496 h 1488"/>
                  <a:gd name="connsiteX3" fmla="*/ 0 w 41670"/>
                  <a:gd name="connsiteY3" fmla="*/ 0 h 1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70" h="1488">
                    <a:moveTo>
                      <a:pt x="41671" y="0"/>
                    </a:moveTo>
                    <a:cubicBezTo>
                      <a:pt x="34725" y="0"/>
                      <a:pt x="34725" y="1488"/>
                      <a:pt x="27780" y="1488"/>
                    </a:cubicBezTo>
                    <a:cubicBezTo>
                      <a:pt x="20835" y="1488"/>
                      <a:pt x="20835" y="496"/>
                      <a:pt x="13890" y="496"/>
                    </a:cubicBezTo>
                    <a:cubicBezTo>
                      <a:pt x="6945" y="496"/>
                      <a:pt x="6945" y="0"/>
                      <a:pt x="0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9" name="Freeform: Shape 1628">
                <a:extLst>
                  <a:ext uri="{FF2B5EF4-FFF2-40B4-BE49-F238E27FC236}">
                    <a16:creationId xmlns:a16="http://schemas.microsoft.com/office/drawing/2014/main" id="{0D052EA2-8442-4100-726E-DAE849A02AF2}"/>
                  </a:ext>
                </a:extLst>
              </p:cNvPr>
              <p:cNvSpPr/>
              <p:nvPr/>
            </p:nvSpPr>
            <p:spPr>
              <a:xfrm>
                <a:off x="4724516" y="2598456"/>
                <a:ext cx="104176" cy="1984"/>
              </a:xfrm>
              <a:custGeom>
                <a:avLst/>
                <a:gdLst>
                  <a:gd name="connsiteX0" fmla="*/ 0 w 104176"/>
                  <a:gd name="connsiteY0" fmla="*/ 992 h 1984"/>
                  <a:gd name="connsiteX1" fmla="*/ 17363 w 104176"/>
                  <a:gd name="connsiteY1" fmla="*/ 1488 h 1984"/>
                  <a:gd name="connsiteX2" fmla="*/ 34725 w 104176"/>
                  <a:gd name="connsiteY2" fmla="*/ 992 h 1984"/>
                  <a:gd name="connsiteX3" fmla="*/ 52088 w 104176"/>
                  <a:gd name="connsiteY3" fmla="*/ 0 h 1984"/>
                  <a:gd name="connsiteX4" fmla="*/ 69451 w 104176"/>
                  <a:gd name="connsiteY4" fmla="*/ 1984 h 1984"/>
                  <a:gd name="connsiteX5" fmla="*/ 86814 w 104176"/>
                  <a:gd name="connsiteY5" fmla="*/ 1488 h 1984"/>
                  <a:gd name="connsiteX6" fmla="*/ 104176 w 104176"/>
                  <a:gd name="connsiteY6" fmla="*/ 1488 h 1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176" h="1984">
                    <a:moveTo>
                      <a:pt x="0" y="992"/>
                    </a:moveTo>
                    <a:cubicBezTo>
                      <a:pt x="8433" y="992"/>
                      <a:pt x="8433" y="1488"/>
                      <a:pt x="17363" y="1488"/>
                    </a:cubicBezTo>
                    <a:cubicBezTo>
                      <a:pt x="25796" y="1488"/>
                      <a:pt x="25796" y="992"/>
                      <a:pt x="34725" y="992"/>
                    </a:cubicBezTo>
                    <a:cubicBezTo>
                      <a:pt x="43159" y="992"/>
                      <a:pt x="43159" y="0"/>
                      <a:pt x="52088" y="0"/>
                    </a:cubicBezTo>
                    <a:cubicBezTo>
                      <a:pt x="60522" y="0"/>
                      <a:pt x="60522" y="1984"/>
                      <a:pt x="69451" y="1984"/>
                    </a:cubicBezTo>
                    <a:cubicBezTo>
                      <a:pt x="77884" y="1984"/>
                      <a:pt x="77884" y="1488"/>
                      <a:pt x="86814" y="1488"/>
                    </a:cubicBezTo>
                    <a:cubicBezTo>
                      <a:pt x="95743" y="1488"/>
                      <a:pt x="95247" y="1488"/>
                      <a:pt x="104176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0" name="Freeform: Shape 1629">
                <a:extLst>
                  <a:ext uri="{FF2B5EF4-FFF2-40B4-BE49-F238E27FC236}">
                    <a16:creationId xmlns:a16="http://schemas.microsoft.com/office/drawing/2014/main" id="{D308FF8E-A02C-7AE9-9F3C-3C8F8D87F3B6}"/>
                  </a:ext>
                </a:extLst>
              </p:cNvPr>
              <p:cNvSpPr/>
              <p:nvPr/>
            </p:nvSpPr>
            <p:spPr>
              <a:xfrm>
                <a:off x="4533526" y="2598456"/>
                <a:ext cx="56552" cy="2480"/>
              </a:xfrm>
              <a:custGeom>
                <a:avLst/>
                <a:gdLst>
                  <a:gd name="connsiteX0" fmla="*/ 0 w 56552"/>
                  <a:gd name="connsiteY0" fmla="*/ 0 h 2480"/>
                  <a:gd name="connsiteX1" fmla="*/ 18851 w 56552"/>
                  <a:gd name="connsiteY1" fmla="*/ 2480 h 2480"/>
                  <a:gd name="connsiteX2" fmla="*/ 37702 w 56552"/>
                  <a:gd name="connsiteY2" fmla="*/ 496 h 2480"/>
                  <a:gd name="connsiteX3" fmla="*/ 56553 w 56552"/>
                  <a:gd name="connsiteY3" fmla="*/ 1984 h 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552" h="2480">
                    <a:moveTo>
                      <a:pt x="0" y="0"/>
                    </a:moveTo>
                    <a:cubicBezTo>
                      <a:pt x="9425" y="0"/>
                      <a:pt x="9425" y="2480"/>
                      <a:pt x="18851" y="2480"/>
                    </a:cubicBezTo>
                    <a:cubicBezTo>
                      <a:pt x="28277" y="2480"/>
                      <a:pt x="28277" y="496"/>
                      <a:pt x="37702" y="496"/>
                    </a:cubicBezTo>
                    <a:cubicBezTo>
                      <a:pt x="47127" y="496"/>
                      <a:pt x="47127" y="1984"/>
                      <a:pt x="56553" y="198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1" name="Freeform: Shape 1630">
                <a:extLst>
                  <a:ext uri="{FF2B5EF4-FFF2-40B4-BE49-F238E27FC236}">
                    <a16:creationId xmlns:a16="http://schemas.microsoft.com/office/drawing/2014/main" id="{9B46960F-E07F-DD8B-B203-96538126512E}"/>
                  </a:ext>
                </a:extLst>
              </p:cNvPr>
              <p:cNvSpPr/>
              <p:nvPr/>
            </p:nvSpPr>
            <p:spPr>
              <a:xfrm>
                <a:off x="4533526" y="2634173"/>
                <a:ext cx="67466" cy="1488"/>
              </a:xfrm>
              <a:custGeom>
                <a:avLst/>
                <a:gdLst>
                  <a:gd name="connsiteX0" fmla="*/ 67466 w 67466"/>
                  <a:gd name="connsiteY0" fmla="*/ 1488 h 1488"/>
                  <a:gd name="connsiteX1" fmla="*/ 50600 w 67466"/>
                  <a:gd name="connsiteY1" fmla="*/ 496 h 1488"/>
                  <a:gd name="connsiteX2" fmla="*/ 33733 w 67466"/>
                  <a:gd name="connsiteY2" fmla="*/ 0 h 1488"/>
                  <a:gd name="connsiteX3" fmla="*/ 16866 w 67466"/>
                  <a:gd name="connsiteY3" fmla="*/ 0 h 1488"/>
                  <a:gd name="connsiteX4" fmla="*/ 0 w 67466"/>
                  <a:gd name="connsiteY4" fmla="*/ 496 h 1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466" h="1488">
                    <a:moveTo>
                      <a:pt x="67466" y="1488"/>
                    </a:moveTo>
                    <a:cubicBezTo>
                      <a:pt x="59033" y="1488"/>
                      <a:pt x="59033" y="496"/>
                      <a:pt x="50600" y="496"/>
                    </a:cubicBezTo>
                    <a:cubicBezTo>
                      <a:pt x="42167" y="496"/>
                      <a:pt x="42167" y="0"/>
                      <a:pt x="33733" y="0"/>
                    </a:cubicBezTo>
                    <a:cubicBezTo>
                      <a:pt x="25300" y="0"/>
                      <a:pt x="25300" y="0"/>
                      <a:pt x="16866" y="0"/>
                    </a:cubicBezTo>
                    <a:cubicBezTo>
                      <a:pt x="8433" y="0"/>
                      <a:pt x="8433" y="496"/>
                      <a:pt x="0" y="49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2" name="Freeform: Shape 1631">
                <a:extLst>
                  <a:ext uri="{FF2B5EF4-FFF2-40B4-BE49-F238E27FC236}">
                    <a16:creationId xmlns:a16="http://schemas.microsoft.com/office/drawing/2014/main" id="{B7C3E6B8-A2B2-995E-5C50-290C08D52448}"/>
                  </a:ext>
                </a:extLst>
              </p:cNvPr>
              <p:cNvSpPr/>
              <p:nvPr/>
            </p:nvSpPr>
            <p:spPr>
              <a:xfrm>
                <a:off x="4529888" y="2490010"/>
                <a:ext cx="300907" cy="305388"/>
              </a:xfrm>
              <a:custGeom>
                <a:avLst/>
                <a:gdLst>
                  <a:gd name="connsiteX0" fmla="*/ 4134 w 300907"/>
                  <a:gd name="connsiteY0" fmla="*/ 305388 h 305388"/>
                  <a:gd name="connsiteX1" fmla="*/ 4134 w 300907"/>
                  <a:gd name="connsiteY1" fmla="*/ 289514 h 305388"/>
                  <a:gd name="connsiteX2" fmla="*/ 2646 w 300907"/>
                  <a:gd name="connsiteY2" fmla="*/ 273639 h 305388"/>
                  <a:gd name="connsiteX3" fmla="*/ 2150 w 300907"/>
                  <a:gd name="connsiteY3" fmla="*/ 257765 h 305388"/>
                  <a:gd name="connsiteX4" fmla="*/ 4134 w 300907"/>
                  <a:gd name="connsiteY4" fmla="*/ 241890 h 305388"/>
                  <a:gd name="connsiteX5" fmla="*/ 4134 w 300907"/>
                  <a:gd name="connsiteY5" fmla="*/ 226016 h 305388"/>
                  <a:gd name="connsiteX6" fmla="*/ 2646 w 300907"/>
                  <a:gd name="connsiteY6" fmla="*/ 210141 h 305388"/>
                  <a:gd name="connsiteX7" fmla="*/ 3142 w 300907"/>
                  <a:gd name="connsiteY7" fmla="*/ 194267 h 305388"/>
                  <a:gd name="connsiteX8" fmla="*/ 3638 w 300907"/>
                  <a:gd name="connsiteY8" fmla="*/ 178393 h 305388"/>
                  <a:gd name="connsiteX9" fmla="*/ 1654 w 300907"/>
                  <a:gd name="connsiteY9" fmla="*/ 162518 h 305388"/>
                  <a:gd name="connsiteX10" fmla="*/ 1654 w 300907"/>
                  <a:gd name="connsiteY10" fmla="*/ 146643 h 305388"/>
                  <a:gd name="connsiteX11" fmla="*/ 2150 w 300907"/>
                  <a:gd name="connsiteY11" fmla="*/ 130769 h 305388"/>
                  <a:gd name="connsiteX12" fmla="*/ 1654 w 300907"/>
                  <a:gd name="connsiteY12" fmla="*/ 114894 h 305388"/>
                  <a:gd name="connsiteX13" fmla="*/ 3638 w 300907"/>
                  <a:gd name="connsiteY13" fmla="*/ 99020 h 305388"/>
                  <a:gd name="connsiteX14" fmla="*/ 4134 w 300907"/>
                  <a:gd name="connsiteY14" fmla="*/ 83146 h 305388"/>
                  <a:gd name="connsiteX15" fmla="*/ 4134 w 300907"/>
                  <a:gd name="connsiteY15" fmla="*/ 67271 h 305388"/>
                  <a:gd name="connsiteX16" fmla="*/ 2646 w 300907"/>
                  <a:gd name="connsiteY16" fmla="*/ 51396 h 305388"/>
                  <a:gd name="connsiteX17" fmla="*/ 2646 w 300907"/>
                  <a:gd name="connsiteY17" fmla="*/ 35522 h 305388"/>
                  <a:gd name="connsiteX18" fmla="*/ 2646 w 300907"/>
                  <a:gd name="connsiteY18" fmla="*/ 19647 h 305388"/>
                  <a:gd name="connsiteX19" fmla="*/ 2646 w 300907"/>
                  <a:gd name="connsiteY19" fmla="*/ 2781 h 305388"/>
                  <a:gd name="connsiteX20" fmla="*/ 20009 w 300907"/>
                  <a:gd name="connsiteY20" fmla="*/ 2285 h 305388"/>
                  <a:gd name="connsiteX21" fmla="*/ 36379 w 300907"/>
                  <a:gd name="connsiteY21" fmla="*/ 2781 h 305388"/>
                  <a:gd name="connsiteX22" fmla="*/ 52750 w 300907"/>
                  <a:gd name="connsiteY22" fmla="*/ 3277 h 305388"/>
                  <a:gd name="connsiteX23" fmla="*/ 69120 w 300907"/>
                  <a:gd name="connsiteY23" fmla="*/ 2285 h 305388"/>
                  <a:gd name="connsiteX24" fmla="*/ 85491 w 300907"/>
                  <a:gd name="connsiteY24" fmla="*/ 2781 h 305388"/>
                  <a:gd name="connsiteX25" fmla="*/ 101861 w 300907"/>
                  <a:gd name="connsiteY25" fmla="*/ 4765 h 305388"/>
                  <a:gd name="connsiteX26" fmla="*/ 118232 w 300907"/>
                  <a:gd name="connsiteY26" fmla="*/ 2781 h 305388"/>
                  <a:gd name="connsiteX27" fmla="*/ 134602 w 300907"/>
                  <a:gd name="connsiteY27" fmla="*/ 3277 h 305388"/>
                  <a:gd name="connsiteX28" fmla="*/ 150973 w 300907"/>
                  <a:gd name="connsiteY28" fmla="*/ 2285 h 305388"/>
                  <a:gd name="connsiteX29" fmla="*/ 167344 w 300907"/>
                  <a:gd name="connsiteY29" fmla="*/ 2781 h 305388"/>
                  <a:gd name="connsiteX30" fmla="*/ 183714 w 300907"/>
                  <a:gd name="connsiteY30" fmla="*/ 4269 h 305388"/>
                  <a:gd name="connsiteX31" fmla="*/ 200085 w 300907"/>
                  <a:gd name="connsiteY31" fmla="*/ 2285 h 305388"/>
                  <a:gd name="connsiteX32" fmla="*/ 216455 w 300907"/>
                  <a:gd name="connsiteY32" fmla="*/ 3277 h 305388"/>
                  <a:gd name="connsiteX33" fmla="*/ 232826 w 300907"/>
                  <a:gd name="connsiteY33" fmla="*/ 4269 h 305388"/>
                  <a:gd name="connsiteX34" fmla="*/ 249197 w 300907"/>
                  <a:gd name="connsiteY34" fmla="*/ 2781 h 305388"/>
                  <a:gd name="connsiteX35" fmla="*/ 265567 w 300907"/>
                  <a:gd name="connsiteY35" fmla="*/ 2285 h 305388"/>
                  <a:gd name="connsiteX36" fmla="*/ 281938 w 300907"/>
                  <a:gd name="connsiteY36" fmla="*/ 3277 h 305388"/>
                  <a:gd name="connsiteX37" fmla="*/ 297812 w 300907"/>
                  <a:gd name="connsiteY37" fmla="*/ 3773 h 305388"/>
                  <a:gd name="connsiteX38" fmla="*/ 299300 w 300907"/>
                  <a:gd name="connsiteY38" fmla="*/ 19151 h 305388"/>
                  <a:gd name="connsiteX39" fmla="*/ 298804 w 300907"/>
                  <a:gd name="connsiteY39" fmla="*/ 35026 h 305388"/>
                  <a:gd name="connsiteX40" fmla="*/ 299300 w 300907"/>
                  <a:gd name="connsiteY40" fmla="*/ 50900 h 305388"/>
                  <a:gd name="connsiteX41" fmla="*/ 297812 w 300907"/>
                  <a:gd name="connsiteY41" fmla="*/ 66775 h 305388"/>
                  <a:gd name="connsiteX42" fmla="*/ 298804 w 300907"/>
                  <a:gd name="connsiteY42" fmla="*/ 82649 h 305388"/>
                  <a:gd name="connsiteX43" fmla="*/ 298804 w 300907"/>
                  <a:gd name="connsiteY43" fmla="*/ 98524 h 305388"/>
                  <a:gd name="connsiteX44" fmla="*/ 298308 w 300907"/>
                  <a:gd name="connsiteY44" fmla="*/ 114398 h 305388"/>
                  <a:gd name="connsiteX45" fmla="*/ 298804 w 300907"/>
                  <a:gd name="connsiteY45" fmla="*/ 130273 h 305388"/>
                  <a:gd name="connsiteX46" fmla="*/ 298308 w 300907"/>
                  <a:gd name="connsiteY46" fmla="*/ 146147 h 305388"/>
                  <a:gd name="connsiteX47" fmla="*/ 296820 w 300907"/>
                  <a:gd name="connsiteY47" fmla="*/ 162022 h 305388"/>
                  <a:gd name="connsiteX48" fmla="*/ 297316 w 300907"/>
                  <a:gd name="connsiteY48" fmla="*/ 177896 h 305388"/>
                  <a:gd name="connsiteX49" fmla="*/ 298308 w 300907"/>
                  <a:gd name="connsiteY49" fmla="*/ 193771 h 305388"/>
                  <a:gd name="connsiteX50" fmla="*/ 297812 w 300907"/>
                  <a:gd name="connsiteY50" fmla="*/ 209645 h 305388"/>
                  <a:gd name="connsiteX51" fmla="*/ 298804 w 300907"/>
                  <a:gd name="connsiteY51" fmla="*/ 225520 h 305388"/>
                  <a:gd name="connsiteX52" fmla="*/ 297316 w 300907"/>
                  <a:gd name="connsiteY52" fmla="*/ 241394 h 305388"/>
                  <a:gd name="connsiteX53" fmla="*/ 298804 w 300907"/>
                  <a:gd name="connsiteY53" fmla="*/ 257269 h 305388"/>
                  <a:gd name="connsiteX54" fmla="*/ 297812 w 300907"/>
                  <a:gd name="connsiteY54" fmla="*/ 273143 h 305388"/>
                  <a:gd name="connsiteX55" fmla="*/ 299300 w 300907"/>
                  <a:gd name="connsiteY55" fmla="*/ 289018 h 305388"/>
                  <a:gd name="connsiteX56" fmla="*/ 297812 w 300907"/>
                  <a:gd name="connsiteY56" fmla="*/ 304892 h 30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907" h="305388">
                    <a:moveTo>
                      <a:pt x="4134" y="305388"/>
                    </a:moveTo>
                    <a:cubicBezTo>
                      <a:pt x="4134" y="297451"/>
                      <a:pt x="4134" y="297451"/>
                      <a:pt x="4134" y="289514"/>
                    </a:cubicBezTo>
                    <a:cubicBezTo>
                      <a:pt x="4134" y="281577"/>
                      <a:pt x="2646" y="281577"/>
                      <a:pt x="2646" y="273639"/>
                    </a:cubicBezTo>
                    <a:cubicBezTo>
                      <a:pt x="2646" y="265702"/>
                      <a:pt x="2150" y="265702"/>
                      <a:pt x="2150" y="257765"/>
                    </a:cubicBezTo>
                    <a:cubicBezTo>
                      <a:pt x="2150" y="249828"/>
                      <a:pt x="4134" y="249828"/>
                      <a:pt x="4134" y="241890"/>
                    </a:cubicBezTo>
                    <a:cubicBezTo>
                      <a:pt x="4134" y="233953"/>
                      <a:pt x="4134" y="233953"/>
                      <a:pt x="4134" y="226016"/>
                    </a:cubicBezTo>
                    <a:cubicBezTo>
                      <a:pt x="4134" y="218079"/>
                      <a:pt x="2646" y="218079"/>
                      <a:pt x="2646" y="210141"/>
                    </a:cubicBezTo>
                    <a:cubicBezTo>
                      <a:pt x="2646" y="202204"/>
                      <a:pt x="3142" y="202204"/>
                      <a:pt x="3142" y="194267"/>
                    </a:cubicBezTo>
                    <a:cubicBezTo>
                      <a:pt x="3142" y="186330"/>
                      <a:pt x="3638" y="186330"/>
                      <a:pt x="3638" y="178393"/>
                    </a:cubicBezTo>
                    <a:cubicBezTo>
                      <a:pt x="3638" y="170455"/>
                      <a:pt x="1654" y="170455"/>
                      <a:pt x="1654" y="162518"/>
                    </a:cubicBezTo>
                    <a:cubicBezTo>
                      <a:pt x="1654" y="154581"/>
                      <a:pt x="1654" y="154581"/>
                      <a:pt x="1654" y="146643"/>
                    </a:cubicBezTo>
                    <a:cubicBezTo>
                      <a:pt x="1654" y="138706"/>
                      <a:pt x="2150" y="138706"/>
                      <a:pt x="2150" y="130769"/>
                    </a:cubicBezTo>
                    <a:cubicBezTo>
                      <a:pt x="2150" y="122832"/>
                      <a:pt x="1654" y="122832"/>
                      <a:pt x="1654" y="114894"/>
                    </a:cubicBezTo>
                    <a:cubicBezTo>
                      <a:pt x="1654" y="106957"/>
                      <a:pt x="3638" y="106957"/>
                      <a:pt x="3638" y="99020"/>
                    </a:cubicBezTo>
                    <a:cubicBezTo>
                      <a:pt x="3638" y="91083"/>
                      <a:pt x="4134" y="91083"/>
                      <a:pt x="4134" y="83146"/>
                    </a:cubicBezTo>
                    <a:cubicBezTo>
                      <a:pt x="4134" y="75208"/>
                      <a:pt x="4134" y="75208"/>
                      <a:pt x="4134" y="67271"/>
                    </a:cubicBezTo>
                    <a:cubicBezTo>
                      <a:pt x="4134" y="59334"/>
                      <a:pt x="2646" y="59334"/>
                      <a:pt x="2646" y="51396"/>
                    </a:cubicBezTo>
                    <a:cubicBezTo>
                      <a:pt x="2646" y="43459"/>
                      <a:pt x="2646" y="43459"/>
                      <a:pt x="2646" y="35522"/>
                    </a:cubicBezTo>
                    <a:cubicBezTo>
                      <a:pt x="2646" y="27585"/>
                      <a:pt x="2646" y="27585"/>
                      <a:pt x="2646" y="19647"/>
                    </a:cubicBezTo>
                    <a:cubicBezTo>
                      <a:pt x="2646" y="11710"/>
                      <a:pt x="-3307" y="8238"/>
                      <a:pt x="2646" y="2781"/>
                    </a:cubicBezTo>
                    <a:cubicBezTo>
                      <a:pt x="8599" y="-3172"/>
                      <a:pt x="11575" y="2285"/>
                      <a:pt x="20009" y="2285"/>
                    </a:cubicBezTo>
                    <a:cubicBezTo>
                      <a:pt x="27946" y="2285"/>
                      <a:pt x="27946" y="2781"/>
                      <a:pt x="36379" y="2781"/>
                    </a:cubicBezTo>
                    <a:cubicBezTo>
                      <a:pt x="44316" y="2781"/>
                      <a:pt x="44316" y="3277"/>
                      <a:pt x="52750" y="3277"/>
                    </a:cubicBezTo>
                    <a:cubicBezTo>
                      <a:pt x="61183" y="3277"/>
                      <a:pt x="61183" y="2285"/>
                      <a:pt x="69120" y="2285"/>
                    </a:cubicBezTo>
                    <a:cubicBezTo>
                      <a:pt x="77057" y="2285"/>
                      <a:pt x="77057" y="2781"/>
                      <a:pt x="85491" y="2781"/>
                    </a:cubicBezTo>
                    <a:cubicBezTo>
                      <a:pt x="93924" y="2781"/>
                      <a:pt x="93924" y="4765"/>
                      <a:pt x="101861" y="4765"/>
                    </a:cubicBezTo>
                    <a:cubicBezTo>
                      <a:pt x="109798" y="4765"/>
                      <a:pt x="109798" y="2781"/>
                      <a:pt x="118232" y="2781"/>
                    </a:cubicBezTo>
                    <a:cubicBezTo>
                      <a:pt x="126665" y="2781"/>
                      <a:pt x="126665" y="3277"/>
                      <a:pt x="134602" y="3277"/>
                    </a:cubicBezTo>
                    <a:cubicBezTo>
                      <a:pt x="143036" y="3277"/>
                      <a:pt x="143036" y="2285"/>
                      <a:pt x="150973" y="2285"/>
                    </a:cubicBezTo>
                    <a:cubicBezTo>
                      <a:pt x="159406" y="2285"/>
                      <a:pt x="159406" y="2781"/>
                      <a:pt x="167344" y="2781"/>
                    </a:cubicBezTo>
                    <a:cubicBezTo>
                      <a:pt x="175777" y="2781"/>
                      <a:pt x="175777" y="4269"/>
                      <a:pt x="183714" y="4269"/>
                    </a:cubicBezTo>
                    <a:cubicBezTo>
                      <a:pt x="192148" y="4269"/>
                      <a:pt x="192148" y="2285"/>
                      <a:pt x="200085" y="2285"/>
                    </a:cubicBezTo>
                    <a:cubicBezTo>
                      <a:pt x="208518" y="2285"/>
                      <a:pt x="208518" y="3277"/>
                      <a:pt x="216455" y="3277"/>
                    </a:cubicBezTo>
                    <a:cubicBezTo>
                      <a:pt x="224889" y="3277"/>
                      <a:pt x="224889" y="4269"/>
                      <a:pt x="232826" y="4269"/>
                    </a:cubicBezTo>
                    <a:cubicBezTo>
                      <a:pt x="241259" y="4269"/>
                      <a:pt x="241259" y="2781"/>
                      <a:pt x="249197" y="2781"/>
                    </a:cubicBezTo>
                    <a:cubicBezTo>
                      <a:pt x="257630" y="2781"/>
                      <a:pt x="257630" y="2285"/>
                      <a:pt x="265567" y="2285"/>
                    </a:cubicBezTo>
                    <a:cubicBezTo>
                      <a:pt x="274000" y="2285"/>
                      <a:pt x="274000" y="3277"/>
                      <a:pt x="281938" y="3277"/>
                    </a:cubicBezTo>
                    <a:cubicBezTo>
                      <a:pt x="289875" y="3277"/>
                      <a:pt x="291859" y="-1684"/>
                      <a:pt x="297812" y="3773"/>
                    </a:cubicBezTo>
                    <a:cubicBezTo>
                      <a:pt x="303765" y="9230"/>
                      <a:pt x="299300" y="11214"/>
                      <a:pt x="299300" y="19151"/>
                    </a:cubicBezTo>
                    <a:cubicBezTo>
                      <a:pt x="299300" y="27089"/>
                      <a:pt x="298804" y="27089"/>
                      <a:pt x="298804" y="35026"/>
                    </a:cubicBezTo>
                    <a:cubicBezTo>
                      <a:pt x="298804" y="42963"/>
                      <a:pt x="299300" y="42963"/>
                      <a:pt x="299300" y="50900"/>
                    </a:cubicBezTo>
                    <a:cubicBezTo>
                      <a:pt x="299300" y="58838"/>
                      <a:pt x="297812" y="58838"/>
                      <a:pt x="297812" y="66775"/>
                    </a:cubicBezTo>
                    <a:cubicBezTo>
                      <a:pt x="297812" y="74712"/>
                      <a:pt x="298804" y="74712"/>
                      <a:pt x="298804" y="82649"/>
                    </a:cubicBezTo>
                    <a:cubicBezTo>
                      <a:pt x="298804" y="90587"/>
                      <a:pt x="298804" y="90587"/>
                      <a:pt x="298804" y="98524"/>
                    </a:cubicBezTo>
                    <a:cubicBezTo>
                      <a:pt x="298804" y="106461"/>
                      <a:pt x="298308" y="106461"/>
                      <a:pt x="298308" y="114398"/>
                    </a:cubicBezTo>
                    <a:cubicBezTo>
                      <a:pt x="298308" y="122335"/>
                      <a:pt x="298804" y="122335"/>
                      <a:pt x="298804" y="130273"/>
                    </a:cubicBezTo>
                    <a:cubicBezTo>
                      <a:pt x="298804" y="138210"/>
                      <a:pt x="298308" y="138210"/>
                      <a:pt x="298308" y="146147"/>
                    </a:cubicBezTo>
                    <a:cubicBezTo>
                      <a:pt x="298308" y="154085"/>
                      <a:pt x="296820" y="154085"/>
                      <a:pt x="296820" y="162022"/>
                    </a:cubicBezTo>
                    <a:cubicBezTo>
                      <a:pt x="296820" y="169959"/>
                      <a:pt x="297316" y="169959"/>
                      <a:pt x="297316" y="177896"/>
                    </a:cubicBezTo>
                    <a:cubicBezTo>
                      <a:pt x="297316" y="185834"/>
                      <a:pt x="298308" y="185834"/>
                      <a:pt x="298308" y="193771"/>
                    </a:cubicBezTo>
                    <a:cubicBezTo>
                      <a:pt x="298308" y="201708"/>
                      <a:pt x="297812" y="201708"/>
                      <a:pt x="297812" y="209645"/>
                    </a:cubicBezTo>
                    <a:cubicBezTo>
                      <a:pt x="297812" y="217583"/>
                      <a:pt x="298804" y="217583"/>
                      <a:pt x="298804" y="225520"/>
                    </a:cubicBezTo>
                    <a:cubicBezTo>
                      <a:pt x="298804" y="233457"/>
                      <a:pt x="297316" y="233457"/>
                      <a:pt x="297316" y="241394"/>
                    </a:cubicBezTo>
                    <a:cubicBezTo>
                      <a:pt x="297316" y="249332"/>
                      <a:pt x="298804" y="249332"/>
                      <a:pt x="298804" y="257269"/>
                    </a:cubicBezTo>
                    <a:cubicBezTo>
                      <a:pt x="298804" y="265206"/>
                      <a:pt x="297812" y="265206"/>
                      <a:pt x="297812" y="273143"/>
                    </a:cubicBezTo>
                    <a:cubicBezTo>
                      <a:pt x="297812" y="281080"/>
                      <a:pt x="299300" y="281080"/>
                      <a:pt x="299300" y="289018"/>
                    </a:cubicBezTo>
                    <a:cubicBezTo>
                      <a:pt x="299300" y="296955"/>
                      <a:pt x="297812" y="296955"/>
                      <a:pt x="297812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3" name="Freeform: Shape 1632">
                <a:extLst>
                  <a:ext uri="{FF2B5EF4-FFF2-40B4-BE49-F238E27FC236}">
                    <a16:creationId xmlns:a16="http://schemas.microsoft.com/office/drawing/2014/main" id="{3EA06BA6-08A4-ED6C-8466-2B85ED3E1659}"/>
                  </a:ext>
                </a:extLst>
              </p:cNvPr>
              <p:cNvSpPr/>
              <p:nvPr/>
            </p:nvSpPr>
            <p:spPr>
              <a:xfrm>
                <a:off x="4501146" y="2792918"/>
                <a:ext cx="363478" cy="64765"/>
              </a:xfrm>
              <a:custGeom>
                <a:avLst/>
                <a:gdLst>
                  <a:gd name="connsiteX0" fmla="*/ 3111 w 363478"/>
                  <a:gd name="connsiteY0" fmla="*/ 3473 h 64765"/>
                  <a:gd name="connsiteX1" fmla="*/ 18489 w 363478"/>
                  <a:gd name="connsiteY1" fmla="*/ 1488 h 64765"/>
                  <a:gd name="connsiteX2" fmla="*/ 34860 w 363478"/>
                  <a:gd name="connsiteY2" fmla="*/ 992 h 64765"/>
                  <a:gd name="connsiteX3" fmla="*/ 51230 w 363478"/>
                  <a:gd name="connsiteY3" fmla="*/ 2976 h 64765"/>
                  <a:gd name="connsiteX4" fmla="*/ 67601 w 363478"/>
                  <a:gd name="connsiteY4" fmla="*/ 2480 h 64765"/>
                  <a:gd name="connsiteX5" fmla="*/ 83971 w 363478"/>
                  <a:gd name="connsiteY5" fmla="*/ 1488 h 64765"/>
                  <a:gd name="connsiteX6" fmla="*/ 99846 w 363478"/>
                  <a:gd name="connsiteY6" fmla="*/ 3473 h 64765"/>
                  <a:gd name="connsiteX7" fmla="*/ 115720 w 363478"/>
                  <a:gd name="connsiteY7" fmla="*/ 1488 h 64765"/>
                  <a:gd name="connsiteX8" fmla="*/ 132091 w 363478"/>
                  <a:gd name="connsiteY8" fmla="*/ 1984 h 64765"/>
                  <a:gd name="connsiteX9" fmla="*/ 147966 w 363478"/>
                  <a:gd name="connsiteY9" fmla="*/ 3473 h 64765"/>
                  <a:gd name="connsiteX10" fmla="*/ 164336 w 363478"/>
                  <a:gd name="connsiteY10" fmla="*/ 2480 h 64765"/>
                  <a:gd name="connsiteX11" fmla="*/ 180707 w 363478"/>
                  <a:gd name="connsiteY11" fmla="*/ 3473 h 64765"/>
                  <a:gd name="connsiteX12" fmla="*/ 197077 w 363478"/>
                  <a:gd name="connsiteY12" fmla="*/ 2480 h 64765"/>
                  <a:gd name="connsiteX13" fmla="*/ 213448 w 363478"/>
                  <a:gd name="connsiteY13" fmla="*/ 3968 h 64765"/>
                  <a:gd name="connsiteX14" fmla="*/ 229818 w 363478"/>
                  <a:gd name="connsiteY14" fmla="*/ 3968 h 64765"/>
                  <a:gd name="connsiteX15" fmla="*/ 246189 w 363478"/>
                  <a:gd name="connsiteY15" fmla="*/ 1984 h 64765"/>
                  <a:gd name="connsiteX16" fmla="*/ 262559 w 363478"/>
                  <a:gd name="connsiteY16" fmla="*/ 2976 h 64765"/>
                  <a:gd name="connsiteX17" fmla="*/ 278930 w 363478"/>
                  <a:gd name="connsiteY17" fmla="*/ 2480 h 64765"/>
                  <a:gd name="connsiteX18" fmla="*/ 295301 w 363478"/>
                  <a:gd name="connsiteY18" fmla="*/ 3968 h 64765"/>
                  <a:gd name="connsiteX19" fmla="*/ 311671 w 363478"/>
                  <a:gd name="connsiteY19" fmla="*/ 3473 h 64765"/>
                  <a:gd name="connsiteX20" fmla="*/ 328042 w 363478"/>
                  <a:gd name="connsiteY20" fmla="*/ 1984 h 64765"/>
                  <a:gd name="connsiteX21" fmla="*/ 344412 w 363478"/>
                  <a:gd name="connsiteY21" fmla="*/ 1984 h 64765"/>
                  <a:gd name="connsiteX22" fmla="*/ 361279 w 363478"/>
                  <a:gd name="connsiteY22" fmla="*/ 1984 h 64765"/>
                  <a:gd name="connsiteX23" fmla="*/ 360783 w 363478"/>
                  <a:gd name="connsiteY23" fmla="*/ 13890 h 64765"/>
                  <a:gd name="connsiteX24" fmla="*/ 352846 w 363478"/>
                  <a:gd name="connsiteY24" fmla="*/ 29765 h 64765"/>
                  <a:gd name="connsiteX25" fmla="*/ 345404 w 363478"/>
                  <a:gd name="connsiteY25" fmla="*/ 46135 h 64765"/>
                  <a:gd name="connsiteX26" fmla="*/ 335979 w 363478"/>
                  <a:gd name="connsiteY26" fmla="*/ 61514 h 64765"/>
                  <a:gd name="connsiteX27" fmla="*/ 320105 w 363478"/>
                  <a:gd name="connsiteY27" fmla="*/ 61017 h 64765"/>
                  <a:gd name="connsiteX28" fmla="*/ 304230 w 363478"/>
                  <a:gd name="connsiteY28" fmla="*/ 61017 h 64765"/>
                  <a:gd name="connsiteX29" fmla="*/ 288356 w 363478"/>
                  <a:gd name="connsiteY29" fmla="*/ 61017 h 64765"/>
                  <a:gd name="connsiteX30" fmla="*/ 272481 w 363478"/>
                  <a:gd name="connsiteY30" fmla="*/ 61017 h 64765"/>
                  <a:gd name="connsiteX31" fmla="*/ 256607 w 363478"/>
                  <a:gd name="connsiteY31" fmla="*/ 61514 h 64765"/>
                  <a:gd name="connsiteX32" fmla="*/ 240732 w 363478"/>
                  <a:gd name="connsiteY32" fmla="*/ 60522 h 64765"/>
                  <a:gd name="connsiteX33" fmla="*/ 224858 w 363478"/>
                  <a:gd name="connsiteY33" fmla="*/ 61514 h 64765"/>
                  <a:gd name="connsiteX34" fmla="*/ 208983 w 363478"/>
                  <a:gd name="connsiteY34" fmla="*/ 63002 h 64765"/>
                  <a:gd name="connsiteX35" fmla="*/ 193108 w 363478"/>
                  <a:gd name="connsiteY35" fmla="*/ 62506 h 64765"/>
                  <a:gd name="connsiteX36" fmla="*/ 177234 w 363478"/>
                  <a:gd name="connsiteY36" fmla="*/ 62506 h 64765"/>
                  <a:gd name="connsiteX37" fmla="*/ 161360 w 363478"/>
                  <a:gd name="connsiteY37" fmla="*/ 62506 h 64765"/>
                  <a:gd name="connsiteX38" fmla="*/ 145485 w 363478"/>
                  <a:gd name="connsiteY38" fmla="*/ 61017 h 64765"/>
                  <a:gd name="connsiteX39" fmla="*/ 129611 w 363478"/>
                  <a:gd name="connsiteY39" fmla="*/ 62506 h 64765"/>
                  <a:gd name="connsiteX40" fmla="*/ 113736 w 363478"/>
                  <a:gd name="connsiteY40" fmla="*/ 61514 h 64765"/>
                  <a:gd name="connsiteX41" fmla="*/ 97862 w 363478"/>
                  <a:gd name="connsiteY41" fmla="*/ 61514 h 64765"/>
                  <a:gd name="connsiteX42" fmla="*/ 81987 w 363478"/>
                  <a:gd name="connsiteY42" fmla="*/ 62010 h 64765"/>
                  <a:gd name="connsiteX43" fmla="*/ 66113 w 363478"/>
                  <a:gd name="connsiteY43" fmla="*/ 62010 h 64765"/>
                  <a:gd name="connsiteX44" fmla="*/ 50238 w 363478"/>
                  <a:gd name="connsiteY44" fmla="*/ 63002 h 64765"/>
                  <a:gd name="connsiteX45" fmla="*/ 33868 w 363478"/>
                  <a:gd name="connsiteY45" fmla="*/ 63002 h 64765"/>
                  <a:gd name="connsiteX46" fmla="*/ 24442 w 363478"/>
                  <a:gd name="connsiteY46" fmla="*/ 46631 h 64765"/>
                  <a:gd name="connsiteX47" fmla="*/ 14024 w 363478"/>
                  <a:gd name="connsiteY47" fmla="*/ 30757 h 64765"/>
                  <a:gd name="connsiteX48" fmla="*/ 3607 w 363478"/>
                  <a:gd name="connsiteY48" fmla="*/ 14882 h 64765"/>
                  <a:gd name="connsiteX49" fmla="*/ 3111 w 363478"/>
                  <a:gd name="connsiteY49" fmla="*/ 3473 h 6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3478" h="64765">
                    <a:moveTo>
                      <a:pt x="3111" y="3473"/>
                    </a:moveTo>
                    <a:cubicBezTo>
                      <a:pt x="9560" y="-992"/>
                      <a:pt x="10552" y="1488"/>
                      <a:pt x="18489" y="1488"/>
                    </a:cubicBezTo>
                    <a:cubicBezTo>
                      <a:pt x="26426" y="1488"/>
                      <a:pt x="26426" y="992"/>
                      <a:pt x="34860" y="992"/>
                    </a:cubicBezTo>
                    <a:cubicBezTo>
                      <a:pt x="42797" y="992"/>
                      <a:pt x="42797" y="2976"/>
                      <a:pt x="51230" y="2976"/>
                    </a:cubicBezTo>
                    <a:cubicBezTo>
                      <a:pt x="59167" y="2976"/>
                      <a:pt x="59167" y="2480"/>
                      <a:pt x="67601" y="2480"/>
                    </a:cubicBezTo>
                    <a:cubicBezTo>
                      <a:pt x="75538" y="2480"/>
                      <a:pt x="75538" y="1488"/>
                      <a:pt x="83971" y="1488"/>
                    </a:cubicBezTo>
                    <a:cubicBezTo>
                      <a:pt x="91909" y="1488"/>
                      <a:pt x="91909" y="3473"/>
                      <a:pt x="99846" y="3473"/>
                    </a:cubicBezTo>
                    <a:cubicBezTo>
                      <a:pt x="107783" y="3473"/>
                      <a:pt x="107783" y="1488"/>
                      <a:pt x="115720" y="1488"/>
                    </a:cubicBezTo>
                    <a:cubicBezTo>
                      <a:pt x="123658" y="1488"/>
                      <a:pt x="123658" y="1984"/>
                      <a:pt x="132091" y="1984"/>
                    </a:cubicBezTo>
                    <a:cubicBezTo>
                      <a:pt x="140028" y="1984"/>
                      <a:pt x="140028" y="3473"/>
                      <a:pt x="147966" y="3473"/>
                    </a:cubicBezTo>
                    <a:cubicBezTo>
                      <a:pt x="155903" y="3473"/>
                      <a:pt x="155903" y="2480"/>
                      <a:pt x="164336" y="2480"/>
                    </a:cubicBezTo>
                    <a:cubicBezTo>
                      <a:pt x="172273" y="2480"/>
                      <a:pt x="172273" y="3473"/>
                      <a:pt x="180707" y="3473"/>
                    </a:cubicBezTo>
                    <a:cubicBezTo>
                      <a:pt x="188644" y="3473"/>
                      <a:pt x="188644" y="2480"/>
                      <a:pt x="197077" y="2480"/>
                    </a:cubicBezTo>
                    <a:cubicBezTo>
                      <a:pt x="205014" y="2480"/>
                      <a:pt x="205014" y="3968"/>
                      <a:pt x="213448" y="3968"/>
                    </a:cubicBezTo>
                    <a:cubicBezTo>
                      <a:pt x="221385" y="3968"/>
                      <a:pt x="221385" y="3968"/>
                      <a:pt x="229818" y="3968"/>
                    </a:cubicBezTo>
                    <a:cubicBezTo>
                      <a:pt x="237755" y="3968"/>
                      <a:pt x="237755" y="1984"/>
                      <a:pt x="246189" y="1984"/>
                    </a:cubicBezTo>
                    <a:cubicBezTo>
                      <a:pt x="254622" y="1984"/>
                      <a:pt x="254126" y="2976"/>
                      <a:pt x="262559" y="2976"/>
                    </a:cubicBezTo>
                    <a:cubicBezTo>
                      <a:pt x="270497" y="2976"/>
                      <a:pt x="270497" y="2480"/>
                      <a:pt x="278930" y="2480"/>
                    </a:cubicBezTo>
                    <a:cubicBezTo>
                      <a:pt x="286867" y="2480"/>
                      <a:pt x="286867" y="3968"/>
                      <a:pt x="295301" y="3968"/>
                    </a:cubicBezTo>
                    <a:cubicBezTo>
                      <a:pt x="303238" y="3968"/>
                      <a:pt x="303238" y="3473"/>
                      <a:pt x="311671" y="3473"/>
                    </a:cubicBezTo>
                    <a:cubicBezTo>
                      <a:pt x="319608" y="3473"/>
                      <a:pt x="319608" y="1984"/>
                      <a:pt x="328042" y="1984"/>
                    </a:cubicBezTo>
                    <a:cubicBezTo>
                      <a:pt x="335979" y="1984"/>
                      <a:pt x="335979" y="1984"/>
                      <a:pt x="344412" y="1984"/>
                    </a:cubicBezTo>
                    <a:cubicBezTo>
                      <a:pt x="352846" y="1984"/>
                      <a:pt x="354334" y="-2480"/>
                      <a:pt x="361279" y="1984"/>
                    </a:cubicBezTo>
                    <a:cubicBezTo>
                      <a:pt x="365744" y="4961"/>
                      <a:pt x="362271" y="8433"/>
                      <a:pt x="360783" y="13890"/>
                    </a:cubicBezTo>
                    <a:cubicBezTo>
                      <a:pt x="358303" y="22323"/>
                      <a:pt x="356814" y="21827"/>
                      <a:pt x="352846" y="29765"/>
                    </a:cubicBezTo>
                    <a:cubicBezTo>
                      <a:pt x="348877" y="37702"/>
                      <a:pt x="349869" y="38198"/>
                      <a:pt x="345404" y="46135"/>
                    </a:cubicBezTo>
                    <a:cubicBezTo>
                      <a:pt x="341436" y="54073"/>
                      <a:pt x="343420" y="56553"/>
                      <a:pt x="335979" y="61514"/>
                    </a:cubicBezTo>
                    <a:cubicBezTo>
                      <a:pt x="329530" y="65978"/>
                      <a:pt x="328042" y="61017"/>
                      <a:pt x="320105" y="61017"/>
                    </a:cubicBezTo>
                    <a:cubicBezTo>
                      <a:pt x="312167" y="61017"/>
                      <a:pt x="312167" y="61017"/>
                      <a:pt x="304230" y="61017"/>
                    </a:cubicBezTo>
                    <a:cubicBezTo>
                      <a:pt x="296293" y="61017"/>
                      <a:pt x="296293" y="61017"/>
                      <a:pt x="288356" y="61017"/>
                    </a:cubicBezTo>
                    <a:cubicBezTo>
                      <a:pt x="280418" y="61017"/>
                      <a:pt x="280418" y="61017"/>
                      <a:pt x="272481" y="61017"/>
                    </a:cubicBezTo>
                    <a:cubicBezTo>
                      <a:pt x="264544" y="61017"/>
                      <a:pt x="264544" y="61514"/>
                      <a:pt x="256607" y="61514"/>
                    </a:cubicBezTo>
                    <a:cubicBezTo>
                      <a:pt x="248669" y="61514"/>
                      <a:pt x="248669" y="60522"/>
                      <a:pt x="240732" y="60522"/>
                    </a:cubicBezTo>
                    <a:cubicBezTo>
                      <a:pt x="232795" y="60522"/>
                      <a:pt x="232795" y="61514"/>
                      <a:pt x="224858" y="61514"/>
                    </a:cubicBezTo>
                    <a:cubicBezTo>
                      <a:pt x="216920" y="61514"/>
                      <a:pt x="216920" y="63002"/>
                      <a:pt x="208983" y="63002"/>
                    </a:cubicBezTo>
                    <a:cubicBezTo>
                      <a:pt x="201046" y="63002"/>
                      <a:pt x="201046" y="62506"/>
                      <a:pt x="193108" y="62506"/>
                    </a:cubicBezTo>
                    <a:cubicBezTo>
                      <a:pt x="185171" y="62506"/>
                      <a:pt x="185171" y="62506"/>
                      <a:pt x="177234" y="62506"/>
                    </a:cubicBezTo>
                    <a:cubicBezTo>
                      <a:pt x="169297" y="62506"/>
                      <a:pt x="169297" y="62506"/>
                      <a:pt x="161360" y="62506"/>
                    </a:cubicBezTo>
                    <a:cubicBezTo>
                      <a:pt x="153422" y="62506"/>
                      <a:pt x="153422" y="61017"/>
                      <a:pt x="145485" y="61017"/>
                    </a:cubicBezTo>
                    <a:cubicBezTo>
                      <a:pt x="137548" y="61017"/>
                      <a:pt x="137548" y="62506"/>
                      <a:pt x="129611" y="62506"/>
                    </a:cubicBezTo>
                    <a:cubicBezTo>
                      <a:pt x="121673" y="62506"/>
                      <a:pt x="121673" y="61514"/>
                      <a:pt x="113736" y="61514"/>
                    </a:cubicBezTo>
                    <a:cubicBezTo>
                      <a:pt x="105799" y="61514"/>
                      <a:pt x="105799" y="61514"/>
                      <a:pt x="97862" y="61514"/>
                    </a:cubicBezTo>
                    <a:cubicBezTo>
                      <a:pt x="89924" y="61514"/>
                      <a:pt x="89924" y="62010"/>
                      <a:pt x="81987" y="62010"/>
                    </a:cubicBezTo>
                    <a:cubicBezTo>
                      <a:pt x="74050" y="62010"/>
                      <a:pt x="74050" y="62010"/>
                      <a:pt x="66113" y="62010"/>
                    </a:cubicBezTo>
                    <a:cubicBezTo>
                      <a:pt x="58176" y="62010"/>
                      <a:pt x="58176" y="63002"/>
                      <a:pt x="50238" y="63002"/>
                    </a:cubicBezTo>
                    <a:cubicBezTo>
                      <a:pt x="42301" y="63002"/>
                      <a:pt x="40813" y="66970"/>
                      <a:pt x="33868" y="63002"/>
                    </a:cubicBezTo>
                    <a:cubicBezTo>
                      <a:pt x="25930" y="58041"/>
                      <a:pt x="29403" y="54569"/>
                      <a:pt x="24442" y="46631"/>
                    </a:cubicBezTo>
                    <a:cubicBezTo>
                      <a:pt x="19481" y="38694"/>
                      <a:pt x="18985" y="38694"/>
                      <a:pt x="14024" y="30757"/>
                    </a:cubicBezTo>
                    <a:cubicBezTo>
                      <a:pt x="9064" y="22819"/>
                      <a:pt x="8568" y="22819"/>
                      <a:pt x="3607" y="14882"/>
                    </a:cubicBezTo>
                    <a:cubicBezTo>
                      <a:pt x="-858" y="8929"/>
                      <a:pt x="-1354" y="6449"/>
                      <a:pt x="3111" y="347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1827CC4B-2493-5FA7-F379-F5BF6698004A}"/>
                </a:ext>
              </a:extLst>
            </p:cNvPr>
            <p:cNvSpPr/>
            <p:nvPr/>
          </p:nvSpPr>
          <p:spPr>
            <a:xfrm>
              <a:off x="4658041" y="2638638"/>
              <a:ext cx="992" cy="8433"/>
            </a:xfrm>
            <a:custGeom>
              <a:avLst/>
              <a:gdLst>
                <a:gd name="connsiteX0" fmla="*/ 0 w 992"/>
                <a:gd name="connsiteY0" fmla="*/ 0 h 8433"/>
                <a:gd name="connsiteX1" fmla="*/ 992 w 992"/>
                <a:gd name="connsiteY1" fmla="*/ 8433 h 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2" h="8433">
                  <a:moveTo>
                    <a:pt x="0" y="0"/>
                  </a:moveTo>
                  <a:cubicBezTo>
                    <a:pt x="0" y="3969"/>
                    <a:pt x="992" y="3969"/>
                    <a:pt x="992" y="84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A37FF086-9BF9-24DD-6516-B88E9CD9F239}"/>
                </a:ext>
              </a:extLst>
            </p:cNvPr>
            <p:cNvSpPr/>
            <p:nvPr/>
          </p:nvSpPr>
          <p:spPr>
            <a:xfrm>
              <a:off x="4639686" y="2638638"/>
              <a:ext cx="4960" cy="8433"/>
            </a:xfrm>
            <a:custGeom>
              <a:avLst/>
              <a:gdLst>
                <a:gd name="connsiteX0" fmla="*/ 0 w 4960"/>
                <a:gd name="connsiteY0" fmla="*/ 0 h 8433"/>
                <a:gd name="connsiteX1" fmla="*/ 0 w 4960"/>
                <a:gd name="connsiteY1" fmla="*/ 8433 h 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60" h="8433">
                  <a:moveTo>
                    <a:pt x="0" y="0"/>
                  </a:moveTo>
                  <a:cubicBezTo>
                    <a:pt x="0" y="3969"/>
                    <a:pt x="0" y="3969"/>
                    <a:pt x="0" y="84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3EEB745-7E48-AFD4-20B0-8E0A76191E3A}"/>
                </a:ext>
              </a:extLst>
            </p:cNvPr>
            <p:cNvSpPr/>
            <p:nvPr/>
          </p:nvSpPr>
          <p:spPr>
            <a:xfrm>
              <a:off x="4643655" y="2672867"/>
              <a:ext cx="28772" cy="14386"/>
            </a:xfrm>
            <a:custGeom>
              <a:avLst/>
              <a:gdLst>
                <a:gd name="connsiteX0" fmla="*/ 28772 w 28772"/>
                <a:gd name="connsiteY0" fmla="*/ 0 h 14386"/>
                <a:gd name="connsiteX1" fmla="*/ 14386 w 28772"/>
                <a:gd name="connsiteY1" fmla="*/ 14386 h 14386"/>
                <a:gd name="connsiteX2" fmla="*/ 0 w 28772"/>
                <a:gd name="connsiteY2" fmla="*/ 0 h 1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772" h="14386">
                  <a:moveTo>
                    <a:pt x="28772" y="0"/>
                  </a:moveTo>
                  <a:cubicBezTo>
                    <a:pt x="28772" y="7937"/>
                    <a:pt x="21827" y="14386"/>
                    <a:pt x="14386" y="14386"/>
                  </a:cubicBezTo>
                  <a:cubicBezTo>
                    <a:pt x="6449" y="14386"/>
                    <a:pt x="0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1D215AC-B8F1-D1E9-8783-410B11605C80}"/>
                </a:ext>
              </a:extLst>
            </p:cNvPr>
            <p:cNvSpPr/>
            <p:nvPr/>
          </p:nvSpPr>
          <p:spPr>
            <a:xfrm>
              <a:off x="4614882" y="2657489"/>
              <a:ext cx="28772" cy="29268"/>
            </a:xfrm>
            <a:custGeom>
              <a:avLst/>
              <a:gdLst>
                <a:gd name="connsiteX0" fmla="*/ 28773 w 28772"/>
                <a:gd name="connsiteY0" fmla="*/ 15378 h 29268"/>
                <a:gd name="connsiteX1" fmla="*/ 14882 w 28772"/>
                <a:gd name="connsiteY1" fmla="*/ 29268 h 29268"/>
                <a:gd name="connsiteX2" fmla="*/ 0 w 28772"/>
                <a:gd name="connsiteY2" fmla="*/ 15378 h 29268"/>
                <a:gd name="connsiteX3" fmla="*/ 14882 w 28772"/>
                <a:gd name="connsiteY3" fmla="*/ 0 h 2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72" h="29268">
                  <a:moveTo>
                    <a:pt x="28773" y="15378"/>
                  </a:moveTo>
                  <a:cubicBezTo>
                    <a:pt x="28773" y="23316"/>
                    <a:pt x="22820" y="29268"/>
                    <a:pt x="14882" y="29268"/>
                  </a:cubicBezTo>
                  <a:cubicBezTo>
                    <a:pt x="6945" y="29268"/>
                    <a:pt x="0" y="23316"/>
                    <a:pt x="0" y="15378"/>
                  </a:cubicBezTo>
                  <a:cubicBezTo>
                    <a:pt x="0" y="7441"/>
                    <a:pt x="6945" y="0"/>
                    <a:pt x="1488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56CDD98B-BF15-3154-8FED-50DC1CEB50BC}"/>
                </a:ext>
              </a:extLst>
            </p:cNvPr>
            <p:cNvSpPr/>
            <p:nvPr/>
          </p:nvSpPr>
          <p:spPr>
            <a:xfrm>
              <a:off x="4619347" y="2609369"/>
              <a:ext cx="38198" cy="39190"/>
            </a:xfrm>
            <a:custGeom>
              <a:avLst/>
              <a:gdLst>
                <a:gd name="connsiteX0" fmla="*/ 0 w 38198"/>
                <a:gd name="connsiteY0" fmla="*/ 39190 h 39190"/>
                <a:gd name="connsiteX1" fmla="*/ 3473 w 38198"/>
                <a:gd name="connsiteY1" fmla="*/ 24804 h 39190"/>
                <a:gd name="connsiteX2" fmla="*/ 10914 w 38198"/>
                <a:gd name="connsiteY2" fmla="*/ 11906 h 39190"/>
                <a:gd name="connsiteX3" fmla="*/ 23812 w 38198"/>
                <a:gd name="connsiteY3" fmla="*/ 4465 h 39190"/>
                <a:gd name="connsiteX4" fmla="*/ 38198 w 38198"/>
                <a:gd name="connsiteY4" fmla="*/ 0 h 3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98" h="39190">
                  <a:moveTo>
                    <a:pt x="0" y="39190"/>
                  </a:moveTo>
                  <a:cubicBezTo>
                    <a:pt x="0" y="33733"/>
                    <a:pt x="1984" y="29269"/>
                    <a:pt x="3473" y="24804"/>
                  </a:cubicBezTo>
                  <a:cubicBezTo>
                    <a:pt x="5457" y="20339"/>
                    <a:pt x="7441" y="15378"/>
                    <a:pt x="10914" y="11906"/>
                  </a:cubicBezTo>
                  <a:cubicBezTo>
                    <a:pt x="14386" y="8433"/>
                    <a:pt x="19347" y="6449"/>
                    <a:pt x="23812" y="4465"/>
                  </a:cubicBezTo>
                  <a:cubicBezTo>
                    <a:pt x="28277" y="2480"/>
                    <a:pt x="32741" y="0"/>
                    <a:pt x="3819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FA74558C-15FF-87E7-FBCF-2F03ED8553F5}"/>
                </a:ext>
              </a:extLst>
            </p:cNvPr>
            <p:cNvSpPr/>
            <p:nvPr/>
          </p:nvSpPr>
          <p:spPr>
            <a:xfrm>
              <a:off x="4636710" y="2685269"/>
              <a:ext cx="38198" cy="60025"/>
            </a:xfrm>
            <a:custGeom>
              <a:avLst/>
              <a:gdLst>
                <a:gd name="connsiteX0" fmla="*/ 0 w 38198"/>
                <a:gd name="connsiteY0" fmla="*/ 0 h 60025"/>
                <a:gd name="connsiteX1" fmla="*/ 2480 w 38198"/>
                <a:gd name="connsiteY1" fmla="*/ 15379 h 60025"/>
                <a:gd name="connsiteX2" fmla="*/ 5457 w 38198"/>
                <a:gd name="connsiteY2" fmla="*/ 30757 h 60025"/>
                <a:gd name="connsiteX3" fmla="*/ 12402 w 38198"/>
                <a:gd name="connsiteY3" fmla="*/ 44647 h 60025"/>
                <a:gd name="connsiteX4" fmla="*/ 23316 w 38198"/>
                <a:gd name="connsiteY4" fmla="*/ 55561 h 60025"/>
                <a:gd name="connsiteX5" fmla="*/ 38198 w 38198"/>
                <a:gd name="connsiteY5" fmla="*/ 60026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98" h="60025">
                  <a:moveTo>
                    <a:pt x="0" y="0"/>
                  </a:moveTo>
                  <a:cubicBezTo>
                    <a:pt x="0" y="7937"/>
                    <a:pt x="992" y="6449"/>
                    <a:pt x="2480" y="15379"/>
                  </a:cubicBezTo>
                  <a:cubicBezTo>
                    <a:pt x="2976" y="19843"/>
                    <a:pt x="3969" y="25300"/>
                    <a:pt x="5457" y="30757"/>
                  </a:cubicBezTo>
                  <a:cubicBezTo>
                    <a:pt x="6945" y="35718"/>
                    <a:pt x="9426" y="40182"/>
                    <a:pt x="12402" y="44647"/>
                  </a:cubicBezTo>
                  <a:cubicBezTo>
                    <a:pt x="15378" y="49112"/>
                    <a:pt x="18355" y="53080"/>
                    <a:pt x="23316" y="55561"/>
                  </a:cubicBezTo>
                  <a:cubicBezTo>
                    <a:pt x="27284" y="58041"/>
                    <a:pt x="32245" y="60026"/>
                    <a:pt x="38198" y="6002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7962EF7D-DB39-DA9D-C0A3-1C95D8927352}"/>
                </a:ext>
              </a:extLst>
            </p:cNvPr>
            <p:cNvSpPr/>
            <p:nvPr/>
          </p:nvSpPr>
          <p:spPr>
            <a:xfrm>
              <a:off x="4657545" y="2596471"/>
              <a:ext cx="27768" cy="32741"/>
            </a:xfrm>
            <a:custGeom>
              <a:avLst/>
              <a:gdLst>
                <a:gd name="connsiteX0" fmla="*/ 0 w 27768"/>
                <a:gd name="connsiteY0" fmla="*/ 21331 h 32741"/>
                <a:gd name="connsiteX1" fmla="*/ 9425 w 27768"/>
                <a:gd name="connsiteY1" fmla="*/ 7441 h 32741"/>
                <a:gd name="connsiteX2" fmla="*/ 23812 w 27768"/>
                <a:gd name="connsiteY2" fmla="*/ 0 h 32741"/>
                <a:gd name="connsiteX3" fmla="*/ 27284 w 27768"/>
                <a:gd name="connsiteY3" fmla="*/ 15874 h 32741"/>
                <a:gd name="connsiteX4" fmla="*/ 24804 w 27768"/>
                <a:gd name="connsiteY4" fmla="*/ 32741 h 3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68" h="32741">
                  <a:moveTo>
                    <a:pt x="0" y="21331"/>
                  </a:moveTo>
                  <a:cubicBezTo>
                    <a:pt x="2480" y="13394"/>
                    <a:pt x="2976" y="13890"/>
                    <a:pt x="9425" y="7441"/>
                  </a:cubicBezTo>
                  <a:cubicBezTo>
                    <a:pt x="12898" y="3969"/>
                    <a:pt x="17363" y="1488"/>
                    <a:pt x="23812" y="0"/>
                  </a:cubicBezTo>
                  <a:cubicBezTo>
                    <a:pt x="26788" y="5953"/>
                    <a:pt x="27284" y="11410"/>
                    <a:pt x="27284" y="15874"/>
                  </a:cubicBezTo>
                  <a:cubicBezTo>
                    <a:pt x="27780" y="25796"/>
                    <a:pt x="28772" y="24804"/>
                    <a:pt x="24804" y="3274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65575C82-30E5-A791-1EDD-21A2908A9817}"/>
                </a:ext>
              </a:extLst>
            </p:cNvPr>
            <p:cNvSpPr/>
            <p:nvPr/>
          </p:nvSpPr>
          <p:spPr>
            <a:xfrm>
              <a:off x="4614164" y="2603825"/>
              <a:ext cx="27010" cy="23403"/>
            </a:xfrm>
            <a:custGeom>
              <a:avLst/>
              <a:gdLst>
                <a:gd name="connsiteX0" fmla="*/ 11632 w 27010"/>
                <a:gd name="connsiteY0" fmla="*/ 23403 h 23403"/>
                <a:gd name="connsiteX1" fmla="*/ 4687 w 27010"/>
                <a:gd name="connsiteY1" fmla="*/ 11994 h 23403"/>
                <a:gd name="connsiteX2" fmla="*/ 222 w 27010"/>
                <a:gd name="connsiteY2" fmla="*/ 584 h 23403"/>
                <a:gd name="connsiteX3" fmla="*/ 13616 w 27010"/>
                <a:gd name="connsiteY3" fmla="*/ 3560 h 23403"/>
                <a:gd name="connsiteX4" fmla="*/ 27011 w 27010"/>
                <a:gd name="connsiteY4" fmla="*/ 10009 h 23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0" h="23403">
                  <a:moveTo>
                    <a:pt x="11632" y="23403"/>
                  </a:moveTo>
                  <a:cubicBezTo>
                    <a:pt x="7663" y="17947"/>
                    <a:pt x="8159" y="17947"/>
                    <a:pt x="4687" y="11994"/>
                  </a:cubicBezTo>
                  <a:cubicBezTo>
                    <a:pt x="1710" y="7033"/>
                    <a:pt x="-770" y="2072"/>
                    <a:pt x="222" y="584"/>
                  </a:cubicBezTo>
                  <a:cubicBezTo>
                    <a:pt x="1710" y="-904"/>
                    <a:pt x="7663" y="584"/>
                    <a:pt x="13616" y="3560"/>
                  </a:cubicBezTo>
                  <a:cubicBezTo>
                    <a:pt x="20561" y="6537"/>
                    <a:pt x="20561" y="6537"/>
                    <a:pt x="27011" y="1000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4D6FB107-B0DF-6AAD-9CA0-CCFDD2289E4D}"/>
                </a:ext>
              </a:extLst>
            </p:cNvPr>
            <p:cNvSpPr/>
            <p:nvPr/>
          </p:nvSpPr>
          <p:spPr>
            <a:xfrm>
              <a:off x="4716578" y="2691718"/>
              <a:ext cx="67434" cy="47623"/>
            </a:xfrm>
            <a:custGeom>
              <a:avLst/>
              <a:gdLst>
                <a:gd name="connsiteX0" fmla="*/ 66971 w 67434"/>
                <a:gd name="connsiteY0" fmla="*/ 47624 h 47623"/>
                <a:gd name="connsiteX1" fmla="*/ 64490 w 67434"/>
                <a:gd name="connsiteY1" fmla="*/ 32245 h 47623"/>
                <a:gd name="connsiteX2" fmla="*/ 55561 w 67434"/>
                <a:gd name="connsiteY2" fmla="*/ 19843 h 47623"/>
                <a:gd name="connsiteX3" fmla="*/ 44151 w 67434"/>
                <a:gd name="connsiteY3" fmla="*/ 10418 h 47623"/>
                <a:gd name="connsiteX4" fmla="*/ 30261 w 67434"/>
                <a:gd name="connsiteY4" fmla="*/ 4961 h 47623"/>
                <a:gd name="connsiteX5" fmla="*/ 15379 w 67434"/>
                <a:gd name="connsiteY5" fmla="*/ 1488 h 47623"/>
                <a:gd name="connsiteX6" fmla="*/ 0 w 67434"/>
                <a:gd name="connsiteY6" fmla="*/ 0 h 4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34" h="47623">
                  <a:moveTo>
                    <a:pt x="66971" y="47624"/>
                  </a:moveTo>
                  <a:cubicBezTo>
                    <a:pt x="67963" y="40182"/>
                    <a:pt x="67467" y="40678"/>
                    <a:pt x="64490" y="32245"/>
                  </a:cubicBezTo>
                  <a:cubicBezTo>
                    <a:pt x="63002" y="28277"/>
                    <a:pt x="59529" y="24308"/>
                    <a:pt x="55561" y="19843"/>
                  </a:cubicBezTo>
                  <a:cubicBezTo>
                    <a:pt x="52584" y="16371"/>
                    <a:pt x="49112" y="12898"/>
                    <a:pt x="44151" y="10418"/>
                  </a:cubicBezTo>
                  <a:cubicBezTo>
                    <a:pt x="40182" y="8433"/>
                    <a:pt x="35718" y="6449"/>
                    <a:pt x="30261" y="4961"/>
                  </a:cubicBezTo>
                  <a:cubicBezTo>
                    <a:pt x="25796" y="3969"/>
                    <a:pt x="20835" y="1984"/>
                    <a:pt x="15379" y="1488"/>
                  </a:cubicBezTo>
                  <a:cubicBezTo>
                    <a:pt x="10914" y="992"/>
                    <a:pt x="5457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8DF4CBB6-7BBD-5FA6-8297-C03ABB06596C}"/>
                </a:ext>
              </a:extLst>
            </p:cNvPr>
            <p:cNvSpPr/>
            <p:nvPr/>
          </p:nvSpPr>
          <p:spPr>
            <a:xfrm>
              <a:off x="4689790" y="2626236"/>
              <a:ext cx="27780" cy="66474"/>
            </a:xfrm>
            <a:custGeom>
              <a:avLst/>
              <a:gdLst>
                <a:gd name="connsiteX0" fmla="*/ 27780 w 27780"/>
                <a:gd name="connsiteY0" fmla="*/ 66474 h 66474"/>
                <a:gd name="connsiteX1" fmla="*/ 17859 w 27780"/>
                <a:gd name="connsiteY1" fmla="*/ 53080 h 66474"/>
                <a:gd name="connsiteX2" fmla="*/ 10914 w 27780"/>
                <a:gd name="connsiteY2" fmla="*/ 38198 h 66474"/>
                <a:gd name="connsiteX3" fmla="*/ 5457 w 27780"/>
                <a:gd name="connsiteY3" fmla="*/ 22324 h 66474"/>
                <a:gd name="connsiteX4" fmla="*/ 0 w 27780"/>
                <a:gd name="connsiteY4" fmla="*/ 0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80" h="66474">
                  <a:moveTo>
                    <a:pt x="27780" y="66474"/>
                  </a:moveTo>
                  <a:cubicBezTo>
                    <a:pt x="22324" y="60521"/>
                    <a:pt x="23316" y="61018"/>
                    <a:pt x="17859" y="53080"/>
                  </a:cubicBezTo>
                  <a:cubicBezTo>
                    <a:pt x="15378" y="48616"/>
                    <a:pt x="12898" y="43655"/>
                    <a:pt x="10914" y="38198"/>
                  </a:cubicBezTo>
                  <a:cubicBezTo>
                    <a:pt x="8929" y="33237"/>
                    <a:pt x="5953" y="27780"/>
                    <a:pt x="5457" y="22324"/>
                  </a:cubicBezTo>
                  <a:cubicBezTo>
                    <a:pt x="5457" y="16371"/>
                    <a:pt x="4465" y="6449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269B21CB-9B04-83B9-714F-B53A90438EDF}"/>
                </a:ext>
              </a:extLst>
            </p:cNvPr>
            <p:cNvSpPr/>
            <p:nvPr/>
          </p:nvSpPr>
          <p:spPr>
            <a:xfrm>
              <a:off x="4662372" y="2698663"/>
              <a:ext cx="43293" cy="94264"/>
            </a:xfrm>
            <a:custGeom>
              <a:avLst/>
              <a:gdLst>
                <a:gd name="connsiteX0" fmla="*/ 43293 w 43293"/>
                <a:gd name="connsiteY0" fmla="*/ 5953 h 94264"/>
                <a:gd name="connsiteX1" fmla="*/ 39821 w 43293"/>
                <a:gd name="connsiteY1" fmla="*/ 22819 h 94264"/>
                <a:gd name="connsiteX2" fmla="*/ 37836 w 43293"/>
                <a:gd name="connsiteY2" fmla="*/ 40182 h 94264"/>
                <a:gd name="connsiteX3" fmla="*/ 32876 w 43293"/>
                <a:gd name="connsiteY3" fmla="*/ 56553 h 94264"/>
                <a:gd name="connsiteX4" fmla="*/ 31883 w 43293"/>
                <a:gd name="connsiteY4" fmla="*/ 73916 h 94264"/>
                <a:gd name="connsiteX5" fmla="*/ 26923 w 43293"/>
                <a:gd name="connsiteY5" fmla="*/ 89790 h 94264"/>
                <a:gd name="connsiteX6" fmla="*/ 4599 w 43293"/>
                <a:gd name="connsiteY6" fmla="*/ 91278 h 94264"/>
                <a:gd name="connsiteX7" fmla="*/ 3111 w 43293"/>
                <a:gd name="connsiteY7" fmla="*/ 73916 h 94264"/>
                <a:gd name="connsiteX8" fmla="*/ 17001 w 43293"/>
                <a:gd name="connsiteY8" fmla="*/ 74412 h 94264"/>
                <a:gd name="connsiteX9" fmla="*/ 17001 w 43293"/>
                <a:gd name="connsiteY9" fmla="*/ 59529 h 94264"/>
                <a:gd name="connsiteX10" fmla="*/ 17001 w 43293"/>
                <a:gd name="connsiteY10" fmla="*/ 44647 h 94264"/>
                <a:gd name="connsiteX11" fmla="*/ 15513 w 43293"/>
                <a:gd name="connsiteY11" fmla="*/ 29765 h 94264"/>
                <a:gd name="connsiteX12" fmla="*/ 16505 w 43293"/>
                <a:gd name="connsiteY12" fmla="*/ 14882 h 94264"/>
                <a:gd name="connsiteX13" fmla="*/ 16505 w 43293"/>
                <a:gd name="connsiteY13" fmla="*/ 0 h 94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293" h="94264">
                  <a:moveTo>
                    <a:pt x="43293" y="5953"/>
                  </a:moveTo>
                  <a:cubicBezTo>
                    <a:pt x="41805" y="14386"/>
                    <a:pt x="41309" y="14386"/>
                    <a:pt x="39821" y="22819"/>
                  </a:cubicBezTo>
                  <a:cubicBezTo>
                    <a:pt x="38333" y="31253"/>
                    <a:pt x="39325" y="31749"/>
                    <a:pt x="37836" y="40182"/>
                  </a:cubicBezTo>
                  <a:cubicBezTo>
                    <a:pt x="36348" y="48616"/>
                    <a:pt x="34860" y="48120"/>
                    <a:pt x="32876" y="56553"/>
                  </a:cubicBezTo>
                  <a:cubicBezTo>
                    <a:pt x="31387" y="64986"/>
                    <a:pt x="33372" y="65482"/>
                    <a:pt x="31883" y="73916"/>
                  </a:cubicBezTo>
                  <a:cubicBezTo>
                    <a:pt x="30395" y="82349"/>
                    <a:pt x="33868" y="84829"/>
                    <a:pt x="26923" y="89790"/>
                  </a:cubicBezTo>
                  <a:cubicBezTo>
                    <a:pt x="17497" y="95743"/>
                    <a:pt x="15017" y="95247"/>
                    <a:pt x="4599" y="91278"/>
                  </a:cubicBezTo>
                  <a:cubicBezTo>
                    <a:pt x="-3834" y="87806"/>
                    <a:pt x="1623" y="79868"/>
                    <a:pt x="3111" y="73916"/>
                  </a:cubicBezTo>
                  <a:cubicBezTo>
                    <a:pt x="4103" y="69947"/>
                    <a:pt x="7079" y="67963"/>
                    <a:pt x="17001" y="74412"/>
                  </a:cubicBezTo>
                  <a:cubicBezTo>
                    <a:pt x="22458" y="69451"/>
                    <a:pt x="17001" y="66971"/>
                    <a:pt x="17001" y="59529"/>
                  </a:cubicBezTo>
                  <a:cubicBezTo>
                    <a:pt x="17001" y="52088"/>
                    <a:pt x="17001" y="52088"/>
                    <a:pt x="17001" y="44647"/>
                  </a:cubicBezTo>
                  <a:cubicBezTo>
                    <a:pt x="17001" y="37206"/>
                    <a:pt x="15513" y="37206"/>
                    <a:pt x="15513" y="29765"/>
                  </a:cubicBezTo>
                  <a:cubicBezTo>
                    <a:pt x="15513" y="22324"/>
                    <a:pt x="16505" y="22324"/>
                    <a:pt x="16505" y="14882"/>
                  </a:cubicBezTo>
                  <a:cubicBezTo>
                    <a:pt x="16505" y="7441"/>
                    <a:pt x="17001" y="7441"/>
                    <a:pt x="16505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08550E7F-3196-9A08-DAA0-8CE0706D1AEE}"/>
                </a:ext>
              </a:extLst>
            </p:cNvPr>
            <p:cNvSpPr/>
            <p:nvPr/>
          </p:nvSpPr>
          <p:spPr>
            <a:xfrm>
              <a:off x="4640843" y="2739342"/>
              <a:ext cx="25135" cy="48077"/>
            </a:xfrm>
            <a:custGeom>
              <a:avLst/>
              <a:gdLst>
                <a:gd name="connsiteX0" fmla="*/ 25135 w 25135"/>
                <a:gd name="connsiteY0" fmla="*/ 45143 h 48077"/>
                <a:gd name="connsiteX1" fmla="*/ 4796 w 25135"/>
                <a:gd name="connsiteY1" fmla="*/ 46631 h 48077"/>
                <a:gd name="connsiteX2" fmla="*/ 2316 w 25135"/>
                <a:gd name="connsiteY2" fmla="*/ 29765 h 48077"/>
                <a:gd name="connsiteX3" fmla="*/ 16702 w 25135"/>
                <a:gd name="connsiteY3" fmla="*/ 28277 h 48077"/>
                <a:gd name="connsiteX4" fmla="*/ 16702 w 25135"/>
                <a:gd name="connsiteY4" fmla="*/ 14386 h 48077"/>
                <a:gd name="connsiteX5" fmla="*/ 16702 w 25135"/>
                <a:gd name="connsiteY5" fmla="*/ 0 h 48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35" h="48077">
                  <a:moveTo>
                    <a:pt x="25135" y="45143"/>
                  </a:moveTo>
                  <a:cubicBezTo>
                    <a:pt x="15214" y="45143"/>
                    <a:pt x="14221" y="50600"/>
                    <a:pt x="4796" y="46631"/>
                  </a:cubicBezTo>
                  <a:cubicBezTo>
                    <a:pt x="-3141" y="43159"/>
                    <a:pt x="827" y="35718"/>
                    <a:pt x="2316" y="29765"/>
                  </a:cubicBezTo>
                  <a:cubicBezTo>
                    <a:pt x="3308" y="25796"/>
                    <a:pt x="7276" y="23316"/>
                    <a:pt x="16702" y="28277"/>
                  </a:cubicBezTo>
                  <a:cubicBezTo>
                    <a:pt x="21663" y="23316"/>
                    <a:pt x="16702" y="21331"/>
                    <a:pt x="16702" y="14386"/>
                  </a:cubicBezTo>
                  <a:cubicBezTo>
                    <a:pt x="16702" y="7441"/>
                    <a:pt x="16702" y="7441"/>
                    <a:pt x="1670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FF992F3F-3E4F-F567-E03E-187FBECEF58A}"/>
                </a:ext>
              </a:extLst>
            </p:cNvPr>
            <p:cNvSpPr/>
            <p:nvPr/>
          </p:nvSpPr>
          <p:spPr>
            <a:xfrm>
              <a:off x="4697449" y="2619694"/>
              <a:ext cx="117353" cy="172150"/>
            </a:xfrm>
            <a:custGeom>
              <a:avLst/>
              <a:gdLst>
                <a:gd name="connsiteX0" fmla="*/ 84116 w 117353"/>
                <a:gd name="connsiteY0" fmla="*/ 108734 h 172150"/>
                <a:gd name="connsiteX1" fmla="*/ 95030 w 117353"/>
                <a:gd name="connsiteY1" fmla="*/ 98813 h 172150"/>
                <a:gd name="connsiteX2" fmla="*/ 97014 w 117353"/>
                <a:gd name="connsiteY2" fmla="*/ 84426 h 172150"/>
                <a:gd name="connsiteX3" fmla="*/ 89573 w 117353"/>
                <a:gd name="connsiteY3" fmla="*/ 68056 h 172150"/>
                <a:gd name="connsiteX4" fmla="*/ 76675 w 117353"/>
                <a:gd name="connsiteY4" fmla="*/ 55654 h 172150"/>
                <a:gd name="connsiteX5" fmla="*/ 62785 w 117353"/>
                <a:gd name="connsiteY5" fmla="*/ 44244 h 172150"/>
                <a:gd name="connsiteX6" fmla="*/ 56336 w 117353"/>
                <a:gd name="connsiteY6" fmla="*/ 27377 h 172150"/>
                <a:gd name="connsiteX7" fmla="*/ 62289 w 117353"/>
                <a:gd name="connsiteY7" fmla="*/ 12991 h 172150"/>
                <a:gd name="connsiteX8" fmla="*/ 74195 w 117353"/>
                <a:gd name="connsiteY8" fmla="*/ 3566 h 172150"/>
                <a:gd name="connsiteX9" fmla="*/ 89077 w 117353"/>
                <a:gd name="connsiteY9" fmla="*/ 93 h 172150"/>
                <a:gd name="connsiteX10" fmla="*/ 101975 w 117353"/>
                <a:gd name="connsiteY10" fmla="*/ 4558 h 172150"/>
                <a:gd name="connsiteX11" fmla="*/ 89077 w 117353"/>
                <a:gd name="connsiteY11" fmla="*/ 14975 h 172150"/>
                <a:gd name="connsiteX12" fmla="*/ 78659 w 117353"/>
                <a:gd name="connsiteY12" fmla="*/ 31842 h 172150"/>
                <a:gd name="connsiteX13" fmla="*/ 88085 w 117353"/>
                <a:gd name="connsiteY13" fmla="*/ 45236 h 172150"/>
                <a:gd name="connsiteX14" fmla="*/ 102967 w 117353"/>
                <a:gd name="connsiteY14" fmla="*/ 53173 h 172150"/>
                <a:gd name="connsiteX15" fmla="*/ 111896 w 117353"/>
                <a:gd name="connsiteY15" fmla="*/ 67560 h 172150"/>
                <a:gd name="connsiteX16" fmla="*/ 114873 w 117353"/>
                <a:gd name="connsiteY16" fmla="*/ 83930 h 172150"/>
                <a:gd name="connsiteX17" fmla="*/ 117353 w 117353"/>
                <a:gd name="connsiteY17" fmla="*/ 100301 h 172150"/>
                <a:gd name="connsiteX18" fmla="*/ 114873 w 117353"/>
                <a:gd name="connsiteY18" fmla="*/ 115183 h 172150"/>
                <a:gd name="connsiteX19" fmla="*/ 108920 w 117353"/>
                <a:gd name="connsiteY19" fmla="*/ 129073 h 172150"/>
                <a:gd name="connsiteX20" fmla="*/ 100487 w 117353"/>
                <a:gd name="connsiteY20" fmla="*/ 141475 h 172150"/>
                <a:gd name="connsiteX21" fmla="*/ 90565 w 117353"/>
                <a:gd name="connsiteY21" fmla="*/ 152389 h 172150"/>
                <a:gd name="connsiteX22" fmla="*/ 78659 w 117353"/>
                <a:gd name="connsiteY22" fmla="*/ 161318 h 172150"/>
                <a:gd name="connsiteX23" fmla="*/ 66257 w 117353"/>
                <a:gd name="connsiteY23" fmla="*/ 170744 h 172150"/>
                <a:gd name="connsiteX24" fmla="*/ 50383 w 117353"/>
                <a:gd name="connsiteY24" fmla="*/ 168759 h 172150"/>
                <a:gd name="connsiteX25" fmla="*/ 34508 w 117353"/>
                <a:gd name="connsiteY25" fmla="*/ 170248 h 172150"/>
                <a:gd name="connsiteX26" fmla="*/ 18634 w 117353"/>
                <a:gd name="connsiteY26" fmla="*/ 170744 h 172150"/>
                <a:gd name="connsiteX27" fmla="*/ 2263 w 117353"/>
                <a:gd name="connsiteY27" fmla="*/ 170248 h 172150"/>
                <a:gd name="connsiteX28" fmla="*/ 9208 w 117353"/>
                <a:gd name="connsiteY28" fmla="*/ 156854 h 172150"/>
                <a:gd name="connsiteX29" fmla="*/ 23099 w 117353"/>
                <a:gd name="connsiteY29" fmla="*/ 157350 h 172150"/>
                <a:gd name="connsiteX30" fmla="*/ 37981 w 117353"/>
                <a:gd name="connsiteY30" fmla="*/ 151397 h 172150"/>
                <a:gd name="connsiteX31" fmla="*/ 25579 w 117353"/>
                <a:gd name="connsiteY31" fmla="*/ 147924 h 172150"/>
                <a:gd name="connsiteX32" fmla="*/ 15161 w 117353"/>
                <a:gd name="connsiteY32" fmla="*/ 138499 h 172150"/>
                <a:gd name="connsiteX33" fmla="*/ 11689 w 117353"/>
                <a:gd name="connsiteY33" fmla="*/ 124609 h 172150"/>
                <a:gd name="connsiteX34" fmla="*/ 15657 w 117353"/>
                <a:gd name="connsiteY34" fmla="*/ 111215 h 172150"/>
                <a:gd name="connsiteX35" fmla="*/ 25083 w 117353"/>
                <a:gd name="connsiteY35" fmla="*/ 101293 h 172150"/>
                <a:gd name="connsiteX36" fmla="*/ 38477 w 117353"/>
                <a:gd name="connsiteY36" fmla="*/ 97820 h 172150"/>
                <a:gd name="connsiteX37" fmla="*/ 52367 w 117353"/>
                <a:gd name="connsiteY37" fmla="*/ 102285 h 17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7353" h="172150">
                  <a:moveTo>
                    <a:pt x="84116" y="108734"/>
                  </a:moveTo>
                  <a:cubicBezTo>
                    <a:pt x="91061" y="107742"/>
                    <a:pt x="91061" y="107246"/>
                    <a:pt x="95030" y="98813"/>
                  </a:cubicBezTo>
                  <a:cubicBezTo>
                    <a:pt x="96518" y="95340"/>
                    <a:pt x="97014" y="90379"/>
                    <a:pt x="97014" y="84426"/>
                  </a:cubicBezTo>
                  <a:cubicBezTo>
                    <a:pt x="97014" y="78474"/>
                    <a:pt x="94038" y="73016"/>
                    <a:pt x="89573" y="68056"/>
                  </a:cubicBezTo>
                  <a:cubicBezTo>
                    <a:pt x="85604" y="64087"/>
                    <a:pt x="81636" y="59622"/>
                    <a:pt x="76675" y="55654"/>
                  </a:cubicBezTo>
                  <a:cubicBezTo>
                    <a:pt x="72210" y="51685"/>
                    <a:pt x="66257" y="48709"/>
                    <a:pt x="62785" y="44244"/>
                  </a:cubicBezTo>
                  <a:cubicBezTo>
                    <a:pt x="59312" y="39283"/>
                    <a:pt x="56336" y="33827"/>
                    <a:pt x="56336" y="27377"/>
                  </a:cubicBezTo>
                  <a:cubicBezTo>
                    <a:pt x="56336" y="21921"/>
                    <a:pt x="59312" y="16960"/>
                    <a:pt x="62289" y="12991"/>
                  </a:cubicBezTo>
                  <a:cubicBezTo>
                    <a:pt x="65265" y="9023"/>
                    <a:pt x="69730" y="5550"/>
                    <a:pt x="74195" y="3566"/>
                  </a:cubicBezTo>
                  <a:cubicBezTo>
                    <a:pt x="79155" y="1581"/>
                    <a:pt x="84612" y="589"/>
                    <a:pt x="89077" y="93"/>
                  </a:cubicBezTo>
                  <a:cubicBezTo>
                    <a:pt x="96022" y="-403"/>
                    <a:pt x="100487" y="1085"/>
                    <a:pt x="101975" y="4558"/>
                  </a:cubicBezTo>
                  <a:cubicBezTo>
                    <a:pt x="104952" y="10015"/>
                    <a:pt x="97014" y="10511"/>
                    <a:pt x="89077" y="14975"/>
                  </a:cubicBezTo>
                  <a:cubicBezTo>
                    <a:pt x="83620" y="18448"/>
                    <a:pt x="78659" y="23905"/>
                    <a:pt x="78659" y="31842"/>
                  </a:cubicBezTo>
                  <a:cubicBezTo>
                    <a:pt x="78659" y="37795"/>
                    <a:pt x="82132" y="41764"/>
                    <a:pt x="88085" y="45236"/>
                  </a:cubicBezTo>
                  <a:cubicBezTo>
                    <a:pt x="92053" y="47717"/>
                    <a:pt x="98502" y="48709"/>
                    <a:pt x="102967" y="53173"/>
                  </a:cubicBezTo>
                  <a:cubicBezTo>
                    <a:pt x="106440" y="56646"/>
                    <a:pt x="109416" y="61607"/>
                    <a:pt x="111896" y="67560"/>
                  </a:cubicBezTo>
                  <a:cubicBezTo>
                    <a:pt x="113881" y="72024"/>
                    <a:pt x="114377" y="77481"/>
                    <a:pt x="114873" y="83930"/>
                  </a:cubicBezTo>
                  <a:cubicBezTo>
                    <a:pt x="115369" y="88891"/>
                    <a:pt x="117353" y="94348"/>
                    <a:pt x="117353" y="100301"/>
                  </a:cubicBezTo>
                  <a:cubicBezTo>
                    <a:pt x="117353" y="105262"/>
                    <a:pt x="116361" y="110719"/>
                    <a:pt x="114873" y="115183"/>
                  </a:cubicBezTo>
                  <a:cubicBezTo>
                    <a:pt x="113385" y="120144"/>
                    <a:pt x="111400" y="124609"/>
                    <a:pt x="108920" y="129073"/>
                  </a:cubicBezTo>
                  <a:cubicBezTo>
                    <a:pt x="106440" y="133538"/>
                    <a:pt x="103463" y="137507"/>
                    <a:pt x="100487" y="141475"/>
                  </a:cubicBezTo>
                  <a:cubicBezTo>
                    <a:pt x="97510" y="145444"/>
                    <a:pt x="94038" y="149413"/>
                    <a:pt x="90565" y="152389"/>
                  </a:cubicBezTo>
                  <a:cubicBezTo>
                    <a:pt x="86597" y="156358"/>
                    <a:pt x="82628" y="158838"/>
                    <a:pt x="78659" y="161318"/>
                  </a:cubicBezTo>
                  <a:cubicBezTo>
                    <a:pt x="71218" y="166279"/>
                    <a:pt x="73698" y="169752"/>
                    <a:pt x="66257" y="170744"/>
                  </a:cubicBezTo>
                  <a:cubicBezTo>
                    <a:pt x="58320" y="171736"/>
                    <a:pt x="58320" y="168759"/>
                    <a:pt x="50383" y="168759"/>
                  </a:cubicBezTo>
                  <a:cubicBezTo>
                    <a:pt x="42446" y="168759"/>
                    <a:pt x="42446" y="170248"/>
                    <a:pt x="34508" y="170248"/>
                  </a:cubicBezTo>
                  <a:cubicBezTo>
                    <a:pt x="26571" y="170248"/>
                    <a:pt x="26571" y="170744"/>
                    <a:pt x="18634" y="170744"/>
                  </a:cubicBezTo>
                  <a:cubicBezTo>
                    <a:pt x="10697" y="170744"/>
                    <a:pt x="9208" y="174217"/>
                    <a:pt x="2263" y="170248"/>
                  </a:cubicBezTo>
                  <a:cubicBezTo>
                    <a:pt x="-4186" y="166775"/>
                    <a:pt x="4744" y="161318"/>
                    <a:pt x="9208" y="156854"/>
                  </a:cubicBezTo>
                  <a:cubicBezTo>
                    <a:pt x="12681" y="153877"/>
                    <a:pt x="17146" y="153381"/>
                    <a:pt x="23099" y="157350"/>
                  </a:cubicBezTo>
                  <a:cubicBezTo>
                    <a:pt x="36989" y="167271"/>
                    <a:pt x="39965" y="162311"/>
                    <a:pt x="37981" y="151397"/>
                  </a:cubicBezTo>
                  <a:cubicBezTo>
                    <a:pt x="33020" y="151397"/>
                    <a:pt x="29548" y="149909"/>
                    <a:pt x="25579" y="147924"/>
                  </a:cubicBezTo>
                  <a:cubicBezTo>
                    <a:pt x="21610" y="145444"/>
                    <a:pt x="17642" y="142467"/>
                    <a:pt x="15161" y="138499"/>
                  </a:cubicBezTo>
                  <a:cubicBezTo>
                    <a:pt x="12681" y="134530"/>
                    <a:pt x="11689" y="129569"/>
                    <a:pt x="11689" y="124609"/>
                  </a:cubicBezTo>
                  <a:cubicBezTo>
                    <a:pt x="11689" y="119648"/>
                    <a:pt x="13673" y="115183"/>
                    <a:pt x="15657" y="111215"/>
                  </a:cubicBezTo>
                  <a:cubicBezTo>
                    <a:pt x="18138" y="107246"/>
                    <a:pt x="21114" y="103773"/>
                    <a:pt x="25083" y="101293"/>
                  </a:cubicBezTo>
                  <a:cubicBezTo>
                    <a:pt x="29051" y="98813"/>
                    <a:pt x="33516" y="97820"/>
                    <a:pt x="38477" y="97820"/>
                  </a:cubicBezTo>
                  <a:cubicBezTo>
                    <a:pt x="43438" y="97820"/>
                    <a:pt x="48399" y="99309"/>
                    <a:pt x="52367" y="102285"/>
                  </a:cubicBezTo>
                </a:path>
              </a:pathLst>
            </a:custGeom>
            <a:solidFill>
              <a:schemeClr val="bg1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407" name="Graphic 10">
              <a:extLst>
                <a:ext uri="{FF2B5EF4-FFF2-40B4-BE49-F238E27FC236}">
                  <a16:creationId xmlns:a16="http://schemas.microsoft.com/office/drawing/2014/main" id="{35CEBB01-B1DB-C991-0840-176DBDBE6E7B}"/>
                </a:ext>
              </a:extLst>
            </p:cNvPr>
            <p:cNvGrpSpPr/>
            <p:nvPr/>
          </p:nvGrpSpPr>
          <p:grpSpPr>
            <a:xfrm>
              <a:off x="4799920" y="4613579"/>
              <a:ext cx="391010" cy="778508"/>
              <a:chOff x="4799920" y="4613579"/>
              <a:chExt cx="391010" cy="778508"/>
            </a:xfrm>
            <a:noFill/>
          </p:grpSpPr>
          <p:sp>
            <p:nvSpPr>
              <p:cNvPr id="1615" name="Freeform: Shape 1614">
                <a:extLst>
                  <a:ext uri="{FF2B5EF4-FFF2-40B4-BE49-F238E27FC236}">
                    <a16:creationId xmlns:a16="http://schemas.microsoft.com/office/drawing/2014/main" id="{B7576870-1638-06E6-5487-15F5BB6349CD}"/>
                  </a:ext>
                </a:extLst>
              </p:cNvPr>
              <p:cNvSpPr/>
              <p:nvPr/>
            </p:nvSpPr>
            <p:spPr>
              <a:xfrm>
                <a:off x="4914514" y="4724777"/>
                <a:ext cx="124515" cy="112076"/>
              </a:xfrm>
              <a:custGeom>
                <a:avLst/>
                <a:gdLst>
                  <a:gd name="connsiteX0" fmla="*/ 0 w 124515"/>
                  <a:gd name="connsiteY0" fmla="*/ 364 h 112076"/>
                  <a:gd name="connsiteX1" fmla="*/ 10418 w 124515"/>
                  <a:gd name="connsiteY1" fmla="*/ 11774 h 112076"/>
                  <a:gd name="connsiteX2" fmla="*/ 21331 w 124515"/>
                  <a:gd name="connsiteY2" fmla="*/ 22688 h 112076"/>
                  <a:gd name="connsiteX3" fmla="*/ 33733 w 124515"/>
                  <a:gd name="connsiteY3" fmla="*/ 32609 h 112076"/>
                  <a:gd name="connsiteX4" fmla="*/ 47623 w 124515"/>
                  <a:gd name="connsiteY4" fmla="*/ 39555 h 112076"/>
                  <a:gd name="connsiteX5" fmla="*/ 62010 w 124515"/>
                  <a:gd name="connsiteY5" fmla="*/ 46004 h 112076"/>
                  <a:gd name="connsiteX6" fmla="*/ 77388 w 124515"/>
                  <a:gd name="connsiteY6" fmla="*/ 50468 h 112076"/>
                  <a:gd name="connsiteX7" fmla="*/ 93263 w 124515"/>
                  <a:gd name="connsiteY7" fmla="*/ 50964 h 112076"/>
                  <a:gd name="connsiteX8" fmla="*/ 109137 w 124515"/>
                  <a:gd name="connsiteY8" fmla="*/ 51957 h 112076"/>
                  <a:gd name="connsiteX9" fmla="*/ 124515 w 124515"/>
                  <a:gd name="connsiteY9" fmla="*/ 47492 h 112076"/>
                  <a:gd name="connsiteX10" fmla="*/ 117074 w 124515"/>
                  <a:gd name="connsiteY10" fmla="*/ 62870 h 112076"/>
                  <a:gd name="connsiteX11" fmla="*/ 108641 w 124515"/>
                  <a:gd name="connsiteY11" fmla="*/ 76760 h 112076"/>
                  <a:gd name="connsiteX12" fmla="*/ 97727 w 124515"/>
                  <a:gd name="connsiteY12" fmla="*/ 89162 h 112076"/>
                  <a:gd name="connsiteX13" fmla="*/ 85821 w 124515"/>
                  <a:gd name="connsiteY13" fmla="*/ 100572 h 112076"/>
                  <a:gd name="connsiteX14" fmla="*/ 71435 w 124515"/>
                  <a:gd name="connsiteY14" fmla="*/ 108509 h 112076"/>
                  <a:gd name="connsiteX15" fmla="*/ 56057 w 124515"/>
                  <a:gd name="connsiteY15" fmla="*/ 111982 h 112076"/>
                  <a:gd name="connsiteX16" fmla="*/ 40678 w 124515"/>
                  <a:gd name="connsiteY16" fmla="*/ 106525 h 112076"/>
                  <a:gd name="connsiteX17" fmla="*/ 31749 w 124515"/>
                  <a:gd name="connsiteY17" fmla="*/ 92635 h 112076"/>
                  <a:gd name="connsiteX18" fmla="*/ 21828 w 124515"/>
                  <a:gd name="connsiteY18" fmla="*/ 79241 h 112076"/>
                  <a:gd name="connsiteX19" fmla="*/ 15875 w 124515"/>
                  <a:gd name="connsiteY19" fmla="*/ 63862 h 112076"/>
                  <a:gd name="connsiteX20" fmla="*/ 12402 w 124515"/>
                  <a:gd name="connsiteY20" fmla="*/ 47988 h 112076"/>
                  <a:gd name="connsiteX21" fmla="*/ 7937 w 124515"/>
                  <a:gd name="connsiteY21" fmla="*/ 32113 h 112076"/>
                  <a:gd name="connsiteX22" fmla="*/ 3969 w 124515"/>
                  <a:gd name="connsiteY22" fmla="*/ 16239 h 112076"/>
                  <a:gd name="connsiteX23" fmla="*/ 0 w 124515"/>
                  <a:gd name="connsiteY23" fmla="*/ 364 h 112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4515" h="112076">
                    <a:moveTo>
                      <a:pt x="0" y="364"/>
                    </a:moveTo>
                    <a:cubicBezTo>
                      <a:pt x="7441" y="-1620"/>
                      <a:pt x="3473" y="4829"/>
                      <a:pt x="10418" y="11774"/>
                    </a:cubicBezTo>
                    <a:cubicBezTo>
                      <a:pt x="13394" y="15247"/>
                      <a:pt x="16867" y="19215"/>
                      <a:pt x="21331" y="22688"/>
                    </a:cubicBezTo>
                    <a:cubicBezTo>
                      <a:pt x="25300" y="25664"/>
                      <a:pt x="28772" y="29633"/>
                      <a:pt x="33733" y="32609"/>
                    </a:cubicBezTo>
                    <a:cubicBezTo>
                      <a:pt x="37702" y="35090"/>
                      <a:pt x="42663" y="37570"/>
                      <a:pt x="47623" y="39555"/>
                    </a:cubicBezTo>
                    <a:cubicBezTo>
                      <a:pt x="52088" y="41539"/>
                      <a:pt x="57049" y="44515"/>
                      <a:pt x="62010" y="46004"/>
                    </a:cubicBezTo>
                    <a:cubicBezTo>
                      <a:pt x="66971" y="47492"/>
                      <a:pt x="71931" y="49476"/>
                      <a:pt x="77388" y="50468"/>
                    </a:cubicBezTo>
                    <a:cubicBezTo>
                      <a:pt x="82349" y="51460"/>
                      <a:pt x="87806" y="50468"/>
                      <a:pt x="93263" y="50964"/>
                    </a:cubicBezTo>
                    <a:cubicBezTo>
                      <a:pt x="98223" y="50964"/>
                      <a:pt x="103680" y="52453"/>
                      <a:pt x="109137" y="51957"/>
                    </a:cubicBezTo>
                    <a:cubicBezTo>
                      <a:pt x="114098" y="51460"/>
                      <a:pt x="119555" y="48980"/>
                      <a:pt x="124515" y="47492"/>
                    </a:cubicBezTo>
                    <a:cubicBezTo>
                      <a:pt x="124019" y="48980"/>
                      <a:pt x="121539" y="55925"/>
                      <a:pt x="117074" y="62870"/>
                    </a:cubicBezTo>
                    <a:cubicBezTo>
                      <a:pt x="114594" y="66839"/>
                      <a:pt x="112113" y="72296"/>
                      <a:pt x="108641" y="76760"/>
                    </a:cubicBezTo>
                    <a:cubicBezTo>
                      <a:pt x="105665" y="81225"/>
                      <a:pt x="101200" y="85194"/>
                      <a:pt x="97727" y="89162"/>
                    </a:cubicBezTo>
                    <a:cubicBezTo>
                      <a:pt x="94255" y="93131"/>
                      <a:pt x="89790" y="97100"/>
                      <a:pt x="85821" y="100572"/>
                    </a:cubicBezTo>
                    <a:cubicBezTo>
                      <a:pt x="81357" y="104045"/>
                      <a:pt x="76396" y="106525"/>
                      <a:pt x="71435" y="108509"/>
                    </a:cubicBezTo>
                    <a:cubicBezTo>
                      <a:pt x="65978" y="110990"/>
                      <a:pt x="61514" y="112478"/>
                      <a:pt x="56057" y="111982"/>
                    </a:cubicBezTo>
                    <a:cubicBezTo>
                      <a:pt x="51096" y="111486"/>
                      <a:pt x="45639" y="110494"/>
                      <a:pt x="40678" y="106525"/>
                    </a:cubicBezTo>
                    <a:cubicBezTo>
                      <a:pt x="37206" y="103548"/>
                      <a:pt x="35221" y="98092"/>
                      <a:pt x="31749" y="92635"/>
                    </a:cubicBezTo>
                    <a:cubicBezTo>
                      <a:pt x="29269" y="88666"/>
                      <a:pt x="24308" y="84698"/>
                      <a:pt x="21828" y="79241"/>
                    </a:cubicBezTo>
                    <a:cubicBezTo>
                      <a:pt x="19843" y="74776"/>
                      <a:pt x="17859" y="69319"/>
                      <a:pt x="15875" y="63862"/>
                    </a:cubicBezTo>
                    <a:cubicBezTo>
                      <a:pt x="14386" y="58901"/>
                      <a:pt x="13890" y="53445"/>
                      <a:pt x="12402" y="47988"/>
                    </a:cubicBezTo>
                    <a:cubicBezTo>
                      <a:pt x="10914" y="43027"/>
                      <a:pt x="9426" y="37570"/>
                      <a:pt x="7937" y="32113"/>
                    </a:cubicBezTo>
                    <a:cubicBezTo>
                      <a:pt x="6945" y="27153"/>
                      <a:pt x="5457" y="21696"/>
                      <a:pt x="3969" y="16239"/>
                    </a:cubicBezTo>
                    <a:cubicBezTo>
                      <a:pt x="2976" y="10782"/>
                      <a:pt x="992" y="6317"/>
                      <a:pt x="0" y="36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6" name="Freeform: Shape 1615">
                <a:extLst>
                  <a:ext uri="{FF2B5EF4-FFF2-40B4-BE49-F238E27FC236}">
                    <a16:creationId xmlns:a16="http://schemas.microsoft.com/office/drawing/2014/main" id="{66EC77BB-8604-4500-EC00-C07BAB4A059C}"/>
                  </a:ext>
                </a:extLst>
              </p:cNvPr>
              <p:cNvSpPr/>
              <p:nvPr/>
            </p:nvSpPr>
            <p:spPr>
              <a:xfrm>
                <a:off x="4915705" y="4831798"/>
                <a:ext cx="116378" cy="258823"/>
              </a:xfrm>
              <a:custGeom>
                <a:avLst/>
                <a:gdLst>
                  <a:gd name="connsiteX0" fmla="*/ 8730 w 116378"/>
                  <a:gd name="connsiteY0" fmla="*/ 0 h 258823"/>
                  <a:gd name="connsiteX1" fmla="*/ 9226 w 116378"/>
                  <a:gd name="connsiteY1" fmla="*/ 13890 h 258823"/>
                  <a:gd name="connsiteX2" fmla="*/ 9722 w 116378"/>
                  <a:gd name="connsiteY2" fmla="*/ 27780 h 258823"/>
                  <a:gd name="connsiteX3" fmla="*/ 5257 w 116378"/>
                  <a:gd name="connsiteY3" fmla="*/ 37206 h 258823"/>
                  <a:gd name="connsiteX4" fmla="*/ 297 w 116378"/>
                  <a:gd name="connsiteY4" fmla="*/ 54569 h 258823"/>
                  <a:gd name="connsiteX5" fmla="*/ 1289 w 116378"/>
                  <a:gd name="connsiteY5" fmla="*/ 72924 h 258823"/>
                  <a:gd name="connsiteX6" fmla="*/ 8234 w 116378"/>
                  <a:gd name="connsiteY6" fmla="*/ 90286 h 258823"/>
                  <a:gd name="connsiteX7" fmla="*/ 8234 w 116378"/>
                  <a:gd name="connsiteY7" fmla="*/ 89790 h 258823"/>
                  <a:gd name="connsiteX8" fmla="*/ 8234 w 116378"/>
                  <a:gd name="connsiteY8" fmla="*/ 105169 h 258823"/>
                  <a:gd name="connsiteX9" fmla="*/ 8730 w 116378"/>
                  <a:gd name="connsiteY9" fmla="*/ 120547 h 258823"/>
                  <a:gd name="connsiteX10" fmla="*/ 8234 w 116378"/>
                  <a:gd name="connsiteY10" fmla="*/ 135925 h 258823"/>
                  <a:gd name="connsiteX11" fmla="*/ 8234 w 116378"/>
                  <a:gd name="connsiteY11" fmla="*/ 151304 h 258823"/>
                  <a:gd name="connsiteX12" fmla="*/ 8234 w 116378"/>
                  <a:gd name="connsiteY12" fmla="*/ 166682 h 258823"/>
                  <a:gd name="connsiteX13" fmla="*/ 9226 w 116378"/>
                  <a:gd name="connsiteY13" fmla="*/ 182061 h 258823"/>
                  <a:gd name="connsiteX14" fmla="*/ 8730 w 116378"/>
                  <a:gd name="connsiteY14" fmla="*/ 197439 h 258823"/>
                  <a:gd name="connsiteX15" fmla="*/ 8730 w 116378"/>
                  <a:gd name="connsiteY15" fmla="*/ 212818 h 258823"/>
                  <a:gd name="connsiteX16" fmla="*/ 8234 w 116378"/>
                  <a:gd name="connsiteY16" fmla="*/ 228196 h 258823"/>
                  <a:gd name="connsiteX17" fmla="*/ 8234 w 116378"/>
                  <a:gd name="connsiteY17" fmla="*/ 243078 h 258823"/>
                  <a:gd name="connsiteX18" fmla="*/ 22620 w 116378"/>
                  <a:gd name="connsiteY18" fmla="*/ 245559 h 258823"/>
                  <a:gd name="connsiteX19" fmla="*/ 37999 w 116378"/>
                  <a:gd name="connsiteY19" fmla="*/ 246551 h 258823"/>
                  <a:gd name="connsiteX20" fmla="*/ 52881 w 116378"/>
                  <a:gd name="connsiteY20" fmla="*/ 249527 h 258823"/>
                  <a:gd name="connsiteX21" fmla="*/ 67763 w 116378"/>
                  <a:gd name="connsiteY21" fmla="*/ 251015 h 258823"/>
                  <a:gd name="connsiteX22" fmla="*/ 82646 w 116378"/>
                  <a:gd name="connsiteY22" fmla="*/ 254488 h 258823"/>
                  <a:gd name="connsiteX23" fmla="*/ 98520 w 116378"/>
                  <a:gd name="connsiteY23" fmla="*/ 256969 h 258823"/>
                  <a:gd name="connsiteX24" fmla="*/ 100008 w 116378"/>
                  <a:gd name="connsiteY24" fmla="*/ 239606 h 258823"/>
                  <a:gd name="connsiteX25" fmla="*/ 101000 w 116378"/>
                  <a:gd name="connsiteY25" fmla="*/ 222739 h 258823"/>
                  <a:gd name="connsiteX26" fmla="*/ 103481 w 116378"/>
                  <a:gd name="connsiteY26" fmla="*/ 205872 h 258823"/>
                  <a:gd name="connsiteX27" fmla="*/ 106457 w 116378"/>
                  <a:gd name="connsiteY27" fmla="*/ 189502 h 258823"/>
                  <a:gd name="connsiteX28" fmla="*/ 106457 w 116378"/>
                  <a:gd name="connsiteY28" fmla="*/ 172635 h 258823"/>
                  <a:gd name="connsiteX29" fmla="*/ 108442 w 116378"/>
                  <a:gd name="connsiteY29" fmla="*/ 155769 h 258823"/>
                  <a:gd name="connsiteX30" fmla="*/ 111914 w 116378"/>
                  <a:gd name="connsiteY30" fmla="*/ 139398 h 258823"/>
                  <a:gd name="connsiteX31" fmla="*/ 114395 w 116378"/>
                  <a:gd name="connsiteY31" fmla="*/ 122531 h 258823"/>
                  <a:gd name="connsiteX32" fmla="*/ 114395 w 116378"/>
                  <a:gd name="connsiteY32" fmla="*/ 105665 h 258823"/>
                  <a:gd name="connsiteX33" fmla="*/ 116379 w 116378"/>
                  <a:gd name="connsiteY33" fmla="*/ 88798 h 258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16378" h="258823">
                    <a:moveTo>
                      <a:pt x="8730" y="0"/>
                    </a:moveTo>
                    <a:cubicBezTo>
                      <a:pt x="8730" y="6945"/>
                      <a:pt x="9226" y="6945"/>
                      <a:pt x="9226" y="13890"/>
                    </a:cubicBezTo>
                    <a:cubicBezTo>
                      <a:pt x="9226" y="20835"/>
                      <a:pt x="10714" y="20835"/>
                      <a:pt x="9722" y="27780"/>
                    </a:cubicBezTo>
                    <a:cubicBezTo>
                      <a:pt x="8730" y="32741"/>
                      <a:pt x="7738" y="32741"/>
                      <a:pt x="5257" y="37206"/>
                    </a:cubicBezTo>
                    <a:cubicBezTo>
                      <a:pt x="2777" y="42663"/>
                      <a:pt x="793" y="48616"/>
                      <a:pt x="297" y="54569"/>
                    </a:cubicBezTo>
                    <a:cubicBezTo>
                      <a:pt x="-199" y="60522"/>
                      <a:pt x="-199" y="66971"/>
                      <a:pt x="1289" y="72924"/>
                    </a:cubicBezTo>
                    <a:cubicBezTo>
                      <a:pt x="2777" y="78877"/>
                      <a:pt x="4761" y="84829"/>
                      <a:pt x="8234" y="90286"/>
                    </a:cubicBezTo>
                    <a:cubicBezTo>
                      <a:pt x="8234" y="90286"/>
                      <a:pt x="8234" y="89790"/>
                      <a:pt x="8234" y="89790"/>
                    </a:cubicBezTo>
                    <a:cubicBezTo>
                      <a:pt x="8234" y="97727"/>
                      <a:pt x="8234" y="97727"/>
                      <a:pt x="8234" y="105169"/>
                    </a:cubicBezTo>
                    <a:cubicBezTo>
                      <a:pt x="8234" y="113106"/>
                      <a:pt x="8730" y="113106"/>
                      <a:pt x="8730" y="120547"/>
                    </a:cubicBezTo>
                    <a:cubicBezTo>
                      <a:pt x="8730" y="128484"/>
                      <a:pt x="8234" y="128484"/>
                      <a:pt x="8234" y="135925"/>
                    </a:cubicBezTo>
                    <a:cubicBezTo>
                      <a:pt x="8234" y="143367"/>
                      <a:pt x="8234" y="143863"/>
                      <a:pt x="8234" y="151304"/>
                    </a:cubicBezTo>
                    <a:cubicBezTo>
                      <a:pt x="8234" y="159241"/>
                      <a:pt x="8234" y="159241"/>
                      <a:pt x="8234" y="166682"/>
                    </a:cubicBezTo>
                    <a:cubicBezTo>
                      <a:pt x="8234" y="174619"/>
                      <a:pt x="9226" y="174619"/>
                      <a:pt x="9226" y="182061"/>
                    </a:cubicBezTo>
                    <a:cubicBezTo>
                      <a:pt x="9226" y="189998"/>
                      <a:pt x="8730" y="189998"/>
                      <a:pt x="8730" y="197439"/>
                    </a:cubicBezTo>
                    <a:cubicBezTo>
                      <a:pt x="8730" y="205376"/>
                      <a:pt x="8730" y="205376"/>
                      <a:pt x="8730" y="212818"/>
                    </a:cubicBezTo>
                    <a:cubicBezTo>
                      <a:pt x="8730" y="220755"/>
                      <a:pt x="8234" y="220755"/>
                      <a:pt x="8234" y="228196"/>
                    </a:cubicBezTo>
                    <a:cubicBezTo>
                      <a:pt x="8234" y="236133"/>
                      <a:pt x="3273" y="237125"/>
                      <a:pt x="8234" y="243078"/>
                    </a:cubicBezTo>
                    <a:cubicBezTo>
                      <a:pt x="13195" y="249031"/>
                      <a:pt x="15179" y="244566"/>
                      <a:pt x="22620" y="245559"/>
                    </a:cubicBezTo>
                    <a:cubicBezTo>
                      <a:pt x="30061" y="246551"/>
                      <a:pt x="30061" y="245559"/>
                      <a:pt x="37999" y="246551"/>
                    </a:cubicBezTo>
                    <a:cubicBezTo>
                      <a:pt x="45440" y="247543"/>
                      <a:pt x="45440" y="248535"/>
                      <a:pt x="52881" y="249527"/>
                    </a:cubicBezTo>
                    <a:cubicBezTo>
                      <a:pt x="60322" y="250519"/>
                      <a:pt x="60322" y="250023"/>
                      <a:pt x="67763" y="251015"/>
                    </a:cubicBezTo>
                    <a:cubicBezTo>
                      <a:pt x="75205" y="252008"/>
                      <a:pt x="75205" y="253000"/>
                      <a:pt x="82646" y="254488"/>
                    </a:cubicBezTo>
                    <a:cubicBezTo>
                      <a:pt x="90087" y="255480"/>
                      <a:pt x="92567" y="261929"/>
                      <a:pt x="98520" y="256969"/>
                    </a:cubicBezTo>
                    <a:cubicBezTo>
                      <a:pt x="104969" y="251511"/>
                      <a:pt x="99016" y="248039"/>
                      <a:pt x="100008" y="239606"/>
                    </a:cubicBezTo>
                    <a:cubicBezTo>
                      <a:pt x="101000" y="231172"/>
                      <a:pt x="100008" y="231172"/>
                      <a:pt x="101000" y="222739"/>
                    </a:cubicBezTo>
                    <a:cubicBezTo>
                      <a:pt x="101993" y="214306"/>
                      <a:pt x="102489" y="214306"/>
                      <a:pt x="103481" y="205872"/>
                    </a:cubicBezTo>
                    <a:cubicBezTo>
                      <a:pt x="104473" y="197439"/>
                      <a:pt x="105465" y="197439"/>
                      <a:pt x="106457" y="189502"/>
                    </a:cubicBezTo>
                    <a:cubicBezTo>
                      <a:pt x="107450" y="181068"/>
                      <a:pt x="105961" y="181068"/>
                      <a:pt x="106457" y="172635"/>
                    </a:cubicBezTo>
                    <a:cubicBezTo>
                      <a:pt x="107450" y="164202"/>
                      <a:pt x="107450" y="164202"/>
                      <a:pt x="108442" y="155769"/>
                    </a:cubicBezTo>
                    <a:cubicBezTo>
                      <a:pt x="109434" y="147335"/>
                      <a:pt x="110922" y="147335"/>
                      <a:pt x="111914" y="139398"/>
                    </a:cubicBezTo>
                    <a:cubicBezTo>
                      <a:pt x="112906" y="130965"/>
                      <a:pt x="113402" y="130965"/>
                      <a:pt x="114395" y="122531"/>
                    </a:cubicBezTo>
                    <a:cubicBezTo>
                      <a:pt x="115387" y="114098"/>
                      <a:pt x="113402" y="114098"/>
                      <a:pt x="114395" y="105665"/>
                    </a:cubicBezTo>
                    <a:cubicBezTo>
                      <a:pt x="115387" y="97231"/>
                      <a:pt x="115387" y="97231"/>
                      <a:pt x="116379" y="8879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7" name="Freeform: Shape 1616">
                <a:extLst>
                  <a:ext uri="{FF2B5EF4-FFF2-40B4-BE49-F238E27FC236}">
                    <a16:creationId xmlns:a16="http://schemas.microsoft.com/office/drawing/2014/main" id="{26B75471-930A-184D-AA52-ACA25318461D}"/>
                  </a:ext>
                </a:extLst>
              </p:cNvPr>
              <p:cNvSpPr/>
              <p:nvPr/>
            </p:nvSpPr>
            <p:spPr>
              <a:xfrm>
                <a:off x="4920162" y="5075869"/>
                <a:ext cx="137488" cy="316219"/>
              </a:xfrm>
              <a:custGeom>
                <a:avLst/>
                <a:gdLst>
                  <a:gd name="connsiteX0" fmla="*/ 1297 w 137488"/>
                  <a:gd name="connsiteY0" fmla="*/ 0 h 316219"/>
                  <a:gd name="connsiteX1" fmla="*/ 6258 w 137488"/>
                  <a:gd name="connsiteY1" fmla="*/ 15379 h 316219"/>
                  <a:gd name="connsiteX2" fmla="*/ 9234 w 137488"/>
                  <a:gd name="connsiteY2" fmla="*/ 31253 h 316219"/>
                  <a:gd name="connsiteX3" fmla="*/ 12707 w 137488"/>
                  <a:gd name="connsiteY3" fmla="*/ 47127 h 316219"/>
                  <a:gd name="connsiteX4" fmla="*/ 16676 w 137488"/>
                  <a:gd name="connsiteY4" fmla="*/ 62506 h 316219"/>
                  <a:gd name="connsiteX5" fmla="*/ 19156 w 137488"/>
                  <a:gd name="connsiteY5" fmla="*/ 78380 h 316219"/>
                  <a:gd name="connsiteX6" fmla="*/ 24613 w 137488"/>
                  <a:gd name="connsiteY6" fmla="*/ 93759 h 316219"/>
                  <a:gd name="connsiteX7" fmla="*/ 25605 w 137488"/>
                  <a:gd name="connsiteY7" fmla="*/ 110129 h 316219"/>
                  <a:gd name="connsiteX8" fmla="*/ 29078 w 137488"/>
                  <a:gd name="connsiteY8" fmla="*/ 126004 h 316219"/>
                  <a:gd name="connsiteX9" fmla="*/ 33542 w 137488"/>
                  <a:gd name="connsiteY9" fmla="*/ 141382 h 316219"/>
                  <a:gd name="connsiteX10" fmla="*/ 37511 w 137488"/>
                  <a:gd name="connsiteY10" fmla="*/ 156761 h 316219"/>
                  <a:gd name="connsiteX11" fmla="*/ 41976 w 137488"/>
                  <a:gd name="connsiteY11" fmla="*/ 172139 h 316219"/>
                  <a:gd name="connsiteX12" fmla="*/ 43960 w 137488"/>
                  <a:gd name="connsiteY12" fmla="*/ 188013 h 316219"/>
                  <a:gd name="connsiteX13" fmla="*/ 48425 w 137488"/>
                  <a:gd name="connsiteY13" fmla="*/ 203392 h 316219"/>
                  <a:gd name="connsiteX14" fmla="*/ 50409 w 137488"/>
                  <a:gd name="connsiteY14" fmla="*/ 219267 h 316219"/>
                  <a:gd name="connsiteX15" fmla="*/ 55370 w 137488"/>
                  <a:gd name="connsiteY15" fmla="*/ 235141 h 316219"/>
                  <a:gd name="connsiteX16" fmla="*/ 45448 w 137488"/>
                  <a:gd name="connsiteY16" fmla="*/ 248039 h 316219"/>
                  <a:gd name="connsiteX17" fmla="*/ 36519 w 137488"/>
                  <a:gd name="connsiteY17" fmla="*/ 261433 h 316219"/>
                  <a:gd name="connsiteX18" fmla="*/ 27589 w 137488"/>
                  <a:gd name="connsiteY18" fmla="*/ 274827 h 316219"/>
                  <a:gd name="connsiteX19" fmla="*/ 18164 w 137488"/>
                  <a:gd name="connsiteY19" fmla="*/ 287725 h 316219"/>
                  <a:gd name="connsiteX20" fmla="*/ 8242 w 137488"/>
                  <a:gd name="connsiteY20" fmla="*/ 300127 h 316219"/>
                  <a:gd name="connsiteX21" fmla="*/ 801 w 137488"/>
                  <a:gd name="connsiteY21" fmla="*/ 313521 h 316219"/>
                  <a:gd name="connsiteX22" fmla="*/ 13699 w 137488"/>
                  <a:gd name="connsiteY22" fmla="*/ 311537 h 316219"/>
                  <a:gd name="connsiteX23" fmla="*/ 27093 w 137488"/>
                  <a:gd name="connsiteY23" fmla="*/ 308561 h 316219"/>
                  <a:gd name="connsiteX24" fmla="*/ 40984 w 137488"/>
                  <a:gd name="connsiteY24" fmla="*/ 306080 h 316219"/>
                  <a:gd name="connsiteX25" fmla="*/ 47929 w 137488"/>
                  <a:gd name="connsiteY25" fmla="*/ 294174 h 316219"/>
                  <a:gd name="connsiteX26" fmla="*/ 55370 w 137488"/>
                  <a:gd name="connsiteY26" fmla="*/ 283261 h 316219"/>
                  <a:gd name="connsiteX27" fmla="*/ 58842 w 137488"/>
                  <a:gd name="connsiteY27" fmla="*/ 299135 h 316219"/>
                  <a:gd name="connsiteX28" fmla="*/ 58842 w 137488"/>
                  <a:gd name="connsiteY28" fmla="*/ 283757 h 316219"/>
                  <a:gd name="connsiteX29" fmla="*/ 60330 w 137488"/>
                  <a:gd name="connsiteY29" fmla="*/ 268378 h 316219"/>
                  <a:gd name="connsiteX30" fmla="*/ 60330 w 137488"/>
                  <a:gd name="connsiteY30" fmla="*/ 252503 h 316219"/>
                  <a:gd name="connsiteX31" fmla="*/ 62315 w 137488"/>
                  <a:gd name="connsiteY31" fmla="*/ 236133 h 316219"/>
                  <a:gd name="connsiteX32" fmla="*/ 64299 w 137488"/>
                  <a:gd name="connsiteY32" fmla="*/ 252999 h 316219"/>
                  <a:gd name="connsiteX33" fmla="*/ 67772 w 137488"/>
                  <a:gd name="connsiteY33" fmla="*/ 268874 h 316219"/>
                  <a:gd name="connsiteX34" fmla="*/ 69756 w 137488"/>
                  <a:gd name="connsiteY34" fmla="*/ 285245 h 316219"/>
                  <a:gd name="connsiteX35" fmla="*/ 72732 w 137488"/>
                  <a:gd name="connsiteY35" fmla="*/ 302111 h 316219"/>
                  <a:gd name="connsiteX36" fmla="*/ 79678 w 137488"/>
                  <a:gd name="connsiteY36" fmla="*/ 280780 h 316219"/>
                  <a:gd name="connsiteX37" fmla="*/ 88111 w 137488"/>
                  <a:gd name="connsiteY37" fmla="*/ 299135 h 316219"/>
                  <a:gd name="connsiteX38" fmla="*/ 104482 w 137488"/>
                  <a:gd name="connsiteY38" fmla="*/ 303600 h 316219"/>
                  <a:gd name="connsiteX39" fmla="*/ 120852 w 137488"/>
                  <a:gd name="connsiteY39" fmla="*/ 306576 h 316219"/>
                  <a:gd name="connsiteX40" fmla="*/ 136230 w 137488"/>
                  <a:gd name="connsiteY40" fmla="*/ 309552 h 316219"/>
                  <a:gd name="connsiteX41" fmla="*/ 126805 w 137488"/>
                  <a:gd name="connsiteY41" fmla="*/ 296159 h 316219"/>
                  <a:gd name="connsiteX42" fmla="*/ 115891 w 137488"/>
                  <a:gd name="connsiteY42" fmla="*/ 283261 h 316219"/>
                  <a:gd name="connsiteX43" fmla="*/ 103985 w 137488"/>
                  <a:gd name="connsiteY43" fmla="*/ 270859 h 316219"/>
                  <a:gd name="connsiteX44" fmla="*/ 92576 w 137488"/>
                  <a:gd name="connsiteY44" fmla="*/ 257960 h 316219"/>
                  <a:gd name="connsiteX45" fmla="*/ 81166 w 137488"/>
                  <a:gd name="connsiteY45" fmla="*/ 245062 h 316219"/>
                  <a:gd name="connsiteX46" fmla="*/ 69260 w 137488"/>
                  <a:gd name="connsiteY46" fmla="*/ 232164 h 316219"/>
                  <a:gd name="connsiteX47" fmla="*/ 72236 w 137488"/>
                  <a:gd name="connsiteY47" fmla="*/ 216290 h 316219"/>
                  <a:gd name="connsiteX48" fmla="*/ 72236 w 137488"/>
                  <a:gd name="connsiteY48" fmla="*/ 200415 h 316219"/>
                  <a:gd name="connsiteX49" fmla="*/ 75213 w 137488"/>
                  <a:gd name="connsiteY49" fmla="*/ 185037 h 316219"/>
                  <a:gd name="connsiteX50" fmla="*/ 74717 w 137488"/>
                  <a:gd name="connsiteY50" fmla="*/ 169163 h 316219"/>
                  <a:gd name="connsiteX51" fmla="*/ 76205 w 137488"/>
                  <a:gd name="connsiteY51" fmla="*/ 153784 h 316219"/>
                  <a:gd name="connsiteX52" fmla="*/ 77693 w 137488"/>
                  <a:gd name="connsiteY52" fmla="*/ 138406 h 316219"/>
                  <a:gd name="connsiteX53" fmla="*/ 79181 w 137488"/>
                  <a:gd name="connsiteY53" fmla="*/ 123027 h 316219"/>
                  <a:gd name="connsiteX54" fmla="*/ 81662 w 137488"/>
                  <a:gd name="connsiteY54" fmla="*/ 107649 h 316219"/>
                  <a:gd name="connsiteX55" fmla="*/ 82158 w 137488"/>
                  <a:gd name="connsiteY55" fmla="*/ 91774 h 316219"/>
                  <a:gd name="connsiteX56" fmla="*/ 84142 w 137488"/>
                  <a:gd name="connsiteY56" fmla="*/ 76396 h 316219"/>
                  <a:gd name="connsiteX57" fmla="*/ 85631 w 137488"/>
                  <a:gd name="connsiteY57" fmla="*/ 60522 h 316219"/>
                  <a:gd name="connsiteX58" fmla="*/ 86127 w 137488"/>
                  <a:gd name="connsiteY58" fmla="*/ 44647 h 316219"/>
                  <a:gd name="connsiteX59" fmla="*/ 88607 w 137488"/>
                  <a:gd name="connsiteY59" fmla="*/ 29268 h 316219"/>
                  <a:gd name="connsiteX60" fmla="*/ 89599 w 137488"/>
                  <a:gd name="connsiteY60" fmla="*/ 13394 h 316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137488" h="316219">
                    <a:moveTo>
                      <a:pt x="1297" y="0"/>
                    </a:moveTo>
                    <a:cubicBezTo>
                      <a:pt x="3281" y="7937"/>
                      <a:pt x="4770" y="7441"/>
                      <a:pt x="6258" y="15379"/>
                    </a:cubicBezTo>
                    <a:cubicBezTo>
                      <a:pt x="8242" y="23316"/>
                      <a:pt x="7250" y="23316"/>
                      <a:pt x="9234" y="31253"/>
                    </a:cubicBezTo>
                    <a:cubicBezTo>
                      <a:pt x="11219" y="39190"/>
                      <a:pt x="11219" y="39190"/>
                      <a:pt x="12707" y="47127"/>
                    </a:cubicBezTo>
                    <a:cubicBezTo>
                      <a:pt x="14691" y="55065"/>
                      <a:pt x="14691" y="55065"/>
                      <a:pt x="16676" y="62506"/>
                    </a:cubicBezTo>
                    <a:cubicBezTo>
                      <a:pt x="18660" y="70443"/>
                      <a:pt x="17668" y="70443"/>
                      <a:pt x="19156" y="78380"/>
                    </a:cubicBezTo>
                    <a:cubicBezTo>
                      <a:pt x="21140" y="86317"/>
                      <a:pt x="22629" y="85821"/>
                      <a:pt x="24613" y="93759"/>
                    </a:cubicBezTo>
                    <a:cubicBezTo>
                      <a:pt x="26597" y="101696"/>
                      <a:pt x="24117" y="102192"/>
                      <a:pt x="25605" y="110129"/>
                    </a:cubicBezTo>
                    <a:cubicBezTo>
                      <a:pt x="27589" y="118066"/>
                      <a:pt x="27589" y="118066"/>
                      <a:pt x="29078" y="126004"/>
                    </a:cubicBezTo>
                    <a:cubicBezTo>
                      <a:pt x="31062" y="133941"/>
                      <a:pt x="31558" y="133445"/>
                      <a:pt x="33542" y="141382"/>
                    </a:cubicBezTo>
                    <a:cubicBezTo>
                      <a:pt x="35527" y="149320"/>
                      <a:pt x="35527" y="149320"/>
                      <a:pt x="37511" y="156761"/>
                    </a:cubicBezTo>
                    <a:cubicBezTo>
                      <a:pt x="39495" y="164698"/>
                      <a:pt x="40487" y="164202"/>
                      <a:pt x="41976" y="172139"/>
                    </a:cubicBezTo>
                    <a:cubicBezTo>
                      <a:pt x="43960" y="180076"/>
                      <a:pt x="42472" y="180076"/>
                      <a:pt x="43960" y="188013"/>
                    </a:cubicBezTo>
                    <a:cubicBezTo>
                      <a:pt x="45944" y="195950"/>
                      <a:pt x="46936" y="195455"/>
                      <a:pt x="48425" y="203392"/>
                    </a:cubicBezTo>
                    <a:cubicBezTo>
                      <a:pt x="50409" y="211329"/>
                      <a:pt x="48921" y="211825"/>
                      <a:pt x="50409" y="219267"/>
                    </a:cubicBezTo>
                    <a:cubicBezTo>
                      <a:pt x="52393" y="227204"/>
                      <a:pt x="56858" y="227204"/>
                      <a:pt x="55370" y="235141"/>
                    </a:cubicBezTo>
                    <a:cubicBezTo>
                      <a:pt x="53882" y="243078"/>
                      <a:pt x="49913" y="241590"/>
                      <a:pt x="45448" y="248039"/>
                    </a:cubicBezTo>
                    <a:cubicBezTo>
                      <a:pt x="40984" y="254488"/>
                      <a:pt x="40984" y="254488"/>
                      <a:pt x="36519" y="261433"/>
                    </a:cubicBezTo>
                    <a:cubicBezTo>
                      <a:pt x="32054" y="267882"/>
                      <a:pt x="32054" y="268378"/>
                      <a:pt x="27589" y="274827"/>
                    </a:cubicBezTo>
                    <a:cubicBezTo>
                      <a:pt x="23125" y="281276"/>
                      <a:pt x="22629" y="281276"/>
                      <a:pt x="18164" y="287725"/>
                    </a:cubicBezTo>
                    <a:cubicBezTo>
                      <a:pt x="13699" y="294174"/>
                      <a:pt x="12707" y="293678"/>
                      <a:pt x="8242" y="300127"/>
                    </a:cubicBezTo>
                    <a:cubicBezTo>
                      <a:pt x="3778" y="306576"/>
                      <a:pt x="-2175" y="306080"/>
                      <a:pt x="801" y="313521"/>
                    </a:cubicBezTo>
                    <a:cubicBezTo>
                      <a:pt x="3281" y="319970"/>
                      <a:pt x="6754" y="313025"/>
                      <a:pt x="13699" y="311537"/>
                    </a:cubicBezTo>
                    <a:cubicBezTo>
                      <a:pt x="20644" y="310048"/>
                      <a:pt x="20644" y="310048"/>
                      <a:pt x="27093" y="308561"/>
                    </a:cubicBezTo>
                    <a:cubicBezTo>
                      <a:pt x="34038" y="307072"/>
                      <a:pt x="35527" y="310048"/>
                      <a:pt x="40984" y="306080"/>
                    </a:cubicBezTo>
                    <a:cubicBezTo>
                      <a:pt x="46440" y="302111"/>
                      <a:pt x="43960" y="299631"/>
                      <a:pt x="47929" y="294174"/>
                    </a:cubicBezTo>
                    <a:cubicBezTo>
                      <a:pt x="51897" y="288717"/>
                      <a:pt x="49417" y="280284"/>
                      <a:pt x="55370" y="283261"/>
                    </a:cubicBezTo>
                    <a:cubicBezTo>
                      <a:pt x="62811" y="286733"/>
                      <a:pt x="50905" y="298143"/>
                      <a:pt x="58842" y="299135"/>
                    </a:cubicBezTo>
                    <a:cubicBezTo>
                      <a:pt x="66779" y="300127"/>
                      <a:pt x="58346" y="291694"/>
                      <a:pt x="58842" y="283757"/>
                    </a:cubicBezTo>
                    <a:cubicBezTo>
                      <a:pt x="59338" y="275820"/>
                      <a:pt x="59835" y="275820"/>
                      <a:pt x="60330" y="268378"/>
                    </a:cubicBezTo>
                    <a:cubicBezTo>
                      <a:pt x="60827" y="260441"/>
                      <a:pt x="59835" y="260441"/>
                      <a:pt x="60330" y="252503"/>
                    </a:cubicBezTo>
                    <a:cubicBezTo>
                      <a:pt x="60827" y="244566"/>
                      <a:pt x="54377" y="235141"/>
                      <a:pt x="62315" y="236133"/>
                    </a:cubicBezTo>
                    <a:cubicBezTo>
                      <a:pt x="70252" y="237125"/>
                      <a:pt x="62811" y="245062"/>
                      <a:pt x="64299" y="252999"/>
                    </a:cubicBezTo>
                    <a:cubicBezTo>
                      <a:pt x="65787" y="260937"/>
                      <a:pt x="66779" y="260937"/>
                      <a:pt x="67772" y="268874"/>
                    </a:cubicBezTo>
                    <a:cubicBezTo>
                      <a:pt x="69260" y="276811"/>
                      <a:pt x="68764" y="276811"/>
                      <a:pt x="69756" y="285245"/>
                    </a:cubicBezTo>
                    <a:cubicBezTo>
                      <a:pt x="71244" y="293182"/>
                      <a:pt x="65787" y="306080"/>
                      <a:pt x="72732" y="302111"/>
                    </a:cubicBezTo>
                    <a:cubicBezTo>
                      <a:pt x="82654" y="296159"/>
                      <a:pt x="68268" y="282764"/>
                      <a:pt x="79678" y="280780"/>
                    </a:cubicBezTo>
                    <a:cubicBezTo>
                      <a:pt x="90095" y="278796"/>
                      <a:pt x="80174" y="292190"/>
                      <a:pt x="88111" y="299135"/>
                    </a:cubicBezTo>
                    <a:cubicBezTo>
                      <a:pt x="94560" y="304592"/>
                      <a:pt x="96544" y="301615"/>
                      <a:pt x="104482" y="303600"/>
                    </a:cubicBezTo>
                    <a:cubicBezTo>
                      <a:pt x="112419" y="305584"/>
                      <a:pt x="112915" y="304592"/>
                      <a:pt x="120852" y="306576"/>
                    </a:cubicBezTo>
                    <a:cubicBezTo>
                      <a:pt x="128789" y="308561"/>
                      <a:pt x="132262" y="316994"/>
                      <a:pt x="136230" y="309552"/>
                    </a:cubicBezTo>
                    <a:cubicBezTo>
                      <a:pt x="140695" y="302111"/>
                      <a:pt x="132262" y="303104"/>
                      <a:pt x="126805" y="296159"/>
                    </a:cubicBezTo>
                    <a:cubicBezTo>
                      <a:pt x="121348" y="289709"/>
                      <a:pt x="121348" y="289709"/>
                      <a:pt x="115891" y="283261"/>
                    </a:cubicBezTo>
                    <a:cubicBezTo>
                      <a:pt x="110435" y="276811"/>
                      <a:pt x="109938" y="277307"/>
                      <a:pt x="103985" y="270859"/>
                    </a:cubicBezTo>
                    <a:cubicBezTo>
                      <a:pt x="98529" y="264409"/>
                      <a:pt x="98529" y="264409"/>
                      <a:pt x="92576" y="257960"/>
                    </a:cubicBezTo>
                    <a:cubicBezTo>
                      <a:pt x="87119" y="251512"/>
                      <a:pt x="86623" y="251512"/>
                      <a:pt x="81166" y="245062"/>
                    </a:cubicBezTo>
                    <a:cubicBezTo>
                      <a:pt x="75709" y="238614"/>
                      <a:pt x="71740" y="240102"/>
                      <a:pt x="69260" y="232164"/>
                    </a:cubicBezTo>
                    <a:cubicBezTo>
                      <a:pt x="66779" y="224723"/>
                      <a:pt x="71740" y="224227"/>
                      <a:pt x="72236" y="216290"/>
                    </a:cubicBezTo>
                    <a:cubicBezTo>
                      <a:pt x="73229" y="208352"/>
                      <a:pt x="71740" y="208352"/>
                      <a:pt x="72236" y="200415"/>
                    </a:cubicBezTo>
                    <a:cubicBezTo>
                      <a:pt x="73229" y="192478"/>
                      <a:pt x="74717" y="192974"/>
                      <a:pt x="75213" y="185037"/>
                    </a:cubicBezTo>
                    <a:cubicBezTo>
                      <a:pt x="76205" y="177100"/>
                      <a:pt x="74221" y="177100"/>
                      <a:pt x="74717" y="169163"/>
                    </a:cubicBezTo>
                    <a:cubicBezTo>
                      <a:pt x="75709" y="161225"/>
                      <a:pt x="75709" y="161225"/>
                      <a:pt x="76205" y="153784"/>
                    </a:cubicBezTo>
                    <a:cubicBezTo>
                      <a:pt x="77197" y="145847"/>
                      <a:pt x="77197" y="145847"/>
                      <a:pt x="77693" y="138406"/>
                    </a:cubicBezTo>
                    <a:cubicBezTo>
                      <a:pt x="78685" y="130468"/>
                      <a:pt x="78685" y="130468"/>
                      <a:pt x="79181" y="123027"/>
                    </a:cubicBezTo>
                    <a:cubicBezTo>
                      <a:pt x="80174" y="115090"/>
                      <a:pt x="81166" y="115090"/>
                      <a:pt x="81662" y="107649"/>
                    </a:cubicBezTo>
                    <a:cubicBezTo>
                      <a:pt x="82654" y="99712"/>
                      <a:pt x="81166" y="99712"/>
                      <a:pt x="82158" y="91774"/>
                    </a:cubicBezTo>
                    <a:cubicBezTo>
                      <a:pt x="83150" y="83837"/>
                      <a:pt x="83646" y="83837"/>
                      <a:pt x="84142" y="76396"/>
                    </a:cubicBezTo>
                    <a:cubicBezTo>
                      <a:pt x="85134" y="68459"/>
                      <a:pt x="84638" y="68459"/>
                      <a:pt x="85631" y="60522"/>
                    </a:cubicBezTo>
                    <a:cubicBezTo>
                      <a:pt x="86623" y="52584"/>
                      <a:pt x="85631" y="52584"/>
                      <a:pt x="86127" y="44647"/>
                    </a:cubicBezTo>
                    <a:cubicBezTo>
                      <a:pt x="87119" y="36710"/>
                      <a:pt x="88111" y="36710"/>
                      <a:pt x="88607" y="29268"/>
                    </a:cubicBezTo>
                    <a:cubicBezTo>
                      <a:pt x="89599" y="21331"/>
                      <a:pt x="89103" y="21331"/>
                      <a:pt x="89599" y="1339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8" name="Freeform: Shape 1617">
                <a:extLst>
                  <a:ext uri="{FF2B5EF4-FFF2-40B4-BE49-F238E27FC236}">
                    <a16:creationId xmlns:a16="http://schemas.microsoft.com/office/drawing/2014/main" id="{6CA703C3-F866-4C12-7117-202E7FE35075}"/>
                  </a:ext>
                </a:extLst>
              </p:cNvPr>
              <p:cNvSpPr/>
              <p:nvPr/>
            </p:nvSpPr>
            <p:spPr>
              <a:xfrm>
                <a:off x="4966602" y="5102161"/>
                <a:ext cx="3472" cy="118066"/>
              </a:xfrm>
              <a:custGeom>
                <a:avLst/>
                <a:gdLst>
                  <a:gd name="connsiteX0" fmla="*/ 0 w 3472"/>
                  <a:gd name="connsiteY0" fmla="*/ 0 h 118066"/>
                  <a:gd name="connsiteX1" fmla="*/ 1488 w 3472"/>
                  <a:gd name="connsiteY1" fmla="*/ 16867 h 118066"/>
                  <a:gd name="connsiteX2" fmla="*/ 992 w 3472"/>
                  <a:gd name="connsiteY2" fmla="*/ 33734 h 118066"/>
                  <a:gd name="connsiteX3" fmla="*/ 2480 w 3472"/>
                  <a:gd name="connsiteY3" fmla="*/ 50600 h 118066"/>
                  <a:gd name="connsiteX4" fmla="*/ 992 w 3472"/>
                  <a:gd name="connsiteY4" fmla="*/ 67466 h 118066"/>
                  <a:gd name="connsiteX5" fmla="*/ 1984 w 3472"/>
                  <a:gd name="connsiteY5" fmla="*/ 84333 h 118066"/>
                  <a:gd name="connsiteX6" fmla="*/ 1984 w 3472"/>
                  <a:gd name="connsiteY6" fmla="*/ 101200 h 118066"/>
                  <a:gd name="connsiteX7" fmla="*/ 3473 w 3472"/>
                  <a:gd name="connsiteY7" fmla="*/ 118067 h 118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72" h="118066">
                    <a:moveTo>
                      <a:pt x="0" y="0"/>
                    </a:moveTo>
                    <a:cubicBezTo>
                      <a:pt x="0" y="8433"/>
                      <a:pt x="1488" y="8433"/>
                      <a:pt x="1488" y="16867"/>
                    </a:cubicBezTo>
                    <a:cubicBezTo>
                      <a:pt x="1488" y="25300"/>
                      <a:pt x="992" y="25300"/>
                      <a:pt x="992" y="33734"/>
                    </a:cubicBezTo>
                    <a:cubicBezTo>
                      <a:pt x="992" y="42167"/>
                      <a:pt x="2480" y="42167"/>
                      <a:pt x="2480" y="50600"/>
                    </a:cubicBezTo>
                    <a:cubicBezTo>
                      <a:pt x="2480" y="59033"/>
                      <a:pt x="496" y="59033"/>
                      <a:pt x="992" y="67466"/>
                    </a:cubicBezTo>
                    <a:cubicBezTo>
                      <a:pt x="992" y="75900"/>
                      <a:pt x="1488" y="75900"/>
                      <a:pt x="1984" y="84333"/>
                    </a:cubicBezTo>
                    <a:cubicBezTo>
                      <a:pt x="1984" y="92766"/>
                      <a:pt x="1984" y="92766"/>
                      <a:pt x="1984" y="101200"/>
                    </a:cubicBezTo>
                    <a:cubicBezTo>
                      <a:pt x="1984" y="109633"/>
                      <a:pt x="3473" y="109633"/>
                      <a:pt x="3473" y="11806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9" name="Freeform: Shape 1618">
                <a:extLst>
                  <a:ext uri="{FF2B5EF4-FFF2-40B4-BE49-F238E27FC236}">
                    <a16:creationId xmlns:a16="http://schemas.microsoft.com/office/drawing/2014/main" id="{B3148D80-9953-D9E7-AD0A-1695500A898D}"/>
                  </a:ext>
                </a:extLst>
              </p:cNvPr>
              <p:cNvSpPr/>
              <p:nvPr/>
            </p:nvSpPr>
            <p:spPr>
              <a:xfrm>
                <a:off x="4933861" y="4674046"/>
                <a:ext cx="6944" cy="21331"/>
              </a:xfrm>
              <a:custGeom>
                <a:avLst/>
                <a:gdLst>
                  <a:gd name="connsiteX0" fmla="*/ 6945 w 6944"/>
                  <a:gd name="connsiteY0" fmla="*/ 0 h 21331"/>
                  <a:gd name="connsiteX1" fmla="*/ 0 w 6944"/>
                  <a:gd name="connsiteY1" fmla="*/ 21331 h 2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4" h="21331">
                    <a:moveTo>
                      <a:pt x="6945" y="0"/>
                    </a:moveTo>
                    <a:cubicBezTo>
                      <a:pt x="3969" y="10914"/>
                      <a:pt x="2976" y="10418"/>
                      <a:pt x="0" y="2133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0" name="Freeform: Shape 1619">
                <a:extLst>
                  <a:ext uri="{FF2B5EF4-FFF2-40B4-BE49-F238E27FC236}">
                    <a16:creationId xmlns:a16="http://schemas.microsoft.com/office/drawing/2014/main" id="{C435EF89-08B2-CBD4-7426-1C568394B549}"/>
                  </a:ext>
                </a:extLst>
              </p:cNvPr>
              <p:cNvSpPr/>
              <p:nvPr/>
            </p:nvSpPr>
            <p:spPr>
              <a:xfrm>
                <a:off x="4963129" y="4681487"/>
                <a:ext cx="7441" cy="21331"/>
              </a:xfrm>
              <a:custGeom>
                <a:avLst/>
                <a:gdLst>
                  <a:gd name="connsiteX0" fmla="*/ 7441 w 7441"/>
                  <a:gd name="connsiteY0" fmla="*/ 0 h 21331"/>
                  <a:gd name="connsiteX1" fmla="*/ 0 w 7441"/>
                  <a:gd name="connsiteY1" fmla="*/ 21331 h 2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41" h="21331">
                    <a:moveTo>
                      <a:pt x="7441" y="0"/>
                    </a:moveTo>
                    <a:cubicBezTo>
                      <a:pt x="4465" y="10914"/>
                      <a:pt x="3473" y="10418"/>
                      <a:pt x="0" y="2133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1" name="Freeform: Shape 1620">
                <a:extLst>
                  <a:ext uri="{FF2B5EF4-FFF2-40B4-BE49-F238E27FC236}">
                    <a16:creationId xmlns:a16="http://schemas.microsoft.com/office/drawing/2014/main" id="{3CE6424A-59EF-DBA9-3BA4-0C621169EA6B}"/>
                  </a:ext>
                </a:extLst>
              </p:cNvPr>
              <p:cNvSpPr/>
              <p:nvPr/>
            </p:nvSpPr>
            <p:spPr>
              <a:xfrm>
                <a:off x="4952215" y="4620965"/>
                <a:ext cx="126499" cy="111121"/>
              </a:xfrm>
              <a:custGeom>
                <a:avLst/>
                <a:gdLst>
                  <a:gd name="connsiteX0" fmla="*/ 0 w 126499"/>
                  <a:gd name="connsiteY0" fmla="*/ 0 h 111121"/>
                  <a:gd name="connsiteX1" fmla="*/ 10418 w 126499"/>
                  <a:gd name="connsiteY1" fmla="*/ 11906 h 111121"/>
                  <a:gd name="connsiteX2" fmla="*/ 20339 w 126499"/>
                  <a:gd name="connsiteY2" fmla="*/ 23812 h 111121"/>
                  <a:gd name="connsiteX3" fmla="*/ 30757 w 126499"/>
                  <a:gd name="connsiteY3" fmla="*/ 35221 h 111121"/>
                  <a:gd name="connsiteX4" fmla="*/ 40182 w 126499"/>
                  <a:gd name="connsiteY4" fmla="*/ 47623 h 111121"/>
                  <a:gd name="connsiteX5" fmla="*/ 51592 w 126499"/>
                  <a:gd name="connsiteY5" fmla="*/ 58041 h 111121"/>
                  <a:gd name="connsiteX6" fmla="*/ 61514 w 126499"/>
                  <a:gd name="connsiteY6" fmla="*/ 69947 h 111121"/>
                  <a:gd name="connsiteX7" fmla="*/ 73420 w 126499"/>
                  <a:gd name="connsiteY7" fmla="*/ 80365 h 111121"/>
                  <a:gd name="connsiteX8" fmla="*/ 84830 w 126499"/>
                  <a:gd name="connsiteY8" fmla="*/ 91278 h 111121"/>
                  <a:gd name="connsiteX9" fmla="*/ 97727 w 126499"/>
                  <a:gd name="connsiteY9" fmla="*/ 100208 h 111121"/>
                  <a:gd name="connsiteX10" fmla="*/ 112114 w 126499"/>
                  <a:gd name="connsiteY10" fmla="*/ 106657 h 111121"/>
                  <a:gd name="connsiteX11" fmla="*/ 126500 w 126499"/>
                  <a:gd name="connsiteY11" fmla="*/ 111122 h 111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6499" h="111121">
                    <a:moveTo>
                      <a:pt x="0" y="0"/>
                    </a:moveTo>
                    <a:cubicBezTo>
                      <a:pt x="4961" y="5953"/>
                      <a:pt x="3969" y="4465"/>
                      <a:pt x="10418" y="11906"/>
                    </a:cubicBezTo>
                    <a:cubicBezTo>
                      <a:pt x="13394" y="15378"/>
                      <a:pt x="16371" y="19347"/>
                      <a:pt x="20339" y="23812"/>
                    </a:cubicBezTo>
                    <a:cubicBezTo>
                      <a:pt x="23316" y="27284"/>
                      <a:pt x="27284" y="31253"/>
                      <a:pt x="30757" y="35221"/>
                    </a:cubicBezTo>
                    <a:cubicBezTo>
                      <a:pt x="34230" y="39190"/>
                      <a:pt x="36710" y="43655"/>
                      <a:pt x="40182" y="47623"/>
                    </a:cubicBezTo>
                    <a:cubicBezTo>
                      <a:pt x="43655" y="51592"/>
                      <a:pt x="48120" y="54073"/>
                      <a:pt x="51592" y="58041"/>
                    </a:cubicBezTo>
                    <a:cubicBezTo>
                      <a:pt x="55065" y="61514"/>
                      <a:pt x="58041" y="66475"/>
                      <a:pt x="61514" y="69947"/>
                    </a:cubicBezTo>
                    <a:cubicBezTo>
                      <a:pt x="65482" y="73419"/>
                      <a:pt x="69451" y="76892"/>
                      <a:pt x="73420" y="80365"/>
                    </a:cubicBezTo>
                    <a:cubicBezTo>
                      <a:pt x="77388" y="83837"/>
                      <a:pt x="80861" y="88302"/>
                      <a:pt x="84830" y="91278"/>
                    </a:cubicBezTo>
                    <a:cubicBezTo>
                      <a:pt x="88798" y="94751"/>
                      <a:pt x="93759" y="97727"/>
                      <a:pt x="97727" y="100208"/>
                    </a:cubicBezTo>
                    <a:cubicBezTo>
                      <a:pt x="102192" y="103184"/>
                      <a:pt x="107649" y="104672"/>
                      <a:pt x="112114" y="106657"/>
                    </a:cubicBezTo>
                    <a:cubicBezTo>
                      <a:pt x="117571" y="109137"/>
                      <a:pt x="122035" y="111122"/>
                      <a:pt x="126500" y="11112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2" name="Freeform: Shape 1621">
                <a:extLst>
                  <a:ext uri="{FF2B5EF4-FFF2-40B4-BE49-F238E27FC236}">
                    <a16:creationId xmlns:a16="http://schemas.microsoft.com/office/drawing/2014/main" id="{3D85417D-24BF-3715-AEDE-139C026E774C}"/>
                  </a:ext>
                </a:extLst>
              </p:cNvPr>
              <p:cNvSpPr/>
              <p:nvPr/>
            </p:nvSpPr>
            <p:spPr>
              <a:xfrm>
                <a:off x="5074747" y="4702818"/>
                <a:ext cx="116183" cy="220555"/>
              </a:xfrm>
              <a:custGeom>
                <a:avLst/>
                <a:gdLst>
                  <a:gd name="connsiteX0" fmla="*/ 992 w 116183"/>
                  <a:gd name="connsiteY0" fmla="*/ 0 h 220555"/>
                  <a:gd name="connsiteX1" fmla="*/ 8929 w 116183"/>
                  <a:gd name="connsiteY1" fmla="*/ 12898 h 220555"/>
                  <a:gd name="connsiteX2" fmla="*/ 15875 w 116183"/>
                  <a:gd name="connsiteY2" fmla="*/ 26788 h 220555"/>
                  <a:gd name="connsiteX3" fmla="*/ 19347 w 116183"/>
                  <a:gd name="connsiteY3" fmla="*/ 41671 h 220555"/>
                  <a:gd name="connsiteX4" fmla="*/ 23316 w 116183"/>
                  <a:gd name="connsiteY4" fmla="*/ 56553 h 220555"/>
                  <a:gd name="connsiteX5" fmla="*/ 23812 w 116183"/>
                  <a:gd name="connsiteY5" fmla="*/ 71931 h 220555"/>
                  <a:gd name="connsiteX6" fmla="*/ 24308 w 116183"/>
                  <a:gd name="connsiteY6" fmla="*/ 87310 h 220555"/>
                  <a:gd name="connsiteX7" fmla="*/ 25300 w 116183"/>
                  <a:gd name="connsiteY7" fmla="*/ 103184 h 220555"/>
                  <a:gd name="connsiteX8" fmla="*/ 31253 w 116183"/>
                  <a:gd name="connsiteY8" fmla="*/ 118066 h 220555"/>
                  <a:gd name="connsiteX9" fmla="*/ 39686 w 116183"/>
                  <a:gd name="connsiteY9" fmla="*/ 131957 h 220555"/>
                  <a:gd name="connsiteX10" fmla="*/ 50600 w 116183"/>
                  <a:gd name="connsiteY10" fmla="*/ 143863 h 220555"/>
                  <a:gd name="connsiteX11" fmla="*/ 63002 w 116183"/>
                  <a:gd name="connsiteY11" fmla="*/ 154776 h 220555"/>
                  <a:gd name="connsiteX12" fmla="*/ 77388 w 116183"/>
                  <a:gd name="connsiteY12" fmla="*/ 163210 h 220555"/>
                  <a:gd name="connsiteX13" fmla="*/ 93759 w 116183"/>
                  <a:gd name="connsiteY13" fmla="*/ 163210 h 220555"/>
                  <a:gd name="connsiteX14" fmla="*/ 107153 w 116183"/>
                  <a:gd name="connsiteY14" fmla="*/ 154776 h 220555"/>
                  <a:gd name="connsiteX15" fmla="*/ 114098 w 116183"/>
                  <a:gd name="connsiteY15" fmla="*/ 139894 h 220555"/>
                  <a:gd name="connsiteX16" fmla="*/ 116082 w 116183"/>
                  <a:gd name="connsiteY16" fmla="*/ 124019 h 220555"/>
                  <a:gd name="connsiteX17" fmla="*/ 115090 w 116183"/>
                  <a:gd name="connsiteY17" fmla="*/ 139894 h 220555"/>
                  <a:gd name="connsiteX18" fmla="*/ 115090 w 116183"/>
                  <a:gd name="connsiteY18" fmla="*/ 156265 h 220555"/>
                  <a:gd name="connsiteX19" fmla="*/ 111122 w 116183"/>
                  <a:gd name="connsiteY19" fmla="*/ 172139 h 220555"/>
                  <a:gd name="connsiteX20" fmla="*/ 106161 w 116183"/>
                  <a:gd name="connsiteY20" fmla="*/ 187517 h 220555"/>
                  <a:gd name="connsiteX21" fmla="*/ 98720 w 116183"/>
                  <a:gd name="connsiteY21" fmla="*/ 201904 h 220555"/>
                  <a:gd name="connsiteX22" fmla="*/ 87806 w 116183"/>
                  <a:gd name="connsiteY22" fmla="*/ 213809 h 220555"/>
                  <a:gd name="connsiteX23" fmla="*/ 72924 w 116183"/>
                  <a:gd name="connsiteY23" fmla="*/ 219267 h 220555"/>
                  <a:gd name="connsiteX24" fmla="*/ 57049 w 116183"/>
                  <a:gd name="connsiteY24" fmla="*/ 220259 h 220555"/>
                  <a:gd name="connsiteX25" fmla="*/ 41174 w 116183"/>
                  <a:gd name="connsiteY25" fmla="*/ 217778 h 220555"/>
                  <a:gd name="connsiteX26" fmla="*/ 26292 w 116183"/>
                  <a:gd name="connsiteY26" fmla="*/ 211329 h 220555"/>
                  <a:gd name="connsiteX27" fmla="*/ 13394 w 116183"/>
                  <a:gd name="connsiteY27" fmla="*/ 201408 h 220555"/>
                  <a:gd name="connsiteX28" fmla="*/ 0 w 116183"/>
                  <a:gd name="connsiteY28" fmla="*/ 191982 h 220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16183" h="220555">
                    <a:moveTo>
                      <a:pt x="992" y="0"/>
                    </a:moveTo>
                    <a:cubicBezTo>
                      <a:pt x="4961" y="6449"/>
                      <a:pt x="4961" y="4465"/>
                      <a:pt x="8929" y="12898"/>
                    </a:cubicBezTo>
                    <a:cubicBezTo>
                      <a:pt x="10914" y="16867"/>
                      <a:pt x="13890" y="21331"/>
                      <a:pt x="15875" y="26788"/>
                    </a:cubicBezTo>
                    <a:cubicBezTo>
                      <a:pt x="17363" y="31253"/>
                      <a:pt x="18355" y="36710"/>
                      <a:pt x="19347" y="41671"/>
                    </a:cubicBezTo>
                    <a:cubicBezTo>
                      <a:pt x="20835" y="46631"/>
                      <a:pt x="22324" y="51592"/>
                      <a:pt x="23316" y="56553"/>
                    </a:cubicBezTo>
                    <a:cubicBezTo>
                      <a:pt x="24308" y="61514"/>
                      <a:pt x="23316" y="66971"/>
                      <a:pt x="23812" y="71931"/>
                    </a:cubicBezTo>
                    <a:cubicBezTo>
                      <a:pt x="23812" y="76892"/>
                      <a:pt x="25300" y="82349"/>
                      <a:pt x="24308" y="87310"/>
                    </a:cubicBezTo>
                    <a:cubicBezTo>
                      <a:pt x="23812" y="92270"/>
                      <a:pt x="23812" y="97727"/>
                      <a:pt x="25300" y="103184"/>
                    </a:cubicBezTo>
                    <a:cubicBezTo>
                      <a:pt x="26788" y="108145"/>
                      <a:pt x="28772" y="113106"/>
                      <a:pt x="31253" y="118066"/>
                    </a:cubicBezTo>
                    <a:cubicBezTo>
                      <a:pt x="33733" y="122531"/>
                      <a:pt x="36214" y="127492"/>
                      <a:pt x="39686" y="131957"/>
                    </a:cubicBezTo>
                    <a:cubicBezTo>
                      <a:pt x="43159" y="136421"/>
                      <a:pt x="46631" y="140390"/>
                      <a:pt x="50600" y="143863"/>
                    </a:cubicBezTo>
                    <a:cubicBezTo>
                      <a:pt x="54569" y="147831"/>
                      <a:pt x="58537" y="151800"/>
                      <a:pt x="63002" y="154776"/>
                    </a:cubicBezTo>
                    <a:cubicBezTo>
                      <a:pt x="67963" y="158249"/>
                      <a:pt x="72428" y="161225"/>
                      <a:pt x="77388" y="163210"/>
                    </a:cubicBezTo>
                    <a:cubicBezTo>
                      <a:pt x="82845" y="165194"/>
                      <a:pt x="88798" y="164202"/>
                      <a:pt x="93759" y="163210"/>
                    </a:cubicBezTo>
                    <a:cubicBezTo>
                      <a:pt x="98720" y="162218"/>
                      <a:pt x="103680" y="159737"/>
                      <a:pt x="107153" y="154776"/>
                    </a:cubicBezTo>
                    <a:cubicBezTo>
                      <a:pt x="109633" y="150808"/>
                      <a:pt x="112114" y="145847"/>
                      <a:pt x="114098" y="139894"/>
                    </a:cubicBezTo>
                    <a:cubicBezTo>
                      <a:pt x="115586" y="135429"/>
                      <a:pt x="115586" y="129972"/>
                      <a:pt x="116082" y="124019"/>
                    </a:cubicBezTo>
                    <a:cubicBezTo>
                      <a:pt x="116578" y="128980"/>
                      <a:pt x="115090" y="134437"/>
                      <a:pt x="115090" y="139894"/>
                    </a:cubicBezTo>
                    <a:cubicBezTo>
                      <a:pt x="115090" y="145351"/>
                      <a:pt x="116082" y="150808"/>
                      <a:pt x="115090" y="156265"/>
                    </a:cubicBezTo>
                    <a:cubicBezTo>
                      <a:pt x="114098" y="161721"/>
                      <a:pt x="112610" y="166682"/>
                      <a:pt x="111122" y="172139"/>
                    </a:cubicBezTo>
                    <a:cubicBezTo>
                      <a:pt x="109633" y="177596"/>
                      <a:pt x="108641" y="182557"/>
                      <a:pt x="106161" y="187517"/>
                    </a:cubicBezTo>
                    <a:cubicBezTo>
                      <a:pt x="104176" y="192478"/>
                      <a:pt x="101696" y="197935"/>
                      <a:pt x="98720" y="201904"/>
                    </a:cubicBezTo>
                    <a:cubicBezTo>
                      <a:pt x="95743" y="206368"/>
                      <a:pt x="91774" y="210833"/>
                      <a:pt x="87806" y="213809"/>
                    </a:cubicBezTo>
                    <a:cubicBezTo>
                      <a:pt x="83341" y="217282"/>
                      <a:pt x="77884" y="218274"/>
                      <a:pt x="72924" y="219267"/>
                    </a:cubicBezTo>
                    <a:cubicBezTo>
                      <a:pt x="67963" y="220755"/>
                      <a:pt x="63002" y="220755"/>
                      <a:pt x="57049" y="220259"/>
                    </a:cubicBezTo>
                    <a:cubicBezTo>
                      <a:pt x="52088" y="219762"/>
                      <a:pt x="46631" y="220259"/>
                      <a:pt x="41174" y="217778"/>
                    </a:cubicBezTo>
                    <a:cubicBezTo>
                      <a:pt x="36710" y="216290"/>
                      <a:pt x="31253" y="214306"/>
                      <a:pt x="26292" y="211329"/>
                    </a:cubicBezTo>
                    <a:cubicBezTo>
                      <a:pt x="21828" y="208849"/>
                      <a:pt x="18355" y="204384"/>
                      <a:pt x="13394" y="201408"/>
                    </a:cubicBezTo>
                    <a:cubicBezTo>
                      <a:pt x="9426" y="198431"/>
                      <a:pt x="4465" y="195951"/>
                      <a:pt x="0" y="19198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3" name="Freeform: Shape 1622">
                <a:extLst>
                  <a:ext uri="{FF2B5EF4-FFF2-40B4-BE49-F238E27FC236}">
                    <a16:creationId xmlns:a16="http://schemas.microsoft.com/office/drawing/2014/main" id="{54C004B5-7001-A606-F832-7020C7F3C6C1}"/>
                  </a:ext>
                </a:extLst>
              </p:cNvPr>
              <p:cNvSpPr/>
              <p:nvPr/>
            </p:nvSpPr>
            <p:spPr>
              <a:xfrm>
                <a:off x="4958665" y="4879422"/>
                <a:ext cx="21331" cy="55064"/>
              </a:xfrm>
              <a:custGeom>
                <a:avLst/>
                <a:gdLst>
                  <a:gd name="connsiteX0" fmla="*/ 21331 w 21331"/>
                  <a:gd name="connsiteY0" fmla="*/ 0 h 55064"/>
                  <a:gd name="connsiteX1" fmla="*/ 12402 w 21331"/>
                  <a:gd name="connsiteY1" fmla="*/ 12898 h 55064"/>
                  <a:gd name="connsiteX2" fmla="*/ 2976 w 21331"/>
                  <a:gd name="connsiteY2" fmla="*/ 25796 h 55064"/>
                  <a:gd name="connsiteX3" fmla="*/ 0 w 21331"/>
                  <a:gd name="connsiteY3" fmla="*/ 41175 h 55064"/>
                  <a:gd name="connsiteX4" fmla="*/ 5953 w 21331"/>
                  <a:gd name="connsiteY4" fmla="*/ 55065 h 55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31" h="55064">
                    <a:moveTo>
                      <a:pt x="21331" y="0"/>
                    </a:moveTo>
                    <a:cubicBezTo>
                      <a:pt x="15874" y="5953"/>
                      <a:pt x="17363" y="5457"/>
                      <a:pt x="12402" y="12898"/>
                    </a:cubicBezTo>
                    <a:cubicBezTo>
                      <a:pt x="9425" y="16867"/>
                      <a:pt x="5457" y="20835"/>
                      <a:pt x="2976" y="25796"/>
                    </a:cubicBezTo>
                    <a:cubicBezTo>
                      <a:pt x="496" y="30757"/>
                      <a:pt x="0" y="36214"/>
                      <a:pt x="0" y="41175"/>
                    </a:cubicBezTo>
                    <a:cubicBezTo>
                      <a:pt x="0" y="46631"/>
                      <a:pt x="992" y="51592"/>
                      <a:pt x="5953" y="5506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4" name="Freeform: Shape 1623">
                <a:extLst>
                  <a:ext uri="{FF2B5EF4-FFF2-40B4-BE49-F238E27FC236}">
                    <a16:creationId xmlns:a16="http://schemas.microsoft.com/office/drawing/2014/main" id="{4E090E1B-DC2E-8E73-C3A1-1EEB065481B8}"/>
                  </a:ext>
                </a:extLst>
              </p:cNvPr>
              <p:cNvSpPr/>
              <p:nvPr/>
            </p:nvSpPr>
            <p:spPr>
              <a:xfrm>
                <a:off x="4799920" y="4743497"/>
                <a:ext cx="124515" cy="167178"/>
              </a:xfrm>
              <a:custGeom>
                <a:avLst/>
                <a:gdLst>
                  <a:gd name="connsiteX0" fmla="*/ 124515 w 124515"/>
                  <a:gd name="connsiteY0" fmla="*/ 110625 h 167178"/>
                  <a:gd name="connsiteX1" fmla="*/ 108145 w 124515"/>
                  <a:gd name="connsiteY1" fmla="*/ 113602 h 167178"/>
                  <a:gd name="connsiteX2" fmla="*/ 92270 w 124515"/>
                  <a:gd name="connsiteY2" fmla="*/ 118066 h 167178"/>
                  <a:gd name="connsiteX3" fmla="*/ 76396 w 124515"/>
                  <a:gd name="connsiteY3" fmla="*/ 123523 h 167178"/>
                  <a:gd name="connsiteX4" fmla="*/ 60521 w 124515"/>
                  <a:gd name="connsiteY4" fmla="*/ 127988 h 167178"/>
                  <a:gd name="connsiteX5" fmla="*/ 51592 w 124515"/>
                  <a:gd name="connsiteY5" fmla="*/ 116082 h 167178"/>
                  <a:gd name="connsiteX6" fmla="*/ 45143 w 124515"/>
                  <a:gd name="connsiteY6" fmla="*/ 101696 h 167178"/>
                  <a:gd name="connsiteX7" fmla="*/ 39190 w 124515"/>
                  <a:gd name="connsiteY7" fmla="*/ 87310 h 167178"/>
                  <a:gd name="connsiteX8" fmla="*/ 32245 w 124515"/>
                  <a:gd name="connsiteY8" fmla="*/ 72924 h 167178"/>
                  <a:gd name="connsiteX9" fmla="*/ 27284 w 124515"/>
                  <a:gd name="connsiteY9" fmla="*/ 58041 h 167178"/>
                  <a:gd name="connsiteX10" fmla="*/ 22819 w 124515"/>
                  <a:gd name="connsiteY10" fmla="*/ 42663 h 167178"/>
                  <a:gd name="connsiteX11" fmla="*/ 15378 w 124515"/>
                  <a:gd name="connsiteY11" fmla="*/ 28772 h 167178"/>
                  <a:gd name="connsiteX12" fmla="*/ 9922 w 124515"/>
                  <a:gd name="connsiteY12" fmla="*/ 13890 h 167178"/>
                  <a:gd name="connsiteX13" fmla="*/ 3472 w 124515"/>
                  <a:gd name="connsiteY13" fmla="*/ 0 h 167178"/>
                  <a:gd name="connsiteX14" fmla="*/ 0 w 124515"/>
                  <a:gd name="connsiteY14" fmla="*/ 15875 h 167178"/>
                  <a:gd name="connsiteX15" fmla="*/ 992 w 124515"/>
                  <a:gd name="connsiteY15" fmla="*/ 32741 h 167178"/>
                  <a:gd name="connsiteX16" fmla="*/ 3472 w 124515"/>
                  <a:gd name="connsiteY16" fmla="*/ 49112 h 167178"/>
                  <a:gd name="connsiteX17" fmla="*/ 6449 w 124515"/>
                  <a:gd name="connsiteY17" fmla="*/ 65482 h 167178"/>
                  <a:gd name="connsiteX18" fmla="*/ 7937 w 124515"/>
                  <a:gd name="connsiteY18" fmla="*/ 82349 h 167178"/>
                  <a:gd name="connsiteX19" fmla="*/ 12402 w 124515"/>
                  <a:gd name="connsiteY19" fmla="*/ 98223 h 167178"/>
                  <a:gd name="connsiteX20" fmla="*/ 16866 w 124515"/>
                  <a:gd name="connsiteY20" fmla="*/ 114098 h 167178"/>
                  <a:gd name="connsiteX21" fmla="*/ 21331 w 124515"/>
                  <a:gd name="connsiteY21" fmla="*/ 129972 h 167178"/>
                  <a:gd name="connsiteX22" fmla="*/ 26292 w 124515"/>
                  <a:gd name="connsiteY22" fmla="*/ 145847 h 167178"/>
                  <a:gd name="connsiteX23" fmla="*/ 33733 w 124515"/>
                  <a:gd name="connsiteY23" fmla="*/ 160729 h 167178"/>
                  <a:gd name="connsiteX24" fmla="*/ 49608 w 124515"/>
                  <a:gd name="connsiteY24" fmla="*/ 164698 h 167178"/>
                  <a:gd name="connsiteX25" fmla="*/ 65978 w 124515"/>
                  <a:gd name="connsiteY25" fmla="*/ 167178 h 167178"/>
                  <a:gd name="connsiteX26" fmla="*/ 82349 w 124515"/>
                  <a:gd name="connsiteY26" fmla="*/ 165194 h 167178"/>
                  <a:gd name="connsiteX27" fmla="*/ 98719 w 124515"/>
                  <a:gd name="connsiteY27" fmla="*/ 162218 h 167178"/>
                  <a:gd name="connsiteX28" fmla="*/ 114594 w 124515"/>
                  <a:gd name="connsiteY28" fmla="*/ 158745 h 167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24515" h="167178">
                    <a:moveTo>
                      <a:pt x="124515" y="110625"/>
                    </a:moveTo>
                    <a:cubicBezTo>
                      <a:pt x="116578" y="112113"/>
                      <a:pt x="117570" y="111618"/>
                      <a:pt x="108145" y="113602"/>
                    </a:cubicBezTo>
                    <a:cubicBezTo>
                      <a:pt x="103184" y="114594"/>
                      <a:pt x="97727" y="116578"/>
                      <a:pt x="92270" y="118066"/>
                    </a:cubicBezTo>
                    <a:cubicBezTo>
                      <a:pt x="86814" y="119555"/>
                      <a:pt x="81357" y="122035"/>
                      <a:pt x="76396" y="123523"/>
                    </a:cubicBezTo>
                    <a:cubicBezTo>
                      <a:pt x="68955" y="125508"/>
                      <a:pt x="62010" y="126500"/>
                      <a:pt x="60521" y="127988"/>
                    </a:cubicBezTo>
                    <a:cubicBezTo>
                      <a:pt x="59033" y="128980"/>
                      <a:pt x="56057" y="125012"/>
                      <a:pt x="51592" y="116082"/>
                    </a:cubicBezTo>
                    <a:cubicBezTo>
                      <a:pt x="49608" y="112113"/>
                      <a:pt x="47623" y="107153"/>
                      <a:pt x="45143" y="101696"/>
                    </a:cubicBezTo>
                    <a:cubicBezTo>
                      <a:pt x="43159" y="97231"/>
                      <a:pt x="41174" y="92270"/>
                      <a:pt x="39190" y="87310"/>
                    </a:cubicBezTo>
                    <a:cubicBezTo>
                      <a:pt x="37206" y="82349"/>
                      <a:pt x="34229" y="77884"/>
                      <a:pt x="32245" y="72924"/>
                    </a:cubicBezTo>
                    <a:cubicBezTo>
                      <a:pt x="30261" y="67963"/>
                      <a:pt x="29268" y="63002"/>
                      <a:pt x="27284" y="58041"/>
                    </a:cubicBezTo>
                    <a:cubicBezTo>
                      <a:pt x="25300" y="53080"/>
                      <a:pt x="24804" y="47623"/>
                      <a:pt x="22819" y="42663"/>
                    </a:cubicBezTo>
                    <a:cubicBezTo>
                      <a:pt x="20835" y="37702"/>
                      <a:pt x="17363" y="33237"/>
                      <a:pt x="15378" y="28772"/>
                    </a:cubicBezTo>
                    <a:cubicBezTo>
                      <a:pt x="13394" y="23316"/>
                      <a:pt x="11410" y="18355"/>
                      <a:pt x="9922" y="13890"/>
                    </a:cubicBezTo>
                    <a:cubicBezTo>
                      <a:pt x="6449" y="5457"/>
                      <a:pt x="4465" y="496"/>
                      <a:pt x="3472" y="0"/>
                    </a:cubicBezTo>
                    <a:cubicBezTo>
                      <a:pt x="1488" y="2480"/>
                      <a:pt x="0" y="7937"/>
                      <a:pt x="0" y="15875"/>
                    </a:cubicBezTo>
                    <a:cubicBezTo>
                      <a:pt x="0" y="20835"/>
                      <a:pt x="0" y="26292"/>
                      <a:pt x="992" y="32741"/>
                    </a:cubicBezTo>
                    <a:cubicBezTo>
                      <a:pt x="1488" y="37702"/>
                      <a:pt x="2976" y="43655"/>
                      <a:pt x="3472" y="49112"/>
                    </a:cubicBezTo>
                    <a:cubicBezTo>
                      <a:pt x="3969" y="54569"/>
                      <a:pt x="5457" y="60025"/>
                      <a:pt x="6449" y="65482"/>
                    </a:cubicBezTo>
                    <a:cubicBezTo>
                      <a:pt x="7441" y="70939"/>
                      <a:pt x="6945" y="76892"/>
                      <a:pt x="7937" y="82349"/>
                    </a:cubicBezTo>
                    <a:cubicBezTo>
                      <a:pt x="8929" y="87806"/>
                      <a:pt x="11410" y="93263"/>
                      <a:pt x="12402" y="98223"/>
                    </a:cubicBezTo>
                    <a:cubicBezTo>
                      <a:pt x="13890" y="103680"/>
                      <a:pt x="15874" y="109137"/>
                      <a:pt x="16866" y="114098"/>
                    </a:cubicBezTo>
                    <a:cubicBezTo>
                      <a:pt x="18355" y="119555"/>
                      <a:pt x="19843" y="125012"/>
                      <a:pt x="21331" y="129972"/>
                    </a:cubicBezTo>
                    <a:cubicBezTo>
                      <a:pt x="23315" y="135925"/>
                      <a:pt x="24308" y="141382"/>
                      <a:pt x="26292" y="145847"/>
                    </a:cubicBezTo>
                    <a:cubicBezTo>
                      <a:pt x="29268" y="152792"/>
                      <a:pt x="31253" y="158249"/>
                      <a:pt x="33733" y="160729"/>
                    </a:cubicBezTo>
                    <a:cubicBezTo>
                      <a:pt x="37206" y="163706"/>
                      <a:pt x="43655" y="163706"/>
                      <a:pt x="49608" y="164698"/>
                    </a:cubicBezTo>
                    <a:cubicBezTo>
                      <a:pt x="54569" y="165690"/>
                      <a:pt x="60025" y="167178"/>
                      <a:pt x="65978" y="167178"/>
                    </a:cubicBezTo>
                    <a:cubicBezTo>
                      <a:pt x="71435" y="167178"/>
                      <a:pt x="76892" y="166186"/>
                      <a:pt x="82349" y="165194"/>
                    </a:cubicBezTo>
                    <a:cubicBezTo>
                      <a:pt x="88302" y="164698"/>
                      <a:pt x="93759" y="163209"/>
                      <a:pt x="98719" y="162218"/>
                    </a:cubicBezTo>
                    <a:cubicBezTo>
                      <a:pt x="108145" y="160233"/>
                      <a:pt x="106657" y="161225"/>
                      <a:pt x="114594" y="15874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5" name="Freeform: Shape 1624">
                <a:extLst>
                  <a:ext uri="{FF2B5EF4-FFF2-40B4-BE49-F238E27FC236}">
                    <a16:creationId xmlns:a16="http://schemas.microsoft.com/office/drawing/2014/main" id="{335D4758-4E9D-15F7-FED0-63F945924C46}"/>
                  </a:ext>
                </a:extLst>
              </p:cNvPr>
              <p:cNvSpPr/>
              <p:nvPr/>
            </p:nvSpPr>
            <p:spPr>
              <a:xfrm>
                <a:off x="5024147" y="4859579"/>
                <a:ext cx="117074" cy="253259"/>
              </a:xfrm>
              <a:custGeom>
                <a:avLst/>
                <a:gdLst>
                  <a:gd name="connsiteX0" fmla="*/ 13890 w 117074"/>
                  <a:gd name="connsiteY0" fmla="*/ 0 h 253259"/>
                  <a:gd name="connsiteX1" fmla="*/ 23812 w 117074"/>
                  <a:gd name="connsiteY1" fmla="*/ 11906 h 253259"/>
                  <a:gd name="connsiteX2" fmla="*/ 33734 w 117074"/>
                  <a:gd name="connsiteY2" fmla="*/ 23812 h 253259"/>
                  <a:gd name="connsiteX3" fmla="*/ 43655 w 117074"/>
                  <a:gd name="connsiteY3" fmla="*/ 35718 h 253259"/>
                  <a:gd name="connsiteX4" fmla="*/ 52088 w 117074"/>
                  <a:gd name="connsiteY4" fmla="*/ 49112 h 253259"/>
                  <a:gd name="connsiteX5" fmla="*/ 62010 w 117074"/>
                  <a:gd name="connsiteY5" fmla="*/ 61018 h 253259"/>
                  <a:gd name="connsiteX6" fmla="*/ 72428 w 117074"/>
                  <a:gd name="connsiteY6" fmla="*/ 72428 h 253259"/>
                  <a:gd name="connsiteX7" fmla="*/ 80861 w 117074"/>
                  <a:gd name="connsiteY7" fmla="*/ 85822 h 253259"/>
                  <a:gd name="connsiteX8" fmla="*/ 90783 w 117074"/>
                  <a:gd name="connsiteY8" fmla="*/ 98224 h 253259"/>
                  <a:gd name="connsiteX9" fmla="*/ 100208 w 117074"/>
                  <a:gd name="connsiteY9" fmla="*/ 110626 h 253259"/>
                  <a:gd name="connsiteX10" fmla="*/ 108641 w 117074"/>
                  <a:gd name="connsiteY10" fmla="*/ 123524 h 253259"/>
                  <a:gd name="connsiteX11" fmla="*/ 117075 w 117074"/>
                  <a:gd name="connsiteY11" fmla="*/ 136421 h 253259"/>
                  <a:gd name="connsiteX12" fmla="*/ 110129 w 117074"/>
                  <a:gd name="connsiteY12" fmla="*/ 152296 h 253259"/>
                  <a:gd name="connsiteX13" fmla="*/ 101696 w 117074"/>
                  <a:gd name="connsiteY13" fmla="*/ 167178 h 253259"/>
                  <a:gd name="connsiteX14" fmla="*/ 93263 w 117074"/>
                  <a:gd name="connsiteY14" fmla="*/ 182061 h 253259"/>
                  <a:gd name="connsiteX15" fmla="*/ 85325 w 117074"/>
                  <a:gd name="connsiteY15" fmla="*/ 197439 h 253259"/>
                  <a:gd name="connsiteX16" fmla="*/ 76396 w 117074"/>
                  <a:gd name="connsiteY16" fmla="*/ 212322 h 253259"/>
                  <a:gd name="connsiteX17" fmla="*/ 66971 w 117074"/>
                  <a:gd name="connsiteY17" fmla="*/ 226708 h 253259"/>
                  <a:gd name="connsiteX18" fmla="*/ 56553 w 117074"/>
                  <a:gd name="connsiteY18" fmla="*/ 240598 h 253259"/>
                  <a:gd name="connsiteX19" fmla="*/ 45143 w 117074"/>
                  <a:gd name="connsiteY19" fmla="*/ 253000 h 253259"/>
                  <a:gd name="connsiteX20" fmla="*/ 46631 w 117074"/>
                  <a:gd name="connsiteY20" fmla="*/ 239606 h 253259"/>
                  <a:gd name="connsiteX21" fmla="*/ 49608 w 117074"/>
                  <a:gd name="connsiteY21" fmla="*/ 223731 h 253259"/>
                  <a:gd name="connsiteX22" fmla="*/ 53577 w 117074"/>
                  <a:gd name="connsiteY22" fmla="*/ 208353 h 253259"/>
                  <a:gd name="connsiteX23" fmla="*/ 56057 w 117074"/>
                  <a:gd name="connsiteY23" fmla="*/ 192478 h 253259"/>
                  <a:gd name="connsiteX24" fmla="*/ 62010 w 117074"/>
                  <a:gd name="connsiteY24" fmla="*/ 177596 h 253259"/>
                  <a:gd name="connsiteX25" fmla="*/ 65979 w 117074"/>
                  <a:gd name="connsiteY25" fmla="*/ 161722 h 253259"/>
                  <a:gd name="connsiteX26" fmla="*/ 70939 w 117074"/>
                  <a:gd name="connsiteY26" fmla="*/ 146343 h 253259"/>
                  <a:gd name="connsiteX27" fmla="*/ 74412 w 117074"/>
                  <a:gd name="connsiteY27" fmla="*/ 130469 h 253259"/>
                  <a:gd name="connsiteX28" fmla="*/ 64490 w 117074"/>
                  <a:gd name="connsiteY28" fmla="*/ 119059 h 253259"/>
                  <a:gd name="connsiteX29" fmla="*/ 54073 w 117074"/>
                  <a:gd name="connsiteY29" fmla="*/ 107649 h 253259"/>
                  <a:gd name="connsiteX30" fmla="*/ 43159 w 117074"/>
                  <a:gd name="connsiteY30" fmla="*/ 96735 h 253259"/>
                  <a:gd name="connsiteX31" fmla="*/ 32245 w 117074"/>
                  <a:gd name="connsiteY31" fmla="*/ 85822 h 253259"/>
                  <a:gd name="connsiteX32" fmla="*/ 20339 w 117074"/>
                  <a:gd name="connsiteY32" fmla="*/ 75900 h 253259"/>
                  <a:gd name="connsiteX33" fmla="*/ 11410 w 117074"/>
                  <a:gd name="connsiteY33" fmla="*/ 63002 h 253259"/>
                  <a:gd name="connsiteX34" fmla="*/ 0 w 117074"/>
                  <a:gd name="connsiteY34" fmla="*/ 53080 h 25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7074" h="253259">
                    <a:moveTo>
                      <a:pt x="13890" y="0"/>
                    </a:moveTo>
                    <a:cubicBezTo>
                      <a:pt x="18851" y="5953"/>
                      <a:pt x="17859" y="4465"/>
                      <a:pt x="23812" y="11906"/>
                    </a:cubicBezTo>
                    <a:cubicBezTo>
                      <a:pt x="26788" y="15379"/>
                      <a:pt x="30261" y="19347"/>
                      <a:pt x="33734" y="23812"/>
                    </a:cubicBezTo>
                    <a:cubicBezTo>
                      <a:pt x="36710" y="27781"/>
                      <a:pt x="40182" y="31253"/>
                      <a:pt x="43655" y="35718"/>
                    </a:cubicBezTo>
                    <a:cubicBezTo>
                      <a:pt x="46631" y="39686"/>
                      <a:pt x="48616" y="44647"/>
                      <a:pt x="52088" y="49112"/>
                    </a:cubicBezTo>
                    <a:cubicBezTo>
                      <a:pt x="55065" y="53080"/>
                      <a:pt x="59033" y="56553"/>
                      <a:pt x="62010" y="61018"/>
                    </a:cubicBezTo>
                    <a:cubicBezTo>
                      <a:pt x="64986" y="64986"/>
                      <a:pt x="69451" y="68459"/>
                      <a:pt x="72428" y="72428"/>
                    </a:cubicBezTo>
                    <a:cubicBezTo>
                      <a:pt x="75404" y="76396"/>
                      <a:pt x="77388" y="81853"/>
                      <a:pt x="80861" y="85822"/>
                    </a:cubicBezTo>
                    <a:cubicBezTo>
                      <a:pt x="84333" y="90286"/>
                      <a:pt x="87310" y="94255"/>
                      <a:pt x="90783" y="98224"/>
                    </a:cubicBezTo>
                    <a:cubicBezTo>
                      <a:pt x="94255" y="102688"/>
                      <a:pt x="97231" y="106657"/>
                      <a:pt x="100208" y="110626"/>
                    </a:cubicBezTo>
                    <a:cubicBezTo>
                      <a:pt x="103680" y="115586"/>
                      <a:pt x="106161" y="120051"/>
                      <a:pt x="108641" y="123524"/>
                    </a:cubicBezTo>
                    <a:cubicBezTo>
                      <a:pt x="113602" y="130469"/>
                      <a:pt x="117075" y="134933"/>
                      <a:pt x="117075" y="136421"/>
                    </a:cubicBezTo>
                    <a:cubicBezTo>
                      <a:pt x="117075" y="137910"/>
                      <a:pt x="114594" y="143863"/>
                      <a:pt x="110129" y="152296"/>
                    </a:cubicBezTo>
                    <a:cubicBezTo>
                      <a:pt x="107649" y="156761"/>
                      <a:pt x="105169" y="161722"/>
                      <a:pt x="101696" y="167178"/>
                    </a:cubicBezTo>
                    <a:cubicBezTo>
                      <a:pt x="99216" y="172139"/>
                      <a:pt x="96239" y="177100"/>
                      <a:pt x="93263" y="182061"/>
                    </a:cubicBezTo>
                    <a:cubicBezTo>
                      <a:pt x="90286" y="187021"/>
                      <a:pt x="88302" y="192478"/>
                      <a:pt x="85325" y="197439"/>
                    </a:cubicBezTo>
                    <a:cubicBezTo>
                      <a:pt x="82349" y="202400"/>
                      <a:pt x="79372" y="207361"/>
                      <a:pt x="76396" y="212322"/>
                    </a:cubicBezTo>
                    <a:cubicBezTo>
                      <a:pt x="73420" y="217282"/>
                      <a:pt x="69947" y="222243"/>
                      <a:pt x="66971" y="226708"/>
                    </a:cubicBezTo>
                    <a:cubicBezTo>
                      <a:pt x="63498" y="232165"/>
                      <a:pt x="59529" y="236630"/>
                      <a:pt x="56553" y="240598"/>
                    </a:cubicBezTo>
                    <a:cubicBezTo>
                      <a:pt x="51592" y="247543"/>
                      <a:pt x="47127" y="251512"/>
                      <a:pt x="45143" y="253000"/>
                    </a:cubicBezTo>
                    <a:cubicBezTo>
                      <a:pt x="42663" y="254488"/>
                      <a:pt x="44647" y="249527"/>
                      <a:pt x="46631" y="239606"/>
                    </a:cubicBezTo>
                    <a:cubicBezTo>
                      <a:pt x="47624" y="235141"/>
                      <a:pt x="48120" y="229684"/>
                      <a:pt x="49608" y="223731"/>
                    </a:cubicBezTo>
                    <a:cubicBezTo>
                      <a:pt x="50600" y="218771"/>
                      <a:pt x="52584" y="213810"/>
                      <a:pt x="53577" y="208353"/>
                    </a:cubicBezTo>
                    <a:cubicBezTo>
                      <a:pt x="55065" y="203392"/>
                      <a:pt x="54569" y="197439"/>
                      <a:pt x="56057" y="192478"/>
                    </a:cubicBezTo>
                    <a:cubicBezTo>
                      <a:pt x="57545" y="187021"/>
                      <a:pt x="60522" y="182557"/>
                      <a:pt x="62010" y="177596"/>
                    </a:cubicBezTo>
                    <a:cubicBezTo>
                      <a:pt x="63498" y="172139"/>
                      <a:pt x="64490" y="166682"/>
                      <a:pt x="65979" y="161722"/>
                    </a:cubicBezTo>
                    <a:cubicBezTo>
                      <a:pt x="67467" y="155769"/>
                      <a:pt x="69451" y="150808"/>
                      <a:pt x="70939" y="146343"/>
                    </a:cubicBezTo>
                    <a:cubicBezTo>
                      <a:pt x="73916" y="136918"/>
                      <a:pt x="78381" y="137910"/>
                      <a:pt x="74412" y="130469"/>
                    </a:cubicBezTo>
                    <a:cubicBezTo>
                      <a:pt x="70939" y="123524"/>
                      <a:pt x="69947" y="124516"/>
                      <a:pt x="64490" y="119059"/>
                    </a:cubicBezTo>
                    <a:cubicBezTo>
                      <a:pt x="59033" y="113602"/>
                      <a:pt x="59529" y="113106"/>
                      <a:pt x="54073" y="107649"/>
                    </a:cubicBezTo>
                    <a:cubicBezTo>
                      <a:pt x="48616" y="102192"/>
                      <a:pt x="48616" y="102192"/>
                      <a:pt x="43159" y="96735"/>
                    </a:cubicBezTo>
                    <a:cubicBezTo>
                      <a:pt x="37702" y="91278"/>
                      <a:pt x="37702" y="91278"/>
                      <a:pt x="32245" y="85822"/>
                    </a:cubicBezTo>
                    <a:cubicBezTo>
                      <a:pt x="26788" y="80365"/>
                      <a:pt x="25796" y="81357"/>
                      <a:pt x="20339" y="75900"/>
                    </a:cubicBezTo>
                    <a:cubicBezTo>
                      <a:pt x="14882" y="70443"/>
                      <a:pt x="16867" y="68955"/>
                      <a:pt x="11410" y="63002"/>
                    </a:cubicBezTo>
                    <a:cubicBezTo>
                      <a:pt x="5953" y="57545"/>
                      <a:pt x="4961" y="58537"/>
                      <a:pt x="0" y="530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6" name="Freeform: Shape 1625">
                <a:extLst>
                  <a:ext uri="{FF2B5EF4-FFF2-40B4-BE49-F238E27FC236}">
                    <a16:creationId xmlns:a16="http://schemas.microsoft.com/office/drawing/2014/main" id="{1828534B-8342-DD00-A2B8-0B2CAA71927F}"/>
                  </a:ext>
                </a:extLst>
              </p:cNvPr>
              <p:cNvSpPr/>
              <p:nvPr/>
            </p:nvSpPr>
            <p:spPr>
              <a:xfrm>
                <a:off x="4895561" y="4613579"/>
                <a:ext cx="181824" cy="241614"/>
              </a:xfrm>
              <a:custGeom>
                <a:avLst/>
                <a:gdLst>
                  <a:gd name="connsiteX0" fmla="*/ 181666 w 181824"/>
                  <a:gd name="connsiteY0" fmla="*/ 119500 h 241614"/>
                  <a:gd name="connsiteX1" fmla="*/ 181170 w 181824"/>
                  <a:gd name="connsiteY1" fmla="*/ 136366 h 241614"/>
                  <a:gd name="connsiteX2" fmla="*/ 179185 w 181824"/>
                  <a:gd name="connsiteY2" fmla="*/ 153233 h 241614"/>
                  <a:gd name="connsiteX3" fmla="*/ 174721 w 181824"/>
                  <a:gd name="connsiteY3" fmla="*/ 169604 h 241614"/>
                  <a:gd name="connsiteX4" fmla="*/ 166783 w 181824"/>
                  <a:gd name="connsiteY4" fmla="*/ 184486 h 241614"/>
                  <a:gd name="connsiteX5" fmla="*/ 158846 w 181824"/>
                  <a:gd name="connsiteY5" fmla="*/ 198872 h 241614"/>
                  <a:gd name="connsiteX6" fmla="*/ 149917 w 181824"/>
                  <a:gd name="connsiteY6" fmla="*/ 213258 h 241614"/>
                  <a:gd name="connsiteX7" fmla="*/ 137019 w 181824"/>
                  <a:gd name="connsiteY7" fmla="*/ 223676 h 241614"/>
                  <a:gd name="connsiteX8" fmla="*/ 123129 w 181824"/>
                  <a:gd name="connsiteY8" fmla="*/ 233102 h 241614"/>
                  <a:gd name="connsiteX9" fmla="*/ 107750 w 181824"/>
                  <a:gd name="connsiteY9" fmla="*/ 240543 h 241614"/>
                  <a:gd name="connsiteX10" fmla="*/ 90883 w 181824"/>
                  <a:gd name="connsiteY10" fmla="*/ 241535 h 241614"/>
                  <a:gd name="connsiteX11" fmla="*/ 74513 w 181824"/>
                  <a:gd name="connsiteY11" fmla="*/ 238558 h 241614"/>
                  <a:gd name="connsiteX12" fmla="*/ 59134 w 181824"/>
                  <a:gd name="connsiteY12" fmla="*/ 232606 h 241614"/>
                  <a:gd name="connsiteX13" fmla="*/ 44748 w 181824"/>
                  <a:gd name="connsiteY13" fmla="*/ 224668 h 241614"/>
                  <a:gd name="connsiteX14" fmla="*/ 33339 w 181824"/>
                  <a:gd name="connsiteY14" fmla="*/ 212266 h 241614"/>
                  <a:gd name="connsiteX15" fmla="*/ 22425 w 181824"/>
                  <a:gd name="connsiteY15" fmla="*/ 199864 h 241614"/>
                  <a:gd name="connsiteX16" fmla="*/ 13991 w 181824"/>
                  <a:gd name="connsiteY16" fmla="*/ 185478 h 241614"/>
                  <a:gd name="connsiteX17" fmla="*/ 8038 w 181824"/>
                  <a:gd name="connsiteY17" fmla="*/ 169604 h 241614"/>
                  <a:gd name="connsiteX18" fmla="*/ 3574 w 181824"/>
                  <a:gd name="connsiteY18" fmla="*/ 153729 h 241614"/>
                  <a:gd name="connsiteX19" fmla="*/ 597 w 181824"/>
                  <a:gd name="connsiteY19" fmla="*/ 137359 h 241614"/>
                  <a:gd name="connsiteX20" fmla="*/ 1094 w 181824"/>
                  <a:gd name="connsiteY20" fmla="*/ 120492 h 241614"/>
                  <a:gd name="connsiteX21" fmla="*/ 101 w 181824"/>
                  <a:gd name="connsiteY21" fmla="*/ 103625 h 241614"/>
                  <a:gd name="connsiteX22" fmla="*/ 2582 w 181824"/>
                  <a:gd name="connsiteY22" fmla="*/ 87254 h 241614"/>
                  <a:gd name="connsiteX23" fmla="*/ 8038 w 181824"/>
                  <a:gd name="connsiteY23" fmla="*/ 71380 h 241614"/>
                  <a:gd name="connsiteX24" fmla="*/ 13991 w 181824"/>
                  <a:gd name="connsiteY24" fmla="*/ 56002 h 241614"/>
                  <a:gd name="connsiteX25" fmla="*/ 22425 w 181824"/>
                  <a:gd name="connsiteY25" fmla="*/ 41616 h 241614"/>
                  <a:gd name="connsiteX26" fmla="*/ 32346 w 181824"/>
                  <a:gd name="connsiteY26" fmla="*/ 28221 h 241614"/>
                  <a:gd name="connsiteX27" fmla="*/ 44252 w 181824"/>
                  <a:gd name="connsiteY27" fmla="*/ 16812 h 241614"/>
                  <a:gd name="connsiteX28" fmla="*/ 57646 w 181824"/>
                  <a:gd name="connsiteY28" fmla="*/ 6890 h 241614"/>
                  <a:gd name="connsiteX29" fmla="*/ 73521 w 181824"/>
                  <a:gd name="connsiteY29" fmla="*/ 1929 h 241614"/>
                  <a:gd name="connsiteX30" fmla="*/ 89891 w 181824"/>
                  <a:gd name="connsiteY30" fmla="*/ 441 h 241614"/>
                  <a:gd name="connsiteX31" fmla="*/ 106758 w 181824"/>
                  <a:gd name="connsiteY31" fmla="*/ 441 h 241614"/>
                  <a:gd name="connsiteX32" fmla="*/ 122136 w 181824"/>
                  <a:gd name="connsiteY32" fmla="*/ 6890 h 241614"/>
                  <a:gd name="connsiteX33" fmla="*/ 136026 w 181824"/>
                  <a:gd name="connsiteY33" fmla="*/ 15819 h 241614"/>
                  <a:gd name="connsiteX34" fmla="*/ 147932 w 181824"/>
                  <a:gd name="connsiteY34" fmla="*/ 27229 h 241614"/>
                  <a:gd name="connsiteX35" fmla="*/ 158846 w 181824"/>
                  <a:gd name="connsiteY35" fmla="*/ 40127 h 241614"/>
                  <a:gd name="connsiteX36" fmla="*/ 165791 w 181824"/>
                  <a:gd name="connsiteY36" fmla="*/ 55506 h 241614"/>
                  <a:gd name="connsiteX37" fmla="*/ 172240 w 181824"/>
                  <a:gd name="connsiteY37" fmla="*/ 70884 h 241614"/>
                  <a:gd name="connsiteX38" fmla="*/ 177201 w 181824"/>
                  <a:gd name="connsiteY38" fmla="*/ 86759 h 241614"/>
                  <a:gd name="connsiteX39" fmla="*/ 179682 w 181824"/>
                  <a:gd name="connsiteY39" fmla="*/ 103129 h 241614"/>
                  <a:gd name="connsiteX40" fmla="*/ 181666 w 181824"/>
                  <a:gd name="connsiteY40" fmla="*/ 119500 h 241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81824" h="241614">
                    <a:moveTo>
                      <a:pt x="181666" y="119500"/>
                    </a:moveTo>
                    <a:cubicBezTo>
                      <a:pt x="181666" y="124957"/>
                      <a:pt x="181666" y="130910"/>
                      <a:pt x="181170" y="136366"/>
                    </a:cubicBezTo>
                    <a:cubicBezTo>
                      <a:pt x="180673" y="141823"/>
                      <a:pt x="180178" y="147776"/>
                      <a:pt x="179185" y="153233"/>
                    </a:cubicBezTo>
                    <a:cubicBezTo>
                      <a:pt x="178193" y="158690"/>
                      <a:pt x="176705" y="164147"/>
                      <a:pt x="174721" y="169604"/>
                    </a:cubicBezTo>
                    <a:cubicBezTo>
                      <a:pt x="172736" y="175060"/>
                      <a:pt x="169264" y="179525"/>
                      <a:pt x="166783" y="184486"/>
                    </a:cubicBezTo>
                    <a:cubicBezTo>
                      <a:pt x="164303" y="189447"/>
                      <a:pt x="161823" y="194408"/>
                      <a:pt x="158846" y="198872"/>
                    </a:cubicBezTo>
                    <a:cubicBezTo>
                      <a:pt x="155870" y="203833"/>
                      <a:pt x="153885" y="209290"/>
                      <a:pt x="149917" y="213258"/>
                    </a:cubicBezTo>
                    <a:cubicBezTo>
                      <a:pt x="145948" y="217723"/>
                      <a:pt x="140987" y="220204"/>
                      <a:pt x="137019" y="223676"/>
                    </a:cubicBezTo>
                    <a:cubicBezTo>
                      <a:pt x="132554" y="227149"/>
                      <a:pt x="128089" y="230621"/>
                      <a:pt x="123129" y="233102"/>
                    </a:cubicBezTo>
                    <a:cubicBezTo>
                      <a:pt x="118168" y="235582"/>
                      <a:pt x="113207" y="239055"/>
                      <a:pt x="107750" y="240543"/>
                    </a:cubicBezTo>
                    <a:cubicBezTo>
                      <a:pt x="102293" y="242031"/>
                      <a:pt x="96340" y="241535"/>
                      <a:pt x="90883" y="241535"/>
                    </a:cubicBezTo>
                    <a:cubicBezTo>
                      <a:pt x="85427" y="241535"/>
                      <a:pt x="79970" y="239550"/>
                      <a:pt x="74513" y="238558"/>
                    </a:cubicBezTo>
                    <a:cubicBezTo>
                      <a:pt x="69056" y="237070"/>
                      <a:pt x="64095" y="235086"/>
                      <a:pt x="59134" y="232606"/>
                    </a:cubicBezTo>
                    <a:cubicBezTo>
                      <a:pt x="54174" y="230125"/>
                      <a:pt x="49213" y="228141"/>
                      <a:pt x="44748" y="224668"/>
                    </a:cubicBezTo>
                    <a:cubicBezTo>
                      <a:pt x="40283" y="221196"/>
                      <a:pt x="37307" y="216731"/>
                      <a:pt x="33339" y="212266"/>
                    </a:cubicBezTo>
                    <a:cubicBezTo>
                      <a:pt x="29866" y="208298"/>
                      <a:pt x="25401" y="204329"/>
                      <a:pt x="22425" y="199864"/>
                    </a:cubicBezTo>
                    <a:cubicBezTo>
                      <a:pt x="19448" y="195400"/>
                      <a:pt x="16472" y="190439"/>
                      <a:pt x="13991" y="185478"/>
                    </a:cubicBezTo>
                    <a:cubicBezTo>
                      <a:pt x="11511" y="180517"/>
                      <a:pt x="10023" y="175060"/>
                      <a:pt x="8038" y="169604"/>
                    </a:cubicBezTo>
                    <a:cubicBezTo>
                      <a:pt x="6550" y="164643"/>
                      <a:pt x="4566" y="159186"/>
                      <a:pt x="3574" y="153729"/>
                    </a:cubicBezTo>
                    <a:cubicBezTo>
                      <a:pt x="2582" y="148272"/>
                      <a:pt x="1094" y="142815"/>
                      <a:pt x="597" y="137359"/>
                    </a:cubicBezTo>
                    <a:cubicBezTo>
                      <a:pt x="101" y="131902"/>
                      <a:pt x="1094" y="126445"/>
                      <a:pt x="1094" y="120492"/>
                    </a:cubicBezTo>
                    <a:cubicBezTo>
                      <a:pt x="1094" y="115035"/>
                      <a:pt x="-395" y="109082"/>
                      <a:pt x="101" y="103625"/>
                    </a:cubicBezTo>
                    <a:cubicBezTo>
                      <a:pt x="597" y="98168"/>
                      <a:pt x="1589" y="92215"/>
                      <a:pt x="2582" y="87254"/>
                    </a:cubicBezTo>
                    <a:cubicBezTo>
                      <a:pt x="3574" y="81798"/>
                      <a:pt x="6550" y="76837"/>
                      <a:pt x="8038" y="71380"/>
                    </a:cubicBezTo>
                    <a:cubicBezTo>
                      <a:pt x="10023" y="65923"/>
                      <a:pt x="11511" y="60962"/>
                      <a:pt x="13991" y="56002"/>
                    </a:cubicBezTo>
                    <a:cubicBezTo>
                      <a:pt x="16472" y="51041"/>
                      <a:pt x="19448" y="46080"/>
                      <a:pt x="22425" y="41616"/>
                    </a:cubicBezTo>
                    <a:cubicBezTo>
                      <a:pt x="25401" y="36655"/>
                      <a:pt x="28874" y="32190"/>
                      <a:pt x="32346" y="28221"/>
                    </a:cubicBezTo>
                    <a:cubicBezTo>
                      <a:pt x="36315" y="23757"/>
                      <a:pt x="40283" y="20284"/>
                      <a:pt x="44252" y="16812"/>
                    </a:cubicBezTo>
                    <a:cubicBezTo>
                      <a:pt x="48717" y="13339"/>
                      <a:pt x="53182" y="9370"/>
                      <a:pt x="57646" y="6890"/>
                    </a:cubicBezTo>
                    <a:cubicBezTo>
                      <a:pt x="62607" y="4410"/>
                      <a:pt x="68064" y="3417"/>
                      <a:pt x="73521" y="1929"/>
                    </a:cubicBezTo>
                    <a:cubicBezTo>
                      <a:pt x="78978" y="441"/>
                      <a:pt x="84435" y="441"/>
                      <a:pt x="89891" y="441"/>
                    </a:cubicBezTo>
                    <a:cubicBezTo>
                      <a:pt x="95348" y="441"/>
                      <a:pt x="101301" y="-551"/>
                      <a:pt x="106758" y="441"/>
                    </a:cubicBezTo>
                    <a:cubicBezTo>
                      <a:pt x="112215" y="1929"/>
                      <a:pt x="117176" y="4410"/>
                      <a:pt x="122136" y="6890"/>
                    </a:cubicBezTo>
                    <a:cubicBezTo>
                      <a:pt x="127097" y="9370"/>
                      <a:pt x="131562" y="12347"/>
                      <a:pt x="136026" y="15819"/>
                    </a:cubicBezTo>
                    <a:cubicBezTo>
                      <a:pt x="140491" y="19292"/>
                      <a:pt x="144460" y="23261"/>
                      <a:pt x="147932" y="27229"/>
                    </a:cubicBezTo>
                    <a:cubicBezTo>
                      <a:pt x="151405" y="31198"/>
                      <a:pt x="155870" y="35166"/>
                      <a:pt x="158846" y="40127"/>
                    </a:cubicBezTo>
                    <a:cubicBezTo>
                      <a:pt x="161823" y="44592"/>
                      <a:pt x="163311" y="50049"/>
                      <a:pt x="165791" y="55506"/>
                    </a:cubicBezTo>
                    <a:cubicBezTo>
                      <a:pt x="168272" y="60466"/>
                      <a:pt x="170752" y="65427"/>
                      <a:pt x="172240" y="70884"/>
                    </a:cubicBezTo>
                    <a:cubicBezTo>
                      <a:pt x="173729" y="75845"/>
                      <a:pt x="176209" y="81302"/>
                      <a:pt x="177201" y="86759"/>
                    </a:cubicBezTo>
                    <a:cubicBezTo>
                      <a:pt x="178193" y="92215"/>
                      <a:pt x="179185" y="97672"/>
                      <a:pt x="179682" y="103129"/>
                    </a:cubicBezTo>
                    <a:cubicBezTo>
                      <a:pt x="182658" y="108090"/>
                      <a:pt x="181666" y="113547"/>
                      <a:pt x="181666" y="11950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2087E3D7-50B4-F866-2992-C7D14AA1C780}"/>
                </a:ext>
              </a:extLst>
            </p:cNvPr>
            <p:cNvSpPr/>
            <p:nvPr/>
          </p:nvSpPr>
          <p:spPr>
            <a:xfrm>
              <a:off x="3885152" y="5363782"/>
              <a:ext cx="1023904" cy="25773"/>
            </a:xfrm>
            <a:custGeom>
              <a:avLst/>
              <a:gdLst>
                <a:gd name="connsiteX0" fmla="*/ 1023905 w 1023904"/>
                <a:gd name="connsiteY0" fmla="*/ 22632 h 25773"/>
                <a:gd name="connsiteX1" fmla="*/ 1007534 w 1023904"/>
                <a:gd name="connsiteY1" fmla="*/ 23128 h 25773"/>
                <a:gd name="connsiteX2" fmla="*/ 991164 w 1023904"/>
                <a:gd name="connsiteY2" fmla="*/ 21639 h 25773"/>
                <a:gd name="connsiteX3" fmla="*/ 974793 w 1023904"/>
                <a:gd name="connsiteY3" fmla="*/ 23128 h 25773"/>
                <a:gd name="connsiteX4" fmla="*/ 958423 w 1023904"/>
                <a:gd name="connsiteY4" fmla="*/ 22632 h 25773"/>
                <a:gd name="connsiteX5" fmla="*/ 942052 w 1023904"/>
                <a:gd name="connsiteY5" fmla="*/ 22632 h 25773"/>
                <a:gd name="connsiteX6" fmla="*/ 925681 w 1023904"/>
                <a:gd name="connsiteY6" fmla="*/ 22135 h 25773"/>
                <a:gd name="connsiteX7" fmla="*/ 909311 w 1023904"/>
                <a:gd name="connsiteY7" fmla="*/ 24120 h 25773"/>
                <a:gd name="connsiteX8" fmla="*/ 892940 w 1023904"/>
                <a:gd name="connsiteY8" fmla="*/ 22632 h 25773"/>
                <a:gd name="connsiteX9" fmla="*/ 876570 w 1023904"/>
                <a:gd name="connsiteY9" fmla="*/ 23128 h 25773"/>
                <a:gd name="connsiteX10" fmla="*/ 860199 w 1023904"/>
                <a:gd name="connsiteY10" fmla="*/ 23128 h 25773"/>
                <a:gd name="connsiteX11" fmla="*/ 843828 w 1023904"/>
                <a:gd name="connsiteY11" fmla="*/ 23128 h 25773"/>
                <a:gd name="connsiteX12" fmla="*/ 827458 w 1023904"/>
                <a:gd name="connsiteY12" fmla="*/ 23128 h 25773"/>
                <a:gd name="connsiteX13" fmla="*/ 811087 w 1023904"/>
                <a:gd name="connsiteY13" fmla="*/ 23128 h 25773"/>
                <a:gd name="connsiteX14" fmla="*/ 794717 w 1023904"/>
                <a:gd name="connsiteY14" fmla="*/ 22632 h 25773"/>
                <a:gd name="connsiteX15" fmla="*/ 778346 w 1023904"/>
                <a:gd name="connsiteY15" fmla="*/ 24120 h 25773"/>
                <a:gd name="connsiteX16" fmla="*/ 761976 w 1023904"/>
                <a:gd name="connsiteY16" fmla="*/ 22135 h 25773"/>
                <a:gd name="connsiteX17" fmla="*/ 745605 w 1023904"/>
                <a:gd name="connsiteY17" fmla="*/ 22135 h 25773"/>
                <a:gd name="connsiteX18" fmla="*/ 729235 w 1023904"/>
                <a:gd name="connsiteY18" fmla="*/ 23624 h 25773"/>
                <a:gd name="connsiteX19" fmla="*/ 712864 w 1023904"/>
                <a:gd name="connsiteY19" fmla="*/ 24120 h 25773"/>
                <a:gd name="connsiteX20" fmla="*/ 696494 w 1023904"/>
                <a:gd name="connsiteY20" fmla="*/ 22135 h 25773"/>
                <a:gd name="connsiteX21" fmla="*/ 680123 w 1023904"/>
                <a:gd name="connsiteY21" fmla="*/ 23128 h 25773"/>
                <a:gd name="connsiteX22" fmla="*/ 663752 w 1023904"/>
                <a:gd name="connsiteY22" fmla="*/ 24616 h 25773"/>
                <a:gd name="connsiteX23" fmla="*/ 647382 w 1023904"/>
                <a:gd name="connsiteY23" fmla="*/ 22135 h 25773"/>
                <a:gd name="connsiteX24" fmla="*/ 631011 w 1023904"/>
                <a:gd name="connsiteY24" fmla="*/ 22632 h 25773"/>
                <a:gd name="connsiteX25" fmla="*/ 614641 w 1023904"/>
                <a:gd name="connsiteY25" fmla="*/ 23128 h 25773"/>
                <a:gd name="connsiteX26" fmla="*/ 598270 w 1023904"/>
                <a:gd name="connsiteY26" fmla="*/ 22632 h 25773"/>
                <a:gd name="connsiteX27" fmla="*/ 581899 w 1023904"/>
                <a:gd name="connsiteY27" fmla="*/ 23624 h 25773"/>
                <a:gd name="connsiteX28" fmla="*/ 565529 w 1023904"/>
                <a:gd name="connsiteY28" fmla="*/ 22632 h 25773"/>
                <a:gd name="connsiteX29" fmla="*/ 549158 w 1023904"/>
                <a:gd name="connsiteY29" fmla="*/ 23128 h 25773"/>
                <a:gd name="connsiteX30" fmla="*/ 532788 w 1023904"/>
                <a:gd name="connsiteY30" fmla="*/ 22135 h 25773"/>
                <a:gd name="connsiteX31" fmla="*/ 516417 w 1023904"/>
                <a:gd name="connsiteY31" fmla="*/ 22632 h 25773"/>
                <a:gd name="connsiteX32" fmla="*/ 500047 w 1023904"/>
                <a:gd name="connsiteY32" fmla="*/ 23624 h 25773"/>
                <a:gd name="connsiteX33" fmla="*/ 483676 w 1023904"/>
                <a:gd name="connsiteY33" fmla="*/ 23624 h 25773"/>
                <a:gd name="connsiteX34" fmla="*/ 467305 w 1023904"/>
                <a:gd name="connsiteY34" fmla="*/ 23128 h 25773"/>
                <a:gd name="connsiteX35" fmla="*/ 450935 w 1023904"/>
                <a:gd name="connsiteY35" fmla="*/ 22135 h 25773"/>
                <a:gd name="connsiteX36" fmla="*/ 434564 w 1023904"/>
                <a:gd name="connsiteY36" fmla="*/ 22632 h 25773"/>
                <a:gd name="connsiteX37" fmla="*/ 418194 w 1023904"/>
                <a:gd name="connsiteY37" fmla="*/ 23128 h 25773"/>
                <a:gd name="connsiteX38" fmla="*/ 401823 w 1023904"/>
                <a:gd name="connsiteY38" fmla="*/ 23128 h 25773"/>
                <a:gd name="connsiteX39" fmla="*/ 385453 w 1023904"/>
                <a:gd name="connsiteY39" fmla="*/ 22135 h 25773"/>
                <a:gd name="connsiteX40" fmla="*/ 369082 w 1023904"/>
                <a:gd name="connsiteY40" fmla="*/ 21639 h 25773"/>
                <a:gd name="connsiteX41" fmla="*/ 352711 w 1023904"/>
                <a:gd name="connsiteY41" fmla="*/ 23624 h 25773"/>
                <a:gd name="connsiteX42" fmla="*/ 336341 w 1023904"/>
                <a:gd name="connsiteY42" fmla="*/ 22632 h 25773"/>
                <a:gd name="connsiteX43" fmla="*/ 319970 w 1023904"/>
                <a:gd name="connsiteY43" fmla="*/ 23624 h 25773"/>
                <a:gd name="connsiteX44" fmla="*/ 307072 w 1023904"/>
                <a:gd name="connsiteY44" fmla="*/ 17175 h 25773"/>
                <a:gd name="connsiteX45" fmla="*/ 293678 w 1023904"/>
                <a:gd name="connsiteY45" fmla="*/ 12214 h 25773"/>
                <a:gd name="connsiteX46" fmla="*/ 280780 w 1023904"/>
                <a:gd name="connsiteY46" fmla="*/ 6757 h 25773"/>
                <a:gd name="connsiteX47" fmla="*/ 268378 w 1023904"/>
                <a:gd name="connsiteY47" fmla="*/ 1796 h 25773"/>
                <a:gd name="connsiteX48" fmla="*/ 275323 w 1023904"/>
                <a:gd name="connsiteY48" fmla="*/ 11718 h 25773"/>
                <a:gd name="connsiteX49" fmla="*/ 281276 w 1023904"/>
                <a:gd name="connsiteY49" fmla="*/ 23624 h 25773"/>
                <a:gd name="connsiteX50" fmla="*/ 265402 w 1023904"/>
                <a:gd name="connsiteY50" fmla="*/ 15687 h 25773"/>
                <a:gd name="connsiteX51" fmla="*/ 250023 w 1023904"/>
                <a:gd name="connsiteY51" fmla="*/ 7750 h 25773"/>
                <a:gd name="connsiteX52" fmla="*/ 234149 w 1023904"/>
                <a:gd name="connsiteY52" fmla="*/ 804 h 25773"/>
                <a:gd name="connsiteX53" fmla="*/ 240598 w 1023904"/>
                <a:gd name="connsiteY53" fmla="*/ 11718 h 25773"/>
                <a:gd name="connsiteX54" fmla="*/ 245559 w 1023904"/>
                <a:gd name="connsiteY54" fmla="*/ 23128 h 25773"/>
                <a:gd name="connsiteX55" fmla="*/ 229188 w 1023904"/>
                <a:gd name="connsiteY55" fmla="*/ 23128 h 25773"/>
                <a:gd name="connsiteX56" fmla="*/ 212818 w 1023904"/>
                <a:gd name="connsiteY56" fmla="*/ 22135 h 25773"/>
                <a:gd name="connsiteX57" fmla="*/ 196447 w 1023904"/>
                <a:gd name="connsiteY57" fmla="*/ 23128 h 25773"/>
                <a:gd name="connsiteX58" fmla="*/ 180076 w 1023904"/>
                <a:gd name="connsiteY58" fmla="*/ 22135 h 25773"/>
                <a:gd name="connsiteX59" fmla="*/ 163706 w 1023904"/>
                <a:gd name="connsiteY59" fmla="*/ 23128 h 25773"/>
                <a:gd name="connsiteX60" fmla="*/ 147335 w 1023904"/>
                <a:gd name="connsiteY60" fmla="*/ 23624 h 25773"/>
                <a:gd name="connsiteX61" fmla="*/ 130965 w 1023904"/>
                <a:gd name="connsiteY61" fmla="*/ 22632 h 25773"/>
                <a:gd name="connsiteX62" fmla="*/ 114594 w 1023904"/>
                <a:gd name="connsiteY62" fmla="*/ 23128 h 25773"/>
                <a:gd name="connsiteX63" fmla="*/ 98223 w 1023904"/>
                <a:gd name="connsiteY63" fmla="*/ 23624 h 25773"/>
                <a:gd name="connsiteX64" fmla="*/ 81853 w 1023904"/>
                <a:gd name="connsiteY64" fmla="*/ 24120 h 25773"/>
                <a:gd name="connsiteX65" fmla="*/ 65482 w 1023904"/>
                <a:gd name="connsiteY65" fmla="*/ 24120 h 25773"/>
                <a:gd name="connsiteX66" fmla="*/ 49112 w 1023904"/>
                <a:gd name="connsiteY66" fmla="*/ 23624 h 25773"/>
                <a:gd name="connsiteX67" fmla="*/ 32741 w 1023904"/>
                <a:gd name="connsiteY67" fmla="*/ 23624 h 25773"/>
                <a:gd name="connsiteX68" fmla="*/ 16371 w 1023904"/>
                <a:gd name="connsiteY68" fmla="*/ 23128 h 25773"/>
                <a:gd name="connsiteX69" fmla="*/ 0 w 1023904"/>
                <a:gd name="connsiteY69" fmla="*/ 22632 h 25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023904" h="25773">
                  <a:moveTo>
                    <a:pt x="1023905" y="22632"/>
                  </a:moveTo>
                  <a:cubicBezTo>
                    <a:pt x="1018448" y="22632"/>
                    <a:pt x="1012991" y="23128"/>
                    <a:pt x="1007534" y="23128"/>
                  </a:cubicBezTo>
                  <a:cubicBezTo>
                    <a:pt x="1002077" y="23128"/>
                    <a:pt x="996621" y="21639"/>
                    <a:pt x="991164" y="21639"/>
                  </a:cubicBezTo>
                  <a:cubicBezTo>
                    <a:pt x="985707" y="21639"/>
                    <a:pt x="980250" y="23128"/>
                    <a:pt x="974793" y="23128"/>
                  </a:cubicBezTo>
                  <a:cubicBezTo>
                    <a:pt x="969336" y="23128"/>
                    <a:pt x="963879" y="22632"/>
                    <a:pt x="958423" y="22632"/>
                  </a:cubicBezTo>
                  <a:cubicBezTo>
                    <a:pt x="952966" y="22632"/>
                    <a:pt x="947509" y="22632"/>
                    <a:pt x="942052" y="22632"/>
                  </a:cubicBezTo>
                  <a:cubicBezTo>
                    <a:pt x="936595" y="22632"/>
                    <a:pt x="931138" y="22135"/>
                    <a:pt x="925681" y="22135"/>
                  </a:cubicBezTo>
                  <a:cubicBezTo>
                    <a:pt x="920225" y="22135"/>
                    <a:pt x="914768" y="24120"/>
                    <a:pt x="909311" y="24120"/>
                  </a:cubicBezTo>
                  <a:cubicBezTo>
                    <a:pt x="903854" y="24120"/>
                    <a:pt x="898397" y="22632"/>
                    <a:pt x="892940" y="22632"/>
                  </a:cubicBezTo>
                  <a:cubicBezTo>
                    <a:pt x="887484" y="22632"/>
                    <a:pt x="882027" y="23128"/>
                    <a:pt x="876570" y="23128"/>
                  </a:cubicBezTo>
                  <a:cubicBezTo>
                    <a:pt x="871113" y="23128"/>
                    <a:pt x="865656" y="23128"/>
                    <a:pt x="860199" y="23128"/>
                  </a:cubicBezTo>
                  <a:cubicBezTo>
                    <a:pt x="854742" y="23128"/>
                    <a:pt x="849286" y="23128"/>
                    <a:pt x="843828" y="23128"/>
                  </a:cubicBezTo>
                  <a:cubicBezTo>
                    <a:pt x="838372" y="23128"/>
                    <a:pt x="832915" y="23128"/>
                    <a:pt x="827458" y="23128"/>
                  </a:cubicBezTo>
                  <a:cubicBezTo>
                    <a:pt x="822001" y="23128"/>
                    <a:pt x="816544" y="23128"/>
                    <a:pt x="811087" y="23128"/>
                  </a:cubicBezTo>
                  <a:cubicBezTo>
                    <a:pt x="805631" y="23128"/>
                    <a:pt x="800174" y="22632"/>
                    <a:pt x="794717" y="22632"/>
                  </a:cubicBezTo>
                  <a:cubicBezTo>
                    <a:pt x="789260" y="22632"/>
                    <a:pt x="783803" y="24120"/>
                    <a:pt x="778346" y="24120"/>
                  </a:cubicBezTo>
                  <a:cubicBezTo>
                    <a:pt x="772889" y="24120"/>
                    <a:pt x="767433" y="22135"/>
                    <a:pt x="761976" y="22135"/>
                  </a:cubicBezTo>
                  <a:cubicBezTo>
                    <a:pt x="756519" y="22135"/>
                    <a:pt x="751062" y="22135"/>
                    <a:pt x="745605" y="22135"/>
                  </a:cubicBezTo>
                  <a:cubicBezTo>
                    <a:pt x="740148" y="22135"/>
                    <a:pt x="734691" y="23624"/>
                    <a:pt x="729235" y="23624"/>
                  </a:cubicBezTo>
                  <a:cubicBezTo>
                    <a:pt x="723778" y="23624"/>
                    <a:pt x="718321" y="24120"/>
                    <a:pt x="712864" y="24120"/>
                  </a:cubicBezTo>
                  <a:cubicBezTo>
                    <a:pt x="707407" y="24120"/>
                    <a:pt x="701950" y="22135"/>
                    <a:pt x="696494" y="22135"/>
                  </a:cubicBezTo>
                  <a:cubicBezTo>
                    <a:pt x="691037" y="22135"/>
                    <a:pt x="685580" y="23128"/>
                    <a:pt x="680123" y="23128"/>
                  </a:cubicBezTo>
                  <a:cubicBezTo>
                    <a:pt x="674666" y="23128"/>
                    <a:pt x="669209" y="24616"/>
                    <a:pt x="663752" y="24616"/>
                  </a:cubicBezTo>
                  <a:cubicBezTo>
                    <a:pt x="658296" y="24616"/>
                    <a:pt x="652838" y="22135"/>
                    <a:pt x="647382" y="22135"/>
                  </a:cubicBezTo>
                  <a:cubicBezTo>
                    <a:pt x="641925" y="22135"/>
                    <a:pt x="636468" y="22632"/>
                    <a:pt x="631011" y="22632"/>
                  </a:cubicBezTo>
                  <a:cubicBezTo>
                    <a:pt x="625554" y="22632"/>
                    <a:pt x="620097" y="23128"/>
                    <a:pt x="614641" y="23128"/>
                  </a:cubicBezTo>
                  <a:cubicBezTo>
                    <a:pt x="609184" y="23128"/>
                    <a:pt x="603727" y="22632"/>
                    <a:pt x="598270" y="22632"/>
                  </a:cubicBezTo>
                  <a:cubicBezTo>
                    <a:pt x="592813" y="22632"/>
                    <a:pt x="587356" y="23624"/>
                    <a:pt x="581899" y="23624"/>
                  </a:cubicBezTo>
                  <a:cubicBezTo>
                    <a:pt x="576443" y="23624"/>
                    <a:pt x="570986" y="22632"/>
                    <a:pt x="565529" y="22632"/>
                  </a:cubicBezTo>
                  <a:cubicBezTo>
                    <a:pt x="560072" y="22632"/>
                    <a:pt x="554615" y="23128"/>
                    <a:pt x="549158" y="23128"/>
                  </a:cubicBezTo>
                  <a:cubicBezTo>
                    <a:pt x="543701" y="23128"/>
                    <a:pt x="538245" y="22135"/>
                    <a:pt x="532788" y="22135"/>
                  </a:cubicBezTo>
                  <a:cubicBezTo>
                    <a:pt x="527331" y="22135"/>
                    <a:pt x="521874" y="22632"/>
                    <a:pt x="516417" y="22632"/>
                  </a:cubicBezTo>
                  <a:cubicBezTo>
                    <a:pt x="510960" y="22632"/>
                    <a:pt x="505504" y="23624"/>
                    <a:pt x="500047" y="23624"/>
                  </a:cubicBezTo>
                  <a:cubicBezTo>
                    <a:pt x="494590" y="23624"/>
                    <a:pt x="489133" y="23624"/>
                    <a:pt x="483676" y="23624"/>
                  </a:cubicBezTo>
                  <a:cubicBezTo>
                    <a:pt x="478219" y="23624"/>
                    <a:pt x="472762" y="23128"/>
                    <a:pt x="467305" y="23128"/>
                  </a:cubicBezTo>
                  <a:cubicBezTo>
                    <a:pt x="461848" y="23128"/>
                    <a:pt x="456392" y="22135"/>
                    <a:pt x="450935" y="22135"/>
                  </a:cubicBezTo>
                  <a:cubicBezTo>
                    <a:pt x="445478" y="22135"/>
                    <a:pt x="440021" y="22632"/>
                    <a:pt x="434564" y="22632"/>
                  </a:cubicBezTo>
                  <a:cubicBezTo>
                    <a:pt x="429107" y="22632"/>
                    <a:pt x="423651" y="23128"/>
                    <a:pt x="418194" y="23128"/>
                  </a:cubicBezTo>
                  <a:cubicBezTo>
                    <a:pt x="412737" y="23128"/>
                    <a:pt x="407280" y="23128"/>
                    <a:pt x="401823" y="23128"/>
                  </a:cubicBezTo>
                  <a:cubicBezTo>
                    <a:pt x="396366" y="23128"/>
                    <a:pt x="390909" y="22135"/>
                    <a:pt x="385453" y="22135"/>
                  </a:cubicBezTo>
                  <a:cubicBezTo>
                    <a:pt x="379500" y="22135"/>
                    <a:pt x="374043" y="21639"/>
                    <a:pt x="369082" y="21639"/>
                  </a:cubicBezTo>
                  <a:cubicBezTo>
                    <a:pt x="363129" y="21639"/>
                    <a:pt x="357672" y="23624"/>
                    <a:pt x="352711" y="23624"/>
                  </a:cubicBezTo>
                  <a:cubicBezTo>
                    <a:pt x="346262" y="23624"/>
                    <a:pt x="340806" y="22632"/>
                    <a:pt x="336341" y="22632"/>
                  </a:cubicBezTo>
                  <a:cubicBezTo>
                    <a:pt x="325923" y="22632"/>
                    <a:pt x="327907" y="26104"/>
                    <a:pt x="319970" y="23624"/>
                  </a:cubicBezTo>
                  <a:cubicBezTo>
                    <a:pt x="313025" y="21639"/>
                    <a:pt x="313521" y="20152"/>
                    <a:pt x="307072" y="17175"/>
                  </a:cubicBezTo>
                  <a:cubicBezTo>
                    <a:pt x="300623" y="14198"/>
                    <a:pt x="300127" y="14694"/>
                    <a:pt x="293678" y="12214"/>
                  </a:cubicBezTo>
                  <a:cubicBezTo>
                    <a:pt x="287229" y="9237"/>
                    <a:pt x="287229" y="9237"/>
                    <a:pt x="280780" y="6757"/>
                  </a:cubicBezTo>
                  <a:cubicBezTo>
                    <a:pt x="274331" y="3781"/>
                    <a:pt x="273835" y="-2668"/>
                    <a:pt x="268378" y="1796"/>
                  </a:cubicBezTo>
                  <a:cubicBezTo>
                    <a:pt x="263417" y="5765"/>
                    <a:pt x="271851" y="6261"/>
                    <a:pt x="275323" y="11718"/>
                  </a:cubicBezTo>
                  <a:cubicBezTo>
                    <a:pt x="278796" y="17175"/>
                    <a:pt x="287229" y="21143"/>
                    <a:pt x="281276" y="23624"/>
                  </a:cubicBezTo>
                  <a:cubicBezTo>
                    <a:pt x="273339" y="27096"/>
                    <a:pt x="273339" y="19655"/>
                    <a:pt x="265402" y="15687"/>
                  </a:cubicBezTo>
                  <a:cubicBezTo>
                    <a:pt x="257465" y="12214"/>
                    <a:pt x="257961" y="11718"/>
                    <a:pt x="250023" y="7750"/>
                  </a:cubicBezTo>
                  <a:cubicBezTo>
                    <a:pt x="242086" y="3781"/>
                    <a:pt x="242086" y="-2172"/>
                    <a:pt x="234149" y="804"/>
                  </a:cubicBezTo>
                  <a:cubicBezTo>
                    <a:pt x="228196" y="2789"/>
                    <a:pt x="237621" y="6261"/>
                    <a:pt x="240598" y="11718"/>
                  </a:cubicBezTo>
                  <a:cubicBezTo>
                    <a:pt x="243574" y="17175"/>
                    <a:pt x="250023" y="18663"/>
                    <a:pt x="245559" y="23128"/>
                  </a:cubicBezTo>
                  <a:cubicBezTo>
                    <a:pt x="240102" y="29081"/>
                    <a:pt x="237621" y="23128"/>
                    <a:pt x="229188" y="23128"/>
                  </a:cubicBezTo>
                  <a:cubicBezTo>
                    <a:pt x="221251" y="23128"/>
                    <a:pt x="221251" y="22135"/>
                    <a:pt x="212818" y="22135"/>
                  </a:cubicBezTo>
                  <a:cubicBezTo>
                    <a:pt x="204880" y="22135"/>
                    <a:pt x="204880" y="23128"/>
                    <a:pt x="196447" y="23128"/>
                  </a:cubicBezTo>
                  <a:cubicBezTo>
                    <a:pt x="188510" y="23128"/>
                    <a:pt x="188510" y="22135"/>
                    <a:pt x="180076" y="22135"/>
                  </a:cubicBezTo>
                  <a:cubicBezTo>
                    <a:pt x="172139" y="22135"/>
                    <a:pt x="172139" y="23128"/>
                    <a:pt x="163706" y="23128"/>
                  </a:cubicBezTo>
                  <a:cubicBezTo>
                    <a:pt x="155769" y="23128"/>
                    <a:pt x="155769" y="23624"/>
                    <a:pt x="147335" y="23624"/>
                  </a:cubicBezTo>
                  <a:cubicBezTo>
                    <a:pt x="139398" y="23624"/>
                    <a:pt x="139398" y="22632"/>
                    <a:pt x="130965" y="22632"/>
                  </a:cubicBezTo>
                  <a:cubicBezTo>
                    <a:pt x="123027" y="22632"/>
                    <a:pt x="123027" y="23128"/>
                    <a:pt x="114594" y="23128"/>
                  </a:cubicBezTo>
                  <a:cubicBezTo>
                    <a:pt x="106161" y="23128"/>
                    <a:pt x="106657" y="23624"/>
                    <a:pt x="98223" y="23624"/>
                  </a:cubicBezTo>
                  <a:cubicBezTo>
                    <a:pt x="90286" y="23624"/>
                    <a:pt x="90286" y="24120"/>
                    <a:pt x="81853" y="24120"/>
                  </a:cubicBezTo>
                  <a:cubicBezTo>
                    <a:pt x="73916" y="24120"/>
                    <a:pt x="73916" y="24120"/>
                    <a:pt x="65482" y="24120"/>
                  </a:cubicBezTo>
                  <a:cubicBezTo>
                    <a:pt x="57545" y="24120"/>
                    <a:pt x="57545" y="23624"/>
                    <a:pt x="49112" y="23624"/>
                  </a:cubicBezTo>
                  <a:cubicBezTo>
                    <a:pt x="41174" y="23624"/>
                    <a:pt x="41174" y="23624"/>
                    <a:pt x="32741" y="23624"/>
                  </a:cubicBezTo>
                  <a:cubicBezTo>
                    <a:pt x="24804" y="23624"/>
                    <a:pt x="24804" y="23128"/>
                    <a:pt x="16371" y="23128"/>
                  </a:cubicBezTo>
                  <a:cubicBezTo>
                    <a:pt x="8433" y="23128"/>
                    <a:pt x="8433" y="22632"/>
                    <a:pt x="0" y="2263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8ECD9412-140C-0B35-9187-CADF8C9ED36E}"/>
                </a:ext>
              </a:extLst>
            </p:cNvPr>
            <p:cNvSpPr/>
            <p:nvPr/>
          </p:nvSpPr>
          <p:spPr>
            <a:xfrm>
              <a:off x="4970570" y="5384925"/>
              <a:ext cx="153784" cy="1984"/>
            </a:xfrm>
            <a:custGeom>
              <a:avLst/>
              <a:gdLst>
                <a:gd name="connsiteX0" fmla="*/ 153784 w 153784"/>
                <a:gd name="connsiteY0" fmla="*/ 1984 h 1984"/>
                <a:gd name="connsiteX1" fmla="*/ 138406 w 153784"/>
                <a:gd name="connsiteY1" fmla="*/ 1488 h 1984"/>
                <a:gd name="connsiteX2" fmla="*/ 123027 w 153784"/>
                <a:gd name="connsiteY2" fmla="*/ 1488 h 1984"/>
                <a:gd name="connsiteX3" fmla="*/ 107649 w 153784"/>
                <a:gd name="connsiteY3" fmla="*/ 1984 h 1984"/>
                <a:gd name="connsiteX4" fmla="*/ 92271 w 153784"/>
                <a:gd name="connsiteY4" fmla="*/ 992 h 1984"/>
                <a:gd name="connsiteX5" fmla="*/ 76892 w 153784"/>
                <a:gd name="connsiteY5" fmla="*/ 992 h 1984"/>
                <a:gd name="connsiteX6" fmla="*/ 61514 w 153784"/>
                <a:gd name="connsiteY6" fmla="*/ 0 h 1984"/>
                <a:gd name="connsiteX7" fmla="*/ 46135 w 153784"/>
                <a:gd name="connsiteY7" fmla="*/ 1984 h 1984"/>
                <a:gd name="connsiteX8" fmla="*/ 30757 w 153784"/>
                <a:gd name="connsiteY8" fmla="*/ 1488 h 1984"/>
                <a:gd name="connsiteX9" fmla="*/ 15379 w 153784"/>
                <a:gd name="connsiteY9" fmla="*/ 1984 h 1984"/>
                <a:gd name="connsiteX10" fmla="*/ 0 w 153784"/>
                <a:gd name="connsiteY10" fmla="*/ 0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3784" h="1984">
                  <a:moveTo>
                    <a:pt x="153784" y="1984"/>
                  </a:moveTo>
                  <a:cubicBezTo>
                    <a:pt x="152296" y="1984"/>
                    <a:pt x="146839" y="1488"/>
                    <a:pt x="138406" y="1488"/>
                  </a:cubicBezTo>
                  <a:cubicBezTo>
                    <a:pt x="133941" y="1488"/>
                    <a:pt x="128980" y="1488"/>
                    <a:pt x="123027" y="1488"/>
                  </a:cubicBezTo>
                  <a:cubicBezTo>
                    <a:pt x="118066" y="1488"/>
                    <a:pt x="113106" y="1984"/>
                    <a:pt x="107649" y="1984"/>
                  </a:cubicBezTo>
                  <a:cubicBezTo>
                    <a:pt x="102688" y="1984"/>
                    <a:pt x="97727" y="992"/>
                    <a:pt x="92271" y="992"/>
                  </a:cubicBezTo>
                  <a:cubicBezTo>
                    <a:pt x="87310" y="992"/>
                    <a:pt x="82349" y="992"/>
                    <a:pt x="76892" y="992"/>
                  </a:cubicBezTo>
                  <a:cubicBezTo>
                    <a:pt x="71931" y="992"/>
                    <a:pt x="66475" y="0"/>
                    <a:pt x="61514" y="0"/>
                  </a:cubicBezTo>
                  <a:cubicBezTo>
                    <a:pt x="56553" y="0"/>
                    <a:pt x="51096" y="1984"/>
                    <a:pt x="46135" y="1984"/>
                  </a:cubicBezTo>
                  <a:cubicBezTo>
                    <a:pt x="41174" y="1984"/>
                    <a:pt x="35718" y="1488"/>
                    <a:pt x="30757" y="1488"/>
                  </a:cubicBezTo>
                  <a:cubicBezTo>
                    <a:pt x="25796" y="1488"/>
                    <a:pt x="20339" y="1984"/>
                    <a:pt x="15379" y="1984"/>
                  </a:cubicBezTo>
                  <a:cubicBezTo>
                    <a:pt x="10418" y="1984"/>
                    <a:pt x="4961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5915893F-4F61-6709-5E70-7F3964D2E959}"/>
                </a:ext>
              </a:extLst>
            </p:cNvPr>
            <p:cNvSpPr/>
            <p:nvPr/>
          </p:nvSpPr>
          <p:spPr>
            <a:xfrm>
              <a:off x="5371401" y="4093138"/>
              <a:ext cx="238117" cy="1984"/>
            </a:xfrm>
            <a:custGeom>
              <a:avLst/>
              <a:gdLst>
                <a:gd name="connsiteX0" fmla="*/ 0 w 238117"/>
                <a:gd name="connsiteY0" fmla="*/ 496 h 1984"/>
                <a:gd name="connsiteX1" fmla="*/ 15875 w 238117"/>
                <a:gd name="connsiteY1" fmla="*/ 0 h 1984"/>
                <a:gd name="connsiteX2" fmla="*/ 31749 w 238117"/>
                <a:gd name="connsiteY2" fmla="*/ 0 h 1984"/>
                <a:gd name="connsiteX3" fmla="*/ 47624 w 238117"/>
                <a:gd name="connsiteY3" fmla="*/ 992 h 1984"/>
                <a:gd name="connsiteX4" fmla="*/ 63498 w 238117"/>
                <a:gd name="connsiteY4" fmla="*/ 1984 h 1984"/>
                <a:gd name="connsiteX5" fmla="*/ 79372 w 238117"/>
                <a:gd name="connsiteY5" fmla="*/ 992 h 1984"/>
                <a:gd name="connsiteX6" fmla="*/ 95247 w 238117"/>
                <a:gd name="connsiteY6" fmla="*/ 1488 h 1984"/>
                <a:gd name="connsiteX7" fmla="*/ 111122 w 238117"/>
                <a:gd name="connsiteY7" fmla="*/ 1488 h 1984"/>
                <a:gd name="connsiteX8" fmla="*/ 126996 w 238117"/>
                <a:gd name="connsiteY8" fmla="*/ 1488 h 1984"/>
                <a:gd name="connsiteX9" fmla="*/ 142871 w 238117"/>
                <a:gd name="connsiteY9" fmla="*/ 1984 h 1984"/>
                <a:gd name="connsiteX10" fmla="*/ 158745 w 238117"/>
                <a:gd name="connsiteY10" fmla="*/ 496 h 1984"/>
                <a:gd name="connsiteX11" fmla="*/ 174619 w 238117"/>
                <a:gd name="connsiteY11" fmla="*/ 0 h 1984"/>
                <a:gd name="connsiteX12" fmla="*/ 190494 w 238117"/>
                <a:gd name="connsiteY12" fmla="*/ 0 h 1984"/>
                <a:gd name="connsiteX13" fmla="*/ 206369 w 238117"/>
                <a:gd name="connsiteY13" fmla="*/ 1488 h 1984"/>
                <a:gd name="connsiteX14" fmla="*/ 222243 w 238117"/>
                <a:gd name="connsiteY14" fmla="*/ 1984 h 1984"/>
                <a:gd name="connsiteX15" fmla="*/ 238117 w 238117"/>
                <a:gd name="connsiteY15" fmla="*/ 992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8117" h="1984">
                  <a:moveTo>
                    <a:pt x="0" y="496"/>
                  </a:moveTo>
                  <a:cubicBezTo>
                    <a:pt x="7937" y="496"/>
                    <a:pt x="7937" y="0"/>
                    <a:pt x="15875" y="0"/>
                  </a:cubicBezTo>
                  <a:cubicBezTo>
                    <a:pt x="23812" y="0"/>
                    <a:pt x="23812" y="0"/>
                    <a:pt x="31749" y="0"/>
                  </a:cubicBezTo>
                  <a:cubicBezTo>
                    <a:pt x="39686" y="0"/>
                    <a:pt x="39686" y="992"/>
                    <a:pt x="47624" y="992"/>
                  </a:cubicBezTo>
                  <a:cubicBezTo>
                    <a:pt x="55561" y="992"/>
                    <a:pt x="55561" y="1984"/>
                    <a:pt x="63498" y="1984"/>
                  </a:cubicBezTo>
                  <a:cubicBezTo>
                    <a:pt x="71435" y="1984"/>
                    <a:pt x="71435" y="992"/>
                    <a:pt x="79372" y="992"/>
                  </a:cubicBezTo>
                  <a:cubicBezTo>
                    <a:pt x="87310" y="992"/>
                    <a:pt x="87310" y="1488"/>
                    <a:pt x="95247" y="1488"/>
                  </a:cubicBezTo>
                  <a:cubicBezTo>
                    <a:pt x="103184" y="1488"/>
                    <a:pt x="103184" y="1488"/>
                    <a:pt x="111122" y="1488"/>
                  </a:cubicBezTo>
                  <a:cubicBezTo>
                    <a:pt x="119059" y="1488"/>
                    <a:pt x="119059" y="1488"/>
                    <a:pt x="126996" y="1488"/>
                  </a:cubicBezTo>
                  <a:cubicBezTo>
                    <a:pt x="134933" y="1488"/>
                    <a:pt x="134933" y="1984"/>
                    <a:pt x="142871" y="1984"/>
                  </a:cubicBezTo>
                  <a:cubicBezTo>
                    <a:pt x="150808" y="1984"/>
                    <a:pt x="150808" y="496"/>
                    <a:pt x="158745" y="496"/>
                  </a:cubicBezTo>
                  <a:cubicBezTo>
                    <a:pt x="166682" y="496"/>
                    <a:pt x="166682" y="0"/>
                    <a:pt x="174619" y="0"/>
                  </a:cubicBezTo>
                  <a:cubicBezTo>
                    <a:pt x="182557" y="0"/>
                    <a:pt x="182557" y="0"/>
                    <a:pt x="190494" y="0"/>
                  </a:cubicBezTo>
                  <a:cubicBezTo>
                    <a:pt x="198431" y="0"/>
                    <a:pt x="198431" y="1488"/>
                    <a:pt x="206369" y="1488"/>
                  </a:cubicBezTo>
                  <a:cubicBezTo>
                    <a:pt x="214306" y="1488"/>
                    <a:pt x="214306" y="1984"/>
                    <a:pt x="222243" y="1984"/>
                  </a:cubicBezTo>
                  <a:cubicBezTo>
                    <a:pt x="230180" y="1984"/>
                    <a:pt x="230180" y="992"/>
                    <a:pt x="238117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1" name="Freeform: Shape 1410">
              <a:extLst>
                <a:ext uri="{FF2B5EF4-FFF2-40B4-BE49-F238E27FC236}">
                  <a16:creationId xmlns:a16="http://schemas.microsoft.com/office/drawing/2014/main" id="{D0486295-4538-4C9D-F2F4-3F161CF00027}"/>
                </a:ext>
              </a:extLst>
            </p:cNvPr>
            <p:cNvSpPr/>
            <p:nvPr/>
          </p:nvSpPr>
          <p:spPr>
            <a:xfrm>
              <a:off x="4436791" y="4092642"/>
              <a:ext cx="540228" cy="2976"/>
            </a:xfrm>
            <a:custGeom>
              <a:avLst/>
              <a:gdLst>
                <a:gd name="connsiteX0" fmla="*/ 0 w 540228"/>
                <a:gd name="connsiteY0" fmla="*/ 1984 h 2976"/>
                <a:gd name="connsiteX1" fmla="*/ 16371 w 540228"/>
                <a:gd name="connsiteY1" fmla="*/ 992 h 2976"/>
                <a:gd name="connsiteX2" fmla="*/ 32741 w 540228"/>
                <a:gd name="connsiteY2" fmla="*/ 0 h 2976"/>
                <a:gd name="connsiteX3" fmla="*/ 49112 w 540228"/>
                <a:gd name="connsiteY3" fmla="*/ 496 h 2976"/>
                <a:gd name="connsiteX4" fmla="*/ 65482 w 540228"/>
                <a:gd name="connsiteY4" fmla="*/ 0 h 2976"/>
                <a:gd name="connsiteX5" fmla="*/ 81853 w 540228"/>
                <a:gd name="connsiteY5" fmla="*/ 1488 h 2976"/>
                <a:gd name="connsiteX6" fmla="*/ 98223 w 540228"/>
                <a:gd name="connsiteY6" fmla="*/ 992 h 2976"/>
                <a:gd name="connsiteX7" fmla="*/ 114594 w 540228"/>
                <a:gd name="connsiteY7" fmla="*/ 1488 h 2976"/>
                <a:gd name="connsiteX8" fmla="*/ 130964 w 540228"/>
                <a:gd name="connsiteY8" fmla="*/ 1488 h 2976"/>
                <a:gd name="connsiteX9" fmla="*/ 147335 w 540228"/>
                <a:gd name="connsiteY9" fmla="*/ 0 h 2976"/>
                <a:gd name="connsiteX10" fmla="*/ 163706 w 540228"/>
                <a:gd name="connsiteY10" fmla="*/ 2480 h 2976"/>
                <a:gd name="connsiteX11" fmla="*/ 180076 w 540228"/>
                <a:gd name="connsiteY11" fmla="*/ 1488 h 2976"/>
                <a:gd name="connsiteX12" fmla="*/ 196447 w 540228"/>
                <a:gd name="connsiteY12" fmla="*/ 992 h 2976"/>
                <a:gd name="connsiteX13" fmla="*/ 212817 w 540228"/>
                <a:gd name="connsiteY13" fmla="*/ 496 h 2976"/>
                <a:gd name="connsiteX14" fmla="*/ 229188 w 540228"/>
                <a:gd name="connsiteY14" fmla="*/ 992 h 2976"/>
                <a:gd name="connsiteX15" fmla="*/ 245559 w 540228"/>
                <a:gd name="connsiteY15" fmla="*/ 496 h 2976"/>
                <a:gd name="connsiteX16" fmla="*/ 261929 w 540228"/>
                <a:gd name="connsiteY16" fmla="*/ 992 h 2976"/>
                <a:gd name="connsiteX17" fmla="*/ 278300 w 540228"/>
                <a:gd name="connsiteY17" fmla="*/ 496 h 2976"/>
                <a:gd name="connsiteX18" fmla="*/ 294670 w 540228"/>
                <a:gd name="connsiteY18" fmla="*/ 992 h 2976"/>
                <a:gd name="connsiteX19" fmla="*/ 311041 w 540228"/>
                <a:gd name="connsiteY19" fmla="*/ 496 h 2976"/>
                <a:gd name="connsiteX20" fmla="*/ 327411 w 540228"/>
                <a:gd name="connsiteY20" fmla="*/ 1984 h 2976"/>
                <a:gd name="connsiteX21" fmla="*/ 343782 w 540228"/>
                <a:gd name="connsiteY21" fmla="*/ 496 h 2976"/>
                <a:gd name="connsiteX22" fmla="*/ 360152 w 540228"/>
                <a:gd name="connsiteY22" fmla="*/ 2480 h 2976"/>
                <a:gd name="connsiteX23" fmla="*/ 376523 w 540228"/>
                <a:gd name="connsiteY23" fmla="*/ 992 h 2976"/>
                <a:gd name="connsiteX24" fmla="*/ 392894 w 540228"/>
                <a:gd name="connsiteY24" fmla="*/ 1488 h 2976"/>
                <a:gd name="connsiteX25" fmla="*/ 409264 w 540228"/>
                <a:gd name="connsiteY25" fmla="*/ 1984 h 2976"/>
                <a:gd name="connsiteX26" fmla="*/ 425635 w 540228"/>
                <a:gd name="connsiteY26" fmla="*/ 496 h 2976"/>
                <a:gd name="connsiteX27" fmla="*/ 442005 w 540228"/>
                <a:gd name="connsiteY27" fmla="*/ 496 h 2976"/>
                <a:gd name="connsiteX28" fmla="*/ 458376 w 540228"/>
                <a:gd name="connsiteY28" fmla="*/ 1488 h 2976"/>
                <a:gd name="connsiteX29" fmla="*/ 474747 w 540228"/>
                <a:gd name="connsiteY29" fmla="*/ 2976 h 2976"/>
                <a:gd name="connsiteX30" fmla="*/ 491117 w 540228"/>
                <a:gd name="connsiteY30" fmla="*/ 992 h 2976"/>
                <a:gd name="connsiteX31" fmla="*/ 507488 w 540228"/>
                <a:gd name="connsiteY31" fmla="*/ 2976 h 2976"/>
                <a:gd name="connsiteX32" fmla="*/ 523858 w 540228"/>
                <a:gd name="connsiteY32" fmla="*/ 2480 h 2976"/>
                <a:gd name="connsiteX33" fmla="*/ 540229 w 540228"/>
                <a:gd name="connsiteY33" fmla="*/ 992 h 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40228" h="2976">
                  <a:moveTo>
                    <a:pt x="0" y="1984"/>
                  </a:moveTo>
                  <a:cubicBezTo>
                    <a:pt x="7937" y="1984"/>
                    <a:pt x="7937" y="992"/>
                    <a:pt x="16371" y="992"/>
                  </a:cubicBezTo>
                  <a:cubicBezTo>
                    <a:pt x="24308" y="992"/>
                    <a:pt x="24308" y="0"/>
                    <a:pt x="32741" y="0"/>
                  </a:cubicBezTo>
                  <a:cubicBezTo>
                    <a:pt x="40678" y="0"/>
                    <a:pt x="40678" y="496"/>
                    <a:pt x="49112" y="496"/>
                  </a:cubicBezTo>
                  <a:cubicBezTo>
                    <a:pt x="57049" y="496"/>
                    <a:pt x="57049" y="0"/>
                    <a:pt x="65482" y="0"/>
                  </a:cubicBezTo>
                  <a:cubicBezTo>
                    <a:pt x="73419" y="0"/>
                    <a:pt x="73419" y="1488"/>
                    <a:pt x="81853" y="1488"/>
                  </a:cubicBezTo>
                  <a:cubicBezTo>
                    <a:pt x="89790" y="1488"/>
                    <a:pt x="89790" y="992"/>
                    <a:pt x="98223" y="992"/>
                  </a:cubicBezTo>
                  <a:cubicBezTo>
                    <a:pt x="106160" y="992"/>
                    <a:pt x="106160" y="1488"/>
                    <a:pt x="114594" y="1488"/>
                  </a:cubicBezTo>
                  <a:cubicBezTo>
                    <a:pt x="122531" y="1488"/>
                    <a:pt x="122531" y="1488"/>
                    <a:pt x="130964" y="1488"/>
                  </a:cubicBezTo>
                  <a:cubicBezTo>
                    <a:pt x="138902" y="1488"/>
                    <a:pt x="138902" y="0"/>
                    <a:pt x="147335" y="0"/>
                  </a:cubicBezTo>
                  <a:cubicBezTo>
                    <a:pt x="155272" y="0"/>
                    <a:pt x="155272" y="2480"/>
                    <a:pt x="163706" y="2480"/>
                  </a:cubicBezTo>
                  <a:cubicBezTo>
                    <a:pt x="171643" y="2480"/>
                    <a:pt x="171643" y="1488"/>
                    <a:pt x="180076" y="1488"/>
                  </a:cubicBezTo>
                  <a:cubicBezTo>
                    <a:pt x="188013" y="1488"/>
                    <a:pt x="188013" y="992"/>
                    <a:pt x="196447" y="992"/>
                  </a:cubicBezTo>
                  <a:cubicBezTo>
                    <a:pt x="204384" y="992"/>
                    <a:pt x="204384" y="496"/>
                    <a:pt x="212817" y="496"/>
                  </a:cubicBezTo>
                  <a:cubicBezTo>
                    <a:pt x="220755" y="496"/>
                    <a:pt x="220755" y="992"/>
                    <a:pt x="229188" y="992"/>
                  </a:cubicBezTo>
                  <a:cubicBezTo>
                    <a:pt x="237125" y="992"/>
                    <a:pt x="237125" y="496"/>
                    <a:pt x="245559" y="496"/>
                  </a:cubicBezTo>
                  <a:cubicBezTo>
                    <a:pt x="253496" y="496"/>
                    <a:pt x="253496" y="992"/>
                    <a:pt x="261929" y="992"/>
                  </a:cubicBezTo>
                  <a:cubicBezTo>
                    <a:pt x="269866" y="992"/>
                    <a:pt x="269866" y="496"/>
                    <a:pt x="278300" y="496"/>
                  </a:cubicBezTo>
                  <a:cubicBezTo>
                    <a:pt x="286237" y="496"/>
                    <a:pt x="286237" y="992"/>
                    <a:pt x="294670" y="992"/>
                  </a:cubicBezTo>
                  <a:cubicBezTo>
                    <a:pt x="302608" y="992"/>
                    <a:pt x="302608" y="496"/>
                    <a:pt x="311041" y="496"/>
                  </a:cubicBezTo>
                  <a:cubicBezTo>
                    <a:pt x="318978" y="496"/>
                    <a:pt x="318978" y="1984"/>
                    <a:pt x="327411" y="1984"/>
                  </a:cubicBezTo>
                  <a:cubicBezTo>
                    <a:pt x="335349" y="1984"/>
                    <a:pt x="335349" y="496"/>
                    <a:pt x="343782" y="496"/>
                  </a:cubicBezTo>
                  <a:cubicBezTo>
                    <a:pt x="351719" y="496"/>
                    <a:pt x="351719" y="2480"/>
                    <a:pt x="360152" y="2480"/>
                  </a:cubicBezTo>
                  <a:cubicBezTo>
                    <a:pt x="368090" y="2480"/>
                    <a:pt x="368090" y="992"/>
                    <a:pt x="376523" y="992"/>
                  </a:cubicBezTo>
                  <a:cubicBezTo>
                    <a:pt x="384460" y="992"/>
                    <a:pt x="384460" y="1488"/>
                    <a:pt x="392894" y="1488"/>
                  </a:cubicBezTo>
                  <a:cubicBezTo>
                    <a:pt x="400831" y="1488"/>
                    <a:pt x="400831" y="1984"/>
                    <a:pt x="409264" y="1984"/>
                  </a:cubicBezTo>
                  <a:cubicBezTo>
                    <a:pt x="417201" y="1984"/>
                    <a:pt x="417201" y="496"/>
                    <a:pt x="425635" y="496"/>
                  </a:cubicBezTo>
                  <a:cubicBezTo>
                    <a:pt x="434068" y="496"/>
                    <a:pt x="433572" y="496"/>
                    <a:pt x="442005" y="496"/>
                  </a:cubicBezTo>
                  <a:cubicBezTo>
                    <a:pt x="449943" y="496"/>
                    <a:pt x="449943" y="1488"/>
                    <a:pt x="458376" y="1488"/>
                  </a:cubicBezTo>
                  <a:cubicBezTo>
                    <a:pt x="466313" y="1488"/>
                    <a:pt x="466313" y="2976"/>
                    <a:pt x="474747" y="2976"/>
                  </a:cubicBezTo>
                  <a:cubicBezTo>
                    <a:pt x="482684" y="2976"/>
                    <a:pt x="482684" y="992"/>
                    <a:pt x="491117" y="992"/>
                  </a:cubicBezTo>
                  <a:cubicBezTo>
                    <a:pt x="499054" y="992"/>
                    <a:pt x="499054" y="2976"/>
                    <a:pt x="507488" y="2976"/>
                  </a:cubicBezTo>
                  <a:cubicBezTo>
                    <a:pt x="515425" y="2976"/>
                    <a:pt x="515425" y="2480"/>
                    <a:pt x="523858" y="2480"/>
                  </a:cubicBezTo>
                  <a:cubicBezTo>
                    <a:pt x="532292" y="2480"/>
                    <a:pt x="531796" y="992"/>
                    <a:pt x="540229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6867AFA8-C699-38CC-D215-DC567DE276B9}"/>
                </a:ext>
              </a:extLst>
            </p:cNvPr>
            <p:cNvSpPr/>
            <p:nvPr/>
          </p:nvSpPr>
          <p:spPr>
            <a:xfrm>
              <a:off x="5371401" y="4162093"/>
              <a:ext cx="253991" cy="2480"/>
            </a:xfrm>
            <a:custGeom>
              <a:avLst/>
              <a:gdLst>
                <a:gd name="connsiteX0" fmla="*/ 0 w 253991"/>
                <a:gd name="connsiteY0" fmla="*/ 1984 h 2480"/>
                <a:gd name="connsiteX1" fmla="*/ 15875 w 253991"/>
                <a:gd name="connsiteY1" fmla="*/ 992 h 2480"/>
                <a:gd name="connsiteX2" fmla="*/ 31749 w 253991"/>
                <a:gd name="connsiteY2" fmla="*/ 0 h 2480"/>
                <a:gd name="connsiteX3" fmla="*/ 47624 w 253991"/>
                <a:gd name="connsiteY3" fmla="*/ 496 h 2480"/>
                <a:gd name="connsiteX4" fmla="*/ 63498 w 253991"/>
                <a:gd name="connsiteY4" fmla="*/ 992 h 2480"/>
                <a:gd name="connsiteX5" fmla="*/ 79372 w 253991"/>
                <a:gd name="connsiteY5" fmla="*/ 1984 h 2480"/>
                <a:gd name="connsiteX6" fmla="*/ 95247 w 253991"/>
                <a:gd name="connsiteY6" fmla="*/ 496 h 2480"/>
                <a:gd name="connsiteX7" fmla="*/ 111122 w 253991"/>
                <a:gd name="connsiteY7" fmla="*/ 1984 h 2480"/>
                <a:gd name="connsiteX8" fmla="*/ 126996 w 253991"/>
                <a:gd name="connsiteY8" fmla="*/ 1984 h 2480"/>
                <a:gd name="connsiteX9" fmla="*/ 142871 w 253991"/>
                <a:gd name="connsiteY9" fmla="*/ 1984 h 2480"/>
                <a:gd name="connsiteX10" fmla="*/ 158745 w 253991"/>
                <a:gd name="connsiteY10" fmla="*/ 1488 h 2480"/>
                <a:gd name="connsiteX11" fmla="*/ 174619 w 253991"/>
                <a:gd name="connsiteY11" fmla="*/ 992 h 2480"/>
                <a:gd name="connsiteX12" fmla="*/ 190494 w 253991"/>
                <a:gd name="connsiteY12" fmla="*/ 1488 h 2480"/>
                <a:gd name="connsiteX13" fmla="*/ 206369 w 253991"/>
                <a:gd name="connsiteY13" fmla="*/ 1488 h 2480"/>
                <a:gd name="connsiteX14" fmla="*/ 222243 w 253991"/>
                <a:gd name="connsiteY14" fmla="*/ 992 h 2480"/>
                <a:gd name="connsiteX15" fmla="*/ 238117 w 253991"/>
                <a:gd name="connsiteY15" fmla="*/ 2480 h 2480"/>
                <a:gd name="connsiteX16" fmla="*/ 253992 w 253991"/>
                <a:gd name="connsiteY16" fmla="*/ 1488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3991" h="2480">
                  <a:moveTo>
                    <a:pt x="0" y="1984"/>
                  </a:moveTo>
                  <a:cubicBezTo>
                    <a:pt x="7937" y="1984"/>
                    <a:pt x="7937" y="992"/>
                    <a:pt x="15875" y="992"/>
                  </a:cubicBezTo>
                  <a:cubicBezTo>
                    <a:pt x="23812" y="992"/>
                    <a:pt x="23812" y="0"/>
                    <a:pt x="31749" y="0"/>
                  </a:cubicBezTo>
                  <a:cubicBezTo>
                    <a:pt x="39686" y="0"/>
                    <a:pt x="39686" y="496"/>
                    <a:pt x="47624" y="496"/>
                  </a:cubicBezTo>
                  <a:cubicBezTo>
                    <a:pt x="55561" y="496"/>
                    <a:pt x="55561" y="992"/>
                    <a:pt x="63498" y="992"/>
                  </a:cubicBezTo>
                  <a:cubicBezTo>
                    <a:pt x="71435" y="992"/>
                    <a:pt x="71435" y="1984"/>
                    <a:pt x="79372" y="1984"/>
                  </a:cubicBezTo>
                  <a:cubicBezTo>
                    <a:pt x="87310" y="1984"/>
                    <a:pt x="87310" y="496"/>
                    <a:pt x="95247" y="496"/>
                  </a:cubicBezTo>
                  <a:cubicBezTo>
                    <a:pt x="103184" y="496"/>
                    <a:pt x="103184" y="1984"/>
                    <a:pt x="111122" y="1984"/>
                  </a:cubicBezTo>
                  <a:cubicBezTo>
                    <a:pt x="119059" y="1984"/>
                    <a:pt x="119059" y="1984"/>
                    <a:pt x="126996" y="1984"/>
                  </a:cubicBezTo>
                  <a:cubicBezTo>
                    <a:pt x="134933" y="1984"/>
                    <a:pt x="134933" y="1984"/>
                    <a:pt x="142871" y="1984"/>
                  </a:cubicBezTo>
                  <a:cubicBezTo>
                    <a:pt x="150808" y="1984"/>
                    <a:pt x="150808" y="1488"/>
                    <a:pt x="158745" y="1488"/>
                  </a:cubicBezTo>
                  <a:cubicBezTo>
                    <a:pt x="166682" y="1488"/>
                    <a:pt x="166682" y="992"/>
                    <a:pt x="174619" y="992"/>
                  </a:cubicBezTo>
                  <a:cubicBezTo>
                    <a:pt x="182557" y="992"/>
                    <a:pt x="182557" y="1488"/>
                    <a:pt x="190494" y="1488"/>
                  </a:cubicBezTo>
                  <a:cubicBezTo>
                    <a:pt x="198431" y="1488"/>
                    <a:pt x="198431" y="1488"/>
                    <a:pt x="206369" y="1488"/>
                  </a:cubicBezTo>
                  <a:cubicBezTo>
                    <a:pt x="214306" y="1488"/>
                    <a:pt x="214306" y="992"/>
                    <a:pt x="222243" y="992"/>
                  </a:cubicBezTo>
                  <a:cubicBezTo>
                    <a:pt x="230180" y="992"/>
                    <a:pt x="230180" y="2480"/>
                    <a:pt x="238117" y="2480"/>
                  </a:cubicBezTo>
                  <a:cubicBezTo>
                    <a:pt x="246055" y="2480"/>
                    <a:pt x="246055" y="1488"/>
                    <a:pt x="253992" y="14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DE2340E0-41B7-85F1-802B-339EB6F63EC3}"/>
                </a:ext>
              </a:extLst>
            </p:cNvPr>
            <p:cNvSpPr/>
            <p:nvPr/>
          </p:nvSpPr>
          <p:spPr>
            <a:xfrm>
              <a:off x="4411987" y="4161597"/>
              <a:ext cx="555607" cy="2480"/>
            </a:xfrm>
            <a:custGeom>
              <a:avLst/>
              <a:gdLst>
                <a:gd name="connsiteX0" fmla="*/ 0 w 555607"/>
                <a:gd name="connsiteY0" fmla="*/ 496 h 2480"/>
                <a:gd name="connsiteX1" fmla="*/ 15875 w 555607"/>
                <a:gd name="connsiteY1" fmla="*/ 1984 h 2480"/>
                <a:gd name="connsiteX2" fmla="*/ 31749 w 555607"/>
                <a:gd name="connsiteY2" fmla="*/ 1488 h 2480"/>
                <a:gd name="connsiteX3" fmla="*/ 47623 w 555607"/>
                <a:gd name="connsiteY3" fmla="*/ 496 h 2480"/>
                <a:gd name="connsiteX4" fmla="*/ 63498 w 555607"/>
                <a:gd name="connsiteY4" fmla="*/ 2480 h 2480"/>
                <a:gd name="connsiteX5" fmla="*/ 79372 w 555607"/>
                <a:gd name="connsiteY5" fmla="*/ 1488 h 2480"/>
                <a:gd name="connsiteX6" fmla="*/ 95247 w 555607"/>
                <a:gd name="connsiteY6" fmla="*/ 496 h 2480"/>
                <a:gd name="connsiteX7" fmla="*/ 111121 w 555607"/>
                <a:gd name="connsiteY7" fmla="*/ 496 h 2480"/>
                <a:gd name="connsiteX8" fmla="*/ 126996 w 555607"/>
                <a:gd name="connsiteY8" fmla="*/ 0 h 2480"/>
                <a:gd name="connsiteX9" fmla="*/ 142870 w 555607"/>
                <a:gd name="connsiteY9" fmla="*/ 496 h 2480"/>
                <a:gd name="connsiteX10" fmla="*/ 158745 w 555607"/>
                <a:gd name="connsiteY10" fmla="*/ 992 h 2480"/>
                <a:gd name="connsiteX11" fmla="*/ 174619 w 555607"/>
                <a:gd name="connsiteY11" fmla="*/ 992 h 2480"/>
                <a:gd name="connsiteX12" fmla="*/ 190494 w 555607"/>
                <a:gd name="connsiteY12" fmla="*/ 992 h 2480"/>
                <a:gd name="connsiteX13" fmla="*/ 206368 w 555607"/>
                <a:gd name="connsiteY13" fmla="*/ 496 h 2480"/>
                <a:gd name="connsiteX14" fmla="*/ 222243 w 555607"/>
                <a:gd name="connsiteY14" fmla="*/ 992 h 2480"/>
                <a:gd name="connsiteX15" fmla="*/ 238117 w 555607"/>
                <a:gd name="connsiteY15" fmla="*/ 1984 h 2480"/>
                <a:gd name="connsiteX16" fmla="*/ 253992 w 555607"/>
                <a:gd name="connsiteY16" fmla="*/ 992 h 2480"/>
                <a:gd name="connsiteX17" fmla="*/ 269866 w 555607"/>
                <a:gd name="connsiteY17" fmla="*/ 0 h 2480"/>
                <a:gd name="connsiteX18" fmla="*/ 285741 w 555607"/>
                <a:gd name="connsiteY18" fmla="*/ 1488 h 2480"/>
                <a:gd name="connsiteX19" fmla="*/ 301615 w 555607"/>
                <a:gd name="connsiteY19" fmla="*/ 1488 h 2480"/>
                <a:gd name="connsiteX20" fmla="*/ 317490 w 555607"/>
                <a:gd name="connsiteY20" fmla="*/ 1984 h 2480"/>
                <a:gd name="connsiteX21" fmla="*/ 333364 w 555607"/>
                <a:gd name="connsiteY21" fmla="*/ 1984 h 2480"/>
                <a:gd name="connsiteX22" fmla="*/ 349239 w 555607"/>
                <a:gd name="connsiteY22" fmla="*/ 992 h 2480"/>
                <a:gd name="connsiteX23" fmla="*/ 365113 w 555607"/>
                <a:gd name="connsiteY23" fmla="*/ 992 h 2480"/>
                <a:gd name="connsiteX24" fmla="*/ 380988 w 555607"/>
                <a:gd name="connsiteY24" fmla="*/ 496 h 2480"/>
                <a:gd name="connsiteX25" fmla="*/ 396862 w 555607"/>
                <a:gd name="connsiteY25" fmla="*/ 992 h 2480"/>
                <a:gd name="connsiteX26" fmla="*/ 412737 w 555607"/>
                <a:gd name="connsiteY26" fmla="*/ 1488 h 2480"/>
                <a:gd name="connsiteX27" fmla="*/ 428611 w 555607"/>
                <a:gd name="connsiteY27" fmla="*/ 2480 h 2480"/>
                <a:gd name="connsiteX28" fmla="*/ 444486 w 555607"/>
                <a:gd name="connsiteY28" fmla="*/ 1984 h 2480"/>
                <a:gd name="connsiteX29" fmla="*/ 460360 w 555607"/>
                <a:gd name="connsiteY29" fmla="*/ 1488 h 2480"/>
                <a:gd name="connsiteX30" fmla="*/ 476235 w 555607"/>
                <a:gd name="connsiteY30" fmla="*/ 2480 h 2480"/>
                <a:gd name="connsiteX31" fmla="*/ 492109 w 555607"/>
                <a:gd name="connsiteY31" fmla="*/ 2480 h 2480"/>
                <a:gd name="connsiteX32" fmla="*/ 507984 w 555607"/>
                <a:gd name="connsiteY32" fmla="*/ 2480 h 2480"/>
                <a:gd name="connsiteX33" fmla="*/ 523858 w 555607"/>
                <a:gd name="connsiteY33" fmla="*/ 1488 h 2480"/>
                <a:gd name="connsiteX34" fmla="*/ 539733 w 555607"/>
                <a:gd name="connsiteY34" fmla="*/ 992 h 2480"/>
                <a:gd name="connsiteX35" fmla="*/ 555607 w 555607"/>
                <a:gd name="connsiteY35" fmla="*/ 992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55607" h="2480">
                  <a:moveTo>
                    <a:pt x="0" y="496"/>
                  </a:moveTo>
                  <a:cubicBezTo>
                    <a:pt x="7937" y="496"/>
                    <a:pt x="7937" y="1984"/>
                    <a:pt x="15875" y="1984"/>
                  </a:cubicBezTo>
                  <a:cubicBezTo>
                    <a:pt x="23812" y="1984"/>
                    <a:pt x="23812" y="1488"/>
                    <a:pt x="31749" y="1488"/>
                  </a:cubicBezTo>
                  <a:cubicBezTo>
                    <a:pt x="39686" y="1488"/>
                    <a:pt x="39686" y="496"/>
                    <a:pt x="47623" y="496"/>
                  </a:cubicBezTo>
                  <a:cubicBezTo>
                    <a:pt x="55561" y="496"/>
                    <a:pt x="55561" y="2480"/>
                    <a:pt x="63498" y="2480"/>
                  </a:cubicBezTo>
                  <a:cubicBezTo>
                    <a:pt x="71435" y="2480"/>
                    <a:pt x="71435" y="1488"/>
                    <a:pt x="79372" y="1488"/>
                  </a:cubicBezTo>
                  <a:cubicBezTo>
                    <a:pt x="87310" y="1488"/>
                    <a:pt x="87310" y="496"/>
                    <a:pt x="95247" y="496"/>
                  </a:cubicBezTo>
                  <a:cubicBezTo>
                    <a:pt x="103184" y="496"/>
                    <a:pt x="103184" y="496"/>
                    <a:pt x="111121" y="496"/>
                  </a:cubicBezTo>
                  <a:cubicBezTo>
                    <a:pt x="119059" y="496"/>
                    <a:pt x="119059" y="0"/>
                    <a:pt x="126996" y="0"/>
                  </a:cubicBezTo>
                  <a:cubicBezTo>
                    <a:pt x="134933" y="0"/>
                    <a:pt x="134933" y="496"/>
                    <a:pt x="142870" y="496"/>
                  </a:cubicBezTo>
                  <a:cubicBezTo>
                    <a:pt x="150808" y="496"/>
                    <a:pt x="150808" y="992"/>
                    <a:pt x="158745" y="992"/>
                  </a:cubicBezTo>
                  <a:cubicBezTo>
                    <a:pt x="166682" y="992"/>
                    <a:pt x="166682" y="992"/>
                    <a:pt x="174619" y="992"/>
                  </a:cubicBezTo>
                  <a:cubicBezTo>
                    <a:pt x="182557" y="992"/>
                    <a:pt x="182557" y="992"/>
                    <a:pt x="190494" y="992"/>
                  </a:cubicBezTo>
                  <a:cubicBezTo>
                    <a:pt x="198431" y="992"/>
                    <a:pt x="198431" y="496"/>
                    <a:pt x="206368" y="496"/>
                  </a:cubicBezTo>
                  <a:cubicBezTo>
                    <a:pt x="214306" y="496"/>
                    <a:pt x="214306" y="992"/>
                    <a:pt x="222243" y="992"/>
                  </a:cubicBezTo>
                  <a:cubicBezTo>
                    <a:pt x="230180" y="992"/>
                    <a:pt x="230180" y="1984"/>
                    <a:pt x="238117" y="1984"/>
                  </a:cubicBezTo>
                  <a:cubicBezTo>
                    <a:pt x="246055" y="1984"/>
                    <a:pt x="246055" y="992"/>
                    <a:pt x="253992" y="992"/>
                  </a:cubicBezTo>
                  <a:cubicBezTo>
                    <a:pt x="261929" y="992"/>
                    <a:pt x="261929" y="0"/>
                    <a:pt x="269866" y="0"/>
                  </a:cubicBezTo>
                  <a:cubicBezTo>
                    <a:pt x="277804" y="0"/>
                    <a:pt x="277804" y="1488"/>
                    <a:pt x="285741" y="1488"/>
                  </a:cubicBezTo>
                  <a:cubicBezTo>
                    <a:pt x="293678" y="1488"/>
                    <a:pt x="293678" y="1488"/>
                    <a:pt x="301615" y="1488"/>
                  </a:cubicBezTo>
                  <a:cubicBezTo>
                    <a:pt x="309552" y="1488"/>
                    <a:pt x="309552" y="1984"/>
                    <a:pt x="317490" y="1984"/>
                  </a:cubicBezTo>
                  <a:cubicBezTo>
                    <a:pt x="325427" y="1984"/>
                    <a:pt x="325427" y="1984"/>
                    <a:pt x="333364" y="1984"/>
                  </a:cubicBezTo>
                  <a:cubicBezTo>
                    <a:pt x="341302" y="1984"/>
                    <a:pt x="341302" y="992"/>
                    <a:pt x="349239" y="992"/>
                  </a:cubicBezTo>
                  <a:cubicBezTo>
                    <a:pt x="357176" y="992"/>
                    <a:pt x="357176" y="992"/>
                    <a:pt x="365113" y="992"/>
                  </a:cubicBezTo>
                  <a:cubicBezTo>
                    <a:pt x="373051" y="992"/>
                    <a:pt x="373051" y="496"/>
                    <a:pt x="380988" y="496"/>
                  </a:cubicBezTo>
                  <a:cubicBezTo>
                    <a:pt x="388925" y="496"/>
                    <a:pt x="388925" y="992"/>
                    <a:pt x="396862" y="992"/>
                  </a:cubicBezTo>
                  <a:cubicBezTo>
                    <a:pt x="404799" y="992"/>
                    <a:pt x="404799" y="1488"/>
                    <a:pt x="412737" y="1488"/>
                  </a:cubicBezTo>
                  <a:cubicBezTo>
                    <a:pt x="420674" y="1488"/>
                    <a:pt x="420674" y="2480"/>
                    <a:pt x="428611" y="2480"/>
                  </a:cubicBezTo>
                  <a:cubicBezTo>
                    <a:pt x="436549" y="2480"/>
                    <a:pt x="436549" y="1984"/>
                    <a:pt x="444486" y="1984"/>
                  </a:cubicBezTo>
                  <a:cubicBezTo>
                    <a:pt x="452423" y="1984"/>
                    <a:pt x="452423" y="1488"/>
                    <a:pt x="460360" y="1488"/>
                  </a:cubicBezTo>
                  <a:cubicBezTo>
                    <a:pt x="468297" y="1488"/>
                    <a:pt x="468297" y="2480"/>
                    <a:pt x="476235" y="2480"/>
                  </a:cubicBezTo>
                  <a:cubicBezTo>
                    <a:pt x="484172" y="2480"/>
                    <a:pt x="484172" y="2480"/>
                    <a:pt x="492109" y="2480"/>
                  </a:cubicBezTo>
                  <a:cubicBezTo>
                    <a:pt x="500047" y="2480"/>
                    <a:pt x="500047" y="2480"/>
                    <a:pt x="507984" y="2480"/>
                  </a:cubicBezTo>
                  <a:cubicBezTo>
                    <a:pt x="515921" y="2480"/>
                    <a:pt x="515921" y="1488"/>
                    <a:pt x="523858" y="1488"/>
                  </a:cubicBezTo>
                  <a:cubicBezTo>
                    <a:pt x="531796" y="1488"/>
                    <a:pt x="531796" y="992"/>
                    <a:pt x="539733" y="992"/>
                  </a:cubicBezTo>
                  <a:cubicBezTo>
                    <a:pt x="547670" y="992"/>
                    <a:pt x="547670" y="992"/>
                    <a:pt x="555607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000298E1-3CD3-E4AD-AEE5-A9110BAD40A6}"/>
                </a:ext>
              </a:extLst>
            </p:cNvPr>
            <p:cNvSpPr/>
            <p:nvPr/>
          </p:nvSpPr>
          <p:spPr>
            <a:xfrm>
              <a:off x="3322104" y="2472452"/>
              <a:ext cx="458003" cy="211329"/>
            </a:xfrm>
            <a:custGeom>
              <a:avLst/>
              <a:gdLst>
                <a:gd name="connsiteX0" fmla="*/ 3473 w 458003"/>
                <a:gd name="connsiteY0" fmla="*/ 211329 h 211329"/>
                <a:gd name="connsiteX1" fmla="*/ 1488 w 458003"/>
                <a:gd name="connsiteY1" fmla="*/ 196447 h 211329"/>
                <a:gd name="connsiteX2" fmla="*/ 0 w 458003"/>
                <a:gd name="connsiteY2" fmla="*/ 181565 h 211329"/>
                <a:gd name="connsiteX3" fmla="*/ 2480 w 458003"/>
                <a:gd name="connsiteY3" fmla="*/ 164698 h 211329"/>
                <a:gd name="connsiteX4" fmla="*/ 4961 w 458003"/>
                <a:gd name="connsiteY4" fmla="*/ 148327 h 211329"/>
                <a:gd name="connsiteX5" fmla="*/ 8929 w 458003"/>
                <a:gd name="connsiteY5" fmla="*/ 131957 h 211329"/>
                <a:gd name="connsiteX6" fmla="*/ 14386 w 458003"/>
                <a:gd name="connsiteY6" fmla="*/ 116082 h 211329"/>
                <a:gd name="connsiteX7" fmla="*/ 22819 w 458003"/>
                <a:gd name="connsiteY7" fmla="*/ 101200 h 211329"/>
                <a:gd name="connsiteX8" fmla="*/ 33733 w 458003"/>
                <a:gd name="connsiteY8" fmla="*/ 88302 h 211329"/>
                <a:gd name="connsiteX9" fmla="*/ 43655 w 458003"/>
                <a:gd name="connsiteY9" fmla="*/ 74908 h 211329"/>
                <a:gd name="connsiteX10" fmla="*/ 56553 w 458003"/>
                <a:gd name="connsiteY10" fmla="*/ 64490 h 211329"/>
                <a:gd name="connsiteX11" fmla="*/ 70443 w 458003"/>
                <a:gd name="connsiteY11" fmla="*/ 55065 h 211329"/>
                <a:gd name="connsiteX12" fmla="*/ 84829 w 458003"/>
                <a:gd name="connsiteY12" fmla="*/ 46135 h 211329"/>
                <a:gd name="connsiteX13" fmla="*/ 100208 w 458003"/>
                <a:gd name="connsiteY13" fmla="*/ 39190 h 211329"/>
                <a:gd name="connsiteX14" fmla="*/ 116578 w 458003"/>
                <a:gd name="connsiteY14" fmla="*/ 35222 h 211329"/>
                <a:gd name="connsiteX15" fmla="*/ 132949 w 458003"/>
                <a:gd name="connsiteY15" fmla="*/ 32741 h 211329"/>
                <a:gd name="connsiteX16" fmla="*/ 149816 w 458003"/>
                <a:gd name="connsiteY16" fmla="*/ 31749 h 211329"/>
                <a:gd name="connsiteX17" fmla="*/ 166186 w 458003"/>
                <a:gd name="connsiteY17" fmla="*/ 31749 h 211329"/>
                <a:gd name="connsiteX18" fmla="*/ 182557 w 458003"/>
                <a:gd name="connsiteY18" fmla="*/ 34725 h 211329"/>
                <a:gd name="connsiteX19" fmla="*/ 197935 w 458003"/>
                <a:gd name="connsiteY19" fmla="*/ 39686 h 211329"/>
                <a:gd name="connsiteX20" fmla="*/ 212818 w 458003"/>
                <a:gd name="connsiteY20" fmla="*/ 46631 h 211329"/>
                <a:gd name="connsiteX21" fmla="*/ 227204 w 458003"/>
                <a:gd name="connsiteY21" fmla="*/ 54072 h 211329"/>
                <a:gd name="connsiteX22" fmla="*/ 241094 w 458003"/>
                <a:gd name="connsiteY22" fmla="*/ 62506 h 211329"/>
                <a:gd name="connsiteX23" fmla="*/ 253000 w 458003"/>
                <a:gd name="connsiteY23" fmla="*/ 72923 h 211329"/>
                <a:gd name="connsiteX24" fmla="*/ 258953 w 458003"/>
                <a:gd name="connsiteY24" fmla="*/ 58041 h 211329"/>
                <a:gd name="connsiteX25" fmla="*/ 267386 w 458003"/>
                <a:gd name="connsiteY25" fmla="*/ 43655 h 211329"/>
                <a:gd name="connsiteX26" fmla="*/ 278300 w 458003"/>
                <a:gd name="connsiteY26" fmla="*/ 30757 h 211329"/>
                <a:gd name="connsiteX27" fmla="*/ 291198 w 458003"/>
                <a:gd name="connsiteY27" fmla="*/ 19843 h 211329"/>
                <a:gd name="connsiteX28" fmla="*/ 305584 w 458003"/>
                <a:gd name="connsiteY28" fmla="*/ 11410 h 211329"/>
                <a:gd name="connsiteX29" fmla="*/ 320962 w 458003"/>
                <a:gd name="connsiteY29" fmla="*/ 5457 h 211329"/>
                <a:gd name="connsiteX30" fmla="*/ 337333 w 458003"/>
                <a:gd name="connsiteY30" fmla="*/ 2976 h 211329"/>
                <a:gd name="connsiteX31" fmla="*/ 353704 w 458003"/>
                <a:gd name="connsiteY31" fmla="*/ 0 h 211329"/>
                <a:gd name="connsiteX32" fmla="*/ 370074 w 458003"/>
                <a:gd name="connsiteY32" fmla="*/ 2976 h 211329"/>
                <a:gd name="connsiteX33" fmla="*/ 385949 w 458003"/>
                <a:gd name="connsiteY33" fmla="*/ 6449 h 211329"/>
                <a:gd name="connsiteX34" fmla="*/ 401327 w 458003"/>
                <a:gd name="connsiteY34" fmla="*/ 12402 h 211329"/>
                <a:gd name="connsiteX35" fmla="*/ 415713 w 458003"/>
                <a:gd name="connsiteY35" fmla="*/ 20339 h 211329"/>
                <a:gd name="connsiteX36" fmla="*/ 428115 w 458003"/>
                <a:gd name="connsiteY36" fmla="*/ 31253 h 211329"/>
                <a:gd name="connsiteX37" fmla="*/ 439029 w 458003"/>
                <a:gd name="connsiteY37" fmla="*/ 43655 h 211329"/>
                <a:gd name="connsiteX38" fmla="*/ 448455 w 458003"/>
                <a:gd name="connsiteY38" fmla="*/ 57545 h 211329"/>
                <a:gd name="connsiteX39" fmla="*/ 453415 w 458003"/>
                <a:gd name="connsiteY39" fmla="*/ 73420 h 211329"/>
                <a:gd name="connsiteX40" fmla="*/ 457384 w 458003"/>
                <a:gd name="connsiteY40" fmla="*/ 89294 h 211329"/>
                <a:gd name="connsiteX41" fmla="*/ 457880 w 458003"/>
                <a:gd name="connsiteY41" fmla="*/ 105665 h 21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58003" h="211329">
                  <a:moveTo>
                    <a:pt x="3473" y="211329"/>
                  </a:moveTo>
                  <a:cubicBezTo>
                    <a:pt x="2480" y="206368"/>
                    <a:pt x="1984" y="201408"/>
                    <a:pt x="1488" y="196447"/>
                  </a:cubicBezTo>
                  <a:cubicBezTo>
                    <a:pt x="992" y="191486"/>
                    <a:pt x="0" y="186525"/>
                    <a:pt x="0" y="181565"/>
                  </a:cubicBezTo>
                  <a:cubicBezTo>
                    <a:pt x="0" y="176108"/>
                    <a:pt x="1984" y="170651"/>
                    <a:pt x="2480" y="164698"/>
                  </a:cubicBezTo>
                  <a:cubicBezTo>
                    <a:pt x="2976" y="159241"/>
                    <a:pt x="3969" y="153784"/>
                    <a:pt x="4961" y="148327"/>
                  </a:cubicBezTo>
                  <a:cubicBezTo>
                    <a:pt x="6449" y="142871"/>
                    <a:pt x="7441" y="137414"/>
                    <a:pt x="8929" y="131957"/>
                  </a:cubicBezTo>
                  <a:cubicBezTo>
                    <a:pt x="10914" y="126500"/>
                    <a:pt x="11906" y="121043"/>
                    <a:pt x="14386" y="116082"/>
                  </a:cubicBezTo>
                  <a:cubicBezTo>
                    <a:pt x="16867" y="111121"/>
                    <a:pt x="19843" y="106161"/>
                    <a:pt x="22819" y="101200"/>
                  </a:cubicBezTo>
                  <a:cubicBezTo>
                    <a:pt x="25796" y="96239"/>
                    <a:pt x="30261" y="92766"/>
                    <a:pt x="33733" y="88302"/>
                  </a:cubicBezTo>
                  <a:cubicBezTo>
                    <a:pt x="37206" y="83837"/>
                    <a:pt x="39686" y="78876"/>
                    <a:pt x="43655" y="74908"/>
                  </a:cubicBezTo>
                  <a:cubicBezTo>
                    <a:pt x="47623" y="70939"/>
                    <a:pt x="52584" y="67963"/>
                    <a:pt x="56553" y="64490"/>
                  </a:cubicBezTo>
                  <a:cubicBezTo>
                    <a:pt x="61018" y="61018"/>
                    <a:pt x="65482" y="58041"/>
                    <a:pt x="70443" y="55065"/>
                  </a:cubicBezTo>
                  <a:cubicBezTo>
                    <a:pt x="74908" y="52088"/>
                    <a:pt x="79372" y="48616"/>
                    <a:pt x="84829" y="46135"/>
                  </a:cubicBezTo>
                  <a:cubicBezTo>
                    <a:pt x="89790" y="43655"/>
                    <a:pt x="94751" y="41175"/>
                    <a:pt x="100208" y="39190"/>
                  </a:cubicBezTo>
                  <a:cubicBezTo>
                    <a:pt x="105665" y="37206"/>
                    <a:pt x="111122" y="36710"/>
                    <a:pt x="116578" y="35222"/>
                  </a:cubicBezTo>
                  <a:cubicBezTo>
                    <a:pt x="122035" y="34229"/>
                    <a:pt x="127492" y="33733"/>
                    <a:pt x="132949" y="32741"/>
                  </a:cubicBezTo>
                  <a:cubicBezTo>
                    <a:pt x="138406" y="32245"/>
                    <a:pt x="143863" y="31749"/>
                    <a:pt x="149816" y="31749"/>
                  </a:cubicBezTo>
                  <a:cubicBezTo>
                    <a:pt x="155272" y="31749"/>
                    <a:pt x="160729" y="31253"/>
                    <a:pt x="166186" y="31749"/>
                  </a:cubicBezTo>
                  <a:cubicBezTo>
                    <a:pt x="171643" y="32245"/>
                    <a:pt x="177100" y="33237"/>
                    <a:pt x="182557" y="34725"/>
                  </a:cubicBezTo>
                  <a:cubicBezTo>
                    <a:pt x="188014" y="35718"/>
                    <a:pt x="192974" y="38198"/>
                    <a:pt x="197935" y="39686"/>
                  </a:cubicBezTo>
                  <a:cubicBezTo>
                    <a:pt x="202896" y="41671"/>
                    <a:pt x="207857" y="44151"/>
                    <a:pt x="212818" y="46631"/>
                  </a:cubicBezTo>
                  <a:cubicBezTo>
                    <a:pt x="217778" y="49112"/>
                    <a:pt x="222739" y="51096"/>
                    <a:pt x="227204" y="54072"/>
                  </a:cubicBezTo>
                  <a:cubicBezTo>
                    <a:pt x="231668" y="57049"/>
                    <a:pt x="237125" y="59529"/>
                    <a:pt x="241094" y="62506"/>
                  </a:cubicBezTo>
                  <a:cubicBezTo>
                    <a:pt x="245559" y="65978"/>
                    <a:pt x="249031" y="68955"/>
                    <a:pt x="253000" y="72923"/>
                  </a:cubicBezTo>
                  <a:cubicBezTo>
                    <a:pt x="254488" y="67467"/>
                    <a:pt x="256472" y="63002"/>
                    <a:pt x="258953" y="58041"/>
                  </a:cubicBezTo>
                  <a:cubicBezTo>
                    <a:pt x="261433" y="53080"/>
                    <a:pt x="264409" y="48120"/>
                    <a:pt x="267386" y="43655"/>
                  </a:cubicBezTo>
                  <a:cubicBezTo>
                    <a:pt x="270858" y="39190"/>
                    <a:pt x="274331" y="34725"/>
                    <a:pt x="278300" y="30757"/>
                  </a:cubicBezTo>
                  <a:cubicBezTo>
                    <a:pt x="282268" y="26788"/>
                    <a:pt x="286733" y="23316"/>
                    <a:pt x="291198" y="19843"/>
                  </a:cubicBezTo>
                  <a:cubicBezTo>
                    <a:pt x="295662" y="16371"/>
                    <a:pt x="300623" y="13890"/>
                    <a:pt x="305584" y="11410"/>
                  </a:cubicBezTo>
                  <a:cubicBezTo>
                    <a:pt x="310545" y="8929"/>
                    <a:pt x="316002" y="7441"/>
                    <a:pt x="320962" y="5457"/>
                  </a:cubicBezTo>
                  <a:cubicBezTo>
                    <a:pt x="326419" y="3969"/>
                    <a:pt x="331876" y="3473"/>
                    <a:pt x="337333" y="2976"/>
                  </a:cubicBezTo>
                  <a:cubicBezTo>
                    <a:pt x="342790" y="1984"/>
                    <a:pt x="348247" y="0"/>
                    <a:pt x="353704" y="0"/>
                  </a:cubicBezTo>
                  <a:cubicBezTo>
                    <a:pt x="359161" y="0"/>
                    <a:pt x="364617" y="1984"/>
                    <a:pt x="370074" y="2976"/>
                  </a:cubicBezTo>
                  <a:cubicBezTo>
                    <a:pt x="375531" y="3969"/>
                    <a:pt x="380988" y="4961"/>
                    <a:pt x="385949" y="6449"/>
                  </a:cubicBezTo>
                  <a:cubicBezTo>
                    <a:pt x="391406" y="7937"/>
                    <a:pt x="396366" y="9922"/>
                    <a:pt x="401327" y="12402"/>
                  </a:cubicBezTo>
                  <a:cubicBezTo>
                    <a:pt x="406288" y="14882"/>
                    <a:pt x="411249" y="16867"/>
                    <a:pt x="415713" y="20339"/>
                  </a:cubicBezTo>
                  <a:cubicBezTo>
                    <a:pt x="420178" y="23812"/>
                    <a:pt x="424147" y="27780"/>
                    <a:pt x="428115" y="31253"/>
                  </a:cubicBezTo>
                  <a:cubicBezTo>
                    <a:pt x="432084" y="35222"/>
                    <a:pt x="436053" y="39190"/>
                    <a:pt x="439029" y="43655"/>
                  </a:cubicBezTo>
                  <a:cubicBezTo>
                    <a:pt x="442502" y="48120"/>
                    <a:pt x="445974" y="52584"/>
                    <a:pt x="448455" y="57545"/>
                  </a:cubicBezTo>
                  <a:cubicBezTo>
                    <a:pt x="450935" y="62506"/>
                    <a:pt x="451927" y="68459"/>
                    <a:pt x="453415" y="73420"/>
                  </a:cubicBezTo>
                  <a:cubicBezTo>
                    <a:pt x="454904" y="78876"/>
                    <a:pt x="456392" y="83837"/>
                    <a:pt x="457384" y="89294"/>
                  </a:cubicBezTo>
                  <a:cubicBezTo>
                    <a:pt x="458376" y="94751"/>
                    <a:pt x="457880" y="100208"/>
                    <a:pt x="457880" y="10566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72C40C71-76C4-D863-F918-2CF3BE5F10C4}"/>
                </a:ext>
              </a:extLst>
            </p:cNvPr>
            <p:cNvSpPr/>
            <p:nvPr/>
          </p:nvSpPr>
          <p:spPr>
            <a:xfrm>
              <a:off x="3180225" y="2684773"/>
              <a:ext cx="145846" cy="293181"/>
            </a:xfrm>
            <a:custGeom>
              <a:avLst/>
              <a:gdLst>
                <a:gd name="connsiteX0" fmla="*/ 121539 w 145846"/>
                <a:gd name="connsiteY0" fmla="*/ 293182 h 293181"/>
                <a:gd name="connsiteX1" fmla="*/ 106657 w 145846"/>
                <a:gd name="connsiteY1" fmla="*/ 288717 h 293181"/>
                <a:gd name="connsiteX2" fmla="*/ 91775 w 145846"/>
                <a:gd name="connsiteY2" fmla="*/ 283260 h 293181"/>
                <a:gd name="connsiteX3" fmla="*/ 77388 w 145846"/>
                <a:gd name="connsiteY3" fmla="*/ 277307 h 293181"/>
                <a:gd name="connsiteX4" fmla="*/ 64490 w 145846"/>
                <a:gd name="connsiteY4" fmla="*/ 268378 h 293181"/>
                <a:gd name="connsiteX5" fmla="*/ 52088 w 145846"/>
                <a:gd name="connsiteY5" fmla="*/ 258953 h 293181"/>
                <a:gd name="connsiteX6" fmla="*/ 41175 w 145846"/>
                <a:gd name="connsiteY6" fmla="*/ 247543 h 293181"/>
                <a:gd name="connsiteX7" fmla="*/ 30757 w 145846"/>
                <a:gd name="connsiteY7" fmla="*/ 236133 h 293181"/>
                <a:gd name="connsiteX8" fmla="*/ 21331 w 145846"/>
                <a:gd name="connsiteY8" fmla="*/ 223235 h 293181"/>
                <a:gd name="connsiteX9" fmla="*/ 13890 w 145846"/>
                <a:gd name="connsiteY9" fmla="*/ 209345 h 293181"/>
                <a:gd name="connsiteX10" fmla="*/ 9922 w 145846"/>
                <a:gd name="connsiteY10" fmla="*/ 193966 h 293181"/>
                <a:gd name="connsiteX11" fmla="*/ 4961 w 145846"/>
                <a:gd name="connsiteY11" fmla="*/ 179084 h 293181"/>
                <a:gd name="connsiteX12" fmla="*/ 992 w 145846"/>
                <a:gd name="connsiteY12" fmla="*/ 163706 h 293181"/>
                <a:gd name="connsiteX13" fmla="*/ 0 w 145846"/>
                <a:gd name="connsiteY13" fmla="*/ 147831 h 293181"/>
                <a:gd name="connsiteX14" fmla="*/ 1488 w 145846"/>
                <a:gd name="connsiteY14" fmla="*/ 131461 h 293181"/>
                <a:gd name="connsiteX15" fmla="*/ 4465 w 145846"/>
                <a:gd name="connsiteY15" fmla="*/ 115090 h 293181"/>
                <a:gd name="connsiteX16" fmla="*/ 8433 w 145846"/>
                <a:gd name="connsiteY16" fmla="*/ 99216 h 293181"/>
                <a:gd name="connsiteX17" fmla="*/ 14882 w 145846"/>
                <a:gd name="connsiteY17" fmla="*/ 83837 h 293181"/>
                <a:gd name="connsiteX18" fmla="*/ 23316 w 145846"/>
                <a:gd name="connsiteY18" fmla="*/ 69947 h 293181"/>
                <a:gd name="connsiteX19" fmla="*/ 31749 w 145846"/>
                <a:gd name="connsiteY19" fmla="*/ 56057 h 293181"/>
                <a:gd name="connsiteX20" fmla="*/ 42663 w 145846"/>
                <a:gd name="connsiteY20" fmla="*/ 43655 h 293181"/>
                <a:gd name="connsiteX21" fmla="*/ 55065 w 145846"/>
                <a:gd name="connsiteY21" fmla="*/ 32741 h 293181"/>
                <a:gd name="connsiteX22" fmla="*/ 68955 w 145846"/>
                <a:gd name="connsiteY22" fmla="*/ 23812 h 293181"/>
                <a:gd name="connsiteX23" fmla="*/ 83341 w 145846"/>
                <a:gd name="connsiteY23" fmla="*/ 15875 h 293181"/>
                <a:gd name="connsiteX24" fmla="*/ 97231 w 145846"/>
                <a:gd name="connsiteY24" fmla="*/ 7441 h 293181"/>
                <a:gd name="connsiteX25" fmla="*/ 113106 w 145846"/>
                <a:gd name="connsiteY25" fmla="*/ 2480 h 293181"/>
                <a:gd name="connsiteX26" fmla="*/ 129476 w 145846"/>
                <a:gd name="connsiteY26" fmla="*/ 992 h 293181"/>
                <a:gd name="connsiteX27" fmla="*/ 145847 w 145846"/>
                <a:gd name="connsiteY27" fmla="*/ 0 h 293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45846" h="293181">
                  <a:moveTo>
                    <a:pt x="121539" y="293182"/>
                  </a:moveTo>
                  <a:cubicBezTo>
                    <a:pt x="116578" y="292190"/>
                    <a:pt x="111618" y="290206"/>
                    <a:pt x="106657" y="288717"/>
                  </a:cubicBezTo>
                  <a:cubicBezTo>
                    <a:pt x="101696" y="287229"/>
                    <a:pt x="96735" y="285741"/>
                    <a:pt x="91775" y="283260"/>
                  </a:cubicBezTo>
                  <a:cubicBezTo>
                    <a:pt x="86814" y="281276"/>
                    <a:pt x="81853" y="279788"/>
                    <a:pt x="77388" y="277307"/>
                  </a:cubicBezTo>
                  <a:cubicBezTo>
                    <a:pt x="72923" y="274827"/>
                    <a:pt x="68955" y="271355"/>
                    <a:pt x="64490" y="268378"/>
                  </a:cubicBezTo>
                  <a:cubicBezTo>
                    <a:pt x="60025" y="265402"/>
                    <a:pt x="56057" y="262425"/>
                    <a:pt x="52088" y="258953"/>
                  </a:cubicBezTo>
                  <a:cubicBezTo>
                    <a:pt x="48120" y="255480"/>
                    <a:pt x="45143" y="251512"/>
                    <a:pt x="41175" y="247543"/>
                  </a:cubicBezTo>
                  <a:cubicBezTo>
                    <a:pt x="37702" y="243574"/>
                    <a:pt x="33733" y="240102"/>
                    <a:pt x="30757" y="236133"/>
                  </a:cubicBezTo>
                  <a:cubicBezTo>
                    <a:pt x="27780" y="232164"/>
                    <a:pt x="24308" y="227700"/>
                    <a:pt x="21331" y="223235"/>
                  </a:cubicBezTo>
                  <a:cubicBezTo>
                    <a:pt x="18851" y="218770"/>
                    <a:pt x="16371" y="213809"/>
                    <a:pt x="13890" y="209345"/>
                  </a:cubicBezTo>
                  <a:cubicBezTo>
                    <a:pt x="11906" y="204384"/>
                    <a:pt x="11906" y="198927"/>
                    <a:pt x="9922" y="193966"/>
                  </a:cubicBezTo>
                  <a:cubicBezTo>
                    <a:pt x="8433" y="189006"/>
                    <a:pt x="6449" y="184045"/>
                    <a:pt x="4961" y="179084"/>
                  </a:cubicBezTo>
                  <a:cubicBezTo>
                    <a:pt x="3969" y="174123"/>
                    <a:pt x="1488" y="169162"/>
                    <a:pt x="992" y="163706"/>
                  </a:cubicBezTo>
                  <a:cubicBezTo>
                    <a:pt x="496" y="158745"/>
                    <a:pt x="0" y="153288"/>
                    <a:pt x="0" y="147831"/>
                  </a:cubicBezTo>
                  <a:cubicBezTo>
                    <a:pt x="0" y="142374"/>
                    <a:pt x="992" y="136917"/>
                    <a:pt x="1488" y="131461"/>
                  </a:cubicBezTo>
                  <a:cubicBezTo>
                    <a:pt x="1984" y="126004"/>
                    <a:pt x="2976" y="120547"/>
                    <a:pt x="4465" y="115090"/>
                  </a:cubicBezTo>
                  <a:cubicBezTo>
                    <a:pt x="5457" y="109633"/>
                    <a:pt x="6449" y="104176"/>
                    <a:pt x="8433" y="99216"/>
                  </a:cubicBezTo>
                  <a:cubicBezTo>
                    <a:pt x="10418" y="94255"/>
                    <a:pt x="12402" y="88798"/>
                    <a:pt x="14882" y="83837"/>
                  </a:cubicBezTo>
                  <a:cubicBezTo>
                    <a:pt x="17363" y="78876"/>
                    <a:pt x="20835" y="74412"/>
                    <a:pt x="23316" y="69947"/>
                  </a:cubicBezTo>
                  <a:cubicBezTo>
                    <a:pt x="26292" y="65482"/>
                    <a:pt x="28277" y="60025"/>
                    <a:pt x="31749" y="56057"/>
                  </a:cubicBezTo>
                  <a:cubicBezTo>
                    <a:pt x="35222" y="51592"/>
                    <a:pt x="38694" y="47623"/>
                    <a:pt x="42663" y="43655"/>
                  </a:cubicBezTo>
                  <a:cubicBezTo>
                    <a:pt x="46631" y="39686"/>
                    <a:pt x="50600" y="36214"/>
                    <a:pt x="55065" y="32741"/>
                  </a:cubicBezTo>
                  <a:cubicBezTo>
                    <a:pt x="59033" y="29268"/>
                    <a:pt x="64490" y="26788"/>
                    <a:pt x="68955" y="23812"/>
                  </a:cubicBezTo>
                  <a:cubicBezTo>
                    <a:pt x="73420" y="20835"/>
                    <a:pt x="78380" y="18355"/>
                    <a:pt x="83341" y="15875"/>
                  </a:cubicBezTo>
                  <a:cubicBezTo>
                    <a:pt x="88302" y="13394"/>
                    <a:pt x="92271" y="8929"/>
                    <a:pt x="97231" y="7441"/>
                  </a:cubicBezTo>
                  <a:cubicBezTo>
                    <a:pt x="102192" y="5457"/>
                    <a:pt x="107649" y="3969"/>
                    <a:pt x="113106" y="2480"/>
                  </a:cubicBezTo>
                  <a:cubicBezTo>
                    <a:pt x="118563" y="992"/>
                    <a:pt x="124020" y="1488"/>
                    <a:pt x="129476" y="992"/>
                  </a:cubicBezTo>
                  <a:cubicBezTo>
                    <a:pt x="134933" y="0"/>
                    <a:pt x="140390" y="0"/>
                    <a:pt x="145847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66DCF31D-5088-0391-1064-FE67E02029F6}"/>
                </a:ext>
              </a:extLst>
            </p:cNvPr>
            <p:cNvSpPr/>
            <p:nvPr/>
          </p:nvSpPr>
          <p:spPr>
            <a:xfrm>
              <a:off x="3289858" y="2958980"/>
              <a:ext cx="515425" cy="374662"/>
            </a:xfrm>
            <a:custGeom>
              <a:avLst/>
              <a:gdLst>
                <a:gd name="connsiteX0" fmla="*/ 438533 w 515425"/>
                <a:gd name="connsiteY0" fmla="*/ 219886 h 374662"/>
                <a:gd name="connsiteX1" fmla="*/ 453911 w 515425"/>
                <a:gd name="connsiteY1" fmla="*/ 219390 h 374662"/>
                <a:gd name="connsiteX2" fmla="*/ 467801 w 515425"/>
                <a:gd name="connsiteY2" fmla="*/ 225839 h 374662"/>
                <a:gd name="connsiteX3" fmla="*/ 481196 w 515425"/>
                <a:gd name="connsiteY3" fmla="*/ 232785 h 374662"/>
                <a:gd name="connsiteX4" fmla="*/ 493598 w 515425"/>
                <a:gd name="connsiteY4" fmla="*/ 241714 h 374662"/>
                <a:gd name="connsiteX5" fmla="*/ 502527 w 515425"/>
                <a:gd name="connsiteY5" fmla="*/ 254116 h 374662"/>
                <a:gd name="connsiteX6" fmla="*/ 510960 w 515425"/>
                <a:gd name="connsiteY6" fmla="*/ 267014 h 374662"/>
                <a:gd name="connsiteX7" fmla="*/ 513937 w 515425"/>
                <a:gd name="connsiteY7" fmla="*/ 281896 h 374662"/>
                <a:gd name="connsiteX8" fmla="*/ 515425 w 515425"/>
                <a:gd name="connsiteY8" fmla="*/ 296779 h 374662"/>
                <a:gd name="connsiteX9" fmla="*/ 514433 w 515425"/>
                <a:gd name="connsiteY9" fmla="*/ 311661 h 374662"/>
                <a:gd name="connsiteX10" fmla="*/ 510960 w 515425"/>
                <a:gd name="connsiteY10" fmla="*/ 326543 h 374662"/>
                <a:gd name="connsiteX11" fmla="*/ 503023 w 515425"/>
                <a:gd name="connsiteY11" fmla="*/ 339441 h 374662"/>
                <a:gd name="connsiteX12" fmla="*/ 493102 w 515425"/>
                <a:gd name="connsiteY12" fmla="*/ 350851 h 374662"/>
                <a:gd name="connsiteX13" fmla="*/ 482188 w 515425"/>
                <a:gd name="connsiteY13" fmla="*/ 361765 h 374662"/>
                <a:gd name="connsiteX14" fmla="*/ 468298 w 515425"/>
                <a:gd name="connsiteY14" fmla="*/ 367718 h 374662"/>
                <a:gd name="connsiteX15" fmla="*/ 453911 w 515425"/>
                <a:gd name="connsiteY15" fmla="*/ 373671 h 374662"/>
                <a:gd name="connsiteX16" fmla="*/ 438533 w 515425"/>
                <a:gd name="connsiteY16" fmla="*/ 374663 h 374662"/>
                <a:gd name="connsiteX17" fmla="*/ 423154 w 515425"/>
                <a:gd name="connsiteY17" fmla="*/ 372182 h 374662"/>
                <a:gd name="connsiteX18" fmla="*/ 408272 w 515425"/>
                <a:gd name="connsiteY18" fmla="*/ 367718 h 374662"/>
                <a:gd name="connsiteX19" fmla="*/ 394382 w 515425"/>
                <a:gd name="connsiteY19" fmla="*/ 360773 h 374662"/>
                <a:gd name="connsiteX20" fmla="*/ 381980 w 515425"/>
                <a:gd name="connsiteY20" fmla="*/ 351347 h 374662"/>
                <a:gd name="connsiteX21" fmla="*/ 373051 w 515425"/>
                <a:gd name="connsiteY21" fmla="*/ 338449 h 374662"/>
                <a:gd name="connsiteX22" fmla="*/ 366105 w 515425"/>
                <a:gd name="connsiteY22" fmla="*/ 323567 h 374662"/>
                <a:gd name="connsiteX23" fmla="*/ 352215 w 515425"/>
                <a:gd name="connsiteY23" fmla="*/ 334481 h 374662"/>
                <a:gd name="connsiteX24" fmla="*/ 336341 w 515425"/>
                <a:gd name="connsiteY24" fmla="*/ 341426 h 374662"/>
                <a:gd name="connsiteX25" fmla="*/ 319474 w 515425"/>
                <a:gd name="connsiteY25" fmla="*/ 346386 h 374662"/>
                <a:gd name="connsiteX26" fmla="*/ 302112 w 515425"/>
                <a:gd name="connsiteY26" fmla="*/ 345890 h 374662"/>
                <a:gd name="connsiteX27" fmla="*/ 286237 w 515425"/>
                <a:gd name="connsiteY27" fmla="*/ 345890 h 374662"/>
                <a:gd name="connsiteX28" fmla="*/ 270858 w 515425"/>
                <a:gd name="connsiteY28" fmla="*/ 340930 h 374662"/>
                <a:gd name="connsiteX29" fmla="*/ 254984 w 515425"/>
                <a:gd name="connsiteY29" fmla="*/ 336961 h 374662"/>
                <a:gd name="connsiteX30" fmla="*/ 241590 w 515425"/>
                <a:gd name="connsiteY30" fmla="*/ 328031 h 374662"/>
                <a:gd name="connsiteX31" fmla="*/ 229684 w 515425"/>
                <a:gd name="connsiteY31" fmla="*/ 317118 h 374662"/>
                <a:gd name="connsiteX32" fmla="*/ 218274 w 515425"/>
                <a:gd name="connsiteY32" fmla="*/ 305708 h 374662"/>
                <a:gd name="connsiteX33" fmla="*/ 209841 w 515425"/>
                <a:gd name="connsiteY33" fmla="*/ 291818 h 374662"/>
                <a:gd name="connsiteX34" fmla="*/ 205872 w 515425"/>
                <a:gd name="connsiteY34" fmla="*/ 275943 h 374662"/>
                <a:gd name="connsiteX35" fmla="*/ 201408 w 515425"/>
                <a:gd name="connsiteY35" fmla="*/ 260565 h 374662"/>
                <a:gd name="connsiteX36" fmla="*/ 199423 w 515425"/>
                <a:gd name="connsiteY36" fmla="*/ 244690 h 374662"/>
                <a:gd name="connsiteX37" fmla="*/ 201904 w 515425"/>
                <a:gd name="connsiteY37" fmla="*/ 228816 h 374662"/>
                <a:gd name="connsiteX38" fmla="*/ 203392 w 515425"/>
                <a:gd name="connsiteY38" fmla="*/ 212445 h 374662"/>
                <a:gd name="connsiteX39" fmla="*/ 209345 w 515425"/>
                <a:gd name="connsiteY39" fmla="*/ 197563 h 374662"/>
                <a:gd name="connsiteX40" fmla="*/ 205376 w 515425"/>
                <a:gd name="connsiteY40" fmla="*/ 198059 h 374662"/>
                <a:gd name="connsiteX41" fmla="*/ 190494 w 515425"/>
                <a:gd name="connsiteY41" fmla="*/ 195579 h 374662"/>
                <a:gd name="connsiteX42" fmla="*/ 177100 w 515425"/>
                <a:gd name="connsiteY42" fmla="*/ 188138 h 374662"/>
                <a:gd name="connsiteX43" fmla="*/ 166186 w 515425"/>
                <a:gd name="connsiteY43" fmla="*/ 177720 h 374662"/>
                <a:gd name="connsiteX44" fmla="*/ 160233 w 515425"/>
                <a:gd name="connsiteY44" fmla="*/ 163830 h 374662"/>
                <a:gd name="connsiteX45" fmla="*/ 145847 w 515425"/>
                <a:gd name="connsiteY45" fmla="*/ 173751 h 374662"/>
                <a:gd name="connsiteX46" fmla="*/ 130965 w 515425"/>
                <a:gd name="connsiteY46" fmla="*/ 183177 h 374662"/>
                <a:gd name="connsiteX47" fmla="*/ 113602 w 515425"/>
                <a:gd name="connsiteY47" fmla="*/ 186649 h 374662"/>
                <a:gd name="connsiteX48" fmla="*/ 96239 w 515425"/>
                <a:gd name="connsiteY48" fmla="*/ 188138 h 374662"/>
                <a:gd name="connsiteX49" fmla="*/ 79868 w 515425"/>
                <a:gd name="connsiteY49" fmla="*/ 186153 h 374662"/>
                <a:gd name="connsiteX50" fmla="*/ 63498 w 515425"/>
                <a:gd name="connsiteY50" fmla="*/ 184169 h 374662"/>
                <a:gd name="connsiteX51" fmla="*/ 48616 w 515425"/>
                <a:gd name="connsiteY51" fmla="*/ 177224 h 374662"/>
                <a:gd name="connsiteX52" fmla="*/ 34725 w 515425"/>
                <a:gd name="connsiteY52" fmla="*/ 167798 h 374662"/>
                <a:gd name="connsiteX53" fmla="*/ 22819 w 515425"/>
                <a:gd name="connsiteY53" fmla="*/ 155893 h 374662"/>
                <a:gd name="connsiteX54" fmla="*/ 13394 w 515425"/>
                <a:gd name="connsiteY54" fmla="*/ 142002 h 374662"/>
                <a:gd name="connsiteX55" fmla="*/ 6449 w 515425"/>
                <a:gd name="connsiteY55" fmla="*/ 127120 h 374662"/>
                <a:gd name="connsiteX56" fmla="*/ 1488 w 515425"/>
                <a:gd name="connsiteY56" fmla="*/ 111246 h 374662"/>
                <a:gd name="connsiteX57" fmla="*/ 0 w 515425"/>
                <a:gd name="connsiteY57" fmla="*/ 94875 h 374662"/>
                <a:gd name="connsiteX58" fmla="*/ 2480 w 515425"/>
                <a:gd name="connsiteY58" fmla="*/ 78504 h 374662"/>
                <a:gd name="connsiteX59" fmla="*/ 6449 w 515425"/>
                <a:gd name="connsiteY59" fmla="*/ 62630 h 374662"/>
                <a:gd name="connsiteX60" fmla="*/ 14386 w 515425"/>
                <a:gd name="connsiteY60" fmla="*/ 48244 h 374662"/>
                <a:gd name="connsiteX61" fmla="*/ 23316 w 515425"/>
                <a:gd name="connsiteY61" fmla="*/ 34353 h 374662"/>
                <a:gd name="connsiteX62" fmla="*/ 34725 w 515425"/>
                <a:gd name="connsiteY62" fmla="*/ 22447 h 374662"/>
                <a:gd name="connsiteX63" fmla="*/ 48616 w 515425"/>
                <a:gd name="connsiteY63" fmla="*/ 13518 h 374662"/>
                <a:gd name="connsiteX64" fmla="*/ 63002 w 515425"/>
                <a:gd name="connsiteY64" fmla="*/ 5085 h 374662"/>
                <a:gd name="connsiteX65" fmla="*/ 78877 w 515425"/>
                <a:gd name="connsiteY65" fmla="*/ 620 h 374662"/>
                <a:gd name="connsiteX66" fmla="*/ 95743 w 515425"/>
                <a:gd name="connsiteY66" fmla="*/ 124 h 374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515425" h="374662">
                  <a:moveTo>
                    <a:pt x="438533" y="219886"/>
                  </a:moveTo>
                  <a:cubicBezTo>
                    <a:pt x="443494" y="219886"/>
                    <a:pt x="448951" y="218398"/>
                    <a:pt x="453911" y="219390"/>
                  </a:cubicBezTo>
                  <a:cubicBezTo>
                    <a:pt x="458872" y="220383"/>
                    <a:pt x="463337" y="223855"/>
                    <a:pt x="467801" y="225839"/>
                  </a:cubicBezTo>
                  <a:cubicBezTo>
                    <a:pt x="472762" y="227824"/>
                    <a:pt x="477227" y="229808"/>
                    <a:pt x="481196" y="232785"/>
                  </a:cubicBezTo>
                  <a:cubicBezTo>
                    <a:pt x="485660" y="235761"/>
                    <a:pt x="489629" y="238241"/>
                    <a:pt x="493598" y="241714"/>
                  </a:cubicBezTo>
                  <a:cubicBezTo>
                    <a:pt x="497070" y="245187"/>
                    <a:pt x="499551" y="249651"/>
                    <a:pt x="502527" y="254116"/>
                  </a:cubicBezTo>
                  <a:cubicBezTo>
                    <a:pt x="505504" y="258085"/>
                    <a:pt x="508976" y="262053"/>
                    <a:pt x="510960" y="267014"/>
                  </a:cubicBezTo>
                  <a:cubicBezTo>
                    <a:pt x="512945" y="271479"/>
                    <a:pt x="512945" y="276935"/>
                    <a:pt x="513937" y="281896"/>
                  </a:cubicBezTo>
                  <a:cubicBezTo>
                    <a:pt x="514929" y="286857"/>
                    <a:pt x="515425" y="291818"/>
                    <a:pt x="515425" y="296779"/>
                  </a:cubicBezTo>
                  <a:cubicBezTo>
                    <a:pt x="515425" y="301739"/>
                    <a:pt x="515425" y="306700"/>
                    <a:pt x="514433" y="311661"/>
                  </a:cubicBezTo>
                  <a:cubicBezTo>
                    <a:pt x="513441" y="316622"/>
                    <a:pt x="512945" y="322079"/>
                    <a:pt x="510960" y="326543"/>
                  </a:cubicBezTo>
                  <a:cubicBezTo>
                    <a:pt x="508976" y="331504"/>
                    <a:pt x="505504" y="335473"/>
                    <a:pt x="503023" y="339441"/>
                  </a:cubicBezTo>
                  <a:cubicBezTo>
                    <a:pt x="500047" y="343906"/>
                    <a:pt x="496574" y="347379"/>
                    <a:pt x="493102" y="350851"/>
                  </a:cubicBezTo>
                  <a:cubicBezTo>
                    <a:pt x="489629" y="354324"/>
                    <a:pt x="486652" y="358788"/>
                    <a:pt x="482188" y="361765"/>
                  </a:cubicBezTo>
                  <a:cubicBezTo>
                    <a:pt x="478219" y="364741"/>
                    <a:pt x="472762" y="365733"/>
                    <a:pt x="468298" y="367718"/>
                  </a:cubicBezTo>
                  <a:cubicBezTo>
                    <a:pt x="463833" y="369702"/>
                    <a:pt x="459368" y="372678"/>
                    <a:pt x="453911" y="373671"/>
                  </a:cubicBezTo>
                  <a:cubicBezTo>
                    <a:pt x="448951" y="374663"/>
                    <a:pt x="443990" y="374663"/>
                    <a:pt x="438533" y="374663"/>
                  </a:cubicBezTo>
                  <a:cubicBezTo>
                    <a:pt x="433076" y="374663"/>
                    <a:pt x="428115" y="373175"/>
                    <a:pt x="423154" y="372182"/>
                  </a:cubicBezTo>
                  <a:cubicBezTo>
                    <a:pt x="418194" y="371190"/>
                    <a:pt x="413233" y="369702"/>
                    <a:pt x="408272" y="367718"/>
                  </a:cubicBezTo>
                  <a:cubicBezTo>
                    <a:pt x="403311" y="365733"/>
                    <a:pt x="398847" y="363749"/>
                    <a:pt x="394382" y="360773"/>
                  </a:cubicBezTo>
                  <a:cubicBezTo>
                    <a:pt x="389917" y="357796"/>
                    <a:pt x="385453" y="354820"/>
                    <a:pt x="381980" y="351347"/>
                  </a:cubicBezTo>
                  <a:cubicBezTo>
                    <a:pt x="378507" y="347875"/>
                    <a:pt x="376027" y="342914"/>
                    <a:pt x="373051" y="338449"/>
                  </a:cubicBezTo>
                  <a:cubicBezTo>
                    <a:pt x="370074" y="333984"/>
                    <a:pt x="368090" y="328528"/>
                    <a:pt x="366105" y="323567"/>
                  </a:cubicBezTo>
                  <a:cubicBezTo>
                    <a:pt x="361641" y="327039"/>
                    <a:pt x="357176" y="332000"/>
                    <a:pt x="352215" y="334481"/>
                  </a:cubicBezTo>
                  <a:cubicBezTo>
                    <a:pt x="347255" y="337457"/>
                    <a:pt x="341798" y="339441"/>
                    <a:pt x="336341" y="341426"/>
                  </a:cubicBezTo>
                  <a:cubicBezTo>
                    <a:pt x="330884" y="343410"/>
                    <a:pt x="325427" y="345394"/>
                    <a:pt x="319474" y="346386"/>
                  </a:cubicBezTo>
                  <a:cubicBezTo>
                    <a:pt x="314017" y="347379"/>
                    <a:pt x="308064" y="345890"/>
                    <a:pt x="302112" y="345890"/>
                  </a:cubicBezTo>
                  <a:cubicBezTo>
                    <a:pt x="296655" y="345890"/>
                    <a:pt x="291198" y="346386"/>
                    <a:pt x="286237" y="345890"/>
                  </a:cubicBezTo>
                  <a:cubicBezTo>
                    <a:pt x="280780" y="344898"/>
                    <a:pt x="276315" y="342418"/>
                    <a:pt x="270858" y="340930"/>
                  </a:cubicBezTo>
                  <a:cubicBezTo>
                    <a:pt x="265898" y="339441"/>
                    <a:pt x="259945" y="339441"/>
                    <a:pt x="254984" y="336961"/>
                  </a:cubicBezTo>
                  <a:cubicBezTo>
                    <a:pt x="250023" y="334481"/>
                    <a:pt x="245559" y="331504"/>
                    <a:pt x="241590" y="328031"/>
                  </a:cubicBezTo>
                  <a:cubicBezTo>
                    <a:pt x="237125" y="325055"/>
                    <a:pt x="233653" y="321086"/>
                    <a:pt x="229684" y="317118"/>
                  </a:cubicBezTo>
                  <a:cubicBezTo>
                    <a:pt x="225715" y="313149"/>
                    <a:pt x="221747" y="309677"/>
                    <a:pt x="218274" y="305708"/>
                  </a:cubicBezTo>
                  <a:cubicBezTo>
                    <a:pt x="215298" y="301243"/>
                    <a:pt x="212321" y="296779"/>
                    <a:pt x="209841" y="291818"/>
                  </a:cubicBezTo>
                  <a:cubicBezTo>
                    <a:pt x="207361" y="286857"/>
                    <a:pt x="207361" y="281400"/>
                    <a:pt x="205872" y="275943"/>
                  </a:cubicBezTo>
                  <a:cubicBezTo>
                    <a:pt x="204384" y="270982"/>
                    <a:pt x="202400" y="266022"/>
                    <a:pt x="201408" y="260565"/>
                  </a:cubicBezTo>
                  <a:cubicBezTo>
                    <a:pt x="200416" y="255108"/>
                    <a:pt x="199423" y="250147"/>
                    <a:pt x="199423" y="244690"/>
                  </a:cubicBezTo>
                  <a:cubicBezTo>
                    <a:pt x="199423" y="239234"/>
                    <a:pt x="201408" y="234273"/>
                    <a:pt x="201904" y="228816"/>
                  </a:cubicBezTo>
                  <a:cubicBezTo>
                    <a:pt x="202896" y="223359"/>
                    <a:pt x="201904" y="217902"/>
                    <a:pt x="203392" y="212445"/>
                  </a:cubicBezTo>
                  <a:cubicBezTo>
                    <a:pt x="204880" y="207485"/>
                    <a:pt x="206865" y="202524"/>
                    <a:pt x="209345" y="197563"/>
                  </a:cubicBezTo>
                  <a:cubicBezTo>
                    <a:pt x="207857" y="197563"/>
                    <a:pt x="207361" y="198059"/>
                    <a:pt x="205376" y="198059"/>
                  </a:cubicBezTo>
                  <a:cubicBezTo>
                    <a:pt x="199919" y="198059"/>
                    <a:pt x="194959" y="197067"/>
                    <a:pt x="190494" y="195579"/>
                  </a:cubicBezTo>
                  <a:cubicBezTo>
                    <a:pt x="185533" y="194090"/>
                    <a:pt x="181564" y="191114"/>
                    <a:pt x="177100" y="188138"/>
                  </a:cubicBezTo>
                  <a:cubicBezTo>
                    <a:pt x="173131" y="185161"/>
                    <a:pt x="168667" y="182185"/>
                    <a:pt x="166186" y="177720"/>
                  </a:cubicBezTo>
                  <a:cubicBezTo>
                    <a:pt x="163210" y="173751"/>
                    <a:pt x="161721" y="168790"/>
                    <a:pt x="160233" y="163830"/>
                  </a:cubicBezTo>
                  <a:cubicBezTo>
                    <a:pt x="155769" y="167798"/>
                    <a:pt x="150808" y="170775"/>
                    <a:pt x="145847" y="173751"/>
                  </a:cubicBezTo>
                  <a:cubicBezTo>
                    <a:pt x="140886" y="176728"/>
                    <a:pt x="136421" y="181192"/>
                    <a:pt x="130965" y="183177"/>
                  </a:cubicBezTo>
                  <a:cubicBezTo>
                    <a:pt x="125508" y="185161"/>
                    <a:pt x="119555" y="185657"/>
                    <a:pt x="113602" y="186649"/>
                  </a:cubicBezTo>
                  <a:cubicBezTo>
                    <a:pt x="107649" y="187641"/>
                    <a:pt x="102192" y="188138"/>
                    <a:pt x="96239" y="188138"/>
                  </a:cubicBezTo>
                  <a:cubicBezTo>
                    <a:pt x="90782" y="188138"/>
                    <a:pt x="85325" y="187145"/>
                    <a:pt x="79868" y="186153"/>
                  </a:cubicBezTo>
                  <a:cubicBezTo>
                    <a:pt x="74412" y="185161"/>
                    <a:pt x="68459" y="186153"/>
                    <a:pt x="63498" y="184169"/>
                  </a:cubicBezTo>
                  <a:cubicBezTo>
                    <a:pt x="58041" y="182185"/>
                    <a:pt x="53080" y="179704"/>
                    <a:pt x="48616" y="177224"/>
                  </a:cubicBezTo>
                  <a:cubicBezTo>
                    <a:pt x="43655" y="174247"/>
                    <a:pt x="39190" y="171271"/>
                    <a:pt x="34725" y="167798"/>
                  </a:cubicBezTo>
                  <a:cubicBezTo>
                    <a:pt x="30261" y="164326"/>
                    <a:pt x="26788" y="160357"/>
                    <a:pt x="22819" y="155893"/>
                  </a:cubicBezTo>
                  <a:cubicBezTo>
                    <a:pt x="19347" y="151924"/>
                    <a:pt x="16371" y="146963"/>
                    <a:pt x="13394" y="142002"/>
                  </a:cubicBezTo>
                  <a:cubicBezTo>
                    <a:pt x="10418" y="137041"/>
                    <a:pt x="8433" y="132081"/>
                    <a:pt x="6449" y="127120"/>
                  </a:cubicBezTo>
                  <a:cubicBezTo>
                    <a:pt x="4465" y="122159"/>
                    <a:pt x="2480" y="116702"/>
                    <a:pt x="1488" y="111246"/>
                  </a:cubicBezTo>
                  <a:cubicBezTo>
                    <a:pt x="496" y="105789"/>
                    <a:pt x="0" y="100332"/>
                    <a:pt x="0" y="94875"/>
                  </a:cubicBezTo>
                  <a:cubicBezTo>
                    <a:pt x="0" y="89418"/>
                    <a:pt x="1488" y="83961"/>
                    <a:pt x="2480" y="78504"/>
                  </a:cubicBezTo>
                  <a:cubicBezTo>
                    <a:pt x="3473" y="73048"/>
                    <a:pt x="4465" y="67590"/>
                    <a:pt x="6449" y="62630"/>
                  </a:cubicBezTo>
                  <a:cubicBezTo>
                    <a:pt x="8433" y="57173"/>
                    <a:pt x="11906" y="52708"/>
                    <a:pt x="14386" y="48244"/>
                  </a:cubicBezTo>
                  <a:cubicBezTo>
                    <a:pt x="17363" y="43283"/>
                    <a:pt x="19843" y="38818"/>
                    <a:pt x="23316" y="34353"/>
                  </a:cubicBezTo>
                  <a:cubicBezTo>
                    <a:pt x="26788" y="30385"/>
                    <a:pt x="30261" y="25920"/>
                    <a:pt x="34725" y="22447"/>
                  </a:cubicBezTo>
                  <a:cubicBezTo>
                    <a:pt x="38694" y="18975"/>
                    <a:pt x="43655" y="16495"/>
                    <a:pt x="48616" y="13518"/>
                  </a:cubicBezTo>
                  <a:cubicBezTo>
                    <a:pt x="53576" y="10542"/>
                    <a:pt x="57545" y="7069"/>
                    <a:pt x="63002" y="5085"/>
                  </a:cubicBezTo>
                  <a:cubicBezTo>
                    <a:pt x="67963" y="3100"/>
                    <a:pt x="73419" y="1612"/>
                    <a:pt x="78877" y="620"/>
                  </a:cubicBezTo>
                  <a:cubicBezTo>
                    <a:pt x="84333" y="-372"/>
                    <a:pt x="89790" y="124"/>
                    <a:pt x="95743" y="12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02ACFE20-B3B1-E52C-AE61-373E2319FB23}"/>
                </a:ext>
              </a:extLst>
            </p:cNvPr>
            <p:cNvSpPr/>
            <p:nvPr/>
          </p:nvSpPr>
          <p:spPr>
            <a:xfrm>
              <a:off x="3707556" y="2578612"/>
              <a:ext cx="193966" cy="236629"/>
            </a:xfrm>
            <a:custGeom>
              <a:avLst/>
              <a:gdLst>
                <a:gd name="connsiteX0" fmla="*/ 74412 w 193966"/>
                <a:gd name="connsiteY0" fmla="*/ 0 h 236629"/>
                <a:gd name="connsiteX1" fmla="*/ 91278 w 193966"/>
                <a:gd name="connsiteY1" fmla="*/ 992 h 236629"/>
                <a:gd name="connsiteX2" fmla="*/ 107649 w 193966"/>
                <a:gd name="connsiteY2" fmla="*/ 4465 h 236629"/>
                <a:gd name="connsiteX3" fmla="*/ 123523 w 193966"/>
                <a:gd name="connsiteY3" fmla="*/ 10418 h 236629"/>
                <a:gd name="connsiteX4" fmla="*/ 137910 w 193966"/>
                <a:gd name="connsiteY4" fmla="*/ 19347 h 236629"/>
                <a:gd name="connsiteX5" fmla="*/ 152296 w 193966"/>
                <a:gd name="connsiteY5" fmla="*/ 28772 h 236629"/>
                <a:gd name="connsiteX6" fmla="*/ 163209 w 193966"/>
                <a:gd name="connsiteY6" fmla="*/ 41671 h 236629"/>
                <a:gd name="connsiteX7" fmla="*/ 174123 w 193966"/>
                <a:gd name="connsiteY7" fmla="*/ 54569 h 236629"/>
                <a:gd name="connsiteX8" fmla="*/ 181564 w 193966"/>
                <a:gd name="connsiteY8" fmla="*/ 69451 h 236629"/>
                <a:gd name="connsiteX9" fmla="*/ 187021 w 193966"/>
                <a:gd name="connsiteY9" fmla="*/ 85325 h 236629"/>
                <a:gd name="connsiteX10" fmla="*/ 190990 w 193966"/>
                <a:gd name="connsiteY10" fmla="*/ 101696 h 236629"/>
                <a:gd name="connsiteX11" fmla="*/ 193966 w 193966"/>
                <a:gd name="connsiteY11" fmla="*/ 118563 h 236629"/>
                <a:gd name="connsiteX12" fmla="*/ 192478 w 193966"/>
                <a:gd name="connsiteY12" fmla="*/ 135429 h 236629"/>
                <a:gd name="connsiteX13" fmla="*/ 189006 w 193966"/>
                <a:gd name="connsiteY13" fmla="*/ 151800 h 236629"/>
                <a:gd name="connsiteX14" fmla="*/ 182061 w 193966"/>
                <a:gd name="connsiteY14" fmla="*/ 167178 h 236629"/>
                <a:gd name="connsiteX15" fmla="*/ 175115 w 193966"/>
                <a:gd name="connsiteY15" fmla="*/ 182557 h 236629"/>
                <a:gd name="connsiteX16" fmla="*/ 164698 w 193966"/>
                <a:gd name="connsiteY16" fmla="*/ 195951 h 236629"/>
                <a:gd name="connsiteX17" fmla="*/ 151800 w 193966"/>
                <a:gd name="connsiteY17" fmla="*/ 207361 h 236629"/>
                <a:gd name="connsiteX18" fmla="*/ 138902 w 193966"/>
                <a:gd name="connsiteY18" fmla="*/ 218274 h 236629"/>
                <a:gd name="connsiteX19" fmla="*/ 123523 w 193966"/>
                <a:gd name="connsiteY19" fmla="*/ 225220 h 236629"/>
                <a:gd name="connsiteX20" fmla="*/ 108145 w 193966"/>
                <a:gd name="connsiteY20" fmla="*/ 232661 h 236629"/>
                <a:gd name="connsiteX21" fmla="*/ 91278 w 193966"/>
                <a:gd name="connsiteY21" fmla="*/ 234645 h 236629"/>
                <a:gd name="connsiteX22" fmla="*/ 74412 w 193966"/>
                <a:gd name="connsiteY22" fmla="*/ 236629 h 236629"/>
                <a:gd name="connsiteX23" fmla="*/ 59033 w 193966"/>
                <a:gd name="connsiteY23" fmla="*/ 235141 h 236629"/>
                <a:gd name="connsiteX24" fmla="*/ 44151 w 193966"/>
                <a:gd name="connsiteY24" fmla="*/ 231668 h 236629"/>
                <a:gd name="connsiteX25" fmla="*/ 29765 w 193966"/>
                <a:gd name="connsiteY25" fmla="*/ 226212 h 236629"/>
                <a:gd name="connsiteX26" fmla="*/ 16866 w 193966"/>
                <a:gd name="connsiteY26" fmla="*/ 217282 h 236629"/>
                <a:gd name="connsiteX27" fmla="*/ 8433 w 193966"/>
                <a:gd name="connsiteY27" fmla="*/ 203888 h 236629"/>
                <a:gd name="connsiteX28" fmla="*/ 2976 w 193966"/>
                <a:gd name="connsiteY28" fmla="*/ 189502 h 236629"/>
                <a:gd name="connsiteX29" fmla="*/ 0 w 193966"/>
                <a:gd name="connsiteY29" fmla="*/ 174124 h 236629"/>
                <a:gd name="connsiteX30" fmla="*/ 1984 w 193966"/>
                <a:gd name="connsiteY30" fmla="*/ 158745 h 236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3966" h="236629">
                  <a:moveTo>
                    <a:pt x="74412" y="0"/>
                  </a:moveTo>
                  <a:cubicBezTo>
                    <a:pt x="80365" y="0"/>
                    <a:pt x="85821" y="0"/>
                    <a:pt x="91278" y="992"/>
                  </a:cubicBezTo>
                  <a:cubicBezTo>
                    <a:pt x="96735" y="1984"/>
                    <a:pt x="102688" y="2977"/>
                    <a:pt x="107649" y="4465"/>
                  </a:cubicBezTo>
                  <a:cubicBezTo>
                    <a:pt x="113106" y="5953"/>
                    <a:pt x="118562" y="8433"/>
                    <a:pt x="123523" y="10418"/>
                  </a:cubicBezTo>
                  <a:cubicBezTo>
                    <a:pt x="128484" y="12898"/>
                    <a:pt x="133445" y="16371"/>
                    <a:pt x="137910" y="19347"/>
                  </a:cubicBezTo>
                  <a:cubicBezTo>
                    <a:pt x="142870" y="22324"/>
                    <a:pt x="147831" y="24804"/>
                    <a:pt x="152296" y="28772"/>
                  </a:cubicBezTo>
                  <a:cubicBezTo>
                    <a:pt x="156761" y="32245"/>
                    <a:pt x="159737" y="37206"/>
                    <a:pt x="163209" y="41671"/>
                  </a:cubicBezTo>
                  <a:cubicBezTo>
                    <a:pt x="166682" y="46135"/>
                    <a:pt x="170651" y="50104"/>
                    <a:pt x="174123" y="54569"/>
                  </a:cubicBezTo>
                  <a:cubicBezTo>
                    <a:pt x="177100" y="59529"/>
                    <a:pt x="179084" y="64490"/>
                    <a:pt x="181564" y="69451"/>
                  </a:cubicBezTo>
                  <a:cubicBezTo>
                    <a:pt x="184045" y="74412"/>
                    <a:pt x="185533" y="79869"/>
                    <a:pt x="187021" y="85325"/>
                  </a:cubicBezTo>
                  <a:cubicBezTo>
                    <a:pt x="188510" y="90782"/>
                    <a:pt x="189998" y="96239"/>
                    <a:pt x="190990" y="101696"/>
                  </a:cubicBezTo>
                  <a:cubicBezTo>
                    <a:pt x="191982" y="107153"/>
                    <a:pt x="193966" y="112610"/>
                    <a:pt x="193966" y="118563"/>
                  </a:cubicBezTo>
                  <a:cubicBezTo>
                    <a:pt x="193966" y="124516"/>
                    <a:pt x="192974" y="129972"/>
                    <a:pt x="192478" y="135429"/>
                  </a:cubicBezTo>
                  <a:cubicBezTo>
                    <a:pt x="191486" y="140886"/>
                    <a:pt x="190494" y="146839"/>
                    <a:pt x="189006" y="151800"/>
                  </a:cubicBezTo>
                  <a:cubicBezTo>
                    <a:pt x="187517" y="157257"/>
                    <a:pt x="184045" y="162218"/>
                    <a:pt x="182061" y="167178"/>
                  </a:cubicBezTo>
                  <a:cubicBezTo>
                    <a:pt x="179580" y="172139"/>
                    <a:pt x="178092" y="178092"/>
                    <a:pt x="175115" y="182557"/>
                  </a:cubicBezTo>
                  <a:cubicBezTo>
                    <a:pt x="172139" y="187517"/>
                    <a:pt x="168667" y="191982"/>
                    <a:pt x="164698" y="195951"/>
                  </a:cubicBezTo>
                  <a:cubicBezTo>
                    <a:pt x="161225" y="200416"/>
                    <a:pt x="156265" y="203392"/>
                    <a:pt x="151800" y="207361"/>
                  </a:cubicBezTo>
                  <a:cubicBezTo>
                    <a:pt x="147335" y="210833"/>
                    <a:pt x="143366" y="215298"/>
                    <a:pt x="138902" y="218274"/>
                  </a:cubicBezTo>
                  <a:cubicBezTo>
                    <a:pt x="134437" y="221251"/>
                    <a:pt x="128484" y="222739"/>
                    <a:pt x="123523" y="225220"/>
                  </a:cubicBezTo>
                  <a:cubicBezTo>
                    <a:pt x="118562" y="227700"/>
                    <a:pt x="113602" y="231172"/>
                    <a:pt x="108145" y="232661"/>
                  </a:cubicBezTo>
                  <a:cubicBezTo>
                    <a:pt x="102688" y="234149"/>
                    <a:pt x="96735" y="233653"/>
                    <a:pt x="91278" y="234645"/>
                  </a:cubicBezTo>
                  <a:cubicBezTo>
                    <a:pt x="85821" y="235637"/>
                    <a:pt x="80365" y="236629"/>
                    <a:pt x="74412" y="236629"/>
                  </a:cubicBezTo>
                  <a:cubicBezTo>
                    <a:pt x="68955" y="236629"/>
                    <a:pt x="63994" y="235637"/>
                    <a:pt x="59033" y="235141"/>
                  </a:cubicBezTo>
                  <a:cubicBezTo>
                    <a:pt x="53576" y="234149"/>
                    <a:pt x="48616" y="233157"/>
                    <a:pt x="44151" y="231668"/>
                  </a:cubicBezTo>
                  <a:cubicBezTo>
                    <a:pt x="38694" y="230180"/>
                    <a:pt x="33733" y="228692"/>
                    <a:pt x="29765" y="226212"/>
                  </a:cubicBezTo>
                  <a:cubicBezTo>
                    <a:pt x="25300" y="223235"/>
                    <a:pt x="20339" y="220755"/>
                    <a:pt x="16866" y="217282"/>
                  </a:cubicBezTo>
                  <a:cubicBezTo>
                    <a:pt x="13394" y="213314"/>
                    <a:pt x="10914" y="208353"/>
                    <a:pt x="8433" y="203888"/>
                  </a:cubicBezTo>
                  <a:cubicBezTo>
                    <a:pt x="5953" y="199423"/>
                    <a:pt x="3969" y="194463"/>
                    <a:pt x="2976" y="189502"/>
                  </a:cubicBezTo>
                  <a:cubicBezTo>
                    <a:pt x="1488" y="184541"/>
                    <a:pt x="496" y="179084"/>
                    <a:pt x="0" y="174124"/>
                  </a:cubicBezTo>
                  <a:cubicBezTo>
                    <a:pt x="0" y="168666"/>
                    <a:pt x="496" y="163706"/>
                    <a:pt x="1984" y="15874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0B9B2544-DC0B-AD4F-9DC0-B7229CAAE47B}"/>
                </a:ext>
              </a:extLst>
            </p:cNvPr>
            <p:cNvSpPr/>
            <p:nvPr/>
          </p:nvSpPr>
          <p:spPr>
            <a:xfrm>
              <a:off x="3808756" y="2995814"/>
              <a:ext cx="175115" cy="295662"/>
            </a:xfrm>
            <a:custGeom>
              <a:avLst/>
              <a:gdLst>
                <a:gd name="connsiteX0" fmla="*/ 0 w 175115"/>
                <a:gd name="connsiteY0" fmla="*/ 23315 h 295662"/>
                <a:gd name="connsiteX1" fmla="*/ 12402 w 175115"/>
                <a:gd name="connsiteY1" fmla="*/ 14386 h 295662"/>
                <a:gd name="connsiteX2" fmla="*/ 24804 w 175115"/>
                <a:gd name="connsiteY2" fmla="*/ 5457 h 295662"/>
                <a:gd name="connsiteX3" fmla="*/ 40182 w 175115"/>
                <a:gd name="connsiteY3" fmla="*/ 1984 h 295662"/>
                <a:gd name="connsiteX4" fmla="*/ 55561 w 175115"/>
                <a:gd name="connsiteY4" fmla="*/ 0 h 295662"/>
                <a:gd name="connsiteX5" fmla="*/ 71435 w 175115"/>
                <a:gd name="connsiteY5" fmla="*/ 2480 h 295662"/>
                <a:gd name="connsiteX6" fmla="*/ 87310 w 175115"/>
                <a:gd name="connsiteY6" fmla="*/ 6449 h 295662"/>
                <a:gd name="connsiteX7" fmla="*/ 100704 w 175115"/>
                <a:gd name="connsiteY7" fmla="*/ 15378 h 295662"/>
                <a:gd name="connsiteX8" fmla="*/ 112610 w 175115"/>
                <a:gd name="connsiteY8" fmla="*/ 25796 h 295662"/>
                <a:gd name="connsiteX9" fmla="*/ 124019 w 175115"/>
                <a:gd name="connsiteY9" fmla="*/ 37206 h 295662"/>
                <a:gd name="connsiteX10" fmla="*/ 129972 w 175115"/>
                <a:gd name="connsiteY10" fmla="*/ 52088 h 295662"/>
                <a:gd name="connsiteX11" fmla="*/ 136421 w 175115"/>
                <a:gd name="connsiteY11" fmla="*/ 66971 h 295662"/>
                <a:gd name="connsiteX12" fmla="*/ 137414 w 175115"/>
                <a:gd name="connsiteY12" fmla="*/ 83341 h 295662"/>
                <a:gd name="connsiteX13" fmla="*/ 136918 w 175115"/>
                <a:gd name="connsiteY13" fmla="*/ 87310 h 295662"/>
                <a:gd name="connsiteX14" fmla="*/ 151304 w 175115"/>
                <a:gd name="connsiteY14" fmla="*/ 97231 h 295662"/>
                <a:gd name="connsiteX15" fmla="*/ 164698 w 175115"/>
                <a:gd name="connsiteY15" fmla="*/ 109137 h 295662"/>
                <a:gd name="connsiteX16" fmla="*/ 171643 w 175115"/>
                <a:gd name="connsiteY16" fmla="*/ 125508 h 295662"/>
                <a:gd name="connsiteX17" fmla="*/ 175116 w 175115"/>
                <a:gd name="connsiteY17" fmla="*/ 142870 h 295662"/>
                <a:gd name="connsiteX18" fmla="*/ 172139 w 175115"/>
                <a:gd name="connsiteY18" fmla="*/ 157753 h 295662"/>
                <a:gd name="connsiteX19" fmla="*/ 166186 w 175115"/>
                <a:gd name="connsiteY19" fmla="*/ 171147 h 295662"/>
                <a:gd name="connsiteX20" fmla="*/ 158745 w 175115"/>
                <a:gd name="connsiteY20" fmla="*/ 184045 h 295662"/>
                <a:gd name="connsiteX21" fmla="*/ 146839 w 175115"/>
                <a:gd name="connsiteY21" fmla="*/ 192974 h 295662"/>
                <a:gd name="connsiteX22" fmla="*/ 132949 w 175115"/>
                <a:gd name="connsiteY22" fmla="*/ 199423 h 295662"/>
                <a:gd name="connsiteX23" fmla="*/ 141878 w 175115"/>
                <a:gd name="connsiteY23" fmla="*/ 211825 h 295662"/>
                <a:gd name="connsiteX24" fmla="*/ 145351 w 175115"/>
                <a:gd name="connsiteY24" fmla="*/ 226211 h 295662"/>
                <a:gd name="connsiteX25" fmla="*/ 141878 w 175115"/>
                <a:gd name="connsiteY25" fmla="*/ 244070 h 295662"/>
                <a:gd name="connsiteX26" fmla="*/ 127988 w 175115"/>
                <a:gd name="connsiteY26" fmla="*/ 256472 h 295662"/>
                <a:gd name="connsiteX27" fmla="*/ 110626 w 175115"/>
                <a:gd name="connsiteY27" fmla="*/ 260441 h 295662"/>
                <a:gd name="connsiteX28" fmla="*/ 101696 w 175115"/>
                <a:gd name="connsiteY28" fmla="*/ 260441 h 295662"/>
                <a:gd name="connsiteX29" fmla="*/ 104673 w 175115"/>
                <a:gd name="connsiteY29" fmla="*/ 270858 h 295662"/>
                <a:gd name="connsiteX30" fmla="*/ 97231 w 175115"/>
                <a:gd name="connsiteY30" fmla="*/ 287725 h 295662"/>
                <a:gd name="connsiteX31" fmla="*/ 80365 w 175115"/>
                <a:gd name="connsiteY31" fmla="*/ 295662 h 295662"/>
                <a:gd name="connsiteX32" fmla="*/ 64490 w 175115"/>
                <a:gd name="connsiteY32" fmla="*/ 287229 h 295662"/>
                <a:gd name="connsiteX33" fmla="*/ 57545 w 175115"/>
                <a:gd name="connsiteY33" fmla="*/ 271354 h 295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5115" h="295662">
                  <a:moveTo>
                    <a:pt x="0" y="23315"/>
                  </a:moveTo>
                  <a:cubicBezTo>
                    <a:pt x="3969" y="19843"/>
                    <a:pt x="7937" y="17363"/>
                    <a:pt x="12402" y="14386"/>
                  </a:cubicBezTo>
                  <a:cubicBezTo>
                    <a:pt x="16867" y="11410"/>
                    <a:pt x="20339" y="7441"/>
                    <a:pt x="24804" y="5457"/>
                  </a:cubicBezTo>
                  <a:cubicBezTo>
                    <a:pt x="29765" y="3472"/>
                    <a:pt x="34725" y="2976"/>
                    <a:pt x="40182" y="1984"/>
                  </a:cubicBezTo>
                  <a:cubicBezTo>
                    <a:pt x="45143" y="992"/>
                    <a:pt x="50104" y="0"/>
                    <a:pt x="55561" y="0"/>
                  </a:cubicBezTo>
                  <a:cubicBezTo>
                    <a:pt x="61018" y="0"/>
                    <a:pt x="66475" y="1488"/>
                    <a:pt x="71435" y="2480"/>
                  </a:cubicBezTo>
                  <a:cubicBezTo>
                    <a:pt x="76892" y="3472"/>
                    <a:pt x="82349" y="4465"/>
                    <a:pt x="87310" y="6449"/>
                  </a:cubicBezTo>
                  <a:cubicBezTo>
                    <a:pt x="92271" y="8433"/>
                    <a:pt x="96239" y="12402"/>
                    <a:pt x="100704" y="15378"/>
                  </a:cubicBezTo>
                  <a:cubicBezTo>
                    <a:pt x="105169" y="18355"/>
                    <a:pt x="109137" y="21827"/>
                    <a:pt x="112610" y="25796"/>
                  </a:cubicBezTo>
                  <a:cubicBezTo>
                    <a:pt x="116578" y="29765"/>
                    <a:pt x="121043" y="32741"/>
                    <a:pt x="124019" y="37206"/>
                  </a:cubicBezTo>
                  <a:cubicBezTo>
                    <a:pt x="126996" y="41670"/>
                    <a:pt x="127988" y="47127"/>
                    <a:pt x="129972" y="52088"/>
                  </a:cubicBezTo>
                  <a:cubicBezTo>
                    <a:pt x="131957" y="57049"/>
                    <a:pt x="135430" y="61513"/>
                    <a:pt x="136421" y="66971"/>
                  </a:cubicBezTo>
                  <a:cubicBezTo>
                    <a:pt x="137414" y="71931"/>
                    <a:pt x="137414" y="77884"/>
                    <a:pt x="137414" y="83341"/>
                  </a:cubicBezTo>
                  <a:cubicBezTo>
                    <a:pt x="137414" y="84829"/>
                    <a:pt x="136918" y="85821"/>
                    <a:pt x="136918" y="87310"/>
                  </a:cubicBezTo>
                  <a:cubicBezTo>
                    <a:pt x="142374" y="89294"/>
                    <a:pt x="146839" y="93759"/>
                    <a:pt x="151304" y="97231"/>
                  </a:cubicBezTo>
                  <a:cubicBezTo>
                    <a:pt x="155769" y="100704"/>
                    <a:pt x="161225" y="104176"/>
                    <a:pt x="164698" y="109137"/>
                  </a:cubicBezTo>
                  <a:cubicBezTo>
                    <a:pt x="168171" y="114098"/>
                    <a:pt x="169659" y="120051"/>
                    <a:pt x="171643" y="125508"/>
                  </a:cubicBezTo>
                  <a:cubicBezTo>
                    <a:pt x="173131" y="130964"/>
                    <a:pt x="175116" y="136917"/>
                    <a:pt x="175116" y="142870"/>
                  </a:cubicBezTo>
                  <a:cubicBezTo>
                    <a:pt x="175116" y="147831"/>
                    <a:pt x="173131" y="152792"/>
                    <a:pt x="172139" y="157753"/>
                  </a:cubicBezTo>
                  <a:cubicBezTo>
                    <a:pt x="170651" y="162714"/>
                    <a:pt x="168667" y="166682"/>
                    <a:pt x="166186" y="171147"/>
                  </a:cubicBezTo>
                  <a:cubicBezTo>
                    <a:pt x="163706" y="175611"/>
                    <a:pt x="162218" y="180572"/>
                    <a:pt x="158745" y="184045"/>
                  </a:cubicBezTo>
                  <a:cubicBezTo>
                    <a:pt x="155273" y="187517"/>
                    <a:pt x="150808" y="190494"/>
                    <a:pt x="146839" y="192974"/>
                  </a:cubicBezTo>
                  <a:cubicBezTo>
                    <a:pt x="142871" y="195455"/>
                    <a:pt x="137910" y="197935"/>
                    <a:pt x="132949" y="199423"/>
                  </a:cubicBezTo>
                  <a:cubicBezTo>
                    <a:pt x="136918" y="202896"/>
                    <a:pt x="139398" y="207361"/>
                    <a:pt x="141878" y="211825"/>
                  </a:cubicBezTo>
                  <a:cubicBezTo>
                    <a:pt x="143863" y="216290"/>
                    <a:pt x="145351" y="220755"/>
                    <a:pt x="145351" y="226211"/>
                  </a:cubicBezTo>
                  <a:cubicBezTo>
                    <a:pt x="145351" y="232660"/>
                    <a:pt x="144855" y="239109"/>
                    <a:pt x="141878" y="244070"/>
                  </a:cubicBezTo>
                  <a:cubicBezTo>
                    <a:pt x="138902" y="249527"/>
                    <a:pt x="133445" y="253496"/>
                    <a:pt x="127988" y="256472"/>
                  </a:cubicBezTo>
                  <a:cubicBezTo>
                    <a:pt x="123028" y="259449"/>
                    <a:pt x="117075" y="260441"/>
                    <a:pt x="110626" y="260441"/>
                  </a:cubicBezTo>
                  <a:cubicBezTo>
                    <a:pt x="107649" y="260441"/>
                    <a:pt x="104673" y="260937"/>
                    <a:pt x="101696" y="260441"/>
                  </a:cubicBezTo>
                  <a:cubicBezTo>
                    <a:pt x="103184" y="263417"/>
                    <a:pt x="104673" y="266890"/>
                    <a:pt x="104673" y="270858"/>
                  </a:cubicBezTo>
                  <a:cubicBezTo>
                    <a:pt x="104673" y="277307"/>
                    <a:pt x="101200" y="283260"/>
                    <a:pt x="97231" y="287725"/>
                  </a:cubicBezTo>
                  <a:cubicBezTo>
                    <a:pt x="92767" y="291694"/>
                    <a:pt x="86814" y="295662"/>
                    <a:pt x="80365" y="295662"/>
                  </a:cubicBezTo>
                  <a:cubicBezTo>
                    <a:pt x="73916" y="295662"/>
                    <a:pt x="68955" y="291198"/>
                    <a:pt x="64490" y="287229"/>
                  </a:cubicBezTo>
                  <a:cubicBezTo>
                    <a:pt x="60026" y="282764"/>
                    <a:pt x="57545" y="277804"/>
                    <a:pt x="57545" y="27135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50466878-634D-C0B3-92C2-1D8FEE5830E6}"/>
                </a:ext>
              </a:extLst>
            </p:cNvPr>
            <p:cNvSpPr/>
            <p:nvPr/>
          </p:nvSpPr>
          <p:spPr>
            <a:xfrm>
              <a:off x="3543850" y="2788453"/>
              <a:ext cx="185532" cy="166682"/>
            </a:xfrm>
            <a:custGeom>
              <a:avLst/>
              <a:gdLst>
                <a:gd name="connsiteX0" fmla="*/ 0 w 185532"/>
                <a:gd name="connsiteY0" fmla="*/ 0 h 166682"/>
                <a:gd name="connsiteX1" fmla="*/ 13394 w 185532"/>
                <a:gd name="connsiteY1" fmla="*/ 6945 h 166682"/>
                <a:gd name="connsiteX2" fmla="*/ 26292 w 185532"/>
                <a:gd name="connsiteY2" fmla="*/ 14386 h 166682"/>
                <a:gd name="connsiteX3" fmla="*/ 38198 w 185532"/>
                <a:gd name="connsiteY3" fmla="*/ 23316 h 166682"/>
                <a:gd name="connsiteX4" fmla="*/ 51592 w 185532"/>
                <a:gd name="connsiteY4" fmla="*/ 30261 h 166682"/>
                <a:gd name="connsiteX5" fmla="*/ 64986 w 185532"/>
                <a:gd name="connsiteY5" fmla="*/ 37206 h 166682"/>
                <a:gd name="connsiteX6" fmla="*/ 77388 w 185532"/>
                <a:gd name="connsiteY6" fmla="*/ 45639 h 166682"/>
                <a:gd name="connsiteX7" fmla="*/ 88302 w 185532"/>
                <a:gd name="connsiteY7" fmla="*/ 57545 h 166682"/>
                <a:gd name="connsiteX8" fmla="*/ 98223 w 185532"/>
                <a:gd name="connsiteY8" fmla="*/ 70443 h 166682"/>
                <a:gd name="connsiteX9" fmla="*/ 109633 w 185532"/>
                <a:gd name="connsiteY9" fmla="*/ 82349 h 166682"/>
                <a:gd name="connsiteX10" fmla="*/ 120051 w 185532"/>
                <a:gd name="connsiteY10" fmla="*/ 94751 h 166682"/>
                <a:gd name="connsiteX11" fmla="*/ 130468 w 185532"/>
                <a:gd name="connsiteY11" fmla="*/ 107153 h 166682"/>
                <a:gd name="connsiteX12" fmla="*/ 141382 w 185532"/>
                <a:gd name="connsiteY12" fmla="*/ 119059 h 166682"/>
                <a:gd name="connsiteX13" fmla="*/ 152296 w 185532"/>
                <a:gd name="connsiteY13" fmla="*/ 130965 h 166682"/>
                <a:gd name="connsiteX14" fmla="*/ 163706 w 185532"/>
                <a:gd name="connsiteY14" fmla="*/ 142374 h 166682"/>
                <a:gd name="connsiteX15" fmla="*/ 174123 w 185532"/>
                <a:gd name="connsiteY15" fmla="*/ 154776 h 166682"/>
                <a:gd name="connsiteX16" fmla="*/ 185533 w 185532"/>
                <a:gd name="connsiteY16" fmla="*/ 166682 h 16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5532" h="166682">
                  <a:moveTo>
                    <a:pt x="0" y="0"/>
                  </a:moveTo>
                  <a:cubicBezTo>
                    <a:pt x="6449" y="3969"/>
                    <a:pt x="6945" y="2977"/>
                    <a:pt x="13394" y="6945"/>
                  </a:cubicBezTo>
                  <a:cubicBezTo>
                    <a:pt x="19843" y="10914"/>
                    <a:pt x="19843" y="10914"/>
                    <a:pt x="26292" y="14386"/>
                  </a:cubicBezTo>
                  <a:cubicBezTo>
                    <a:pt x="32741" y="18355"/>
                    <a:pt x="32245" y="19347"/>
                    <a:pt x="38198" y="23316"/>
                  </a:cubicBezTo>
                  <a:cubicBezTo>
                    <a:pt x="44647" y="27284"/>
                    <a:pt x="45143" y="26788"/>
                    <a:pt x="51592" y="30261"/>
                  </a:cubicBezTo>
                  <a:cubicBezTo>
                    <a:pt x="58041" y="34229"/>
                    <a:pt x="58537" y="33237"/>
                    <a:pt x="64986" y="37206"/>
                  </a:cubicBezTo>
                  <a:cubicBezTo>
                    <a:pt x="71435" y="41175"/>
                    <a:pt x="71435" y="41175"/>
                    <a:pt x="77388" y="45639"/>
                  </a:cubicBezTo>
                  <a:cubicBezTo>
                    <a:pt x="83837" y="50600"/>
                    <a:pt x="83341" y="51592"/>
                    <a:pt x="88302" y="57545"/>
                  </a:cubicBezTo>
                  <a:cubicBezTo>
                    <a:pt x="93759" y="63498"/>
                    <a:pt x="92767" y="64490"/>
                    <a:pt x="98223" y="70443"/>
                  </a:cubicBezTo>
                  <a:cubicBezTo>
                    <a:pt x="103680" y="76396"/>
                    <a:pt x="104176" y="75900"/>
                    <a:pt x="109633" y="82349"/>
                  </a:cubicBezTo>
                  <a:cubicBezTo>
                    <a:pt x="115090" y="88302"/>
                    <a:pt x="115090" y="88302"/>
                    <a:pt x="120051" y="94751"/>
                  </a:cubicBezTo>
                  <a:cubicBezTo>
                    <a:pt x="125508" y="100704"/>
                    <a:pt x="125012" y="101200"/>
                    <a:pt x="130468" y="107153"/>
                  </a:cubicBezTo>
                  <a:cubicBezTo>
                    <a:pt x="135925" y="113106"/>
                    <a:pt x="136421" y="113106"/>
                    <a:pt x="141382" y="119059"/>
                  </a:cubicBezTo>
                  <a:cubicBezTo>
                    <a:pt x="146839" y="125012"/>
                    <a:pt x="146839" y="125012"/>
                    <a:pt x="152296" y="130965"/>
                  </a:cubicBezTo>
                  <a:cubicBezTo>
                    <a:pt x="157753" y="136918"/>
                    <a:pt x="158745" y="136421"/>
                    <a:pt x="163706" y="142374"/>
                  </a:cubicBezTo>
                  <a:cubicBezTo>
                    <a:pt x="169162" y="148327"/>
                    <a:pt x="168667" y="148823"/>
                    <a:pt x="174123" y="154776"/>
                  </a:cubicBezTo>
                  <a:cubicBezTo>
                    <a:pt x="179580" y="160729"/>
                    <a:pt x="180076" y="160233"/>
                    <a:pt x="185533" y="16668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58F26759-9D16-50C0-CF26-507E8E5B3E87}"/>
                </a:ext>
              </a:extLst>
            </p:cNvPr>
            <p:cNvSpPr/>
            <p:nvPr/>
          </p:nvSpPr>
          <p:spPr>
            <a:xfrm>
              <a:off x="3518054" y="2753232"/>
              <a:ext cx="180626" cy="116306"/>
            </a:xfrm>
            <a:custGeom>
              <a:avLst/>
              <a:gdLst>
                <a:gd name="connsiteX0" fmla="*/ 0 w 180626"/>
                <a:gd name="connsiteY0" fmla="*/ 0 h 116306"/>
                <a:gd name="connsiteX1" fmla="*/ 14882 w 180626"/>
                <a:gd name="connsiteY1" fmla="*/ 7937 h 116306"/>
                <a:gd name="connsiteX2" fmla="*/ 29765 w 180626"/>
                <a:gd name="connsiteY2" fmla="*/ 15875 h 116306"/>
                <a:gd name="connsiteX3" fmla="*/ 44151 w 180626"/>
                <a:gd name="connsiteY3" fmla="*/ 24308 h 116306"/>
                <a:gd name="connsiteX4" fmla="*/ 58041 w 180626"/>
                <a:gd name="connsiteY4" fmla="*/ 33237 h 116306"/>
                <a:gd name="connsiteX5" fmla="*/ 72924 w 180626"/>
                <a:gd name="connsiteY5" fmla="*/ 40678 h 116306"/>
                <a:gd name="connsiteX6" fmla="*/ 86814 w 180626"/>
                <a:gd name="connsiteY6" fmla="*/ 50600 h 116306"/>
                <a:gd name="connsiteX7" fmla="*/ 101200 w 180626"/>
                <a:gd name="connsiteY7" fmla="*/ 59033 h 116306"/>
                <a:gd name="connsiteX8" fmla="*/ 114594 w 180626"/>
                <a:gd name="connsiteY8" fmla="*/ 67466 h 116306"/>
                <a:gd name="connsiteX9" fmla="*/ 126996 w 180626"/>
                <a:gd name="connsiteY9" fmla="*/ 77388 h 116306"/>
                <a:gd name="connsiteX10" fmla="*/ 139894 w 180626"/>
                <a:gd name="connsiteY10" fmla="*/ 86814 h 116306"/>
                <a:gd name="connsiteX11" fmla="*/ 153288 w 180626"/>
                <a:gd name="connsiteY11" fmla="*/ 95247 h 116306"/>
                <a:gd name="connsiteX12" fmla="*/ 164698 w 180626"/>
                <a:gd name="connsiteY12" fmla="*/ 106161 h 116306"/>
                <a:gd name="connsiteX13" fmla="*/ 178092 w 180626"/>
                <a:gd name="connsiteY13" fmla="*/ 115090 h 116306"/>
                <a:gd name="connsiteX14" fmla="*/ 174619 w 180626"/>
                <a:gd name="connsiteY14" fmla="*/ 97727 h 116306"/>
                <a:gd name="connsiteX15" fmla="*/ 174123 w 180626"/>
                <a:gd name="connsiteY15" fmla="*/ 80365 h 116306"/>
                <a:gd name="connsiteX16" fmla="*/ 172635 w 180626"/>
                <a:gd name="connsiteY16" fmla="*/ 63002 h 116306"/>
                <a:gd name="connsiteX17" fmla="*/ 169162 w 180626"/>
                <a:gd name="connsiteY17" fmla="*/ 46135 h 116306"/>
                <a:gd name="connsiteX18" fmla="*/ 167674 w 180626"/>
                <a:gd name="connsiteY18" fmla="*/ 28772 h 116306"/>
                <a:gd name="connsiteX19" fmla="*/ 166186 w 180626"/>
                <a:gd name="connsiteY19" fmla="*/ 11410 h 1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0626" h="116306">
                  <a:moveTo>
                    <a:pt x="0" y="0"/>
                  </a:moveTo>
                  <a:cubicBezTo>
                    <a:pt x="7441" y="3969"/>
                    <a:pt x="7441" y="3473"/>
                    <a:pt x="14882" y="7937"/>
                  </a:cubicBezTo>
                  <a:cubicBezTo>
                    <a:pt x="22324" y="11906"/>
                    <a:pt x="22324" y="11906"/>
                    <a:pt x="29765" y="15875"/>
                  </a:cubicBezTo>
                  <a:cubicBezTo>
                    <a:pt x="37206" y="19843"/>
                    <a:pt x="37206" y="19843"/>
                    <a:pt x="44151" y="24308"/>
                  </a:cubicBezTo>
                  <a:cubicBezTo>
                    <a:pt x="51592" y="28277"/>
                    <a:pt x="51096" y="29269"/>
                    <a:pt x="58041" y="33237"/>
                  </a:cubicBezTo>
                  <a:cubicBezTo>
                    <a:pt x="65482" y="37206"/>
                    <a:pt x="65978" y="36214"/>
                    <a:pt x="72924" y="40678"/>
                  </a:cubicBezTo>
                  <a:cubicBezTo>
                    <a:pt x="80365" y="44647"/>
                    <a:pt x="79372" y="46135"/>
                    <a:pt x="86814" y="50600"/>
                  </a:cubicBezTo>
                  <a:cubicBezTo>
                    <a:pt x="94255" y="54569"/>
                    <a:pt x="94255" y="54569"/>
                    <a:pt x="101200" y="59033"/>
                  </a:cubicBezTo>
                  <a:cubicBezTo>
                    <a:pt x="107649" y="63498"/>
                    <a:pt x="108145" y="63002"/>
                    <a:pt x="114594" y="67466"/>
                  </a:cubicBezTo>
                  <a:cubicBezTo>
                    <a:pt x="121043" y="71931"/>
                    <a:pt x="120547" y="72427"/>
                    <a:pt x="126996" y="77388"/>
                  </a:cubicBezTo>
                  <a:cubicBezTo>
                    <a:pt x="133445" y="81853"/>
                    <a:pt x="133445" y="81853"/>
                    <a:pt x="139894" y="86814"/>
                  </a:cubicBezTo>
                  <a:cubicBezTo>
                    <a:pt x="146343" y="91278"/>
                    <a:pt x="146839" y="90286"/>
                    <a:pt x="153288" y="95247"/>
                  </a:cubicBezTo>
                  <a:cubicBezTo>
                    <a:pt x="159737" y="99712"/>
                    <a:pt x="158249" y="101696"/>
                    <a:pt x="164698" y="106161"/>
                  </a:cubicBezTo>
                  <a:cubicBezTo>
                    <a:pt x="171147" y="110625"/>
                    <a:pt x="171643" y="119555"/>
                    <a:pt x="178092" y="115090"/>
                  </a:cubicBezTo>
                  <a:cubicBezTo>
                    <a:pt x="185037" y="110129"/>
                    <a:pt x="175612" y="106161"/>
                    <a:pt x="174619" y="97727"/>
                  </a:cubicBezTo>
                  <a:cubicBezTo>
                    <a:pt x="173627" y="89294"/>
                    <a:pt x="175115" y="88798"/>
                    <a:pt x="174123" y="80365"/>
                  </a:cubicBezTo>
                  <a:cubicBezTo>
                    <a:pt x="173131" y="71931"/>
                    <a:pt x="173627" y="71931"/>
                    <a:pt x="172635" y="63002"/>
                  </a:cubicBezTo>
                  <a:cubicBezTo>
                    <a:pt x="171643" y="54569"/>
                    <a:pt x="170155" y="54569"/>
                    <a:pt x="169162" y="46135"/>
                  </a:cubicBezTo>
                  <a:cubicBezTo>
                    <a:pt x="168171" y="37702"/>
                    <a:pt x="168667" y="37206"/>
                    <a:pt x="167674" y="28772"/>
                  </a:cubicBezTo>
                  <a:cubicBezTo>
                    <a:pt x="166682" y="20339"/>
                    <a:pt x="167178" y="20339"/>
                    <a:pt x="166186" y="1141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7C399960-90CB-FB87-7DC1-331F3C47C138}"/>
                </a:ext>
              </a:extLst>
            </p:cNvPr>
            <p:cNvSpPr/>
            <p:nvPr/>
          </p:nvSpPr>
          <p:spPr>
            <a:xfrm>
              <a:off x="3722679" y="2816234"/>
              <a:ext cx="75659" cy="122035"/>
            </a:xfrm>
            <a:custGeom>
              <a:avLst/>
              <a:gdLst>
                <a:gd name="connsiteX0" fmla="*/ 1743 w 75659"/>
                <a:gd name="connsiteY0" fmla="*/ 0 h 122035"/>
                <a:gd name="connsiteX1" fmla="*/ 2736 w 75659"/>
                <a:gd name="connsiteY1" fmla="*/ 15378 h 122035"/>
                <a:gd name="connsiteX2" fmla="*/ 752 w 75659"/>
                <a:gd name="connsiteY2" fmla="*/ 30757 h 122035"/>
                <a:gd name="connsiteX3" fmla="*/ 1247 w 75659"/>
                <a:gd name="connsiteY3" fmla="*/ 46135 h 122035"/>
                <a:gd name="connsiteX4" fmla="*/ 11665 w 75659"/>
                <a:gd name="connsiteY4" fmla="*/ 57049 h 122035"/>
                <a:gd name="connsiteX5" fmla="*/ 23075 w 75659"/>
                <a:gd name="connsiteY5" fmla="*/ 66971 h 122035"/>
                <a:gd name="connsiteX6" fmla="*/ 32500 w 75659"/>
                <a:gd name="connsiteY6" fmla="*/ 78876 h 122035"/>
                <a:gd name="connsiteX7" fmla="*/ 42918 w 75659"/>
                <a:gd name="connsiteY7" fmla="*/ 89790 h 122035"/>
                <a:gd name="connsiteX8" fmla="*/ 54824 w 75659"/>
                <a:gd name="connsiteY8" fmla="*/ 99712 h 122035"/>
                <a:gd name="connsiteX9" fmla="*/ 65738 w 75659"/>
                <a:gd name="connsiteY9" fmla="*/ 110625 h 122035"/>
                <a:gd name="connsiteX10" fmla="*/ 75659 w 75659"/>
                <a:gd name="connsiteY10" fmla="*/ 122035 h 12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59" h="122035">
                  <a:moveTo>
                    <a:pt x="1743" y="0"/>
                  </a:moveTo>
                  <a:cubicBezTo>
                    <a:pt x="1743" y="7441"/>
                    <a:pt x="2736" y="7441"/>
                    <a:pt x="2736" y="15378"/>
                  </a:cubicBezTo>
                  <a:cubicBezTo>
                    <a:pt x="2736" y="22819"/>
                    <a:pt x="752" y="22819"/>
                    <a:pt x="752" y="30757"/>
                  </a:cubicBezTo>
                  <a:cubicBezTo>
                    <a:pt x="752" y="38694"/>
                    <a:pt x="-1233" y="39190"/>
                    <a:pt x="1247" y="46135"/>
                  </a:cubicBezTo>
                  <a:cubicBezTo>
                    <a:pt x="4224" y="53080"/>
                    <a:pt x="6704" y="51592"/>
                    <a:pt x="11665" y="57049"/>
                  </a:cubicBezTo>
                  <a:cubicBezTo>
                    <a:pt x="17122" y="62506"/>
                    <a:pt x="17618" y="61513"/>
                    <a:pt x="23075" y="66971"/>
                  </a:cubicBezTo>
                  <a:cubicBezTo>
                    <a:pt x="28532" y="72427"/>
                    <a:pt x="27044" y="73419"/>
                    <a:pt x="32500" y="78876"/>
                  </a:cubicBezTo>
                  <a:cubicBezTo>
                    <a:pt x="37957" y="84333"/>
                    <a:pt x="37461" y="84333"/>
                    <a:pt x="42918" y="89790"/>
                  </a:cubicBezTo>
                  <a:cubicBezTo>
                    <a:pt x="48375" y="95247"/>
                    <a:pt x="49367" y="94255"/>
                    <a:pt x="54824" y="99712"/>
                  </a:cubicBezTo>
                  <a:cubicBezTo>
                    <a:pt x="60281" y="105169"/>
                    <a:pt x="60281" y="105169"/>
                    <a:pt x="65738" y="110625"/>
                  </a:cubicBezTo>
                  <a:cubicBezTo>
                    <a:pt x="71194" y="116082"/>
                    <a:pt x="70698" y="116578"/>
                    <a:pt x="75659" y="12203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2DDA5777-C65E-1D45-8BE3-C8096142942E}"/>
                </a:ext>
              </a:extLst>
            </p:cNvPr>
            <p:cNvSpPr/>
            <p:nvPr/>
          </p:nvSpPr>
          <p:spPr>
            <a:xfrm>
              <a:off x="3475392" y="2661953"/>
              <a:ext cx="56056" cy="132452"/>
            </a:xfrm>
            <a:custGeom>
              <a:avLst/>
              <a:gdLst>
                <a:gd name="connsiteX0" fmla="*/ 0 w 56056"/>
                <a:gd name="connsiteY0" fmla="*/ 0 h 132452"/>
                <a:gd name="connsiteX1" fmla="*/ 16866 w 56056"/>
                <a:gd name="connsiteY1" fmla="*/ 3473 h 132452"/>
                <a:gd name="connsiteX2" fmla="*/ 32741 w 56056"/>
                <a:gd name="connsiteY2" fmla="*/ 10418 h 132452"/>
                <a:gd name="connsiteX3" fmla="*/ 45143 w 56056"/>
                <a:gd name="connsiteY3" fmla="*/ 22820 h 132452"/>
                <a:gd name="connsiteX4" fmla="*/ 53080 w 56056"/>
                <a:gd name="connsiteY4" fmla="*/ 38694 h 132452"/>
                <a:gd name="connsiteX5" fmla="*/ 56057 w 56056"/>
                <a:gd name="connsiteY5" fmla="*/ 56057 h 132452"/>
                <a:gd name="connsiteX6" fmla="*/ 52584 w 56056"/>
                <a:gd name="connsiteY6" fmla="*/ 70939 h 132452"/>
                <a:gd name="connsiteX7" fmla="*/ 46135 w 56056"/>
                <a:gd name="connsiteY7" fmla="*/ 84830 h 132452"/>
                <a:gd name="connsiteX8" fmla="*/ 35717 w 56056"/>
                <a:gd name="connsiteY8" fmla="*/ 97231 h 132452"/>
                <a:gd name="connsiteX9" fmla="*/ 46631 w 56056"/>
                <a:gd name="connsiteY9" fmla="*/ 113602 h 132452"/>
                <a:gd name="connsiteX10" fmla="*/ 52088 w 56056"/>
                <a:gd name="connsiteY10" fmla="*/ 132453 h 13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056" h="132452">
                  <a:moveTo>
                    <a:pt x="0" y="0"/>
                  </a:moveTo>
                  <a:cubicBezTo>
                    <a:pt x="5953" y="0"/>
                    <a:pt x="11410" y="1488"/>
                    <a:pt x="16866" y="3473"/>
                  </a:cubicBezTo>
                  <a:cubicBezTo>
                    <a:pt x="22324" y="5457"/>
                    <a:pt x="28276" y="6945"/>
                    <a:pt x="32741" y="10418"/>
                  </a:cubicBezTo>
                  <a:cubicBezTo>
                    <a:pt x="37206" y="13890"/>
                    <a:pt x="41670" y="18355"/>
                    <a:pt x="45143" y="22820"/>
                  </a:cubicBezTo>
                  <a:cubicBezTo>
                    <a:pt x="48616" y="27284"/>
                    <a:pt x="51096" y="32741"/>
                    <a:pt x="53080" y="38694"/>
                  </a:cubicBezTo>
                  <a:cubicBezTo>
                    <a:pt x="54569" y="44151"/>
                    <a:pt x="56057" y="50104"/>
                    <a:pt x="56057" y="56057"/>
                  </a:cubicBezTo>
                  <a:cubicBezTo>
                    <a:pt x="56057" y="61514"/>
                    <a:pt x="54072" y="66475"/>
                    <a:pt x="52584" y="70939"/>
                  </a:cubicBezTo>
                  <a:cubicBezTo>
                    <a:pt x="51096" y="75900"/>
                    <a:pt x="48616" y="80365"/>
                    <a:pt x="46135" y="84830"/>
                  </a:cubicBezTo>
                  <a:cubicBezTo>
                    <a:pt x="43655" y="89294"/>
                    <a:pt x="39686" y="93759"/>
                    <a:pt x="35717" y="97231"/>
                  </a:cubicBezTo>
                  <a:cubicBezTo>
                    <a:pt x="40182" y="101696"/>
                    <a:pt x="44151" y="107649"/>
                    <a:pt x="46631" y="113602"/>
                  </a:cubicBezTo>
                  <a:cubicBezTo>
                    <a:pt x="49112" y="119555"/>
                    <a:pt x="52088" y="125508"/>
                    <a:pt x="52088" y="1324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4646B6D9-C3FC-CE4E-15E2-DDF9B10C2219}"/>
                </a:ext>
              </a:extLst>
            </p:cNvPr>
            <p:cNvSpPr/>
            <p:nvPr/>
          </p:nvSpPr>
          <p:spPr>
            <a:xfrm>
              <a:off x="3553137" y="2948191"/>
              <a:ext cx="253138" cy="127492"/>
            </a:xfrm>
            <a:custGeom>
              <a:avLst/>
              <a:gdLst>
                <a:gd name="connsiteX0" fmla="*/ 635 w 253138"/>
                <a:gd name="connsiteY0" fmla="*/ 125508 h 127492"/>
                <a:gd name="connsiteX1" fmla="*/ 139 w 253138"/>
                <a:gd name="connsiteY1" fmla="*/ 108641 h 127492"/>
                <a:gd name="connsiteX2" fmla="*/ 5100 w 253138"/>
                <a:gd name="connsiteY2" fmla="*/ 92767 h 127492"/>
                <a:gd name="connsiteX3" fmla="*/ 10557 w 253138"/>
                <a:gd name="connsiteY3" fmla="*/ 77388 h 127492"/>
                <a:gd name="connsiteX4" fmla="*/ 16510 w 253138"/>
                <a:gd name="connsiteY4" fmla="*/ 61514 h 127492"/>
                <a:gd name="connsiteX5" fmla="*/ 25439 w 253138"/>
                <a:gd name="connsiteY5" fmla="*/ 47624 h 127492"/>
                <a:gd name="connsiteX6" fmla="*/ 36353 w 253138"/>
                <a:gd name="connsiteY6" fmla="*/ 35222 h 127492"/>
                <a:gd name="connsiteX7" fmla="*/ 50243 w 253138"/>
                <a:gd name="connsiteY7" fmla="*/ 25796 h 127492"/>
                <a:gd name="connsiteX8" fmla="*/ 63141 w 253138"/>
                <a:gd name="connsiteY8" fmla="*/ 15379 h 127492"/>
                <a:gd name="connsiteX9" fmla="*/ 79015 w 253138"/>
                <a:gd name="connsiteY9" fmla="*/ 9922 h 127492"/>
                <a:gd name="connsiteX10" fmla="*/ 94394 w 253138"/>
                <a:gd name="connsiteY10" fmla="*/ 2977 h 127492"/>
                <a:gd name="connsiteX11" fmla="*/ 110764 w 253138"/>
                <a:gd name="connsiteY11" fmla="*/ 1488 h 127492"/>
                <a:gd name="connsiteX12" fmla="*/ 127135 w 253138"/>
                <a:gd name="connsiteY12" fmla="*/ 0 h 127492"/>
                <a:gd name="connsiteX13" fmla="*/ 143505 w 253138"/>
                <a:gd name="connsiteY13" fmla="*/ 1984 h 127492"/>
                <a:gd name="connsiteX14" fmla="*/ 159876 w 253138"/>
                <a:gd name="connsiteY14" fmla="*/ 3473 h 127492"/>
                <a:gd name="connsiteX15" fmla="*/ 175255 w 253138"/>
                <a:gd name="connsiteY15" fmla="*/ 9922 h 127492"/>
                <a:gd name="connsiteX16" fmla="*/ 190633 w 253138"/>
                <a:gd name="connsiteY16" fmla="*/ 16371 h 127492"/>
                <a:gd name="connsiteX17" fmla="*/ 204523 w 253138"/>
                <a:gd name="connsiteY17" fmla="*/ 25796 h 127492"/>
                <a:gd name="connsiteX18" fmla="*/ 216925 w 253138"/>
                <a:gd name="connsiteY18" fmla="*/ 37206 h 127492"/>
                <a:gd name="connsiteX19" fmla="*/ 226847 w 253138"/>
                <a:gd name="connsiteY19" fmla="*/ 50600 h 127492"/>
                <a:gd name="connsiteX20" fmla="*/ 235776 w 253138"/>
                <a:gd name="connsiteY20" fmla="*/ 64490 h 127492"/>
                <a:gd name="connsiteX21" fmla="*/ 245201 w 253138"/>
                <a:gd name="connsiteY21" fmla="*/ 78380 h 127492"/>
                <a:gd name="connsiteX22" fmla="*/ 249666 w 253138"/>
                <a:gd name="connsiteY22" fmla="*/ 94751 h 127492"/>
                <a:gd name="connsiteX23" fmla="*/ 252643 w 253138"/>
                <a:gd name="connsiteY23" fmla="*/ 111122 h 127492"/>
                <a:gd name="connsiteX24" fmla="*/ 253139 w 253138"/>
                <a:gd name="connsiteY24" fmla="*/ 127492 h 12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53138" h="127492">
                  <a:moveTo>
                    <a:pt x="635" y="125508"/>
                  </a:moveTo>
                  <a:cubicBezTo>
                    <a:pt x="635" y="120051"/>
                    <a:pt x="-357" y="114098"/>
                    <a:pt x="139" y="108641"/>
                  </a:cubicBezTo>
                  <a:cubicBezTo>
                    <a:pt x="635" y="103184"/>
                    <a:pt x="3611" y="98223"/>
                    <a:pt x="5100" y="92767"/>
                  </a:cubicBezTo>
                  <a:cubicBezTo>
                    <a:pt x="6588" y="87310"/>
                    <a:pt x="8076" y="82349"/>
                    <a:pt x="10557" y="77388"/>
                  </a:cubicBezTo>
                  <a:cubicBezTo>
                    <a:pt x="12541" y="72428"/>
                    <a:pt x="13533" y="66475"/>
                    <a:pt x="16510" y="61514"/>
                  </a:cubicBezTo>
                  <a:cubicBezTo>
                    <a:pt x="19486" y="56553"/>
                    <a:pt x="21966" y="51592"/>
                    <a:pt x="25439" y="47624"/>
                  </a:cubicBezTo>
                  <a:cubicBezTo>
                    <a:pt x="28912" y="43159"/>
                    <a:pt x="32880" y="39190"/>
                    <a:pt x="36353" y="35222"/>
                  </a:cubicBezTo>
                  <a:cubicBezTo>
                    <a:pt x="40321" y="31253"/>
                    <a:pt x="45778" y="28772"/>
                    <a:pt x="50243" y="25796"/>
                  </a:cubicBezTo>
                  <a:cubicBezTo>
                    <a:pt x="54707" y="22324"/>
                    <a:pt x="58180" y="17859"/>
                    <a:pt x="63141" y="15379"/>
                  </a:cubicBezTo>
                  <a:cubicBezTo>
                    <a:pt x="68102" y="12402"/>
                    <a:pt x="73559" y="11906"/>
                    <a:pt x="79015" y="9922"/>
                  </a:cubicBezTo>
                  <a:cubicBezTo>
                    <a:pt x="83976" y="7937"/>
                    <a:pt x="88937" y="4465"/>
                    <a:pt x="94394" y="2977"/>
                  </a:cubicBezTo>
                  <a:cubicBezTo>
                    <a:pt x="99851" y="1488"/>
                    <a:pt x="105307" y="1984"/>
                    <a:pt x="110764" y="1488"/>
                  </a:cubicBezTo>
                  <a:cubicBezTo>
                    <a:pt x="116221" y="992"/>
                    <a:pt x="121678" y="0"/>
                    <a:pt x="127135" y="0"/>
                  </a:cubicBezTo>
                  <a:cubicBezTo>
                    <a:pt x="132592" y="0"/>
                    <a:pt x="138049" y="992"/>
                    <a:pt x="143505" y="1984"/>
                  </a:cubicBezTo>
                  <a:cubicBezTo>
                    <a:pt x="148962" y="2480"/>
                    <a:pt x="154915" y="1984"/>
                    <a:pt x="159876" y="3473"/>
                  </a:cubicBezTo>
                  <a:cubicBezTo>
                    <a:pt x="165333" y="4961"/>
                    <a:pt x="170294" y="7441"/>
                    <a:pt x="175255" y="9922"/>
                  </a:cubicBezTo>
                  <a:cubicBezTo>
                    <a:pt x="180215" y="11906"/>
                    <a:pt x="185672" y="13890"/>
                    <a:pt x="190633" y="16371"/>
                  </a:cubicBezTo>
                  <a:cubicBezTo>
                    <a:pt x="195594" y="19347"/>
                    <a:pt x="200058" y="22324"/>
                    <a:pt x="204523" y="25796"/>
                  </a:cubicBezTo>
                  <a:cubicBezTo>
                    <a:pt x="208988" y="29269"/>
                    <a:pt x="212956" y="33237"/>
                    <a:pt x="216925" y="37206"/>
                  </a:cubicBezTo>
                  <a:cubicBezTo>
                    <a:pt x="220894" y="41174"/>
                    <a:pt x="223374" y="46135"/>
                    <a:pt x="226847" y="50600"/>
                  </a:cubicBezTo>
                  <a:cubicBezTo>
                    <a:pt x="230319" y="55065"/>
                    <a:pt x="232800" y="59529"/>
                    <a:pt x="235776" y="64490"/>
                  </a:cubicBezTo>
                  <a:cubicBezTo>
                    <a:pt x="238753" y="69451"/>
                    <a:pt x="243217" y="73419"/>
                    <a:pt x="245201" y="78380"/>
                  </a:cubicBezTo>
                  <a:cubicBezTo>
                    <a:pt x="247186" y="83341"/>
                    <a:pt x="248178" y="89294"/>
                    <a:pt x="249666" y="94751"/>
                  </a:cubicBezTo>
                  <a:cubicBezTo>
                    <a:pt x="251154" y="100208"/>
                    <a:pt x="252147" y="105665"/>
                    <a:pt x="252643" y="111122"/>
                  </a:cubicBezTo>
                  <a:cubicBezTo>
                    <a:pt x="253139" y="116578"/>
                    <a:pt x="253139" y="122035"/>
                    <a:pt x="253139" y="1274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4" name="Freeform: Shape 1423">
              <a:extLst>
                <a:ext uri="{FF2B5EF4-FFF2-40B4-BE49-F238E27FC236}">
                  <a16:creationId xmlns:a16="http://schemas.microsoft.com/office/drawing/2014/main" id="{6B205E38-2F09-927D-9B35-00C9DF867DD9}"/>
                </a:ext>
              </a:extLst>
            </p:cNvPr>
            <p:cNvSpPr/>
            <p:nvPr/>
          </p:nvSpPr>
          <p:spPr>
            <a:xfrm>
              <a:off x="5130769" y="3592758"/>
              <a:ext cx="672715" cy="887817"/>
            </a:xfrm>
            <a:custGeom>
              <a:avLst/>
              <a:gdLst>
                <a:gd name="connsiteX0" fmla="*/ 672716 w 672715"/>
                <a:gd name="connsiteY0" fmla="*/ 24642 h 887817"/>
                <a:gd name="connsiteX1" fmla="*/ 656346 w 672715"/>
                <a:gd name="connsiteY1" fmla="*/ 23154 h 887817"/>
                <a:gd name="connsiteX2" fmla="*/ 640471 w 672715"/>
                <a:gd name="connsiteY2" fmla="*/ 20177 h 887817"/>
                <a:gd name="connsiteX3" fmla="*/ 624101 w 672715"/>
                <a:gd name="connsiteY3" fmla="*/ 18689 h 887817"/>
                <a:gd name="connsiteX4" fmla="*/ 608226 w 672715"/>
                <a:gd name="connsiteY4" fmla="*/ 14720 h 887817"/>
                <a:gd name="connsiteX5" fmla="*/ 591856 w 672715"/>
                <a:gd name="connsiteY5" fmla="*/ 13232 h 887817"/>
                <a:gd name="connsiteX6" fmla="*/ 571020 w 672715"/>
                <a:gd name="connsiteY6" fmla="*/ 11248 h 887817"/>
                <a:gd name="connsiteX7" fmla="*/ 554153 w 672715"/>
                <a:gd name="connsiteY7" fmla="*/ 13728 h 887817"/>
                <a:gd name="connsiteX8" fmla="*/ 539767 w 672715"/>
                <a:gd name="connsiteY8" fmla="*/ 17696 h 887817"/>
                <a:gd name="connsiteX9" fmla="*/ 525381 w 672715"/>
                <a:gd name="connsiteY9" fmla="*/ 20673 h 887817"/>
                <a:gd name="connsiteX10" fmla="*/ 510499 w 672715"/>
                <a:gd name="connsiteY10" fmla="*/ 21169 h 887817"/>
                <a:gd name="connsiteX11" fmla="*/ 496112 w 672715"/>
                <a:gd name="connsiteY11" fmla="*/ 18689 h 887817"/>
                <a:gd name="connsiteX12" fmla="*/ 480734 w 672715"/>
                <a:gd name="connsiteY12" fmla="*/ 17696 h 887817"/>
                <a:gd name="connsiteX13" fmla="*/ 465852 w 672715"/>
                <a:gd name="connsiteY13" fmla="*/ 19185 h 887817"/>
                <a:gd name="connsiteX14" fmla="*/ 451961 w 672715"/>
                <a:gd name="connsiteY14" fmla="*/ 25634 h 887817"/>
                <a:gd name="connsiteX15" fmla="*/ 447497 w 672715"/>
                <a:gd name="connsiteY15" fmla="*/ 40516 h 887817"/>
                <a:gd name="connsiteX16" fmla="*/ 432614 w 672715"/>
                <a:gd name="connsiteY16" fmla="*/ 31587 h 887817"/>
                <a:gd name="connsiteX17" fmla="*/ 419220 w 672715"/>
                <a:gd name="connsiteY17" fmla="*/ 21665 h 887817"/>
                <a:gd name="connsiteX18" fmla="*/ 403842 w 672715"/>
                <a:gd name="connsiteY18" fmla="*/ 13232 h 887817"/>
                <a:gd name="connsiteX19" fmla="*/ 397393 w 672715"/>
                <a:gd name="connsiteY19" fmla="*/ 30098 h 887817"/>
                <a:gd name="connsiteX20" fmla="*/ 393424 w 672715"/>
                <a:gd name="connsiteY20" fmla="*/ 16704 h 887817"/>
                <a:gd name="connsiteX21" fmla="*/ 380030 w 672715"/>
                <a:gd name="connsiteY21" fmla="*/ 8767 h 887817"/>
                <a:gd name="connsiteX22" fmla="*/ 364156 w 672715"/>
                <a:gd name="connsiteY22" fmla="*/ 4302 h 887817"/>
                <a:gd name="connsiteX23" fmla="*/ 347785 w 672715"/>
                <a:gd name="connsiteY23" fmla="*/ 1326 h 887817"/>
                <a:gd name="connsiteX24" fmla="*/ 331415 w 672715"/>
                <a:gd name="connsiteY24" fmla="*/ 2318 h 887817"/>
                <a:gd name="connsiteX25" fmla="*/ 315044 w 672715"/>
                <a:gd name="connsiteY25" fmla="*/ 3310 h 887817"/>
                <a:gd name="connsiteX26" fmla="*/ 298177 w 672715"/>
                <a:gd name="connsiteY26" fmla="*/ 1326 h 887817"/>
                <a:gd name="connsiteX27" fmla="*/ 280815 w 672715"/>
                <a:gd name="connsiteY27" fmla="*/ 334 h 887817"/>
                <a:gd name="connsiteX28" fmla="*/ 263948 w 672715"/>
                <a:gd name="connsiteY28" fmla="*/ 5295 h 887817"/>
                <a:gd name="connsiteX29" fmla="*/ 247081 w 672715"/>
                <a:gd name="connsiteY29" fmla="*/ 9759 h 887817"/>
                <a:gd name="connsiteX30" fmla="*/ 230711 w 672715"/>
                <a:gd name="connsiteY30" fmla="*/ 15712 h 887817"/>
                <a:gd name="connsiteX31" fmla="*/ 214340 w 672715"/>
                <a:gd name="connsiteY31" fmla="*/ 21665 h 887817"/>
                <a:gd name="connsiteX32" fmla="*/ 200450 w 672715"/>
                <a:gd name="connsiteY32" fmla="*/ 13232 h 887817"/>
                <a:gd name="connsiteX33" fmla="*/ 184079 w 672715"/>
                <a:gd name="connsiteY33" fmla="*/ 13232 h 887817"/>
                <a:gd name="connsiteX34" fmla="*/ 167709 w 672715"/>
                <a:gd name="connsiteY34" fmla="*/ 13728 h 887817"/>
                <a:gd name="connsiteX35" fmla="*/ 151834 w 672715"/>
                <a:gd name="connsiteY35" fmla="*/ 17201 h 887817"/>
                <a:gd name="connsiteX36" fmla="*/ 136952 w 672715"/>
                <a:gd name="connsiteY36" fmla="*/ 17201 h 887817"/>
                <a:gd name="connsiteX37" fmla="*/ 122566 w 672715"/>
                <a:gd name="connsiteY37" fmla="*/ 14224 h 887817"/>
                <a:gd name="connsiteX38" fmla="*/ 108180 w 672715"/>
                <a:gd name="connsiteY38" fmla="*/ 11248 h 887817"/>
                <a:gd name="connsiteX39" fmla="*/ 93793 w 672715"/>
                <a:gd name="connsiteY39" fmla="*/ 7775 h 887817"/>
                <a:gd name="connsiteX40" fmla="*/ 72958 w 672715"/>
                <a:gd name="connsiteY40" fmla="*/ 6287 h 887817"/>
                <a:gd name="connsiteX41" fmla="*/ 57580 w 672715"/>
                <a:gd name="connsiteY41" fmla="*/ 11743 h 887817"/>
                <a:gd name="connsiteX42" fmla="*/ 41705 w 672715"/>
                <a:gd name="connsiteY42" fmla="*/ 10255 h 887817"/>
                <a:gd name="connsiteX43" fmla="*/ 25334 w 672715"/>
                <a:gd name="connsiteY43" fmla="*/ 7279 h 887817"/>
                <a:gd name="connsiteX44" fmla="*/ 9956 w 672715"/>
                <a:gd name="connsiteY44" fmla="*/ 9263 h 887817"/>
                <a:gd name="connsiteX45" fmla="*/ 34 w 672715"/>
                <a:gd name="connsiteY45" fmla="*/ 20673 h 887817"/>
                <a:gd name="connsiteX46" fmla="*/ 13925 w 672715"/>
                <a:gd name="connsiteY46" fmla="*/ 34563 h 887817"/>
                <a:gd name="connsiteX47" fmla="*/ 27319 w 672715"/>
                <a:gd name="connsiteY47" fmla="*/ 42997 h 887817"/>
                <a:gd name="connsiteX48" fmla="*/ 42201 w 672715"/>
                <a:gd name="connsiteY48" fmla="*/ 48949 h 887817"/>
                <a:gd name="connsiteX49" fmla="*/ 57580 w 672715"/>
                <a:gd name="connsiteY49" fmla="*/ 53910 h 887817"/>
                <a:gd name="connsiteX50" fmla="*/ 73454 w 672715"/>
                <a:gd name="connsiteY50" fmla="*/ 56390 h 887817"/>
                <a:gd name="connsiteX51" fmla="*/ 88832 w 672715"/>
                <a:gd name="connsiteY51" fmla="*/ 60855 h 887817"/>
                <a:gd name="connsiteX52" fmla="*/ 104211 w 672715"/>
                <a:gd name="connsiteY52" fmla="*/ 63832 h 887817"/>
                <a:gd name="connsiteX53" fmla="*/ 104707 w 672715"/>
                <a:gd name="connsiteY53" fmla="*/ 78714 h 887817"/>
                <a:gd name="connsiteX54" fmla="*/ 116613 w 672715"/>
                <a:gd name="connsiteY54" fmla="*/ 89628 h 887817"/>
                <a:gd name="connsiteX55" fmla="*/ 131991 w 672715"/>
                <a:gd name="connsiteY55" fmla="*/ 96077 h 887817"/>
                <a:gd name="connsiteX56" fmla="*/ 145385 w 672715"/>
                <a:gd name="connsiteY56" fmla="*/ 105502 h 887817"/>
                <a:gd name="connsiteX57" fmla="*/ 146874 w 672715"/>
                <a:gd name="connsiteY57" fmla="*/ 112943 h 887817"/>
                <a:gd name="connsiteX58" fmla="*/ 152330 w 672715"/>
                <a:gd name="connsiteY58" fmla="*/ 127826 h 887817"/>
                <a:gd name="connsiteX59" fmla="*/ 164236 w 672715"/>
                <a:gd name="connsiteY59" fmla="*/ 142212 h 887817"/>
                <a:gd name="connsiteX60" fmla="*/ 179119 w 672715"/>
                <a:gd name="connsiteY60" fmla="*/ 152134 h 887817"/>
                <a:gd name="connsiteX61" fmla="*/ 196481 w 672715"/>
                <a:gd name="connsiteY61" fmla="*/ 152630 h 887817"/>
                <a:gd name="connsiteX62" fmla="*/ 203923 w 672715"/>
                <a:gd name="connsiteY62" fmla="*/ 141220 h 887817"/>
                <a:gd name="connsiteX63" fmla="*/ 207891 w 672715"/>
                <a:gd name="connsiteY63" fmla="*/ 127826 h 887817"/>
                <a:gd name="connsiteX64" fmla="*/ 215828 w 672715"/>
                <a:gd name="connsiteY64" fmla="*/ 116416 h 887817"/>
                <a:gd name="connsiteX65" fmla="*/ 228230 w 672715"/>
                <a:gd name="connsiteY65" fmla="*/ 107487 h 887817"/>
                <a:gd name="connsiteX66" fmla="*/ 242617 w 672715"/>
                <a:gd name="connsiteY66" fmla="*/ 103022 h 887817"/>
                <a:gd name="connsiteX67" fmla="*/ 257995 w 672715"/>
                <a:gd name="connsiteY67" fmla="*/ 101038 h 887817"/>
                <a:gd name="connsiteX68" fmla="*/ 273373 w 672715"/>
                <a:gd name="connsiteY68" fmla="*/ 104014 h 887817"/>
                <a:gd name="connsiteX69" fmla="*/ 287760 w 672715"/>
                <a:gd name="connsiteY69" fmla="*/ 109471 h 887817"/>
                <a:gd name="connsiteX70" fmla="*/ 301650 w 672715"/>
                <a:gd name="connsiteY70" fmla="*/ 116416 h 887817"/>
                <a:gd name="connsiteX71" fmla="*/ 314548 w 672715"/>
                <a:gd name="connsiteY71" fmla="*/ 124353 h 887817"/>
                <a:gd name="connsiteX72" fmla="*/ 313060 w 672715"/>
                <a:gd name="connsiteY72" fmla="*/ 144693 h 887817"/>
                <a:gd name="connsiteX73" fmla="*/ 323973 w 672715"/>
                <a:gd name="connsiteY73" fmla="*/ 151142 h 887817"/>
                <a:gd name="connsiteX74" fmla="*/ 334887 w 672715"/>
                <a:gd name="connsiteY74" fmla="*/ 157095 h 887817"/>
                <a:gd name="connsiteX75" fmla="*/ 340840 w 672715"/>
                <a:gd name="connsiteY75" fmla="*/ 168504 h 887817"/>
                <a:gd name="connsiteX76" fmla="*/ 346793 w 672715"/>
                <a:gd name="connsiteY76" fmla="*/ 180410 h 887817"/>
                <a:gd name="connsiteX77" fmla="*/ 364156 w 672715"/>
                <a:gd name="connsiteY77" fmla="*/ 193308 h 887817"/>
                <a:gd name="connsiteX78" fmla="*/ 359195 w 672715"/>
                <a:gd name="connsiteY78" fmla="*/ 206702 h 887817"/>
                <a:gd name="connsiteX79" fmla="*/ 353242 w 672715"/>
                <a:gd name="connsiteY79" fmla="*/ 220096 h 887817"/>
                <a:gd name="connsiteX80" fmla="*/ 358203 w 672715"/>
                <a:gd name="connsiteY80" fmla="*/ 234483 h 887817"/>
                <a:gd name="connsiteX81" fmla="*/ 370109 w 672715"/>
                <a:gd name="connsiteY81" fmla="*/ 244404 h 887817"/>
                <a:gd name="connsiteX82" fmla="*/ 382511 w 672715"/>
                <a:gd name="connsiteY82" fmla="*/ 253830 h 887817"/>
                <a:gd name="connsiteX83" fmla="*/ 394416 w 672715"/>
                <a:gd name="connsiteY83" fmla="*/ 263751 h 887817"/>
                <a:gd name="connsiteX84" fmla="*/ 396897 w 672715"/>
                <a:gd name="connsiteY84" fmla="*/ 278634 h 887817"/>
                <a:gd name="connsiteX85" fmla="*/ 386975 w 672715"/>
                <a:gd name="connsiteY85" fmla="*/ 293516 h 887817"/>
                <a:gd name="connsiteX86" fmla="*/ 382511 w 672715"/>
                <a:gd name="connsiteY86" fmla="*/ 309887 h 887817"/>
                <a:gd name="connsiteX87" fmla="*/ 394416 w 672715"/>
                <a:gd name="connsiteY87" fmla="*/ 313855 h 887817"/>
                <a:gd name="connsiteX88" fmla="*/ 410787 w 672715"/>
                <a:gd name="connsiteY88" fmla="*/ 313359 h 887817"/>
                <a:gd name="connsiteX89" fmla="*/ 426661 w 672715"/>
                <a:gd name="connsiteY89" fmla="*/ 316335 h 887817"/>
                <a:gd name="connsiteX90" fmla="*/ 443032 w 672715"/>
                <a:gd name="connsiteY90" fmla="*/ 317824 h 887817"/>
                <a:gd name="connsiteX91" fmla="*/ 459403 w 672715"/>
                <a:gd name="connsiteY91" fmla="*/ 318816 h 887817"/>
                <a:gd name="connsiteX92" fmla="*/ 449977 w 672715"/>
                <a:gd name="connsiteY92" fmla="*/ 332706 h 887817"/>
                <a:gd name="connsiteX93" fmla="*/ 446504 w 672715"/>
                <a:gd name="connsiteY93" fmla="*/ 349076 h 887817"/>
                <a:gd name="connsiteX94" fmla="*/ 447497 w 672715"/>
                <a:gd name="connsiteY94" fmla="*/ 365447 h 887817"/>
                <a:gd name="connsiteX95" fmla="*/ 451465 w 672715"/>
                <a:gd name="connsiteY95" fmla="*/ 381818 h 887817"/>
                <a:gd name="connsiteX96" fmla="*/ 462379 w 672715"/>
                <a:gd name="connsiteY96" fmla="*/ 394220 h 887817"/>
                <a:gd name="connsiteX97" fmla="*/ 477261 w 672715"/>
                <a:gd name="connsiteY97" fmla="*/ 406125 h 887817"/>
                <a:gd name="connsiteX98" fmla="*/ 485695 w 672715"/>
                <a:gd name="connsiteY98" fmla="*/ 422000 h 887817"/>
                <a:gd name="connsiteX99" fmla="*/ 494128 w 672715"/>
                <a:gd name="connsiteY99" fmla="*/ 433906 h 887817"/>
                <a:gd name="connsiteX100" fmla="*/ 507026 w 672715"/>
                <a:gd name="connsiteY100" fmla="*/ 441347 h 887817"/>
                <a:gd name="connsiteX101" fmla="*/ 519428 w 672715"/>
                <a:gd name="connsiteY101" fmla="*/ 448788 h 887817"/>
                <a:gd name="connsiteX102" fmla="*/ 533814 w 672715"/>
                <a:gd name="connsiteY102" fmla="*/ 454245 h 887817"/>
                <a:gd name="connsiteX103" fmla="*/ 528357 w 672715"/>
                <a:gd name="connsiteY103" fmla="*/ 472104 h 887817"/>
                <a:gd name="connsiteX104" fmla="*/ 526373 w 672715"/>
                <a:gd name="connsiteY104" fmla="*/ 489963 h 887817"/>
                <a:gd name="connsiteX105" fmla="*/ 522405 w 672715"/>
                <a:gd name="connsiteY105" fmla="*/ 507325 h 887817"/>
                <a:gd name="connsiteX106" fmla="*/ 519924 w 672715"/>
                <a:gd name="connsiteY106" fmla="*/ 523696 h 887817"/>
                <a:gd name="connsiteX107" fmla="*/ 524389 w 672715"/>
                <a:gd name="connsiteY107" fmla="*/ 536594 h 887817"/>
                <a:gd name="connsiteX108" fmla="*/ 530838 w 672715"/>
                <a:gd name="connsiteY108" fmla="*/ 548500 h 887817"/>
                <a:gd name="connsiteX109" fmla="*/ 536791 w 672715"/>
                <a:gd name="connsiteY109" fmla="*/ 562886 h 887817"/>
                <a:gd name="connsiteX110" fmla="*/ 540263 w 672715"/>
                <a:gd name="connsiteY110" fmla="*/ 578265 h 887817"/>
                <a:gd name="connsiteX111" fmla="*/ 542744 w 672715"/>
                <a:gd name="connsiteY111" fmla="*/ 593643 h 887817"/>
                <a:gd name="connsiteX112" fmla="*/ 542744 w 672715"/>
                <a:gd name="connsiteY112" fmla="*/ 609021 h 887817"/>
                <a:gd name="connsiteX113" fmla="*/ 544728 w 672715"/>
                <a:gd name="connsiteY113" fmla="*/ 624400 h 887817"/>
                <a:gd name="connsiteX114" fmla="*/ 544728 w 672715"/>
                <a:gd name="connsiteY114" fmla="*/ 639778 h 887817"/>
                <a:gd name="connsiteX115" fmla="*/ 545224 w 672715"/>
                <a:gd name="connsiteY115" fmla="*/ 655157 h 887817"/>
                <a:gd name="connsiteX116" fmla="*/ 548200 w 672715"/>
                <a:gd name="connsiteY116" fmla="*/ 670535 h 887817"/>
                <a:gd name="connsiteX117" fmla="*/ 551673 w 672715"/>
                <a:gd name="connsiteY117" fmla="*/ 685418 h 887817"/>
                <a:gd name="connsiteX118" fmla="*/ 557626 w 672715"/>
                <a:gd name="connsiteY118" fmla="*/ 699804 h 887817"/>
                <a:gd name="connsiteX119" fmla="*/ 566059 w 672715"/>
                <a:gd name="connsiteY119" fmla="*/ 713198 h 887817"/>
                <a:gd name="connsiteX120" fmla="*/ 576973 w 672715"/>
                <a:gd name="connsiteY120" fmla="*/ 724112 h 887817"/>
                <a:gd name="connsiteX121" fmla="*/ 587887 w 672715"/>
                <a:gd name="connsiteY121" fmla="*/ 735025 h 887817"/>
                <a:gd name="connsiteX122" fmla="*/ 595328 w 672715"/>
                <a:gd name="connsiteY122" fmla="*/ 748419 h 887817"/>
                <a:gd name="connsiteX123" fmla="*/ 583918 w 672715"/>
                <a:gd name="connsiteY123" fmla="*/ 769751 h 887817"/>
                <a:gd name="connsiteX124" fmla="*/ 590863 w 672715"/>
                <a:gd name="connsiteY124" fmla="*/ 791082 h 887817"/>
                <a:gd name="connsiteX125" fmla="*/ 601281 w 672715"/>
                <a:gd name="connsiteY125" fmla="*/ 802492 h 887817"/>
                <a:gd name="connsiteX126" fmla="*/ 608226 w 672715"/>
                <a:gd name="connsiteY126" fmla="*/ 816382 h 887817"/>
                <a:gd name="connsiteX127" fmla="*/ 616659 w 672715"/>
                <a:gd name="connsiteY127" fmla="*/ 829280 h 887817"/>
                <a:gd name="connsiteX128" fmla="*/ 621124 w 672715"/>
                <a:gd name="connsiteY128" fmla="*/ 844162 h 887817"/>
                <a:gd name="connsiteX129" fmla="*/ 626085 w 672715"/>
                <a:gd name="connsiteY129" fmla="*/ 858549 h 887817"/>
                <a:gd name="connsiteX130" fmla="*/ 632038 w 672715"/>
                <a:gd name="connsiteY130" fmla="*/ 872935 h 887817"/>
                <a:gd name="connsiteX131" fmla="*/ 635510 w 672715"/>
                <a:gd name="connsiteY131" fmla="*/ 887817 h 88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672715" h="887817">
                  <a:moveTo>
                    <a:pt x="672716" y="24642"/>
                  </a:moveTo>
                  <a:cubicBezTo>
                    <a:pt x="667259" y="23649"/>
                    <a:pt x="661802" y="23649"/>
                    <a:pt x="656346" y="23154"/>
                  </a:cubicBezTo>
                  <a:cubicBezTo>
                    <a:pt x="650889" y="22161"/>
                    <a:pt x="645432" y="21169"/>
                    <a:pt x="640471" y="20177"/>
                  </a:cubicBezTo>
                  <a:cubicBezTo>
                    <a:pt x="635014" y="19185"/>
                    <a:pt x="629557" y="19681"/>
                    <a:pt x="624101" y="18689"/>
                  </a:cubicBezTo>
                  <a:cubicBezTo>
                    <a:pt x="618644" y="17696"/>
                    <a:pt x="613683" y="15712"/>
                    <a:pt x="608226" y="14720"/>
                  </a:cubicBezTo>
                  <a:cubicBezTo>
                    <a:pt x="602769" y="13728"/>
                    <a:pt x="597312" y="14224"/>
                    <a:pt x="591856" y="13232"/>
                  </a:cubicBezTo>
                  <a:cubicBezTo>
                    <a:pt x="584910" y="12240"/>
                    <a:pt x="577965" y="10752"/>
                    <a:pt x="571020" y="11248"/>
                  </a:cubicBezTo>
                  <a:cubicBezTo>
                    <a:pt x="565563" y="11743"/>
                    <a:pt x="560106" y="13232"/>
                    <a:pt x="554153" y="13728"/>
                  </a:cubicBezTo>
                  <a:cubicBezTo>
                    <a:pt x="549193" y="14224"/>
                    <a:pt x="544728" y="16704"/>
                    <a:pt x="539767" y="17696"/>
                  </a:cubicBezTo>
                  <a:cubicBezTo>
                    <a:pt x="534807" y="18689"/>
                    <a:pt x="529846" y="19681"/>
                    <a:pt x="525381" y="20673"/>
                  </a:cubicBezTo>
                  <a:cubicBezTo>
                    <a:pt x="520420" y="21665"/>
                    <a:pt x="515459" y="21169"/>
                    <a:pt x="510499" y="21169"/>
                  </a:cubicBezTo>
                  <a:cubicBezTo>
                    <a:pt x="505538" y="21169"/>
                    <a:pt x="501073" y="20673"/>
                    <a:pt x="496112" y="18689"/>
                  </a:cubicBezTo>
                  <a:cubicBezTo>
                    <a:pt x="491648" y="17201"/>
                    <a:pt x="486191" y="17696"/>
                    <a:pt x="480734" y="17696"/>
                  </a:cubicBezTo>
                  <a:cubicBezTo>
                    <a:pt x="475773" y="17696"/>
                    <a:pt x="470316" y="17696"/>
                    <a:pt x="465852" y="19185"/>
                  </a:cubicBezTo>
                  <a:cubicBezTo>
                    <a:pt x="460891" y="20673"/>
                    <a:pt x="454938" y="22161"/>
                    <a:pt x="451961" y="25634"/>
                  </a:cubicBezTo>
                  <a:cubicBezTo>
                    <a:pt x="448489" y="29106"/>
                    <a:pt x="447497" y="35059"/>
                    <a:pt x="447497" y="40516"/>
                  </a:cubicBezTo>
                  <a:cubicBezTo>
                    <a:pt x="442536" y="37540"/>
                    <a:pt x="437575" y="34563"/>
                    <a:pt x="432614" y="31587"/>
                  </a:cubicBezTo>
                  <a:cubicBezTo>
                    <a:pt x="427654" y="28610"/>
                    <a:pt x="423685" y="24642"/>
                    <a:pt x="419220" y="21665"/>
                  </a:cubicBezTo>
                  <a:cubicBezTo>
                    <a:pt x="414259" y="18689"/>
                    <a:pt x="408803" y="15712"/>
                    <a:pt x="403842" y="13232"/>
                  </a:cubicBezTo>
                  <a:cubicBezTo>
                    <a:pt x="401361" y="18689"/>
                    <a:pt x="399873" y="24642"/>
                    <a:pt x="397393" y="30098"/>
                  </a:cubicBezTo>
                  <a:cubicBezTo>
                    <a:pt x="400866" y="25138"/>
                    <a:pt x="397889" y="21169"/>
                    <a:pt x="393424" y="16704"/>
                  </a:cubicBezTo>
                  <a:cubicBezTo>
                    <a:pt x="389952" y="12736"/>
                    <a:pt x="384991" y="10255"/>
                    <a:pt x="380030" y="8767"/>
                  </a:cubicBezTo>
                  <a:cubicBezTo>
                    <a:pt x="374573" y="7279"/>
                    <a:pt x="369612" y="5295"/>
                    <a:pt x="364156" y="4302"/>
                  </a:cubicBezTo>
                  <a:cubicBezTo>
                    <a:pt x="358699" y="3310"/>
                    <a:pt x="353242" y="1326"/>
                    <a:pt x="347785" y="1326"/>
                  </a:cubicBezTo>
                  <a:cubicBezTo>
                    <a:pt x="342328" y="830"/>
                    <a:pt x="336871" y="2318"/>
                    <a:pt x="331415" y="2318"/>
                  </a:cubicBezTo>
                  <a:cubicBezTo>
                    <a:pt x="325958" y="2814"/>
                    <a:pt x="320501" y="2318"/>
                    <a:pt x="315044" y="3310"/>
                  </a:cubicBezTo>
                  <a:cubicBezTo>
                    <a:pt x="309587" y="1326"/>
                    <a:pt x="303634" y="1822"/>
                    <a:pt x="298177" y="1326"/>
                  </a:cubicBezTo>
                  <a:cubicBezTo>
                    <a:pt x="292720" y="830"/>
                    <a:pt x="286768" y="-658"/>
                    <a:pt x="280815" y="334"/>
                  </a:cubicBezTo>
                  <a:cubicBezTo>
                    <a:pt x="275358" y="1326"/>
                    <a:pt x="269901" y="3806"/>
                    <a:pt x="263948" y="5295"/>
                  </a:cubicBezTo>
                  <a:cubicBezTo>
                    <a:pt x="258491" y="6783"/>
                    <a:pt x="252538" y="7775"/>
                    <a:pt x="247081" y="9759"/>
                  </a:cubicBezTo>
                  <a:cubicBezTo>
                    <a:pt x="241624" y="11743"/>
                    <a:pt x="236168" y="13728"/>
                    <a:pt x="230711" y="15712"/>
                  </a:cubicBezTo>
                  <a:cubicBezTo>
                    <a:pt x="225254" y="17696"/>
                    <a:pt x="219797" y="20177"/>
                    <a:pt x="214340" y="21665"/>
                  </a:cubicBezTo>
                  <a:cubicBezTo>
                    <a:pt x="210371" y="17696"/>
                    <a:pt x="205411" y="14720"/>
                    <a:pt x="200450" y="13232"/>
                  </a:cubicBezTo>
                  <a:cubicBezTo>
                    <a:pt x="195489" y="12240"/>
                    <a:pt x="190032" y="12736"/>
                    <a:pt x="184079" y="13232"/>
                  </a:cubicBezTo>
                  <a:cubicBezTo>
                    <a:pt x="178622" y="13728"/>
                    <a:pt x="173166" y="12736"/>
                    <a:pt x="167709" y="13728"/>
                  </a:cubicBezTo>
                  <a:cubicBezTo>
                    <a:pt x="162252" y="14720"/>
                    <a:pt x="156795" y="16704"/>
                    <a:pt x="151834" y="17201"/>
                  </a:cubicBezTo>
                  <a:cubicBezTo>
                    <a:pt x="146874" y="17696"/>
                    <a:pt x="141913" y="17696"/>
                    <a:pt x="136952" y="17201"/>
                  </a:cubicBezTo>
                  <a:cubicBezTo>
                    <a:pt x="131991" y="16704"/>
                    <a:pt x="127526" y="14720"/>
                    <a:pt x="122566" y="14224"/>
                  </a:cubicBezTo>
                  <a:cubicBezTo>
                    <a:pt x="117605" y="13232"/>
                    <a:pt x="113140" y="12240"/>
                    <a:pt x="108180" y="11248"/>
                  </a:cubicBezTo>
                  <a:cubicBezTo>
                    <a:pt x="103219" y="10255"/>
                    <a:pt x="98754" y="9263"/>
                    <a:pt x="93793" y="7775"/>
                  </a:cubicBezTo>
                  <a:cubicBezTo>
                    <a:pt x="86848" y="5791"/>
                    <a:pt x="79903" y="4799"/>
                    <a:pt x="72958" y="6287"/>
                  </a:cubicBezTo>
                  <a:cubicBezTo>
                    <a:pt x="67501" y="7775"/>
                    <a:pt x="62540" y="10255"/>
                    <a:pt x="57580" y="11743"/>
                  </a:cubicBezTo>
                  <a:cubicBezTo>
                    <a:pt x="52122" y="13232"/>
                    <a:pt x="47162" y="11743"/>
                    <a:pt x="41705" y="10255"/>
                  </a:cubicBezTo>
                  <a:cubicBezTo>
                    <a:pt x="36248" y="8767"/>
                    <a:pt x="30791" y="8767"/>
                    <a:pt x="25334" y="7279"/>
                  </a:cubicBezTo>
                  <a:cubicBezTo>
                    <a:pt x="20374" y="6287"/>
                    <a:pt x="14917" y="7279"/>
                    <a:pt x="9956" y="9263"/>
                  </a:cubicBezTo>
                  <a:cubicBezTo>
                    <a:pt x="4499" y="11743"/>
                    <a:pt x="-462" y="15216"/>
                    <a:pt x="34" y="20673"/>
                  </a:cubicBezTo>
                  <a:cubicBezTo>
                    <a:pt x="531" y="27122"/>
                    <a:pt x="7972" y="31091"/>
                    <a:pt x="13925" y="34563"/>
                  </a:cubicBezTo>
                  <a:cubicBezTo>
                    <a:pt x="18389" y="37044"/>
                    <a:pt x="22854" y="41012"/>
                    <a:pt x="27319" y="42997"/>
                  </a:cubicBezTo>
                  <a:cubicBezTo>
                    <a:pt x="32279" y="44981"/>
                    <a:pt x="37240" y="47461"/>
                    <a:pt x="42201" y="48949"/>
                  </a:cubicBezTo>
                  <a:cubicBezTo>
                    <a:pt x="47162" y="50934"/>
                    <a:pt x="52122" y="52422"/>
                    <a:pt x="57580" y="53910"/>
                  </a:cubicBezTo>
                  <a:cubicBezTo>
                    <a:pt x="62540" y="55399"/>
                    <a:pt x="67997" y="55399"/>
                    <a:pt x="73454" y="56390"/>
                  </a:cubicBezTo>
                  <a:cubicBezTo>
                    <a:pt x="78415" y="57383"/>
                    <a:pt x="83376" y="59863"/>
                    <a:pt x="88832" y="60855"/>
                  </a:cubicBezTo>
                  <a:cubicBezTo>
                    <a:pt x="93793" y="61848"/>
                    <a:pt x="98754" y="62840"/>
                    <a:pt x="104211" y="63832"/>
                  </a:cubicBezTo>
                  <a:cubicBezTo>
                    <a:pt x="100242" y="68296"/>
                    <a:pt x="101234" y="73753"/>
                    <a:pt x="104707" y="78714"/>
                  </a:cubicBezTo>
                  <a:cubicBezTo>
                    <a:pt x="107683" y="83179"/>
                    <a:pt x="112148" y="87644"/>
                    <a:pt x="116613" y="89628"/>
                  </a:cubicBezTo>
                  <a:cubicBezTo>
                    <a:pt x="121573" y="91612"/>
                    <a:pt x="127030" y="94093"/>
                    <a:pt x="131991" y="96077"/>
                  </a:cubicBezTo>
                  <a:cubicBezTo>
                    <a:pt x="137448" y="98557"/>
                    <a:pt x="142905" y="100046"/>
                    <a:pt x="145385" y="105502"/>
                  </a:cubicBezTo>
                  <a:cubicBezTo>
                    <a:pt x="149354" y="113439"/>
                    <a:pt x="145385" y="104014"/>
                    <a:pt x="146874" y="112943"/>
                  </a:cubicBezTo>
                  <a:cubicBezTo>
                    <a:pt x="147866" y="118400"/>
                    <a:pt x="149850" y="123361"/>
                    <a:pt x="152330" y="127826"/>
                  </a:cubicBezTo>
                  <a:cubicBezTo>
                    <a:pt x="155307" y="132787"/>
                    <a:pt x="159771" y="137747"/>
                    <a:pt x="164236" y="142212"/>
                  </a:cubicBezTo>
                  <a:cubicBezTo>
                    <a:pt x="168701" y="146677"/>
                    <a:pt x="174158" y="150149"/>
                    <a:pt x="179119" y="152134"/>
                  </a:cubicBezTo>
                  <a:cubicBezTo>
                    <a:pt x="185072" y="154614"/>
                    <a:pt x="190528" y="155606"/>
                    <a:pt x="196481" y="152630"/>
                  </a:cubicBezTo>
                  <a:cubicBezTo>
                    <a:pt x="199458" y="151142"/>
                    <a:pt x="201442" y="146677"/>
                    <a:pt x="203923" y="141220"/>
                  </a:cubicBezTo>
                  <a:cubicBezTo>
                    <a:pt x="205411" y="137251"/>
                    <a:pt x="206403" y="131794"/>
                    <a:pt x="207891" y="127826"/>
                  </a:cubicBezTo>
                  <a:cubicBezTo>
                    <a:pt x="209876" y="122369"/>
                    <a:pt x="213348" y="118400"/>
                    <a:pt x="215828" y="116416"/>
                  </a:cubicBezTo>
                  <a:cubicBezTo>
                    <a:pt x="219797" y="112448"/>
                    <a:pt x="223766" y="109471"/>
                    <a:pt x="228230" y="107487"/>
                  </a:cubicBezTo>
                  <a:cubicBezTo>
                    <a:pt x="232695" y="105006"/>
                    <a:pt x="237656" y="104014"/>
                    <a:pt x="242617" y="103022"/>
                  </a:cubicBezTo>
                  <a:cubicBezTo>
                    <a:pt x="247577" y="102030"/>
                    <a:pt x="252538" y="100542"/>
                    <a:pt x="257995" y="101038"/>
                  </a:cubicBezTo>
                  <a:cubicBezTo>
                    <a:pt x="262956" y="101534"/>
                    <a:pt x="267916" y="102526"/>
                    <a:pt x="273373" y="104014"/>
                  </a:cubicBezTo>
                  <a:cubicBezTo>
                    <a:pt x="278334" y="105502"/>
                    <a:pt x="282799" y="107487"/>
                    <a:pt x="287760" y="109471"/>
                  </a:cubicBezTo>
                  <a:cubicBezTo>
                    <a:pt x="292720" y="111455"/>
                    <a:pt x="297185" y="113439"/>
                    <a:pt x="301650" y="116416"/>
                  </a:cubicBezTo>
                  <a:cubicBezTo>
                    <a:pt x="306114" y="118896"/>
                    <a:pt x="310579" y="120881"/>
                    <a:pt x="314548" y="124353"/>
                  </a:cubicBezTo>
                  <a:cubicBezTo>
                    <a:pt x="306114" y="124849"/>
                    <a:pt x="306611" y="139732"/>
                    <a:pt x="313060" y="144693"/>
                  </a:cubicBezTo>
                  <a:cubicBezTo>
                    <a:pt x="316532" y="147173"/>
                    <a:pt x="320005" y="149653"/>
                    <a:pt x="323973" y="151142"/>
                  </a:cubicBezTo>
                  <a:cubicBezTo>
                    <a:pt x="327942" y="153126"/>
                    <a:pt x="331911" y="154118"/>
                    <a:pt x="334887" y="157095"/>
                  </a:cubicBezTo>
                  <a:cubicBezTo>
                    <a:pt x="337864" y="160567"/>
                    <a:pt x="339352" y="164536"/>
                    <a:pt x="340840" y="168504"/>
                  </a:cubicBezTo>
                  <a:cubicBezTo>
                    <a:pt x="342328" y="172473"/>
                    <a:pt x="343817" y="177434"/>
                    <a:pt x="346793" y="180410"/>
                  </a:cubicBezTo>
                  <a:cubicBezTo>
                    <a:pt x="351754" y="185371"/>
                    <a:pt x="361675" y="186859"/>
                    <a:pt x="364156" y="193308"/>
                  </a:cubicBezTo>
                  <a:cubicBezTo>
                    <a:pt x="365644" y="198269"/>
                    <a:pt x="361675" y="202238"/>
                    <a:pt x="359195" y="206702"/>
                  </a:cubicBezTo>
                  <a:cubicBezTo>
                    <a:pt x="356714" y="210671"/>
                    <a:pt x="354234" y="215632"/>
                    <a:pt x="353242" y="220096"/>
                  </a:cubicBezTo>
                  <a:cubicBezTo>
                    <a:pt x="352250" y="225553"/>
                    <a:pt x="354730" y="230514"/>
                    <a:pt x="358203" y="234483"/>
                  </a:cubicBezTo>
                  <a:cubicBezTo>
                    <a:pt x="361179" y="238451"/>
                    <a:pt x="365644" y="241428"/>
                    <a:pt x="370109" y="244404"/>
                  </a:cubicBezTo>
                  <a:cubicBezTo>
                    <a:pt x="374077" y="247380"/>
                    <a:pt x="378542" y="250853"/>
                    <a:pt x="382511" y="253830"/>
                  </a:cubicBezTo>
                  <a:cubicBezTo>
                    <a:pt x="386975" y="257302"/>
                    <a:pt x="391936" y="260279"/>
                    <a:pt x="394416" y="263751"/>
                  </a:cubicBezTo>
                  <a:cubicBezTo>
                    <a:pt x="397393" y="268216"/>
                    <a:pt x="398881" y="273177"/>
                    <a:pt x="396897" y="278634"/>
                  </a:cubicBezTo>
                  <a:cubicBezTo>
                    <a:pt x="395408" y="284090"/>
                    <a:pt x="390944" y="289051"/>
                    <a:pt x="386975" y="293516"/>
                  </a:cubicBezTo>
                  <a:cubicBezTo>
                    <a:pt x="382511" y="298973"/>
                    <a:pt x="378542" y="304926"/>
                    <a:pt x="382511" y="309887"/>
                  </a:cubicBezTo>
                  <a:cubicBezTo>
                    <a:pt x="384991" y="312863"/>
                    <a:pt x="390448" y="313855"/>
                    <a:pt x="394416" y="313855"/>
                  </a:cubicBezTo>
                  <a:cubicBezTo>
                    <a:pt x="399873" y="314351"/>
                    <a:pt x="405330" y="312863"/>
                    <a:pt x="410787" y="313359"/>
                  </a:cubicBezTo>
                  <a:cubicBezTo>
                    <a:pt x="416244" y="313855"/>
                    <a:pt x="421701" y="315840"/>
                    <a:pt x="426661" y="316335"/>
                  </a:cubicBezTo>
                  <a:cubicBezTo>
                    <a:pt x="432118" y="316831"/>
                    <a:pt x="437575" y="317328"/>
                    <a:pt x="443032" y="317824"/>
                  </a:cubicBezTo>
                  <a:cubicBezTo>
                    <a:pt x="448489" y="318320"/>
                    <a:pt x="453946" y="318320"/>
                    <a:pt x="459403" y="318816"/>
                  </a:cubicBezTo>
                  <a:cubicBezTo>
                    <a:pt x="455434" y="322784"/>
                    <a:pt x="451961" y="327249"/>
                    <a:pt x="449977" y="332706"/>
                  </a:cubicBezTo>
                  <a:cubicBezTo>
                    <a:pt x="447993" y="337667"/>
                    <a:pt x="447001" y="343124"/>
                    <a:pt x="446504" y="349076"/>
                  </a:cubicBezTo>
                  <a:cubicBezTo>
                    <a:pt x="446008" y="354534"/>
                    <a:pt x="446504" y="359990"/>
                    <a:pt x="447497" y="365447"/>
                  </a:cubicBezTo>
                  <a:cubicBezTo>
                    <a:pt x="448489" y="370904"/>
                    <a:pt x="448985" y="376857"/>
                    <a:pt x="451465" y="381818"/>
                  </a:cubicBezTo>
                  <a:cubicBezTo>
                    <a:pt x="453946" y="386779"/>
                    <a:pt x="458410" y="390747"/>
                    <a:pt x="462379" y="394220"/>
                  </a:cubicBezTo>
                  <a:cubicBezTo>
                    <a:pt x="467340" y="398188"/>
                    <a:pt x="473293" y="401165"/>
                    <a:pt x="477261" y="406125"/>
                  </a:cubicBezTo>
                  <a:cubicBezTo>
                    <a:pt x="481230" y="410590"/>
                    <a:pt x="482718" y="416543"/>
                    <a:pt x="485695" y="422000"/>
                  </a:cubicBezTo>
                  <a:cubicBezTo>
                    <a:pt x="488175" y="426465"/>
                    <a:pt x="490655" y="430433"/>
                    <a:pt x="494128" y="433906"/>
                  </a:cubicBezTo>
                  <a:cubicBezTo>
                    <a:pt x="497601" y="437379"/>
                    <a:pt x="502561" y="438867"/>
                    <a:pt x="507026" y="441347"/>
                  </a:cubicBezTo>
                  <a:cubicBezTo>
                    <a:pt x="510995" y="443828"/>
                    <a:pt x="514963" y="446804"/>
                    <a:pt x="519428" y="448788"/>
                  </a:cubicBezTo>
                  <a:cubicBezTo>
                    <a:pt x="523893" y="450772"/>
                    <a:pt x="529350" y="452261"/>
                    <a:pt x="533814" y="454245"/>
                  </a:cubicBezTo>
                  <a:cubicBezTo>
                    <a:pt x="532822" y="460198"/>
                    <a:pt x="529846" y="466151"/>
                    <a:pt x="528357" y="472104"/>
                  </a:cubicBezTo>
                  <a:cubicBezTo>
                    <a:pt x="527365" y="478057"/>
                    <a:pt x="527365" y="484010"/>
                    <a:pt x="526373" y="489963"/>
                  </a:cubicBezTo>
                  <a:cubicBezTo>
                    <a:pt x="525381" y="495916"/>
                    <a:pt x="523893" y="501372"/>
                    <a:pt x="522405" y="507325"/>
                  </a:cubicBezTo>
                  <a:cubicBezTo>
                    <a:pt x="521412" y="512782"/>
                    <a:pt x="519428" y="518239"/>
                    <a:pt x="519924" y="523696"/>
                  </a:cubicBezTo>
                  <a:cubicBezTo>
                    <a:pt x="520420" y="528161"/>
                    <a:pt x="522405" y="532625"/>
                    <a:pt x="524389" y="536594"/>
                  </a:cubicBezTo>
                  <a:cubicBezTo>
                    <a:pt x="526373" y="540563"/>
                    <a:pt x="528854" y="544531"/>
                    <a:pt x="530838" y="548500"/>
                  </a:cubicBezTo>
                  <a:cubicBezTo>
                    <a:pt x="533318" y="552965"/>
                    <a:pt x="535303" y="557925"/>
                    <a:pt x="536791" y="562886"/>
                  </a:cubicBezTo>
                  <a:cubicBezTo>
                    <a:pt x="538279" y="567847"/>
                    <a:pt x="539271" y="572808"/>
                    <a:pt x="540263" y="578265"/>
                  </a:cubicBezTo>
                  <a:cubicBezTo>
                    <a:pt x="541256" y="583225"/>
                    <a:pt x="542248" y="588186"/>
                    <a:pt x="542744" y="593643"/>
                  </a:cubicBezTo>
                  <a:cubicBezTo>
                    <a:pt x="543240" y="598604"/>
                    <a:pt x="542744" y="604061"/>
                    <a:pt x="542744" y="609021"/>
                  </a:cubicBezTo>
                  <a:cubicBezTo>
                    <a:pt x="543240" y="613982"/>
                    <a:pt x="544728" y="619439"/>
                    <a:pt x="544728" y="624400"/>
                  </a:cubicBezTo>
                  <a:cubicBezTo>
                    <a:pt x="544728" y="629361"/>
                    <a:pt x="544232" y="634818"/>
                    <a:pt x="544728" y="639778"/>
                  </a:cubicBezTo>
                  <a:cubicBezTo>
                    <a:pt x="545224" y="644739"/>
                    <a:pt x="544232" y="650196"/>
                    <a:pt x="545224" y="655157"/>
                  </a:cubicBezTo>
                  <a:cubicBezTo>
                    <a:pt x="545720" y="660117"/>
                    <a:pt x="547209" y="665574"/>
                    <a:pt x="548200" y="670535"/>
                  </a:cubicBezTo>
                  <a:cubicBezTo>
                    <a:pt x="549193" y="675496"/>
                    <a:pt x="550185" y="680953"/>
                    <a:pt x="551673" y="685418"/>
                  </a:cubicBezTo>
                  <a:cubicBezTo>
                    <a:pt x="553161" y="690378"/>
                    <a:pt x="555146" y="695339"/>
                    <a:pt x="557626" y="699804"/>
                  </a:cubicBezTo>
                  <a:cubicBezTo>
                    <a:pt x="560106" y="704268"/>
                    <a:pt x="562587" y="708733"/>
                    <a:pt x="566059" y="713198"/>
                  </a:cubicBezTo>
                  <a:cubicBezTo>
                    <a:pt x="569036" y="717166"/>
                    <a:pt x="573004" y="720639"/>
                    <a:pt x="576973" y="724112"/>
                  </a:cubicBezTo>
                  <a:cubicBezTo>
                    <a:pt x="580942" y="727088"/>
                    <a:pt x="584414" y="731553"/>
                    <a:pt x="587887" y="735025"/>
                  </a:cubicBezTo>
                  <a:cubicBezTo>
                    <a:pt x="591856" y="738994"/>
                    <a:pt x="596320" y="742962"/>
                    <a:pt x="595328" y="748419"/>
                  </a:cubicBezTo>
                  <a:cubicBezTo>
                    <a:pt x="594336" y="756357"/>
                    <a:pt x="585406" y="761813"/>
                    <a:pt x="583918" y="769751"/>
                  </a:cubicBezTo>
                  <a:cubicBezTo>
                    <a:pt x="582430" y="777192"/>
                    <a:pt x="586398" y="784633"/>
                    <a:pt x="590863" y="791082"/>
                  </a:cubicBezTo>
                  <a:cubicBezTo>
                    <a:pt x="593840" y="795051"/>
                    <a:pt x="598304" y="798523"/>
                    <a:pt x="601281" y="802492"/>
                  </a:cubicBezTo>
                  <a:cubicBezTo>
                    <a:pt x="604257" y="806957"/>
                    <a:pt x="605746" y="811917"/>
                    <a:pt x="608226" y="816382"/>
                  </a:cubicBezTo>
                  <a:cubicBezTo>
                    <a:pt x="610706" y="820847"/>
                    <a:pt x="614675" y="824815"/>
                    <a:pt x="616659" y="829280"/>
                  </a:cubicBezTo>
                  <a:cubicBezTo>
                    <a:pt x="618644" y="833745"/>
                    <a:pt x="619140" y="839202"/>
                    <a:pt x="621124" y="844162"/>
                  </a:cubicBezTo>
                  <a:cubicBezTo>
                    <a:pt x="623108" y="849123"/>
                    <a:pt x="624597" y="853588"/>
                    <a:pt x="626085" y="858549"/>
                  </a:cubicBezTo>
                  <a:cubicBezTo>
                    <a:pt x="627573" y="863509"/>
                    <a:pt x="630550" y="867974"/>
                    <a:pt x="632038" y="872935"/>
                  </a:cubicBezTo>
                  <a:cubicBezTo>
                    <a:pt x="633526" y="877896"/>
                    <a:pt x="634518" y="882857"/>
                    <a:pt x="635510" y="88781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425" name="Graphic 10">
              <a:extLst>
                <a:ext uri="{FF2B5EF4-FFF2-40B4-BE49-F238E27FC236}">
                  <a16:creationId xmlns:a16="http://schemas.microsoft.com/office/drawing/2014/main" id="{D6865C7E-6C14-32F6-26A5-60456F4E5E83}"/>
                </a:ext>
              </a:extLst>
            </p:cNvPr>
            <p:cNvGrpSpPr/>
            <p:nvPr/>
          </p:nvGrpSpPr>
          <p:grpSpPr>
            <a:xfrm>
              <a:off x="3926326" y="1848769"/>
              <a:ext cx="1054236" cy="351232"/>
              <a:chOff x="3926326" y="1848769"/>
              <a:chExt cx="1054236" cy="351232"/>
            </a:xfrm>
            <a:noFill/>
          </p:grpSpPr>
          <p:sp>
            <p:nvSpPr>
              <p:cNvPr id="1609" name="Freeform: Shape 1608">
                <a:extLst>
                  <a:ext uri="{FF2B5EF4-FFF2-40B4-BE49-F238E27FC236}">
                    <a16:creationId xmlns:a16="http://schemas.microsoft.com/office/drawing/2014/main" id="{98612A06-A816-726B-2E4A-4EA2A1F4F6EF}"/>
                  </a:ext>
                </a:extLst>
              </p:cNvPr>
              <p:cNvSpPr/>
              <p:nvPr/>
            </p:nvSpPr>
            <p:spPr>
              <a:xfrm>
                <a:off x="3926326" y="1848769"/>
                <a:ext cx="1054236" cy="351232"/>
              </a:xfrm>
              <a:custGeom>
                <a:avLst/>
                <a:gdLst>
                  <a:gd name="connsiteX0" fmla="*/ 0 w 1054236"/>
                  <a:gd name="connsiteY0" fmla="*/ 338934 h 351232"/>
                  <a:gd name="connsiteX1" fmla="*/ 11906 w 1054236"/>
                  <a:gd name="connsiteY1" fmla="*/ 327525 h 351232"/>
                  <a:gd name="connsiteX2" fmla="*/ 23316 w 1054236"/>
                  <a:gd name="connsiteY2" fmla="*/ 315619 h 351232"/>
                  <a:gd name="connsiteX3" fmla="*/ 34230 w 1054236"/>
                  <a:gd name="connsiteY3" fmla="*/ 303713 h 351232"/>
                  <a:gd name="connsiteX4" fmla="*/ 46135 w 1054236"/>
                  <a:gd name="connsiteY4" fmla="*/ 292799 h 351232"/>
                  <a:gd name="connsiteX5" fmla="*/ 56553 w 1054236"/>
                  <a:gd name="connsiteY5" fmla="*/ 280397 h 351232"/>
                  <a:gd name="connsiteX6" fmla="*/ 68459 w 1054236"/>
                  <a:gd name="connsiteY6" fmla="*/ 268987 h 351232"/>
                  <a:gd name="connsiteX7" fmla="*/ 79869 w 1054236"/>
                  <a:gd name="connsiteY7" fmla="*/ 257578 h 351232"/>
                  <a:gd name="connsiteX8" fmla="*/ 91278 w 1054236"/>
                  <a:gd name="connsiteY8" fmla="*/ 246168 h 351232"/>
                  <a:gd name="connsiteX9" fmla="*/ 102192 w 1054236"/>
                  <a:gd name="connsiteY9" fmla="*/ 234262 h 351232"/>
                  <a:gd name="connsiteX10" fmla="*/ 115090 w 1054236"/>
                  <a:gd name="connsiteY10" fmla="*/ 224340 h 351232"/>
                  <a:gd name="connsiteX11" fmla="*/ 125012 w 1054236"/>
                  <a:gd name="connsiteY11" fmla="*/ 210946 h 351232"/>
                  <a:gd name="connsiteX12" fmla="*/ 137910 w 1054236"/>
                  <a:gd name="connsiteY12" fmla="*/ 201025 h 351232"/>
                  <a:gd name="connsiteX13" fmla="*/ 148327 w 1054236"/>
                  <a:gd name="connsiteY13" fmla="*/ 188127 h 351232"/>
                  <a:gd name="connsiteX14" fmla="*/ 160729 w 1054236"/>
                  <a:gd name="connsiteY14" fmla="*/ 177709 h 351232"/>
                  <a:gd name="connsiteX15" fmla="*/ 172635 w 1054236"/>
                  <a:gd name="connsiteY15" fmla="*/ 166299 h 351232"/>
                  <a:gd name="connsiteX16" fmla="*/ 183549 w 1054236"/>
                  <a:gd name="connsiteY16" fmla="*/ 153897 h 351232"/>
                  <a:gd name="connsiteX17" fmla="*/ 194463 w 1054236"/>
                  <a:gd name="connsiteY17" fmla="*/ 141495 h 351232"/>
                  <a:gd name="connsiteX18" fmla="*/ 206865 w 1054236"/>
                  <a:gd name="connsiteY18" fmla="*/ 131078 h 351232"/>
                  <a:gd name="connsiteX19" fmla="*/ 218274 w 1054236"/>
                  <a:gd name="connsiteY19" fmla="*/ 119172 h 351232"/>
                  <a:gd name="connsiteX20" fmla="*/ 229188 w 1054236"/>
                  <a:gd name="connsiteY20" fmla="*/ 107266 h 351232"/>
                  <a:gd name="connsiteX21" fmla="*/ 240598 w 1054236"/>
                  <a:gd name="connsiteY21" fmla="*/ 95856 h 351232"/>
                  <a:gd name="connsiteX22" fmla="*/ 252504 w 1054236"/>
                  <a:gd name="connsiteY22" fmla="*/ 84446 h 351232"/>
                  <a:gd name="connsiteX23" fmla="*/ 263418 w 1054236"/>
                  <a:gd name="connsiteY23" fmla="*/ 72540 h 351232"/>
                  <a:gd name="connsiteX24" fmla="*/ 274827 w 1054236"/>
                  <a:gd name="connsiteY24" fmla="*/ 60635 h 351232"/>
                  <a:gd name="connsiteX25" fmla="*/ 286733 w 1054236"/>
                  <a:gd name="connsiteY25" fmla="*/ 49721 h 351232"/>
                  <a:gd name="connsiteX26" fmla="*/ 298143 w 1054236"/>
                  <a:gd name="connsiteY26" fmla="*/ 37815 h 351232"/>
                  <a:gd name="connsiteX27" fmla="*/ 310545 w 1054236"/>
                  <a:gd name="connsiteY27" fmla="*/ 26901 h 351232"/>
                  <a:gd name="connsiteX28" fmla="*/ 321458 w 1054236"/>
                  <a:gd name="connsiteY28" fmla="*/ 14499 h 351232"/>
                  <a:gd name="connsiteX29" fmla="*/ 333364 w 1054236"/>
                  <a:gd name="connsiteY29" fmla="*/ 2593 h 351232"/>
                  <a:gd name="connsiteX30" fmla="*/ 349735 w 1054236"/>
                  <a:gd name="connsiteY30" fmla="*/ 2593 h 351232"/>
                  <a:gd name="connsiteX31" fmla="*/ 366105 w 1054236"/>
                  <a:gd name="connsiteY31" fmla="*/ 4082 h 351232"/>
                  <a:gd name="connsiteX32" fmla="*/ 382476 w 1054236"/>
                  <a:gd name="connsiteY32" fmla="*/ 2593 h 351232"/>
                  <a:gd name="connsiteX33" fmla="*/ 398847 w 1054236"/>
                  <a:gd name="connsiteY33" fmla="*/ 2097 h 351232"/>
                  <a:gd name="connsiteX34" fmla="*/ 415217 w 1054236"/>
                  <a:gd name="connsiteY34" fmla="*/ 3089 h 351232"/>
                  <a:gd name="connsiteX35" fmla="*/ 431588 w 1054236"/>
                  <a:gd name="connsiteY35" fmla="*/ 4578 h 351232"/>
                  <a:gd name="connsiteX36" fmla="*/ 447958 w 1054236"/>
                  <a:gd name="connsiteY36" fmla="*/ 2593 h 351232"/>
                  <a:gd name="connsiteX37" fmla="*/ 464329 w 1054236"/>
                  <a:gd name="connsiteY37" fmla="*/ 4082 h 351232"/>
                  <a:gd name="connsiteX38" fmla="*/ 480700 w 1054236"/>
                  <a:gd name="connsiteY38" fmla="*/ 3089 h 351232"/>
                  <a:gd name="connsiteX39" fmla="*/ 497070 w 1054236"/>
                  <a:gd name="connsiteY39" fmla="*/ 3089 h 351232"/>
                  <a:gd name="connsiteX40" fmla="*/ 513441 w 1054236"/>
                  <a:gd name="connsiteY40" fmla="*/ 4082 h 351232"/>
                  <a:gd name="connsiteX41" fmla="*/ 529811 w 1054236"/>
                  <a:gd name="connsiteY41" fmla="*/ 3586 h 351232"/>
                  <a:gd name="connsiteX42" fmla="*/ 546182 w 1054236"/>
                  <a:gd name="connsiteY42" fmla="*/ 4082 h 351232"/>
                  <a:gd name="connsiteX43" fmla="*/ 562553 w 1054236"/>
                  <a:gd name="connsiteY43" fmla="*/ 2593 h 351232"/>
                  <a:gd name="connsiteX44" fmla="*/ 578923 w 1054236"/>
                  <a:gd name="connsiteY44" fmla="*/ 2593 h 351232"/>
                  <a:gd name="connsiteX45" fmla="*/ 595294 w 1054236"/>
                  <a:gd name="connsiteY45" fmla="*/ 3089 h 351232"/>
                  <a:gd name="connsiteX46" fmla="*/ 611664 w 1054236"/>
                  <a:gd name="connsiteY46" fmla="*/ 2593 h 351232"/>
                  <a:gd name="connsiteX47" fmla="*/ 628035 w 1054236"/>
                  <a:gd name="connsiteY47" fmla="*/ 3089 h 351232"/>
                  <a:gd name="connsiteX48" fmla="*/ 644405 w 1054236"/>
                  <a:gd name="connsiteY48" fmla="*/ 4082 h 351232"/>
                  <a:gd name="connsiteX49" fmla="*/ 660776 w 1054236"/>
                  <a:gd name="connsiteY49" fmla="*/ 3089 h 351232"/>
                  <a:gd name="connsiteX50" fmla="*/ 677146 w 1054236"/>
                  <a:gd name="connsiteY50" fmla="*/ 2097 h 351232"/>
                  <a:gd name="connsiteX51" fmla="*/ 693517 w 1054236"/>
                  <a:gd name="connsiteY51" fmla="*/ 2593 h 351232"/>
                  <a:gd name="connsiteX52" fmla="*/ 709888 w 1054236"/>
                  <a:gd name="connsiteY52" fmla="*/ 4578 h 351232"/>
                  <a:gd name="connsiteX53" fmla="*/ 726258 w 1054236"/>
                  <a:gd name="connsiteY53" fmla="*/ 3586 h 351232"/>
                  <a:gd name="connsiteX54" fmla="*/ 742629 w 1054236"/>
                  <a:gd name="connsiteY54" fmla="*/ 3586 h 351232"/>
                  <a:gd name="connsiteX55" fmla="*/ 758999 w 1054236"/>
                  <a:gd name="connsiteY55" fmla="*/ 3089 h 351232"/>
                  <a:gd name="connsiteX56" fmla="*/ 775370 w 1054236"/>
                  <a:gd name="connsiteY56" fmla="*/ 4082 h 351232"/>
                  <a:gd name="connsiteX57" fmla="*/ 791741 w 1054236"/>
                  <a:gd name="connsiteY57" fmla="*/ 4082 h 351232"/>
                  <a:gd name="connsiteX58" fmla="*/ 808111 w 1054236"/>
                  <a:gd name="connsiteY58" fmla="*/ 3089 h 351232"/>
                  <a:gd name="connsiteX59" fmla="*/ 824482 w 1054236"/>
                  <a:gd name="connsiteY59" fmla="*/ 3089 h 351232"/>
                  <a:gd name="connsiteX60" fmla="*/ 840852 w 1054236"/>
                  <a:gd name="connsiteY60" fmla="*/ 3586 h 351232"/>
                  <a:gd name="connsiteX61" fmla="*/ 857223 w 1054236"/>
                  <a:gd name="connsiteY61" fmla="*/ 4578 h 351232"/>
                  <a:gd name="connsiteX62" fmla="*/ 873593 w 1054236"/>
                  <a:gd name="connsiteY62" fmla="*/ 3089 h 351232"/>
                  <a:gd name="connsiteX63" fmla="*/ 889964 w 1054236"/>
                  <a:gd name="connsiteY63" fmla="*/ 3586 h 351232"/>
                  <a:gd name="connsiteX64" fmla="*/ 906334 w 1054236"/>
                  <a:gd name="connsiteY64" fmla="*/ 2593 h 351232"/>
                  <a:gd name="connsiteX65" fmla="*/ 922705 w 1054236"/>
                  <a:gd name="connsiteY65" fmla="*/ 4578 h 351232"/>
                  <a:gd name="connsiteX66" fmla="*/ 939075 w 1054236"/>
                  <a:gd name="connsiteY66" fmla="*/ 3586 h 351232"/>
                  <a:gd name="connsiteX67" fmla="*/ 955446 w 1054236"/>
                  <a:gd name="connsiteY67" fmla="*/ 4578 h 351232"/>
                  <a:gd name="connsiteX68" fmla="*/ 971817 w 1054236"/>
                  <a:gd name="connsiteY68" fmla="*/ 3089 h 351232"/>
                  <a:gd name="connsiteX69" fmla="*/ 988187 w 1054236"/>
                  <a:gd name="connsiteY69" fmla="*/ 4578 h 351232"/>
                  <a:gd name="connsiteX70" fmla="*/ 1004558 w 1054236"/>
                  <a:gd name="connsiteY70" fmla="*/ 3089 h 351232"/>
                  <a:gd name="connsiteX71" fmla="*/ 1020928 w 1054236"/>
                  <a:gd name="connsiteY71" fmla="*/ 4578 h 351232"/>
                  <a:gd name="connsiteX72" fmla="*/ 1037299 w 1054236"/>
                  <a:gd name="connsiteY72" fmla="*/ 2593 h 351232"/>
                  <a:gd name="connsiteX73" fmla="*/ 1053670 w 1054236"/>
                  <a:gd name="connsiteY73" fmla="*/ 3586 h 351232"/>
                  <a:gd name="connsiteX74" fmla="*/ 1041268 w 1054236"/>
                  <a:gd name="connsiteY74" fmla="*/ 14499 h 351232"/>
                  <a:gd name="connsiteX75" fmla="*/ 1030850 w 1054236"/>
                  <a:gd name="connsiteY75" fmla="*/ 27397 h 351232"/>
                  <a:gd name="connsiteX76" fmla="*/ 1017952 w 1054236"/>
                  <a:gd name="connsiteY76" fmla="*/ 37319 h 351232"/>
                  <a:gd name="connsiteX77" fmla="*/ 1007534 w 1054236"/>
                  <a:gd name="connsiteY77" fmla="*/ 50217 h 351232"/>
                  <a:gd name="connsiteX78" fmla="*/ 996621 w 1054236"/>
                  <a:gd name="connsiteY78" fmla="*/ 62123 h 351232"/>
                  <a:gd name="connsiteX79" fmla="*/ 985211 w 1054236"/>
                  <a:gd name="connsiteY79" fmla="*/ 73533 h 351232"/>
                  <a:gd name="connsiteX80" fmla="*/ 972313 w 1054236"/>
                  <a:gd name="connsiteY80" fmla="*/ 83454 h 351232"/>
                  <a:gd name="connsiteX81" fmla="*/ 961895 w 1054236"/>
                  <a:gd name="connsiteY81" fmla="*/ 95856 h 351232"/>
                  <a:gd name="connsiteX82" fmla="*/ 949989 w 1054236"/>
                  <a:gd name="connsiteY82" fmla="*/ 106770 h 351232"/>
                  <a:gd name="connsiteX83" fmla="*/ 938084 w 1054236"/>
                  <a:gd name="connsiteY83" fmla="*/ 118180 h 351232"/>
                  <a:gd name="connsiteX84" fmla="*/ 927666 w 1054236"/>
                  <a:gd name="connsiteY84" fmla="*/ 130582 h 351232"/>
                  <a:gd name="connsiteX85" fmla="*/ 916256 w 1054236"/>
                  <a:gd name="connsiteY85" fmla="*/ 141991 h 351232"/>
                  <a:gd name="connsiteX86" fmla="*/ 905342 w 1054236"/>
                  <a:gd name="connsiteY86" fmla="*/ 153897 h 351232"/>
                  <a:gd name="connsiteX87" fmla="*/ 892444 w 1054236"/>
                  <a:gd name="connsiteY87" fmla="*/ 164315 h 351232"/>
                  <a:gd name="connsiteX88" fmla="*/ 880538 w 1054236"/>
                  <a:gd name="connsiteY88" fmla="*/ 175229 h 351232"/>
                  <a:gd name="connsiteX89" fmla="*/ 869129 w 1054236"/>
                  <a:gd name="connsiteY89" fmla="*/ 187134 h 351232"/>
                  <a:gd name="connsiteX90" fmla="*/ 857719 w 1054236"/>
                  <a:gd name="connsiteY90" fmla="*/ 198544 h 351232"/>
                  <a:gd name="connsiteX91" fmla="*/ 846805 w 1054236"/>
                  <a:gd name="connsiteY91" fmla="*/ 210450 h 351232"/>
                  <a:gd name="connsiteX92" fmla="*/ 835395 w 1054236"/>
                  <a:gd name="connsiteY92" fmla="*/ 222356 h 351232"/>
                  <a:gd name="connsiteX93" fmla="*/ 823986 w 1054236"/>
                  <a:gd name="connsiteY93" fmla="*/ 233766 h 351232"/>
                  <a:gd name="connsiteX94" fmla="*/ 811584 w 1054236"/>
                  <a:gd name="connsiteY94" fmla="*/ 244183 h 351232"/>
                  <a:gd name="connsiteX95" fmla="*/ 800670 w 1054236"/>
                  <a:gd name="connsiteY95" fmla="*/ 256585 h 351232"/>
                  <a:gd name="connsiteX96" fmla="*/ 788268 w 1054236"/>
                  <a:gd name="connsiteY96" fmla="*/ 267499 h 351232"/>
                  <a:gd name="connsiteX97" fmla="*/ 777354 w 1054236"/>
                  <a:gd name="connsiteY97" fmla="*/ 279901 h 351232"/>
                  <a:gd name="connsiteX98" fmla="*/ 765944 w 1054236"/>
                  <a:gd name="connsiteY98" fmla="*/ 291807 h 351232"/>
                  <a:gd name="connsiteX99" fmla="*/ 754535 w 1054236"/>
                  <a:gd name="connsiteY99" fmla="*/ 303713 h 351232"/>
                  <a:gd name="connsiteX100" fmla="*/ 742133 w 1054236"/>
                  <a:gd name="connsiteY100" fmla="*/ 314626 h 351232"/>
                  <a:gd name="connsiteX101" fmla="*/ 729731 w 1054236"/>
                  <a:gd name="connsiteY101" fmla="*/ 325540 h 351232"/>
                  <a:gd name="connsiteX102" fmla="*/ 718321 w 1054236"/>
                  <a:gd name="connsiteY102" fmla="*/ 336950 h 351232"/>
                  <a:gd name="connsiteX103" fmla="*/ 707903 w 1054236"/>
                  <a:gd name="connsiteY103" fmla="*/ 350344 h 351232"/>
                  <a:gd name="connsiteX104" fmla="*/ 691037 w 1054236"/>
                  <a:gd name="connsiteY104" fmla="*/ 347864 h 351232"/>
                  <a:gd name="connsiteX105" fmla="*/ 674666 w 1054236"/>
                  <a:gd name="connsiteY105" fmla="*/ 349848 h 351232"/>
                  <a:gd name="connsiteX106" fmla="*/ 658296 w 1054236"/>
                  <a:gd name="connsiteY106" fmla="*/ 349848 h 351232"/>
                  <a:gd name="connsiteX107" fmla="*/ 641925 w 1054236"/>
                  <a:gd name="connsiteY107" fmla="*/ 348856 h 351232"/>
                  <a:gd name="connsiteX108" fmla="*/ 625554 w 1054236"/>
                  <a:gd name="connsiteY108" fmla="*/ 347864 h 351232"/>
                  <a:gd name="connsiteX109" fmla="*/ 609184 w 1054236"/>
                  <a:gd name="connsiteY109" fmla="*/ 349848 h 351232"/>
                  <a:gd name="connsiteX110" fmla="*/ 592813 w 1054236"/>
                  <a:gd name="connsiteY110" fmla="*/ 349352 h 351232"/>
                  <a:gd name="connsiteX111" fmla="*/ 576443 w 1054236"/>
                  <a:gd name="connsiteY111" fmla="*/ 349848 h 351232"/>
                  <a:gd name="connsiteX112" fmla="*/ 560072 w 1054236"/>
                  <a:gd name="connsiteY112" fmla="*/ 349352 h 351232"/>
                  <a:gd name="connsiteX113" fmla="*/ 543702 w 1054236"/>
                  <a:gd name="connsiteY113" fmla="*/ 349352 h 351232"/>
                  <a:gd name="connsiteX114" fmla="*/ 527331 w 1054236"/>
                  <a:gd name="connsiteY114" fmla="*/ 347368 h 351232"/>
                  <a:gd name="connsiteX115" fmla="*/ 510960 w 1054236"/>
                  <a:gd name="connsiteY115" fmla="*/ 347368 h 351232"/>
                  <a:gd name="connsiteX116" fmla="*/ 494590 w 1054236"/>
                  <a:gd name="connsiteY116" fmla="*/ 349352 h 351232"/>
                  <a:gd name="connsiteX117" fmla="*/ 478219 w 1054236"/>
                  <a:gd name="connsiteY117" fmla="*/ 349352 h 351232"/>
                  <a:gd name="connsiteX118" fmla="*/ 461849 w 1054236"/>
                  <a:gd name="connsiteY118" fmla="*/ 347368 h 351232"/>
                  <a:gd name="connsiteX119" fmla="*/ 445478 w 1054236"/>
                  <a:gd name="connsiteY119" fmla="*/ 347368 h 351232"/>
                  <a:gd name="connsiteX120" fmla="*/ 429107 w 1054236"/>
                  <a:gd name="connsiteY120" fmla="*/ 349352 h 351232"/>
                  <a:gd name="connsiteX121" fmla="*/ 412737 w 1054236"/>
                  <a:gd name="connsiteY121" fmla="*/ 348856 h 351232"/>
                  <a:gd name="connsiteX122" fmla="*/ 396366 w 1054236"/>
                  <a:gd name="connsiteY122" fmla="*/ 349848 h 351232"/>
                  <a:gd name="connsiteX123" fmla="*/ 379996 w 1054236"/>
                  <a:gd name="connsiteY123" fmla="*/ 347864 h 351232"/>
                  <a:gd name="connsiteX124" fmla="*/ 363625 w 1054236"/>
                  <a:gd name="connsiteY124" fmla="*/ 348360 h 351232"/>
                  <a:gd name="connsiteX125" fmla="*/ 347255 w 1054236"/>
                  <a:gd name="connsiteY125" fmla="*/ 348360 h 351232"/>
                  <a:gd name="connsiteX126" fmla="*/ 330884 w 1054236"/>
                  <a:gd name="connsiteY126" fmla="*/ 349352 h 351232"/>
                  <a:gd name="connsiteX127" fmla="*/ 314514 w 1054236"/>
                  <a:gd name="connsiteY127" fmla="*/ 347864 h 351232"/>
                  <a:gd name="connsiteX128" fmla="*/ 298143 w 1054236"/>
                  <a:gd name="connsiteY128" fmla="*/ 348360 h 351232"/>
                  <a:gd name="connsiteX129" fmla="*/ 281772 w 1054236"/>
                  <a:gd name="connsiteY129" fmla="*/ 349352 h 351232"/>
                  <a:gd name="connsiteX130" fmla="*/ 265402 w 1054236"/>
                  <a:gd name="connsiteY130" fmla="*/ 348856 h 351232"/>
                  <a:gd name="connsiteX131" fmla="*/ 249031 w 1054236"/>
                  <a:gd name="connsiteY131" fmla="*/ 349352 h 351232"/>
                  <a:gd name="connsiteX132" fmla="*/ 232661 w 1054236"/>
                  <a:gd name="connsiteY132" fmla="*/ 348360 h 351232"/>
                  <a:gd name="connsiteX133" fmla="*/ 216290 w 1054236"/>
                  <a:gd name="connsiteY133" fmla="*/ 349848 h 351232"/>
                  <a:gd name="connsiteX134" fmla="*/ 199919 w 1054236"/>
                  <a:gd name="connsiteY134" fmla="*/ 349848 h 351232"/>
                  <a:gd name="connsiteX135" fmla="*/ 183549 w 1054236"/>
                  <a:gd name="connsiteY135" fmla="*/ 348360 h 351232"/>
                  <a:gd name="connsiteX136" fmla="*/ 167178 w 1054236"/>
                  <a:gd name="connsiteY136" fmla="*/ 349848 h 351232"/>
                  <a:gd name="connsiteX137" fmla="*/ 150808 w 1054236"/>
                  <a:gd name="connsiteY137" fmla="*/ 348856 h 351232"/>
                  <a:gd name="connsiteX138" fmla="*/ 134437 w 1054236"/>
                  <a:gd name="connsiteY138" fmla="*/ 349352 h 351232"/>
                  <a:gd name="connsiteX139" fmla="*/ 118066 w 1054236"/>
                  <a:gd name="connsiteY139" fmla="*/ 348856 h 351232"/>
                  <a:gd name="connsiteX140" fmla="*/ 101696 w 1054236"/>
                  <a:gd name="connsiteY140" fmla="*/ 349848 h 351232"/>
                  <a:gd name="connsiteX141" fmla="*/ 85325 w 1054236"/>
                  <a:gd name="connsiteY141" fmla="*/ 348360 h 351232"/>
                  <a:gd name="connsiteX142" fmla="*/ 68955 w 1054236"/>
                  <a:gd name="connsiteY142" fmla="*/ 347864 h 351232"/>
                  <a:gd name="connsiteX143" fmla="*/ 52584 w 1054236"/>
                  <a:gd name="connsiteY143" fmla="*/ 348856 h 351232"/>
                  <a:gd name="connsiteX144" fmla="*/ 36214 w 1054236"/>
                  <a:gd name="connsiteY144" fmla="*/ 349352 h 351232"/>
                  <a:gd name="connsiteX145" fmla="*/ 19843 w 1054236"/>
                  <a:gd name="connsiteY145" fmla="*/ 348360 h 351232"/>
                  <a:gd name="connsiteX146" fmla="*/ 3473 w 1054236"/>
                  <a:gd name="connsiteY146" fmla="*/ 347864 h 351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</a:cxnLst>
                <a:rect l="l" t="t" r="r" b="b"/>
                <a:pathLst>
                  <a:path w="1054236" h="351232">
                    <a:moveTo>
                      <a:pt x="0" y="338934"/>
                    </a:moveTo>
                    <a:cubicBezTo>
                      <a:pt x="5953" y="332981"/>
                      <a:pt x="5953" y="333477"/>
                      <a:pt x="11906" y="327525"/>
                    </a:cubicBezTo>
                    <a:cubicBezTo>
                      <a:pt x="17859" y="321572"/>
                      <a:pt x="17363" y="321572"/>
                      <a:pt x="23316" y="315619"/>
                    </a:cubicBezTo>
                    <a:cubicBezTo>
                      <a:pt x="29269" y="309666"/>
                      <a:pt x="28772" y="309170"/>
                      <a:pt x="34230" y="303713"/>
                    </a:cubicBezTo>
                    <a:cubicBezTo>
                      <a:pt x="40182" y="297760"/>
                      <a:pt x="40678" y="298256"/>
                      <a:pt x="46135" y="292799"/>
                    </a:cubicBezTo>
                    <a:cubicBezTo>
                      <a:pt x="52088" y="286846"/>
                      <a:pt x="51096" y="285854"/>
                      <a:pt x="56553" y="280397"/>
                    </a:cubicBezTo>
                    <a:cubicBezTo>
                      <a:pt x="62506" y="274444"/>
                      <a:pt x="62506" y="274940"/>
                      <a:pt x="68459" y="268987"/>
                    </a:cubicBezTo>
                    <a:cubicBezTo>
                      <a:pt x="74412" y="263034"/>
                      <a:pt x="74412" y="263034"/>
                      <a:pt x="79869" y="257578"/>
                    </a:cubicBezTo>
                    <a:cubicBezTo>
                      <a:pt x="85821" y="251625"/>
                      <a:pt x="85821" y="252121"/>
                      <a:pt x="91278" y="246168"/>
                    </a:cubicBezTo>
                    <a:cubicBezTo>
                      <a:pt x="97231" y="240215"/>
                      <a:pt x="96735" y="240215"/>
                      <a:pt x="102192" y="234262"/>
                    </a:cubicBezTo>
                    <a:cubicBezTo>
                      <a:pt x="108145" y="228309"/>
                      <a:pt x="109633" y="229797"/>
                      <a:pt x="115090" y="224340"/>
                    </a:cubicBezTo>
                    <a:cubicBezTo>
                      <a:pt x="121043" y="218387"/>
                      <a:pt x="119059" y="216899"/>
                      <a:pt x="125012" y="210946"/>
                    </a:cubicBezTo>
                    <a:cubicBezTo>
                      <a:pt x="130965" y="204993"/>
                      <a:pt x="132453" y="206977"/>
                      <a:pt x="137910" y="201025"/>
                    </a:cubicBezTo>
                    <a:cubicBezTo>
                      <a:pt x="143863" y="195072"/>
                      <a:pt x="142374" y="194079"/>
                      <a:pt x="148327" y="188127"/>
                    </a:cubicBezTo>
                    <a:cubicBezTo>
                      <a:pt x="154280" y="182174"/>
                      <a:pt x="155272" y="183662"/>
                      <a:pt x="160729" y="177709"/>
                    </a:cubicBezTo>
                    <a:cubicBezTo>
                      <a:pt x="166682" y="171756"/>
                      <a:pt x="166682" y="172252"/>
                      <a:pt x="172635" y="166299"/>
                    </a:cubicBezTo>
                    <a:cubicBezTo>
                      <a:pt x="178588" y="160346"/>
                      <a:pt x="177596" y="159850"/>
                      <a:pt x="183549" y="153897"/>
                    </a:cubicBezTo>
                    <a:cubicBezTo>
                      <a:pt x="189502" y="147944"/>
                      <a:pt x="188510" y="147448"/>
                      <a:pt x="194463" y="141495"/>
                    </a:cubicBezTo>
                    <a:cubicBezTo>
                      <a:pt x="200416" y="135542"/>
                      <a:pt x="201408" y="136535"/>
                      <a:pt x="206865" y="131078"/>
                    </a:cubicBezTo>
                    <a:cubicBezTo>
                      <a:pt x="212818" y="125125"/>
                      <a:pt x="212321" y="125125"/>
                      <a:pt x="218274" y="119172"/>
                    </a:cubicBezTo>
                    <a:cubicBezTo>
                      <a:pt x="224227" y="113219"/>
                      <a:pt x="223731" y="112723"/>
                      <a:pt x="229188" y="107266"/>
                    </a:cubicBezTo>
                    <a:cubicBezTo>
                      <a:pt x="235141" y="101313"/>
                      <a:pt x="235141" y="101313"/>
                      <a:pt x="240598" y="95856"/>
                    </a:cubicBezTo>
                    <a:cubicBezTo>
                      <a:pt x="246055" y="90399"/>
                      <a:pt x="246551" y="90399"/>
                      <a:pt x="252504" y="84446"/>
                    </a:cubicBezTo>
                    <a:cubicBezTo>
                      <a:pt x="258457" y="78493"/>
                      <a:pt x="257961" y="78493"/>
                      <a:pt x="263418" y="72540"/>
                    </a:cubicBezTo>
                    <a:cubicBezTo>
                      <a:pt x="269370" y="66588"/>
                      <a:pt x="268874" y="66588"/>
                      <a:pt x="274827" y="60635"/>
                    </a:cubicBezTo>
                    <a:cubicBezTo>
                      <a:pt x="280780" y="54682"/>
                      <a:pt x="281276" y="55178"/>
                      <a:pt x="286733" y="49721"/>
                    </a:cubicBezTo>
                    <a:cubicBezTo>
                      <a:pt x="292686" y="43768"/>
                      <a:pt x="292190" y="43768"/>
                      <a:pt x="298143" y="37815"/>
                    </a:cubicBezTo>
                    <a:cubicBezTo>
                      <a:pt x="304096" y="31862"/>
                      <a:pt x="304592" y="32854"/>
                      <a:pt x="310545" y="26901"/>
                    </a:cubicBezTo>
                    <a:cubicBezTo>
                      <a:pt x="316498" y="20948"/>
                      <a:pt x="315506" y="20452"/>
                      <a:pt x="321458" y="14499"/>
                    </a:cubicBezTo>
                    <a:cubicBezTo>
                      <a:pt x="327411" y="8546"/>
                      <a:pt x="325923" y="6066"/>
                      <a:pt x="333364" y="2593"/>
                    </a:cubicBezTo>
                    <a:cubicBezTo>
                      <a:pt x="340806" y="-383"/>
                      <a:pt x="341798" y="2593"/>
                      <a:pt x="349735" y="2593"/>
                    </a:cubicBezTo>
                    <a:cubicBezTo>
                      <a:pt x="357672" y="2593"/>
                      <a:pt x="357672" y="4082"/>
                      <a:pt x="366105" y="4082"/>
                    </a:cubicBezTo>
                    <a:cubicBezTo>
                      <a:pt x="374043" y="4082"/>
                      <a:pt x="374043" y="2593"/>
                      <a:pt x="382476" y="2593"/>
                    </a:cubicBezTo>
                    <a:cubicBezTo>
                      <a:pt x="390413" y="2593"/>
                      <a:pt x="390413" y="2097"/>
                      <a:pt x="398847" y="2097"/>
                    </a:cubicBezTo>
                    <a:cubicBezTo>
                      <a:pt x="406784" y="2097"/>
                      <a:pt x="406784" y="3089"/>
                      <a:pt x="415217" y="3089"/>
                    </a:cubicBezTo>
                    <a:cubicBezTo>
                      <a:pt x="423154" y="3089"/>
                      <a:pt x="423154" y="4578"/>
                      <a:pt x="431588" y="4578"/>
                    </a:cubicBezTo>
                    <a:cubicBezTo>
                      <a:pt x="439525" y="4578"/>
                      <a:pt x="439525" y="2593"/>
                      <a:pt x="447958" y="2593"/>
                    </a:cubicBezTo>
                    <a:cubicBezTo>
                      <a:pt x="456392" y="2593"/>
                      <a:pt x="455896" y="4082"/>
                      <a:pt x="464329" y="4082"/>
                    </a:cubicBezTo>
                    <a:cubicBezTo>
                      <a:pt x="472266" y="4082"/>
                      <a:pt x="472266" y="3089"/>
                      <a:pt x="480700" y="3089"/>
                    </a:cubicBezTo>
                    <a:cubicBezTo>
                      <a:pt x="488637" y="3089"/>
                      <a:pt x="488637" y="3089"/>
                      <a:pt x="497070" y="3089"/>
                    </a:cubicBezTo>
                    <a:cubicBezTo>
                      <a:pt x="505007" y="3089"/>
                      <a:pt x="505007" y="4082"/>
                      <a:pt x="513441" y="4082"/>
                    </a:cubicBezTo>
                    <a:cubicBezTo>
                      <a:pt x="521378" y="4082"/>
                      <a:pt x="521378" y="3586"/>
                      <a:pt x="529811" y="3586"/>
                    </a:cubicBezTo>
                    <a:cubicBezTo>
                      <a:pt x="537749" y="3586"/>
                      <a:pt x="537749" y="4082"/>
                      <a:pt x="546182" y="4082"/>
                    </a:cubicBezTo>
                    <a:cubicBezTo>
                      <a:pt x="554119" y="4082"/>
                      <a:pt x="554119" y="2593"/>
                      <a:pt x="562553" y="2593"/>
                    </a:cubicBezTo>
                    <a:cubicBezTo>
                      <a:pt x="570490" y="2593"/>
                      <a:pt x="570490" y="2593"/>
                      <a:pt x="578923" y="2593"/>
                    </a:cubicBezTo>
                    <a:cubicBezTo>
                      <a:pt x="586860" y="2593"/>
                      <a:pt x="586860" y="3089"/>
                      <a:pt x="595294" y="3089"/>
                    </a:cubicBezTo>
                    <a:cubicBezTo>
                      <a:pt x="603231" y="3089"/>
                      <a:pt x="603231" y="2593"/>
                      <a:pt x="611664" y="2593"/>
                    </a:cubicBezTo>
                    <a:cubicBezTo>
                      <a:pt x="619601" y="2593"/>
                      <a:pt x="619601" y="3089"/>
                      <a:pt x="628035" y="3089"/>
                    </a:cubicBezTo>
                    <a:cubicBezTo>
                      <a:pt x="635972" y="3089"/>
                      <a:pt x="635972" y="4082"/>
                      <a:pt x="644405" y="4082"/>
                    </a:cubicBezTo>
                    <a:cubicBezTo>
                      <a:pt x="652343" y="4082"/>
                      <a:pt x="652343" y="3089"/>
                      <a:pt x="660776" y="3089"/>
                    </a:cubicBezTo>
                    <a:cubicBezTo>
                      <a:pt x="668713" y="3089"/>
                      <a:pt x="668713" y="2097"/>
                      <a:pt x="677146" y="2097"/>
                    </a:cubicBezTo>
                    <a:cubicBezTo>
                      <a:pt x="685084" y="2097"/>
                      <a:pt x="685084" y="2593"/>
                      <a:pt x="693517" y="2593"/>
                    </a:cubicBezTo>
                    <a:cubicBezTo>
                      <a:pt x="701454" y="2593"/>
                      <a:pt x="701454" y="4578"/>
                      <a:pt x="709888" y="4578"/>
                    </a:cubicBezTo>
                    <a:cubicBezTo>
                      <a:pt x="717825" y="4578"/>
                      <a:pt x="717825" y="3586"/>
                      <a:pt x="726258" y="3586"/>
                    </a:cubicBezTo>
                    <a:cubicBezTo>
                      <a:pt x="734195" y="3586"/>
                      <a:pt x="734195" y="3586"/>
                      <a:pt x="742629" y="3586"/>
                    </a:cubicBezTo>
                    <a:cubicBezTo>
                      <a:pt x="750566" y="3586"/>
                      <a:pt x="750566" y="3089"/>
                      <a:pt x="758999" y="3089"/>
                    </a:cubicBezTo>
                    <a:cubicBezTo>
                      <a:pt x="766937" y="3089"/>
                      <a:pt x="766937" y="4082"/>
                      <a:pt x="775370" y="4082"/>
                    </a:cubicBezTo>
                    <a:cubicBezTo>
                      <a:pt x="783307" y="4082"/>
                      <a:pt x="783307" y="4082"/>
                      <a:pt x="791741" y="4082"/>
                    </a:cubicBezTo>
                    <a:cubicBezTo>
                      <a:pt x="799678" y="4082"/>
                      <a:pt x="799678" y="3089"/>
                      <a:pt x="808111" y="3089"/>
                    </a:cubicBezTo>
                    <a:cubicBezTo>
                      <a:pt x="816048" y="3089"/>
                      <a:pt x="816048" y="3089"/>
                      <a:pt x="824482" y="3089"/>
                    </a:cubicBezTo>
                    <a:cubicBezTo>
                      <a:pt x="832419" y="3089"/>
                      <a:pt x="832419" y="3586"/>
                      <a:pt x="840852" y="3586"/>
                    </a:cubicBezTo>
                    <a:cubicBezTo>
                      <a:pt x="848790" y="3586"/>
                      <a:pt x="848790" y="4578"/>
                      <a:pt x="857223" y="4578"/>
                    </a:cubicBezTo>
                    <a:cubicBezTo>
                      <a:pt x="865160" y="4578"/>
                      <a:pt x="865160" y="3089"/>
                      <a:pt x="873593" y="3089"/>
                    </a:cubicBezTo>
                    <a:cubicBezTo>
                      <a:pt x="881531" y="3089"/>
                      <a:pt x="881531" y="3586"/>
                      <a:pt x="889964" y="3586"/>
                    </a:cubicBezTo>
                    <a:cubicBezTo>
                      <a:pt x="897901" y="3586"/>
                      <a:pt x="897901" y="2593"/>
                      <a:pt x="906334" y="2593"/>
                    </a:cubicBezTo>
                    <a:cubicBezTo>
                      <a:pt x="914272" y="2593"/>
                      <a:pt x="914272" y="4578"/>
                      <a:pt x="922705" y="4578"/>
                    </a:cubicBezTo>
                    <a:cubicBezTo>
                      <a:pt x="930642" y="4578"/>
                      <a:pt x="930642" y="3586"/>
                      <a:pt x="939075" y="3586"/>
                    </a:cubicBezTo>
                    <a:cubicBezTo>
                      <a:pt x="947013" y="3586"/>
                      <a:pt x="947013" y="4578"/>
                      <a:pt x="955446" y="4578"/>
                    </a:cubicBezTo>
                    <a:cubicBezTo>
                      <a:pt x="963383" y="4578"/>
                      <a:pt x="963383" y="3089"/>
                      <a:pt x="971817" y="3089"/>
                    </a:cubicBezTo>
                    <a:cubicBezTo>
                      <a:pt x="979754" y="3089"/>
                      <a:pt x="979754" y="4578"/>
                      <a:pt x="988187" y="4578"/>
                    </a:cubicBezTo>
                    <a:cubicBezTo>
                      <a:pt x="996124" y="4578"/>
                      <a:pt x="996124" y="3089"/>
                      <a:pt x="1004558" y="3089"/>
                    </a:cubicBezTo>
                    <a:cubicBezTo>
                      <a:pt x="1012495" y="3089"/>
                      <a:pt x="1012495" y="4578"/>
                      <a:pt x="1020928" y="4578"/>
                    </a:cubicBezTo>
                    <a:cubicBezTo>
                      <a:pt x="1028866" y="4578"/>
                      <a:pt x="1028866" y="2593"/>
                      <a:pt x="1037299" y="2593"/>
                    </a:cubicBezTo>
                    <a:cubicBezTo>
                      <a:pt x="1045236" y="2593"/>
                      <a:pt x="1050693" y="-3856"/>
                      <a:pt x="1053670" y="3586"/>
                    </a:cubicBezTo>
                    <a:cubicBezTo>
                      <a:pt x="1056646" y="11027"/>
                      <a:pt x="1047221" y="9042"/>
                      <a:pt x="1041268" y="14499"/>
                    </a:cubicBezTo>
                    <a:cubicBezTo>
                      <a:pt x="1035315" y="20452"/>
                      <a:pt x="1036803" y="21444"/>
                      <a:pt x="1030850" y="27397"/>
                    </a:cubicBezTo>
                    <a:cubicBezTo>
                      <a:pt x="1024897" y="33350"/>
                      <a:pt x="1023409" y="31862"/>
                      <a:pt x="1017952" y="37319"/>
                    </a:cubicBezTo>
                    <a:cubicBezTo>
                      <a:pt x="1011999" y="43272"/>
                      <a:pt x="1013487" y="44264"/>
                      <a:pt x="1007534" y="50217"/>
                    </a:cubicBezTo>
                    <a:cubicBezTo>
                      <a:pt x="1001581" y="56170"/>
                      <a:pt x="1002077" y="56170"/>
                      <a:pt x="996621" y="62123"/>
                    </a:cubicBezTo>
                    <a:cubicBezTo>
                      <a:pt x="990668" y="68076"/>
                      <a:pt x="990668" y="67580"/>
                      <a:pt x="985211" y="73533"/>
                    </a:cubicBezTo>
                    <a:cubicBezTo>
                      <a:pt x="979258" y="79486"/>
                      <a:pt x="977770" y="77997"/>
                      <a:pt x="972313" y="83454"/>
                    </a:cubicBezTo>
                    <a:cubicBezTo>
                      <a:pt x="966360" y="89407"/>
                      <a:pt x="967352" y="89903"/>
                      <a:pt x="961895" y="95856"/>
                    </a:cubicBezTo>
                    <a:cubicBezTo>
                      <a:pt x="955942" y="101809"/>
                      <a:pt x="955446" y="101313"/>
                      <a:pt x="949989" y="106770"/>
                    </a:cubicBezTo>
                    <a:cubicBezTo>
                      <a:pt x="944036" y="112723"/>
                      <a:pt x="944036" y="112227"/>
                      <a:pt x="938084" y="118180"/>
                    </a:cubicBezTo>
                    <a:cubicBezTo>
                      <a:pt x="932131" y="124133"/>
                      <a:pt x="933123" y="125125"/>
                      <a:pt x="927666" y="130582"/>
                    </a:cubicBezTo>
                    <a:cubicBezTo>
                      <a:pt x="921713" y="136535"/>
                      <a:pt x="921713" y="136535"/>
                      <a:pt x="916256" y="141991"/>
                    </a:cubicBezTo>
                    <a:cubicBezTo>
                      <a:pt x="910303" y="147944"/>
                      <a:pt x="910799" y="147944"/>
                      <a:pt x="905342" y="153897"/>
                    </a:cubicBezTo>
                    <a:cubicBezTo>
                      <a:pt x="899389" y="159850"/>
                      <a:pt x="898397" y="158362"/>
                      <a:pt x="892444" y="164315"/>
                    </a:cubicBezTo>
                    <a:cubicBezTo>
                      <a:pt x="886491" y="170268"/>
                      <a:pt x="886491" y="169772"/>
                      <a:pt x="880538" y="175229"/>
                    </a:cubicBezTo>
                    <a:cubicBezTo>
                      <a:pt x="874585" y="181182"/>
                      <a:pt x="875082" y="181182"/>
                      <a:pt x="869129" y="187134"/>
                    </a:cubicBezTo>
                    <a:cubicBezTo>
                      <a:pt x="863176" y="193087"/>
                      <a:pt x="863176" y="192591"/>
                      <a:pt x="857719" y="198544"/>
                    </a:cubicBezTo>
                    <a:cubicBezTo>
                      <a:pt x="851766" y="204497"/>
                      <a:pt x="852262" y="204993"/>
                      <a:pt x="846805" y="210450"/>
                    </a:cubicBezTo>
                    <a:cubicBezTo>
                      <a:pt x="840852" y="216403"/>
                      <a:pt x="841348" y="216403"/>
                      <a:pt x="835395" y="222356"/>
                    </a:cubicBezTo>
                    <a:cubicBezTo>
                      <a:pt x="829442" y="228309"/>
                      <a:pt x="829442" y="228309"/>
                      <a:pt x="823986" y="233766"/>
                    </a:cubicBezTo>
                    <a:cubicBezTo>
                      <a:pt x="818033" y="239719"/>
                      <a:pt x="817536" y="238726"/>
                      <a:pt x="811584" y="244183"/>
                    </a:cubicBezTo>
                    <a:cubicBezTo>
                      <a:pt x="805631" y="250136"/>
                      <a:pt x="806623" y="250632"/>
                      <a:pt x="800670" y="256585"/>
                    </a:cubicBezTo>
                    <a:cubicBezTo>
                      <a:pt x="794717" y="262538"/>
                      <a:pt x="794221" y="261546"/>
                      <a:pt x="788268" y="267499"/>
                    </a:cubicBezTo>
                    <a:cubicBezTo>
                      <a:pt x="782315" y="273452"/>
                      <a:pt x="783307" y="273948"/>
                      <a:pt x="777354" y="279901"/>
                    </a:cubicBezTo>
                    <a:cubicBezTo>
                      <a:pt x="771401" y="285854"/>
                      <a:pt x="771897" y="285854"/>
                      <a:pt x="765944" y="291807"/>
                    </a:cubicBezTo>
                    <a:cubicBezTo>
                      <a:pt x="759991" y="297760"/>
                      <a:pt x="760487" y="297760"/>
                      <a:pt x="754535" y="303713"/>
                    </a:cubicBezTo>
                    <a:cubicBezTo>
                      <a:pt x="748582" y="309666"/>
                      <a:pt x="748085" y="308673"/>
                      <a:pt x="742133" y="314626"/>
                    </a:cubicBezTo>
                    <a:cubicBezTo>
                      <a:pt x="736180" y="320579"/>
                      <a:pt x="735684" y="319587"/>
                      <a:pt x="729731" y="325540"/>
                    </a:cubicBezTo>
                    <a:cubicBezTo>
                      <a:pt x="723778" y="331493"/>
                      <a:pt x="723778" y="331493"/>
                      <a:pt x="718321" y="336950"/>
                    </a:cubicBezTo>
                    <a:cubicBezTo>
                      <a:pt x="712368" y="342903"/>
                      <a:pt x="715344" y="347368"/>
                      <a:pt x="707903" y="350344"/>
                    </a:cubicBezTo>
                    <a:cubicBezTo>
                      <a:pt x="700462" y="353320"/>
                      <a:pt x="699470" y="347864"/>
                      <a:pt x="691037" y="347864"/>
                    </a:cubicBezTo>
                    <a:cubicBezTo>
                      <a:pt x="683099" y="347864"/>
                      <a:pt x="683099" y="349848"/>
                      <a:pt x="674666" y="349848"/>
                    </a:cubicBezTo>
                    <a:cubicBezTo>
                      <a:pt x="666233" y="349848"/>
                      <a:pt x="666233" y="349848"/>
                      <a:pt x="658296" y="349848"/>
                    </a:cubicBezTo>
                    <a:cubicBezTo>
                      <a:pt x="649862" y="349848"/>
                      <a:pt x="649862" y="348856"/>
                      <a:pt x="641925" y="348856"/>
                    </a:cubicBezTo>
                    <a:cubicBezTo>
                      <a:pt x="633492" y="348856"/>
                      <a:pt x="633492" y="347864"/>
                      <a:pt x="625554" y="347864"/>
                    </a:cubicBezTo>
                    <a:cubicBezTo>
                      <a:pt x="617617" y="347864"/>
                      <a:pt x="617617" y="349848"/>
                      <a:pt x="609184" y="349848"/>
                    </a:cubicBezTo>
                    <a:cubicBezTo>
                      <a:pt x="601247" y="349848"/>
                      <a:pt x="601247" y="349352"/>
                      <a:pt x="592813" y="349352"/>
                    </a:cubicBezTo>
                    <a:cubicBezTo>
                      <a:pt x="584380" y="349352"/>
                      <a:pt x="584380" y="349848"/>
                      <a:pt x="576443" y="349848"/>
                    </a:cubicBezTo>
                    <a:cubicBezTo>
                      <a:pt x="568009" y="349848"/>
                      <a:pt x="568009" y="349352"/>
                      <a:pt x="560072" y="349352"/>
                    </a:cubicBezTo>
                    <a:cubicBezTo>
                      <a:pt x="551639" y="349352"/>
                      <a:pt x="551639" y="349352"/>
                      <a:pt x="543702" y="349352"/>
                    </a:cubicBezTo>
                    <a:cubicBezTo>
                      <a:pt x="535268" y="349352"/>
                      <a:pt x="535268" y="347368"/>
                      <a:pt x="527331" y="347368"/>
                    </a:cubicBezTo>
                    <a:cubicBezTo>
                      <a:pt x="518898" y="347368"/>
                      <a:pt x="518898" y="347368"/>
                      <a:pt x="510960" y="347368"/>
                    </a:cubicBezTo>
                    <a:cubicBezTo>
                      <a:pt x="502527" y="347368"/>
                      <a:pt x="502527" y="349352"/>
                      <a:pt x="494590" y="349352"/>
                    </a:cubicBezTo>
                    <a:cubicBezTo>
                      <a:pt x="486156" y="349352"/>
                      <a:pt x="486156" y="349352"/>
                      <a:pt x="478219" y="349352"/>
                    </a:cubicBezTo>
                    <a:cubicBezTo>
                      <a:pt x="469786" y="349352"/>
                      <a:pt x="469786" y="347368"/>
                      <a:pt x="461849" y="347368"/>
                    </a:cubicBezTo>
                    <a:cubicBezTo>
                      <a:pt x="453415" y="347368"/>
                      <a:pt x="453415" y="347368"/>
                      <a:pt x="445478" y="347368"/>
                    </a:cubicBezTo>
                    <a:cubicBezTo>
                      <a:pt x="437045" y="347368"/>
                      <a:pt x="437045" y="349352"/>
                      <a:pt x="429107" y="349352"/>
                    </a:cubicBezTo>
                    <a:cubicBezTo>
                      <a:pt x="420674" y="349352"/>
                      <a:pt x="420674" y="348856"/>
                      <a:pt x="412737" y="348856"/>
                    </a:cubicBezTo>
                    <a:cubicBezTo>
                      <a:pt x="404304" y="348856"/>
                      <a:pt x="404304" y="349848"/>
                      <a:pt x="396366" y="349848"/>
                    </a:cubicBezTo>
                    <a:cubicBezTo>
                      <a:pt x="387933" y="349848"/>
                      <a:pt x="387933" y="347864"/>
                      <a:pt x="379996" y="347864"/>
                    </a:cubicBezTo>
                    <a:cubicBezTo>
                      <a:pt x="371563" y="347864"/>
                      <a:pt x="371563" y="348360"/>
                      <a:pt x="363625" y="348360"/>
                    </a:cubicBezTo>
                    <a:cubicBezTo>
                      <a:pt x="355192" y="348360"/>
                      <a:pt x="355192" y="348360"/>
                      <a:pt x="347255" y="348360"/>
                    </a:cubicBezTo>
                    <a:cubicBezTo>
                      <a:pt x="338821" y="348360"/>
                      <a:pt x="338821" y="349352"/>
                      <a:pt x="330884" y="349352"/>
                    </a:cubicBezTo>
                    <a:cubicBezTo>
                      <a:pt x="322451" y="349352"/>
                      <a:pt x="322451" y="347864"/>
                      <a:pt x="314514" y="347864"/>
                    </a:cubicBezTo>
                    <a:cubicBezTo>
                      <a:pt x="306080" y="347864"/>
                      <a:pt x="306080" y="348360"/>
                      <a:pt x="298143" y="348360"/>
                    </a:cubicBezTo>
                    <a:cubicBezTo>
                      <a:pt x="289710" y="348360"/>
                      <a:pt x="289710" y="349352"/>
                      <a:pt x="281772" y="349352"/>
                    </a:cubicBezTo>
                    <a:cubicBezTo>
                      <a:pt x="273835" y="349352"/>
                      <a:pt x="273835" y="348856"/>
                      <a:pt x="265402" y="348856"/>
                    </a:cubicBezTo>
                    <a:cubicBezTo>
                      <a:pt x="256968" y="348856"/>
                      <a:pt x="256968" y="349352"/>
                      <a:pt x="249031" y="349352"/>
                    </a:cubicBezTo>
                    <a:cubicBezTo>
                      <a:pt x="240598" y="349352"/>
                      <a:pt x="240598" y="348360"/>
                      <a:pt x="232661" y="348360"/>
                    </a:cubicBezTo>
                    <a:cubicBezTo>
                      <a:pt x="224227" y="348360"/>
                      <a:pt x="224227" y="349848"/>
                      <a:pt x="216290" y="349848"/>
                    </a:cubicBezTo>
                    <a:cubicBezTo>
                      <a:pt x="207857" y="349848"/>
                      <a:pt x="207857" y="349848"/>
                      <a:pt x="199919" y="349848"/>
                    </a:cubicBezTo>
                    <a:cubicBezTo>
                      <a:pt x="191486" y="349848"/>
                      <a:pt x="191486" y="348360"/>
                      <a:pt x="183549" y="348360"/>
                    </a:cubicBezTo>
                    <a:cubicBezTo>
                      <a:pt x="175115" y="348360"/>
                      <a:pt x="175115" y="349848"/>
                      <a:pt x="167178" y="349848"/>
                    </a:cubicBezTo>
                    <a:cubicBezTo>
                      <a:pt x="158745" y="349848"/>
                      <a:pt x="158745" y="348856"/>
                      <a:pt x="150808" y="348856"/>
                    </a:cubicBezTo>
                    <a:cubicBezTo>
                      <a:pt x="142374" y="348856"/>
                      <a:pt x="142374" y="349352"/>
                      <a:pt x="134437" y="349352"/>
                    </a:cubicBezTo>
                    <a:cubicBezTo>
                      <a:pt x="126004" y="349352"/>
                      <a:pt x="126004" y="348856"/>
                      <a:pt x="118066" y="348856"/>
                    </a:cubicBezTo>
                    <a:cubicBezTo>
                      <a:pt x="109633" y="348856"/>
                      <a:pt x="109633" y="349848"/>
                      <a:pt x="101696" y="349848"/>
                    </a:cubicBezTo>
                    <a:cubicBezTo>
                      <a:pt x="93263" y="349848"/>
                      <a:pt x="93263" y="348360"/>
                      <a:pt x="85325" y="348360"/>
                    </a:cubicBezTo>
                    <a:cubicBezTo>
                      <a:pt x="76892" y="348360"/>
                      <a:pt x="76892" y="347864"/>
                      <a:pt x="68955" y="347864"/>
                    </a:cubicBezTo>
                    <a:cubicBezTo>
                      <a:pt x="60522" y="347864"/>
                      <a:pt x="60522" y="348856"/>
                      <a:pt x="52584" y="348856"/>
                    </a:cubicBezTo>
                    <a:cubicBezTo>
                      <a:pt x="44151" y="348856"/>
                      <a:pt x="44151" y="349352"/>
                      <a:pt x="36214" y="349352"/>
                    </a:cubicBezTo>
                    <a:cubicBezTo>
                      <a:pt x="27781" y="349352"/>
                      <a:pt x="27781" y="348360"/>
                      <a:pt x="19843" y="348360"/>
                    </a:cubicBezTo>
                    <a:cubicBezTo>
                      <a:pt x="11410" y="348360"/>
                      <a:pt x="11410" y="347864"/>
                      <a:pt x="3473" y="34786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0" name="Freeform: Shape 1609">
                <a:extLst>
                  <a:ext uri="{FF2B5EF4-FFF2-40B4-BE49-F238E27FC236}">
                    <a16:creationId xmlns:a16="http://schemas.microsoft.com/office/drawing/2014/main" id="{A101FAA8-818D-4F3A-2EAC-59C8C30AE50C}"/>
                  </a:ext>
                </a:extLst>
              </p:cNvPr>
              <p:cNvSpPr/>
              <p:nvPr/>
            </p:nvSpPr>
            <p:spPr>
              <a:xfrm>
                <a:off x="4025542" y="2084519"/>
                <a:ext cx="720305" cy="3472"/>
              </a:xfrm>
              <a:custGeom>
                <a:avLst/>
                <a:gdLst>
                  <a:gd name="connsiteX0" fmla="*/ 0 w 720305"/>
                  <a:gd name="connsiteY0" fmla="*/ 2976 h 3472"/>
                  <a:gd name="connsiteX1" fmla="*/ 16371 w 720305"/>
                  <a:gd name="connsiteY1" fmla="*/ 2480 h 3472"/>
                  <a:gd name="connsiteX2" fmla="*/ 32741 w 720305"/>
                  <a:gd name="connsiteY2" fmla="*/ 1488 h 3472"/>
                  <a:gd name="connsiteX3" fmla="*/ 49112 w 720305"/>
                  <a:gd name="connsiteY3" fmla="*/ 2976 h 3472"/>
                  <a:gd name="connsiteX4" fmla="*/ 65482 w 720305"/>
                  <a:gd name="connsiteY4" fmla="*/ 2480 h 3472"/>
                  <a:gd name="connsiteX5" fmla="*/ 81853 w 720305"/>
                  <a:gd name="connsiteY5" fmla="*/ 992 h 3472"/>
                  <a:gd name="connsiteX6" fmla="*/ 98223 w 720305"/>
                  <a:gd name="connsiteY6" fmla="*/ 2480 h 3472"/>
                  <a:gd name="connsiteX7" fmla="*/ 114594 w 720305"/>
                  <a:gd name="connsiteY7" fmla="*/ 2480 h 3472"/>
                  <a:gd name="connsiteX8" fmla="*/ 130965 w 720305"/>
                  <a:gd name="connsiteY8" fmla="*/ 992 h 3472"/>
                  <a:gd name="connsiteX9" fmla="*/ 147335 w 720305"/>
                  <a:gd name="connsiteY9" fmla="*/ 1488 h 3472"/>
                  <a:gd name="connsiteX10" fmla="*/ 163706 w 720305"/>
                  <a:gd name="connsiteY10" fmla="*/ 1488 h 3472"/>
                  <a:gd name="connsiteX11" fmla="*/ 180076 w 720305"/>
                  <a:gd name="connsiteY11" fmla="*/ 1488 h 3472"/>
                  <a:gd name="connsiteX12" fmla="*/ 196447 w 720305"/>
                  <a:gd name="connsiteY12" fmla="*/ 2976 h 3472"/>
                  <a:gd name="connsiteX13" fmla="*/ 212818 w 720305"/>
                  <a:gd name="connsiteY13" fmla="*/ 1488 h 3472"/>
                  <a:gd name="connsiteX14" fmla="*/ 229188 w 720305"/>
                  <a:gd name="connsiteY14" fmla="*/ 2480 h 3472"/>
                  <a:gd name="connsiteX15" fmla="*/ 245559 w 720305"/>
                  <a:gd name="connsiteY15" fmla="*/ 2480 h 3472"/>
                  <a:gd name="connsiteX16" fmla="*/ 261929 w 720305"/>
                  <a:gd name="connsiteY16" fmla="*/ 2976 h 3472"/>
                  <a:gd name="connsiteX17" fmla="*/ 278300 w 720305"/>
                  <a:gd name="connsiteY17" fmla="*/ 2480 h 3472"/>
                  <a:gd name="connsiteX18" fmla="*/ 294670 w 720305"/>
                  <a:gd name="connsiteY18" fmla="*/ 2976 h 3472"/>
                  <a:gd name="connsiteX19" fmla="*/ 311041 w 720305"/>
                  <a:gd name="connsiteY19" fmla="*/ 3472 h 3472"/>
                  <a:gd name="connsiteX20" fmla="*/ 327411 w 720305"/>
                  <a:gd name="connsiteY20" fmla="*/ 992 h 3472"/>
                  <a:gd name="connsiteX21" fmla="*/ 343782 w 720305"/>
                  <a:gd name="connsiteY21" fmla="*/ 2480 h 3472"/>
                  <a:gd name="connsiteX22" fmla="*/ 360153 w 720305"/>
                  <a:gd name="connsiteY22" fmla="*/ 3472 h 3472"/>
                  <a:gd name="connsiteX23" fmla="*/ 376523 w 720305"/>
                  <a:gd name="connsiteY23" fmla="*/ 2976 h 3472"/>
                  <a:gd name="connsiteX24" fmla="*/ 392894 w 720305"/>
                  <a:gd name="connsiteY24" fmla="*/ 2976 h 3472"/>
                  <a:gd name="connsiteX25" fmla="*/ 409264 w 720305"/>
                  <a:gd name="connsiteY25" fmla="*/ 2976 h 3472"/>
                  <a:gd name="connsiteX26" fmla="*/ 425635 w 720305"/>
                  <a:gd name="connsiteY26" fmla="*/ 3472 h 3472"/>
                  <a:gd name="connsiteX27" fmla="*/ 442006 w 720305"/>
                  <a:gd name="connsiteY27" fmla="*/ 3472 h 3472"/>
                  <a:gd name="connsiteX28" fmla="*/ 458376 w 720305"/>
                  <a:gd name="connsiteY28" fmla="*/ 1984 h 3472"/>
                  <a:gd name="connsiteX29" fmla="*/ 474747 w 720305"/>
                  <a:gd name="connsiteY29" fmla="*/ 1984 h 3472"/>
                  <a:gd name="connsiteX30" fmla="*/ 491117 w 720305"/>
                  <a:gd name="connsiteY30" fmla="*/ 2976 h 3472"/>
                  <a:gd name="connsiteX31" fmla="*/ 507488 w 720305"/>
                  <a:gd name="connsiteY31" fmla="*/ 1488 h 3472"/>
                  <a:gd name="connsiteX32" fmla="*/ 523858 w 720305"/>
                  <a:gd name="connsiteY32" fmla="*/ 1488 h 3472"/>
                  <a:gd name="connsiteX33" fmla="*/ 540229 w 720305"/>
                  <a:gd name="connsiteY33" fmla="*/ 992 h 3472"/>
                  <a:gd name="connsiteX34" fmla="*/ 556600 w 720305"/>
                  <a:gd name="connsiteY34" fmla="*/ 992 h 3472"/>
                  <a:gd name="connsiteX35" fmla="*/ 572970 w 720305"/>
                  <a:gd name="connsiteY35" fmla="*/ 992 h 3472"/>
                  <a:gd name="connsiteX36" fmla="*/ 589341 w 720305"/>
                  <a:gd name="connsiteY36" fmla="*/ 1488 h 3472"/>
                  <a:gd name="connsiteX37" fmla="*/ 605711 w 720305"/>
                  <a:gd name="connsiteY37" fmla="*/ 992 h 3472"/>
                  <a:gd name="connsiteX38" fmla="*/ 622082 w 720305"/>
                  <a:gd name="connsiteY38" fmla="*/ 992 h 3472"/>
                  <a:gd name="connsiteX39" fmla="*/ 638452 w 720305"/>
                  <a:gd name="connsiteY39" fmla="*/ 2480 h 3472"/>
                  <a:gd name="connsiteX40" fmla="*/ 654823 w 720305"/>
                  <a:gd name="connsiteY40" fmla="*/ 496 h 3472"/>
                  <a:gd name="connsiteX41" fmla="*/ 671193 w 720305"/>
                  <a:gd name="connsiteY41" fmla="*/ 2480 h 3472"/>
                  <a:gd name="connsiteX42" fmla="*/ 687564 w 720305"/>
                  <a:gd name="connsiteY42" fmla="*/ 1984 h 3472"/>
                  <a:gd name="connsiteX43" fmla="*/ 703935 w 720305"/>
                  <a:gd name="connsiteY43" fmla="*/ 0 h 3472"/>
                  <a:gd name="connsiteX44" fmla="*/ 720305 w 720305"/>
                  <a:gd name="connsiteY44" fmla="*/ 992 h 3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20305" h="3472">
                    <a:moveTo>
                      <a:pt x="0" y="2976"/>
                    </a:moveTo>
                    <a:cubicBezTo>
                      <a:pt x="7937" y="2976"/>
                      <a:pt x="7937" y="2480"/>
                      <a:pt x="16371" y="2480"/>
                    </a:cubicBezTo>
                    <a:cubicBezTo>
                      <a:pt x="24308" y="2480"/>
                      <a:pt x="24308" y="1488"/>
                      <a:pt x="32741" y="1488"/>
                    </a:cubicBezTo>
                    <a:cubicBezTo>
                      <a:pt x="40678" y="1488"/>
                      <a:pt x="40678" y="2976"/>
                      <a:pt x="49112" y="2976"/>
                    </a:cubicBezTo>
                    <a:cubicBezTo>
                      <a:pt x="57049" y="2976"/>
                      <a:pt x="57049" y="2480"/>
                      <a:pt x="65482" y="2480"/>
                    </a:cubicBezTo>
                    <a:cubicBezTo>
                      <a:pt x="73419" y="2480"/>
                      <a:pt x="73419" y="992"/>
                      <a:pt x="81853" y="992"/>
                    </a:cubicBezTo>
                    <a:cubicBezTo>
                      <a:pt x="89790" y="992"/>
                      <a:pt x="89790" y="2480"/>
                      <a:pt x="98223" y="2480"/>
                    </a:cubicBezTo>
                    <a:cubicBezTo>
                      <a:pt x="106161" y="2480"/>
                      <a:pt x="106161" y="2480"/>
                      <a:pt x="114594" y="2480"/>
                    </a:cubicBezTo>
                    <a:cubicBezTo>
                      <a:pt x="122531" y="2480"/>
                      <a:pt x="122531" y="992"/>
                      <a:pt x="130965" y="992"/>
                    </a:cubicBezTo>
                    <a:cubicBezTo>
                      <a:pt x="138902" y="992"/>
                      <a:pt x="138902" y="1488"/>
                      <a:pt x="147335" y="1488"/>
                    </a:cubicBezTo>
                    <a:cubicBezTo>
                      <a:pt x="155272" y="1488"/>
                      <a:pt x="155272" y="1488"/>
                      <a:pt x="163706" y="1488"/>
                    </a:cubicBezTo>
                    <a:cubicBezTo>
                      <a:pt x="171643" y="1488"/>
                      <a:pt x="171643" y="1488"/>
                      <a:pt x="180076" y="1488"/>
                    </a:cubicBezTo>
                    <a:cubicBezTo>
                      <a:pt x="188014" y="1488"/>
                      <a:pt x="188014" y="2976"/>
                      <a:pt x="196447" y="2976"/>
                    </a:cubicBezTo>
                    <a:cubicBezTo>
                      <a:pt x="204384" y="2976"/>
                      <a:pt x="204384" y="1488"/>
                      <a:pt x="212818" y="1488"/>
                    </a:cubicBezTo>
                    <a:cubicBezTo>
                      <a:pt x="220755" y="1488"/>
                      <a:pt x="220755" y="2480"/>
                      <a:pt x="229188" y="2480"/>
                    </a:cubicBezTo>
                    <a:cubicBezTo>
                      <a:pt x="237125" y="2480"/>
                      <a:pt x="237125" y="2480"/>
                      <a:pt x="245559" y="2480"/>
                    </a:cubicBezTo>
                    <a:cubicBezTo>
                      <a:pt x="253496" y="2480"/>
                      <a:pt x="253496" y="2976"/>
                      <a:pt x="261929" y="2976"/>
                    </a:cubicBezTo>
                    <a:cubicBezTo>
                      <a:pt x="269867" y="2976"/>
                      <a:pt x="269867" y="2480"/>
                      <a:pt x="278300" y="2480"/>
                    </a:cubicBezTo>
                    <a:cubicBezTo>
                      <a:pt x="286237" y="2480"/>
                      <a:pt x="286237" y="2976"/>
                      <a:pt x="294670" y="2976"/>
                    </a:cubicBezTo>
                    <a:cubicBezTo>
                      <a:pt x="302608" y="2976"/>
                      <a:pt x="302608" y="3472"/>
                      <a:pt x="311041" y="3472"/>
                    </a:cubicBezTo>
                    <a:cubicBezTo>
                      <a:pt x="318978" y="3472"/>
                      <a:pt x="318978" y="992"/>
                      <a:pt x="327411" y="992"/>
                    </a:cubicBezTo>
                    <a:cubicBezTo>
                      <a:pt x="335349" y="992"/>
                      <a:pt x="335349" y="2480"/>
                      <a:pt x="343782" y="2480"/>
                    </a:cubicBezTo>
                    <a:cubicBezTo>
                      <a:pt x="351719" y="2480"/>
                      <a:pt x="351719" y="3472"/>
                      <a:pt x="360153" y="3472"/>
                    </a:cubicBezTo>
                    <a:cubicBezTo>
                      <a:pt x="368090" y="3472"/>
                      <a:pt x="368090" y="2976"/>
                      <a:pt x="376523" y="2976"/>
                    </a:cubicBezTo>
                    <a:cubicBezTo>
                      <a:pt x="384460" y="2976"/>
                      <a:pt x="384460" y="2976"/>
                      <a:pt x="392894" y="2976"/>
                    </a:cubicBezTo>
                    <a:cubicBezTo>
                      <a:pt x="400831" y="2976"/>
                      <a:pt x="400831" y="2976"/>
                      <a:pt x="409264" y="2976"/>
                    </a:cubicBezTo>
                    <a:cubicBezTo>
                      <a:pt x="417202" y="2976"/>
                      <a:pt x="417202" y="3472"/>
                      <a:pt x="425635" y="3472"/>
                    </a:cubicBezTo>
                    <a:cubicBezTo>
                      <a:pt x="433572" y="3472"/>
                      <a:pt x="433572" y="3472"/>
                      <a:pt x="442006" y="3472"/>
                    </a:cubicBezTo>
                    <a:cubicBezTo>
                      <a:pt x="449943" y="3472"/>
                      <a:pt x="449943" y="1984"/>
                      <a:pt x="458376" y="1984"/>
                    </a:cubicBezTo>
                    <a:cubicBezTo>
                      <a:pt x="466313" y="1984"/>
                      <a:pt x="466313" y="1984"/>
                      <a:pt x="474747" y="1984"/>
                    </a:cubicBezTo>
                    <a:cubicBezTo>
                      <a:pt x="482684" y="1984"/>
                      <a:pt x="482684" y="2976"/>
                      <a:pt x="491117" y="2976"/>
                    </a:cubicBezTo>
                    <a:cubicBezTo>
                      <a:pt x="499055" y="2976"/>
                      <a:pt x="499055" y="1488"/>
                      <a:pt x="507488" y="1488"/>
                    </a:cubicBezTo>
                    <a:cubicBezTo>
                      <a:pt x="515425" y="1488"/>
                      <a:pt x="515425" y="1488"/>
                      <a:pt x="523858" y="1488"/>
                    </a:cubicBezTo>
                    <a:cubicBezTo>
                      <a:pt x="531796" y="1488"/>
                      <a:pt x="531796" y="992"/>
                      <a:pt x="540229" y="992"/>
                    </a:cubicBezTo>
                    <a:cubicBezTo>
                      <a:pt x="548166" y="992"/>
                      <a:pt x="548166" y="992"/>
                      <a:pt x="556600" y="992"/>
                    </a:cubicBezTo>
                    <a:cubicBezTo>
                      <a:pt x="564537" y="992"/>
                      <a:pt x="564537" y="992"/>
                      <a:pt x="572970" y="992"/>
                    </a:cubicBezTo>
                    <a:cubicBezTo>
                      <a:pt x="580907" y="992"/>
                      <a:pt x="580907" y="1488"/>
                      <a:pt x="589341" y="1488"/>
                    </a:cubicBezTo>
                    <a:cubicBezTo>
                      <a:pt x="597278" y="1488"/>
                      <a:pt x="597278" y="992"/>
                      <a:pt x="605711" y="992"/>
                    </a:cubicBezTo>
                    <a:cubicBezTo>
                      <a:pt x="614144" y="992"/>
                      <a:pt x="613648" y="992"/>
                      <a:pt x="622082" y="992"/>
                    </a:cubicBezTo>
                    <a:cubicBezTo>
                      <a:pt x="630019" y="992"/>
                      <a:pt x="630019" y="2480"/>
                      <a:pt x="638452" y="2480"/>
                    </a:cubicBezTo>
                    <a:cubicBezTo>
                      <a:pt x="646390" y="2480"/>
                      <a:pt x="646390" y="496"/>
                      <a:pt x="654823" y="496"/>
                    </a:cubicBezTo>
                    <a:cubicBezTo>
                      <a:pt x="662760" y="496"/>
                      <a:pt x="662760" y="2480"/>
                      <a:pt x="671193" y="2480"/>
                    </a:cubicBezTo>
                    <a:cubicBezTo>
                      <a:pt x="679131" y="2480"/>
                      <a:pt x="679131" y="1984"/>
                      <a:pt x="687564" y="1984"/>
                    </a:cubicBezTo>
                    <a:cubicBezTo>
                      <a:pt x="695501" y="1984"/>
                      <a:pt x="695501" y="0"/>
                      <a:pt x="703935" y="0"/>
                    </a:cubicBezTo>
                    <a:cubicBezTo>
                      <a:pt x="711872" y="0"/>
                      <a:pt x="711872" y="992"/>
                      <a:pt x="720305" y="9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1" name="Freeform: Shape 1610">
                <a:extLst>
                  <a:ext uri="{FF2B5EF4-FFF2-40B4-BE49-F238E27FC236}">
                    <a16:creationId xmlns:a16="http://schemas.microsoft.com/office/drawing/2014/main" id="{AABE1452-1D8B-172F-FC5A-3F30D2E46F78}"/>
                  </a:ext>
                </a:extLst>
              </p:cNvPr>
              <p:cNvSpPr/>
              <p:nvPr/>
            </p:nvSpPr>
            <p:spPr>
              <a:xfrm>
                <a:off x="4159979" y="1950578"/>
                <a:ext cx="720304" cy="3472"/>
              </a:xfrm>
              <a:custGeom>
                <a:avLst/>
                <a:gdLst>
                  <a:gd name="connsiteX0" fmla="*/ 0 w 720304"/>
                  <a:gd name="connsiteY0" fmla="*/ 1984 h 3472"/>
                  <a:gd name="connsiteX1" fmla="*/ 16371 w 720304"/>
                  <a:gd name="connsiteY1" fmla="*/ 2480 h 3472"/>
                  <a:gd name="connsiteX2" fmla="*/ 32741 w 720304"/>
                  <a:gd name="connsiteY2" fmla="*/ 1984 h 3472"/>
                  <a:gd name="connsiteX3" fmla="*/ 49112 w 720304"/>
                  <a:gd name="connsiteY3" fmla="*/ 2480 h 3472"/>
                  <a:gd name="connsiteX4" fmla="*/ 65482 w 720304"/>
                  <a:gd name="connsiteY4" fmla="*/ 992 h 3472"/>
                  <a:gd name="connsiteX5" fmla="*/ 81853 w 720304"/>
                  <a:gd name="connsiteY5" fmla="*/ 2480 h 3472"/>
                  <a:gd name="connsiteX6" fmla="*/ 98223 w 720304"/>
                  <a:gd name="connsiteY6" fmla="*/ 2480 h 3472"/>
                  <a:gd name="connsiteX7" fmla="*/ 114594 w 720304"/>
                  <a:gd name="connsiteY7" fmla="*/ 1488 h 3472"/>
                  <a:gd name="connsiteX8" fmla="*/ 130964 w 720304"/>
                  <a:gd name="connsiteY8" fmla="*/ 1488 h 3472"/>
                  <a:gd name="connsiteX9" fmla="*/ 147335 w 720304"/>
                  <a:gd name="connsiteY9" fmla="*/ 2976 h 3472"/>
                  <a:gd name="connsiteX10" fmla="*/ 163706 w 720304"/>
                  <a:gd name="connsiteY10" fmla="*/ 3472 h 3472"/>
                  <a:gd name="connsiteX11" fmla="*/ 180076 w 720304"/>
                  <a:gd name="connsiteY11" fmla="*/ 2976 h 3472"/>
                  <a:gd name="connsiteX12" fmla="*/ 196447 w 720304"/>
                  <a:gd name="connsiteY12" fmla="*/ 2976 h 3472"/>
                  <a:gd name="connsiteX13" fmla="*/ 212817 w 720304"/>
                  <a:gd name="connsiteY13" fmla="*/ 2480 h 3472"/>
                  <a:gd name="connsiteX14" fmla="*/ 229188 w 720304"/>
                  <a:gd name="connsiteY14" fmla="*/ 1488 h 3472"/>
                  <a:gd name="connsiteX15" fmla="*/ 245559 w 720304"/>
                  <a:gd name="connsiteY15" fmla="*/ 2480 h 3472"/>
                  <a:gd name="connsiteX16" fmla="*/ 261929 w 720304"/>
                  <a:gd name="connsiteY16" fmla="*/ 1488 h 3472"/>
                  <a:gd name="connsiteX17" fmla="*/ 278300 w 720304"/>
                  <a:gd name="connsiteY17" fmla="*/ 2976 h 3472"/>
                  <a:gd name="connsiteX18" fmla="*/ 294670 w 720304"/>
                  <a:gd name="connsiteY18" fmla="*/ 3472 h 3472"/>
                  <a:gd name="connsiteX19" fmla="*/ 311041 w 720304"/>
                  <a:gd name="connsiteY19" fmla="*/ 1488 h 3472"/>
                  <a:gd name="connsiteX20" fmla="*/ 327411 w 720304"/>
                  <a:gd name="connsiteY20" fmla="*/ 2480 h 3472"/>
                  <a:gd name="connsiteX21" fmla="*/ 343782 w 720304"/>
                  <a:gd name="connsiteY21" fmla="*/ 3472 h 3472"/>
                  <a:gd name="connsiteX22" fmla="*/ 360152 w 720304"/>
                  <a:gd name="connsiteY22" fmla="*/ 2976 h 3472"/>
                  <a:gd name="connsiteX23" fmla="*/ 376523 w 720304"/>
                  <a:gd name="connsiteY23" fmla="*/ 1488 h 3472"/>
                  <a:gd name="connsiteX24" fmla="*/ 392893 w 720304"/>
                  <a:gd name="connsiteY24" fmla="*/ 2976 h 3472"/>
                  <a:gd name="connsiteX25" fmla="*/ 409264 w 720304"/>
                  <a:gd name="connsiteY25" fmla="*/ 2976 h 3472"/>
                  <a:gd name="connsiteX26" fmla="*/ 425635 w 720304"/>
                  <a:gd name="connsiteY26" fmla="*/ 2976 h 3472"/>
                  <a:gd name="connsiteX27" fmla="*/ 442005 w 720304"/>
                  <a:gd name="connsiteY27" fmla="*/ 1984 h 3472"/>
                  <a:gd name="connsiteX28" fmla="*/ 458376 w 720304"/>
                  <a:gd name="connsiteY28" fmla="*/ 1488 h 3472"/>
                  <a:gd name="connsiteX29" fmla="*/ 474746 w 720304"/>
                  <a:gd name="connsiteY29" fmla="*/ 2480 h 3472"/>
                  <a:gd name="connsiteX30" fmla="*/ 491117 w 720304"/>
                  <a:gd name="connsiteY30" fmla="*/ 1488 h 3472"/>
                  <a:gd name="connsiteX31" fmla="*/ 507488 w 720304"/>
                  <a:gd name="connsiteY31" fmla="*/ 1984 h 3472"/>
                  <a:gd name="connsiteX32" fmla="*/ 523858 w 720304"/>
                  <a:gd name="connsiteY32" fmla="*/ 2480 h 3472"/>
                  <a:gd name="connsiteX33" fmla="*/ 540229 w 720304"/>
                  <a:gd name="connsiteY33" fmla="*/ 2976 h 3472"/>
                  <a:gd name="connsiteX34" fmla="*/ 556599 w 720304"/>
                  <a:gd name="connsiteY34" fmla="*/ 1984 h 3472"/>
                  <a:gd name="connsiteX35" fmla="*/ 572970 w 720304"/>
                  <a:gd name="connsiteY35" fmla="*/ 992 h 3472"/>
                  <a:gd name="connsiteX36" fmla="*/ 589341 w 720304"/>
                  <a:gd name="connsiteY36" fmla="*/ 2480 h 3472"/>
                  <a:gd name="connsiteX37" fmla="*/ 605711 w 720304"/>
                  <a:gd name="connsiteY37" fmla="*/ 1984 h 3472"/>
                  <a:gd name="connsiteX38" fmla="*/ 622082 w 720304"/>
                  <a:gd name="connsiteY38" fmla="*/ 496 h 3472"/>
                  <a:gd name="connsiteX39" fmla="*/ 638452 w 720304"/>
                  <a:gd name="connsiteY39" fmla="*/ 992 h 3472"/>
                  <a:gd name="connsiteX40" fmla="*/ 654823 w 720304"/>
                  <a:gd name="connsiteY40" fmla="*/ 496 h 3472"/>
                  <a:gd name="connsiteX41" fmla="*/ 671193 w 720304"/>
                  <a:gd name="connsiteY41" fmla="*/ 992 h 3472"/>
                  <a:gd name="connsiteX42" fmla="*/ 687564 w 720304"/>
                  <a:gd name="connsiteY42" fmla="*/ 496 h 3472"/>
                  <a:gd name="connsiteX43" fmla="*/ 703934 w 720304"/>
                  <a:gd name="connsiteY43" fmla="*/ 1488 h 3472"/>
                  <a:gd name="connsiteX44" fmla="*/ 720305 w 720304"/>
                  <a:gd name="connsiteY44" fmla="*/ 0 h 3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20304" h="3472">
                    <a:moveTo>
                      <a:pt x="0" y="1984"/>
                    </a:moveTo>
                    <a:cubicBezTo>
                      <a:pt x="7937" y="1984"/>
                      <a:pt x="7937" y="2480"/>
                      <a:pt x="16371" y="2480"/>
                    </a:cubicBezTo>
                    <a:cubicBezTo>
                      <a:pt x="24308" y="2480"/>
                      <a:pt x="24308" y="1984"/>
                      <a:pt x="32741" y="1984"/>
                    </a:cubicBezTo>
                    <a:cubicBezTo>
                      <a:pt x="40678" y="1984"/>
                      <a:pt x="40678" y="2480"/>
                      <a:pt x="49112" y="2480"/>
                    </a:cubicBezTo>
                    <a:cubicBezTo>
                      <a:pt x="57049" y="2480"/>
                      <a:pt x="57049" y="992"/>
                      <a:pt x="65482" y="992"/>
                    </a:cubicBezTo>
                    <a:cubicBezTo>
                      <a:pt x="73419" y="992"/>
                      <a:pt x="73419" y="2480"/>
                      <a:pt x="81853" y="2480"/>
                    </a:cubicBezTo>
                    <a:cubicBezTo>
                      <a:pt x="89790" y="2480"/>
                      <a:pt x="89790" y="2480"/>
                      <a:pt x="98223" y="2480"/>
                    </a:cubicBezTo>
                    <a:cubicBezTo>
                      <a:pt x="106160" y="2480"/>
                      <a:pt x="106160" y="1488"/>
                      <a:pt x="114594" y="1488"/>
                    </a:cubicBezTo>
                    <a:cubicBezTo>
                      <a:pt x="123027" y="1488"/>
                      <a:pt x="122531" y="1488"/>
                      <a:pt x="130964" y="1488"/>
                    </a:cubicBezTo>
                    <a:cubicBezTo>
                      <a:pt x="138902" y="1488"/>
                      <a:pt x="138902" y="2976"/>
                      <a:pt x="147335" y="2976"/>
                    </a:cubicBezTo>
                    <a:cubicBezTo>
                      <a:pt x="155272" y="2976"/>
                      <a:pt x="155272" y="3472"/>
                      <a:pt x="163706" y="3472"/>
                    </a:cubicBezTo>
                    <a:cubicBezTo>
                      <a:pt x="171643" y="3472"/>
                      <a:pt x="171643" y="2976"/>
                      <a:pt x="180076" y="2976"/>
                    </a:cubicBezTo>
                    <a:cubicBezTo>
                      <a:pt x="188013" y="2976"/>
                      <a:pt x="188013" y="2976"/>
                      <a:pt x="196447" y="2976"/>
                    </a:cubicBezTo>
                    <a:cubicBezTo>
                      <a:pt x="204384" y="2976"/>
                      <a:pt x="204384" y="2480"/>
                      <a:pt x="212817" y="2480"/>
                    </a:cubicBezTo>
                    <a:cubicBezTo>
                      <a:pt x="220755" y="2480"/>
                      <a:pt x="220755" y="1488"/>
                      <a:pt x="229188" y="1488"/>
                    </a:cubicBezTo>
                    <a:cubicBezTo>
                      <a:pt x="237125" y="1488"/>
                      <a:pt x="237125" y="2480"/>
                      <a:pt x="245559" y="2480"/>
                    </a:cubicBezTo>
                    <a:cubicBezTo>
                      <a:pt x="253496" y="2480"/>
                      <a:pt x="253496" y="1488"/>
                      <a:pt x="261929" y="1488"/>
                    </a:cubicBezTo>
                    <a:cubicBezTo>
                      <a:pt x="269866" y="1488"/>
                      <a:pt x="269866" y="2976"/>
                      <a:pt x="278300" y="2976"/>
                    </a:cubicBezTo>
                    <a:cubicBezTo>
                      <a:pt x="286237" y="2976"/>
                      <a:pt x="286237" y="3472"/>
                      <a:pt x="294670" y="3472"/>
                    </a:cubicBezTo>
                    <a:cubicBezTo>
                      <a:pt x="302608" y="3472"/>
                      <a:pt x="302608" y="1488"/>
                      <a:pt x="311041" y="1488"/>
                    </a:cubicBezTo>
                    <a:cubicBezTo>
                      <a:pt x="318978" y="1488"/>
                      <a:pt x="318978" y="2480"/>
                      <a:pt x="327411" y="2480"/>
                    </a:cubicBezTo>
                    <a:cubicBezTo>
                      <a:pt x="335349" y="2480"/>
                      <a:pt x="335349" y="3472"/>
                      <a:pt x="343782" y="3472"/>
                    </a:cubicBezTo>
                    <a:cubicBezTo>
                      <a:pt x="351719" y="3472"/>
                      <a:pt x="351719" y="2976"/>
                      <a:pt x="360152" y="2976"/>
                    </a:cubicBezTo>
                    <a:cubicBezTo>
                      <a:pt x="368090" y="2976"/>
                      <a:pt x="368090" y="1488"/>
                      <a:pt x="376523" y="1488"/>
                    </a:cubicBezTo>
                    <a:cubicBezTo>
                      <a:pt x="384460" y="1488"/>
                      <a:pt x="384460" y="2976"/>
                      <a:pt x="392893" y="2976"/>
                    </a:cubicBezTo>
                    <a:cubicBezTo>
                      <a:pt x="400831" y="2976"/>
                      <a:pt x="400831" y="2976"/>
                      <a:pt x="409264" y="2976"/>
                    </a:cubicBezTo>
                    <a:cubicBezTo>
                      <a:pt x="417201" y="2976"/>
                      <a:pt x="417201" y="2976"/>
                      <a:pt x="425635" y="2976"/>
                    </a:cubicBezTo>
                    <a:cubicBezTo>
                      <a:pt x="433572" y="2976"/>
                      <a:pt x="433572" y="1984"/>
                      <a:pt x="442005" y="1984"/>
                    </a:cubicBezTo>
                    <a:cubicBezTo>
                      <a:pt x="449942" y="1984"/>
                      <a:pt x="449942" y="1488"/>
                      <a:pt x="458376" y="1488"/>
                    </a:cubicBezTo>
                    <a:cubicBezTo>
                      <a:pt x="466313" y="1488"/>
                      <a:pt x="466313" y="2480"/>
                      <a:pt x="474746" y="2480"/>
                    </a:cubicBezTo>
                    <a:cubicBezTo>
                      <a:pt x="482684" y="2480"/>
                      <a:pt x="482684" y="1488"/>
                      <a:pt x="491117" y="1488"/>
                    </a:cubicBezTo>
                    <a:cubicBezTo>
                      <a:pt x="499054" y="1488"/>
                      <a:pt x="499054" y="1984"/>
                      <a:pt x="507488" y="1984"/>
                    </a:cubicBezTo>
                    <a:cubicBezTo>
                      <a:pt x="515425" y="1984"/>
                      <a:pt x="515425" y="2480"/>
                      <a:pt x="523858" y="2480"/>
                    </a:cubicBezTo>
                    <a:cubicBezTo>
                      <a:pt x="531795" y="2480"/>
                      <a:pt x="531795" y="2976"/>
                      <a:pt x="540229" y="2976"/>
                    </a:cubicBezTo>
                    <a:cubicBezTo>
                      <a:pt x="548166" y="2976"/>
                      <a:pt x="548166" y="1984"/>
                      <a:pt x="556599" y="1984"/>
                    </a:cubicBezTo>
                    <a:cubicBezTo>
                      <a:pt x="564537" y="1984"/>
                      <a:pt x="564537" y="992"/>
                      <a:pt x="572970" y="992"/>
                    </a:cubicBezTo>
                    <a:cubicBezTo>
                      <a:pt x="580907" y="992"/>
                      <a:pt x="580907" y="2480"/>
                      <a:pt x="589341" y="2480"/>
                    </a:cubicBezTo>
                    <a:cubicBezTo>
                      <a:pt x="597278" y="2480"/>
                      <a:pt x="597278" y="1984"/>
                      <a:pt x="605711" y="1984"/>
                    </a:cubicBezTo>
                    <a:cubicBezTo>
                      <a:pt x="613648" y="1984"/>
                      <a:pt x="613648" y="496"/>
                      <a:pt x="622082" y="496"/>
                    </a:cubicBezTo>
                    <a:cubicBezTo>
                      <a:pt x="630019" y="496"/>
                      <a:pt x="630019" y="992"/>
                      <a:pt x="638452" y="992"/>
                    </a:cubicBezTo>
                    <a:cubicBezTo>
                      <a:pt x="646390" y="992"/>
                      <a:pt x="646390" y="496"/>
                      <a:pt x="654823" y="496"/>
                    </a:cubicBezTo>
                    <a:cubicBezTo>
                      <a:pt x="662760" y="496"/>
                      <a:pt x="662760" y="992"/>
                      <a:pt x="671193" y="992"/>
                    </a:cubicBezTo>
                    <a:cubicBezTo>
                      <a:pt x="679131" y="992"/>
                      <a:pt x="679131" y="496"/>
                      <a:pt x="687564" y="496"/>
                    </a:cubicBezTo>
                    <a:cubicBezTo>
                      <a:pt x="695501" y="496"/>
                      <a:pt x="695501" y="1488"/>
                      <a:pt x="703934" y="1488"/>
                    </a:cubicBezTo>
                    <a:cubicBezTo>
                      <a:pt x="712368" y="1488"/>
                      <a:pt x="711872" y="0"/>
                      <a:pt x="720305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2" name="Freeform: Shape 1611">
                <a:extLst>
                  <a:ext uri="{FF2B5EF4-FFF2-40B4-BE49-F238E27FC236}">
                    <a16:creationId xmlns:a16="http://schemas.microsoft.com/office/drawing/2014/main" id="{89D2B51E-2AD0-1401-949C-7EC6FF573620}"/>
                  </a:ext>
                </a:extLst>
              </p:cNvPr>
              <p:cNvSpPr/>
              <p:nvPr/>
            </p:nvSpPr>
            <p:spPr>
              <a:xfrm>
                <a:off x="4074158" y="1851362"/>
                <a:ext cx="345766" cy="347254"/>
              </a:xfrm>
              <a:custGeom>
                <a:avLst/>
                <a:gdLst>
                  <a:gd name="connsiteX0" fmla="*/ 0 w 345766"/>
                  <a:gd name="connsiteY0" fmla="*/ 347255 h 347254"/>
                  <a:gd name="connsiteX1" fmla="*/ 11410 w 345766"/>
                  <a:gd name="connsiteY1" fmla="*/ 335845 h 347254"/>
                  <a:gd name="connsiteX2" fmla="*/ 22324 w 345766"/>
                  <a:gd name="connsiteY2" fmla="*/ 323939 h 347254"/>
                  <a:gd name="connsiteX3" fmla="*/ 33237 w 345766"/>
                  <a:gd name="connsiteY3" fmla="*/ 312033 h 347254"/>
                  <a:gd name="connsiteX4" fmla="*/ 45143 w 345766"/>
                  <a:gd name="connsiteY4" fmla="*/ 300623 h 347254"/>
                  <a:gd name="connsiteX5" fmla="*/ 56553 w 345766"/>
                  <a:gd name="connsiteY5" fmla="*/ 289213 h 347254"/>
                  <a:gd name="connsiteX6" fmla="*/ 67963 w 345766"/>
                  <a:gd name="connsiteY6" fmla="*/ 277308 h 347254"/>
                  <a:gd name="connsiteX7" fmla="*/ 79869 w 345766"/>
                  <a:gd name="connsiteY7" fmla="*/ 266394 h 347254"/>
                  <a:gd name="connsiteX8" fmla="*/ 91278 w 345766"/>
                  <a:gd name="connsiteY8" fmla="*/ 254488 h 347254"/>
                  <a:gd name="connsiteX9" fmla="*/ 102688 w 345766"/>
                  <a:gd name="connsiteY9" fmla="*/ 242582 h 347254"/>
                  <a:gd name="connsiteX10" fmla="*/ 115090 w 345766"/>
                  <a:gd name="connsiteY10" fmla="*/ 231668 h 347254"/>
                  <a:gd name="connsiteX11" fmla="*/ 126996 w 345766"/>
                  <a:gd name="connsiteY11" fmla="*/ 220755 h 347254"/>
                  <a:gd name="connsiteX12" fmla="*/ 137910 w 345766"/>
                  <a:gd name="connsiteY12" fmla="*/ 208849 h 347254"/>
                  <a:gd name="connsiteX13" fmla="*/ 150312 w 345766"/>
                  <a:gd name="connsiteY13" fmla="*/ 197935 h 347254"/>
                  <a:gd name="connsiteX14" fmla="*/ 160729 w 345766"/>
                  <a:gd name="connsiteY14" fmla="*/ 185533 h 347254"/>
                  <a:gd name="connsiteX15" fmla="*/ 171643 w 345766"/>
                  <a:gd name="connsiteY15" fmla="*/ 173627 h 347254"/>
                  <a:gd name="connsiteX16" fmla="*/ 183549 w 345766"/>
                  <a:gd name="connsiteY16" fmla="*/ 162217 h 347254"/>
                  <a:gd name="connsiteX17" fmla="*/ 195951 w 345766"/>
                  <a:gd name="connsiteY17" fmla="*/ 151800 h 347254"/>
                  <a:gd name="connsiteX18" fmla="*/ 206369 w 345766"/>
                  <a:gd name="connsiteY18" fmla="*/ 138902 h 347254"/>
                  <a:gd name="connsiteX19" fmla="*/ 218274 w 345766"/>
                  <a:gd name="connsiteY19" fmla="*/ 127988 h 347254"/>
                  <a:gd name="connsiteX20" fmla="*/ 230676 w 345766"/>
                  <a:gd name="connsiteY20" fmla="*/ 117570 h 347254"/>
                  <a:gd name="connsiteX21" fmla="*/ 242582 w 345766"/>
                  <a:gd name="connsiteY21" fmla="*/ 106161 h 347254"/>
                  <a:gd name="connsiteX22" fmla="*/ 253992 w 345766"/>
                  <a:gd name="connsiteY22" fmla="*/ 94255 h 347254"/>
                  <a:gd name="connsiteX23" fmla="*/ 264410 w 345766"/>
                  <a:gd name="connsiteY23" fmla="*/ 81357 h 347254"/>
                  <a:gd name="connsiteX24" fmla="*/ 276315 w 345766"/>
                  <a:gd name="connsiteY24" fmla="*/ 69947 h 347254"/>
                  <a:gd name="connsiteX25" fmla="*/ 288221 w 345766"/>
                  <a:gd name="connsiteY25" fmla="*/ 58537 h 347254"/>
                  <a:gd name="connsiteX26" fmla="*/ 300623 w 345766"/>
                  <a:gd name="connsiteY26" fmla="*/ 47623 h 347254"/>
                  <a:gd name="connsiteX27" fmla="*/ 311537 w 345766"/>
                  <a:gd name="connsiteY27" fmla="*/ 35221 h 347254"/>
                  <a:gd name="connsiteX28" fmla="*/ 323443 w 345766"/>
                  <a:gd name="connsiteY28" fmla="*/ 23812 h 347254"/>
                  <a:gd name="connsiteX29" fmla="*/ 335349 w 345766"/>
                  <a:gd name="connsiteY29" fmla="*/ 12402 h 347254"/>
                  <a:gd name="connsiteX30" fmla="*/ 345766 w 345766"/>
                  <a:gd name="connsiteY30" fmla="*/ 0 h 347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7254">
                    <a:moveTo>
                      <a:pt x="0" y="347255"/>
                    </a:moveTo>
                    <a:cubicBezTo>
                      <a:pt x="5953" y="341302"/>
                      <a:pt x="5953" y="341302"/>
                      <a:pt x="11410" y="335845"/>
                    </a:cubicBezTo>
                    <a:cubicBezTo>
                      <a:pt x="17363" y="329892"/>
                      <a:pt x="16867" y="329396"/>
                      <a:pt x="22324" y="323939"/>
                    </a:cubicBezTo>
                    <a:cubicBezTo>
                      <a:pt x="28277" y="317986"/>
                      <a:pt x="27781" y="317490"/>
                      <a:pt x="33237" y="312033"/>
                    </a:cubicBezTo>
                    <a:cubicBezTo>
                      <a:pt x="39190" y="306080"/>
                      <a:pt x="39190" y="306576"/>
                      <a:pt x="45143" y="300623"/>
                    </a:cubicBezTo>
                    <a:cubicBezTo>
                      <a:pt x="51096" y="294670"/>
                      <a:pt x="50600" y="294670"/>
                      <a:pt x="56553" y="289213"/>
                    </a:cubicBezTo>
                    <a:cubicBezTo>
                      <a:pt x="62506" y="283260"/>
                      <a:pt x="62010" y="283260"/>
                      <a:pt x="67963" y="277308"/>
                    </a:cubicBezTo>
                    <a:cubicBezTo>
                      <a:pt x="73916" y="271355"/>
                      <a:pt x="74412" y="271851"/>
                      <a:pt x="79869" y="266394"/>
                    </a:cubicBezTo>
                    <a:cubicBezTo>
                      <a:pt x="85822" y="260441"/>
                      <a:pt x="85325" y="260441"/>
                      <a:pt x="91278" y="254488"/>
                    </a:cubicBezTo>
                    <a:cubicBezTo>
                      <a:pt x="97231" y="248535"/>
                      <a:pt x="96735" y="248535"/>
                      <a:pt x="102688" y="242582"/>
                    </a:cubicBezTo>
                    <a:cubicBezTo>
                      <a:pt x="108641" y="236629"/>
                      <a:pt x="109137" y="237621"/>
                      <a:pt x="115090" y="231668"/>
                    </a:cubicBezTo>
                    <a:cubicBezTo>
                      <a:pt x="121043" y="225715"/>
                      <a:pt x="121539" y="226211"/>
                      <a:pt x="126996" y="220755"/>
                    </a:cubicBezTo>
                    <a:cubicBezTo>
                      <a:pt x="132949" y="214802"/>
                      <a:pt x="131957" y="214306"/>
                      <a:pt x="137910" y="208849"/>
                    </a:cubicBezTo>
                    <a:cubicBezTo>
                      <a:pt x="143863" y="202896"/>
                      <a:pt x="144359" y="203888"/>
                      <a:pt x="150312" y="197935"/>
                    </a:cubicBezTo>
                    <a:cubicBezTo>
                      <a:pt x="156265" y="191982"/>
                      <a:pt x="154776" y="190990"/>
                      <a:pt x="160729" y="185533"/>
                    </a:cubicBezTo>
                    <a:cubicBezTo>
                      <a:pt x="166682" y="179580"/>
                      <a:pt x="166186" y="179580"/>
                      <a:pt x="171643" y="173627"/>
                    </a:cubicBezTo>
                    <a:cubicBezTo>
                      <a:pt x="177596" y="167674"/>
                      <a:pt x="177596" y="168170"/>
                      <a:pt x="183549" y="162217"/>
                    </a:cubicBezTo>
                    <a:cubicBezTo>
                      <a:pt x="189502" y="156265"/>
                      <a:pt x="190494" y="157257"/>
                      <a:pt x="195951" y="151800"/>
                    </a:cubicBezTo>
                    <a:cubicBezTo>
                      <a:pt x="201904" y="145847"/>
                      <a:pt x="200416" y="144855"/>
                      <a:pt x="206369" y="138902"/>
                    </a:cubicBezTo>
                    <a:cubicBezTo>
                      <a:pt x="212322" y="132949"/>
                      <a:pt x="212322" y="133445"/>
                      <a:pt x="218274" y="127988"/>
                    </a:cubicBezTo>
                    <a:cubicBezTo>
                      <a:pt x="224227" y="122035"/>
                      <a:pt x="225220" y="123027"/>
                      <a:pt x="230676" y="117570"/>
                    </a:cubicBezTo>
                    <a:cubicBezTo>
                      <a:pt x="236629" y="111618"/>
                      <a:pt x="236629" y="112113"/>
                      <a:pt x="242582" y="106161"/>
                    </a:cubicBezTo>
                    <a:cubicBezTo>
                      <a:pt x="248535" y="100208"/>
                      <a:pt x="248039" y="100208"/>
                      <a:pt x="253992" y="94255"/>
                    </a:cubicBezTo>
                    <a:cubicBezTo>
                      <a:pt x="259945" y="88302"/>
                      <a:pt x="258457" y="87310"/>
                      <a:pt x="264410" y="81357"/>
                    </a:cubicBezTo>
                    <a:cubicBezTo>
                      <a:pt x="270362" y="75404"/>
                      <a:pt x="270362" y="75900"/>
                      <a:pt x="276315" y="69947"/>
                    </a:cubicBezTo>
                    <a:cubicBezTo>
                      <a:pt x="282268" y="63994"/>
                      <a:pt x="282268" y="64490"/>
                      <a:pt x="288221" y="58537"/>
                    </a:cubicBezTo>
                    <a:cubicBezTo>
                      <a:pt x="294174" y="52584"/>
                      <a:pt x="294670" y="53576"/>
                      <a:pt x="300623" y="47623"/>
                    </a:cubicBezTo>
                    <a:cubicBezTo>
                      <a:pt x="306576" y="41671"/>
                      <a:pt x="305584" y="41174"/>
                      <a:pt x="311537" y="35221"/>
                    </a:cubicBezTo>
                    <a:cubicBezTo>
                      <a:pt x="317490" y="29269"/>
                      <a:pt x="317490" y="29765"/>
                      <a:pt x="323443" y="23812"/>
                    </a:cubicBezTo>
                    <a:cubicBezTo>
                      <a:pt x="329396" y="17859"/>
                      <a:pt x="329396" y="18355"/>
                      <a:pt x="335349" y="12402"/>
                    </a:cubicBezTo>
                    <a:cubicBezTo>
                      <a:pt x="341302" y="6449"/>
                      <a:pt x="340310" y="5457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3" name="Freeform: Shape 1612">
                <a:extLst>
                  <a:ext uri="{FF2B5EF4-FFF2-40B4-BE49-F238E27FC236}">
                    <a16:creationId xmlns:a16="http://schemas.microsoft.com/office/drawing/2014/main" id="{75639031-5EB5-5378-08F0-B8BE48879A27}"/>
                  </a:ext>
                </a:extLst>
              </p:cNvPr>
              <p:cNvSpPr/>
              <p:nvPr/>
            </p:nvSpPr>
            <p:spPr>
              <a:xfrm>
                <a:off x="4259691" y="1852354"/>
                <a:ext cx="345766" cy="346758"/>
              </a:xfrm>
              <a:custGeom>
                <a:avLst/>
                <a:gdLst>
                  <a:gd name="connsiteX0" fmla="*/ 0 w 345766"/>
                  <a:gd name="connsiteY0" fmla="*/ 346758 h 346758"/>
                  <a:gd name="connsiteX1" fmla="*/ 10914 w 345766"/>
                  <a:gd name="connsiteY1" fmla="*/ 334357 h 346758"/>
                  <a:gd name="connsiteX2" fmla="*/ 21828 w 345766"/>
                  <a:gd name="connsiteY2" fmla="*/ 322451 h 346758"/>
                  <a:gd name="connsiteX3" fmla="*/ 32741 w 345766"/>
                  <a:gd name="connsiteY3" fmla="*/ 310545 h 346758"/>
                  <a:gd name="connsiteX4" fmla="*/ 45143 w 345766"/>
                  <a:gd name="connsiteY4" fmla="*/ 299631 h 346758"/>
                  <a:gd name="connsiteX5" fmla="*/ 57049 w 345766"/>
                  <a:gd name="connsiteY5" fmla="*/ 288717 h 346758"/>
                  <a:gd name="connsiteX6" fmla="*/ 67466 w 345766"/>
                  <a:gd name="connsiteY6" fmla="*/ 276315 h 346758"/>
                  <a:gd name="connsiteX7" fmla="*/ 79372 w 345766"/>
                  <a:gd name="connsiteY7" fmla="*/ 265402 h 346758"/>
                  <a:gd name="connsiteX8" fmla="*/ 90286 w 345766"/>
                  <a:gd name="connsiteY8" fmla="*/ 253000 h 346758"/>
                  <a:gd name="connsiteX9" fmla="*/ 102688 w 345766"/>
                  <a:gd name="connsiteY9" fmla="*/ 242086 h 346758"/>
                  <a:gd name="connsiteX10" fmla="*/ 115090 w 345766"/>
                  <a:gd name="connsiteY10" fmla="*/ 231172 h 346758"/>
                  <a:gd name="connsiteX11" fmla="*/ 126004 w 345766"/>
                  <a:gd name="connsiteY11" fmla="*/ 219267 h 346758"/>
                  <a:gd name="connsiteX12" fmla="*/ 137414 w 345766"/>
                  <a:gd name="connsiteY12" fmla="*/ 207361 h 346758"/>
                  <a:gd name="connsiteX13" fmla="*/ 149319 w 345766"/>
                  <a:gd name="connsiteY13" fmla="*/ 196447 h 346758"/>
                  <a:gd name="connsiteX14" fmla="*/ 160729 w 345766"/>
                  <a:gd name="connsiteY14" fmla="*/ 184541 h 346758"/>
                  <a:gd name="connsiteX15" fmla="*/ 172139 w 345766"/>
                  <a:gd name="connsiteY15" fmla="*/ 172635 h 346758"/>
                  <a:gd name="connsiteX16" fmla="*/ 184541 w 345766"/>
                  <a:gd name="connsiteY16" fmla="*/ 161721 h 346758"/>
                  <a:gd name="connsiteX17" fmla="*/ 194959 w 345766"/>
                  <a:gd name="connsiteY17" fmla="*/ 149319 h 346758"/>
                  <a:gd name="connsiteX18" fmla="*/ 207361 w 345766"/>
                  <a:gd name="connsiteY18" fmla="*/ 138902 h 346758"/>
                  <a:gd name="connsiteX19" fmla="*/ 218274 w 345766"/>
                  <a:gd name="connsiteY19" fmla="*/ 126500 h 346758"/>
                  <a:gd name="connsiteX20" fmla="*/ 230676 w 345766"/>
                  <a:gd name="connsiteY20" fmla="*/ 115586 h 346758"/>
                  <a:gd name="connsiteX21" fmla="*/ 241094 w 345766"/>
                  <a:gd name="connsiteY21" fmla="*/ 103184 h 346758"/>
                  <a:gd name="connsiteX22" fmla="*/ 253000 w 345766"/>
                  <a:gd name="connsiteY22" fmla="*/ 92271 h 346758"/>
                  <a:gd name="connsiteX23" fmla="*/ 264409 w 345766"/>
                  <a:gd name="connsiteY23" fmla="*/ 80861 h 346758"/>
                  <a:gd name="connsiteX24" fmla="*/ 275819 w 345766"/>
                  <a:gd name="connsiteY24" fmla="*/ 68955 h 346758"/>
                  <a:gd name="connsiteX25" fmla="*/ 287725 w 345766"/>
                  <a:gd name="connsiteY25" fmla="*/ 57545 h 346758"/>
                  <a:gd name="connsiteX26" fmla="*/ 298639 w 345766"/>
                  <a:gd name="connsiteY26" fmla="*/ 45143 h 346758"/>
                  <a:gd name="connsiteX27" fmla="*/ 310545 w 345766"/>
                  <a:gd name="connsiteY27" fmla="*/ 34229 h 346758"/>
                  <a:gd name="connsiteX28" fmla="*/ 322947 w 345766"/>
                  <a:gd name="connsiteY28" fmla="*/ 23812 h 346758"/>
                  <a:gd name="connsiteX29" fmla="*/ 333860 w 345766"/>
                  <a:gd name="connsiteY29" fmla="*/ 11410 h 346758"/>
                  <a:gd name="connsiteX30" fmla="*/ 345766 w 345766"/>
                  <a:gd name="connsiteY30" fmla="*/ 0 h 346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6758">
                    <a:moveTo>
                      <a:pt x="0" y="346758"/>
                    </a:moveTo>
                    <a:cubicBezTo>
                      <a:pt x="5953" y="340806"/>
                      <a:pt x="4961" y="340309"/>
                      <a:pt x="10914" y="334357"/>
                    </a:cubicBezTo>
                    <a:cubicBezTo>
                      <a:pt x="16867" y="328404"/>
                      <a:pt x="16371" y="327908"/>
                      <a:pt x="21828" y="322451"/>
                    </a:cubicBezTo>
                    <a:cubicBezTo>
                      <a:pt x="27780" y="316498"/>
                      <a:pt x="27284" y="316002"/>
                      <a:pt x="32741" y="310545"/>
                    </a:cubicBezTo>
                    <a:cubicBezTo>
                      <a:pt x="38694" y="304592"/>
                      <a:pt x="39190" y="305584"/>
                      <a:pt x="45143" y="299631"/>
                    </a:cubicBezTo>
                    <a:cubicBezTo>
                      <a:pt x="51096" y="293678"/>
                      <a:pt x="51592" y="294670"/>
                      <a:pt x="57049" y="288717"/>
                    </a:cubicBezTo>
                    <a:cubicBezTo>
                      <a:pt x="63002" y="282764"/>
                      <a:pt x="61514" y="281772"/>
                      <a:pt x="67466" y="276315"/>
                    </a:cubicBezTo>
                    <a:cubicBezTo>
                      <a:pt x="73419" y="270362"/>
                      <a:pt x="73419" y="270859"/>
                      <a:pt x="79372" y="265402"/>
                    </a:cubicBezTo>
                    <a:cubicBezTo>
                      <a:pt x="85325" y="259449"/>
                      <a:pt x="84333" y="258953"/>
                      <a:pt x="90286" y="253000"/>
                    </a:cubicBezTo>
                    <a:cubicBezTo>
                      <a:pt x="96239" y="247047"/>
                      <a:pt x="96735" y="248039"/>
                      <a:pt x="102688" y="242086"/>
                    </a:cubicBezTo>
                    <a:cubicBezTo>
                      <a:pt x="108641" y="236133"/>
                      <a:pt x="109137" y="237125"/>
                      <a:pt x="115090" y="231172"/>
                    </a:cubicBezTo>
                    <a:cubicBezTo>
                      <a:pt x="121043" y="225219"/>
                      <a:pt x="120051" y="224723"/>
                      <a:pt x="126004" y="219267"/>
                    </a:cubicBezTo>
                    <a:cubicBezTo>
                      <a:pt x="131957" y="213314"/>
                      <a:pt x="131461" y="213314"/>
                      <a:pt x="137414" y="207361"/>
                    </a:cubicBezTo>
                    <a:cubicBezTo>
                      <a:pt x="143367" y="201408"/>
                      <a:pt x="143863" y="201904"/>
                      <a:pt x="149319" y="196447"/>
                    </a:cubicBezTo>
                    <a:cubicBezTo>
                      <a:pt x="155272" y="190494"/>
                      <a:pt x="154776" y="190494"/>
                      <a:pt x="160729" y="184541"/>
                    </a:cubicBezTo>
                    <a:cubicBezTo>
                      <a:pt x="166682" y="178588"/>
                      <a:pt x="166186" y="178588"/>
                      <a:pt x="172139" y="172635"/>
                    </a:cubicBezTo>
                    <a:cubicBezTo>
                      <a:pt x="178092" y="166682"/>
                      <a:pt x="178588" y="167674"/>
                      <a:pt x="184541" y="161721"/>
                    </a:cubicBezTo>
                    <a:cubicBezTo>
                      <a:pt x="190494" y="155768"/>
                      <a:pt x="189502" y="154776"/>
                      <a:pt x="194959" y="149319"/>
                    </a:cubicBezTo>
                    <a:cubicBezTo>
                      <a:pt x="200912" y="143366"/>
                      <a:pt x="201904" y="144359"/>
                      <a:pt x="207361" y="138902"/>
                    </a:cubicBezTo>
                    <a:cubicBezTo>
                      <a:pt x="213314" y="132949"/>
                      <a:pt x="212321" y="132453"/>
                      <a:pt x="218274" y="126500"/>
                    </a:cubicBezTo>
                    <a:cubicBezTo>
                      <a:pt x="224227" y="120547"/>
                      <a:pt x="224723" y="121539"/>
                      <a:pt x="230676" y="115586"/>
                    </a:cubicBezTo>
                    <a:cubicBezTo>
                      <a:pt x="236629" y="109633"/>
                      <a:pt x="235637" y="109137"/>
                      <a:pt x="241094" y="103184"/>
                    </a:cubicBezTo>
                    <a:cubicBezTo>
                      <a:pt x="247047" y="97231"/>
                      <a:pt x="247543" y="97727"/>
                      <a:pt x="253000" y="92271"/>
                    </a:cubicBezTo>
                    <a:cubicBezTo>
                      <a:pt x="258456" y="86814"/>
                      <a:pt x="258953" y="86318"/>
                      <a:pt x="264409" y="80861"/>
                    </a:cubicBezTo>
                    <a:cubicBezTo>
                      <a:pt x="270362" y="74908"/>
                      <a:pt x="269867" y="74908"/>
                      <a:pt x="275819" y="68955"/>
                    </a:cubicBezTo>
                    <a:cubicBezTo>
                      <a:pt x="281772" y="63002"/>
                      <a:pt x="281772" y="63498"/>
                      <a:pt x="287725" y="57545"/>
                    </a:cubicBezTo>
                    <a:cubicBezTo>
                      <a:pt x="293678" y="51592"/>
                      <a:pt x="292686" y="51096"/>
                      <a:pt x="298639" y="45143"/>
                    </a:cubicBezTo>
                    <a:cubicBezTo>
                      <a:pt x="304592" y="39190"/>
                      <a:pt x="305088" y="39686"/>
                      <a:pt x="310545" y="34229"/>
                    </a:cubicBezTo>
                    <a:cubicBezTo>
                      <a:pt x="316498" y="28277"/>
                      <a:pt x="317490" y="29269"/>
                      <a:pt x="322947" y="23812"/>
                    </a:cubicBezTo>
                    <a:cubicBezTo>
                      <a:pt x="328900" y="17859"/>
                      <a:pt x="327907" y="17363"/>
                      <a:pt x="333860" y="11410"/>
                    </a:cubicBezTo>
                    <a:cubicBezTo>
                      <a:pt x="339813" y="5457"/>
                      <a:pt x="339813" y="5953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4" name="Freeform: Shape 1613">
                <a:extLst>
                  <a:ext uri="{FF2B5EF4-FFF2-40B4-BE49-F238E27FC236}">
                    <a16:creationId xmlns:a16="http://schemas.microsoft.com/office/drawing/2014/main" id="{1023F165-748D-13C5-938A-411713525E31}"/>
                  </a:ext>
                </a:extLst>
              </p:cNvPr>
              <p:cNvSpPr/>
              <p:nvPr/>
            </p:nvSpPr>
            <p:spPr>
              <a:xfrm>
                <a:off x="4427861" y="1853843"/>
                <a:ext cx="345766" cy="343781"/>
              </a:xfrm>
              <a:custGeom>
                <a:avLst/>
                <a:gdLst>
                  <a:gd name="connsiteX0" fmla="*/ 0 w 345766"/>
                  <a:gd name="connsiteY0" fmla="*/ 343782 h 343781"/>
                  <a:gd name="connsiteX1" fmla="*/ 12898 w 345766"/>
                  <a:gd name="connsiteY1" fmla="*/ 333364 h 343781"/>
                  <a:gd name="connsiteX2" fmla="*/ 23315 w 345766"/>
                  <a:gd name="connsiteY2" fmla="*/ 320962 h 343781"/>
                  <a:gd name="connsiteX3" fmla="*/ 35221 w 345766"/>
                  <a:gd name="connsiteY3" fmla="*/ 310049 h 343781"/>
                  <a:gd name="connsiteX4" fmla="*/ 46135 w 345766"/>
                  <a:gd name="connsiteY4" fmla="*/ 298143 h 343781"/>
                  <a:gd name="connsiteX5" fmla="*/ 58041 w 345766"/>
                  <a:gd name="connsiteY5" fmla="*/ 287229 h 343781"/>
                  <a:gd name="connsiteX6" fmla="*/ 68459 w 345766"/>
                  <a:gd name="connsiteY6" fmla="*/ 274331 h 343781"/>
                  <a:gd name="connsiteX7" fmla="*/ 80861 w 345766"/>
                  <a:gd name="connsiteY7" fmla="*/ 263913 h 343781"/>
                  <a:gd name="connsiteX8" fmla="*/ 92766 w 345766"/>
                  <a:gd name="connsiteY8" fmla="*/ 253000 h 343781"/>
                  <a:gd name="connsiteX9" fmla="*/ 103680 w 345766"/>
                  <a:gd name="connsiteY9" fmla="*/ 241094 h 343781"/>
                  <a:gd name="connsiteX10" fmla="*/ 115586 w 345766"/>
                  <a:gd name="connsiteY10" fmla="*/ 230180 h 343781"/>
                  <a:gd name="connsiteX11" fmla="*/ 126500 w 345766"/>
                  <a:gd name="connsiteY11" fmla="*/ 217778 h 343781"/>
                  <a:gd name="connsiteX12" fmla="*/ 138902 w 345766"/>
                  <a:gd name="connsiteY12" fmla="*/ 207361 h 343781"/>
                  <a:gd name="connsiteX13" fmla="*/ 149815 w 345766"/>
                  <a:gd name="connsiteY13" fmla="*/ 195455 h 343781"/>
                  <a:gd name="connsiteX14" fmla="*/ 160729 w 345766"/>
                  <a:gd name="connsiteY14" fmla="*/ 183549 h 343781"/>
                  <a:gd name="connsiteX15" fmla="*/ 172635 w 345766"/>
                  <a:gd name="connsiteY15" fmla="*/ 172139 h 343781"/>
                  <a:gd name="connsiteX16" fmla="*/ 185037 w 345766"/>
                  <a:gd name="connsiteY16" fmla="*/ 161721 h 343781"/>
                  <a:gd name="connsiteX17" fmla="*/ 196447 w 345766"/>
                  <a:gd name="connsiteY17" fmla="*/ 150312 h 343781"/>
                  <a:gd name="connsiteX18" fmla="*/ 207856 w 345766"/>
                  <a:gd name="connsiteY18" fmla="*/ 138902 h 343781"/>
                  <a:gd name="connsiteX19" fmla="*/ 218274 w 345766"/>
                  <a:gd name="connsiteY19" fmla="*/ 126004 h 343781"/>
                  <a:gd name="connsiteX20" fmla="*/ 229684 w 345766"/>
                  <a:gd name="connsiteY20" fmla="*/ 114594 h 343781"/>
                  <a:gd name="connsiteX21" fmla="*/ 241590 w 345766"/>
                  <a:gd name="connsiteY21" fmla="*/ 103680 h 343781"/>
                  <a:gd name="connsiteX22" fmla="*/ 253496 w 345766"/>
                  <a:gd name="connsiteY22" fmla="*/ 92766 h 343781"/>
                  <a:gd name="connsiteX23" fmla="*/ 265402 w 345766"/>
                  <a:gd name="connsiteY23" fmla="*/ 81357 h 343781"/>
                  <a:gd name="connsiteX24" fmla="*/ 276315 w 345766"/>
                  <a:gd name="connsiteY24" fmla="*/ 69451 h 343781"/>
                  <a:gd name="connsiteX25" fmla="*/ 288221 w 345766"/>
                  <a:gd name="connsiteY25" fmla="*/ 58041 h 343781"/>
                  <a:gd name="connsiteX26" fmla="*/ 299135 w 345766"/>
                  <a:gd name="connsiteY26" fmla="*/ 45639 h 343781"/>
                  <a:gd name="connsiteX27" fmla="*/ 311041 w 345766"/>
                  <a:gd name="connsiteY27" fmla="*/ 34229 h 343781"/>
                  <a:gd name="connsiteX28" fmla="*/ 322947 w 345766"/>
                  <a:gd name="connsiteY28" fmla="*/ 22819 h 343781"/>
                  <a:gd name="connsiteX29" fmla="*/ 334853 w 345766"/>
                  <a:gd name="connsiteY29" fmla="*/ 11906 h 343781"/>
                  <a:gd name="connsiteX30" fmla="*/ 345766 w 345766"/>
                  <a:gd name="connsiteY30" fmla="*/ 0 h 343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3781">
                    <a:moveTo>
                      <a:pt x="0" y="343782"/>
                    </a:moveTo>
                    <a:cubicBezTo>
                      <a:pt x="5953" y="337829"/>
                      <a:pt x="6945" y="339317"/>
                      <a:pt x="12898" y="333364"/>
                    </a:cubicBezTo>
                    <a:cubicBezTo>
                      <a:pt x="18851" y="327411"/>
                      <a:pt x="17859" y="326915"/>
                      <a:pt x="23315" y="320962"/>
                    </a:cubicBezTo>
                    <a:cubicBezTo>
                      <a:pt x="29268" y="315009"/>
                      <a:pt x="29268" y="315505"/>
                      <a:pt x="35221" y="310049"/>
                    </a:cubicBezTo>
                    <a:cubicBezTo>
                      <a:pt x="41174" y="304096"/>
                      <a:pt x="40678" y="304096"/>
                      <a:pt x="46135" y="298143"/>
                    </a:cubicBezTo>
                    <a:cubicBezTo>
                      <a:pt x="52088" y="292190"/>
                      <a:pt x="52584" y="292686"/>
                      <a:pt x="58041" y="287229"/>
                    </a:cubicBezTo>
                    <a:cubicBezTo>
                      <a:pt x="63994" y="281276"/>
                      <a:pt x="62506" y="280284"/>
                      <a:pt x="68459" y="274331"/>
                    </a:cubicBezTo>
                    <a:cubicBezTo>
                      <a:pt x="74412" y="268378"/>
                      <a:pt x="74908" y="269370"/>
                      <a:pt x="80861" y="263913"/>
                    </a:cubicBezTo>
                    <a:cubicBezTo>
                      <a:pt x="86814" y="257961"/>
                      <a:pt x="86814" y="258456"/>
                      <a:pt x="92766" y="253000"/>
                    </a:cubicBezTo>
                    <a:cubicBezTo>
                      <a:pt x="98719" y="247047"/>
                      <a:pt x="98223" y="246551"/>
                      <a:pt x="103680" y="241094"/>
                    </a:cubicBezTo>
                    <a:cubicBezTo>
                      <a:pt x="109633" y="235141"/>
                      <a:pt x="109633" y="235637"/>
                      <a:pt x="115586" y="230180"/>
                    </a:cubicBezTo>
                    <a:cubicBezTo>
                      <a:pt x="121539" y="224227"/>
                      <a:pt x="120547" y="223731"/>
                      <a:pt x="126500" y="217778"/>
                    </a:cubicBezTo>
                    <a:cubicBezTo>
                      <a:pt x="132453" y="211825"/>
                      <a:pt x="133445" y="213314"/>
                      <a:pt x="138902" y="207361"/>
                    </a:cubicBezTo>
                    <a:cubicBezTo>
                      <a:pt x="144855" y="201408"/>
                      <a:pt x="143863" y="200912"/>
                      <a:pt x="149815" y="195455"/>
                    </a:cubicBezTo>
                    <a:cubicBezTo>
                      <a:pt x="155768" y="189502"/>
                      <a:pt x="155272" y="189502"/>
                      <a:pt x="160729" y="183549"/>
                    </a:cubicBezTo>
                    <a:cubicBezTo>
                      <a:pt x="166682" y="177596"/>
                      <a:pt x="166682" y="178092"/>
                      <a:pt x="172635" y="172139"/>
                    </a:cubicBezTo>
                    <a:cubicBezTo>
                      <a:pt x="178588" y="166186"/>
                      <a:pt x="179084" y="167178"/>
                      <a:pt x="185037" y="161721"/>
                    </a:cubicBezTo>
                    <a:cubicBezTo>
                      <a:pt x="190990" y="155768"/>
                      <a:pt x="190990" y="156265"/>
                      <a:pt x="196447" y="150312"/>
                    </a:cubicBezTo>
                    <a:cubicBezTo>
                      <a:pt x="202400" y="144359"/>
                      <a:pt x="202400" y="144855"/>
                      <a:pt x="207856" y="138902"/>
                    </a:cubicBezTo>
                    <a:cubicBezTo>
                      <a:pt x="213809" y="132949"/>
                      <a:pt x="212321" y="131957"/>
                      <a:pt x="218274" y="126004"/>
                    </a:cubicBezTo>
                    <a:cubicBezTo>
                      <a:pt x="224227" y="120051"/>
                      <a:pt x="224227" y="120051"/>
                      <a:pt x="229684" y="114594"/>
                    </a:cubicBezTo>
                    <a:cubicBezTo>
                      <a:pt x="235637" y="108641"/>
                      <a:pt x="235637" y="109137"/>
                      <a:pt x="241590" y="103680"/>
                    </a:cubicBezTo>
                    <a:cubicBezTo>
                      <a:pt x="247543" y="97727"/>
                      <a:pt x="248039" y="98719"/>
                      <a:pt x="253496" y="92766"/>
                    </a:cubicBezTo>
                    <a:cubicBezTo>
                      <a:pt x="259449" y="86814"/>
                      <a:pt x="259449" y="87310"/>
                      <a:pt x="265402" y="81357"/>
                    </a:cubicBezTo>
                    <a:cubicBezTo>
                      <a:pt x="271354" y="75404"/>
                      <a:pt x="270858" y="75404"/>
                      <a:pt x="276315" y="69451"/>
                    </a:cubicBezTo>
                    <a:cubicBezTo>
                      <a:pt x="282268" y="63498"/>
                      <a:pt x="282268" y="63994"/>
                      <a:pt x="288221" y="58041"/>
                    </a:cubicBezTo>
                    <a:cubicBezTo>
                      <a:pt x="294174" y="52088"/>
                      <a:pt x="293182" y="51592"/>
                      <a:pt x="299135" y="45639"/>
                    </a:cubicBezTo>
                    <a:cubicBezTo>
                      <a:pt x="305088" y="39686"/>
                      <a:pt x="305088" y="40182"/>
                      <a:pt x="311041" y="34229"/>
                    </a:cubicBezTo>
                    <a:cubicBezTo>
                      <a:pt x="316994" y="28276"/>
                      <a:pt x="316994" y="28772"/>
                      <a:pt x="322947" y="22819"/>
                    </a:cubicBezTo>
                    <a:cubicBezTo>
                      <a:pt x="328900" y="16867"/>
                      <a:pt x="328900" y="17363"/>
                      <a:pt x="334853" y="11906"/>
                    </a:cubicBezTo>
                    <a:cubicBezTo>
                      <a:pt x="340805" y="5953"/>
                      <a:pt x="340309" y="5953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426" name="Graphic 10">
              <a:extLst>
                <a:ext uri="{FF2B5EF4-FFF2-40B4-BE49-F238E27FC236}">
                  <a16:creationId xmlns:a16="http://schemas.microsoft.com/office/drawing/2014/main" id="{28C1E9EC-F48F-0BED-3310-25E1930E0EDE}"/>
                </a:ext>
              </a:extLst>
            </p:cNvPr>
            <p:cNvGrpSpPr/>
            <p:nvPr/>
          </p:nvGrpSpPr>
          <p:grpSpPr>
            <a:xfrm>
              <a:off x="4798431" y="1985335"/>
              <a:ext cx="464479" cy="215266"/>
              <a:chOff x="4798431" y="1985335"/>
              <a:chExt cx="464479" cy="215266"/>
            </a:xfrm>
            <a:noFill/>
          </p:grpSpPr>
          <p:sp>
            <p:nvSpPr>
              <p:cNvPr id="1605" name="Freeform: Shape 1604">
                <a:extLst>
                  <a:ext uri="{FF2B5EF4-FFF2-40B4-BE49-F238E27FC236}">
                    <a16:creationId xmlns:a16="http://schemas.microsoft.com/office/drawing/2014/main" id="{35140D9A-A5AB-7477-D3F8-057F58D061BD}"/>
                  </a:ext>
                </a:extLst>
              </p:cNvPr>
              <p:cNvSpPr/>
              <p:nvPr/>
            </p:nvSpPr>
            <p:spPr>
              <a:xfrm>
                <a:off x="4798431" y="1985335"/>
                <a:ext cx="464479" cy="215266"/>
              </a:xfrm>
              <a:custGeom>
                <a:avLst/>
                <a:gdLst>
                  <a:gd name="connsiteX0" fmla="*/ 0 w 464479"/>
                  <a:gd name="connsiteY0" fmla="*/ 206337 h 215266"/>
                  <a:gd name="connsiteX1" fmla="*/ 10418 w 464479"/>
                  <a:gd name="connsiteY1" fmla="*/ 193935 h 215266"/>
                  <a:gd name="connsiteX2" fmla="*/ 23316 w 464479"/>
                  <a:gd name="connsiteY2" fmla="*/ 184013 h 215266"/>
                  <a:gd name="connsiteX3" fmla="*/ 33734 w 464479"/>
                  <a:gd name="connsiteY3" fmla="*/ 172107 h 215266"/>
                  <a:gd name="connsiteX4" fmla="*/ 45639 w 464479"/>
                  <a:gd name="connsiteY4" fmla="*/ 161690 h 215266"/>
                  <a:gd name="connsiteX5" fmla="*/ 56057 w 464479"/>
                  <a:gd name="connsiteY5" fmla="*/ 149784 h 215266"/>
                  <a:gd name="connsiteX6" fmla="*/ 67963 w 464479"/>
                  <a:gd name="connsiteY6" fmla="*/ 138870 h 215266"/>
                  <a:gd name="connsiteX7" fmla="*/ 78381 w 464479"/>
                  <a:gd name="connsiteY7" fmla="*/ 126468 h 215266"/>
                  <a:gd name="connsiteX8" fmla="*/ 89294 w 464479"/>
                  <a:gd name="connsiteY8" fmla="*/ 115058 h 215266"/>
                  <a:gd name="connsiteX9" fmla="*/ 101696 w 464479"/>
                  <a:gd name="connsiteY9" fmla="*/ 105137 h 215266"/>
                  <a:gd name="connsiteX10" fmla="*/ 112610 w 464479"/>
                  <a:gd name="connsiteY10" fmla="*/ 93727 h 215266"/>
                  <a:gd name="connsiteX11" fmla="*/ 123524 w 464479"/>
                  <a:gd name="connsiteY11" fmla="*/ 82317 h 215266"/>
                  <a:gd name="connsiteX12" fmla="*/ 134437 w 464479"/>
                  <a:gd name="connsiteY12" fmla="*/ 70908 h 215266"/>
                  <a:gd name="connsiteX13" fmla="*/ 146343 w 464479"/>
                  <a:gd name="connsiteY13" fmla="*/ 59994 h 215266"/>
                  <a:gd name="connsiteX14" fmla="*/ 157753 w 464479"/>
                  <a:gd name="connsiteY14" fmla="*/ 49080 h 215266"/>
                  <a:gd name="connsiteX15" fmla="*/ 168171 w 464479"/>
                  <a:gd name="connsiteY15" fmla="*/ 36678 h 215266"/>
                  <a:gd name="connsiteX16" fmla="*/ 179084 w 464479"/>
                  <a:gd name="connsiteY16" fmla="*/ 25268 h 215266"/>
                  <a:gd name="connsiteX17" fmla="*/ 191486 w 464479"/>
                  <a:gd name="connsiteY17" fmla="*/ 15347 h 215266"/>
                  <a:gd name="connsiteX18" fmla="*/ 202400 w 464479"/>
                  <a:gd name="connsiteY18" fmla="*/ 3937 h 215266"/>
                  <a:gd name="connsiteX19" fmla="*/ 218274 w 464479"/>
                  <a:gd name="connsiteY19" fmla="*/ 3441 h 215266"/>
                  <a:gd name="connsiteX20" fmla="*/ 234645 w 464479"/>
                  <a:gd name="connsiteY20" fmla="*/ 2945 h 215266"/>
                  <a:gd name="connsiteX21" fmla="*/ 251016 w 464479"/>
                  <a:gd name="connsiteY21" fmla="*/ 4433 h 215266"/>
                  <a:gd name="connsiteX22" fmla="*/ 267386 w 464479"/>
                  <a:gd name="connsiteY22" fmla="*/ 3441 h 215266"/>
                  <a:gd name="connsiteX23" fmla="*/ 283757 w 464479"/>
                  <a:gd name="connsiteY23" fmla="*/ 2945 h 215266"/>
                  <a:gd name="connsiteX24" fmla="*/ 300127 w 464479"/>
                  <a:gd name="connsiteY24" fmla="*/ 2945 h 215266"/>
                  <a:gd name="connsiteX25" fmla="*/ 316498 w 464479"/>
                  <a:gd name="connsiteY25" fmla="*/ 4433 h 215266"/>
                  <a:gd name="connsiteX26" fmla="*/ 332868 w 464479"/>
                  <a:gd name="connsiteY26" fmla="*/ 2945 h 215266"/>
                  <a:gd name="connsiteX27" fmla="*/ 349239 w 464479"/>
                  <a:gd name="connsiteY27" fmla="*/ 2449 h 215266"/>
                  <a:gd name="connsiteX28" fmla="*/ 365610 w 464479"/>
                  <a:gd name="connsiteY28" fmla="*/ 2449 h 215266"/>
                  <a:gd name="connsiteX29" fmla="*/ 381980 w 464479"/>
                  <a:gd name="connsiteY29" fmla="*/ 4433 h 215266"/>
                  <a:gd name="connsiteX30" fmla="*/ 398351 w 464479"/>
                  <a:gd name="connsiteY30" fmla="*/ 3441 h 215266"/>
                  <a:gd name="connsiteX31" fmla="*/ 414721 w 464479"/>
                  <a:gd name="connsiteY31" fmla="*/ 2945 h 215266"/>
                  <a:gd name="connsiteX32" fmla="*/ 431092 w 464479"/>
                  <a:gd name="connsiteY32" fmla="*/ 2449 h 215266"/>
                  <a:gd name="connsiteX33" fmla="*/ 447462 w 464479"/>
                  <a:gd name="connsiteY33" fmla="*/ 2945 h 215266"/>
                  <a:gd name="connsiteX34" fmla="*/ 463833 w 464479"/>
                  <a:gd name="connsiteY34" fmla="*/ 3441 h 215266"/>
                  <a:gd name="connsiteX35" fmla="*/ 452919 w 464479"/>
                  <a:gd name="connsiteY35" fmla="*/ 15843 h 215266"/>
                  <a:gd name="connsiteX36" fmla="*/ 441013 w 464479"/>
                  <a:gd name="connsiteY36" fmla="*/ 27253 h 215266"/>
                  <a:gd name="connsiteX37" fmla="*/ 429107 w 464479"/>
                  <a:gd name="connsiteY37" fmla="*/ 38662 h 215266"/>
                  <a:gd name="connsiteX38" fmla="*/ 418194 w 464479"/>
                  <a:gd name="connsiteY38" fmla="*/ 51064 h 215266"/>
                  <a:gd name="connsiteX39" fmla="*/ 406784 w 464479"/>
                  <a:gd name="connsiteY39" fmla="*/ 62970 h 215266"/>
                  <a:gd name="connsiteX40" fmla="*/ 394382 w 464479"/>
                  <a:gd name="connsiteY40" fmla="*/ 73884 h 215266"/>
                  <a:gd name="connsiteX41" fmla="*/ 382972 w 464479"/>
                  <a:gd name="connsiteY41" fmla="*/ 85790 h 215266"/>
                  <a:gd name="connsiteX42" fmla="*/ 370074 w 464479"/>
                  <a:gd name="connsiteY42" fmla="*/ 96208 h 215266"/>
                  <a:gd name="connsiteX43" fmla="*/ 359161 w 464479"/>
                  <a:gd name="connsiteY43" fmla="*/ 108609 h 215266"/>
                  <a:gd name="connsiteX44" fmla="*/ 346759 w 464479"/>
                  <a:gd name="connsiteY44" fmla="*/ 119523 h 215266"/>
                  <a:gd name="connsiteX45" fmla="*/ 335349 w 464479"/>
                  <a:gd name="connsiteY45" fmla="*/ 131429 h 215266"/>
                  <a:gd name="connsiteX46" fmla="*/ 324931 w 464479"/>
                  <a:gd name="connsiteY46" fmla="*/ 144327 h 215266"/>
                  <a:gd name="connsiteX47" fmla="*/ 313521 w 464479"/>
                  <a:gd name="connsiteY47" fmla="*/ 156233 h 215266"/>
                  <a:gd name="connsiteX48" fmla="*/ 300623 w 464479"/>
                  <a:gd name="connsiteY48" fmla="*/ 166651 h 215266"/>
                  <a:gd name="connsiteX49" fmla="*/ 288717 w 464479"/>
                  <a:gd name="connsiteY49" fmla="*/ 178060 h 215266"/>
                  <a:gd name="connsiteX50" fmla="*/ 278300 w 464479"/>
                  <a:gd name="connsiteY50" fmla="*/ 190958 h 215266"/>
                  <a:gd name="connsiteX51" fmla="*/ 266394 w 464479"/>
                  <a:gd name="connsiteY51" fmla="*/ 202368 h 215266"/>
                  <a:gd name="connsiteX52" fmla="*/ 254984 w 464479"/>
                  <a:gd name="connsiteY52" fmla="*/ 213778 h 215266"/>
                  <a:gd name="connsiteX53" fmla="*/ 239110 w 464479"/>
                  <a:gd name="connsiteY53" fmla="*/ 213282 h 215266"/>
                  <a:gd name="connsiteX54" fmla="*/ 223235 w 464479"/>
                  <a:gd name="connsiteY54" fmla="*/ 213778 h 215266"/>
                  <a:gd name="connsiteX55" fmla="*/ 207361 w 464479"/>
                  <a:gd name="connsiteY55" fmla="*/ 214274 h 215266"/>
                  <a:gd name="connsiteX56" fmla="*/ 191486 w 464479"/>
                  <a:gd name="connsiteY56" fmla="*/ 215266 h 215266"/>
                  <a:gd name="connsiteX57" fmla="*/ 175612 w 464479"/>
                  <a:gd name="connsiteY57" fmla="*/ 215266 h 215266"/>
                  <a:gd name="connsiteX58" fmla="*/ 159737 w 464479"/>
                  <a:gd name="connsiteY58" fmla="*/ 213282 h 215266"/>
                  <a:gd name="connsiteX59" fmla="*/ 143863 w 464479"/>
                  <a:gd name="connsiteY59" fmla="*/ 215266 h 215266"/>
                  <a:gd name="connsiteX60" fmla="*/ 127988 w 464479"/>
                  <a:gd name="connsiteY60" fmla="*/ 214274 h 215266"/>
                  <a:gd name="connsiteX61" fmla="*/ 112114 w 464479"/>
                  <a:gd name="connsiteY61" fmla="*/ 214770 h 215266"/>
                  <a:gd name="connsiteX62" fmla="*/ 96239 w 464479"/>
                  <a:gd name="connsiteY62" fmla="*/ 214770 h 215266"/>
                  <a:gd name="connsiteX63" fmla="*/ 80365 w 464479"/>
                  <a:gd name="connsiteY63" fmla="*/ 214770 h 215266"/>
                  <a:gd name="connsiteX64" fmla="*/ 64490 w 464479"/>
                  <a:gd name="connsiteY64" fmla="*/ 215266 h 215266"/>
                  <a:gd name="connsiteX65" fmla="*/ 48616 w 464479"/>
                  <a:gd name="connsiteY65" fmla="*/ 213282 h 215266"/>
                  <a:gd name="connsiteX66" fmla="*/ 32741 w 464479"/>
                  <a:gd name="connsiteY66" fmla="*/ 215266 h 215266"/>
                  <a:gd name="connsiteX67" fmla="*/ 16867 w 464479"/>
                  <a:gd name="connsiteY67" fmla="*/ 215266 h 215266"/>
                  <a:gd name="connsiteX68" fmla="*/ 992 w 464479"/>
                  <a:gd name="connsiteY68" fmla="*/ 213778 h 215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64479" h="215266">
                    <a:moveTo>
                      <a:pt x="0" y="206337"/>
                    </a:moveTo>
                    <a:cubicBezTo>
                      <a:pt x="5457" y="200880"/>
                      <a:pt x="4465" y="199888"/>
                      <a:pt x="10418" y="193935"/>
                    </a:cubicBezTo>
                    <a:cubicBezTo>
                      <a:pt x="15875" y="188478"/>
                      <a:pt x="17363" y="189966"/>
                      <a:pt x="23316" y="184013"/>
                    </a:cubicBezTo>
                    <a:cubicBezTo>
                      <a:pt x="28773" y="178556"/>
                      <a:pt x="28277" y="177564"/>
                      <a:pt x="33734" y="172107"/>
                    </a:cubicBezTo>
                    <a:cubicBezTo>
                      <a:pt x="39190" y="166651"/>
                      <a:pt x="40182" y="167147"/>
                      <a:pt x="45639" y="161690"/>
                    </a:cubicBezTo>
                    <a:cubicBezTo>
                      <a:pt x="51096" y="156233"/>
                      <a:pt x="50600" y="155241"/>
                      <a:pt x="56057" y="149784"/>
                    </a:cubicBezTo>
                    <a:cubicBezTo>
                      <a:pt x="61514" y="144327"/>
                      <a:pt x="62010" y="144327"/>
                      <a:pt x="67963" y="138870"/>
                    </a:cubicBezTo>
                    <a:cubicBezTo>
                      <a:pt x="73420" y="133413"/>
                      <a:pt x="72428" y="132421"/>
                      <a:pt x="78381" y="126468"/>
                    </a:cubicBezTo>
                    <a:cubicBezTo>
                      <a:pt x="83837" y="121011"/>
                      <a:pt x="83837" y="120515"/>
                      <a:pt x="89294" y="115058"/>
                    </a:cubicBezTo>
                    <a:cubicBezTo>
                      <a:pt x="94751" y="109602"/>
                      <a:pt x="96239" y="110594"/>
                      <a:pt x="101696" y="105137"/>
                    </a:cubicBezTo>
                    <a:cubicBezTo>
                      <a:pt x="107153" y="99680"/>
                      <a:pt x="107153" y="99184"/>
                      <a:pt x="112610" y="93727"/>
                    </a:cubicBezTo>
                    <a:cubicBezTo>
                      <a:pt x="118067" y="88270"/>
                      <a:pt x="118067" y="87774"/>
                      <a:pt x="123524" y="82317"/>
                    </a:cubicBezTo>
                    <a:cubicBezTo>
                      <a:pt x="128980" y="76861"/>
                      <a:pt x="128980" y="76364"/>
                      <a:pt x="134437" y="70908"/>
                    </a:cubicBezTo>
                    <a:cubicBezTo>
                      <a:pt x="139894" y="65451"/>
                      <a:pt x="140390" y="65947"/>
                      <a:pt x="146343" y="59994"/>
                    </a:cubicBezTo>
                    <a:cubicBezTo>
                      <a:pt x="151800" y="54537"/>
                      <a:pt x="152296" y="54537"/>
                      <a:pt x="157753" y="49080"/>
                    </a:cubicBezTo>
                    <a:cubicBezTo>
                      <a:pt x="163210" y="43623"/>
                      <a:pt x="162714" y="42631"/>
                      <a:pt x="168171" y="36678"/>
                    </a:cubicBezTo>
                    <a:cubicBezTo>
                      <a:pt x="173627" y="31221"/>
                      <a:pt x="173627" y="30725"/>
                      <a:pt x="179084" y="25268"/>
                    </a:cubicBezTo>
                    <a:cubicBezTo>
                      <a:pt x="184541" y="19812"/>
                      <a:pt x="186029" y="20804"/>
                      <a:pt x="191486" y="15347"/>
                    </a:cubicBezTo>
                    <a:cubicBezTo>
                      <a:pt x="196943" y="9890"/>
                      <a:pt x="194959" y="7410"/>
                      <a:pt x="202400" y="3937"/>
                    </a:cubicBezTo>
                    <a:cubicBezTo>
                      <a:pt x="209841" y="961"/>
                      <a:pt x="210337" y="3441"/>
                      <a:pt x="218274" y="3441"/>
                    </a:cubicBezTo>
                    <a:cubicBezTo>
                      <a:pt x="226212" y="3441"/>
                      <a:pt x="226212" y="2945"/>
                      <a:pt x="234645" y="2945"/>
                    </a:cubicBezTo>
                    <a:cubicBezTo>
                      <a:pt x="242582" y="2945"/>
                      <a:pt x="242582" y="4433"/>
                      <a:pt x="251016" y="4433"/>
                    </a:cubicBezTo>
                    <a:cubicBezTo>
                      <a:pt x="258953" y="4433"/>
                      <a:pt x="258953" y="3441"/>
                      <a:pt x="267386" y="3441"/>
                    </a:cubicBezTo>
                    <a:cubicBezTo>
                      <a:pt x="275323" y="3441"/>
                      <a:pt x="275323" y="2945"/>
                      <a:pt x="283757" y="2945"/>
                    </a:cubicBezTo>
                    <a:cubicBezTo>
                      <a:pt x="291694" y="2945"/>
                      <a:pt x="291694" y="2945"/>
                      <a:pt x="300127" y="2945"/>
                    </a:cubicBezTo>
                    <a:cubicBezTo>
                      <a:pt x="308065" y="2945"/>
                      <a:pt x="308065" y="4433"/>
                      <a:pt x="316498" y="4433"/>
                    </a:cubicBezTo>
                    <a:cubicBezTo>
                      <a:pt x="324435" y="4433"/>
                      <a:pt x="324435" y="2945"/>
                      <a:pt x="332868" y="2945"/>
                    </a:cubicBezTo>
                    <a:cubicBezTo>
                      <a:pt x="340806" y="2945"/>
                      <a:pt x="340806" y="2449"/>
                      <a:pt x="349239" y="2449"/>
                    </a:cubicBezTo>
                    <a:cubicBezTo>
                      <a:pt x="357672" y="2449"/>
                      <a:pt x="357176" y="2449"/>
                      <a:pt x="365610" y="2449"/>
                    </a:cubicBezTo>
                    <a:cubicBezTo>
                      <a:pt x="373547" y="2449"/>
                      <a:pt x="373547" y="4433"/>
                      <a:pt x="381980" y="4433"/>
                    </a:cubicBezTo>
                    <a:cubicBezTo>
                      <a:pt x="389917" y="4433"/>
                      <a:pt x="389917" y="3441"/>
                      <a:pt x="398351" y="3441"/>
                    </a:cubicBezTo>
                    <a:cubicBezTo>
                      <a:pt x="406288" y="3441"/>
                      <a:pt x="406288" y="2945"/>
                      <a:pt x="414721" y="2945"/>
                    </a:cubicBezTo>
                    <a:cubicBezTo>
                      <a:pt x="422658" y="2945"/>
                      <a:pt x="422658" y="2449"/>
                      <a:pt x="431092" y="2449"/>
                    </a:cubicBezTo>
                    <a:cubicBezTo>
                      <a:pt x="439029" y="2449"/>
                      <a:pt x="439029" y="2945"/>
                      <a:pt x="447462" y="2945"/>
                    </a:cubicBezTo>
                    <a:cubicBezTo>
                      <a:pt x="455400" y="2945"/>
                      <a:pt x="460857" y="-4000"/>
                      <a:pt x="463833" y="3441"/>
                    </a:cubicBezTo>
                    <a:cubicBezTo>
                      <a:pt x="466810" y="10882"/>
                      <a:pt x="458872" y="9890"/>
                      <a:pt x="452919" y="15843"/>
                    </a:cubicBezTo>
                    <a:cubicBezTo>
                      <a:pt x="446966" y="21796"/>
                      <a:pt x="446470" y="21300"/>
                      <a:pt x="441013" y="27253"/>
                    </a:cubicBezTo>
                    <a:cubicBezTo>
                      <a:pt x="435060" y="33206"/>
                      <a:pt x="435060" y="33206"/>
                      <a:pt x="429107" y="38662"/>
                    </a:cubicBezTo>
                    <a:cubicBezTo>
                      <a:pt x="423155" y="44615"/>
                      <a:pt x="424147" y="45111"/>
                      <a:pt x="418194" y="51064"/>
                    </a:cubicBezTo>
                    <a:cubicBezTo>
                      <a:pt x="412241" y="57017"/>
                      <a:pt x="412241" y="57017"/>
                      <a:pt x="406784" y="62970"/>
                    </a:cubicBezTo>
                    <a:cubicBezTo>
                      <a:pt x="400831" y="68923"/>
                      <a:pt x="400335" y="68427"/>
                      <a:pt x="394382" y="73884"/>
                    </a:cubicBezTo>
                    <a:cubicBezTo>
                      <a:pt x="388429" y="79837"/>
                      <a:pt x="388925" y="79837"/>
                      <a:pt x="382972" y="85790"/>
                    </a:cubicBezTo>
                    <a:cubicBezTo>
                      <a:pt x="377019" y="91743"/>
                      <a:pt x="376027" y="90255"/>
                      <a:pt x="370074" y="96208"/>
                    </a:cubicBezTo>
                    <a:cubicBezTo>
                      <a:pt x="364121" y="102160"/>
                      <a:pt x="365114" y="102656"/>
                      <a:pt x="359161" y="108609"/>
                    </a:cubicBezTo>
                    <a:cubicBezTo>
                      <a:pt x="353208" y="114562"/>
                      <a:pt x="352712" y="113570"/>
                      <a:pt x="346759" y="119523"/>
                    </a:cubicBezTo>
                    <a:cubicBezTo>
                      <a:pt x="340806" y="125476"/>
                      <a:pt x="340806" y="125476"/>
                      <a:pt x="335349" y="131429"/>
                    </a:cubicBezTo>
                    <a:cubicBezTo>
                      <a:pt x="329396" y="137382"/>
                      <a:pt x="330884" y="138374"/>
                      <a:pt x="324931" y="144327"/>
                    </a:cubicBezTo>
                    <a:cubicBezTo>
                      <a:pt x="318978" y="150280"/>
                      <a:pt x="319474" y="150280"/>
                      <a:pt x="313521" y="156233"/>
                    </a:cubicBezTo>
                    <a:cubicBezTo>
                      <a:pt x="307568" y="162186"/>
                      <a:pt x="306576" y="161194"/>
                      <a:pt x="300623" y="166651"/>
                    </a:cubicBezTo>
                    <a:cubicBezTo>
                      <a:pt x="294670" y="172604"/>
                      <a:pt x="294670" y="172107"/>
                      <a:pt x="288717" y="178060"/>
                    </a:cubicBezTo>
                    <a:cubicBezTo>
                      <a:pt x="282764" y="184013"/>
                      <a:pt x="283757" y="185005"/>
                      <a:pt x="278300" y="190958"/>
                    </a:cubicBezTo>
                    <a:cubicBezTo>
                      <a:pt x="272347" y="196911"/>
                      <a:pt x="271851" y="196415"/>
                      <a:pt x="266394" y="202368"/>
                    </a:cubicBezTo>
                    <a:cubicBezTo>
                      <a:pt x="260441" y="208321"/>
                      <a:pt x="262425" y="210802"/>
                      <a:pt x="254984" y="213778"/>
                    </a:cubicBezTo>
                    <a:cubicBezTo>
                      <a:pt x="247543" y="216754"/>
                      <a:pt x="247047" y="213282"/>
                      <a:pt x="239110" y="213282"/>
                    </a:cubicBezTo>
                    <a:cubicBezTo>
                      <a:pt x="231173" y="213282"/>
                      <a:pt x="231173" y="213778"/>
                      <a:pt x="223235" y="213778"/>
                    </a:cubicBezTo>
                    <a:cubicBezTo>
                      <a:pt x="215298" y="213778"/>
                      <a:pt x="215298" y="214274"/>
                      <a:pt x="207361" y="214274"/>
                    </a:cubicBezTo>
                    <a:cubicBezTo>
                      <a:pt x="199423" y="214274"/>
                      <a:pt x="199423" y="215266"/>
                      <a:pt x="191486" y="215266"/>
                    </a:cubicBezTo>
                    <a:cubicBezTo>
                      <a:pt x="183549" y="215266"/>
                      <a:pt x="183549" y="215266"/>
                      <a:pt x="175612" y="215266"/>
                    </a:cubicBezTo>
                    <a:cubicBezTo>
                      <a:pt x="167675" y="215266"/>
                      <a:pt x="167675" y="213282"/>
                      <a:pt x="159737" y="213282"/>
                    </a:cubicBezTo>
                    <a:cubicBezTo>
                      <a:pt x="151800" y="213282"/>
                      <a:pt x="151800" y="215266"/>
                      <a:pt x="143863" y="215266"/>
                    </a:cubicBezTo>
                    <a:cubicBezTo>
                      <a:pt x="135925" y="215266"/>
                      <a:pt x="135925" y="214274"/>
                      <a:pt x="127988" y="214274"/>
                    </a:cubicBezTo>
                    <a:cubicBezTo>
                      <a:pt x="120051" y="214274"/>
                      <a:pt x="120051" y="214770"/>
                      <a:pt x="112114" y="214770"/>
                    </a:cubicBezTo>
                    <a:cubicBezTo>
                      <a:pt x="104176" y="214770"/>
                      <a:pt x="104176" y="214770"/>
                      <a:pt x="96239" y="214770"/>
                    </a:cubicBezTo>
                    <a:cubicBezTo>
                      <a:pt x="88302" y="214770"/>
                      <a:pt x="88302" y="214770"/>
                      <a:pt x="80365" y="214770"/>
                    </a:cubicBezTo>
                    <a:cubicBezTo>
                      <a:pt x="72428" y="214770"/>
                      <a:pt x="72428" y="215266"/>
                      <a:pt x="64490" y="215266"/>
                    </a:cubicBezTo>
                    <a:cubicBezTo>
                      <a:pt x="56553" y="215266"/>
                      <a:pt x="56553" y="213282"/>
                      <a:pt x="48616" y="213282"/>
                    </a:cubicBezTo>
                    <a:cubicBezTo>
                      <a:pt x="40678" y="213282"/>
                      <a:pt x="40678" y="215266"/>
                      <a:pt x="32741" y="215266"/>
                    </a:cubicBezTo>
                    <a:cubicBezTo>
                      <a:pt x="24804" y="215266"/>
                      <a:pt x="24804" y="215266"/>
                      <a:pt x="16867" y="215266"/>
                    </a:cubicBezTo>
                    <a:cubicBezTo>
                      <a:pt x="8930" y="215266"/>
                      <a:pt x="8930" y="213778"/>
                      <a:pt x="992" y="21377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6" name="Freeform: Shape 1605">
                <a:extLst>
                  <a:ext uri="{FF2B5EF4-FFF2-40B4-BE49-F238E27FC236}">
                    <a16:creationId xmlns:a16="http://schemas.microsoft.com/office/drawing/2014/main" id="{88EC74AD-FF1B-3386-6E51-94DD3613684B}"/>
                  </a:ext>
                </a:extLst>
              </p:cNvPr>
              <p:cNvSpPr/>
              <p:nvPr/>
            </p:nvSpPr>
            <p:spPr>
              <a:xfrm>
                <a:off x="4858457" y="2129166"/>
                <a:ext cx="260440" cy="2976"/>
              </a:xfrm>
              <a:custGeom>
                <a:avLst/>
                <a:gdLst>
                  <a:gd name="connsiteX0" fmla="*/ 0 w 260440"/>
                  <a:gd name="connsiteY0" fmla="*/ 496 h 2976"/>
                  <a:gd name="connsiteX1" fmla="*/ 15875 w 260440"/>
                  <a:gd name="connsiteY1" fmla="*/ 1488 h 2976"/>
                  <a:gd name="connsiteX2" fmla="*/ 32245 w 260440"/>
                  <a:gd name="connsiteY2" fmla="*/ 2480 h 2976"/>
                  <a:gd name="connsiteX3" fmla="*/ 48120 w 260440"/>
                  <a:gd name="connsiteY3" fmla="*/ 0 h 2976"/>
                  <a:gd name="connsiteX4" fmla="*/ 64490 w 260440"/>
                  <a:gd name="connsiteY4" fmla="*/ 1984 h 2976"/>
                  <a:gd name="connsiteX5" fmla="*/ 80365 w 260440"/>
                  <a:gd name="connsiteY5" fmla="*/ 1984 h 2976"/>
                  <a:gd name="connsiteX6" fmla="*/ 96735 w 260440"/>
                  <a:gd name="connsiteY6" fmla="*/ 1488 h 2976"/>
                  <a:gd name="connsiteX7" fmla="*/ 113106 w 260440"/>
                  <a:gd name="connsiteY7" fmla="*/ 1488 h 2976"/>
                  <a:gd name="connsiteX8" fmla="*/ 129476 w 260440"/>
                  <a:gd name="connsiteY8" fmla="*/ 1488 h 2976"/>
                  <a:gd name="connsiteX9" fmla="*/ 145847 w 260440"/>
                  <a:gd name="connsiteY9" fmla="*/ 992 h 2976"/>
                  <a:gd name="connsiteX10" fmla="*/ 162218 w 260440"/>
                  <a:gd name="connsiteY10" fmla="*/ 1984 h 2976"/>
                  <a:gd name="connsiteX11" fmla="*/ 178588 w 260440"/>
                  <a:gd name="connsiteY11" fmla="*/ 992 h 2976"/>
                  <a:gd name="connsiteX12" fmla="*/ 194959 w 260440"/>
                  <a:gd name="connsiteY12" fmla="*/ 1984 h 2976"/>
                  <a:gd name="connsiteX13" fmla="*/ 211329 w 260440"/>
                  <a:gd name="connsiteY13" fmla="*/ 496 h 2976"/>
                  <a:gd name="connsiteX14" fmla="*/ 227700 w 260440"/>
                  <a:gd name="connsiteY14" fmla="*/ 2976 h 2976"/>
                  <a:gd name="connsiteX15" fmla="*/ 244070 w 260440"/>
                  <a:gd name="connsiteY15" fmla="*/ 2976 h 2976"/>
                  <a:gd name="connsiteX16" fmla="*/ 260441 w 260440"/>
                  <a:gd name="connsiteY16" fmla="*/ 1488 h 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0440" h="2976">
                    <a:moveTo>
                      <a:pt x="0" y="496"/>
                    </a:moveTo>
                    <a:cubicBezTo>
                      <a:pt x="7937" y="496"/>
                      <a:pt x="7937" y="1488"/>
                      <a:pt x="15875" y="1488"/>
                    </a:cubicBezTo>
                    <a:cubicBezTo>
                      <a:pt x="23812" y="1488"/>
                      <a:pt x="23812" y="2480"/>
                      <a:pt x="32245" y="2480"/>
                    </a:cubicBezTo>
                    <a:cubicBezTo>
                      <a:pt x="40182" y="2480"/>
                      <a:pt x="40182" y="0"/>
                      <a:pt x="48120" y="0"/>
                    </a:cubicBezTo>
                    <a:cubicBezTo>
                      <a:pt x="56057" y="0"/>
                      <a:pt x="56057" y="1984"/>
                      <a:pt x="64490" y="1984"/>
                    </a:cubicBezTo>
                    <a:cubicBezTo>
                      <a:pt x="72427" y="1984"/>
                      <a:pt x="72427" y="1984"/>
                      <a:pt x="80365" y="1984"/>
                    </a:cubicBezTo>
                    <a:cubicBezTo>
                      <a:pt x="88302" y="1984"/>
                      <a:pt x="88302" y="1488"/>
                      <a:pt x="96735" y="1488"/>
                    </a:cubicBezTo>
                    <a:cubicBezTo>
                      <a:pt x="104672" y="1488"/>
                      <a:pt x="104672" y="1488"/>
                      <a:pt x="113106" y="1488"/>
                    </a:cubicBezTo>
                    <a:cubicBezTo>
                      <a:pt x="121043" y="1488"/>
                      <a:pt x="121043" y="1488"/>
                      <a:pt x="129476" y="1488"/>
                    </a:cubicBezTo>
                    <a:cubicBezTo>
                      <a:pt x="137414" y="1488"/>
                      <a:pt x="137414" y="992"/>
                      <a:pt x="145847" y="992"/>
                    </a:cubicBezTo>
                    <a:cubicBezTo>
                      <a:pt x="153784" y="992"/>
                      <a:pt x="153784" y="1984"/>
                      <a:pt x="162218" y="1984"/>
                    </a:cubicBezTo>
                    <a:cubicBezTo>
                      <a:pt x="170155" y="1984"/>
                      <a:pt x="170155" y="992"/>
                      <a:pt x="178588" y="992"/>
                    </a:cubicBezTo>
                    <a:cubicBezTo>
                      <a:pt x="186525" y="992"/>
                      <a:pt x="186525" y="1984"/>
                      <a:pt x="194959" y="1984"/>
                    </a:cubicBezTo>
                    <a:cubicBezTo>
                      <a:pt x="202896" y="1984"/>
                      <a:pt x="202896" y="496"/>
                      <a:pt x="211329" y="496"/>
                    </a:cubicBezTo>
                    <a:cubicBezTo>
                      <a:pt x="219267" y="496"/>
                      <a:pt x="219267" y="2976"/>
                      <a:pt x="227700" y="2976"/>
                    </a:cubicBezTo>
                    <a:cubicBezTo>
                      <a:pt x="235637" y="2976"/>
                      <a:pt x="235637" y="2976"/>
                      <a:pt x="244070" y="2976"/>
                    </a:cubicBezTo>
                    <a:cubicBezTo>
                      <a:pt x="252503" y="2976"/>
                      <a:pt x="252008" y="1488"/>
                      <a:pt x="260441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7" name="Freeform: Shape 1606">
                <a:extLst>
                  <a:ext uri="{FF2B5EF4-FFF2-40B4-BE49-F238E27FC236}">
                    <a16:creationId xmlns:a16="http://schemas.microsoft.com/office/drawing/2014/main" id="{3964FD6C-5D02-8E04-04CC-649F9BDCE560}"/>
                  </a:ext>
                </a:extLst>
              </p:cNvPr>
              <p:cNvSpPr/>
              <p:nvPr/>
            </p:nvSpPr>
            <p:spPr>
              <a:xfrm>
                <a:off x="4940310" y="2047809"/>
                <a:ext cx="253991" cy="1984"/>
              </a:xfrm>
              <a:custGeom>
                <a:avLst/>
                <a:gdLst>
                  <a:gd name="connsiteX0" fmla="*/ 0 w 253991"/>
                  <a:gd name="connsiteY0" fmla="*/ 992 h 1984"/>
                  <a:gd name="connsiteX1" fmla="*/ 15875 w 253991"/>
                  <a:gd name="connsiteY1" fmla="*/ 992 h 1984"/>
                  <a:gd name="connsiteX2" fmla="*/ 31749 w 253991"/>
                  <a:gd name="connsiteY2" fmla="*/ 496 h 1984"/>
                  <a:gd name="connsiteX3" fmla="*/ 47623 w 253991"/>
                  <a:gd name="connsiteY3" fmla="*/ 1488 h 1984"/>
                  <a:gd name="connsiteX4" fmla="*/ 63498 w 253991"/>
                  <a:gd name="connsiteY4" fmla="*/ 496 h 1984"/>
                  <a:gd name="connsiteX5" fmla="*/ 79372 w 253991"/>
                  <a:gd name="connsiteY5" fmla="*/ 992 h 1984"/>
                  <a:gd name="connsiteX6" fmla="*/ 95247 w 253991"/>
                  <a:gd name="connsiteY6" fmla="*/ 992 h 1984"/>
                  <a:gd name="connsiteX7" fmla="*/ 111121 w 253991"/>
                  <a:gd name="connsiteY7" fmla="*/ 1984 h 1984"/>
                  <a:gd name="connsiteX8" fmla="*/ 126996 w 253991"/>
                  <a:gd name="connsiteY8" fmla="*/ 1488 h 1984"/>
                  <a:gd name="connsiteX9" fmla="*/ 142870 w 253991"/>
                  <a:gd name="connsiteY9" fmla="*/ 992 h 1984"/>
                  <a:gd name="connsiteX10" fmla="*/ 158745 w 253991"/>
                  <a:gd name="connsiteY10" fmla="*/ 992 h 1984"/>
                  <a:gd name="connsiteX11" fmla="*/ 174619 w 253991"/>
                  <a:gd name="connsiteY11" fmla="*/ 992 h 1984"/>
                  <a:gd name="connsiteX12" fmla="*/ 190494 w 253991"/>
                  <a:gd name="connsiteY12" fmla="*/ 496 h 1984"/>
                  <a:gd name="connsiteX13" fmla="*/ 206368 w 253991"/>
                  <a:gd name="connsiteY13" fmla="*/ 496 h 1984"/>
                  <a:gd name="connsiteX14" fmla="*/ 222243 w 253991"/>
                  <a:gd name="connsiteY14" fmla="*/ 0 h 1984"/>
                  <a:gd name="connsiteX15" fmla="*/ 238117 w 253991"/>
                  <a:gd name="connsiteY15" fmla="*/ 1984 h 1984"/>
                  <a:gd name="connsiteX16" fmla="*/ 253992 w 253991"/>
                  <a:gd name="connsiteY16" fmla="*/ 0 h 1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3991" h="1984">
                    <a:moveTo>
                      <a:pt x="0" y="992"/>
                    </a:moveTo>
                    <a:cubicBezTo>
                      <a:pt x="7937" y="992"/>
                      <a:pt x="7937" y="992"/>
                      <a:pt x="15875" y="992"/>
                    </a:cubicBezTo>
                    <a:cubicBezTo>
                      <a:pt x="23812" y="992"/>
                      <a:pt x="23812" y="496"/>
                      <a:pt x="31749" y="496"/>
                    </a:cubicBezTo>
                    <a:cubicBezTo>
                      <a:pt x="39686" y="496"/>
                      <a:pt x="39686" y="1488"/>
                      <a:pt x="47623" y="1488"/>
                    </a:cubicBezTo>
                    <a:cubicBezTo>
                      <a:pt x="55561" y="1488"/>
                      <a:pt x="55561" y="496"/>
                      <a:pt x="63498" y="496"/>
                    </a:cubicBezTo>
                    <a:cubicBezTo>
                      <a:pt x="71435" y="496"/>
                      <a:pt x="71435" y="992"/>
                      <a:pt x="79372" y="992"/>
                    </a:cubicBezTo>
                    <a:cubicBezTo>
                      <a:pt x="87310" y="992"/>
                      <a:pt x="87310" y="992"/>
                      <a:pt x="95247" y="992"/>
                    </a:cubicBezTo>
                    <a:cubicBezTo>
                      <a:pt x="103184" y="992"/>
                      <a:pt x="103184" y="1984"/>
                      <a:pt x="111121" y="1984"/>
                    </a:cubicBezTo>
                    <a:cubicBezTo>
                      <a:pt x="119059" y="1984"/>
                      <a:pt x="119059" y="1488"/>
                      <a:pt x="126996" y="1488"/>
                    </a:cubicBezTo>
                    <a:cubicBezTo>
                      <a:pt x="134933" y="1488"/>
                      <a:pt x="134933" y="992"/>
                      <a:pt x="142870" y="992"/>
                    </a:cubicBezTo>
                    <a:cubicBezTo>
                      <a:pt x="150808" y="992"/>
                      <a:pt x="150808" y="992"/>
                      <a:pt x="158745" y="992"/>
                    </a:cubicBezTo>
                    <a:cubicBezTo>
                      <a:pt x="166682" y="992"/>
                      <a:pt x="166682" y="992"/>
                      <a:pt x="174619" y="992"/>
                    </a:cubicBezTo>
                    <a:cubicBezTo>
                      <a:pt x="182557" y="992"/>
                      <a:pt x="182557" y="496"/>
                      <a:pt x="190494" y="496"/>
                    </a:cubicBezTo>
                    <a:cubicBezTo>
                      <a:pt x="198431" y="496"/>
                      <a:pt x="198431" y="496"/>
                      <a:pt x="206368" y="496"/>
                    </a:cubicBezTo>
                    <a:cubicBezTo>
                      <a:pt x="214306" y="496"/>
                      <a:pt x="214306" y="0"/>
                      <a:pt x="222243" y="0"/>
                    </a:cubicBezTo>
                    <a:cubicBezTo>
                      <a:pt x="230180" y="0"/>
                      <a:pt x="230180" y="1984"/>
                      <a:pt x="238117" y="1984"/>
                    </a:cubicBezTo>
                    <a:cubicBezTo>
                      <a:pt x="246055" y="1984"/>
                      <a:pt x="246055" y="0"/>
                      <a:pt x="253992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8" name="Freeform: Shape 1607">
                <a:extLst>
                  <a:ext uri="{FF2B5EF4-FFF2-40B4-BE49-F238E27FC236}">
                    <a16:creationId xmlns:a16="http://schemas.microsoft.com/office/drawing/2014/main" id="{CA54FD1D-93C2-9F6D-10A5-9B4F967C8A01}"/>
                  </a:ext>
                </a:extLst>
              </p:cNvPr>
              <p:cNvSpPr/>
              <p:nvPr/>
            </p:nvSpPr>
            <p:spPr>
              <a:xfrm>
                <a:off x="4918978" y="1987784"/>
                <a:ext cx="209344" cy="210833"/>
              </a:xfrm>
              <a:custGeom>
                <a:avLst/>
                <a:gdLst>
                  <a:gd name="connsiteX0" fmla="*/ 0 w 209344"/>
                  <a:gd name="connsiteY0" fmla="*/ 210833 h 210833"/>
                  <a:gd name="connsiteX1" fmla="*/ 11906 w 209344"/>
                  <a:gd name="connsiteY1" fmla="*/ 199423 h 210833"/>
                  <a:gd name="connsiteX2" fmla="*/ 22324 w 209344"/>
                  <a:gd name="connsiteY2" fmla="*/ 186525 h 210833"/>
                  <a:gd name="connsiteX3" fmla="*/ 35717 w 209344"/>
                  <a:gd name="connsiteY3" fmla="*/ 176604 h 210833"/>
                  <a:gd name="connsiteX4" fmla="*/ 47127 w 209344"/>
                  <a:gd name="connsiteY4" fmla="*/ 164698 h 210833"/>
                  <a:gd name="connsiteX5" fmla="*/ 58041 w 209344"/>
                  <a:gd name="connsiteY5" fmla="*/ 152296 h 210833"/>
                  <a:gd name="connsiteX6" fmla="*/ 69947 w 209344"/>
                  <a:gd name="connsiteY6" fmla="*/ 140886 h 210833"/>
                  <a:gd name="connsiteX7" fmla="*/ 80861 w 209344"/>
                  <a:gd name="connsiteY7" fmla="*/ 128484 h 210833"/>
                  <a:gd name="connsiteX8" fmla="*/ 92766 w 209344"/>
                  <a:gd name="connsiteY8" fmla="*/ 117074 h 210833"/>
                  <a:gd name="connsiteX9" fmla="*/ 105168 w 209344"/>
                  <a:gd name="connsiteY9" fmla="*/ 106161 h 210833"/>
                  <a:gd name="connsiteX10" fmla="*/ 116578 w 209344"/>
                  <a:gd name="connsiteY10" fmla="*/ 94255 h 210833"/>
                  <a:gd name="connsiteX11" fmla="*/ 128484 w 209344"/>
                  <a:gd name="connsiteY11" fmla="*/ 82845 h 210833"/>
                  <a:gd name="connsiteX12" fmla="*/ 139398 w 209344"/>
                  <a:gd name="connsiteY12" fmla="*/ 70443 h 210833"/>
                  <a:gd name="connsiteX13" fmla="*/ 150312 w 209344"/>
                  <a:gd name="connsiteY13" fmla="*/ 58041 h 210833"/>
                  <a:gd name="connsiteX14" fmla="*/ 163209 w 209344"/>
                  <a:gd name="connsiteY14" fmla="*/ 47623 h 210833"/>
                  <a:gd name="connsiteX15" fmla="*/ 174619 w 209344"/>
                  <a:gd name="connsiteY15" fmla="*/ 35221 h 210833"/>
                  <a:gd name="connsiteX16" fmla="*/ 185533 w 209344"/>
                  <a:gd name="connsiteY16" fmla="*/ 22819 h 210833"/>
                  <a:gd name="connsiteX17" fmla="*/ 197439 w 209344"/>
                  <a:gd name="connsiteY17" fmla="*/ 11410 h 210833"/>
                  <a:gd name="connsiteX18" fmla="*/ 209345 w 209344"/>
                  <a:gd name="connsiteY18" fmla="*/ 0 h 21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9344" h="210833">
                    <a:moveTo>
                      <a:pt x="0" y="210833"/>
                    </a:moveTo>
                    <a:cubicBezTo>
                      <a:pt x="5953" y="204880"/>
                      <a:pt x="5953" y="204880"/>
                      <a:pt x="11906" y="199423"/>
                    </a:cubicBezTo>
                    <a:cubicBezTo>
                      <a:pt x="17859" y="193470"/>
                      <a:pt x="16371" y="192478"/>
                      <a:pt x="22324" y="186525"/>
                    </a:cubicBezTo>
                    <a:cubicBezTo>
                      <a:pt x="28276" y="180572"/>
                      <a:pt x="29765" y="182061"/>
                      <a:pt x="35717" y="176604"/>
                    </a:cubicBezTo>
                    <a:cubicBezTo>
                      <a:pt x="41670" y="170651"/>
                      <a:pt x="41174" y="170155"/>
                      <a:pt x="47127" y="164698"/>
                    </a:cubicBezTo>
                    <a:cubicBezTo>
                      <a:pt x="53080" y="158745"/>
                      <a:pt x="52088" y="158249"/>
                      <a:pt x="58041" y="152296"/>
                    </a:cubicBezTo>
                    <a:cubicBezTo>
                      <a:pt x="63994" y="146343"/>
                      <a:pt x="64490" y="146839"/>
                      <a:pt x="69947" y="140886"/>
                    </a:cubicBezTo>
                    <a:cubicBezTo>
                      <a:pt x="75900" y="134933"/>
                      <a:pt x="75404" y="134437"/>
                      <a:pt x="80861" y="128484"/>
                    </a:cubicBezTo>
                    <a:cubicBezTo>
                      <a:pt x="86814" y="122531"/>
                      <a:pt x="87310" y="123027"/>
                      <a:pt x="92766" y="117074"/>
                    </a:cubicBezTo>
                    <a:cubicBezTo>
                      <a:pt x="98719" y="111121"/>
                      <a:pt x="99216" y="112113"/>
                      <a:pt x="105168" y="106161"/>
                    </a:cubicBezTo>
                    <a:cubicBezTo>
                      <a:pt x="111121" y="100208"/>
                      <a:pt x="111121" y="100208"/>
                      <a:pt x="116578" y="94255"/>
                    </a:cubicBezTo>
                    <a:cubicBezTo>
                      <a:pt x="122531" y="88302"/>
                      <a:pt x="122531" y="88798"/>
                      <a:pt x="128484" y="82845"/>
                    </a:cubicBezTo>
                    <a:cubicBezTo>
                      <a:pt x="134437" y="76892"/>
                      <a:pt x="133941" y="76396"/>
                      <a:pt x="139398" y="70443"/>
                    </a:cubicBezTo>
                    <a:cubicBezTo>
                      <a:pt x="145351" y="64490"/>
                      <a:pt x="144359" y="63498"/>
                      <a:pt x="150312" y="58041"/>
                    </a:cubicBezTo>
                    <a:cubicBezTo>
                      <a:pt x="156265" y="52088"/>
                      <a:pt x="157256" y="53080"/>
                      <a:pt x="163209" y="47623"/>
                    </a:cubicBezTo>
                    <a:cubicBezTo>
                      <a:pt x="169162" y="41671"/>
                      <a:pt x="168667" y="41174"/>
                      <a:pt x="174619" y="35221"/>
                    </a:cubicBezTo>
                    <a:cubicBezTo>
                      <a:pt x="180572" y="29269"/>
                      <a:pt x="179580" y="28772"/>
                      <a:pt x="185533" y="22819"/>
                    </a:cubicBezTo>
                    <a:cubicBezTo>
                      <a:pt x="191486" y="16867"/>
                      <a:pt x="191486" y="16867"/>
                      <a:pt x="197439" y="11410"/>
                    </a:cubicBezTo>
                    <a:cubicBezTo>
                      <a:pt x="203392" y="5457"/>
                      <a:pt x="203888" y="5953"/>
                      <a:pt x="209345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92CEC4CE-F735-D5DA-9E34-5EC1D4CAFDBB}"/>
                </a:ext>
              </a:extLst>
            </p:cNvPr>
            <p:cNvSpPr/>
            <p:nvPr/>
          </p:nvSpPr>
          <p:spPr>
            <a:xfrm>
              <a:off x="5589180" y="1779927"/>
              <a:ext cx="1440610" cy="3968"/>
            </a:xfrm>
            <a:custGeom>
              <a:avLst/>
              <a:gdLst>
                <a:gd name="connsiteX0" fmla="*/ 0 w 1440610"/>
                <a:gd name="connsiteY0" fmla="*/ 992 h 3968"/>
                <a:gd name="connsiteX1" fmla="*/ 16371 w 1440610"/>
                <a:gd name="connsiteY1" fmla="*/ 1488 h 3968"/>
                <a:gd name="connsiteX2" fmla="*/ 32741 w 1440610"/>
                <a:gd name="connsiteY2" fmla="*/ 992 h 3968"/>
                <a:gd name="connsiteX3" fmla="*/ 49112 w 1440610"/>
                <a:gd name="connsiteY3" fmla="*/ 0 h 3968"/>
                <a:gd name="connsiteX4" fmla="*/ 65482 w 1440610"/>
                <a:gd name="connsiteY4" fmla="*/ 1488 h 3968"/>
                <a:gd name="connsiteX5" fmla="*/ 81853 w 1440610"/>
                <a:gd name="connsiteY5" fmla="*/ 0 h 3968"/>
                <a:gd name="connsiteX6" fmla="*/ 98223 w 1440610"/>
                <a:gd name="connsiteY6" fmla="*/ 0 h 3968"/>
                <a:gd name="connsiteX7" fmla="*/ 114594 w 1440610"/>
                <a:gd name="connsiteY7" fmla="*/ 1984 h 3968"/>
                <a:gd name="connsiteX8" fmla="*/ 130965 w 1440610"/>
                <a:gd name="connsiteY8" fmla="*/ 1488 h 3968"/>
                <a:gd name="connsiteX9" fmla="*/ 147335 w 1440610"/>
                <a:gd name="connsiteY9" fmla="*/ 992 h 3968"/>
                <a:gd name="connsiteX10" fmla="*/ 163706 w 1440610"/>
                <a:gd name="connsiteY10" fmla="*/ 992 h 3968"/>
                <a:gd name="connsiteX11" fmla="*/ 180076 w 1440610"/>
                <a:gd name="connsiteY11" fmla="*/ 1488 h 3968"/>
                <a:gd name="connsiteX12" fmla="*/ 196447 w 1440610"/>
                <a:gd name="connsiteY12" fmla="*/ 992 h 3968"/>
                <a:gd name="connsiteX13" fmla="*/ 212818 w 1440610"/>
                <a:gd name="connsiteY13" fmla="*/ 992 h 3968"/>
                <a:gd name="connsiteX14" fmla="*/ 229188 w 1440610"/>
                <a:gd name="connsiteY14" fmla="*/ 2480 h 3968"/>
                <a:gd name="connsiteX15" fmla="*/ 245559 w 1440610"/>
                <a:gd name="connsiteY15" fmla="*/ 496 h 3968"/>
                <a:gd name="connsiteX16" fmla="*/ 261929 w 1440610"/>
                <a:gd name="connsiteY16" fmla="*/ 496 h 3968"/>
                <a:gd name="connsiteX17" fmla="*/ 278300 w 1440610"/>
                <a:gd name="connsiteY17" fmla="*/ 1984 h 3968"/>
                <a:gd name="connsiteX18" fmla="*/ 294670 w 1440610"/>
                <a:gd name="connsiteY18" fmla="*/ 1488 h 3968"/>
                <a:gd name="connsiteX19" fmla="*/ 311041 w 1440610"/>
                <a:gd name="connsiteY19" fmla="*/ 992 h 3968"/>
                <a:gd name="connsiteX20" fmla="*/ 327411 w 1440610"/>
                <a:gd name="connsiteY20" fmla="*/ 992 h 3968"/>
                <a:gd name="connsiteX21" fmla="*/ 343782 w 1440610"/>
                <a:gd name="connsiteY21" fmla="*/ 992 h 3968"/>
                <a:gd name="connsiteX22" fmla="*/ 360152 w 1440610"/>
                <a:gd name="connsiteY22" fmla="*/ 2480 h 3968"/>
                <a:gd name="connsiteX23" fmla="*/ 376523 w 1440610"/>
                <a:gd name="connsiteY23" fmla="*/ 496 h 3968"/>
                <a:gd name="connsiteX24" fmla="*/ 392893 w 1440610"/>
                <a:gd name="connsiteY24" fmla="*/ 2480 h 3968"/>
                <a:gd name="connsiteX25" fmla="*/ 409264 w 1440610"/>
                <a:gd name="connsiteY25" fmla="*/ 0 h 3968"/>
                <a:gd name="connsiteX26" fmla="*/ 425635 w 1440610"/>
                <a:gd name="connsiteY26" fmla="*/ 1984 h 3968"/>
                <a:gd name="connsiteX27" fmla="*/ 442005 w 1440610"/>
                <a:gd name="connsiteY27" fmla="*/ 1488 h 3968"/>
                <a:gd name="connsiteX28" fmla="*/ 458376 w 1440610"/>
                <a:gd name="connsiteY28" fmla="*/ 496 h 3968"/>
                <a:gd name="connsiteX29" fmla="*/ 474746 w 1440610"/>
                <a:gd name="connsiteY29" fmla="*/ 1488 h 3968"/>
                <a:gd name="connsiteX30" fmla="*/ 491117 w 1440610"/>
                <a:gd name="connsiteY30" fmla="*/ 1984 h 3968"/>
                <a:gd name="connsiteX31" fmla="*/ 507488 w 1440610"/>
                <a:gd name="connsiteY31" fmla="*/ 992 h 3968"/>
                <a:gd name="connsiteX32" fmla="*/ 523858 w 1440610"/>
                <a:gd name="connsiteY32" fmla="*/ 2480 h 3968"/>
                <a:gd name="connsiteX33" fmla="*/ 540229 w 1440610"/>
                <a:gd name="connsiteY33" fmla="*/ 992 h 3968"/>
                <a:gd name="connsiteX34" fmla="*/ 556599 w 1440610"/>
                <a:gd name="connsiteY34" fmla="*/ 2976 h 3968"/>
                <a:gd name="connsiteX35" fmla="*/ 572970 w 1440610"/>
                <a:gd name="connsiteY35" fmla="*/ 2480 h 3968"/>
                <a:gd name="connsiteX36" fmla="*/ 589341 w 1440610"/>
                <a:gd name="connsiteY36" fmla="*/ 1984 h 3968"/>
                <a:gd name="connsiteX37" fmla="*/ 605711 w 1440610"/>
                <a:gd name="connsiteY37" fmla="*/ 1488 h 3968"/>
                <a:gd name="connsiteX38" fmla="*/ 622082 w 1440610"/>
                <a:gd name="connsiteY38" fmla="*/ 496 h 3968"/>
                <a:gd name="connsiteX39" fmla="*/ 638452 w 1440610"/>
                <a:gd name="connsiteY39" fmla="*/ 1488 h 3968"/>
                <a:gd name="connsiteX40" fmla="*/ 654823 w 1440610"/>
                <a:gd name="connsiteY40" fmla="*/ 2480 h 3968"/>
                <a:gd name="connsiteX41" fmla="*/ 671194 w 1440610"/>
                <a:gd name="connsiteY41" fmla="*/ 1488 h 3968"/>
                <a:gd name="connsiteX42" fmla="*/ 687564 w 1440610"/>
                <a:gd name="connsiteY42" fmla="*/ 1488 h 3968"/>
                <a:gd name="connsiteX43" fmla="*/ 703935 w 1440610"/>
                <a:gd name="connsiteY43" fmla="*/ 2480 h 3968"/>
                <a:gd name="connsiteX44" fmla="*/ 720305 w 1440610"/>
                <a:gd name="connsiteY44" fmla="*/ 2976 h 3968"/>
                <a:gd name="connsiteX45" fmla="*/ 736676 w 1440610"/>
                <a:gd name="connsiteY45" fmla="*/ 1984 h 3968"/>
                <a:gd name="connsiteX46" fmla="*/ 753047 w 1440610"/>
                <a:gd name="connsiteY46" fmla="*/ 2480 h 3968"/>
                <a:gd name="connsiteX47" fmla="*/ 769417 w 1440610"/>
                <a:gd name="connsiteY47" fmla="*/ 2480 h 3968"/>
                <a:gd name="connsiteX48" fmla="*/ 785788 w 1440610"/>
                <a:gd name="connsiteY48" fmla="*/ 1984 h 3968"/>
                <a:gd name="connsiteX49" fmla="*/ 802158 w 1440610"/>
                <a:gd name="connsiteY49" fmla="*/ 2480 h 3968"/>
                <a:gd name="connsiteX50" fmla="*/ 818529 w 1440610"/>
                <a:gd name="connsiteY50" fmla="*/ 1984 h 3968"/>
                <a:gd name="connsiteX51" fmla="*/ 834899 w 1440610"/>
                <a:gd name="connsiteY51" fmla="*/ 992 h 3968"/>
                <a:gd name="connsiteX52" fmla="*/ 851270 w 1440610"/>
                <a:gd name="connsiteY52" fmla="*/ 496 h 3968"/>
                <a:gd name="connsiteX53" fmla="*/ 867640 w 1440610"/>
                <a:gd name="connsiteY53" fmla="*/ 1984 h 3968"/>
                <a:gd name="connsiteX54" fmla="*/ 884011 w 1440610"/>
                <a:gd name="connsiteY54" fmla="*/ 496 h 3968"/>
                <a:gd name="connsiteX55" fmla="*/ 900381 w 1440610"/>
                <a:gd name="connsiteY55" fmla="*/ 1488 h 3968"/>
                <a:gd name="connsiteX56" fmla="*/ 916752 w 1440610"/>
                <a:gd name="connsiteY56" fmla="*/ 992 h 3968"/>
                <a:gd name="connsiteX57" fmla="*/ 933122 w 1440610"/>
                <a:gd name="connsiteY57" fmla="*/ 992 h 3968"/>
                <a:gd name="connsiteX58" fmla="*/ 949493 w 1440610"/>
                <a:gd name="connsiteY58" fmla="*/ 2976 h 3968"/>
                <a:gd name="connsiteX59" fmla="*/ 965864 w 1440610"/>
                <a:gd name="connsiteY59" fmla="*/ 1984 h 3968"/>
                <a:gd name="connsiteX60" fmla="*/ 982234 w 1440610"/>
                <a:gd name="connsiteY60" fmla="*/ 992 h 3968"/>
                <a:gd name="connsiteX61" fmla="*/ 998605 w 1440610"/>
                <a:gd name="connsiteY61" fmla="*/ 2480 h 3968"/>
                <a:gd name="connsiteX62" fmla="*/ 1014975 w 1440610"/>
                <a:gd name="connsiteY62" fmla="*/ 1984 h 3968"/>
                <a:gd name="connsiteX63" fmla="*/ 1031346 w 1440610"/>
                <a:gd name="connsiteY63" fmla="*/ 2976 h 3968"/>
                <a:gd name="connsiteX64" fmla="*/ 1047716 w 1440610"/>
                <a:gd name="connsiteY64" fmla="*/ 2480 h 3968"/>
                <a:gd name="connsiteX65" fmla="*/ 1064087 w 1440610"/>
                <a:gd name="connsiteY65" fmla="*/ 1984 h 3968"/>
                <a:gd name="connsiteX66" fmla="*/ 1080458 w 1440610"/>
                <a:gd name="connsiteY66" fmla="*/ 1984 h 3968"/>
                <a:gd name="connsiteX67" fmla="*/ 1096828 w 1440610"/>
                <a:gd name="connsiteY67" fmla="*/ 2976 h 3968"/>
                <a:gd name="connsiteX68" fmla="*/ 1113199 w 1440610"/>
                <a:gd name="connsiteY68" fmla="*/ 1984 h 3968"/>
                <a:gd name="connsiteX69" fmla="*/ 1129569 w 1440610"/>
                <a:gd name="connsiteY69" fmla="*/ 2480 h 3968"/>
                <a:gd name="connsiteX70" fmla="*/ 1145940 w 1440610"/>
                <a:gd name="connsiteY70" fmla="*/ 1984 h 3968"/>
                <a:gd name="connsiteX71" fmla="*/ 1162311 w 1440610"/>
                <a:gd name="connsiteY71" fmla="*/ 3473 h 3968"/>
                <a:gd name="connsiteX72" fmla="*/ 1178681 w 1440610"/>
                <a:gd name="connsiteY72" fmla="*/ 1984 h 3968"/>
                <a:gd name="connsiteX73" fmla="*/ 1195052 w 1440610"/>
                <a:gd name="connsiteY73" fmla="*/ 3969 h 3968"/>
                <a:gd name="connsiteX74" fmla="*/ 1211422 w 1440610"/>
                <a:gd name="connsiteY74" fmla="*/ 3969 h 3968"/>
                <a:gd name="connsiteX75" fmla="*/ 1227793 w 1440610"/>
                <a:gd name="connsiteY75" fmla="*/ 2480 h 3968"/>
                <a:gd name="connsiteX76" fmla="*/ 1244164 w 1440610"/>
                <a:gd name="connsiteY76" fmla="*/ 3969 h 3968"/>
                <a:gd name="connsiteX77" fmla="*/ 1260534 w 1440610"/>
                <a:gd name="connsiteY77" fmla="*/ 1984 h 3968"/>
                <a:gd name="connsiteX78" fmla="*/ 1276905 w 1440610"/>
                <a:gd name="connsiteY78" fmla="*/ 3969 h 3968"/>
                <a:gd name="connsiteX79" fmla="*/ 1293275 w 1440610"/>
                <a:gd name="connsiteY79" fmla="*/ 2976 h 3968"/>
                <a:gd name="connsiteX80" fmla="*/ 1309646 w 1440610"/>
                <a:gd name="connsiteY80" fmla="*/ 3969 h 3968"/>
                <a:gd name="connsiteX81" fmla="*/ 1326017 w 1440610"/>
                <a:gd name="connsiteY81" fmla="*/ 2976 h 3968"/>
                <a:gd name="connsiteX82" fmla="*/ 1342387 w 1440610"/>
                <a:gd name="connsiteY82" fmla="*/ 3473 h 3968"/>
                <a:gd name="connsiteX83" fmla="*/ 1358758 w 1440610"/>
                <a:gd name="connsiteY83" fmla="*/ 3473 h 3968"/>
                <a:gd name="connsiteX84" fmla="*/ 1375128 w 1440610"/>
                <a:gd name="connsiteY84" fmla="*/ 3473 h 3968"/>
                <a:gd name="connsiteX85" fmla="*/ 1391499 w 1440610"/>
                <a:gd name="connsiteY85" fmla="*/ 1984 h 3968"/>
                <a:gd name="connsiteX86" fmla="*/ 1407869 w 1440610"/>
                <a:gd name="connsiteY86" fmla="*/ 2976 h 3968"/>
                <a:gd name="connsiteX87" fmla="*/ 1424240 w 1440610"/>
                <a:gd name="connsiteY87" fmla="*/ 3473 h 3968"/>
                <a:gd name="connsiteX88" fmla="*/ 1440610 w 1440610"/>
                <a:gd name="connsiteY88" fmla="*/ 3473 h 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440610" h="3968">
                  <a:moveTo>
                    <a:pt x="0" y="992"/>
                  </a:moveTo>
                  <a:cubicBezTo>
                    <a:pt x="7937" y="992"/>
                    <a:pt x="7937" y="1488"/>
                    <a:pt x="16371" y="1488"/>
                  </a:cubicBezTo>
                  <a:cubicBezTo>
                    <a:pt x="24308" y="1488"/>
                    <a:pt x="24308" y="992"/>
                    <a:pt x="32741" y="992"/>
                  </a:cubicBezTo>
                  <a:cubicBezTo>
                    <a:pt x="40678" y="992"/>
                    <a:pt x="40678" y="0"/>
                    <a:pt x="49112" y="0"/>
                  </a:cubicBezTo>
                  <a:cubicBezTo>
                    <a:pt x="57049" y="0"/>
                    <a:pt x="57049" y="1488"/>
                    <a:pt x="65482" y="1488"/>
                  </a:cubicBezTo>
                  <a:cubicBezTo>
                    <a:pt x="73916" y="1488"/>
                    <a:pt x="73419" y="0"/>
                    <a:pt x="81853" y="0"/>
                  </a:cubicBezTo>
                  <a:cubicBezTo>
                    <a:pt x="89790" y="0"/>
                    <a:pt x="89790" y="0"/>
                    <a:pt x="98223" y="0"/>
                  </a:cubicBezTo>
                  <a:cubicBezTo>
                    <a:pt x="106161" y="0"/>
                    <a:pt x="106161" y="1984"/>
                    <a:pt x="114594" y="1984"/>
                  </a:cubicBezTo>
                  <a:cubicBezTo>
                    <a:pt x="122531" y="1984"/>
                    <a:pt x="122531" y="1488"/>
                    <a:pt x="130965" y="1488"/>
                  </a:cubicBezTo>
                  <a:cubicBezTo>
                    <a:pt x="138902" y="1488"/>
                    <a:pt x="138902" y="992"/>
                    <a:pt x="147335" y="992"/>
                  </a:cubicBezTo>
                  <a:cubicBezTo>
                    <a:pt x="155272" y="992"/>
                    <a:pt x="155272" y="992"/>
                    <a:pt x="163706" y="992"/>
                  </a:cubicBezTo>
                  <a:cubicBezTo>
                    <a:pt x="171643" y="992"/>
                    <a:pt x="171643" y="1488"/>
                    <a:pt x="180076" y="1488"/>
                  </a:cubicBezTo>
                  <a:cubicBezTo>
                    <a:pt x="188014" y="1488"/>
                    <a:pt x="188014" y="992"/>
                    <a:pt x="196447" y="992"/>
                  </a:cubicBezTo>
                  <a:cubicBezTo>
                    <a:pt x="204384" y="992"/>
                    <a:pt x="204384" y="992"/>
                    <a:pt x="212818" y="992"/>
                  </a:cubicBezTo>
                  <a:cubicBezTo>
                    <a:pt x="220755" y="992"/>
                    <a:pt x="220755" y="2480"/>
                    <a:pt x="229188" y="2480"/>
                  </a:cubicBezTo>
                  <a:cubicBezTo>
                    <a:pt x="237125" y="2480"/>
                    <a:pt x="237125" y="496"/>
                    <a:pt x="245559" y="496"/>
                  </a:cubicBezTo>
                  <a:cubicBezTo>
                    <a:pt x="253496" y="496"/>
                    <a:pt x="253496" y="496"/>
                    <a:pt x="261929" y="496"/>
                  </a:cubicBezTo>
                  <a:cubicBezTo>
                    <a:pt x="269867" y="496"/>
                    <a:pt x="269867" y="1984"/>
                    <a:pt x="278300" y="1984"/>
                  </a:cubicBezTo>
                  <a:cubicBezTo>
                    <a:pt x="286237" y="1984"/>
                    <a:pt x="286237" y="1488"/>
                    <a:pt x="294670" y="1488"/>
                  </a:cubicBezTo>
                  <a:cubicBezTo>
                    <a:pt x="302608" y="1488"/>
                    <a:pt x="302608" y="992"/>
                    <a:pt x="311041" y="992"/>
                  </a:cubicBezTo>
                  <a:cubicBezTo>
                    <a:pt x="318978" y="992"/>
                    <a:pt x="318978" y="992"/>
                    <a:pt x="327411" y="992"/>
                  </a:cubicBezTo>
                  <a:cubicBezTo>
                    <a:pt x="335349" y="992"/>
                    <a:pt x="335349" y="992"/>
                    <a:pt x="343782" y="992"/>
                  </a:cubicBezTo>
                  <a:cubicBezTo>
                    <a:pt x="351719" y="992"/>
                    <a:pt x="351719" y="2480"/>
                    <a:pt x="360152" y="2480"/>
                  </a:cubicBezTo>
                  <a:cubicBezTo>
                    <a:pt x="368090" y="2480"/>
                    <a:pt x="368090" y="496"/>
                    <a:pt x="376523" y="496"/>
                  </a:cubicBezTo>
                  <a:cubicBezTo>
                    <a:pt x="384460" y="496"/>
                    <a:pt x="384460" y="2480"/>
                    <a:pt x="392893" y="2480"/>
                  </a:cubicBezTo>
                  <a:cubicBezTo>
                    <a:pt x="400831" y="2480"/>
                    <a:pt x="400831" y="0"/>
                    <a:pt x="409264" y="0"/>
                  </a:cubicBezTo>
                  <a:cubicBezTo>
                    <a:pt x="417697" y="0"/>
                    <a:pt x="417201" y="1984"/>
                    <a:pt x="425635" y="1984"/>
                  </a:cubicBezTo>
                  <a:cubicBezTo>
                    <a:pt x="433572" y="1984"/>
                    <a:pt x="433572" y="1488"/>
                    <a:pt x="442005" y="1488"/>
                  </a:cubicBezTo>
                  <a:cubicBezTo>
                    <a:pt x="449942" y="1488"/>
                    <a:pt x="449942" y="496"/>
                    <a:pt x="458376" y="496"/>
                  </a:cubicBezTo>
                  <a:cubicBezTo>
                    <a:pt x="466809" y="496"/>
                    <a:pt x="466313" y="1488"/>
                    <a:pt x="474746" y="1488"/>
                  </a:cubicBezTo>
                  <a:cubicBezTo>
                    <a:pt x="482684" y="1488"/>
                    <a:pt x="482684" y="1984"/>
                    <a:pt x="491117" y="1984"/>
                  </a:cubicBezTo>
                  <a:cubicBezTo>
                    <a:pt x="499054" y="1984"/>
                    <a:pt x="499054" y="992"/>
                    <a:pt x="507488" y="992"/>
                  </a:cubicBezTo>
                  <a:cubicBezTo>
                    <a:pt x="515425" y="992"/>
                    <a:pt x="515425" y="2480"/>
                    <a:pt x="523858" y="2480"/>
                  </a:cubicBezTo>
                  <a:cubicBezTo>
                    <a:pt x="531795" y="2480"/>
                    <a:pt x="531795" y="992"/>
                    <a:pt x="540229" y="992"/>
                  </a:cubicBezTo>
                  <a:cubicBezTo>
                    <a:pt x="548166" y="992"/>
                    <a:pt x="548166" y="2976"/>
                    <a:pt x="556599" y="2976"/>
                  </a:cubicBezTo>
                  <a:cubicBezTo>
                    <a:pt x="564537" y="2976"/>
                    <a:pt x="564537" y="2480"/>
                    <a:pt x="572970" y="2480"/>
                  </a:cubicBezTo>
                  <a:cubicBezTo>
                    <a:pt x="580907" y="2480"/>
                    <a:pt x="580907" y="1984"/>
                    <a:pt x="589341" y="1984"/>
                  </a:cubicBezTo>
                  <a:cubicBezTo>
                    <a:pt x="597278" y="1984"/>
                    <a:pt x="597278" y="1488"/>
                    <a:pt x="605711" y="1488"/>
                  </a:cubicBezTo>
                  <a:cubicBezTo>
                    <a:pt x="613648" y="1488"/>
                    <a:pt x="613648" y="496"/>
                    <a:pt x="622082" y="496"/>
                  </a:cubicBezTo>
                  <a:cubicBezTo>
                    <a:pt x="630019" y="496"/>
                    <a:pt x="630019" y="1488"/>
                    <a:pt x="638452" y="1488"/>
                  </a:cubicBezTo>
                  <a:cubicBezTo>
                    <a:pt x="646390" y="1488"/>
                    <a:pt x="646390" y="2480"/>
                    <a:pt x="654823" y="2480"/>
                  </a:cubicBezTo>
                  <a:cubicBezTo>
                    <a:pt x="662760" y="2480"/>
                    <a:pt x="662760" y="1488"/>
                    <a:pt x="671194" y="1488"/>
                  </a:cubicBezTo>
                  <a:cubicBezTo>
                    <a:pt x="679131" y="1488"/>
                    <a:pt x="679131" y="1488"/>
                    <a:pt x="687564" y="1488"/>
                  </a:cubicBezTo>
                  <a:cubicBezTo>
                    <a:pt x="695501" y="1488"/>
                    <a:pt x="695501" y="2480"/>
                    <a:pt x="703935" y="2480"/>
                  </a:cubicBezTo>
                  <a:cubicBezTo>
                    <a:pt x="711872" y="2480"/>
                    <a:pt x="711872" y="2976"/>
                    <a:pt x="720305" y="2976"/>
                  </a:cubicBezTo>
                  <a:cubicBezTo>
                    <a:pt x="728243" y="2976"/>
                    <a:pt x="728243" y="1984"/>
                    <a:pt x="736676" y="1984"/>
                  </a:cubicBezTo>
                  <a:cubicBezTo>
                    <a:pt x="744613" y="1984"/>
                    <a:pt x="744613" y="2480"/>
                    <a:pt x="753047" y="2480"/>
                  </a:cubicBezTo>
                  <a:cubicBezTo>
                    <a:pt x="760984" y="2480"/>
                    <a:pt x="760984" y="2480"/>
                    <a:pt x="769417" y="2480"/>
                  </a:cubicBezTo>
                  <a:cubicBezTo>
                    <a:pt x="777354" y="2480"/>
                    <a:pt x="777354" y="1984"/>
                    <a:pt x="785788" y="1984"/>
                  </a:cubicBezTo>
                  <a:cubicBezTo>
                    <a:pt x="793725" y="1984"/>
                    <a:pt x="793725" y="2480"/>
                    <a:pt x="802158" y="2480"/>
                  </a:cubicBezTo>
                  <a:cubicBezTo>
                    <a:pt x="810096" y="2480"/>
                    <a:pt x="810096" y="1984"/>
                    <a:pt x="818529" y="1984"/>
                  </a:cubicBezTo>
                  <a:cubicBezTo>
                    <a:pt x="826466" y="1984"/>
                    <a:pt x="826466" y="992"/>
                    <a:pt x="834899" y="992"/>
                  </a:cubicBezTo>
                  <a:cubicBezTo>
                    <a:pt x="843333" y="992"/>
                    <a:pt x="842837" y="496"/>
                    <a:pt x="851270" y="496"/>
                  </a:cubicBezTo>
                  <a:cubicBezTo>
                    <a:pt x="859207" y="496"/>
                    <a:pt x="859207" y="1984"/>
                    <a:pt x="867640" y="1984"/>
                  </a:cubicBezTo>
                  <a:cubicBezTo>
                    <a:pt x="875578" y="1984"/>
                    <a:pt x="875578" y="496"/>
                    <a:pt x="884011" y="496"/>
                  </a:cubicBezTo>
                  <a:cubicBezTo>
                    <a:pt x="891948" y="496"/>
                    <a:pt x="891948" y="1488"/>
                    <a:pt x="900381" y="1488"/>
                  </a:cubicBezTo>
                  <a:cubicBezTo>
                    <a:pt x="908319" y="1488"/>
                    <a:pt x="908319" y="992"/>
                    <a:pt x="916752" y="992"/>
                  </a:cubicBezTo>
                  <a:cubicBezTo>
                    <a:pt x="924689" y="992"/>
                    <a:pt x="924689" y="992"/>
                    <a:pt x="933122" y="992"/>
                  </a:cubicBezTo>
                  <a:cubicBezTo>
                    <a:pt x="941060" y="992"/>
                    <a:pt x="941060" y="2976"/>
                    <a:pt x="949493" y="2976"/>
                  </a:cubicBezTo>
                  <a:cubicBezTo>
                    <a:pt x="957430" y="2976"/>
                    <a:pt x="957430" y="1984"/>
                    <a:pt x="965864" y="1984"/>
                  </a:cubicBezTo>
                  <a:cubicBezTo>
                    <a:pt x="973801" y="1984"/>
                    <a:pt x="973801" y="992"/>
                    <a:pt x="982234" y="992"/>
                  </a:cubicBezTo>
                  <a:cubicBezTo>
                    <a:pt x="990171" y="992"/>
                    <a:pt x="990171" y="2480"/>
                    <a:pt x="998605" y="2480"/>
                  </a:cubicBezTo>
                  <a:cubicBezTo>
                    <a:pt x="1006542" y="2480"/>
                    <a:pt x="1006542" y="1984"/>
                    <a:pt x="1014975" y="1984"/>
                  </a:cubicBezTo>
                  <a:cubicBezTo>
                    <a:pt x="1022912" y="1984"/>
                    <a:pt x="1022912" y="2976"/>
                    <a:pt x="1031346" y="2976"/>
                  </a:cubicBezTo>
                  <a:cubicBezTo>
                    <a:pt x="1039283" y="2976"/>
                    <a:pt x="1039283" y="2480"/>
                    <a:pt x="1047716" y="2480"/>
                  </a:cubicBezTo>
                  <a:cubicBezTo>
                    <a:pt x="1055654" y="2480"/>
                    <a:pt x="1055654" y="1984"/>
                    <a:pt x="1064087" y="1984"/>
                  </a:cubicBezTo>
                  <a:cubicBezTo>
                    <a:pt x="1072024" y="1984"/>
                    <a:pt x="1072024" y="1984"/>
                    <a:pt x="1080458" y="1984"/>
                  </a:cubicBezTo>
                  <a:cubicBezTo>
                    <a:pt x="1088395" y="1984"/>
                    <a:pt x="1088395" y="2976"/>
                    <a:pt x="1096828" y="2976"/>
                  </a:cubicBezTo>
                  <a:cubicBezTo>
                    <a:pt x="1104765" y="2976"/>
                    <a:pt x="1104765" y="1984"/>
                    <a:pt x="1113199" y="1984"/>
                  </a:cubicBezTo>
                  <a:cubicBezTo>
                    <a:pt x="1121136" y="1984"/>
                    <a:pt x="1121136" y="2480"/>
                    <a:pt x="1129569" y="2480"/>
                  </a:cubicBezTo>
                  <a:cubicBezTo>
                    <a:pt x="1137507" y="2480"/>
                    <a:pt x="1137507" y="1984"/>
                    <a:pt x="1145940" y="1984"/>
                  </a:cubicBezTo>
                  <a:cubicBezTo>
                    <a:pt x="1154373" y="1984"/>
                    <a:pt x="1153877" y="3473"/>
                    <a:pt x="1162311" y="3473"/>
                  </a:cubicBezTo>
                  <a:cubicBezTo>
                    <a:pt x="1170248" y="3473"/>
                    <a:pt x="1170248" y="1984"/>
                    <a:pt x="1178681" y="1984"/>
                  </a:cubicBezTo>
                  <a:cubicBezTo>
                    <a:pt x="1186618" y="1984"/>
                    <a:pt x="1186618" y="3969"/>
                    <a:pt x="1195052" y="3969"/>
                  </a:cubicBezTo>
                  <a:cubicBezTo>
                    <a:pt x="1202989" y="3969"/>
                    <a:pt x="1202989" y="3969"/>
                    <a:pt x="1211422" y="3969"/>
                  </a:cubicBezTo>
                  <a:cubicBezTo>
                    <a:pt x="1219360" y="3969"/>
                    <a:pt x="1219360" y="2480"/>
                    <a:pt x="1227793" y="2480"/>
                  </a:cubicBezTo>
                  <a:cubicBezTo>
                    <a:pt x="1235730" y="2480"/>
                    <a:pt x="1235730" y="3969"/>
                    <a:pt x="1244164" y="3969"/>
                  </a:cubicBezTo>
                  <a:cubicBezTo>
                    <a:pt x="1252101" y="3969"/>
                    <a:pt x="1252101" y="1984"/>
                    <a:pt x="1260534" y="1984"/>
                  </a:cubicBezTo>
                  <a:cubicBezTo>
                    <a:pt x="1268471" y="1984"/>
                    <a:pt x="1268471" y="3969"/>
                    <a:pt x="1276905" y="3969"/>
                  </a:cubicBezTo>
                  <a:cubicBezTo>
                    <a:pt x="1284842" y="3969"/>
                    <a:pt x="1284842" y="2976"/>
                    <a:pt x="1293275" y="2976"/>
                  </a:cubicBezTo>
                  <a:cubicBezTo>
                    <a:pt x="1301213" y="2976"/>
                    <a:pt x="1301213" y="3969"/>
                    <a:pt x="1309646" y="3969"/>
                  </a:cubicBezTo>
                  <a:cubicBezTo>
                    <a:pt x="1317583" y="3969"/>
                    <a:pt x="1317583" y="2976"/>
                    <a:pt x="1326017" y="2976"/>
                  </a:cubicBezTo>
                  <a:cubicBezTo>
                    <a:pt x="1333954" y="2976"/>
                    <a:pt x="1333954" y="3473"/>
                    <a:pt x="1342387" y="3473"/>
                  </a:cubicBezTo>
                  <a:cubicBezTo>
                    <a:pt x="1350324" y="3473"/>
                    <a:pt x="1350324" y="3473"/>
                    <a:pt x="1358758" y="3473"/>
                  </a:cubicBezTo>
                  <a:cubicBezTo>
                    <a:pt x="1366695" y="3473"/>
                    <a:pt x="1366695" y="3473"/>
                    <a:pt x="1375128" y="3473"/>
                  </a:cubicBezTo>
                  <a:cubicBezTo>
                    <a:pt x="1383066" y="3473"/>
                    <a:pt x="1383066" y="1984"/>
                    <a:pt x="1391499" y="1984"/>
                  </a:cubicBezTo>
                  <a:cubicBezTo>
                    <a:pt x="1399436" y="1984"/>
                    <a:pt x="1399436" y="2976"/>
                    <a:pt x="1407869" y="2976"/>
                  </a:cubicBezTo>
                  <a:cubicBezTo>
                    <a:pt x="1415807" y="2976"/>
                    <a:pt x="1415807" y="3473"/>
                    <a:pt x="1424240" y="3473"/>
                  </a:cubicBezTo>
                  <a:cubicBezTo>
                    <a:pt x="1432673" y="3473"/>
                    <a:pt x="1432177" y="3473"/>
                    <a:pt x="1440610" y="347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02C9A6CF-5059-ECA6-7868-3C761D24A4B2}"/>
                </a:ext>
              </a:extLst>
            </p:cNvPr>
            <p:cNvSpPr/>
            <p:nvPr/>
          </p:nvSpPr>
          <p:spPr>
            <a:xfrm>
              <a:off x="3695579" y="1782872"/>
              <a:ext cx="3313375" cy="479077"/>
            </a:xfrm>
            <a:custGeom>
              <a:avLst/>
              <a:gdLst>
                <a:gd name="connsiteX0" fmla="*/ 3785642 w 3785641"/>
                <a:gd name="connsiteY0" fmla="*/ 464825 h 481526"/>
                <a:gd name="connsiteX1" fmla="*/ 3775224 w 3785641"/>
                <a:gd name="connsiteY1" fmla="*/ 452423 h 481526"/>
                <a:gd name="connsiteX2" fmla="*/ 3763318 w 3785641"/>
                <a:gd name="connsiteY2" fmla="*/ 441013 h 481526"/>
                <a:gd name="connsiteX3" fmla="*/ 3751908 w 3785641"/>
                <a:gd name="connsiteY3" fmla="*/ 429604 h 481526"/>
                <a:gd name="connsiteX4" fmla="*/ 3740002 w 3785641"/>
                <a:gd name="connsiteY4" fmla="*/ 418690 h 481526"/>
                <a:gd name="connsiteX5" fmla="*/ 3730081 w 3785641"/>
                <a:gd name="connsiteY5" fmla="*/ 405792 h 481526"/>
                <a:gd name="connsiteX6" fmla="*/ 3716687 w 3785641"/>
                <a:gd name="connsiteY6" fmla="*/ 395870 h 481526"/>
                <a:gd name="connsiteX7" fmla="*/ 3705277 w 3785641"/>
                <a:gd name="connsiteY7" fmla="*/ 383964 h 481526"/>
                <a:gd name="connsiteX8" fmla="*/ 3693867 w 3785641"/>
                <a:gd name="connsiteY8" fmla="*/ 372058 h 481526"/>
                <a:gd name="connsiteX9" fmla="*/ 3682457 w 3785641"/>
                <a:gd name="connsiteY9" fmla="*/ 360153 h 481526"/>
                <a:gd name="connsiteX10" fmla="*/ 3671048 w 3785641"/>
                <a:gd name="connsiteY10" fmla="*/ 348247 h 481526"/>
                <a:gd name="connsiteX11" fmla="*/ 3658646 w 3785641"/>
                <a:gd name="connsiteY11" fmla="*/ 337333 h 481526"/>
                <a:gd name="connsiteX12" fmla="*/ 3647732 w 3785641"/>
                <a:gd name="connsiteY12" fmla="*/ 325427 h 481526"/>
                <a:gd name="connsiteX13" fmla="*/ 3636322 w 3785641"/>
                <a:gd name="connsiteY13" fmla="*/ 313521 h 481526"/>
                <a:gd name="connsiteX14" fmla="*/ 3623920 w 3785641"/>
                <a:gd name="connsiteY14" fmla="*/ 302608 h 481526"/>
                <a:gd name="connsiteX15" fmla="*/ 3613502 w 3785641"/>
                <a:gd name="connsiteY15" fmla="*/ 290206 h 481526"/>
                <a:gd name="connsiteX16" fmla="*/ 3601597 w 3785641"/>
                <a:gd name="connsiteY16" fmla="*/ 278796 h 481526"/>
                <a:gd name="connsiteX17" fmla="*/ 3590187 w 3785641"/>
                <a:gd name="connsiteY17" fmla="*/ 266890 h 481526"/>
                <a:gd name="connsiteX18" fmla="*/ 3578281 w 3785641"/>
                <a:gd name="connsiteY18" fmla="*/ 255976 h 481526"/>
                <a:gd name="connsiteX19" fmla="*/ 3567367 w 3785641"/>
                <a:gd name="connsiteY19" fmla="*/ 243574 h 481526"/>
                <a:gd name="connsiteX20" fmla="*/ 3555957 w 3785641"/>
                <a:gd name="connsiteY20" fmla="*/ 232165 h 481526"/>
                <a:gd name="connsiteX21" fmla="*/ 3544548 w 3785641"/>
                <a:gd name="connsiteY21" fmla="*/ 220259 h 481526"/>
                <a:gd name="connsiteX22" fmla="*/ 3533138 w 3785641"/>
                <a:gd name="connsiteY22" fmla="*/ 208849 h 481526"/>
                <a:gd name="connsiteX23" fmla="*/ 3521728 w 3785641"/>
                <a:gd name="connsiteY23" fmla="*/ 197439 h 481526"/>
                <a:gd name="connsiteX24" fmla="*/ 3509326 w 3785641"/>
                <a:gd name="connsiteY24" fmla="*/ 186525 h 481526"/>
                <a:gd name="connsiteX25" fmla="*/ 3498908 w 3785641"/>
                <a:gd name="connsiteY25" fmla="*/ 174123 h 481526"/>
                <a:gd name="connsiteX26" fmla="*/ 3486506 w 3785641"/>
                <a:gd name="connsiteY26" fmla="*/ 163210 h 481526"/>
                <a:gd name="connsiteX27" fmla="*/ 3474600 w 3785641"/>
                <a:gd name="connsiteY27" fmla="*/ 152296 h 481526"/>
                <a:gd name="connsiteX28" fmla="*/ 3462695 w 3785641"/>
                <a:gd name="connsiteY28" fmla="*/ 140886 h 481526"/>
                <a:gd name="connsiteX29" fmla="*/ 3452774 w 3785641"/>
                <a:gd name="connsiteY29" fmla="*/ 127492 h 481526"/>
                <a:gd name="connsiteX30" fmla="*/ 3440868 w 3785641"/>
                <a:gd name="connsiteY30" fmla="*/ 116578 h 481526"/>
                <a:gd name="connsiteX31" fmla="*/ 3428466 w 3785641"/>
                <a:gd name="connsiteY31" fmla="*/ 105665 h 481526"/>
                <a:gd name="connsiteX32" fmla="*/ 3417552 w 3785641"/>
                <a:gd name="connsiteY32" fmla="*/ 93263 h 481526"/>
                <a:gd name="connsiteX33" fmla="*/ 3405646 w 3785641"/>
                <a:gd name="connsiteY33" fmla="*/ 81853 h 481526"/>
                <a:gd name="connsiteX34" fmla="*/ 3393740 w 3785641"/>
                <a:gd name="connsiteY34" fmla="*/ 70939 h 481526"/>
                <a:gd name="connsiteX35" fmla="*/ 3382330 w 3785641"/>
                <a:gd name="connsiteY35" fmla="*/ 59033 h 481526"/>
                <a:gd name="connsiteX36" fmla="*/ 3370921 w 3785641"/>
                <a:gd name="connsiteY36" fmla="*/ 47127 h 481526"/>
                <a:gd name="connsiteX37" fmla="*/ 3359015 w 3785641"/>
                <a:gd name="connsiteY37" fmla="*/ 35718 h 481526"/>
                <a:gd name="connsiteX38" fmla="*/ 3347109 w 3785641"/>
                <a:gd name="connsiteY38" fmla="*/ 24308 h 481526"/>
                <a:gd name="connsiteX39" fmla="*/ 3336195 w 3785641"/>
                <a:gd name="connsiteY39" fmla="*/ 11906 h 481526"/>
                <a:gd name="connsiteX40" fmla="*/ 3324289 w 3785641"/>
                <a:gd name="connsiteY40" fmla="*/ 0 h 481526"/>
                <a:gd name="connsiteX41" fmla="*/ 3313375 w 3785641"/>
                <a:gd name="connsiteY41" fmla="*/ 13394 h 481526"/>
                <a:gd name="connsiteX42" fmla="*/ 3300973 w 3785641"/>
                <a:gd name="connsiteY42" fmla="*/ 23812 h 481526"/>
                <a:gd name="connsiteX43" fmla="*/ 3289068 w 3785641"/>
                <a:gd name="connsiteY43" fmla="*/ 34725 h 481526"/>
                <a:gd name="connsiteX44" fmla="*/ 3277658 w 3785641"/>
                <a:gd name="connsiteY44" fmla="*/ 46135 h 481526"/>
                <a:gd name="connsiteX45" fmla="*/ 3266248 w 3785641"/>
                <a:gd name="connsiteY45" fmla="*/ 58041 h 481526"/>
                <a:gd name="connsiteX46" fmla="*/ 3255830 w 3785641"/>
                <a:gd name="connsiteY46" fmla="*/ 70939 h 481526"/>
                <a:gd name="connsiteX47" fmla="*/ 3243924 w 3785641"/>
                <a:gd name="connsiteY47" fmla="*/ 82349 h 481526"/>
                <a:gd name="connsiteX48" fmla="*/ 3231522 w 3785641"/>
                <a:gd name="connsiteY48" fmla="*/ 93263 h 481526"/>
                <a:gd name="connsiteX49" fmla="*/ 3220609 w 3785641"/>
                <a:gd name="connsiteY49" fmla="*/ 105169 h 481526"/>
                <a:gd name="connsiteX50" fmla="*/ 3208207 w 3785641"/>
                <a:gd name="connsiteY50" fmla="*/ 115586 h 481526"/>
                <a:gd name="connsiteX51" fmla="*/ 3197293 w 3785641"/>
                <a:gd name="connsiteY51" fmla="*/ 127492 h 481526"/>
                <a:gd name="connsiteX52" fmla="*/ 3185387 w 3785641"/>
                <a:gd name="connsiteY52" fmla="*/ 138902 h 481526"/>
                <a:gd name="connsiteX53" fmla="*/ 3174970 w 3785641"/>
                <a:gd name="connsiteY53" fmla="*/ 151304 h 481526"/>
                <a:gd name="connsiteX54" fmla="*/ 3162071 w 3785641"/>
                <a:gd name="connsiteY54" fmla="*/ 161721 h 481526"/>
                <a:gd name="connsiteX55" fmla="*/ 3151158 w 3785641"/>
                <a:gd name="connsiteY55" fmla="*/ 174123 h 481526"/>
                <a:gd name="connsiteX56" fmla="*/ 3139252 w 3785641"/>
                <a:gd name="connsiteY56" fmla="*/ 185037 h 481526"/>
                <a:gd name="connsiteX57" fmla="*/ 3127843 w 3785641"/>
                <a:gd name="connsiteY57" fmla="*/ 196943 h 481526"/>
                <a:gd name="connsiteX58" fmla="*/ 3116432 w 3785641"/>
                <a:gd name="connsiteY58" fmla="*/ 208353 h 481526"/>
                <a:gd name="connsiteX59" fmla="*/ 3105022 w 3785641"/>
                <a:gd name="connsiteY59" fmla="*/ 220259 h 481526"/>
                <a:gd name="connsiteX60" fmla="*/ 3093117 w 3785641"/>
                <a:gd name="connsiteY60" fmla="*/ 231668 h 481526"/>
                <a:gd name="connsiteX61" fmla="*/ 3081707 w 3785641"/>
                <a:gd name="connsiteY61" fmla="*/ 243078 h 481526"/>
                <a:gd name="connsiteX62" fmla="*/ 3069305 w 3785641"/>
                <a:gd name="connsiteY62" fmla="*/ 253992 h 481526"/>
                <a:gd name="connsiteX63" fmla="*/ 3057895 w 3785641"/>
                <a:gd name="connsiteY63" fmla="*/ 265898 h 481526"/>
                <a:gd name="connsiteX64" fmla="*/ 3046486 w 3785641"/>
                <a:gd name="connsiteY64" fmla="*/ 277804 h 481526"/>
                <a:gd name="connsiteX65" fmla="*/ 3035572 w 3785641"/>
                <a:gd name="connsiteY65" fmla="*/ 289709 h 481526"/>
                <a:gd name="connsiteX66" fmla="*/ 3024658 w 3785641"/>
                <a:gd name="connsiteY66" fmla="*/ 301615 h 481526"/>
                <a:gd name="connsiteX67" fmla="*/ 3013248 w 3785641"/>
                <a:gd name="connsiteY67" fmla="*/ 313521 h 481526"/>
                <a:gd name="connsiteX68" fmla="*/ 3000350 w 3785641"/>
                <a:gd name="connsiteY68" fmla="*/ 323939 h 481526"/>
                <a:gd name="connsiteX69" fmla="*/ 2988941 w 3785641"/>
                <a:gd name="connsiteY69" fmla="*/ 335845 h 481526"/>
                <a:gd name="connsiteX70" fmla="*/ 2976539 w 3785641"/>
                <a:gd name="connsiteY70" fmla="*/ 346758 h 481526"/>
                <a:gd name="connsiteX71" fmla="*/ 2965129 w 3785641"/>
                <a:gd name="connsiteY71" fmla="*/ 358664 h 481526"/>
                <a:gd name="connsiteX72" fmla="*/ 2953223 w 3785641"/>
                <a:gd name="connsiteY72" fmla="*/ 370074 h 481526"/>
                <a:gd name="connsiteX73" fmla="*/ 2941813 w 3785641"/>
                <a:gd name="connsiteY73" fmla="*/ 381980 h 481526"/>
                <a:gd name="connsiteX74" fmla="*/ 2931395 w 3785641"/>
                <a:gd name="connsiteY74" fmla="*/ 394878 h 481526"/>
                <a:gd name="connsiteX75" fmla="*/ 2918497 w 3785641"/>
                <a:gd name="connsiteY75" fmla="*/ 405296 h 481526"/>
                <a:gd name="connsiteX76" fmla="*/ 2907584 w 3785641"/>
                <a:gd name="connsiteY76" fmla="*/ 417698 h 481526"/>
                <a:gd name="connsiteX77" fmla="*/ 2896174 w 3785641"/>
                <a:gd name="connsiteY77" fmla="*/ 429107 h 481526"/>
                <a:gd name="connsiteX78" fmla="*/ 2884268 w 3785641"/>
                <a:gd name="connsiteY78" fmla="*/ 440517 h 481526"/>
                <a:gd name="connsiteX79" fmla="*/ 2873354 w 3785641"/>
                <a:gd name="connsiteY79" fmla="*/ 452919 h 481526"/>
                <a:gd name="connsiteX80" fmla="*/ 2860952 w 3785641"/>
                <a:gd name="connsiteY80" fmla="*/ 463833 h 481526"/>
                <a:gd name="connsiteX81" fmla="*/ 2850039 w 3785641"/>
                <a:gd name="connsiteY81" fmla="*/ 476235 h 481526"/>
                <a:gd name="connsiteX82" fmla="*/ 2833668 w 3785641"/>
                <a:gd name="connsiteY82" fmla="*/ 476235 h 481526"/>
                <a:gd name="connsiteX83" fmla="*/ 2817297 w 3785641"/>
                <a:gd name="connsiteY83" fmla="*/ 475739 h 481526"/>
                <a:gd name="connsiteX84" fmla="*/ 2800927 w 3785641"/>
                <a:gd name="connsiteY84" fmla="*/ 475739 h 481526"/>
                <a:gd name="connsiteX85" fmla="*/ 2784556 w 3785641"/>
                <a:gd name="connsiteY85" fmla="*/ 476235 h 481526"/>
                <a:gd name="connsiteX86" fmla="*/ 2768186 w 3785641"/>
                <a:gd name="connsiteY86" fmla="*/ 476731 h 481526"/>
                <a:gd name="connsiteX87" fmla="*/ 2751815 w 3785641"/>
                <a:gd name="connsiteY87" fmla="*/ 476731 h 481526"/>
                <a:gd name="connsiteX88" fmla="*/ 2735444 w 3785641"/>
                <a:gd name="connsiteY88" fmla="*/ 475739 h 481526"/>
                <a:gd name="connsiteX89" fmla="*/ 2719074 w 3785641"/>
                <a:gd name="connsiteY89" fmla="*/ 476731 h 481526"/>
                <a:gd name="connsiteX90" fmla="*/ 2702703 w 3785641"/>
                <a:gd name="connsiteY90" fmla="*/ 474747 h 481526"/>
                <a:gd name="connsiteX91" fmla="*/ 2686333 w 3785641"/>
                <a:gd name="connsiteY91" fmla="*/ 475243 h 481526"/>
                <a:gd name="connsiteX92" fmla="*/ 2669962 w 3785641"/>
                <a:gd name="connsiteY92" fmla="*/ 476731 h 481526"/>
                <a:gd name="connsiteX93" fmla="*/ 2653592 w 3785641"/>
                <a:gd name="connsiteY93" fmla="*/ 474747 h 481526"/>
                <a:gd name="connsiteX94" fmla="*/ 2637221 w 3785641"/>
                <a:gd name="connsiteY94" fmla="*/ 476731 h 481526"/>
                <a:gd name="connsiteX95" fmla="*/ 2620851 w 3785641"/>
                <a:gd name="connsiteY95" fmla="*/ 476731 h 481526"/>
                <a:gd name="connsiteX96" fmla="*/ 2604480 w 3785641"/>
                <a:gd name="connsiteY96" fmla="*/ 474747 h 481526"/>
                <a:gd name="connsiteX97" fmla="*/ 2588109 w 3785641"/>
                <a:gd name="connsiteY97" fmla="*/ 476235 h 481526"/>
                <a:gd name="connsiteX98" fmla="*/ 2571739 w 3785641"/>
                <a:gd name="connsiteY98" fmla="*/ 474747 h 481526"/>
                <a:gd name="connsiteX99" fmla="*/ 2555368 w 3785641"/>
                <a:gd name="connsiteY99" fmla="*/ 475739 h 481526"/>
                <a:gd name="connsiteX100" fmla="*/ 2538998 w 3785641"/>
                <a:gd name="connsiteY100" fmla="*/ 476731 h 481526"/>
                <a:gd name="connsiteX101" fmla="*/ 2522627 w 3785641"/>
                <a:gd name="connsiteY101" fmla="*/ 475739 h 481526"/>
                <a:gd name="connsiteX102" fmla="*/ 2506257 w 3785641"/>
                <a:gd name="connsiteY102" fmla="*/ 476731 h 481526"/>
                <a:gd name="connsiteX103" fmla="*/ 2489886 w 3785641"/>
                <a:gd name="connsiteY103" fmla="*/ 476235 h 481526"/>
                <a:gd name="connsiteX104" fmla="*/ 2473516 w 3785641"/>
                <a:gd name="connsiteY104" fmla="*/ 476731 h 481526"/>
                <a:gd name="connsiteX105" fmla="*/ 2457145 w 3785641"/>
                <a:gd name="connsiteY105" fmla="*/ 475243 h 481526"/>
                <a:gd name="connsiteX106" fmla="*/ 2440775 w 3785641"/>
                <a:gd name="connsiteY106" fmla="*/ 474747 h 481526"/>
                <a:gd name="connsiteX107" fmla="*/ 2424404 w 3785641"/>
                <a:gd name="connsiteY107" fmla="*/ 476235 h 481526"/>
                <a:gd name="connsiteX108" fmla="*/ 2408033 w 3785641"/>
                <a:gd name="connsiteY108" fmla="*/ 475243 h 481526"/>
                <a:gd name="connsiteX109" fmla="*/ 2391663 w 3785641"/>
                <a:gd name="connsiteY109" fmla="*/ 475739 h 481526"/>
                <a:gd name="connsiteX110" fmla="*/ 2375292 w 3785641"/>
                <a:gd name="connsiteY110" fmla="*/ 475739 h 481526"/>
                <a:gd name="connsiteX111" fmla="*/ 2358922 w 3785641"/>
                <a:gd name="connsiteY111" fmla="*/ 475243 h 481526"/>
                <a:gd name="connsiteX112" fmla="*/ 2342551 w 3785641"/>
                <a:gd name="connsiteY112" fmla="*/ 474747 h 481526"/>
                <a:gd name="connsiteX113" fmla="*/ 2326180 w 3785641"/>
                <a:gd name="connsiteY113" fmla="*/ 476235 h 481526"/>
                <a:gd name="connsiteX114" fmla="*/ 2309810 w 3785641"/>
                <a:gd name="connsiteY114" fmla="*/ 476235 h 481526"/>
                <a:gd name="connsiteX115" fmla="*/ 2293439 w 3785641"/>
                <a:gd name="connsiteY115" fmla="*/ 476235 h 481526"/>
                <a:gd name="connsiteX116" fmla="*/ 2277069 w 3785641"/>
                <a:gd name="connsiteY116" fmla="*/ 475243 h 481526"/>
                <a:gd name="connsiteX117" fmla="*/ 2260698 w 3785641"/>
                <a:gd name="connsiteY117" fmla="*/ 476731 h 481526"/>
                <a:gd name="connsiteX118" fmla="*/ 2244327 w 3785641"/>
                <a:gd name="connsiteY118" fmla="*/ 474747 h 481526"/>
                <a:gd name="connsiteX119" fmla="*/ 2227957 w 3785641"/>
                <a:gd name="connsiteY119" fmla="*/ 476731 h 481526"/>
                <a:gd name="connsiteX120" fmla="*/ 2211586 w 3785641"/>
                <a:gd name="connsiteY120" fmla="*/ 475739 h 481526"/>
                <a:gd name="connsiteX121" fmla="*/ 2195216 w 3785641"/>
                <a:gd name="connsiteY121" fmla="*/ 476731 h 481526"/>
                <a:gd name="connsiteX122" fmla="*/ 2178845 w 3785641"/>
                <a:gd name="connsiteY122" fmla="*/ 475243 h 481526"/>
                <a:gd name="connsiteX123" fmla="*/ 2162474 w 3785641"/>
                <a:gd name="connsiteY123" fmla="*/ 477227 h 481526"/>
                <a:gd name="connsiteX124" fmla="*/ 2146104 w 3785641"/>
                <a:gd name="connsiteY124" fmla="*/ 475739 h 481526"/>
                <a:gd name="connsiteX125" fmla="*/ 2129733 w 3785641"/>
                <a:gd name="connsiteY125" fmla="*/ 477227 h 481526"/>
                <a:gd name="connsiteX126" fmla="*/ 2113363 w 3785641"/>
                <a:gd name="connsiteY126" fmla="*/ 477227 h 481526"/>
                <a:gd name="connsiteX127" fmla="*/ 2096992 w 3785641"/>
                <a:gd name="connsiteY127" fmla="*/ 477227 h 481526"/>
                <a:gd name="connsiteX128" fmla="*/ 2080621 w 3785641"/>
                <a:gd name="connsiteY128" fmla="*/ 476731 h 481526"/>
                <a:gd name="connsiteX129" fmla="*/ 2064251 w 3785641"/>
                <a:gd name="connsiteY129" fmla="*/ 475243 h 481526"/>
                <a:gd name="connsiteX130" fmla="*/ 2047880 w 3785641"/>
                <a:gd name="connsiteY130" fmla="*/ 477227 h 481526"/>
                <a:gd name="connsiteX131" fmla="*/ 2031510 w 3785641"/>
                <a:gd name="connsiteY131" fmla="*/ 477227 h 481526"/>
                <a:gd name="connsiteX132" fmla="*/ 2015139 w 3785641"/>
                <a:gd name="connsiteY132" fmla="*/ 477227 h 481526"/>
                <a:gd name="connsiteX133" fmla="*/ 1998769 w 3785641"/>
                <a:gd name="connsiteY133" fmla="*/ 476731 h 481526"/>
                <a:gd name="connsiteX134" fmla="*/ 1982398 w 3785641"/>
                <a:gd name="connsiteY134" fmla="*/ 476235 h 481526"/>
                <a:gd name="connsiteX135" fmla="*/ 1966028 w 3785641"/>
                <a:gd name="connsiteY135" fmla="*/ 476235 h 481526"/>
                <a:gd name="connsiteX136" fmla="*/ 1949657 w 3785641"/>
                <a:gd name="connsiteY136" fmla="*/ 475243 h 481526"/>
                <a:gd name="connsiteX137" fmla="*/ 1933287 w 3785641"/>
                <a:gd name="connsiteY137" fmla="*/ 475739 h 481526"/>
                <a:gd name="connsiteX138" fmla="*/ 1916916 w 3785641"/>
                <a:gd name="connsiteY138" fmla="*/ 477227 h 481526"/>
                <a:gd name="connsiteX139" fmla="*/ 1900546 w 3785641"/>
                <a:gd name="connsiteY139" fmla="*/ 475243 h 481526"/>
                <a:gd name="connsiteX140" fmla="*/ 1884175 w 3785641"/>
                <a:gd name="connsiteY140" fmla="*/ 476235 h 481526"/>
                <a:gd name="connsiteX141" fmla="*/ 1867804 w 3785641"/>
                <a:gd name="connsiteY141" fmla="*/ 477227 h 481526"/>
                <a:gd name="connsiteX142" fmla="*/ 1851434 w 3785641"/>
                <a:gd name="connsiteY142" fmla="*/ 477227 h 481526"/>
                <a:gd name="connsiteX143" fmla="*/ 1835063 w 3785641"/>
                <a:gd name="connsiteY143" fmla="*/ 477227 h 481526"/>
                <a:gd name="connsiteX144" fmla="*/ 1818693 w 3785641"/>
                <a:gd name="connsiteY144" fmla="*/ 476731 h 481526"/>
                <a:gd name="connsiteX145" fmla="*/ 1802322 w 3785641"/>
                <a:gd name="connsiteY145" fmla="*/ 475243 h 481526"/>
                <a:gd name="connsiteX146" fmla="*/ 1785951 w 3785641"/>
                <a:gd name="connsiteY146" fmla="*/ 476235 h 481526"/>
                <a:gd name="connsiteX147" fmla="*/ 1769581 w 3785641"/>
                <a:gd name="connsiteY147" fmla="*/ 475739 h 481526"/>
                <a:gd name="connsiteX148" fmla="*/ 1753210 w 3785641"/>
                <a:gd name="connsiteY148" fmla="*/ 474747 h 481526"/>
                <a:gd name="connsiteX149" fmla="*/ 1736840 w 3785641"/>
                <a:gd name="connsiteY149" fmla="*/ 475739 h 481526"/>
                <a:gd name="connsiteX150" fmla="*/ 1720469 w 3785641"/>
                <a:gd name="connsiteY150" fmla="*/ 477227 h 481526"/>
                <a:gd name="connsiteX151" fmla="*/ 1704098 w 3785641"/>
                <a:gd name="connsiteY151" fmla="*/ 475243 h 481526"/>
                <a:gd name="connsiteX152" fmla="*/ 1687728 w 3785641"/>
                <a:gd name="connsiteY152" fmla="*/ 477227 h 481526"/>
                <a:gd name="connsiteX153" fmla="*/ 1671357 w 3785641"/>
                <a:gd name="connsiteY153" fmla="*/ 477227 h 481526"/>
                <a:gd name="connsiteX154" fmla="*/ 1654987 w 3785641"/>
                <a:gd name="connsiteY154" fmla="*/ 474747 h 481526"/>
                <a:gd name="connsiteX155" fmla="*/ 1638616 w 3785641"/>
                <a:gd name="connsiteY155" fmla="*/ 475243 h 481526"/>
                <a:gd name="connsiteX156" fmla="*/ 1622246 w 3785641"/>
                <a:gd name="connsiteY156" fmla="*/ 476235 h 481526"/>
                <a:gd name="connsiteX157" fmla="*/ 1605875 w 3785641"/>
                <a:gd name="connsiteY157" fmla="*/ 477227 h 481526"/>
                <a:gd name="connsiteX158" fmla="*/ 1589505 w 3785641"/>
                <a:gd name="connsiteY158" fmla="*/ 475739 h 481526"/>
                <a:gd name="connsiteX159" fmla="*/ 1573134 w 3785641"/>
                <a:gd name="connsiteY159" fmla="*/ 477227 h 481526"/>
                <a:gd name="connsiteX160" fmla="*/ 1556763 w 3785641"/>
                <a:gd name="connsiteY160" fmla="*/ 475243 h 481526"/>
                <a:gd name="connsiteX161" fmla="*/ 1540393 w 3785641"/>
                <a:gd name="connsiteY161" fmla="*/ 475243 h 481526"/>
                <a:gd name="connsiteX162" fmla="*/ 1524022 w 3785641"/>
                <a:gd name="connsiteY162" fmla="*/ 476731 h 481526"/>
                <a:gd name="connsiteX163" fmla="*/ 1507652 w 3785641"/>
                <a:gd name="connsiteY163" fmla="*/ 475243 h 481526"/>
                <a:gd name="connsiteX164" fmla="*/ 1491281 w 3785641"/>
                <a:gd name="connsiteY164" fmla="*/ 476731 h 481526"/>
                <a:gd name="connsiteX165" fmla="*/ 1474910 w 3785641"/>
                <a:gd name="connsiteY165" fmla="*/ 476731 h 481526"/>
                <a:gd name="connsiteX166" fmla="*/ 1458540 w 3785641"/>
                <a:gd name="connsiteY166" fmla="*/ 475243 h 481526"/>
                <a:gd name="connsiteX167" fmla="*/ 1442169 w 3785641"/>
                <a:gd name="connsiteY167" fmla="*/ 474251 h 481526"/>
                <a:gd name="connsiteX168" fmla="*/ 1425799 w 3785641"/>
                <a:gd name="connsiteY168" fmla="*/ 474747 h 481526"/>
                <a:gd name="connsiteX169" fmla="*/ 1409428 w 3785641"/>
                <a:gd name="connsiteY169" fmla="*/ 475243 h 481526"/>
                <a:gd name="connsiteX170" fmla="*/ 1393058 w 3785641"/>
                <a:gd name="connsiteY170" fmla="*/ 476235 h 481526"/>
                <a:gd name="connsiteX171" fmla="*/ 1376687 w 3785641"/>
                <a:gd name="connsiteY171" fmla="*/ 474251 h 481526"/>
                <a:gd name="connsiteX172" fmla="*/ 1360317 w 3785641"/>
                <a:gd name="connsiteY172" fmla="*/ 476235 h 481526"/>
                <a:gd name="connsiteX173" fmla="*/ 1343946 w 3785641"/>
                <a:gd name="connsiteY173" fmla="*/ 476235 h 481526"/>
                <a:gd name="connsiteX174" fmla="*/ 1327576 w 3785641"/>
                <a:gd name="connsiteY174" fmla="*/ 475243 h 481526"/>
                <a:gd name="connsiteX175" fmla="*/ 1311205 w 3785641"/>
                <a:gd name="connsiteY175" fmla="*/ 476235 h 481526"/>
                <a:gd name="connsiteX176" fmla="*/ 1294834 w 3785641"/>
                <a:gd name="connsiteY176" fmla="*/ 476235 h 481526"/>
                <a:gd name="connsiteX177" fmla="*/ 1278464 w 3785641"/>
                <a:gd name="connsiteY177" fmla="*/ 476235 h 481526"/>
                <a:gd name="connsiteX178" fmla="*/ 1262093 w 3785641"/>
                <a:gd name="connsiteY178" fmla="*/ 476235 h 481526"/>
                <a:gd name="connsiteX179" fmla="*/ 1245723 w 3785641"/>
                <a:gd name="connsiteY179" fmla="*/ 475739 h 481526"/>
                <a:gd name="connsiteX180" fmla="*/ 1229352 w 3785641"/>
                <a:gd name="connsiteY180" fmla="*/ 475243 h 481526"/>
                <a:gd name="connsiteX181" fmla="*/ 1212981 w 3785641"/>
                <a:gd name="connsiteY181" fmla="*/ 476235 h 481526"/>
                <a:gd name="connsiteX182" fmla="*/ 1196611 w 3785641"/>
                <a:gd name="connsiteY182" fmla="*/ 474747 h 481526"/>
                <a:gd name="connsiteX183" fmla="*/ 1180240 w 3785641"/>
                <a:gd name="connsiteY183" fmla="*/ 475243 h 481526"/>
                <a:gd name="connsiteX184" fmla="*/ 1163870 w 3785641"/>
                <a:gd name="connsiteY184" fmla="*/ 475243 h 481526"/>
                <a:gd name="connsiteX185" fmla="*/ 1147499 w 3785641"/>
                <a:gd name="connsiteY185" fmla="*/ 476235 h 481526"/>
                <a:gd name="connsiteX186" fmla="*/ 1131128 w 3785641"/>
                <a:gd name="connsiteY186" fmla="*/ 476235 h 481526"/>
                <a:gd name="connsiteX187" fmla="*/ 1114758 w 3785641"/>
                <a:gd name="connsiteY187" fmla="*/ 475243 h 481526"/>
                <a:gd name="connsiteX188" fmla="*/ 1098387 w 3785641"/>
                <a:gd name="connsiteY188" fmla="*/ 476235 h 481526"/>
                <a:gd name="connsiteX189" fmla="*/ 1082017 w 3785641"/>
                <a:gd name="connsiteY189" fmla="*/ 477227 h 481526"/>
                <a:gd name="connsiteX190" fmla="*/ 1065646 w 3785641"/>
                <a:gd name="connsiteY190" fmla="*/ 477227 h 481526"/>
                <a:gd name="connsiteX191" fmla="*/ 1049276 w 3785641"/>
                <a:gd name="connsiteY191" fmla="*/ 476731 h 481526"/>
                <a:gd name="connsiteX192" fmla="*/ 1032905 w 3785641"/>
                <a:gd name="connsiteY192" fmla="*/ 475739 h 481526"/>
                <a:gd name="connsiteX193" fmla="*/ 1016535 w 3785641"/>
                <a:gd name="connsiteY193" fmla="*/ 476731 h 481526"/>
                <a:gd name="connsiteX194" fmla="*/ 1000164 w 3785641"/>
                <a:gd name="connsiteY194" fmla="*/ 476731 h 481526"/>
                <a:gd name="connsiteX195" fmla="*/ 983793 w 3785641"/>
                <a:gd name="connsiteY195" fmla="*/ 475243 h 481526"/>
                <a:gd name="connsiteX196" fmla="*/ 967423 w 3785641"/>
                <a:gd name="connsiteY196" fmla="*/ 475243 h 481526"/>
                <a:gd name="connsiteX197" fmla="*/ 951052 w 3785641"/>
                <a:gd name="connsiteY197" fmla="*/ 476235 h 481526"/>
                <a:gd name="connsiteX198" fmla="*/ 934682 w 3785641"/>
                <a:gd name="connsiteY198" fmla="*/ 476731 h 481526"/>
                <a:gd name="connsiteX199" fmla="*/ 918311 w 3785641"/>
                <a:gd name="connsiteY199" fmla="*/ 477227 h 481526"/>
                <a:gd name="connsiteX200" fmla="*/ 901940 w 3785641"/>
                <a:gd name="connsiteY200" fmla="*/ 475739 h 481526"/>
                <a:gd name="connsiteX201" fmla="*/ 885570 w 3785641"/>
                <a:gd name="connsiteY201" fmla="*/ 477227 h 481526"/>
                <a:gd name="connsiteX202" fmla="*/ 869199 w 3785641"/>
                <a:gd name="connsiteY202" fmla="*/ 476731 h 481526"/>
                <a:gd name="connsiteX203" fmla="*/ 852829 w 3785641"/>
                <a:gd name="connsiteY203" fmla="*/ 476235 h 481526"/>
                <a:gd name="connsiteX204" fmla="*/ 836458 w 3785641"/>
                <a:gd name="connsiteY204" fmla="*/ 477227 h 481526"/>
                <a:gd name="connsiteX205" fmla="*/ 820088 w 3785641"/>
                <a:gd name="connsiteY205" fmla="*/ 477723 h 481526"/>
                <a:gd name="connsiteX206" fmla="*/ 803717 w 3785641"/>
                <a:gd name="connsiteY206" fmla="*/ 476235 h 481526"/>
                <a:gd name="connsiteX207" fmla="*/ 787347 w 3785641"/>
                <a:gd name="connsiteY207" fmla="*/ 478219 h 481526"/>
                <a:gd name="connsiteX208" fmla="*/ 770976 w 3785641"/>
                <a:gd name="connsiteY208" fmla="*/ 477227 h 481526"/>
                <a:gd name="connsiteX209" fmla="*/ 754605 w 3785641"/>
                <a:gd name="connsiteY209" fmla="*/ 477723 h 481526"/>
                <a:gd name="connsiteX210" fmla="*/ 738235 w 3785641"/>
                <a:gd name="connsiteY210" fmla="*/ 476235 h 481526"/>
                <a:gd name="connsiteX211" fmla="*/ 721864 w 3785641"/>
                <a:gd name="connsiteY211" fmla="*/ 477723 h 481526"/>
                <a:gd name="connsiteX212" fmla="*/ 705494 w 3785641"/>
                <a:gd name="connsiteY212" fmla="*/ 478219 h 481526"/>
                <a:gd name="connsiteX213" fmla="*/ 689123 w 3785641"/>
                <a:gd name="connsiteY213" fmla="*/ 476731 h 481526"/>
                <a:gd name="connsiteX214" fmla="*/ 672753 w 3785641"/>
                <a:gd name="connsiteY214" fmla="*/ 477723 h 481526"/>
                <a:gd name="connsiteX215" fmla="*/ 656382 w 3785641"/>
                <a:gd name="connsiteY215" fmla="*/ 477227 h 481526"/>
                <a:gd name="connsiteX216" fmla="*/ 640011 w 3785641"/>
                <a:gd name="connsiteY216" fmla="*/ 478219 h 481526"/>
                <a:gd name="connsiteX217" fmla="*/ 623641 w 3785641"/>
                <a:gd name="connsiteY217" fmla="*/ 476235 h 481526"/>
                <a:gd name="connsiteX218" fmla="*/ 607270 w 3785641"/>
                <a:gd name="connsiteY218" fmla="*/ 477227 h 481526"/>
                <a:gd name="connsiteX219" fmla="*/ 590900 w 3785641"/>
                <a:gd name="connsiteY219" fmla="*/ 477723 h 481526"/>
                <a:gd name="connsiteX220" fmla="*/ 574529 w 3785641"/>
                <a:gd name="connsiteY220" fmla="*/ 476731 h 481526"/>
                <a:gd name="connsiteX221" fmla="*/ 558158 w 3785641"/>
                <a:gd name="connsiteY221" fmla="*/ 477723 h 481526"/>
                <a:gd name="connsiteX222" fmla="*/ 541788 w 3785641"/>
                <a:gd name="connsiteY222" fmla="*/ 478219 h 481526"/>
                <a:gd name="connsiteX223" fmla="*/ 525417 w 3785641"/>
                <a:gd name="connsiteY223" fmla="*/ 476731 h 481526"/>
                <a:gd name="connsiteX224" fmla="*/ 509047 w 3785641"/>
                <a:gd name="connsiteY224" fmla="*/ 476235 h 481526"/>
                <a:gd name="connsiteX225" fmla="*/ 492676 w 3785641"/>
                <a:gd name="connsiteY225" fmla="*/ 476235 h 481526"/>
                <a:gd name="connsiteX226" fmla="*/ 476306 w 3785641"/>
                <a:gd name="connsiteY226" fmla="*/ 477227 h 481526"/>
                <a:gd name="connsiteX227" fmla="*/ 459935 w 3785641"/>
                <a:gd name="connsiteY227" fmla="*/ 476235 h 481526"/>
                <a:gd name="connsiteX228" fmla="*/ 443565 w 3785641"/>
                <a:gd name="connsiteY228" fmla="*/ 477227 h 481526"/>
                <a:gd name="connsiteX229" fmla="*/ 427194 w 3785641"/>
                <a:gd name="connsiteY229" fmla="*/ 476731 h 481526"/>
                <a:gd name="connsiteX230" fmla="*/ 410823 w 3785641"/>
                <a:gd name="connsiteY230" fmla="*/ 475739 h 481526"/>
                <a:gd name="connsiteX231" fmla="*/ 394453 w 3785641"/>
                <a:gd name="connsiteY231" fmla="*/ 478219 h 481526"/>
                <a:gd name="connsiteX232" fmla="*/ 378082 w 3785641"/>
                <a:gd name="connsiteY232" fmla="*/ 477723 h 481526"/>
                <a:gd name="connsiteX233" fmla="*/ 361712 w 3785641"/>
                <a:gd name="connsiteY233" fmla="*/ 477227 h 481526"/>
                <a:gd name="connsiteX234" fmla="*/ 345341 w 3785641"/>
                <a:gd name="connsiteY234" fmla="*/ 478715 h 481526"/>
                <a:gd name="connsiteX235" fmla="*/ 328970 w 3785641"/>
                <a:gd name="connsiteY235" fmla="*/ 476731 h 481526"/>
                <a:gd name="connsiteX236" fmla="*/ 312600 w 3785641"/>
                <a:gd name="connsiteY236" fmla="*/ 477723 h 481526"/>
                <a:gd name="connsiteX237" fmla="*/ 296229 w 3785641"/>
                <a:gd name="connsiteY237" fmla="*/ 476731 h 481526"/>
                <a:gd name="connsiteX238" fmla="*/ 279859 w 3785641"/>
                <a:gd name="connsiteY238" fmla="*/ 478219 h 481526"/>
                <a:gd name="connsiteX239" fmla="*/ 263488 w 3785641"/>
                <a:gd name="connsiteY239" fmla="*/ 478715 h 481526"/>
                <a:gd name="connsiteX240" fmla="*/ 247118 w 3785641"/>
                <a:gd name="connsiteY240" fmla="*/ 478715 h 481526"/>
                <a:gd name="connsiteX241" fmla="*/ 230747 w 3785641"/>
                <a:gd name="connsiteY241" fmla="*/ 477227 h 481526"/>
                <a:gd name="connsiteX242" fmla="*/ 214376 w 3785641"/>
                <a:gd name="connsiteY242" fmla="*/ 477227 h 481526"/>
                <a:gd name="connsiteX243" fmla="*/ 198006 w 3785641"/>
                <a:gd name="connsiteY243" fmla="*/ 479211 h 481526"/>
                <a:gd name="connsiteX244" fmla="*/ 181635 w 3785641"/>
                <a:gd name="connsiteY244" fmla="*/ 478715 h 481526"/>
                <a:gd name="connsiteX245" fmla="*/ 165265 w 3785641"/>
                <a:gd name="connsiteY245" fmla="*/ 477227 h 481526"/>
                <a:gd name="connsiteX246" fmla="*/ 148894 w 3785641"/>
                <a:gd name="connsiteY246" fmla="*/ 479211 h 481526"/>
                <a:gd name="connsiteX247" fmla="*/ 132524 w 3785641"/>
                <a:gd name="connsiteY247" fmla="*/ 478715 h 481526"/>
                <a:gd name="connsiteX248" fmla="*/ 116153 w 3785641"/>
                <a:gd name="connsiteY248" fmla="*/ 477723 h 481526"/>
                <a:gd name="connsiteX249" fmla="*/ 99783 w 3785641"/>
                <a:gd name="connsiteY249" fmla="*/ 477723 h 481526"/>
                <a:gd name="connsiteX250" fmla="*/ 83412 w 3785641"/>
                <a:gd name="connsiteY250" fmla="*/ 477723 h 481526"/>
                <a:gd name="connsiteX251" fmla="*/ 67041 w 3785641"/>
                <a:gd name="connsiteY251" fmla="*/ 477227 h 481526"/>
                <a:gd name="connsiteX252" fmla="*/ 50671 w 3785641"/>
                <a:gd name="connsiteY252" fmla="*/ 477723 h 481526"/>
                <a:gd name="connsiteX253" fmla="*/ 34300 w 3785641"/>
                <a:gd name="connsiteY253" fmla="*/ 477723 h 481526"/>
                <a:gd name="connsiteX254" fmla="*/ 17930 w 3785641"/>
                <a:gd name="connsiteY254" fmla="*/ 478219 h 481526"/>
                <a:gd name="connsiteX255" fmla="*/ 567 w 3785641"/>
                <a:gd name="connsiteY255" fmla="*/ 478219 h 481526"/>
                <a:gd name="connsiteX256" fmla="*/ 12969 w 3785641"/>
                <a:gd name="connsiteY256" fmla="*/ 465817 h 481526"/>
                <a:gd name="connsiteX257" fmla="*/ 24379 w 3785641"/>
                <a:gd name="connsiteY257" fmla="*/ 454407 h 481526"/>
                <a:gd name="connsiteX258" fmla="*/ 35788 w 3785641"/>
                <a:gd name="connsiteY258" fmla="*/ 442502 h 481526"/>
                <a:gd name="connsiteX259" fmla="*/ 48686 w 3785641"/>
                <a:gd name="connsiteY259" fmla="*/ 432580 h 481526"/>
                <a:gd name="connsiteX260" fmla="*/ 59600 w 3785641"/>
                <a:gd name="connsiteY260" fmla="*/ 420674 h 481526"/>
                <a:gd name="connsiteX261" fmla="*/ 70514 w 3785641"/>
                <a:gd name="connsiteY261" fmla="*/ 408272 h 481526"/>
                <a:gd name="connsiteX262" fmla="*/ 83412 w 3785641"/>
                <a:gd name="connsiteY262" fmla="*/ 397855 h 481526"/>
                <a:gd name="connsiteX263" fmla="*/ 94822 w 3785641"/>
                <a:gd name="connsiteY263" fmla="*/ 385949 h 481526"/>
                <a:gd name="connsiteX264" fmla="*/ 106728 w 3785641"/>
                <a:gd name="connsiteY264" fmla="*/ 374539 h 481526"/>
                <a:gd name="connsiteX265" fmla="*/ 117145 w 3785641"/>
                <a:gd name="connsiteY265" fmla="*/ 362137 h 481526"/>
                <a:gd name="connsiteX266" fmla="*/ 128555 w 3785641"/>
                <a:gd name="connsiteY266" fmla="*/ 350727 h 481526"/>
                <a:gd name="connsiteX267" fmla="*/ 140461 w 3785641"/>
                <a:gd name="connsiteY267" fmla="*/ 339317 h 481526"/>
                <a:gd name="connsiteX268" fmla="*/ 152863 w 3785641"/>
                <a:gd name="connsiteY268" fmla="*/ 328900 h 481526"/>
                <a:gd name="connsiteX269" fmla="*/ 164769 w 3785641"/>
                <a:gd name="connsiteY269" fmla="*/ 317490 h 481526"/>
                <a:gd name="connsiteX270" fmla="*/ 176178 w 3785641"/>
                <a:gd name="connsiteY270" fmla="*/ 305584 h 481526"/>
                <a:gd name="connsiteX271" fmla="*/ 188084 w 3785641"/>
                <a:gd name="connsiteY271" fmla="*/ 294174 h 481526"/>
                <a:gd name="connsiteX272" fmla="*/ 199494 w 3785641"/>
                <a:gd name="connsiteY272" fmla="*/ 282764 h 481526"/>
                <a:gd name="connsiteX273" fmla="*/ 210904 w 3785641"/>
                <a:gd name="connsiteY273" fmla="*/ 271355 h 481526"/>
                <a:gd name="connsiteX274" fmla="*/ 221818 w 3785641"/>
                <a:gd name="connsiteY274" fmla="*/ 258953 h 481526"/>
                <a:gd name="connsiteX275" fmla="*/ 233724 w 3785641"/>
                <a:gd name="connsiteY275" fmla="*/ 247543 h 481526"/>
                <a:gd name="connsiteX276" fmla="*/ 244141 w 3785641"/>
                <a:gd name="connsiteY276" fmla="*/ 235141 h 481526"/>
                <a:gd name="connsiteX277" fmla="*/ 257039 w 3785641"/>
                <a:gd name="connsiteY277" fmla="*/ 225219 h 481526"/>
                <a:gd name="connsiteX278" fmla="*/ 266961 w 3785641"/>
                <a:gd name="connsiteY278" fmla="*/ 211825 h 481526"/>
                <a:gd name="connsiteX279" fmla="*/ 278371 w 3785641"/>
                <a:gd name="connsiteY279" fmla="*/ 200415 h 481526"/>
                <a:gd name="connsiteX280" fmla="*/ 291269 w 3785641"/>
                <a:gd name="connsiteY280" fmla="*/ 190494 h 481526"/>
                <a:gd name="connsiteX281" fmla="*/ 301686 w 3785641"/>
                <a:gd name="connsiteY281" fmla="*/ 177596 h 481526"/>
                <a:gd name="connsiteX282" fmla="*/ 313592 w 3785641"/>
                <a:gd name="connsiteY282" fmla="*/ 166186 h 481526"/>
                <a:gd name="connsiteX283" fmla="*/ 325994 w 3785641"/>
                <a:gd name="connsiteY283" fmla="*/ 155768 h 481526"/>
                <a:gd name="connsiteX284" fmla="*/ 337404 w 3785641"/>
                <a:gd name="connsiteY284" fmla="*/ 144359 h 481526"/>
                <a:gd name="connsiteX285" fmla="*/ 347325 w 3785641"/>
                <a:gd name="connsiteY285" fmla="*/ 131461 h 481526"/>
                <a:gd name="connsiteX286" fmla="*/ 360224 w 3785641"/>
                <a:gd name="connsiteY286" fmla="*/ 121043 h 481526"/>
                <a:gd name="connsiteX287" fmla="*/ 371137 w 3785641"/>
                <a:gd name="connsiteY287" fmla="*/ 108641 h 481526"/>
                <a:gd name="connsiteX288" fmla="*/ 382051 w 3785641"/>
                <a:gd name="connsiteY288" fmla="*/ 96239 h 481526"/>
                <a:gd name="connsiteX289" fmla="*/ 393957 w 3785641"/>
                <a:gd name="connsiteY289" fmla="*/ 84829 h 481526"/>
                <a:gd name="connsiteX290" fmla="*/ 405366 w 3785641"/>
                <a:gd name="connsiteY290" fmla="*/ 72924 h 481526"/>
                <a:gd name="connsiteX291" fmla="*/ 417272 w 3785641"/>
                <a:gd name="connsiteY291" fmla="*/ 62010 h 481526"/>
                <a:gd name="connsiteX292" fmla="*/ 429674 w 3785641"/>
                <a:gd name="connsiteY292" fmla="*/ 51096 h 481526"/>
                <a:gd name="connsiteX293" fmla="*/ 440092 w 3785641"/>
                <a:gd name="connsiteY293" fmla="*/ 38198 h 481526"/>
                <a:gd name="connsiteX294" fmla="*/ 452494 w 3785641"/>
                <a:gd name="connsiteY294" fmla="*/ 27284 h 481526"/>
                <a:gd name="connsiteX295" fmla="*/ 463904 w 3785641"/>
                <a:gd name="connsiteY295" fmla="*/ 15378 h 481526"/>
                <a:gd name="connsiteX296" fmla="*/ 475313 w 3785641"/>
                <a:gd name="connsiteY296" fmla="*/ 3473 h 481526"/>
                <a:gd name="connsiteX297" fmla="*/ 491684 w 3785641"/>
                <a:gd name="connsiteY297" fmla="*/ 4961 h 481526"/>
                <a:gd name="connsiteX298" fmla="*/ 508055 w 3785641"/>
                <a:gd name="connsiteY298" fmla="*/ 4961 h 481526"/>
                <a:gd name="connsiteX299" fmla="*/ 524425 w 3785641"/>
                <a:gd name="connsiteY299" fmla="*/ 4961 h 481526"/>
                <a:gd name="connsiteX300" fmla="*/ 540796 w 3785641"/>
                <a:gd name="connsiteY300" fmla="*/ 3473 h 481526"/>
                <a:gd name="connsiteX301" fmla="*/ 557166 w 3785641"/>
                <a:gd name="connsiteY301" fmla="*/ 4961 h 481526"/>
                <a:gd name="connsiteX302" fmla="*/ 573537 w 3785641"/>
                <a:gd name="connsiteY302" fmla="*/ 3473 h 481526"/>
                <a:gd name="connsiteX303" fmla="*/ 589908 w 3785641"/>
                <a:gd name="connsiteY303" fmla="*/ 2976 h 481526"/>
                <a:gd name="connsiteX304" fmla="*/ 606278 w 3785641"/>
                <a:gd name="connsiteY304" fmla="*/ 3969 h 481526"/>
                <a:gd name="connsiteX305" fmla="*/ 622649 w 3785641"/>
                <a:gd name="connsiteY305" fmla="*/ 3969 h 481526"/>
                <a:gd name="connsiteX306" fmla="*/ 639019 w 3785641"/>
                <a:gd name="connsiteY306" fmla="*/ 4465 h 481526"/>
                <a:gd name="connsiteX307" fmla="*/ 655390 w 3785641"/>
                <a:gd name="connsiteY307" fmla="*/ 2976 h 481526"/>
                <a:gd name="connsiteX308" fmla="*/ 671760 w 3785641"/>
                <a:gd name="connsiteY308" fmla="*/ 3969 h 481526"/>
                <a:gd name="connsiteX309" fmla="*/ 688131 w 3785641"/>
                <a:gd name="connsiteY309" fmla="*/ 4961 h 481526"/>
                <a:gd name="connsiteX310" fmla="*/ 704501 w 3785641"/>
                <a:gd name="connsiteY310" fmla="*/ 3473 h 481526"/>
                <a:gd name="connsiteX311" fmla="*/ 720872 w 3785641"/>
                <a:gd name="connsiteY311" fmla="*/ 3969 h 481526"/>
                <a:gd name="connsiteX312" fmla="*/ 737243 w 3785641"/>
                <a:gd name="connsiteY312" fmla="*/ 4465 h 481526"/>
                <a:gd name="connsiteX313" fmla="*/ 753613 w 3785641"/>
                <a:gd name="connsiteY313" fmla="*/ 3473 h 481526"/>
                <a:gd name="connsiteX314" fmla="*/ 769984 w 3785641"/>
                <a:gd name="connsiteY314" fmla="*/ 2976 h 481526"/>
                <a:gd name="connsiteX315" fmla="*/ 786354 w 3785641"/>
                <a:gd name="connsiteY315" fmla="*/ 3969 h 481526"/>
                <a:gd name="connsiteX316" fmla="*/ 802725 w 3785641"/>
                <a:gd name="connsiteY316" fmla="*/ 2976 h 481526"/>
                <a:gd name="connsiteX317" fmla="*/ 819096 w 3785641"/>
                <a:gd name="connsiteY317" fmla="*/ 4961 h 481526"/>
                <a:gd name="connsiteX318" fmla="*/ 835466 w 3785641"/>
                <a:gd name="connsiteY318" fmla="*/ 2976 h 481526"/>
                <a:gd name="connsiteX319" fmla="*/ 851837 w 3785641"/>
                <a:gd name="connsiteY319" fmla="*/ 3969 h 481526"/>
                <a:gd name="connsiteX320" fmla="*/ 868207 w 3785641"/>
                <a:gd name="connsiteY320" fmla="*/ 4465 h 481526"/>
                <a:gd name="connsiteX321" fmla="*/ 884578 w 3785641"/>
                <a:gd name="connsiteY321" fmla="*/ 4961 h 481526"/>
                <a:gd name="connsiteX322" fmla="*/ 900948 w 3785641"/>
                <a:gd name="connsiteY322" fmla="*/ 3969 h 481526"/>
                <a:gd name="connsiteX323" fmla="*/ 917319 w 3785641"/>
                <a:gd name="connsiteY323" fmla="*/ 3473 h 481526"/>
                <a:gd name="connsiteX324" fmla="*/ 933689 w 3785641"/>
                <a:gd name="connsiteY324" fmla="*/ 4961 h 481526"/>
                <a:gd name="connsiteX325" fmla="*/ 950060 w 3785641"/>
                <a:gd name="connsiteY325" fmla="*/ 3969 h 481526"/>
                <a:gd name="connsiteX326" fmla="*/ 966431 w 3785641"/>
                <a:gd name="connsiteY326" fmla="*/ 4465 h 481526"/>
                <a:gd name="connsiteX327" fmla="*/ 982801 w 3785641"/>
                <a:gd name="connsiteY327" fmla="*/ 4961 h 481526"/>
                <a:gd name="connsiteX328" fmla="*/ 999172 w 3785641"/>
                <a:gd name="connsiteY328" fmla="*/ 3969 h 481526"/>
                <a:gd name="connsiteX329" fmla="*/ 1015542 w 3785641"/>
                <a:gd name="connsiteY329" fmla="*/ 4961 h 481526"/>
                <a:gd name="connsiteX330" fmla="*/ 1031913 w 3785641"/>
                <a:gd name="connsiteY330" fmla="*/ 3969 h 481526"/>
                <a:gd name="connsiteX331" fmla="*/ 1048283 w 3785641"/>
                <a:gd name="connsiteY331" fmla="*/ 4465 h 481526"/>
                <a:gd name="connsiteX332" fmla="*/ 1064654 w 3785641"/>
                <a:gd name="connsiteY332" fmla="*/ 5953 h 481526"/>
                <a:gd name="connsiteX333" fmla="*/ 1081025 w 3785641"/>
                <a:gd name="connsiteY333" fmla="*/ 4465 h 481526"/>
                <a:gd name="connsiteX334" fmla="*/ 1097395 w 3785641"/>
                <a:gd name="connsiteY334" fmla="*/ 4961 h 481526"/>
                <a:gd name="connsiteX335" fmla="*/ 1113766 w 3785641"/>
                <a:gd name="connsiteY335" fmla="*/ 4961 h 481526"/>
                <a:gd name="connsiteX336" fmla="*/ 1130136 w 3785641"/>
                <a:gd name="connsiteY336" fmla="*/ 5953 h 481526"/>
                <a:gd name="connsiteX337" fmla="*/ 1146507 w 3785641"/>
                <a:gd name="connsiteY337" fmla="*/ 3969 h 481526"/>
                <a:gd name="connsiteX338" fmla="*/ 1162878 w 3785641"/>
                <a:gd name="connsiteY338" fmla="*/ 5457 h 481526"/>
                <a:gd name="connsiteX339" fmla="*/ 1179248 w 3785641"/>
                <a:gd name="connsiteY339" fmla="*/ 6449 h 481526"/>
                <a:gd name="connsiteX340" fmla="*/ 1195619 w 3785641"/>
                <a:gd name="connsiteY340" fmla="*/ 5953 h 481526"/>
                <a:gd name="connsiteX341" fmla="*/ 1211989 w 3785641"/>
                <a:gd name="connsiteY341" fmla="*/ 3969 h 481526"/>
                <a:gd name="connsiteX342" fmla="*/ 1228360 w 3785641"/>
                <a:gd name="connsiteY342" fmla="*/ 5953 h 481526"/>
                <a:gd name="connsiteX343" fmla="*/ 1244730 w 3785641"/>
                <a:gd name="connsiteY343" fmla="*/ 3969 h 481526"/>
                <a:gd name="connsiteX344" fmla="*/ 1261101 w 3785641"/>
                <a:gd name="connsiteY344" fmla="*/ 4961 h 481526"/>
                <a:gd name="connsiteX345" fmla="*/ 1277471 w 3785641"/>
                <a:gd name="connsiteY345" fmla="*/ 5953 h 481526"/>
                <a:gd name="connsiteX346" fmla="*/ 1293842 w 3785641"/>
                <a:gd name="connsiteY346" fmla="*/ 6449 h 481526"/>
                <a:gd name="connsiteX347" fmla="*/ 1310213 w 3785641"/>
                <a:gd name="connsiteY347" fmla="*/ 3969 h 481526"/>
                <a:gd name="connsiteX348" fmla="*/ 1326583 w 3785641"/>
                <a:gd name="connsiteY348" fmla="*/ 4465 h 481526"/>
                <a:gd name="connsiteX349" fmla="*/ 1342954 w 3785641"/>
                <a:gd name="connsiteY349" fmla="*/ 5457 h 481526"/>
                <a:gd name="connsiteX350" fmla="*/ 1359324 w 3785641"/>
                <a:gd name="connsiteY350" fmla="*/ 5457 h 481526"/>
                <a:gd name="connsiteX351" fmla="*/ 1375695 w 3785641"/>
                <a:gd name="connsiteY351" fmla="*/ 4961 h 481526"/>
                <a:gd name="connsiteX352" fmla="*/ 1392066 w 3785641"/>
                <a:gd name="connsiteY352" fmla="*/ 4961 h 481526"/>
                <a:gd name="connsiteX353" fmla="*/ 1408436 w 3785641"/>
                <a:gd name="connsiteY353" fmla="*/ 5953 h 481526"/>
                <a:gd name="connsiteX354" fmla="*/ 1424807 w 3785641"/>
                <a:gd name="connsiteY354" fmla="*/ 5953 h 481526"/>
                <a:gd name="connsiteX355" fmla="*/ 1441177 w 3785641"/>
                <a:gd name="connsiteY355" fmla="*/ 3969 h 481526"/>
                <a:gd name="connsiteX356" fmla="*/ 1457548 w 3785641"/>
                <a:gd name="connsiteY356" fmla="*/ 4961 h 481526"/>
                <a:gd name="connsiteX357" fmla="*/ 1473919 w 3785641"/>
                <a:gd name="connsiteY357" fmla="*/ 4465 h 481526"/>
                <a:gd name="connsiteX358" fmla="*/ 1490289 w 3785641"/>
                <a:gd name="connsiteY358" fmla="*/ 4465 h 481526"/>
                <a:gd name="connsiteX359" fmla="*/ 1506660 w 3785641"/>
                <a:gd name="connsiteY359" fmla="*/ 3969 h 481526"/>
                <a:gd name="connsiteX360" fmla="*/ 1523030 w 3785641"/>
                <a:gd name="connsiteY360" fmla="*/ 5953 h 481526"/>
                <a:gd name="connsiteX361" fmla="*/ 1539401 w 3785641"/>
                <a:gd name="connsiteY361" fmla="*/ 5457 h 481526"/>
                <a:gd name="connsiteX362" fmla="*/ 1555771 w 3785641"/>
                <a:gd name="connsiteY362" fmla="*/ 5457 h 481526"/>
                <a:gd name="connsiteX363" fmla="*/ 1572142 w 3785641"/>
                <a:gd name="connsiteY363" fmla="*/ 4961 h 481526"/>
                <a:gd name="connsiteX364" fmla="*/ 1588512 w 3785641"/>
                <a:gd name="connsiteY364" fmla="*/ 4465 h 481526"/>
                <a:gd name="connsiteX365" fmla="*/ 1604883 w 3785641"/>
                <a:gd name="connsiteY365" fmla="*/ 5457 h 481526"/>
                <a:gd name="connsiteX366" fmla="*/ 1621253 w 3785641"/>
                <a:gd name="connsiteY366" fmla="*/ 5457 h 481526"/>
                <a:gd name="connsiteX367" fmla="*/ 1637624 w 3785641"/>
                <a:gd name="connsiteY367" fmla="*/ 4961 h 481526"/>
                <a:gd name="connsiteX0" fmla="*/ 3785642 w 3785642"/>
                <a:gd name="connsiteY0" fmla="*/ 465057 h 481758"/>
                <a:gd name="connsiteX1" fmla="*/ 3775224 w 3785642"/>
                <a:gd name="connsiteY1" fmla="*/ 452655 h 481758"/>
                <a:gd name="connsiteX2" fmla="*/ 3763318 w 3785642"/>
                <a:gd name="connsiteY2" fmla="*/ 441245 h 481758"/>
                <a:gd name="connsiteX3" fmla="*/ 3751908 w 3785642"/>
                <a:gd name="connsiteY3" fmla="*/ 429836 h 481758"/>
                <a:gd name="connsiteX4" fmla="*/ 3740002 w 3785642"/>
                <a:gd name="connsiteY4" fmla="*/ 418922 h 481758"/>
                <a:gd name="connsiteX5" fmla="*/ 3730081 w 3785642"/>
                <a:gd name="connsiteY5" fmla="*/ 406024 h 481758"/>
                <a:gd name="connsiteX6" fmla="*/ 3716687 w 3785642"/>
                <a:gd name="connsiteY6" fmla="*/ 396102 h 481758"/>
                <a:gd name="connsiteX7" fmla="*/ 3705277 w 3785642"/>
                <a:gd name="connsiteY7" fmla="*/ 384196 h 481758"/>
                <a:gd name="connsiteX8" fmla="*/ 3693867 w 3785642"/>
                <a:gd name="connsiteY8" fmla="*/ 372290 h 481758"/>
                <a:gd name="connsiteX9" fmla="*/ 3682457 w 3785642"/>
                <a:gd name="connsiteY9" fmla="*/ 360385 h 481758"/>
                <a:gd name="connsiteX10" fmla="*/ 3671048 w 3785642"/>
                <a:gd name="connsiteY10" fmla="*/ 348479 h 481758"/>
                <a:gd name="connsiteX11" fmla="*/ 3658646 w 3785642"/>
                <a:gd name="connsiteY11" fmla="*/ 337565 h 481758"/>
                <a:gd name="connsiteX12" fmla="*/ 3647732 w 3785642"/>
                <a:gd name="connsiteY12" fmla="*/ 325659 h 481758"/>
                <a:gd name="connsiteX13" fmla="*/ 3636322 w 3785642"/>
                <a:gd name="connsiteY13" fmla="*/ 313753 h 481758"/>
                <a:gd name="connsiteX14" fmla="*/ 3623920 w 3785642"/>
                <a:gd name="connsiteY14" fmla="*/ 302840 h 481758"/>
                <a:gd name="connsiteX15" fmla="*/ 3613502 w 3785642"/>
                <a:gd name="connsiteY15" fmla="*/ 290438 h 481758"/>
                <a:gd name="connsiteX16" fmla="*/ 3601597 w 3785642"/>
                <a:gd name="connsiteY16" fmla="*/ 279028 h 481758"/>
                <a:gd name="connsiteX17" fmla="*/ 3590187 w 3785642"/>
                <a:gd name="connsiteY17" fmla="*/ 267122 h 481758"/>
                <a:gd name="connsiteX18" fmla="*/ 3578281 w 3785642"/>
                <a:gd name="connsiteY18" fmla="*/ 256208 h 481758"/>
                <a:gd name="connsiteX19" fmla="*/ 3567367 w 3785642"/>
                <a:gd name="connsiteY19" fmla="*/ 243806 h 481758"/>
                <a:gd name="connsiteX20" fmla="*/ 3555957 w 3785642"/>
                <a:gd name="connsiteY20" fmla="*/ 232397 h 481758"/>
                <a:gd name="connsiteX21" fmla="*/ 3544548 w 3785642"/>
                <a:gd name="connsiteY21" fmla="*/ 220491 h 481758"/>
                <a:gd name="connsiteX22" fmla="*/ 3533138 w 3785642"/>
                <a:gd name="connsiteY22" fmla="*/ 209081 h 481758"/>
                <a:gd name="connsiteX23" fmla="*/ 3521728 w 3785642"/>
                <a:gd name="connsiteY23" fmla="*/ 197671 h 481758"/>
                <a:gd name="connsiteX24" fmla="*/ 3509326 w 3785642"/>
                <a:gd name="connsiteY24" fmla="*/ 186757 h 481758"/>
                <a:gd name="connsiteX25" fmla="*/ 3498908 w 3785642"/>
                <a:gd name="connsiteY25" fmla="*/ 174355 h 481758"/>
                <a:gd name="connsiteX26" fmla="*/ 3486506 w 3785642"/>
                <a:gd name="connsiteY26" fmla="*/ 163442 h 481758"/>
                <a:gd name="connsiteX27" fmla="*/ 3474600 w 3785642"/>
                <a:gd name="connsiteY27" fmla="*/ 152528 h 481758"/>
                <a:gd name="connsiteX28" fmla="*/ 3462695 w 3785642"/>
                <a:gd name="connsiteY28" fmla="*/ 141118 h 481758"/>
                <a:gd name="connsiteX29" fmla="*/ 3452774 w 3785642"/>
                <a:gd name="connsiteY29" fmla="*/ 127724 h 481758"/>
                <a:gd name="connsiteX30" fmla="*/ 3440868 w 3785642"/>
                <a:gd name="connsiteY30" fmla="*/ 116810 h 481758"/>
                <a:gd name="connsiteX31" fmla="*/ 3428466 w 3785642"/>
                <a:gd name="connsiteY31" fmla="*/ 105897 h 481758"/>
                <a:gd name="connsiteX32" fmla="*/ 3417552 w 3785642"/>
                <a:gd name="connsiteY32" fmla="*/ 93495 h 481758"/>
                <a:gd name="connsiteX33" fmla="*/ 3405646 w 3785642"/>
                <a:gd name="connsiteY33" fmla="*/ 82085 h 481758"/>
                <a:gd name="connsiteX34" fmla="*/ 3393740 w 3785642"/>
                <a:gd name="connsiteY34" fmla="*/ 71171 h 481758"/>
                <a:gd name="connsiteX35" fmla="*/ 3382330 w 3785642"/>
                <a:gd name="connsiteY35" fmla="*/ 59265 h 481758"/>
                <a:gd name="connsiteX36" fmla="*/ 3370921 w 3785642"/>
                <a:gd name="connsiteY36" fmla="*/ 47359 h 481758"/>
                <a:gd name="connsiteX37" fmla="*/ 3359015 w 3785642"/>
                <a:gd name="connsiteY37" fmla="*/ 35950 h 481758"/>
                <a:gd name="connsiteX38" fmla="*/ 3347109 w 3785642"/>
                <a:gd name="connsiteY38" fmla="*/ 24540 h 481758"/>
                <a:gd name="connsiteX39" fmla="*/ 3324289 w 3785642"/>
                <a:gd name="connsiteY39" fmla="*/ 232 h 481758"/>
                <a:gd name="connsiteX40" fmla="*/ 3313375 w 3785642"/>
                <a:gd name="connsiteY40" fmla="*/ 13626 h 481758"/>
                <a:gd name="connsiteX41" fmla="*/ 3300973 w 3785642"/>
                <a:gd name="connsiteY41" fmla="*/ 24044 h 481758"/>
                <a:gd name="connsiteX42" fmla="*/ 3289068 w 3785642"/>
                <a:gd name="connsiteY42" fmla="*/ 34957 h 481758"/>
                <a:gd name="connsiteX43" fmla="*/ 3277658 w 3785642"/>
                <a:gd name="connsiteY43" fmla="*/ 46367 h 481758"/>
                <a:gd name="connsiteX44" fmla="*/ 3266248 w 3785642"/>
                <a:gd name="connsiteY44" fmla="*/ 58273 h 481758"/>
                <a:gd name="connsiteX45" fmla="*/ 3255830 w 3785642"/>
                <a:gd name="connsiteY45" fmla="*/ 71171 h 481758"/>
                <a:gd name="connsiteX46" fmla="*/ 3243924 w 3785642"/>
                <a:gd name="connsiteY46" fmla="*/ 82581 h 481758"/>
                <a:gd name="connsiteX47" fmla="*/ 3231522 w 3785642"/>
                <a:gd name="connsiteY47" fmla="*/ 93495 h 481758"/>
                <a:gd name="connsiteX48" fmla="*/ 3220609 w 3785642"/>
                <a:gd name="connsiteY48" fmla="*/ 105401 h 481758"/>
                <a:gd name="connsiteX49" fmla="*/ 3208207 w 3785642"/>
                <a:gd name="connsiteY49" fmla="*/ 115818 h 481758"/>
                <a:gd name="connsiteX50" fmla="*/ 3197293 w 3785642"/>
                <a:gd name="connsiteY50" fmla="*/ 127724 h 481758"/>
                <a:gd name="connsiteX51" fmla="*/ 3185387 w 3785642"/>
                <a:gd name="connsiteY51" fmla="*/ 139134 h 481758"/>
                <a:gd name="connsiteX52" fmla="*/ 3174970 w 3785642"/>
                <a:gd name="connsiteY52" fmla="*/ 151536 h 481758"/>
                <a:gd name="connsiteX53" fmla="*/ 3162071 w 3785642"/>
                <a:gd name="connsiteY53" fmla="*/ 161953 h 481758"/>
                <a:gd name="connsiteX54" fmla="*/ 3151158 w 3785642"/>
                <a:gd name="connsiteY54" fmla="*/ 174355 h 481758"/>
                <a:gd name="connsiteX55" fmla="*/ 3139252 w 3785642"/>
                <a:gd name="connsiteY55" fmla="*/ 185269 h 481758"/>
                <a:gd name="connsiteX56" fmla="*/ 3127843 w 3785642"/>
                <a:gd name="connsiteY56" fmla="*/ 197175 h 481758"/>
                <a:gd name="connsiteX57" fmla="*/ 3116432 w 3785642"/>
                <a:gd name="connsiteY57" fmla="*/ 208585 h 481758"/>
                <a:gd name="connsiteX58" fmla="*/ 3105022 w 3785642"/>
                <a:gd name="connsiteY58" fmla="*/ 220491 h 481758"/>
                <a:gd name="connsiteX59" fmla="*/ 3093117 w 3785642"/>
                <a:gd name="connsiteY59" fmla="*/ 231900 h 481758"/>
                <a:gd name="connsiteX60" fmla="*/ 3081707 w 3785642"/>
                <a:gd name="connsiteY60" fmla="*/ 243310 h 481758"/>
                <a:gd name="connsiteX61" fmla="*/ 3069305 w 3785642"/>
                <a:gd name="connsiteY61" fmla="*/ 254224 h 481758"/>
                <a:gd name="connsiteX62" fmla="*/ 3057895 w 3785642"/>
                <a:gd name="connsiteY62" fmla="*/ 266130 h 481758"/>
                <a:gd name="connsiteX63" fmla="*/ 3046486 w 3785642"/>
                <a:gd name="connsiteY63" fmla="*/ 278036 h 481758"/>
                <a:gd name="connsiteX64" fmla="*/ 3035572 w 3785642"/>
                <a:gd name="connsiteY64" fmla="*/ 289941 h 481758"/>
                <a:gd name="connsiteX65" fmla="*/ 3024658 w 3785642"/>
                <a:gd name="connsiteY65" fmla="*/ 301847 h 481758"/>
                <a:gd name="connsiteX66" fmla="*/ 3013248 w 3785642"/>
                <a:gd name="connsiteY66" fmla="*/ 313753 h 481758"/>
                <a:gd name="connsiteX67" fmla="*/ 3000350 w 3785642"/>
                <a:gd name="connsiteY67" fmla="*/ 324171 h 481758"/>
                <a:gd name="connsiteX68" fmla="*/ 2988941 w 3785642"/>
                <a:gd name="connsiteY68" fmla="*/ 336077 h 481758"/>
                <a:gd name="connsiteX69" fmla="*/ 2976539 w 3785642"/>
                <a:gd name="connsiteY69" fmla="*/ 346990 h 481758"/>
                <a:gd name="connsiteX70" fmla="*/ 2965129 w 3785642"/>
                <a:gd name="connsiteY70" fmla="*/ 358896 h 481758"/>
                <a:gd name="connsiteX71" fmla="*/ 2953223 w 3785642"/>
                <a:gd name="connsiteY71" fmla="*/ 370306 h 481758"/>
                <a:gd name="connsiteX72" fmla="*/ 2941813 w 3785642"/>
                <a:gd name="connsiteY72" fmla="*/ 382212 h 481758"/>
                <a:gd name="connsiteX73" fmla="*/ 2931395 w 3785642"/>
                <a:gd name="connsiteY73" fmla="*/ 395110 h 481758"/>
                <a:gd name="connsiteX74" fmla="*/ 2918497 w 3785642"/>
                <a:gd name="connsiteY74" fmla="*/ 405528 h 481758"/>
                <a:gd name="connsiteX75" fmla="*/ 2907584 w 3785642"/>
                <a:gd name="connsiteY75" fmla="*/ 417930 h 481758"/>
                <a:gd name="connsiteX76" fmla="*/ 2896174 w 3785642"/>
                <a:gd name="connsiteY76" fmla="*/ 429339 h 481758"/>
                <a:gd name="connsiteX77" fmla="*/ 2884268 w 3785642"/>
                <a:gd name="connsiteY77" fmla="*/ 440749 h 481758"/>
                <a:gd name="connsiteX78" fmla="*/ 2873354 w 3785642"/>
                <a:gd name="connsiteY78" fmla="*/ 453151 h 481758"/>
                <a:gd name="connsiteX79" fmla="*/ 2860952 w 3785642"/>
                <a:gd name="connsiteY79" fmla="*/ 464065 h 481758"/>
                <a:gd name="connsiteX80" fmla="*/ 2850039 w 3785642"/>
                <a:gd name="connsiteY80" fmla="*/ 476467 h 481758"/>
                <a:gd name="connsiteX81" fmla="*/ 2833668 w 3785642"/>
                <a:gd name="connsiteY81" fmla="*/ 476467 h 481758"/>
                <a:gd name="connsiteX82" fmla="*/ 2817297 w 3785642"/>
                <a:gd name="connsiteY82" fmla="*/ 475971 h 481758"/>
                <a:gd name="connsiteX83" fmla="*/ 2800927 w 3785642"/>
                <a:gd name="connsiteY83" fmla="*/ 475971 h 481758"/>
                <a:gd name="connsiteX84" fmla="*/ 2784556 w 3785642"/>
                <a:gd name="connsiteY84" fmla="*/ 476467 h 481758"/>
                <a:gd name="connsiteX85" fmla="*/ 2768186 w 3785642"/>
                <a:gd name="connsiteY85" fmla="*/ 476963 h 481758"/>
                <a:gd name="connsiteX86" fmla="*/ 2751815 w 3785642"/>
                <a:gd name="connsiteY86" fmla="*/ 476963 h 481758"/>
                <a:gd name="connsiteX87" fmla="*/ 2735444 w 3785642"/>
                <a:gd name="connsiteY87" fmla="*/ 475971 h 481758"/>
                <a:gd name="connsiteX88" fmla="*/ 2719074 w 3785642"/>
                <a:gd name="connsiteY88" fmla="*/ 476963 h 481758"/>
                <a:gd name="connsiteX89" fmla="*/ 2702703 w 3785642"/>
                <a:gd name="connsiteY89" fmla="*/ 474979 h 481758"/>
                <a:gd name="connsiteX90" fmla="*/ 2686333 w 3785642"/>
                <a:gd name="connsiteY90" fmla="*/ 475475 h 481758"/>
                <a:gd name="connsiteX91" fmla="*/ 2669962 w 3785642"/>
                <a:gd name="connsiteY91" fmla="*/ 476963 h 481758"/>
                <a:gd name="connsiteX92" fmla="*/ 2653592 w 3785642"/>
                <a:gd name="connsiteY92" fmla="*/ 474979 h 481758"/>
                <a:gd name="connsiteX93" fmla="*/ 2637221 w 3785642"/>
                <a:gd name="connsiteY93" fmla="*/ 476963 h 481758"/>
                <a:gd name="connsiteX94" fmla="*/ 2620851 w 3785642"/>
                <a:gd name="connsiteY94" fmla="*/ 476963 h 481758"/>
                <a:gd name="connsiteX95" fmla="*/ 2604480 w 3785642"/>
                <a:gd name="connsiteY95" fmla="*/ 474979 h 481758"/>
                <a:gd name="connsiteX96" fmla="*/ 2588109 w 3785642"/>
                <a:gd name="connsiteY96" fmla="*/ 476467 h 481758"/>
                <a:gd name="connsiteX97" fmla="*/ 2571739 w 3785642"/>
                <a:gd name="connsiteY97" fmla="*/ 474979 h 481758"/>
                <a:gd name="connsiteX98" fmla="*/ 2555368 w 3785642"/>
                <a:gd name="connsiteY98" fmla="*/ 475971 h 481758"/>
                <a:gd name="connsiteX99" fmla="*/ 2538998 w 3785642"/>
                <a:gd name="connsiteY99" fmla="*/ 476963 h 481758"/>
                <a:gd name="connsiteX100" fmla="*/ 2522627 w 3785642"/>
                <a:gd name="connsiteY100" fmla="*/ 475971 h 481758"/>
                <a:gd name="connsiteX101" fmla="*/ 2506257 w 3785642"/>
                <a:gd name="connsiteY101" fmla="*/ 476963 h 481758"/>
                <a:gd name="connsiteX102" fmla="*/ 2489886 w 3785642"/>
                <a:gd name="connsiteY102" fmla="*/ 476467 h 481758"/>
                <a:gd name="connsiteX103" fmla="*/ 2473516 w 3785642"/>
                <a:gd name="connsiteY103" fmla="*/ 476963 h 481758"/>
                <a:gd name="connsiteX104" fmla="*/ 2457145 w 3785642"/>
                <a:gd name="connsiteY104" fmla="*/ 475475 h 481758"/>
                <a:gd name="connsiteX105" fmla="*/ 2440775 w 3785642"/>
                <a:gd name="connsiteY105" fmla="*/ 474979 h 481758"/>
                <a:gd name="connsiteX106" fmla="*/ 2424404 w 3785642"/>
                <a:gd name="connsiteY106" fmla="*/ 476467 h 481758"/>
                <a:gd name="connsiteX107" fmla="*/ 2408033 w 3785642"/>
                <a:gd name="connsiteY107" fmla="*/ 475475 h 481758"/>
                <a:gd name="connsiteX108" fmla="*/ 2391663 w 3785642"/>
                <a:gd name="connsiteY108" fmla="*/ 475971 h 481758"/>
                <a:gd name="connsiteX109" fmla="*/ 2375292 w 3785642"/>
                <a:gd name="connsiteY109" fmla="*/ 475971 h 481758"/>
                <a:gd name="connsiteX110" fmla="*/ 2358922 w 3785642"/>
                <a:gd name="connsiteY110" fmla="*/ 475475 h 481758"/>
                <a:gd name="connsiteX111" fmla="*/ 2342551 w 3785642"/>
                <a:gd name="connsiteY111" fmla="*/ 474979 h 481758"/>
                <a:gd name="connsiteX112" fmla="*/ 2326180 w 3785642"/>
                <a:gd name="connsiteY112" fmla="*/ 476467 h 481758"/>
                <a:gd name="connsiteX113" fmla="*/ 2309810 w 3785642"/>
                <a:gd name="connsiteY113" fmla="*/ 476467 h 481758"/>
                <a:gd name="connsiteX114" fmla="*/ 2293439 w 3785642"/>
                <a:gd name="connsiteY114" fmla="*/ 476467 h 481758"/>
                <a:gd name="connsiteX115" fmla="*/ 2277069 w 3785642"/>
                <a:gd name="connsiteY115" fmla="*/ 475475 h 481758"/>
                <a:gd name="connsiteX116" fmla="*/ 2260698 w 3785642"/>
                <a:gd name="connsiteY116" fmla="*/ 476963 h 481758"/>
                <a:gd name="connsiteX117" fmla="*/ 2244327 w 3785642"/>
                <a:gd name="connsiteY117" fmla="*/ 474979 h 481758"/>
                <a:gd name="connsiteX118" fmla="*/ 2227957 w 3785642"/>
                <a:gd name="connsiteY118" fmla="*/ 476963 h 481758"/>
                <a:gd name="connsiteX119" fmla="*/ 2211586 w 3785642"/>
                <a:gd name="connsiteY119" fmla="*/ 475971 h 481758"/>
                <a:gd name="connsiteX120" fmla="*/ 2195216 w 3785642"/>
                <a:gd name="connsiteY120" fmla="*/ 476963 h 481758"/>
                <a:gd name="connsiteX121" fmla="*/ 2178845 w 3785642"/>
                <a:gd name="connsiteY121" fmla="*/ 475475 h 481758"/>
                <a:gd name="connsiteX122" fmla="*/ 2162474 w 3785642"/>
                <a:gd name="connsiteY122" fmla="*/ 477459 h 481758"/>
                <a:gd name="connsiteX123" fmla="*/ 2146104 w 3785642"/>
                <a:gd name="connsiteY123" fmla="*/ 475971 h 481758"/>
                <a:gd name="connsiteX124" fmla="*/ 2129733 w 3785642"/>
                <a:gd name="connsiteY124" fmla="*/ 477459 h 481758"/>
                <a:gd name="connsiteX125" fmla="*/ 2113363 w 3785642"/>
                <a:gd name="connsiteY125" fmla="*/ 477459 h 481758"/>
                <a:gd name="connsiteX126" fmla="*/ 2096992 w 3785642"/>
                <a:gd name="connsiteY126" fmla="*/ 477459 h 481758"/>
                <a:gd name="connsiteX127" fmla="*/ 2080621 w 3785642"/>
                <a:gd name="connsiteY127" fmla="*/ 476963 h 481758"/>
                <a:gd name="connsiteX128" fmla="*/ 2064251 w 3785642"/>
                <a:gd name="connsiteY128" fmla="*/ 475475 h 481758"/>
                <a:gd name="connsiteX129" fmla="*/ 2047880 w 3785642"/>
                <a:gd name="connsiteY129" fmla="*/ 477459 h 481758"/>
                <a:gd name="connsiteX130" fmla="*/ 2031510 w 3785642"/>
                <a:gd name="connsiteY130" fmla="*/ 477459 h 481758"/>
                <a:gd name="connsiteX131" fmla="*/ 2015139 w 3785642"/>
                <a:gd name="connsiteY131" fmla="*/ 477459 h 481758"/>
                <a:gd name="connsiteX132" fmla="*/ 1998769 w 3785642"/>
                <a:gd name="connsiteY132" fmla="*/ 476963 h 481758"/>
                <a:gd name="connsiteX133" fmla="*/ 1982398 w 3785642"/>
                <a:gd name="connsiteY133" fmla="*/ 476467 h 481758"/>
                <a:gd name="connsiteX134" fmla="*/ 1966028 w 3785642"/>
                <a:gd name="connsiteY134" fmla="*/ 476467 h 481758"/>
                <a:gd name="connsiteX135" fmla="*/ 1949657 w 3785642"/>
                <a:gd name="connsiteY135" fmla="*/ 475475 h 481758"/>
                <a:gd name="connsiteX136" fmla="*/ 1933287 w 3785642"/>
                <a:gd name="connsiteY136" fmla="*/ 475971 h 481758"/>
                <a:gd name="connsiteX137" fmla="*/ 1916916 w 3785642"/>
                <a:gd name="connsiteY137" fmla="*/ 477459 h 481758"/>
                <a:gd name="connsiteX138" fmla="*/ 1900546 w 3785642"/>
                <a:gd name="connsiteY138" fmla="*/ 475475 h 481758"/>
                <a:gd name="connsiteX139" fmla="*/ 1884175 w 3785642"/>
                <a:gd name="connsiteY139" fmla="*/ 476467 h 481758"/>
                <a:gd name="connsiteX140" fmla="*/ 1867804 w 3785642"/>
                <a:gd name="connsiteY140" fmla="*/ 477459 h 481758"/>
                <a:gd name="connsiteX141" fmla="*/ 1851434 w 3785642"/>
                <a:gd name="connsiteY141" fmla="*/ 477459 h 481758"/>
                <a:gd name="connsiteX142" fmla="*/ 1835063 w 3785642"/>
                <a:gd name="connsiteY142" fmla="*/ 477459 h 481758"/>
                <a:gd name="connsiteX143" fmla="*/ 1818693 w 3785642"/>
                <a:gd name="connsiteY143" fmla="*/ 476963 h 481758"/>
                <a:gd name="connsiteX144" fmla="*/ 1802322 w 3785642"/>
                <a:gd name="connsiteY144" fmla="*/ 475475 h 481758"/>
                <a:gd name="connsiteX145" fmla="*/ 1785951 w 3785642"/>
                <a:gd name="connsiteY145" fmla="*/ 476467 h 481758"/>
                <a:gd name="connsiteX146" fmla="*/ 1769581 w 3785642"/>
                <a:gd name="connsiteY146" fmla="*/ 475971 h 481758"/>
                <a:gd name="connsiteX147" fmla="*/ 1753210 w 3785642"/>
                <a:gd name="connsiteY147" fmla="*/ 474979 h 481758"/>
                <a:gd name="connsiteX148" fmla="*/ 1736840 w 3785642"/>
                <a:gd name="connsiteY148" fmla="*/ 475971 h 481758"/>
                <a:gd name="connsiteX149" fmla="*/ 1720469 w 3785642"/>
                <a:gd name="connsiteY149" fmla="*/ 477459 h 481758"/>
                <a:gd name="connsiteX150" fmla="*/ 1704098 w 3785642"/>
                <a:gd name="connsiteY150" fmla="*/ 475475 h 481758"/>
                <a:gd name="connsiteX151" fmla="*/ 1687728 w 3785642"/>
                <a:gd name="connsiteY151" fmla="*/ 477459 h 481758"/>
                <a:gd name="connsiteX152" fmla="*/ 1671357 w 3785642"/>
                <a:gd name="connsiteY152" fmla="*/ 477459 h 481758"/>
                <a:gd name="connsiteX153" fmla="*/ 1654987 w 3785642"/>
                <a:gd name="connsiteY153" fmla="*/ 474979 h 481758"/>
                <a:gd name="connsiteX154" fmla="*/ 1638616 w 3785642"/>
                <a:gd name="connsiteY154" fmla="*/ 475475 h 481758"/>
                <a:gd name="connsiteX155" fmla="*/ 1622246 w 3785642"/>
                <a:gd name="connsiteY155" fmla="*/ 476467 h 481758"/>
                <a:gd name="connsiteX156" fmla="*/ 1605875 w 3785642"/>
                <a:gd name="connsiteY156" fmla="*/ 477459 h 481758"/>
                <a:gd name="connsiteX157" fmla="*/ 1589505 w 3785642"/>
                <a:gd name="connsiteY157" fmla="*/ 475971 h 481758"/>
                <a:gd name="connsiteX158" fmla="*/ 1573134 w 3785642"/>
                <a:gd name="connsiteY158" fmla="*/ 477459 h 481758"/>
                <a:gd name="connsiteX159" fmla="*/ 1556763 w 3785642"/>
                <a:gd name="connsiteY159" fmla="*/ 475475 h 481758"/>
                <a:gd name="connsiteX160" fmla="*/ 1540393 w 3785642"/>
                <a:gd name="connsiteY160" fmla="*/ 475475 h 481758"/>
                <a:gd name="connsiteX161" fmla="*/ 1524022 w 3785642"/>
                <a:gd name="connsiteY161" fmla="*/ 476963 h 481758"/>
                <a:gd name="connsiteX162" fmla="*/ 1507652 w 3785642"/>
                <a:gd name="connsiteY162" fmla="*/ 475475 h 481758"/>
                <a:gd name="connsiteX163" fmla="*/ 1491281 w 3785642"/>
                <a:gd name="connsiteY163" fmla="*/ 476963 h 481758"/>
                <a:gd name="connsiteX164" fmla="*/ 1474910 w 3785642"/>
                <a:gd name="connsiteY164" fmla="*/ 476963 h 481758"/>
                <a:gd name="connsiteX165" fmla="*/ 1458540 w 3785642"/>
                <a:gd name="connsiteY165" fmla="*/ 475475 h 481758"/>
                <a:gd name="connsiteX166" fmla="*/ 1442169 w 3785642"/>
                <a:gd name="connsiteY166" fmla="*/ 474483 h 481758"/>
                <a:gd name="connsiteX167" fmla="*/ 1425799 w 3785642"/>
                <a:gd name="connsiteY167" fmla="*/ 474979 h 481758"/>
                <a:gd name="connsiteX168" fmla="*/ 1409428 w 3785642"/>
                <a:gd name="connsiteY168" fmla="*/ 475475 h 481758"/>
                <a:gd name="connsiteX169" fmla="*/ 1393058 w 3785642"/>
                <a:gd name="connsiteY169" fmla="*/ 476467 h 481758"/>
                <a:gd name="connsiteX170" fmla="*/ 1376687 w 3785642"/>
                <a:gd name="connsiteY170" fmla="*/ 474483 h 481758"/>
                <a:gd name="connsiteX171" fmla="*/ 1360317 w 3785642"/>
                <a:gd name="connsiteY171" fmla="*/ 476467 h 481758"/>
                <a:gd name="connsiteX172" fmla="*/ 1343946 w 3785642"/>
                <a:gd name="connsiteY172" fmla="*/ 476467 h 481758"/>
                <a:gd name="connsiteX173" fmla="*/ 1327576 w 3785642"/>
                <a:gd name="connsiteY173" fmla="*/ 475475 h 481758"/>
                <a:gd name="connsiteX174" fmla="*/ 1311205 w 3785642"/>
                <a:gd name="connsiteY174" fmla="*/ 476467 h 481758"/>
                <a:gd name="connsiteX175" fmla="*/ 1294834 w 3785642"/>
                <a:gd name="connsiteY175" fmla="*/ 476467 h 481758"/>
                <a:gd name="connsiteX176" fmla="*/ 1278464 w 3785642"/>
                <a:gd name="connsiteY176" fmla="*/ 476467 h 481758"/>
                <a:gd name="connsiteX177" fmla="*/ 1262093 w 3785642"/>
                <a:gd name="connsiteY177" fmla="*/ 476467 h 481758"/>
                <a:gd name="connsiteX178" fmla="*/ 1245723 w 3785642"/>
                <a:gd name="connsiteY178" fmla="*/ 475971 h 481758"/>
                <a:gd name="connsiteX179" fmla="*/ 1229352 w 3785642"/>
                <a:gd name="connsiteY179" fmla="*/ 475475 h 481758"/>
                <a:gd name="connsiteX180" fmla="*/ 1212981 w 3785642"/>
                <a:gd name="connsiteY180" fmla="*/ 476467 h 481758"/>
                <a:gd name="connsiteX181" fmla="*/ 1196611 w 3785642"/>
                <a:gd name="connsiteY181" fmla="*/ 474979 h 481758"/>
                <a:gd name="connsiteX182" fmla="*/ 1180240 w 3785642"/>
                <a:gd name="connsiteY182" fmla="*/ 475475 h 481758"/>
                <a:gd name="connsiteX183" fmla="*/ 1163870 w 3785642"/>
                <a:gd name="connsiteY183" fmla="*/ 475475 h 481758"/>
                <a:gd name="connsiteX184" fmla="*/ 1147499 w 3785642"/>
                <a:gd name="connsiteY184" fmla="*/ 476467 h 481758"/>
                <a:gd name="connsiteX185" fmla="*/ 1131128 w 3785642"/>
                <a:gd name="connsiteY185" fmla="*/ 476467 h 481758"/>
                <a:gd name="connsiteX186" fmla="*/ 1114758 w 3785642"/>
                <a:gd name="connsiteY186" fmla="*/ 475475 h 481758"/>
                <a:gd name="connsiteX187" fmla="*/ 1098387 w 3785642"/>
                <a:gd name="connsiteY187" fmla="*/ 476467 h 481758"/>
                <a:gd name="connsiteX188" fmla="*/ 1082017 w 3785642"/>
                <a:gd name="connsiteY188" fmla="*/ 477459 h 481758"/>
                <a:gd name="connsiteX189" fmla="*/ 1065646 w 3785642"/>
                <a:gd name="connsiteY189" fmla="*/ 477459 h 481758"/>
                <a:gd name="connsiteX190" fmla="*/ 1049276 w 3785642"/>
                <a:gd name="connsiteY190" fmla="*/ 476963 h 481758"/>
                <a:gd name="connsiteX191" fmla="*/ 1032905 w 3785642"/>
                <a:gd name="connsiteY191" fmla="*/ 475971 h 481758"/>
                <a:gd name="connsiteX192" fmla="*/ 1016535 w 3785642"/>
                <a:gd name="connsiteY192" fmla="*/ 476963 h 481758"/>
                <a:gd name="connsiteX193" fmla="*/ 1000164 w 3785642"/>
                <a:gd name="connsiteY193" fmla="*/ 476963 h 481758"/>
                <a:gd name="connsiteX194" fmla="*/ 983793 w 3785642"/>
                <a:gd name="connsiteY194" fmla="*/ 475475 h 481758"/>
                <a:gd name="connsiteX195" fmla="*/ 967423 w 3785642"/>
                <a:gd name="connsiteY195" fmla="*/ 475475 h 481758"/>
                <a:gd name="connsiteX196" fmla="*/ 951052 w 3785642"/>
                <a:gd name="connsiteY196" fmla="*/ 476467 h 481758"/>
                <a:gd name="connsiteX197" fmla="*/ 934682 w 3785642"/>
                <a:gd name="connsiteY197" fmla="*/ 476963 h 481758"/>
                <a:gd name="connsiteX198" fmla="*/ 918311 w 3785642"/>
                <a:gd name="connsiteY198" fmla="*/ 477459 h 481758"/>
                <a:gd name="connsiteX199" fmla="*/ 901940 w 3785642"/>
                <a:gd name="connsiteY199" fmla="*/ 475971 h 481758"/>
                <a:gd name="connsiteX200" fmla="*/ 885570 w 3785642"/>
                <a:gd name="connsiteY200" fmla="*/ 477459 h 481758"/>
                <a:gd name="connsiteX201" fmla="*/ 869199 w 3785642"/>
                <a:gd name="connsiteY201" fmla="*/ 476963 h 481758"/>
                <a:gd name="connsiteX202" fmla="*/ 852829 w 3785642"/>
                <a:gd name="connsiteY202" fmla="*/ 476467 h 481758"/>
                <a:gd name="connsiteX203" fmla="*/ 836458 w 3785642"/>
                <a:gd name="connsiteY203" fmla="*/ 477459 h 481758"/>
                <a:gd name="connsiteX204" fmla="*/ 820088 w 3785642"/>
                <a:gd name="connsiteY204" fmla="*/ 477955 h 481758"/>
                <a:gd name="connsiteX205" fmla="*/ 803717 w 3785642"/>
                <a:gd name="connsiteY205" fmla="*/ 476467 h 481758"/>
                <a:gd name="connsiteX206" fmla="*/ 787347 w 3785642"/>
                <a:gd name="connsiteY206" fmla="*/ 478451 h 481758"/>
                <a:gd name="connsiteX207" fmla="*/ 770976 w 3785642"/>
                <a:gd name="connsiteY207" fmla="*/ 477459 h 481758"/>
                <a:gd name="connsiteX208" fmla="*/ 754605 w 3785642"/>
                <a:gd name="connsiteY208" fmla="*/ 477955 h 481758"/>
                <a:gd name="connsiteX209" fmla="*/ 738235 w 3785642"/>
                <a:gd name="connsiteY209" fmla="*/ 476467 h 481758"/>
                <a:gd name="connsiteX210" fmla="*/ 721864 w 3785642"/>
                <a:gd name="connsiteY210" fmla="*/ 477955 h 481758"/>
                <a:gd name="connsiteX211" fmla="*/ 705494 w 3785642"/>
                <a:gd name="connsiteY211" fmla="*/ 478451 h 481758"/>
                <a:gd name="connsiteX212" fmla="*/ 689123 w 3785642"/>
                <a:gd name="connsiteY212" fmla="*/ 476963 h 481758"/>
                <a:gd name="connsiteX213" fmla="*/ 672753 w 3785642"/>
                <a:gd name="connsiteY213" fmla="*/ 477955 h 481758"/>
                <a:gd name="connsiteX214" fmla="*/ 656382 w 3785642"/>
                <a:gd name="connsiteY214" fmla="*/ 477459 h 481758"/>
                <a:gd name="connsiteX215" fmla="*/ 640011 w 3785642"/>
                <a:gd name="connsiteY215" fmla="*/ 478451 h 481758"/>
                <a:gd name="connsiteX216" fmla="*/ 623641 w 3785642"/>
                <a:gd name="connsiteY216" fmla="*/ 476467 h 481758"/>
                <a:gd name="connsiteX217" fmla="*/ 607270 w 3785642"/>
                <a:gd name="connsiteY217" fmla="*/ 477459 h 481758"/>
                <a:gd name="connsiteX218" fmla="*/ 590900 w 3785642"/>
                <a:gd name="connsiteY218" fmla="*/ 477955 h 481758"/>
                <a:gd name="connsiteX219" fmla="*/ 574529 w 3785642"/>
                <a:gd name="connsiteY219" fmla="*/ 476963 h 481758"/>
                <a:gd name="connsiteX220" fmla="*/ 558158 w 3785642"/>
                <a:gd name="connsiteY220" fmla="*/ 477955 h 481758"/>
                <a:gd name="connsiteX221" fmla="*/ 541788 w 3785642"/>
                <a:gd name="connsiteY221" fmla="*/ 478451 h 481758"/>
                <a:gd name="connsiteX222" fmla="*/ 525417 w 3785642"/>
                <a:gd name="connsiteY222" fmla="*/ 476963 h 481758"/>
                <a:gd name="connsiteX223" fmla="*/ 509047 w 3785642"/>
                <a:gd name="connsiteY223" fmla="*/ 476467 h 481758"/>
                <a:gd name="connsiteX224" fmla="*/ 492676 w 3785642"/>
                <a:gd name="connsiteY224" fmla="*/ 476467 h 481758"/>
                <a:gd name="connsiteX225" fmla="*/ 476306 w 3785642"/>
                <a:gd name="connsiteY225" fmla="*/ 477459 h 481758"/>
                <a:gd name="connsiteX226" fmla="*/ 459935 w 3785642"/>
                <a:gd name="connsiteY226" fmla="*/ 476467 h 481758"/>
                <a:gd name="connsiteX227" fmla="*/ 443565 w 3785642"/>
                <a:gd name="connsiteY227" fmla="*/ 477459 h 481758"/>
                <a:gd name="connsiteX228" fmla="*/ 427194 w 3785642"/>
                <a:gd name="connsiteY228" fmla="*/ 476963 h 481758"/>
                <a:gd name="connsiteX229" fmla="*/ 410823 w 3785642"/>
                <a:gd name="connsiteY229" fmla="*/ 475971 h 481758"/>
                <a:gd name="connsiteX230" fmla="*/ 394453 w 3785642"/>
                <a:gd name="connsiteY230" fmla="*/ 478451 h 481758"/>
                <a:gd name="connsiteX231" fmla="*/ 378082 w 3785642"/>
                <a:gd name="connsiteY231" fmla="*/ 477955 h 481758"/>
                <a:gd name="connsiteX232" fmla="*/ 361712 w 3785642"/>
                <a:gd name="connsiteY232" fmla="*/ 477459 h 481758"/>
                <a:gd name="connsiteX233" fmla="*/ 345341 w 3785642"/>
                <a:gd name="connsiteY233" fmla="*/ 478947 h 481758"/>
                <a:gd name="connsiteX234" fmla="*/ 328970 w 3785642"/>
                <a:gd name="connsiteY234" fmla="*/ 476963 h 481758"/>
                <a:gd name="connsiteX235" fmla="*/ 312600 w 3785642"/>
                <a:gd name="connsiteY235" fmla="*/ 477955 h 481758"/>
                <a:gd name="connsiteX236" fmla="*/ 296229 w 3785642"/>
                <a:gd name="connsiteY236" fmla="*/ 476963 h 481758"/>
                <a:gd name="connsiteX237" fmla="*/ 279859 w 3785642"/>
                <a:gd name="connsiteY237" fmla="*/ 478451 h 481758"/>
                <a:gd name="connsiteX238" fmla="*/ 263488 w 3785642"/>
                <a:gd name="connsiteY238" fmla="*/ 478947 h 481758"/>
                <a:gd name="connsiteX239" fmla="*/ 247118 w 3785642"/>
                <a:gd name="connsiteY239" fmla="*/ 478947 h 481758"/>
                <a:gd name="connsiteX240" fmla="*/ 230747 w 3785642"/>
                <a:gd name="connsiteY240" fmla="*/ 477459 h 481758"/>
                <a:gd name="connsiteX241" fmla="*/ 214376 w 3785642"/>
                <a:gd name="connsiteY241" fmla="*/ 477459 h 481758"/>
                <a:gd name="connsiteX242" fmla="*/ 198006 w 3785642"/>
                <a:gd name="connsiteY242" fmla="*/ 479443 h 481758"/>
                <a:gd name="connsiteX243" fmla="*/ 181635 w 3785642"/>
                <a:gd name="connsiteY243" fmla="*/ 478947 h 481758"/>
                <a:gd name="connsiteX244" fmla="*/ 165265 w 3785642"/>
                <a:gd name="connsiteY244" fmla="*/ 477459 h 481758"/>
                <a:gd name="connsiteX245" fmla="*/ 148894 w 3785642"/>
                <a:gd name="connsiteY245" fmla="*/ 479443 h 481758"/>
                <a:gd name="connsiteX246" fmla="*/ 132524 w 3785642"/>
                <a:gd name="connsiteY246" fmla="*/ 478947 h 481758"/>
                <a:gd name="connsiteX247" fmla="*/ 116153 w 3785642"/>
                <a:gd name="connsiteY247" fmla="*/ 477955 h 481758"/>
                <a:gd name="connsiteX248" fmla="*/ 99783 w 3785642"/>
                <a:gd name="connsiteY248" fmla="*/ 477955 h 481758"/>
                <a:gd name="connsiteX249" fmla="*/ 83412 w 3785642"/>
                <a:gd name="connsiteY249" fmla="*/ 477955 h 481758"/>
                <a:gd name="connsiteX250" fmla="*/ 67041 w 3785642"/>
                <a:gd name="connsiteY250" fmla="*/ 477459 h 481758"/>
                <a:gd name="connsiteX251" fmla="*/ 50671 w 3785642"/>
                <a:gd name="connsiteY251" fmla="*/ 477955 h 481758"/>
                <a:gd name="connsiteX252" fmla="*/ 34300 w 3785642"/>
                <a:gd name="connsiteY252" fmla="*/ 477955 h 481758"/>
                <a:gd name="connsiteX253" fmla="*/ 17930 w 3785642"/>
                <a:gd name="connsiteY253" fmla="*/ 478451 h 481758"/>
                <a:gd name="connsiteX254" fmla="*/ 567 w 3785642"/>
                <a:gd name="connsiteY254" fmla="*/ 478451 h 481758"/>
                <a:gd name="connsiteX255" fmla="*/ 12969 w 3785642"/>
                <a:gd name="connsiteY255" fmla="*/ 466049 h 481758"/>
                <a:gd name="connsiteX256" fmla="*/ 24379 w 3785642"/>
                <a:gd name="connsiteY256" fmla="*/ 454639 h 481758"/>
                <a:gd name="connsiteX257" fmla="*/ 35788 w 3785642"/>
                <a:gd name="connsiteY257" fmla="*/ 442734 h 481758"/>
                <a:gd name="connsiteX258" fmla="*/ 48686 w 3785642"/>
                <a:gd name="connsiteY258" fmla="*/ 432812 h 481758"/>
                <a:gd name="connsiteX259" fmla="*/ 59600 w 3785642"/>
                <a:gd name="connsiteY259" fmla="*/ 420906 h 481758"/>
                <a:gd name="connsiteX260" fmla="*/ 70514 w 3785642"/>
                <a:gd name="connsiteY260" fmla="*/ 408504 h 481758"/>
                <a:gd name="connsiteX261" fmla="*/ 83412 w 3785642"/>
                <a:gd name="connsiteY261" fmla="*/ 398087 h 481758"/>
                <a:gd name="connsiteX262" fmla="*/ 94822 w 3785642"/>
                <a:gd name="connsiteY262" fmla="*/ 386181 h 481758"/>
                <a:gd name="connsiteX263" fmla="*/ 106728 w 3785642"/>
                <a:gd name="connsiteY263" fmla="*/ 374771 h 481758"/>
                <a:gd name="connsiteX264" fmla="*/ 117145 w 3785642"/>
                <a:gd name="connsiteY264" fmla="*/ 362369 h 481758"/>
                <a:gd name="connsiteX265" fmla="*/ 128555 w 3785642"/>
                <a:gd name="connsiteY265" fmla="*/ 350959 h 481758"/>
                <a:gd name="connsiteX266" fmla="*/ 140461 w 3785642"/>
                <a:gd name="connsiteY266" fmla="*/ 339549 h 481758"/>
                <a:gd name="connsiteX267" fmla="*/ 152863 w 3785642"/>
                <a:gd name="connsiteY267" fmla="*/ 329132 h 481758"/>
                <a:gd name="connsiteX268" fmla="*/ 164769 w 3785642"/>
                <a:gd name="connsiteY268" fmla="*/ 317722 h 481758"/>
                <a:gd name="connsiteX269" fmla="*/ 176178 w 3785642"/>
                <a:gd name="connsiteY269" fmla="*/ 305816 h 481758"/>
                <a:gd name="connsiteX270" fmla="*/ 188084 w 3785642"/>
                <a:gd name="connsiteY270" fmla="*/ 294406 h 481758"/>
                <a:gd name="connsiteX271" fmla="*/ 199494 w 3785642"/>
                <a:gd name="connsiteY271" fmla="*/ 282996 h 481758"/>
                <a:gd name="connsiteX272" fmla="*/ 210904 w 3785642"/>
                <a:gd name="connsiteY272" fmla="*/ 271587 h 481758"/>
                <a:gd name="connsiteX273" fmla="*/ 221818 w 3785642"/>
                <a:gd name="connsiteY273" fmla="*/ 259185 h 481758"/>
                <a:gd name="connsiteX274" fmla="*/ 233724 w 3785642"/>
                <a:gd name="connsiteY274" fmla="*/ 247775 h 481758"/>
                <a:gd name="connsiteX275" fmla="*/ 244141 w 3785642"/>
                <a:gd name="connsiteY275" fmla="*/ 235373 h 481758"/>
                <a:gd name="connsiteX276" fmla="*/ 257039 w 3785642"/>
                <a:gd name="connsiteY276" fmla="*/ 225451 h 481758"/>
                <a:gd name="connsiteX277" fmla="*/ 266961 w 3785642"/>
                <a:gd name="connsiteY277" fmla="*/ 212057 h 481758"/>
                <a:gd name="connsiteX278" fmla="*/ 278371 w 3785642"/>
                <a:gd name="connsiteY278" fmla="*/ 200647 h 481758"/>
                <a:gd name="connsiteX279" fmla="*/ 291269 w 3785642"/>
                <a:gd name="connsiteY279" fmla="*/ 190726 h 481758"/>
                <a:gd name="connsiteX280" fmla="*/ 301686 w 3785642"/>
                <a:gd name="connsiteY280" fmla="*/ 177828 h 481758"/>
                <a:gd name="connsiteX281" fmla="*/ 313592 w 3785642"/>
                <a:gd name="connsiteY281" fmla="*/ 166418 h 481758"/>
                <a:gd name="connsiteX282" fmla="*/ 325994 w 3785642"/>
                <a:gd name="connsiteY282" fmla="*/ 156000 h 481758"/>
                <a:gd name="connsiteX283" fmla="*/ 337404 w 3785642"/>
                <a:gd name="connsiteY283" fmla="*/ 144591 h 481758"/>
                <a:gd name="connsiteX284" fmla="*/ 347325 w 3785642"/>
                <a:gd name="connsiteY284" fmla="*/ 131693 h 481758"/>
                <a:gd name="connsiteX285" fmla="*/ 360224 w 3785642"/>
                <a:gd name="connsiteY285" fmla="*/ 121275 h 481758"/>
                <a:gd name="connsiteX286" fmla="*/ 371137 w 3785642"/>
                <a:gd name="connsiteY286" fmla="*/ 108873 h 481758"/>
                <a:gd name="connsiteX287" fmla="*/ 382051 w 3785642"/>
                <a:gd name="connsiteY287" fmla="*/ 96471 h 481758"/>
                <a:gd name="connsiteX288" fmla="*/ 393957 w 3785642"/>
                <a:gd name="connsiteY288" fmla="*/ 85061 h 481758"/>
                <a:gd name="connsiteX289" fmla="*/ 405366 w 3785642"/>
                <a:gd name="connsiteY289" fmla="*/ 73156 h 481758"/>
                <a:gd name="connsiteX290" fmla="*/ 417272 w 3785642"/>
                <a:gd name="connsiteY290" fmla="*/ 62242 h 481758"/>
                <a:gd name="connsiteX291" fmla="*/ 429674 w 3785642"/>
                <a:gd name="connsiteY291" fmla="*/ 51328 h 481758"/>
                <a:gd name="connsiteX292" fmla="*/ 440092 w 3785642"/>
                <a:gd name="connsiteY292" fmla="*/ 38430 h 481758"/>
                <a:gd name="connsiteX293" fmla="*/ 452494 w 3785642"/>
                <a:gd name="connsiteY293" fmla="*/ 27516 h 481758"/>
                <a:gd name="connsiteX294" fmla="*/ 463904 w 3785642"/>
                <a:gd name="connsiteY294" fmla="*/ 15610 h 481758"/>
                <a:gd name="connsiteX295" fmla="*/ 475313 w 3785642"/>
                <a:gd name="connsiteY295" fmla="*/ 3705 h 481758"/>
                <a:gd name="connsiteX296" fmla="*/ 491684 w 3785642"/>
                <a:gd name="connsiteY296" fmla="*/ 5193 h 481758"/>
                <a:gd name="connsiteX297" fmla="*/ 508055 w 3785642"/>
                <a:gd name="connsiteY297" fmla="*/ 5193 h 481758"/>
                <a:gd name="connsiteX298" fmla="*/ 524425 w 3785642"/>
                <a:gd name="connsiteY298" fmla="*/ 5193 h 481758"/>
                <a:gd name="connsiteX299" fmla="*/ 540796 w 3785642"/>
                <a:gd name="connsiteY299" fmla="*/ 3705 h 481758"/>
                <a:gd name="connsiteX300" fmla="*/ 557166 w 3785642"/>
                <a:gd name="connsiteY300" fmla="*/ 5193 h 481758"/>
                <a:gd name="connsiteX301" fmla="*/ 573537 w 3785642"/>
                <a:gd name="connsiteY301" fmla="*/ 3705 h 481758"/>
                <a:gd name="connsiteX302" fmla="*/ 589908 w 3785642"/>
                <a:gd name="connsiteY302" fmla="*/ 3208 h 481758"/>
                <a:gd name="connsiteX303" fmla="*/ 606278 w 3785642"/>
                <a:gd name="connsiteY303" fmla="*/ 4201 h 481758"/>
                <a:gd name="connsiteX304" fmla="*/ 622649 w 3785642"/>
                <a:gd name="connsiteY304" fmla="*/ 4201 h 481758"/>
                <a:gd name="connsiteX305" fmla="*/ 639019 w 3785642"/>
                <a:gd name="connsiteY305" fmla="*/ 4697 h 481758"/>
                <a:gd name="connsiteX306" fmla="*/ 655390 w 3785642"/>
                <a:gd name="connsiteY306" fmla="*/ 3208 h 481758"/>
                <a:gd name="connsiteX307" fmla="*/ 671760 w 3785642"/>
                <a:gd name="connsiteY307" fmla="*/ 4201 h 481758"/>
                <a:gd name="connsiteX308" fmla="*/ 688131 w 3785642"/>
                <a:gd name="connsiteY308" fmla="*/ 5193 h 481758"/>
                <a:gd name="connsiteX309" fmla="*/ 704501 w 3785642"/>
                <a:gd name="connsiteY309" fmla="*/ 3705 h 481758"/>
                <a:gd name="connsiteX310" fmla="*/ 720872 w 3785642"/>
                <a:gd name="connsiteY310" fmla="*/ 4201 h 481758"/>
                <a:gd name="connsiteX311" fmla="*/ 737243 w 3785642"/>
                <a:gd name="connsiteY311" fmla="*/ 4697 h 481758"/>
                <a:gd name="connsiteX312" fmla="*/ 753613 w 3785642"/>
                <a:gd name="connsiteY312" fmla="*/ 3705 h 481758"/>
                <a:gd name="connsiteX313" fmla="*/ 769984 w 3785642"/>
                <a:gd name="connsiteY313" fmla="*/ 3208 h 481758"/>
                <a:gd name="connsiteX314" fmla="*/ 786354 w 3785642"/>
                <a:gd name="connsiteY314" fmla="*/ 4201 h 481758"/>
                <a:gd name="connsiteX315" fmla="*/ 802725 w 3785642"/>
                <a:gd name="connsiteY315" fmla="*/ 3208 h 481758"/>
                <a:gd name="connsiteX316" fmla="*/ 819096 w 3785642"/>
                <a:gd name="connsiteY316" fmla="*/ 5193 h 481758"/>
                <a:gd name="connsiteX317" fmla="*/ 835466 w 3785642"/>
                <a:gd name="connsiteY317" fmla="*/ 3208 h 481758"/>
                <a:gd name="connsiteX318" fmla="*/ 851837 w 3785642"/>
                <a:gd name="connsiteY318" fmla="*/ 4201 h 481758"/>
                <a:gd name="connsiteX319" fmla="*/ 868207 w 3785642"/>
                <a:gd name="connsiteY319" fmla="*/ 4697 h 481758"/>
                <a:gd name="connsiteX320" fmla="*/ 884578 w 3785642"/>
                <a:gd name="connsiteY320" fmla="*/ 5193 h 481758"/>
                <a:gd name="connsiteX321" fmla="*/ 900948 w 3785642"/>
                <a:gd name="connsiteY321" fmla="*/ 4201 h 481758"/>
                <a:gd name="connsiteX322" fmla="*/ 917319 w 3785642"/>
                <a:gd name="connsiteY322" fmla="*/ 3705 h 481758"/>
                <a:gd name="connsiteX323" fmla="*/ 933689 w 3785642"/>
                <a:gd name="connsiteY323" fmla="*/ 5193 h 481758"/>
                <a:gd name="connsiteX324" fmla="*/ 950060 w 3785642"/>
                <a:gd name="connsiteY324" fmla="*/ 4201 h 481758"/>
                <a:gd name="connsiteX325" fmla="*/ 966431 w 3785642"/>
                <a:gd name="connsiteY325" fmla="*/ 4697 h 481758"/>
                <a:gd name="connsiteX326" fmla="*/ 982801 w 3785642"/>
                <a:gd name="connsiteY326" fmla="*/ 5193 h 481758"/>
                <a:gd name="connsiteX327" fmla="*/ 999172 w 3785642"/>
                <a:gd name="connsiteY327" fmla="*/ 4201 h 481758"/>
                <a:gd name="connsiteX328" fmla="*/ 1015542 w 3785642"/>
                <a:gd name="connsiteY328" fmla="*/ 5193 h 481758"/>
                <a:gd name="connsiteX329" fmla="*/ 1031913 w 3785642"/>
                <a:gd name="connsiteY329" fmla="*/ 4201 h 481758"/>
                <a:gd name="connsiteX330" fmla="*/ 1048283 w 3785642"/>
                <a:gd name="connsiteY330" fmla="*/ 4697 h 481758"/>
                <a:gd name="connsiteX331" fmla="*/ 1064654 w 3785642"/>
                <a:gd name="connsiteY331" fmla="*/ 6185 h 481758"/>
                <a:gd name="connsiteX332" fmla="*/ 1081025 w 3785642"/>
                <a:gd name="connsiteY332" fmla="*/ 4697 h 481758"/>
                <a:gd name="connsiteX333" fmla="*/ 1097395 w 3785642"/>
                <a:gd name="connsiteY333" fmla="*/ 5193 h 481758"/>
                <a:gd name="connsiteX334" fmla="*/ 1113766 w 3785642"/>
                <a:gd name="connsiteY334" fmla="*/ 5193 h 481758"/>
                <a:gd name="connsiteX335" fmla="*/ 1130136 w 3785642"/>
                <a:gd name="connsiteY335" fmla="*/ 6185 h 481758"/>
                <a:gd name="connsiteX336" fmla="*/ 1146507 w 3785642"/>
                <a:gd name="connsiteY336" fmla="*/ 4201 h 481758"/>
                <a:gd name="connsiteX337" fmla="*/ 1162878 w 3785642"/>
                <a:gd name="connsiteY337" fmla="*/ 5689 h 481758"/>
                <a:gd name="connsiteX338" fmla="*/ 1179248 w 3785642"/>
                <a:gd name="connsiteY338" fmla="*/ 6681 h 481758"/>
                <a:gd name="connsiteX339" fmla="*/ 1195619 w 3785642"/>
                <a:gd name="connsiteY339" fmla="*/ 6185 h 481758"/>
                <a:gd name="connsiteX340" fmla="*/ 1211989 w 3785642"/>
                <a:gd name="connsiteY340" fmla="*/ 4201 h 481758"/>
                <a:gd name="connsiteX341" fmla="*/ 1228360 w 3785642"/>
                <a:gd name="connsiteY341" fmla="*/ 6185 h 481758"/>
                <a:gd name="connsiteX342" fmla="*/ 1244730 w 3785642"/>
                <a:gd name="connsiteY342" fmla="*/ 4201 h 481758"/>
                <a:gd name="connsiteX343" fmla="*/ 1261101 w 3785642"/>
                <a:gd name="connsiteY343" fmla="*/ 5193 h 481758"/>
                <a:gd name="connsiteX344" fmla="*/ 1277471 w 3785642"/>
                <a:gd name="connsiteY344" fmla="*/ 6185 h 481758"/>
                <a:gd name="connsiteX345" fmla="*/ 1293842 w 3785642"/>
                <a:gd name="connsiteY345" fmla="*/ 6681 h 481758"/>
                <a:gd name="connsiteX346" fmla="*/ 1310213 w 3785642"/>
                <a:gd name="connsiteY346" fmla="*/ 4201 h 481758"/>
                <a:gd name="connsiteX347" fmla="*/ 1326583 w 3785642"/>
                <a:gd name="connsiteY347" fmla="*/ 4697 h 481758"/>
                <a:gd name="connsiteX348" fmla="*/ 1342954 w 3785642"/>
                <a:gd name="connsiteY348" fmla="*/ 5689 h 481758"/>
                <a:gd name="connsiteX349" fmla="*/ 1359324 w 3785642"/>
                <a:gd name="connsiteY349" fmla="*/ 5689 h 481758"/>
                <a:gd name="connsiteX350" fmla="*/ 1375695 w 3785642"/>
                <a:gd name="connsiteY350" fmla="*/ 5193 h 481758"/>
                <a:gd name="connsiteX351" fmla="*/ 1392066 w 3785642"/>
                <a:gd name="connsiteY351" fmla="*/ 5193 h 481758"/>
                <a:gd name="connsiteX352" fmla="*/ 1408436 w 3785642"/>
                <a:gd name="connsiteY352" fmla="*/ 6185 h 481758"/>
                <a:gd name="connsiteX353" fmla="*/ 1424807 w 3785642"/>
                <a:gd name="connsiteY353" fmla="*/ 6185 h 481758"/>
                <a:gd name="connsiteX354" fmla="*/ 1441177 w 3785642"/>
                <a:gd name="connsiteY354" fmla="*/ 4201 h 481758"/>
                <a:gd name="connsiteX355" fmla="*/ 1457548 w 3785642"/>
                <a:gd name="connsiteY355" fmla="*/ 5193 h 481758"/>
                <a:gd name="connsiteX356" fmla="*/ 1473919 w 3785642"/>
                <a:gd name="connsiteY356" fmla="*/ 4697 h 481758"/>
                <a:gd name="connsiteX357" fmla="*/ 1490289 w 3785642"/>
                <a:gd name="connsiteY357" fmla="*/ 4697 h 481758"/>
                <a:gd name="connsiteX358" fmla="*/ 1506660 w 3785642"/>
                <a:gd name="connsiteY358" fmla="*/ 4201 h 481758"/>
                <a:gd name="connsiteX359" fmla="*/ 1523030 w 3785642"/>
                <a:gd name="connsiteY359" fmla="*/ 6185 h 481758"/>
                <a:gd name="connsiteX360" fmla="*/ 1539401 w 3785642"/>
                <a:gd name="connsiteY360" fmla="*/ 5689 h 481758"/>
                <a:gd name="connsiteX361" fmla="*/ 1555771 w 3785642"/>
                <a:gd name="connsiteY361" fmla="*/ 5689 h 481758"/>
                <a:gd name="connsiteX362" fmla="*/ 1572142 w 3785642"/>
                <a:gd name="connsiteY362" fmla="*/ 5193 h 481758"/>
                <a:gd name="connsiteX363" fmla="*/ 1588512 w 3785642"/>
                <a:gd name="connsiteY363" fmla="*/ 4697 h 481758"/>
                <a:gd name="connsiteX364" fmla="*/ 1604883 w 3785642"/>
                <a:gd name="connsiteY364" fmla="*/ 5689 h 481758"/>
                <a:gd name="connsiteX365" fmla="*/ 1621253 w 3785642"/>
                <a:gd name="connsiteY365" fmla="*/ 5689 h 481758"/>
                <a:gd name="connsiteX366" fmla="*/ 1637624 w 3785642"/>
                <a:gd name="connsiteY366" fmla="*/ 5193 h 481758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59015 w 3785642"/>
                <a:gd name="connsiteY37" fmla="*/ 33269 h 479077"/>
                <a:gd name="connsiteX38" fmla="*/ 3347109 w 3785642"/>
                <a:gd name="connsiteY38" fmla="*/ 21859 h 479077"/>
                <a:gd name="connsiteX39" fmla="*/ 3313375 w 3785642"/>
                <a:gd name="connsiteY39" fmla="*/ 10945 h 479077"/>
                <a:gd name="connsiteX40" fmla="*/ 3300973 w 3785642"/>
                <a:gd name="connsiteY40" fmla="*/ 21363 h 479077"/>
                <a:gd name="connsiteX41" fmla="*/ 3289068 w 3785642"/>
                <a:gd name="connsiteY41" fmla="*/ 32276 h 479077"/>
                <a:gd name="connsiteX42" fmla="*/ 3277658 w 3785642"/>
                <a:gd name="connsiteY42" fmla="*/ 43686 h 479077"/>
                <a:gd name="connsiteX43" fmla="*/ 3266248 w 3785642"/>
                <a:gd name="connsiteY43" fmla="*/ 55592 h 479077"/>
                <a:gd name="connsiteX44" fmla="*/ 3255830 w 3785642"/>
                <a:gd name="connsiteY44" fmla="*/ 68490 h 479077"/>
                <a:gd name="connsiteX45" fmla="*/ 3243924 w 3785642"/>
                <a:gd name="connsiteY45" fmla="*/ 79900 h 479077"/>
                <a:gd name="connsiteX46" fmla="*/ 3231522 w 3785642"/>
                <a:gd name="connsiteY46" fmla="*/ 90814 h 479077"/>
                <a:gd name="connsiteX47" fmla="*/ 3220609 w 3785642"/>
                <a:gd name="connsiteY47" fmla="*/ 102720 h 479077"/>
                <a:gd name="connsiteX48" fmla="*/ 3208207 w 3785642"/>
                <a:gd name="connsiteY48" fmla="*/ 113137 h 479077"/>
                <a:gd name="connsiteX49" fmla="*/ 3197293 w 3785642"/>
                <a:gd name="connsiteY49" fmla="*/ 125043 h 479077"/>
                <a:gd name="connsiteX50" fmla="*/ 3185387 w 3785642"/>
                <a:gd name="connsiteY50" fmla="*/ 136453 h 479077"/>
                <a:gd name="connsiteX51" fmla="*/ 3174970 w 3785642"/>
                <a:gd name="connsiteY51" fmla="*/ 148855 h 479077"/>
                <a:gd name="connsiteX52" fmla="*/ 3162071 w 3785642"/>
                <a:gd name="connsiteY52" fmla="*/ 159272 h 479077"/>
                <a:gd name="connsiteX53" fmla="*/ 3151158 w 3785642"/>
                <a:gd name="connsiteY53" fmla="*/ 171674 h 479077"/>
                <a:gd name="connsiteX54" fmla="*/ 3139252 w 3785642"/>
                <a:gd name="connsiteY54" fmla="*/ 182588 h 479077"/>
                <a:gd name="connsiteX55" fmla="*/ 3127843 w 3785642"/>
                <a:gd name="connsiteY55" fmla="*/ 194494 h 479077"/>
                <a:gd name="connsiteX56" fmla="*/ 3116432 w 3785642"/>
                <a:gd name="connsiteY56" fmla="*/ 205904 h 479077"/>
                <a:gd name="connsiteX57" fmla="*/ 3105022 w 3785642"/>
                <a:gd name="connsiteY57" fmla="*/ 217810 h 479077"/>
                <a:gd name="connsiteX58" fmla="*/ 3093117 w 3785642"/>
                <a:gd name="connsiteY58" fmla="*/ 229219 h 479077"/>
                <a:gd name="connsiteX59" fmla="*/ 3081707 w 3785642"/>
                <a:gd name="connsiteY59" fmla="*/ 240629 h 479077"/>
                <a:gd name="connsiteX60" fmla="*/ 3069305 w 3785642"/>
                <a:gd name="connsiteY60" fmla="*/ 251543 h 479077"/>
                <a:gd name="connsiteX61" fmla="*/ 3057895 w 3785642"/>
                <a:gd name="connsiteY61" fmla="*/ 263449 h 479077"/>
                <a:gd name="connsiteX62" fmla="*/ 3046486 w 3785642"/>
                <a:gd name="connsiteY62" fmla="*/ 275355 h 479077"/>
                <a:gd name="connsiteX63" fmla="*/ 3035572 w 3785642"/>
                <a:gd name="connsiteY63" fmla="*/ 287260 h 479077"/>
                <a:gd name="connsiteX64" fmla="*/ 3024658 w 3785642"/>
                <a:gd name="connsiteY64" fmla="*/ 299166 h 479077"/>
                <a:gd name="connsiteX65" fmla="*/ 3013248 w 3785642"/>
                <a:gd name="connsiteY65" fmla="*/ 311072 h 479077"/>
                <a:gd name="connsiteX66" fmla="*/ 3000350 w 3785642"/>
                <a:gd name="connsiteY66" fmla="*/ 321490 h 479077"/>
                <a:gd name="connsiteX67" fmla="*/ 2988941 w 3785642"/>
                <a:gd name="connsiteY67" fmla="*/ 333396 h 479077"/>
                <a:gd name="connsiteX68" fmla="*/ 2976539 w 3785642"/>
                <a:gd name="connsiteY68" fmla="*/ 344309 h 479077"/>
                <a:gd name="connsiteX69" fmla="*/ 2965129 w 3785642"/>
                <a:gd name="connsiteY69" fmla="*/ 356215 h 479077"/>
                <a:gd name="connsiteX70" fmla="*/ 2953223 w 3785642"/>
                <a:gd name="connsiteY70" fmla="*/ 367625 h 479077"/>
                <a:gd name="connsiteX71" fmla="*/ 2941813 w 3785642"/>
                <a:gd name="connsiteY71" fmla="*/ 379531 h 479077"/>
                <a:gd name="connsiteX72" fmla="*/ 2931395 w 3785642"/>
                <a:gd name="connsiteY72" fmla="*/ 392429 h 479077"/>
                <a:gd name="connsiteX73" fmla="*/ 2918497 w 3785642"/>
                <a:gd name="connsiteY73" fmla="*/ 402847 h 479077"/>
                <a:gd name="connsiteX74" fmla="*/ 2907584 w 3785642"/>
                <a:gd name="connsiteY74" fmla="*/ 415249 h 479077"/>
                <a:gd name="connsiteX75" fmla="*/ 2896174 w 3785642"/>
                <a:gd name="connsiteY75" fmla="*/ 426658 h 479077"/>
                <a:gd name="connsiteX76" fmla="*/ 2884268 w 3785642"/>
                <a:gd name="connsiteY76" fmla="*/ 438068 h 479077"/>
                <a:gd name="connsiteX77" fmla="*/ 2873354 w 3785642"/>
                <a:gd name="connsiteY77" fmla="*/ 450470 h 479077"/>
                <a:gd name="connsiteX78" fmla="*/ 2860952 w 3785642"/>
                <a:gd name="connsiteY78" fmla="*/ 461384 h 479077"/>
                <a:gd name="connsiteX79" fmla="*/ 2850039 w 3785642"/>
                <a:gd name="connsiteY79" fmla="*/ 473786 h 479077"/>
                <a:gd name="connsiteX80" fmla="*/ 2833668 w 3785642"/>
                <a:gd name="connsiteY80" fmla="*/ 473786 h 479077"/>
                <a:gd name="connsiteX81" fmla="*/ 2817297 w 3785642"/>
                <a:gd name="connsiteY81" fmla="*/ 473290 h 479077"/>
                <a:gd name="connsiteX82" fmla="*/ 2800927 w 3785642"/>
                <a:gd name="connsiteY82" fmla="*/ 473290 h 479077"/>
                <a:gd name="connsiteX83" fmla="*/ 2784556 w 3785642"/>
                <a:gd name="connsiteY83" fmla="*/ 473786 h 479077"/>
                <a:gd name="connsiteX84" fmla="*/ 2768186 w 3785642"/>
                <a:gd name="connsiteY84" fmla="*/ 474282 h 479077"/>
                <a:gd name="connsiteX85" fmla="*/ 2751815 w 3785642"/>
                <a:gd name="connsiteY85" fmla="*/ 474282 h 479077"/>
                <a:gd name="connsiteX86" fmla="*/ 2735444 w 3785642"/>
                <a:gd name="connsiteY86" fmla="*/ 473290 h 479077"/>
                <a:gd name="connsiteX87" fmla="*/ 2719074 w 3785642"/>
                <a:gd name="connsiteY87" fmla="*/ 474282 h 479077"/>
                <a:gd name="connsiteX88" fmla="*/ 2702703 w 3785642"/>
                <a:gd name="connsiteY88" fmla="*/ 472298 h 479077"/>
                <a:gd name="connsiteX89" fmla="*/ 2686333 w 3785642"/>
                <a:gd name="connsiteY89" fmla="*/ 472794 h 479077"/>
                <a:gd name="connsiteX90" fmla="*/ 2669962 w 3785642"/>
                <a:gd name="connsiteY90" fmla="*/ 474282 h 479077"/>
                <a:gd name="connsiteX91" fmla="*/ 2653592 w 3785642"/>
                <a:gd name="connsiteY91" fmla="*/ 472298 h 479077"/>
                <a:gd name="connsiteX92" fmla="*/ 2637221 w 3785642"/>
                <a:gd name="connsiteY92" fmla="*/ 474282 h 479077"/>
                <a:gd name="connsiteX93" fmla="*/ 2620851 w 3785642"/>
                <a:gd name="connsiteY93" fmla="*/ 474282 h 479077"/>
                <a:gd name="connsiteX94" fmla="*/ 2604480 w 3785642"/>
                <a:gd name="connsiteY94" fmla="*/ 472298 h 479077"/>
                <a:gd name="connsiteX95" fmla="*/ 2588109 w 3785642"/>
                <a:gd name="connsiteY95" fmla="*/ 473786 h 479077"/>
                <a:gd name="connsiteX96" fmla="*/ 2571739 w 3785642"/>
                <a:gd name="connsiteY96" fmla="*/ 472298 h 479077"/>
                <a:gd name="connsiteX97" fmla="*/ 2555368 w 3785642"/>
                <a:gd name="connsiteY97" fmla="*/ 473290 h 479077"/>
                <a:gd name="connsiteX98" fmla="*/ 2538998 w 3785642"/>
                <a:gd name="connsiteY98" fmla="*/ 474282 h 479077"/>
                <a:gd name="connsiteX99" fmla="*/ 2522627 w 3785642"/>
                <a:gd name="connsiteY99" fmla="*/ 473290 h 479077"/>
                <a:gd name="connsiteX100" fmla="*/ 2506257 w 3785642"/>
                <a:gd name="connsiteY100" fmla="*/ 474282 h 479077"/>
                <a:gd name="connsiteX101" fmla="*/ 2489886 w 3785642"/>
                <a:gd name="connsiteY101" fmla="*/ 473786 h 479077"/>
                <a:gd name="connsiteX102" fmla="*/ 2473516 w 3785642"/>
                <a:gd name="connsiteY102" fmla="*/ 474282 h 479077"/>
                <a:gd name="connsiteX103" fmla="*/ 2457145 w 3785642"/>
                <a:gd name="connsiteY103" fmla="*/ 472794 h 479077"/>
                <a:gd name="connsiteX104" fmla="*/ 2440775 w 3785642"/>
                <a:gd name="connsiteY104" fmla="*/ 472298 h 479077"/>
                <a:gd name="connsiteX105" fmla="*/ 2424404 w 3785642"/>
                <a:gd name="connsiteY105" fmla="*/ 473786 h 479077"/>
                <a:gd name="connsiteX106" fmla="*/ 2408033 w 3785642"/>
                <a:gd name="connsiteY106" fmla="*/ 472794 h 479077"/>
                <a:gd name="connsiteX107" fmla="*/ 2391663 w 3785642"/>
                <a:gd name="connsiteY107" fmla="*/ 473290 h 479077"/>
                <a:gd name="connsiteX108" fmla="*/ 2375292 w 3785642"/>
                <a:gd name="connsiteY108" fmla="*/ 473290 h 479077"/>
                <a:gd name="connsiteX109" fmla="*/ 2358922 w 3785642"/>
                <a:gd name="connsiteY109" fmla="*/ 472794 h 479077"/>
                <a:gd name="connsiteX110" fmla="*/ 2342551 w 3785642"/>
                <a:gd name="connsiteY110" fmla="*/ 472298 h 479077"/>
                <a:gd name="connsiteX111" fmla="*/ 2326180 w 3785642"/>
                <a:gd name="connsiteY111" fmla="*/ 473786 h 479077"/>
                <a:gd name="connsiteX112" fmla="*/ 2309810 w 3785642"/>
                <a:gd name="connsiteY112" fmla="*/ 473786 h 479077"/>
                <a:gd name="connsiteX113" fmla="*/ 2293439 w 3785642"/>
                <a:gd name="connsiteY113" fmla="*/ 473786 h 479077"/>
                <a:gd name="connsiteX114" fmla="*/ 2277069 w 3785642"/>
                <a:gd name="connsiteY114" fmla="*/ 472794 h 479077"/>
                <a:gd name="connsiteX115" fmla="*/ 2260698 w 3785642"/>
                <a:gd name="connsiteY115" fmla="*/ 474282 h 479077"/>
                <a:gd name="connsiteX116" fmla="*/ 2244327 w 3785642"/>
                <a:gd name="connsiteY116" fmla="*/ 472298 h 479077"/>
                <a:gd name="connsiteX117" fmla="*/ 2227957 w 3785642"/>
                <a:gd name="connsiteY117" fmla="*/ 474282 h 479077"/>
                <a:gd name="connsiteX118" fmla="*/ 2211586 w 3785642"/>
                <a:gd name="connsiteY118" fmla="*/ 473290 h 479077"/>
                <a:gd name="connsiteX119" fmla="*/ 2195216 w 3785642"/>
                <a:gd name="connsiteY119" fmla="*/ 474282 h 479077"/>
                <a:gd name="connsiteX120" fmla="*/ 2178845 w 3785642"/>
                <a:gd name="connsiteY120" fmla="*/ 472794 h 479077"/>
                <a:gd name="connsiteX121" fmla="*/ 2162474 w 3785642"/>
                <a:gd name="connsiteY121" fmla="*/ 474778 h 479077"/>
                <a:gd name="connsiteX122" fmla="*/ 2146104 w 3785642"/>
                <a:gd name="connsiteY122" fmla="*/ 473290 h 479077"/>
                <a:gd name="connsiteX123" fmla="*/ 2129733 w 3785642"/>
                <a:gd name="connsiteY123" fmla="*/ 474778 h 479077"/>
                <a:gd name="connsiteX124" fmla="*/ 2113363 w 3785642"/>
                <a:gd name="connsiteY124" fmla="*/ 474778 h 479077"/>
                <a:gd name="connsiteX125" fmla="*/ 2096992 w 3785642"/>
                <a:gd name="connsiteY125" fmla="*/ 474778 h 479077"/>
                <a:gd name="connsiteX126" fmla="*/ 2080621 w 3785642"/>
                <a:gd name="connsiteY126" fmla="*/ 474282 h 479077"/>
                <a:gd name="connsiteX127" fmla="*/ 2064251 w 3785642"/>
                <a:gd name="connsiteY127" fmla="*/ 472794 h 479077"/>
                <a:gd name="connsiteX128" fmla="*/ 2047880 w 3785642"/>
                <a:gd name="connsiteY128" fmla="*/ 474778 h 479077"/>
                <a:gd name="connsiteX129" fmla="*/ 2031510 w 3785642"/>
                <a:gd name="connsiteY129" fmla="*/ 474778 h 479077"/>
                <a:gd name="connsiteX130" fmla="*/ 2015139 w 3785642"/>
                <a:gd name="connsiteY130" fmla="*/ 474778 h 479077"/>
                <a:gd name="connsiteX131" fmla="*/ 1998769 w 3785642"/>
                <a:gd name="connsiteY131" fmla="*/ 474282 h 479077"/>
                <a:gd name="connsiteX132" fmla="*/ 1982398 w 3785642"/>
                <a:gd name="connsiteY132" fmla="*/ 473786 h 479077"/>
                <a:gd name="connsiteX133" fmla="*/ 1966028 w 3785642"/>
                <a:gd name="connsiteY133" fmla="*/ 473786 h 479077"/>
                <a:gd name="connsiteX134" fmla="*/ 1949657 w 3785642"/>
                <a:gd name="connsiteY134" fmla="*/ 472794 h 479077"/>
                <a:gd name="connsiteX135" fmla="*/ 1933287 w 3785642"/>
                <a:gd name="connsiteY135" fmla="*/ 473290 h 479077"/>
                <a:gd name="connsiteX136" fmla="*/ 1916916 w 3785642"/>
                <a:gd name="connsiteY136" fmla="*/ 474778 h 479077"/>
                <a:gd name="connsiteX137" fmla="*/ 1900546 w 3785642"/>
                <a:gd name="connsiteY137" fmla="*/ 472794 h 479077"/>
                <a:gd name="connsiteX138" fmla="*/ 1884175 w 3785642"/>
                <a:gd name="connsiteY138" fmla="*/ 473786 h 479077"/>
                <a:gd name="connsiteX139" fmla="*/ 1867804 w 3785642"/>
                <a:gd name="connsiteY139" fmla="*/ 474778 h 479077"/>
                <a:gd name="connsiteX140" fmla="*/ 1851434 w 3785642"/>
                <a:gd name="connsiteY140" fmla="*/ 474778 h 479077"/>
                <a:gd name="connsiteX141" fmla="*/ 1835063 w 3785642"/>
                <a:gd name="connsiteY141" fmla="*/ 474778 h 479077"/>
                <a:gd name="connsiteX142" fmla="*/ 1818693 w 3785642"/>
                <a:gd name="connsiteY142" fmla="*/ 474282 h 479077"/>
                <a:gd name="connsiteX143" fmla="*/ 1802322 w 3785642"/>
                <a:gd name="connsiteY143" fmla="*/ 472794 h 479077"/>
                <a:gd name="connsiteX144" fmla="*/ 1785951 w 3785642"/>
                <a:gd name="connsiteY144" fmla="*/ 473786 h 479077"/>
                <a:gd name="connsiteX145" fmla="*/ 1769581 w 3785642"/>
                <a:gd name="connsiteY145" fmla="*/ 473290 h 479077"/>
                <a:gd name="connsiteX146" fmla="*/ 1753210 w 3785642"/>
                <a:gd name="connsiteY146" fmla="*/ 472298 h 479077"/>
                <a:gd name="connsiteX147" fmla="*/ 1736840 w 3785642"/>
                <a:gd name="connsiteY147" fmla="*/ 473290 h 479077"/>
                <a:gd name="connsiteX148" fmla="*/ 1720469 w 3785642"/>
                <a:gd name="connsiteY148" fmla="*/ 474778 h 479077"/>
                <a:gd name="connsiteX149" fmla="*/ 1704098 w 3785642"/>
                <a:gd name="connsiteY149" fmla="*/ 472794 h 479077"/>
                <a:gd name="connsiteX150" fmla="*/ 1687728 w 3785642"/>
                <a:gd name="connsiteY150" fmla="*/ 474778 h 479077"/>
                <a:gd name="connsiteX151" fmla="*/ 1671357 w 3785642"/>
                <a:gd name="connsiteY151" fmla="*/ 474778 h 479077"/>
                <a:gd name="connsiteX152" fmla="*/ 1654987 w 3785642"/>
                <a:gd name="connsiteY152" fmla="*/ 472298 h 479077"/>
                <a:gd name="connsiteX153" fmla="*/ 1638616 w 3785642"/>
                <a:gd name="connsiteY153" fmla="*/ 472794 h 479077"/>
                <a:gd name="connsiteX154" fmla="*/ 1622246 w 3785642"/>
                <a:gd name="connsiteY154" fmla="*/ 473786 h 479077"/>
                <a:gd name="connsiteX155" fmla="*/ 1605875 w 3785642"/>
                <a:gd name="connsiteY155" fmla="*/ 474778 h 479077"/>
                <a:gd name="connsiteX156" fmla="*/ 1589505 w 3785642"/>
                <a:gd name="connsiteY156" fmla="*/ 473290 h 479077"/>
                <a:gd name="connsiteX157" fmla="*/ 1573134 w 3785642"/>
                <a:gd name="connsiteY157" fmla="*/ 474778 h 479077"/>
                <a:gd name="connsiteX158" fmla="*/ 1556763 w 3785642"/>
                <a:gd name="connsiteY158" fmla="*/ 472794 h 479077"/>
                <a:gd name="connsiteX159" fmla="*/ 1540393 w 3785642"/>
                <a:gd name="connsiteY159" fmla="*/ 472794 h 479077"/>
                <a:gd name="connsiteX160" fmla="*/ 1524022 w 3785642"/>
                <a:gd name="connsiteY160" fmla="*/ 474282 h 479077"/>
                <a:gd name="connsiteX161" fmla="*/ 1507652 w 3785642"/>
                <a:gd name="connsiteY161" fmla="*/ 472794 h 479077"/>
                <a:gd name="connsiteX162" fmla="*/ 1491281 w 3785642"/>
                <a:gd name="connsiteY162" fmla="*/ 474282 h 479077"/>
                <a:gd name="connsiteX163" fmla="*/ 1474910 w 3785642"/>
                <a:gd name="connsiteY163" fmla="*/ 474282 h 479077"/>
                <a:gd name="connsiteX164" fmla="*/ 1458540 w 3785642"/>
                <a:gd name="connsiteY164" fmla="*/ 472794 h 479077"/>
                <a:gd name="connsiteX165" fmla="*/ 1442169 w 3785642"/>
                <a:gd name="connsiteY165" fmla="*/ 471802 h 479077"/>
                <a:gd name="connsiteX166" fmla="*/ 1425799 w 3785642"/>
                <a:gd name="connsiteY166" fmla="*/ 472298 h 479077"/>
                <a:gd name="connsiteX167" fmla="*/ 1409428 w 3785642"/>
                <a:gd name="connsiteY167" fmla="*/ 472794 h 479077"/>
                <a:gd name="connsiteX168" fmla="*/ 1393058 w 3785642"/>
                <a:gd name="connsiteY168" fmla="*/ 473786 h 479077"/>
                <a:gd name="connsiteX169" fmla="*/ 1376687 w 3785642"/>
                <a:gd name="connsiteY169" fmla="*/ 471802 h 479077"/>
                <a:gd name="connsiteX170" fmla="*/ 1360317 w 3785642"/>
                <a:gd name="connsiteY170" fmla="*/ 473786 h 479077"/>
                <a:gd name="connsiteX171" fmla="*/ 1343946 w 3785642"/>
                <a:gd name="connsiteY171" fmla="*/ 473786 h 479077"/>
                <a:gd name="connsiteX172" fmla="*/ 1327576 w 3785642"/>
                <a:gd name="connsiteY172" fmla="*/ 472794 h 479077"/>
                <a:gd name="connsiteX173" fmla="*/ 1311205 w 3785642"/>
                <a:gd name="connsiteY173" fmla="*/ 473786 h 479077"/>
                <a:gd name="connsiteX174" fmla="*/ 1294834 w 3785642"/>
                <a:gd name="connsiteY174" fmla="*/ 473786 h 479077"/>
                <a:gd name="connsiteX175" fmla="*/ 1278464 w 3785642"/>
                <a:gd name="connsiteY175" fmla="*/ 473786 h 479077"/>
                <a:gd name="connsiteX176" fmla="*/ 1262093 w 3785642"/>
                <a:gd name="connsiteY176" fmla="*/ 473786 h 479077"/>
                <a:gd name="connsiteX177" fmla="*/ 1245723 w 3785642"/>
                <a:gd name="connsiteY177" fmla="*/ 473290 h 479077"/>
                <a:gd name="connsiteX178" fmla="*/ 1229352 w 3785642"/>
                <a:gd name="connsiteY178" fmla="*/ 472794 h 479077"/>
                <a:gd name="connsiteX179" fmla="*/ 1212981 w 3785642"/>
                <a:gd name="connsiteY179" fmla="*/ 473786 h 479077"/>
                <a:gd name="connsiteX180" fmla="*/ 1196611 w 3785642"/>
                <a:gd name="connsiteY180" fmla="*/ 472298 h 479077"/>
                <a:gd name="connsiteX181" fmla="*/ 1180240 w 3785642"/>
                <a:gd name="connsiteY181" fmla="*/ 472794 h 479077"/>
                <a:gd name="connsiteX182" fmla="*/ 1163870 w 3785642"/>
                <a:gd name="connsiteY182" fmla="*/ 472794 h 479077"/>
                <a:gd name="connsiteX183" fmla="*/ 1147499 w 3785642"/>
                <a:gd name="connsiteY183" fmla="*/ 473786 h 479077"/>
                <a:gd name="connsiteX184" fmla="*/ 1131128 w 3785642"/>
                <a:gd name="connsiteY184" fmla="*/ 473786 h 479077"/>
                <a:gd name="connsiteX185" fmla="*/ 1114758 w 3785642"/>
                <a:gd name="connsiteY185" fmla="*/ 472794 h 479077"/>
                <a:gd name="connsiteX186" fmla="*/ 1098387 w 3785642"/>
                <a:gd name="connsiteY186" fmla="*/ 473786 h 479077"/>
                <a:gd name="connsiteX187" fmla="*/ 1082017 w 3785642"/>
                <a:gd name="connsiteY187" fmla="*/ 474778 h 479077"/>
                <a:gd name="connsiteX188" fmla="*/ 1065646 w 3785642"/>
                <a:gd name="connsiteY188" fmla="*/ 474778 h 479077"/>
                <a:gd name="connsiteX189" fmla="*/ 1049276 w 3785642"/>
                <a:gd name="connsiteY189" fmla="*/ 474282 h 479077"/>
                <a:gd name="connsiteX190" fmla="*/ 1032905 w 3785642"/>
                <a:gd name="connsiteY190" fmla="*/ 473290 h 479077"/>
                <a:gd name="connsiteX191" fmla="*/ 1016535 w 3785642"/>
                <a:gd name="connsiteY191" fmla="*/ 474282 h 479077"/>
                <a:gd name="connsiteX192" fmla="*/ 1000164 w 3785642"/>
                <a:gd name="connsiteY192" fmla="*/ 474282 h 479077"/>
                <a:gd name="connsiteX193" fmla="*/ 983793 w 3785642"/>
                <a:gd name="connsiteY193" fmla="*/ 472794 h 479077"/>
                <a:gd name="connsiteX194" fmla="*/ 967423 w 3785642"/>
                <a:gd name="connsiteY194" fmla="*/ 472794 h 479077"/>
                <a:gd name="connsiteX195" fmla="*/ 951052 w 3785642"/>
                <a:gd name="connsiteY195" fmla="*/ 473786 h 479077"/>
                <a:gd name="connsiteX196" fmla="*/ 934682 w 3785642"/>
                <a:gd name="connsiteY196" fmla="*/ 474282 h 479077"/>
                <a:gd name="connsiteX197" fmla="*/ 918311 w 3785642"/>
                <a:gd name="connsiteY197" fmla="*/ 474778 h 479077"/>
                <a:gd name="connsiteX198" fmla="*/ 901940 w 3785642"/>
                <a:gd name="connsiteY198" fmla="*/ 473290 h 479077"/>
                <a:gd name="connsiteX199" fmla="*/ 885570 w 3785642"/>
                <a:gd name="connsiteY199" fmla="*/ 474778 h 479077"/>
                <a:gd name="connsiteX200" fmla="*/ 869199 w 3785642"/>
                <a:gd name="connsiteY200" fmla="*/ 474282 h 479077"/>
                <a:gd name="connsiteX201" fmla="*/ 852829 w 3785642"/>
                <a:gd name="connsiteY201" fmla="*/ 473786 h 479077"/>
                <a:gd name="connsiteX202" fmla="*/ 836458 w 3785642"/>
                <a:gd name="connsiteY202" fmla="*/ 474778 h 479077"/>
                <a:gd name="connsiteX203" fmla="*/ 820088 w 3785642"/>
                <a:gd name="connsiteY203" fmla="*/ 475274 h 479077"/>
                <a:gd name="connsiteX204" fmla="*/ 803717 w 3785642"/>
                <a:gd name="connsiteY204" fmla="*/ 473786 h 479077"/>
                <a:gd name="connsiteX205" fmla="*/ 787347 w 3785642"/>
                <a:gd name="connsiteY205" fmla="*/ 475770 h 479077"/>
                <a:gd name="connsiteX206" fmla="*/ 770976 w 3785642"/>
                <a:gd name="connsiteY206" fmla="*/ 474778 h 479077"/>
                <a:gd name="connsiteX207" fmla="*/ 754605 w 3785642"/>
                <a:gd name="connsiteY207" fmla="*/ 475274 h 479077"/>
                <a:gd name="connsiteX208" fmla="*/ 738235 w 3785642"/>
                <a:gd name="connsiteY208" fmla="*/ 473786 h 479077"/>
                <a:gd name="connsiteX209" fmla="*/ 721864 w 3785642"/>
                <a:gd name="connsiteY209" fmla="*/ 475274 h 479077"/>
                <a:gd name="connsiteX210" fmla="*/ 705494 w 3785642"/>
                <a:gd name="connsiteY210" fmla="*/ 475770 h 479077"/>
                <a:gd name="connsiteX211" fmla="*/ 689123 w 3785642"/>
                <a:gd name="connsiteY211" fmla="*/ 474282 h 479077"/>
                <a:gd name="connsiteX212" fmla="*/ 672753 w 3785642"/>
                <a:gd name="connsiteY212" fmla="*/ 475274 h 479077"/>
                <a:gd name="connsiteX213" fmla="*/ 656382 w 3785642"/>
                <a:gd name="connsiteY213" fmla="*/ 474778 h 479077"/>
                <a:gd name="connsiteX214" fmla="*/ 640011 w 3785642"/>
                <a:gd name="connsiteY214" fmla="*/ 475770 h 479077"/>
                <a:gd name="connsiteX215" fmla="*/ 623641 w 3785642"/>
                <a:gd name="connsiteY215" fmla="*/ 473786 h 479077"/>
                <a:gd name="connsiteX216" fmla="*/ 607270 w 3785642"/>
                <a:gd name="connsiteY216" fmla="*/ 474778 h 479077"/>
                <a:gd name="connsiteX217" fmla="*/ 590900 w 3785642"/>
                <a:gd name="connsiteY217" fmla="*/ 475274 h 479077"/>
                <a:gd name="connsiteX218" fmla="*/ 574529 w 3785642"/>
                <a:gd name="connsiteY218" fmla="*/ 474282 h 479077"/>
                <a:gd name="connsiteX219" fmla="*/ 558158 w 3785642"/>
                <a:gd name="connsiteY219" fmla="*/ 475274 h 479077"/>
                <a:gd name="connsiteX220" fmla="*/ 541788 w 3785642"/>
                <a:gd name="connsiteY220" fmla="*/ 475770 h 479077"/>
                <a:gd name="connsiteX221" fmla="*/ 525417 w 3785642"/>
                <a:gd name="connsiteY221" fmla="*/ 474282 h 479077"/>
                <a:gd name="connsiteX222" fmla="*/ 509047 w 3785642"/>
                <a:gd name="connsiteY222" fmla="*/ 473786 h 479077"/>
                <a:gd name="connsiteX223" fmla="*/ 492676 w 3785642"/>
                <a:gd name="connsiteY223" fmla="*/ 473786 h 479077"/>
                <a:gd name="connsiteX224" fmla="*/ 476306 w 3785642"/>
                <a:gd name="connsiteY224" fmla="*/ 474778 h 479077"/>
                <a:gd name="connsiteX225" fmla="*/ 459935 w 3785642"/>
                <a:gd name="connsiteY225" fmla="*/ 473786 h 479077"/>
                <a:gd name="connsiteX226" fmla="*/ 443565 w 3785642"/>
                <a:gd name="connsiteY226" fmla="*/ 474778 h 479077"/>
                <a:gd name="connsiteX227" fmla="*/ 427194 w 3785642"/>
                <a:gd name="connsiteY227" fmla="*/ 474282 h 479077"/>
                <a:gd name="connsiteX228" fmla="*/ 410823 w 3785642"/>
                <a:gd name="connsiteY228" fmla="*/ 473290 h 479077"/>
                <a:gd name="connsiteX229" fmla="*/ 394453 w 3785642"/>
                <a:gd name="connsiteY229" fmla="*/ 475770 h 479077"/>
                <a:gd name="connsiteX230" fmla="*/ 378082 w 3785642"/>
                <a:gd name="connsiteY230" fmla="*/ 475274 h 479077"/>
                <a:gd name="connsiteX231" fmla="*/ 361712 w 3785642"/>
                <a:gd name="connsiteY231" fmla="*/ 474778 h 479077"/>
                <a:gd name="connsiteX232" fmla="*/ 345341 w 3785642"/>
                <a:gd name="connsiteY232" fmla="*/ 476266 h 479077"/>
                <a:gd name="connsiteX233" fmla="*/ 328970 w 3785642"/>
                <a:gd name="connsiteY233" fmla="*/ 474282 h 479077"/>
                <a:gd name="connsiteX234" fmla="*/ 312600 w 3785642"/>
                <a:gd name="connsiteY234" fmla="*/ 475274 h 479077"/>
                <a:gd name="connsiteX235" fmla="*/ 296229 w 3785642"/>
                <a:gd name="connsiteY235" fmla="*/ 474282 h 479077"/>
                <a:gd name="connsiteX236" fmla="*/ 279859 w 3785642"/>
                <a:gd name="connsiteY236" fmla="*/ 475770 h 479077"/>
                <a:gd name="connsiteX237" fmla="*/ 263488 w 3785642"/>
                <a:gd name="connsiteY237" fmla="*/ 476266 h 479077"/>
                <a:gd name="connsiteX238" fmla="*/ 247118 w 3785642"/>
                <a:gd name="connsiteY238" fmla="*/ 476266 h 479077"/>
                <a:gd name="connsiteX239" fmla="*/ 230747 w 3785642"/>
                <a:gd name="connsiteY239" fmla="*/ 474778 h 479077"/>
                <a:gd name="connsiteX240" fmla="*/ 214376 w 3785642"/>
                <a:gd name="connsiteY240" fmla="*/ 474778 h 479077"/>
                <a:gd name="connsiteX241" fmla="*/ 198006 w 3785642"/>
                <a:gd name="connsiteY241" fmla="*/ 476762 h 479077"/>
                <a:gd name="connsiteX242" fmla="*/ 181635 w 3785642"/>
                <a:gd name="connsiteY242" fmla="*/ 476266 h 479077"/>
                <a:gd name="connsiteX243" fmla="*/ 165265 w 3785642"/>
                <a:gd name="connsiteY243" fmla="*/ 474778 h 479077"/>
                <a:gd name="connsiteX244" fmla="*/ 148894 w 3785642"/>
                <a:gd name="connsiteY244" fmla="*/ 476762 h 479077"/>
                <a:gd name="connsiteX245" fmla="*/ 132524 w 3785642"/>
                <a:gd name="connsiteY245" fmla="*/ 476266 h 479077"/>
                <a:gd name="connsiteX246" fmla="*/ 116153 w 3785642"/>
                <a:gd name="connsiteY246" fmla="*/ 475274 h 479077"/>
                <a:gd name="connsiteX247" fmla="*/ 99783 w 3785642"/>
                <a:gd name="connsiteY247" fmla="*/ 475274 h 479077"/>
                <a:gd name="connsiteX248" fmla="*/ 83412 w 3785642"/>
                <a:gd name="connsiteY248" fmla="*/ 475274 h 479077"/>
                <a:gd name="connsiteX249" fmla="*/ 67041 w 3785642"/>
                <a:gd name="connsiteY249" fmla="*/ 474778 h 479077"/>
                <a:gd name="connsiteX250" fmla="*/ 50671 w 3785642"/>
                <a:gd name="connsiteY250" fmla="*/ 475274 h 479077"/>
                <a:gd name="connsiteX251" fmla="*/ 34300 w 3785642"/>
                <a:gd name="connsiteY251" fmla="*/ 475274 h 479077"/>
                <a:gd name="connsiteX252" fmla="*/ 17930 w 3785642"/>
                <a:gd name="connsiteY252" fmla="*/ 475770 h 479077"/>
                <a:gd name="connsiteX253" fmla="*/ 567 w 3785642"/>
                <a:gd name="connsiteY253" fmla="*/ 475770 h 479077"/>
                <a:gd name="connsiteX254" fmla="*/ 12969 w 3785642"/>
                <a:gd name="connsiteY254" fmla="*/ 463368 h 479077"/>
                <a:gd name="connsiteX255" fmla="*/ 24379 w 3785642"/>
                <a:gd name="connsiteY255" fmla="*/ 451958 h 479077"/>
                <a:gd name="connsiteX256" fmla="*/ 35788 w 3785642"/>
                <a:gd name="connsiteY256" fmla="*/ 440053 h 479077"/>
                <a:gd name="connsiteX257" fmla="*/ 48686 w 3785642"/>
                <a:gd name="connsiteY257" fmla="*/ 430131 h 479077"/>
                <a:gd name="connsiteX258" fmla="*/ 59600 w 3785642"/>
                <a:gd name="connsiteY258" fmla="*/ 418225 h 479077"/>
                <a:gd name="connsiteX259" fmla="*/ 70514 w 3785642"/>
                <a:gd name="connsiteY259" fmla="*/ 405823 h 479077"/>
                <a:gd name="connsiteX260" fmla="*/ 83412 w 3785642"/>
                <a:gd name="connsiteY260" fmla="*/ 395406 h 479077"/>
                <a:gd name="connsiteX261" fmla="*/ 94822 w 3785642"/>
                <a:gd name="connsiteY261" fmla="*/ 383500 h 479077"/>
                <a:gd name="connsiteX262" fmla="*/ 106728 w 3785642"/>
                <a:gd name="connsiteY262" fmla="*/ 372090 h 479077"/>
                <a:gd name="connsiteX263" fmla="*/ 117145 w 3785642"/>
                <a:gd name="connsiteY263" fmla="*/ 359688 h 479077"/>
                <a:gd name="connsiteX264" fmla="*/ 128555 w 3785642"/>
                <a:gd name="connsiteY264" fmla="*/ 348278 h 479077"/>
                <a:gd name="connsiteX265" fmla="*/ 140461 w 3785642"/>
                <a:gd name="connsiteY265" fmla="*/ 336868 h 479077"/>
                <a:gd name="connsiteX266" fmla="*/ 152863 w 3785642"/>
                <a:gd name="connsiteY266" fmla="*/ 326451 h 479077"/>
                <a:gd name="connsiteX267" fmla="*/ 164769 w 3785642"/>
                <a:gd name="connsiteY267" fmla="*/ 315041 h 479077"/>
                <a:gd name="connsiteX268" fmla="*/ 176178 w 3785642"/>
                <a:gd name="connsiteY268" fmla="*/ 303135 h 479077"/>
                <a:gd name="connsiteX269" fmla="*/ 188084 w 3785642"/>
                <a:gd name="connsiteY269" fmla="*/ 291725 h 479077"/>
                <a:gd name="connsiteX270" fmla="*/ 199494 w 3785642"/>
                <a:gd name="connsiteY270" fmla="*/ 280315 h 479077"/>
                <a:gd name="connsiteX271" fmla="*/ 210904 w 3785642"/>
                <a:gd name="connsiteY271" fmla="*/ 268906 h 479077"/>
                <a:gd name="connsiteX272" fmla="*/ 221818 w 3785642"/>
                <a:gd name="connsiteY272" fmla="*/ 256504 h 479077"/>
                <a:gd name="connsiteX273" fmla="*/ 233724 w 3785642"/>
                <a:gd name="connsiteY273" fmla="*/ 245094 h 479077"/>
                <a:gd name="connsiteX274" fmla="*/ 244141 w 3785642"/>
                <a:gd name="connsiteY274" fmla="*/ 232692 h 479077"/>
                <a:gd name="connsiteX275" fmla="*/ 257039 w 3785642"/>
                <a:gd name="connsiteY275" fmla="*/ 222770 h 479077"/>
                <a:gd name="connsiteX276" fmla="*/ 266961 w 3785642"/>
                <a:gd name="connsiteY276" fmla="*/ 209376 h 479077"/>
                <a:gd name="connsiteX277" fmla="*/ 278371 w 3785642"/>
                <a:gd name="connsiteY277" fmla="*/ 197966 h 479077"/>
                <a:gd name="connsiteX278" fmla="*/ 291269 w 3785642"/>
                <a:gd name="connsiteY278" fmla="*/ 188045 h 479077"/>
                <a:gd name="connsiteX279" fmla="*/ 301686 w 3785642"/>
                <a:gd name="connsiteY279" fmla="*/ 175147 h 479077"/>
                <a:gd name="connsiteX280" fmla="*/ 313592 w 3785642"/>
                <a:gd name="connsiteY280" fmla="*/ 163737 h 479077"/>
                <a:gd name="connsiteX281" fmla="*/ 325994 w 3785642"/>
                <a:gd name="connsiteY281" fmla="*/ 153319 h 479077"/>
                <a:gd name="connsiteX282" fmla="*/ 337404 w 3785642"/>
                <a:gd name="connsiteY282" fmla="*/ 141910 h 479077"/>
                <a:gd name="connsiteX283" fmla="*/ 347325 w 3785642"/>
                <a:gd name="connsiteY283" fmla="*/ 129012 h 479077"/>
                <a:gd name="connsiteX284" fmla="*/ 360224 w 3785642"/>
                <a:gd name="connsiteY284" fmla="*/ 118594 h 479077"/>
                <a:gd name="connsiteX285" fmla="*/ 371137 w 3785642"/>
                <a:gd name="connsiteY285" fmla="*/ 106192 h 479077"/>
                <a:gd name="connsiteX286" fmla="*/ 382051 w 3785642"/>
                <a:gd name="connsiteY286" fmla="*/ 93790 h 479077"/>
                <a:gd name="connsiteX287" fmla="*/ 393957 w 3785642"/>
                <a:gd name="connsiteY287" fmla="*/ 82380 h 479077"/>
                <a:gd name="connsiteX288" fmla="*/ 405366 w 3785642"/>
                <a:gd name="connsiteY288" fmla="*/ 70475 h 479077"/>
                <a:gd name="connsiteX289" fmla="*/ 417272 w 3785642"/>
                <a:gd name="connsiteY289" fmla="*/ 59561 h 479077"/>
                <a:gd name="connsiteX290" fmla="*/ 429674 w 3785642"/>
                <a:gd name="connsiteY290" fmla="*/ 48647 h 479077"/>
                <a:gd name="connsiteX291" fmla="*/ 440092 w 3785642"/>
                <a:gd name="connsiteY291" fmla="*/ 35749 h 479077"/>
                <a:gd name="connsiteX292" fmla="*/ 452494 w 3785642"/>
                <a:gd name="connsiteY292" fmla="*/ 24835 h 479077"/>
                <a:gd name="connsiteX293" fmla="*/ 463904 w 3785642"/>
                <a:gd name="connsiteY293" fmla="*/ 12929 h 479077"/>
                <a:gd name="connsiteX294" fmla="*/ 475313 w 3785642"/>
                <a:gd name="connsiteY294" fmla="*/ 1024 h 479077"/>
                <a:gd name="connsiteX295" fmla="*/ 491684 w 3785642"/>
                <a:gd name="connsiteY295" fmla="*/ 2512 h 479077"/>
                <a:gd name="connsiteX296" fmla="*/ 508055 w 3785642"/>
                <a:gd name="connsiteY296" fmla="*/ 2512 h 479077"/>
                <a:gd name="connsiteX297" fmla="*/ 524425 w 3785642"/>
                <a:gd name="connsiteY297" fmla="*/ 2512 h 479077"/>
                <a:gd name="connsiteX298" fmla="*/ 540796 w 3785642"/>
                <a:gd name="connsiteY298" fmla="*/ 1024 h 479077"/>
                <a:gd name="connsiteX299" fmla="*/ 557166 w 3785642"/>
                <a:gd name="connsiteY299" fmla="*/ 2512 h 479077"/>
                <a:gd name="connsiteX300" fmla="*/ 573537 w 3785642"/>
                <a:gd name="connsiteY300" fmla="*/ 1024 h 479077"/>
                <a:gd name="connsiteX301" fmla="*/ 589908 w 3785642"/>
                <a:gd name="connsiteY301" fmla="*/ 527 h 479077"/>
                <a:gd name="connsiteX302" fmla="*/ 606278 w 3785642"/>
                <a:gd name="connsiteY302" fmla="*/ 1520 h 479077"/>
                <a:gd name="connsiteX303" fmla="*/ 622649 w 3785642"/>
                <a:gd name="connsiteY303" fmla="*/ 1520 h 479077"/>
                <a:gd name="connsiteX304" fmla="*/ 639019 w 3785642"/>
                <a:gd name="connsiteY304" fmla="*/ 2016 h 479077"/>
                <a:gd name="connsiteX305" fmla="*/ 655390 w 3785642"/>
                <a:gd name="connsiteY305" fmla="*/ 527 h 479077"/>
                <a:gd name="connsiteX306" fmla="*/ 671760 w 3785642"/>
                <a:gd name="connsiteY306" fmla="*/ 1520 h 479077"/>
                <a:gd name="connsiteX307" fmla="*/ 688131 w 3785642"/>
                <a:gd name="connsiteY307" fmla="*/ 2512 h 479077"/>
                <a:gd name="connsiteX308" fmla="*/ 704501 w 3785642"/>
                <a:gd name="connsiteY308" fmla="*/ 1024 h 479077"/>
                <a:gd name="connsiteX309" fmla="*/ 720872 w 3785642"/>
                <a:gd name="connsiteY309" fmla="*/ 1520 h 479077"/>
                <a:gd name="connsiteX310" fmla="*/ 737243 w 3785642"/>
                <a:gd name="connsiteY310" fmla="*/ 2016 h 479077"/>
                <a:gd name="connsiteX311" fmla="*/ 753613 w 3785642"/>
                <a:gd name="connsiteY311" fmla="*/ 1024 h 479077"/>
                <a:gd name="connsiteX312" fmla="*/ 769984 w 3785642"/>
                <a:gd name="connsiteY312" fmla="*/ 527 h 479077"/>
                <a:gd name="connsiteX313" fmla="*/ 786354 w 3785642"/>
                <a:gd name="connsiteY313" fmla="*/ 1520 h 479077"/>
                <a:gd name="connsiteX314" fmla="*/ 802725 w 3785642"/>
                <a:gd name="connsiteY314" fmla="*/ 527 h 479077"/>
                <a:gd name="connsiteX315" fmla="*/ 819096 w 3785642"/>
                <a:gd name="connsiteY315" fmla="*/ 2512 h 479077"/>
                <a:gd name="connsiteX316" fmla="*/ 835466 w 3785642"/>
                <a:gd name="connsiteY316" fmla="*/ 527 h 479077"/>
                <a:gd name="connsiteX317" fmla="*/ 851837 w 3785642"/>
                <a:gd name="connsiteY317" fmla="*/ 1520 h 479077"/>
                <a:gd name="connsiteX318" fmla="*/ 868207 w 3785642"/>
                <a:gd name="connsiteY318" fmla="*/ 2016 h 479077"/>
                <a:gd name="connsiteX319" fmla="*/ 884578 w 3785642"/>
                <a:gd name="connsiteY319" fmla="*/ 2512 h 479077"/>
                <a:gd name="connsiteX320" fmla="*/ 900948 w 3785642"/>
                <a:gd name="connsiteY320" fmla="*/ 1520 h 479077"/>
                <a:gd name="connsiteX321" fmla="*/ 917319 w 3785642"/>
                <a:gd name="connsiteY321" fmla="*/ 1024 h 479077"/>
                <a:gd name="connsiteX322" fmla="*/ 933689 w 3785642"/>
                <a:gd name="connsiteY322" fmla="*/ 2512 h 479077"/>
                <a:gd name="connsiteX323" fmla="*/ 950060 w 3785642"/>
                <a:gd name="connsiteY323" fmla="*/ 1520 h 479077"/>
                <a:gd name="connsiteX324" fmla="*/ 966431 w 3785642"/>
                <a:gd name="connsiteY324" fmla="*/ 2016 h 479077"/>
                <a:gd name="connsiteX325" fmla="*/ 982801 w 3785642"/>
                <a:gd name="connsiteY325" fmla="*/ 2512 h 479077"/>
                <a:gd name="connsiteX326" fmla="*/ 999172 w 3785642"/>
                <a:gd name="connsiteY326" fmla="*/ 1520 h 479077"/>
                <a:gd name="connsiteX327" fmla="*/ 1015542 w 3785642"/>
                <a:gd name="connsiteY327" fmla="*/ 2512 h 479077"/>
                <a:gd name="connsiteX328" fmla="*/ 1031913 w 3785642"/>
                <a:gd name="connsiteY328" fmla="*/ 1520 h 479077"/>
                <a:gd name="connsiteX329" fmla="*/ 1048283 w 3785642"/>
                <a:gd name="connsiteY329" fmla="*/ 2016 h 479077"/>
                <a:gd name="connsiteX330" fmla="*/ 1064654 w 3785642"/>
                <a:gd name="connsiteY330" fmla="*/ 3504 h 479077"/>
                <a:gd name="connsiteX331" fmla="*/ 1081025 w 3785642"/>
                <a:gd name="connsiteY331" fmla="*/ 2016 h 479077"/>
                <a:gd name="connsiteX332" fmla="*/ 1097395 w 3785642"/>
                <a:gd name="connsiteY332" fmla="*/ 2512 h 479077"/>
                <a:gd name="connsiteX333" fmla="*/ 1113766 w 3785642"/>
                <a:gd name="connsiteY333" fmla="*/ 2512 h 479077"/>
                <a:gd name="connsiteX334" fmla="*/ 1130136 w 3785642"/>
                <a:gd name="connsiteY334" fmla="*/ 3504 h 479077"/>
                <a:gd name="connsiteX335" fmla="*/ 1146507 w 3785642"/>
                <a:gd name="connsiteY335" fmla="*/ 1520 h 479077"/>
                <a:gd name="connsiteX336" fmla="*/ 1162878 w 3785642"/>
                <a:gd name="connsiteY336" fmla="*/ 3008 h 479077"/>
                <a:gd name="connsiteX337" fmla="*/ 1179248 w 3785642"/>
                <a:gd name="connsiteY337" fmla="*/ 4000 h 479077"/>
                <a:gd name="connsiteX338" fmla="*/ 1195619 w 3785642"/>
                <a:gd name="connsiteY338" fmla="*/ 3504 h 479077"/>
                <a:gd name="connsiteX339" fmla="*/ 1211989 w 3785642"/>
                <a:gd name="connsiteY339" fmla="*/ 1520 h 479077"/>
                <a:gd name="connsiteX340" fmla="*/ 1228360 w 3785642"/>
                <a:gd name="connsiteY340" fmla="*/ 3504 h 479077"/>
                <a:gd name="connsiteX341" fmla="*/ 1244730 w 3785642"/>
                <a:gd name="connsiteY341" fmla="*/ 1520 h 479077"/>
                <a:gd name="connsiteX342" fmla="*/ 1261101 w 3785642"/>
                <a:gd name="connsiteY342" fmla="*/ 2512 h 479077"/>
                <a:gd name="connsiteX343" fmla="*/ 1277471 w 3785642"/>
                <a:gd name="connsiteY343" fmla="*/ 3504 h 479077"/>
                <a:gd name="connsiteX344" fmla="*/ 1293842 w 3785642"/>
                <a:gd name="connsiteY344" fmla="*/ 4000 h 479077"/>
                <a:gd name="connsiteX345" fmla="*/ 1310213 w 3785642"/>
                <a:gd name="connsiteY345" fmla="*/ 1520 h 479077"/>
                <a:gd name="connsiteX346" fmla="*/ 1326583 w 3785642"/>
                <a:gd name="connsiteY346" fmla="*/ 2016 h 479077"/>
                <a:gd name="connsiteX347" fmla="*/ 1342954 w 3785642"/>
                <a:gd name="connsiteY347" fmla="*/ 3008 h 479077"/>
                <a:gd name="connsiteX348" fmla="*/ 1359324 w 3785642"/>
                <a:gd name="connsiteY348" fmla="*/ 3008 h 479077"/>
                <a:gd name="connsiteX349" fmla="*/ 1375695 w 3785642"/>
                <a:gd name="connsiteY349" fmla="*/ 2512 h 479077"/>
                <a:gd name="connsiteX350" fmla="*/ 1392066 w 3785642"/>
                <a:gd name="connsiteY350" fmla="*/ 2512 h 479077"/>
                <a:gd name="connsiteX351" fmla="*/ 1408436 w 3785642"/>
                <a:gd name="connsiteY351" fmla="*/ 3504 h 479077"/>
                <a:gd name="connsiteX352" fmla="*/ 1424807 w 3785642"/>
                <a:gd name="connsiteY352" fmla="*/ 3504 h 479077"/>
                <a:gd name="connsiteX353" fmla="*/ 1441177 w 3785642"/>
                <a:gd name="connsiteY353" fmla="*/ 1520 h 479077"/>
                <a:gd name="connsiteX354" fmla="*/ 1457548 w 3785642"/>
                <a:gd name="connsiteY354" fmla="*/ 2512 h 479077"/>
                <a:gd name="connsiteX355" fmla="*/ 1473919 w 3785642"/>
                <a:gd name="connsiteY355" fmla="*/ 2016 h 479077"/>
                <a:gd name="connsiteX356" fmla="*/ 1490289 w 3785642"/>
                <a:gd name="connsiteY356" fmla="*/ 2016 h 479077"/>
                <a:gd name="connsiteX357" fmla="*/ 1506660 w 3785642"/>
                <a:gd name="connsiteY357" fmla="*/ 1520 h 479077"/>
                <a:gd name="connsiteX358" fmla="*/ 1523030 w 3785642"/>
                <a:gd name="connsiteY358" fmla="*/ 3504 h 479077"/>
                <a:gd name="connsiteX359" fmla="*/ 1539401 w 3785642"/>
                <a:gd name="connsiteY359" fmla="*/ 3008 h 479077"/>
                <a:gd name="connsiteX360" fmla="*/ 1555771 w 3785642"/>
                <a:gd name="connsiteY360" fmla="*/ 3008 h 479077"/>
                <a:gd name="connsiteX361" fmla="*/ 1572142 w 3785642"/>
                <a:gd name="connsiteY361" fmla="*/ 2512 h 479077"/>
                <a:gd name="connsiteX362" fmla="*/ 1588512 w 3785642"/>
                <a:gd name="connsiteY362" fmla="*/ 2016 h 479077"/>
                <a:gd name="connsiteX363" fmla="*/ 1604883 w 3785642"/>
                <a:gd name="connsiteY363" fmla="*/ 3008 h 479077"/>
                <a:gd name="connsiteX364" fmla="*/ 1621253 w 3785642"/>
                <a:gd name="connsiteY364" fmla="*/ 3008 h 479077"/>
                <a:gd name="connsiteX365" fmla="*/ 1637624 w 3785642"/>
                <a:gd name="connsiteY36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59015 w 3785642"/>
                <a:gd name="connsiteY37" fmla="*/ 33269 h 479077"/>
                <a:gd name="connsiteX38" fmla="*/ 3313375 w 3785642"/>
                <a:gd name="connsiteY38" fmla="*/ 10945 h 479077"/>
                <a:gd name="connsiteX39" fmla="*/ 3300973 w 3785642"/>
                <a:gd name="connsiteY39" fmla="*/ 21363 h 479077"/>
                <a:gd name="connsiteX40" fmla="*/ 3289068 w 3785642"/>
                <a:gd name="connsiteY40" fmla="*/ 32276 h 479077"/>
                <a:gd name="connsiteX41" fmla="*/ 3277658 w 3785642"/>
                <a:gd name="connsiteY41" fmla="*/ 43686 h 479077"/>
                <a:gd name="connsiteX42" fmla="*/ 3266248 w 3785642"/>
                <a:gd name="connsiteY42" fmla="*/ 55592 h 479077"/>
                <a:gd name="connsiteX43" fmla="*/ 3255830 w 3785642"/>
                <a:gd name="connsiteY43" fmla="*/ 68490 h 479077"/>
                <a:gd name="connsiteX44" fmla="*/ 3243924 w 3785642"/>
                <a:gd name="connsiteY44" fmla="*/ 79900 h 479077"/>
                <a:gd name="connsiteX45" fmla="*/ 3231522 w 3785642"/>
                <a:gd name="connsiteY45" fmla="*/ 90814 h 479077"/>
                <a:gd name="connsiteX46" fmla="*/ 3220609 w 3785642"/>
                <a:gd name="connsiteY46" fmla="*/ 102720 h 479077"/>
                <a:gd name="connsiteX47" fmla="*/ 3208207 w 3785642"/>
                <a:gd name="connsiteY47" fmla="*/ 113137 h 479077"/>
                <a:gd name="connsiteX48" fmla="*/ 3197293 w 3785642"/>
                <a:gd name="connsiteY48" fmla="*/ 125043 h 479077"/>
                <a:gd name="connsiteX49" fmla="*/ 3185387 w 3785642"/>
                <a:gd name="connsiteY49" fmla="*/ 136453 h 479077"/>
                <a:gd name="connsiteX50" fmla="*/ 3174970 w 3785642"/>
                <a:gd name="connsiteY50" fmla="*/ 148855 h 479077"/>
                <a:gd name="connsiteX51" fmla="*/ 3162071 w 3785642"/>
                <a:gd name="connsiteY51" fmla="*/ 159272 h 479077"/>
                <a:gd name="connsiteX52" fmla="*/ 3151158 w 3785642"/>
                <a:gd name="connsiteY52" fmla="*/ 171674 h 479077"/>
                <a:gd name="connsiteX53" fmla="*/ 3139252 w 3785642"/>
                <a:gd name="connsiteY53" fmla="*/ 182588 h 479077"/>
                <a:gd name="connsiteX54" fmla="*/ 3127843 w 3785642"/>
                <a:gd name="connsiteY54" fmla="*/ 194494 h 479077"/>
                <a:gd name="connsiteX55" fmla="*/ 3116432 w 3785642"/>
                <a:gd name="connsiteY55" fmla="*/ 205904 h 479077"/>
                <a:gd name="connsiteX56" fmla="*/ 3105022 w 3785642"/>
                <a:gd name="connsiteY56" fmla="*/ 217810 h 479077"/>
                <a:gd name="connsiteX57" fmla="*/ 3093117 w 3785642"/>
                <a:gd name="connsiteY57" fmla="*/ 229219 h 479077"/>
                <a:gd name="connsiteX58" fmla="*/ 3081707 w 3785642"/>
                <a:gd name="connsiteY58" fmla="*/ 240629 h 479077"/>
                <a:gd name="connsiteX59" fmla="*/ 3069305 w 3785642"/>
                <a:gd name="connsiteY59" fmla="*/ 251543 h 479077"/>
                <a:gd name="connsiteX60" fmla="*/ 3057895 w 3785642"/>
                <a:gd name="connsiteY60" fmla="*/ 263449 h 479077"/>
                <a:gd name="connsiteX61" fmla="*/ 3046486 w 3785642"/>
                <a:gd name="connsiteY61" fmla="*/ 275355 h 479077"/>
                <a:gd name="connsiteX62" fmla="*/ 3035572 w 3785642"/>
                <a:gd name="connsiteY62" fmla="*/ 287260 h 479077"/>
                <a:gd name="connsiteX63" fmla="*/ 3024658 w 3785642"/>
                <a:gd name="connsiteY63" fmla="*/ 299166 h 479077"/>
                <a:gd name="connsiteX64" fmla="*/ 3013248 w 3785642"/>
                <a:gd name="connsiteY64" fmla="*/ 311072 h 479077"/>
                <a:gd name="connsiteX65" fmla="*/ 3000350 w 3785642"/>
                <a:gd name="connsiteY65" fmla="*/ 321490 h 479077"/>
                <a:gd name="connsiteX66" fmla="*/ 2988941 w 3785642"/>
                <a:gd name="connsiteY66" fmla="*/ 333396 h 479077"/>
                <a:gd name="connsiteX67" fmla="*/ 2976539 w 3785642"/>
                <a:gd name="connsiteY67" fmla="*/ 344309 h 479077"/>
                <a:gd name="connsiteX68" fmla="*/ 2965129 w 3785642"/>
                <a:gd name="connsiteY68" fmla="*/ 356215 h 479077"/>
                <a:gd name="connsiteX69" fmla="*/ 2953223 w 3785642"/>
                <a:gd name="connsiteY69" fmla="*/ 367625 h 479077"/>
                <a:gd name="connsiteX70" fmla="*/ 2941813 w 3785642"/>
                <a:gd name="connsiteY70" fmla="*/ 379531 h 479077"/>
                <a:gd name="connsiteX71" fmla="*/ 2931395 w 3785642"/>
                <a:gd name="connsiteY71" fmla="*/ 392429 h 479077"/>
                <a:gd name="connsiteX72" fmla="*/ 2918497 w 3785642"/>
                <a:gd name="connsiteY72" fmla="*/ 402847 h 479077"/>
                <a:gd name="connsiteX73" fmla="*/ 2907584 w 3785642"/>
                <a:gd name="connsiteY73" fmla="*/ 415249 h 479077"/>
                <a:gd name="connsiteX74" fmla="*/ 2896174 w 3785642"/>
                <a:gd name="connsiteY74" fmla="*/ 426658 h 479077"/>
                <a:gd name="connsiteX75" fmla="*/ 2884268 w 3785642"/>
                <a:gd name="connsiteY75" fmla="*/ 438068 h 479077"/>
                <a:gd name="connsiteX76" fmla="*/ 2873354 w 3785642"/>
                <a:gd name="connsiteY76" fmla="*/ 450470 h 479077"/>
                <a:gd name="connsiteX77" fmla="*/ 2860952 w 3785642"/>
                <a:gd name="connsiteY77" fmla="*/ 461384 h 479077"/>
                <a:gd name="connsiteX78" fmla="*/ 2850039 w 3785642"/>
                <a:gd name="connsiteY78" fmla="*/ 473786 h 479077"/>
                <a:gd name="connsiteX79" fmla="*/ 2833668 w 3785642"/>
                <a:gd name="connsiteY79" fmla="*/ 473786 h 479077"/>
                <a:gd name="connsiteX80" fmla="*/ 2817297 w 3785642"/>
                <a:gd name="connsiteY80" fmla="*/ 473290 h 479077"/>
                <a:gd name="connsiteX81" fmla="*/ 2800927 w 3785642"/>
                <a:gd name="connsiteY81" fmla="*/ 473290 h 479077"/>
                <a:gd name="connsiteX82" fmla="*/ 2784556 w 3785642"/>
                <a:gd name="connsiteY82" fmla="*/ 473786 h 479077"/>
                <a:gd name="connsiteX83" fmla="*/ 2768186 w 3785642"/>
                <a:gd name="connsiteY83" fmla="*/ 474282 h 479077"/>
                <a:gd name="connsiteX84" fmla="*/ 2751815 w 3785642"/>
                <a:gd name="connsiteY84" fmla="*/ 474282 h 479077"/>
                <a:gd name="connsiteX85" fmla="*/ 2735444 w 3785642"/>
                <a:gd name="connsiteY85" fmla="*/ 473290 h 479077"/>
                <a:gd name="connsiteX86" fmla="*/ 2719074 w 3785642"/>
                <a:gd name="connsiteY86" fmla="*/ 474282 h 479077"/>
                <a:gd name="connsiteX87" fmla="*/ 2702703 w 3785642"/>
                <a:gd name="connsiteY87" fmla="*/ 472298 h 479077"/>
                <a:gd name="connsiteX88" fmla="*/ 2686333 w 3785642"/>
                <a:gd name="connsiteY88" fmla="*/ 472794 h 479077"/>
                <a:gd name="connsiteX89" fmla="*/ 2669962 w 3785642"/>
                <a:gd name="connsiteY89" fmla="*/ 474282 h 479077"/>
                <a:gd name="connsiteX90" fmla="*/ 2653592 w 3785642"/>
                <a:gd name="connsiteY90" fmla="*/ 472298 h 479077"/>
                <a:gd name="connsiteX91" fmla="*/ 2637221 w 3785642"/>
                <a:gd name="connsiteY91" fmla="*/ 474282 h 479077"/>
                <a:gd name="connsiteX92" fmla="*/ 2620851 w 3785642"/>
                <a:gd name="connsiteY92" fmla="*/ 474282 h 479077"/>
                <a:gd name="connsiteX93" fmla="*/ 2604480 w 3785642"/>
                <a:gd name="connsiteY93" fmla="*/ 472298 h 479077"/>
                <a:gd name="connsiteX94" fmla="*/ 2588109 w 3785642"/>
                <a:gd name="connsiteY94" fmla="*/ 473786 h 479077"/>
                <a:gd name="connsiteX95" fmla="*/ 2571739 w 3785642"/>
                <a:gd name="connsiteY95" fmla="*/ 472298 h 479077"/>
                <a:gd name="connsiteX96" fmla="*/ 2555368 w 3785642"/>
                <a:gd name="connsiteY96" fmla="*/ 473290 h 479077"/>
                <a:gd name="connsiteX97" fmla="*/ 2538998 w 3785642"/>
                <a:gd name="connsiteY97" fmla="*/ 474282 h 479077"/>
                <a:gd name="connsiteX98" fmla="*/ 2522627 w 3785642"/>
                <a:gd name="connsiteY98" fmla="*/ 473290 h 479077"/>
                <a:gd name="connsiteX99" fmla="*/ 2506257 w 3785642"/>
                <a:gd name="connsiteY99" fmla="*/ 474282 h 479077"/>
                <a:gd name="connsiteX100" fmla="*/ 2489886 w 3785642"/>
                <a:gd name="connsiteY100" fmla="*/ 473786 h 479077"/>
                <a:gd name="connsiteX101" fmla="*/ 2473516 w 3785642"/>
                <a:gd name="connsiteY101" fmla="*/ 474282 h 479077"/>
                <a:gd name="connsiteX102" fmla="*/ 2457145 w 3785642"/>
                <a:gd name="connsiteY102" fmla="*/ 472794 h 479077"/>
                <a:gd name="connsiteX103" fmla="*/ 2440775 w 3785642"/>
                <a:gd name="connsiteY103" fmla="*/ 472298 h 479077"/>
                <a:gd name="connsiteX104" fmla="*/ 2424404 w 3785642"/>
                <a:gd name="connsiteY104" fmla="*/ 473786 h 479077"/>
                <a:gd name="connsiteX105" fmla="*/ 2408033 w 3785642"/>
                <a:gd name="connsiteY105" fmla="*/ 472794 h 479077"/>
                <a:gd name="connsiteX106" fmla="*/ 2391663 w 3785642"/>
                <a:gd name="connsiteY106" fmla="*/ 473290 h 479077"/>
                <a:gd name="connsiteX107" fmla="*/ 2375292 w 3785642"/>
                <a:gd name="connsiteY107" fmla="*/ 473290 h 479077"/>
                <a:gd name="connsiteX108" fmla="*/ 2358922 w 3785642"/>
                <a:gd name="connsiteY108" fmla="*/ 472794 h 479077"/>
                <a:gd name="connsiteX109" fmla="*/ 2342551 w 3785642"/>
                <a:gd name="connsiteY109" fmla="*/ 472298 h 479077"/>
                <a:gd name="connsiteX110" fmla="*/ 2326180 w 3785642"/>
                <a:gd name="connsiteY110" fmla="*/ 473786 h 479077"/>
                <a:gd name="connsiteX111" fmla="*/ 2309810 w 3785642"/>
                <a:gd name="connsiteY111" fmla="*/ 473786 h 479077"/>
                <a:gd name="connsiteX112" fmla="*/ 2293439 w 3785642"/>
                <a:gd name="connsiteY112" fmla="*/ 473786 h 479077"/>
                <a:gd name="connsiteX113" fmla="*/ 2277069 w 3785642"/>
                <a:gd name="connsiteY113" fmla="*/ 472794 h 479077"/>
                <a:gd name="connsiteX114" fmla="*/ 2260698 w 3785642"/>
                <a:gd name="connsiteY114" fmla="*/ 474282 h 479077"/>
                <a:gd name="connsiteX115" fmla="*/ 2244327 w 3785642"/>
                <a:gd name="connsiteY115" fmla="*/ 472298 h 479077"/>
                <a:gd name="connsiteX116" fmla="*/ 2227957 w 3785642"/>
                <a:gd name="connsiteY116" fmla="*/ 474282 h 479077"/>
                <a:gd name="connsiteX117" fmla="*/ 2211586 w 3785642"/>
                <a:gd name="connsiteY117" fmla="*/ 473290 h 479077"/>
                <a:gd name="connsiteX118" fmla="*/ 2195216 w 3785642"/>
                <a:gd name="connsiteY118" fmla="*/ 474282 h 479077"/>
                <a:gd name="connsiteX119" fmla="*/ 2178845 w 3785642"/>
                <a:gd name="connsiteY119" fmla="*/ 472794 h 479077"/>
                <a:gd name="connsiteX120" fmla="*/ 2162474 w 3785642"/>
                <a:gd name="connsiteY120" fmla="*/ 474778 h 479077"/>
                <a:gd name="connsiteX121" fmla="*/ 2146104 w 3785642"/>
                <a:gd name="connsiteY121" fmla="*/ 473290 h 479077"/>
                <a:gd name="connsiteX122" fmla="*/ 2129733 w 3785642"/>
                <a:gd name="connsiteY122" fmla="*/ 474778 h 479077"/>
                <a:gd name="connsiteX123" fmla="*/ 2113363 w 3785642"/>
                <a:gd name="connsiteY123" fmla="*/ 474778 h 479077"/>
                <a:gd name="connsiteX124" fmla="*/ 2096992 w 3785642"/>
                <a:gd name="connsiteY124" fmla="*/ 474778 h 479077"/>
                <a:gd name="connsiteX125" fmla="*/ 2080621 w 3785642"/>
                <a:gd name="connsiteY125" fmla="*/ 474282 h 479077"/>
                <a:gd name="connsiteX126" fmla="*/ 2064251 w 3785642"/>
                <a:gd name="connsiteY126" fmla="*/ 472794 h 479077"/>
                <a:gd name="connsiteX127" fmla="*/ 2047880 w 3785642"/>
                <a:gd name="connsiteY127" fmla="*/ 474778 h 479077"/>
                <a:gd name="connsiteX128" fmla="*/ 2031510 w 3785642"/>
                <a:gd name="connsiteY128" fmla="*/ 474778 h 479077"/>
                <a:gd name="connsiteX129" fmla="*/ 2015139 w 3785642"/>
                <a:gd name="connsiteY129" fmla="*/ 474778 h 479077"/>
                <a:gd name="connsiteX130" fmla="*/ 1998769 w 3785642"/>
                <a:gd name="connsiteY130" fmla="*/ 474282 h 479077"/>
                <a:gd name="connsiteX131" fmla="*/ 1982398 w 3785642"/>
                <a:gd name="connsiteY131" fmla="*/ 473786 h 479077"/>
                <a:gd name="connsiteX132" fmla="*/ 1966028 w 3785642"/>
                <a:gd name="connsiteY132" fmla="*/ 473786 h 479077"/>
                <a:gd name="connsiteX133" fmla="*/ 1949657 w 3785642"/>
                <a:gd name="connsiteY133" fmla="*/ 472794 h 479077"/>
                <a:gd name="connsiteX134" fmla="*/ 1933287 w 3785642"/>
                <a:gd name="connsiteY134" fmla="*/ 473290 h 479077"/>
                <a:gd name="connsiteX135" fmla="*/ 1916916 w 3785642"/>
                <a:gd name="connsiteY135" fmla="*/ 474778 h 479077"/>
                <a:gd name="connsiteX136" fmla="*/ 1900546 w 3785642"/>
                <a:gd name="connsiteY136" fmla="*/ 472794 h 479077"/>
                <a:gd name="connsiteX137" fmla="*/ 1884175 w 3785642"/>
                <a:gd name="connsiteY137" fmla="*/ 473786 h 479077"/>
                <a:gd name="connsiteX138" fmla="*/ 1867804 w 3785642"/>
                <a:gd name="connsiteY138" fmla="*/ 474778 h 479077"/>
                <a:gd name="connsiteX139" fmla="*/ 1851434 w 3785642"/>
                <a:gd name="connsiteY139" fmla="*/ 474778 h 479077"/>
                <a:gd name="connsiteX140" fmla="*/ 1835063 w 3785642"/>
                <a:gd name="connsiteY140" fmla="*/ 474778 h 479077"/>
                <a:gd name="connsiteX141" fmla="*/ 1818693 w 3785642"/>
                <a:gd name="connsiteY141" fmla="*/ 474282 h 479077"/>
                <a:gd name="connsiteX142" fmla="*/ 1802322 w 3785642"/>
                <a:gd name="connsiteY142" fmla="*/ 472794 h 479077"/>
                <a:gd name="connsiteX143" fmla="*/ 1785951 w 3785642"/>
                <a:gd name="connsiteY143" fmla="*/ 473786 h 479077"/>
                <a:gd name="connsiteX144" fmla="*/ 1769581 w 3785642"/>
                <a:gd name="connsiteY144" fmla="*/ 473290 h 479077"/>
                <a:gd name="connsiteX145" fmla="*/ 1753210 w 3785642"/>
                <a:gd name="connsiteY145" fmla="*/ 472298 h 479077"/>
                <a:gd name="connsiteX146" fmla="*/ 1736840 w 3785642"/>
                <a:gd name="connsiteY146" fmla="*/ 473290 h 479077"/>
                <a:gd name="connsiteX147" fmla="*/ 1720469 w 3785642"/>
                <a:gd name="connsiteY147" fmla="*/ 474778 h 479077"/>
                <a:gd name="connsiteX148" fmla="*/ 1704098 w 3785642"/>
                <a:gd name="connsiteY148" fmla="*/ 472794 h 479077"/>
                <a:gd name="connsiteX149" fmla="*/ 1687728 w 3785642"/>
                <a:gd name="connsiteY149" fmla="*/ 474778 h 479077"/>
                <a:gd name="connsiteX150" fmla="*/ 1671357 w 3785642"/>
                <a:gd name="connsiteY150" fmla="*/ 474778 h 479077"/>
                <a:gd name="connsiteX151" fmla="*/ 1654987 w 3785642"/>
                <a:gd name="connsiteY151" fmla="*/ 472298 h 479077"/>
                <a:gd name="connsiteX152" fmla="*/ 1638616 w 3785642"/>
                <a:gd name="connsiteY152" fmla="*/ 472794 h 479077"/>
                <a:gd name="connsiteX153" fmla="*/ 1622246 w 3785642"/>
                <a:gd name="connsiteY153" fmla="*/ 473786 h 479077"/>
                <a:gd name="connsiteX154" fmla="*/ 1605875 w 3785642"/>
                <a:gd name="connsiteY154" fmla="*/ 474778 h 479077"/>
                <a:gd name="connsiteX155" fmla="*/ 1589505 w 3785642"/>
                <a:gd name="connsiteY155" fmla="*/ 473290 h 479077"/>
                <a:gd name="connsiteX156" fmla="*/ 1573134 w 3785642"/>
                <a:gd name="connsiteY156" fmla="*/ 474778 h 479077"/>
                <a:gd name="connsiteX157" fmla="*/ 1556763 w 3785642"/>
                <a:gd name="connsiteY157" fmla="*/ 472794 h 479077"/>
                <a:gd name="connsiteX158" fmla="*/ 1540393 w 3785642"/>
                <a:gd name="connsiteY158" fmla="*/ 472794 h 479077"/>
                <a:gd name="connsiteX159" fmla="*/ 1524022 w 3785642"/>
                <a:gd name="connsiteY159" fmla="*/ 474282 h 479077"/>
                <a:gd name="connsiteX160" fmla="*/ 1507652 w 3785642"/>
                <a:gd name="connsiteY160" fmla="*/ 472794 h 479077"/>
                <a:gd name="connsiteX161" fmla="*/ 1491281 w 3785642"/>
                <a:gd name="connsiteY161" fmla="*/ 474282 h 479077"/>
                <a:gd name="connsiteX162" fmla="*/ 1474910 w 3785642"/>
                <a:gd name="connsiteY162" fmla="*/ 474282 h 479077"/>
                <a:gd name="connsiteX163" fmla="*/ 1458540 w 3785642"/>
                <a:gd name="connsiteY163" fmla="*/ 472794 h 479077"/>
                <a:gd name="connsiteX164" fmla="*/ 1442169 w 3785642"/>
                <a:gd name="connsiteY164" fmla="*/ 471802 h 479077"/>
                <a:gd name="connsiteX165" fmla="*/ 1425799 w 3785642"/>
                <a:gd name="connsiteY165" fmla="*/ 472298 h 479077"/>
                <a:gd name="connsiteX166" fmla="*/ 1409428 w 3785642"/>
                <a:gd name="connsiteY166" fmla="*/ 472794 h 479077"/>
                <a:gd name="connsiteX167" fmla="*/ 1393058 w 3785642"/>
                <a:gd name="connsiteY167" fmla="*/ 473786 h 479077"/>
                <a:gd name="connsiteX168" fmla="*/ 1376687 w 3785642"/>
                <a:gd name="connsiteY168" fmla="*/ 471802 h 479077"/>
                <a:gd name="connsiteX169" fmla="*/ 1360317 w 3785642"/>
                <a:gd name="connsiteY169" fmla="*/ 473786 h 479077"/>
                <a:gd name="connsiteX170" fmla="*/ 1343946 w 3785642"/>
                <a:gd name="connsiteY170" fmla="*/ 473786 h 479077"/>
                <a:gd name="connsiteX171" fmla="*/ 1327576 w 3785642"/>
                <a:gd name="connsiteY171" fmla="*/ 472794 h 479077"/>
                <a:gd name="connsiteX172" fmla="*/ 1311205 w 3785642"/>
                <a:gd name="connsiteY172" fmla="*/ 473786 h 479077"/>
                <a:gd name="connsiteX173" fmla="*/ 1294834 w 3785642"/>
                <a:gd name="connsiteY173" fmla="*/ 473786 h 479077"/>
                <a:gd name="connsiteX174" fmla="*/ 1278464 w 3785642"/>
                <a:gd name="connsiteY174" fmla="*/ 473786 h 479077"/>
                <a:gd name="connsiteX175" fmla="*/ 1262093 w 3785642"/>
                <a:gd name="connsiteY175" fmla="*/ 473786 h 479077"/>
                <a:gd name="connsiteX176" fmla="*/ 1245723 w 3785642"/>
                <a:gd name="connsiteY176" fmla="*/ 473290 h 479077"/>
                <a:gd name="connsiteX177" fmla="*/ 1229352 w 3785642"/>
                <a:gd name="connsiteY177" fmla="*/ 472794 h 479077"/>
                <a:gd name="connsiteX178" fmla="*/ 1212981 w 3785642"/>
                <a:gd name="connsiteY178" fmla="*/ 473786 h 479077"/>
                <a:gd name="connsiteX179" fmla="*/ 1196611 w 3785642"/>
                <a:gd name="connsiteY179" fmla="*/ 472298 h 479077"/>
                <a:gd name="connsiteX180" fmla="*/ 1180240 w 3785642"/>
                <a:gd name="connsiteY180" fmla="*/ 472794 h 479077"/>
                <a:gd name="connsiteX181" fmla="*/ 1163870 w 3785642"/>
                <a:gd name="connsiteY181" fmla="*/ 472794 h 479077"/>
                <a:gd name="connsiteX182" fmla="*/ 1147499 w 3785642"/>
                <a:gd name="connsiteY182" fmla="*/ 473786 h 479077"/>
                <a:gd name="connsiteX183" fmla="*/ 1131128 w 3785642"/>
                <a:gd name="connsiteY183" fmla="*/ 473786 h 479077"/>
                <a:gd name="connsiteX184" fmla="*/ 1114758 w 3785642"/>
                <a:gd name="connsiteY184" fmla="*/ 472794 h 479077"/>
                <a:gd name="connsiteX185" fmla="*/ 1098387 w 3785642"/>
                <a:gd name="connsiteY185" fmla="*/ 473786 h 479077"/>
                <a:gd name="connsiteX186" fmla="*/ 1082017 w 3785642"/>
                <a:gd name="connsiteY186" fmla="*/ 474778 h 479077"/>
                <a:gd name="connsiteX187" fmla="*/ 1065646 w 3785642"/>
                <a:gd name="connsiteY187" fmla="*/ 474778 h 479077"/>
                <a:gd name="connsiteX188" fmla="*/ 1049276 w 3785642"/>
                <a:gd name="connsiteY188" fmla="*/ 474282 h 479077"/>
                <a:gd name="connsiteX189" fmla="*/ 1032905 w 3785642"/>
                <a:gd name="connsiteY189" fmla="*/ 473290 h 479077"/>
                <a:gd name="connsiteX190" fmla="*/ 1016535 w 3785642"/>
                <a:gd name="connsiteY190" fmla="*/ 474282 h 479077"/>
                <a:gd name="connsiteX191" fmla="*/ 1000164 w 3785642"/>
                <a:gd name="connsiteY191" fmla="*/ 474282 h 479077"/>
                <a:gd name="connsiteX192" fmla="*/ 983793 w 3785642"/>
                <a:gd name="connsiteY192" fmla="*/ 472794 h 479077"/>
                <a:gd name="connsiteX193" fmla="*/ 967423 w 3785642"/>
                <a:gd name="connsiteY193" fmla="*/ 472794 h 479077"/>
                <a:gd name="connsiteX194" fmla="*/ 951052 w 3785642"/>
                <a:gd name="connsiteY194" fmla="*/ 473786 h 479077"/>
                <a:gd name="connsiteX195" fmla="*/ 934682 w 3785642"/>
                <a:gd name="connsiteY195" fmla="*/ 474282 h 479077"/>
                <a:gd name="connsiteX196" fmla="*/ 918311 w 3785642"/>
                <a:gd name="connsiteY196" fmla="*/ 474778 h 479077"/>
                <a:gd name="connsiteX197" fmla="*/ 901940 w 3785642"/>
                <a:gd name="connsiteY197" fmla="*/ 473290 h 479077"/>
                <a:gd name="connsiteX198" fmla="*/ 885570 w 3785642"/>
                <a:gd name="connsiteY198" fmla="*/ 474778 h 479077"/>
                <a:gd name="connsiteX199" fmla="*/ 869199 w 3785642"/>
                <a:gd name="connsiteY199" fmla="*/ 474282 h 479077"/>
                <a:gd name="connsiteX200" fmla="*/ 852829 w 3785642"/>
                <a:gd name="connsiteY200" fmla="*/ 473786 h 479077"/>
                <a:gd name="connsiteX201" fmla="*/ 836458 w 3785642"/>
                <a:gd name="connsiteY201" fmla="*/ 474778 h 479077"/>
                <a:gd name="connsiteX202" fmla="*/ 820088 w 3785642"/>
                <a:gd name="connsiteY202" fmla="*/ 475274 h 479077"/>
                <a:gd name="connsiteX203" fmla="*/ 803717 w 3785642"/>
                <a:gd name="connsiteY203" fmla="*/ 473786 h 479077"/>
                <a:gd name="connsiteX204" fmla="*/ 787347 w 3785642"/>
                <a:gd name="connsiteY204" fmla="*/ 475770 h 479077"/>
                <a:gd name="connsiteX205" fmla="*/ 770976 w 3785642"/>
                <a:gd name="connsiteY205" fmla="*/ 474778 h 479077"/>
                <a:gd name="connsiteX206" fmla="*/ 754605 w 3785642"/>
                <a:gd name="connsiteY206" fmla="*/ 475274 h 479077"/>
                <a:gd name="connsiteX207" fmla="*/ 738235 w 3785642"/>
                <a:gd name="connsiteY207" fmla="*/ 473786 h 479077"/>
                <a:gd name="connsiteX208" fmla="*/ 721864 w 3785642"/>
                <a:gd name="connsiteY208" fmla="*/ 475274 h 479077"/>
                <a:gd name="connsiteX209" fmla="*/ 705494 w 3785642"/>
                <a:gd name="connsiteY209" fmla="*/ 475770 h 479077"/>
                <a:gd name="connsiteX210" fmla="*/ 689123 w 3785642"/>
                <a:gd name="connsiteY210" fmla="*/ 474282 h 479077"/>
                <a:gd name="connsiteX211" fmla="*/ 672753 w 3785642"/>
                <a:gd name="connsiteY211" fmla="*/ 475274 h 479077"/>
                <a:gd name="connsiteX212" fmla="*/ 656382 w 3785642"/>
                <a:gd name="connsiteY212" fmla="*/ 474778 h 479077"/>
                <a:gd name="connsiteX213" fmla="*/ 640011 w 3785642"/>
                <a:gd name="connsiteY213" fmla="*/ 475770 h 479077"/>
                <a:gd name="connsiteX214" fmla="*/ 623641 w 3785642"/>
                <a:gd name="connsiteY214" fmla="*/ 473786 h 479077"/>
                <a:gd name="connsiteX215" fmla="*/ 607270 w 3785642"/>
                <a:gd name="connsiteY215" fmla="*/ 474778 h 479077"/>
                <a:gd name="connsiteX216" fmla="*/ 590900 w 3785642"/>
                <a:gd name="connsiteY216" fmla="*/ 475274 h 479077"/>
                <a:gd name="connsiteX217" fmla="*/ 574529 w 3785642"/>
                <a:gd name="connsiteY217" fmla="*/ 474282 h 479077"/>
                <a:gd name="connsiteX218" fmla="*/ 558158 w 3785642"/>
                <a:gd name="connsiteY218" fmla="*/ 475274 h 479077"/>
                <a:gd name="connsiteX219" fmla="*/ 541788 w 3785642"/>
                <a:gd name="connsiteY219" fmla="*/ 475770 h 479077"/>
                <a:gd name="connsiteX220" fmla="*/ 525417 w 3785642"/>
                <a:gd name="connsiteY220" fmla="*/ 474282 h 479077"/>
                <a:gd name="connsiteX221" fmla="*/ 509047 w 3785642"/>
                <a:gd name="connsiteY221" fmla="*/ 473786 h 479077"/>
                <a:gd name="connsiteX222" fmla="*/ 492676 w 3785642"/>
                <a:gd name="connsiteY222" fmla="*/ 473786 h 479077"/>
                <a:gd name="connsiteX223" fmla="*/ 476306 w 3785642"/>
                <a:gd name="connsiteY223" fmla="*/ 474778 h 479077"/>
                <a:gd name="connsiteX224" fmla="*/ 459935 w 3785642"/>
                <a:gd name="connsiteY224" fmla="*/ 473786 h 479077"/>
                <a:gd name="connsiteX225" fmla="*/ 443565 w 3785642"/>
                <a:gd name="connsiteY225" fmla="*/ 474778 h 479077"/>
                <a:gd name="connsiteX226" fmla="*/ 427194 w 3785642"/>
                <a:gd name="connsiteY226" fmla="*/ 474282 h 479077"/>
                <a:gd name="connsiteX227" fmla="*/ 410823 w 3785642"/>
                <a:gd name="connsiteY227" fmla="*/ 473290 h 479077"/>
                <a:gd name="connsiteX228" fmla="*/ 394453 w 3785642"/>
                <a:gd name="connsiteY228" fmla="*/ 475770 h 479077"/>
                <a:gd name="connsiteX229" fmla="*/ 378082 w 3785642"/>
                <a:gd name="connsiteY229" fmla="*/ 475274 h 479077"/>
                <a:gd name="connsiteX230" fmla="*/ 361712 w 3785642"/>
                <a:gd name="connsiteY230" fmla="*/ 474778 h 479077"/>
                <a:gd name="connsiteX231" fmla="*/ 345341 w 3785642"/>
                <a:gd name="connsiteY231" fmla="*/ 476266 h 479077"/>
                <a:gd name="connsiteX232" fmla="*/ 328970 w 3785642"/>
                <a:gd name="connsiteY232" fmla="*/ 474282 h 479077"/>
                <a:gd name="connsiteX233" fmla="*/ 312600 w 3785642"/>
                <a:gd name="connsiteY233" fmla="*/ 475274 h 479077"/>
                <a:gd name="connsiteX234" fmla="*/ 296229 w 3785642"/>
                <a:gd name="connsiteY234" fmla="*/ 474282 h 479077"/>
                <a:gd name="connsiteX235" fmla="*/ 279859 w 3785642"/>
                <a:gd name="connsiteY235" fmla="*/ 475770 h 479077"/>
                <a:gd name="connsiteX236" fmla="*/ 263488 w 3785642"/>
                <a:gd name="connsiteY236" fmla="*/ 476266 h 479077"/>
                <a:gd name="connsiteX237" fmla="*/ 247118 w 3785642"/>
                <a:gd name="connsiteY237" fmla="*/ 476266 h 479077"/>
                <a:gd name="connsiteX238" fmla="*/ 230747 w 3785642"/>
                <a:gd name="connsiteY238" fmla="*/ 474778 h 479077"/>
                <a:gd name="connsiteX239" fmla="*/ 214376 w 3785642"/>
                <a:gd name="connsiteY239" fmla="*/ 474778 h 479077"/>
                <a:gd name="connsiteX240" fmla="*/ 198006 w 3785642"/>
                <a:gd name="connsiteY240" fmla="*/ 476762 h 479077"/>
                <a:gd name="connsiteX241" fmla="*/ 181635 w 3785642"/>
                <a:gd name="connsiteY241" fmla="*/ 476266 h 479077"/>
                <a:gd name="connsiteX242" fmla="*/ 165265 w 3785642"/>
                <a:gd name="connsiteY242" fmla="*/ 474778 h 479077"/>
                <a:gd name="connsiteX243" fmla="*/ 148894 w 3785642"/>
                <a:gd name="connsiteY243" fmla="*/ 476762 h 479077"/>
                <a:gd name="connsiteX244" fmla="*/ 132524 w 3785642"/>
                <a:gd name="connsiteY244" fmla="*/ 476266 h 479077"/>
                <a:gd name="connsiteX245" fmla="*/ 116153 w 3785642"/>
                <a:gd name="connsiteY245" fmla="*/ 475274 h 479077"/>
                <a:gd name="connsiteX246" fmla="*/ 99783 w 3785642"/>
                <a:gd name="connsiteY246" fmla="*/ 475274 h 479077"/>
                <a:gd name="connsiteX247" fmla="*/ 83412 w 3785642"/>
                <a:gd name="connsiteY247" fmla="*/ 475274 h 479077"/>
                <a:gd name="connsiteX248" fmla="*/ 67041 w 3785642"/>
                <a:gd name="connsiteY248" fmla="*/ 474778 h 479077"/>
                <a:gd name="connsiteX249" fmla="*/ 50671 w 3785642"/>
                <a:gd name="connsiteY249" fmla="*/ 475274 h 479077"/>
                <a:gd name="connsiteX250" fmla="*/ 34300 w 3785642"/>
                <a:gd name="connsiteY250" fmla="*/ 475274 h 479077"/>
                <a:gd name="connsiteX251" fmla="*/ 17930 w 3785642"/>
                <a:gd name="connsiteY251" fmla="*/ 475770 h 479077"/>
                <a:gd name="connsiteX252" fmla="*/ 567 w 3785642"/>
                <a:gd name="connsiteY252" fmla="*/ 475770 h 479077"/>
                <a:gd name="connsiteX253" fmla="*/ 12969 w 3785642"/>
                <a:gd name="connsiteY253" fmla="*/ 463368 h 479077"/>
                <a:gd name="connsiteX254" fmla="*/ 24379 w 3785642"/>
                <a:gd name="connsiteY254" fmla="*/ 451958 h 479077"/>
                <a:gd name="connsiteX255" fmla="*/ 35788 w 3785642"/>
                <a:gd name="connsiteY255" fmla="*/ 440053 h 479077"/>
                <a:gd name="connsiteX256" fmla="*/ 48686 w 3785642"/>
                <a:gd name="connsiteY256" fmla="*/ 430131 h 479077"/>
                <a:gd name="connsiteX257" fmla="*/ 59600 w 3785642"/>
                <a:gd name="connsiteY257" fmla="*/ 418225 h 479077"/>
                <a:gd name="connsiteX258" fmla="*/ 70514 w 3785642"/>
                <a:gd name="connsiteY258" fmla="*/ 405823 h 479077"/>
                <a:gd name="connsiteX259" fmla="*/ 83412 w 3785642"/>
                <a:gd name="connsiteY259" fmla="*/ 395406 h 479077"/>
                <a:gd name="connsiteX260" fmla="*/ 94822 w 3785642"/>
                <a:gd name="connsiteY260" fmla="*/ 383500 h 479077"/>
                <a:gd name="connsiteX261" fmla="*/ 106728 w 3785642"/>
                <a:gd name="connsiteY261" fmla="*/ 372090 h 479077"/>
                <a:gd name="connsiteX262" fmla="*/ 117145 w 3785642"/>
                <a:gd name="connsiteY262" fmla="*/ 359688 h 479077"/>
                <a:gd name="connsiteX263" fmla="*/ 128555 w 3785642"/>
                <a:gd name="connsiteY263" fmla="*/ 348278 h 479077"/>
                <a:gd name="connsiteX264" fmla="*/ 140461 w 3785642"/>
                <a:gd name="connsiteY264" fmla="*/ 336868 h 479077"/>
                <a:gd name="connsiteX265" fmla="*/ 152863 w 3785642"/>
                <a:gd name="connsiteY265" fmla="*/ 326451 h 479077"/>
                <a:gd name="connsiteX266" fmla="*/ 164769 w 3785642"/>
                <a:gd name="connsiteY266" fmla="*/ 315041 h 479077"/>
                <a:gd name="connsiteX267" fmla="*/ 176178 w 3785642"/>
                <a:gd name="connsiteY267" fmla="*/ 303135 h 479077"/>
                <a:gd name="connsiteX268" fmla="*/ 188084 w 3785642"/>
                <a:gd name="connsiteY268" fmla="*/ 291725 h 479077"/>
                <a:gd name="connsiteX269" fmla="*/ 199494 w 3785642"/>
                <a:gd name="connsiteY269" fmla="*/ 280315 h 479077"/>
                <a:gd name="connsiteX270" fmla="*/ 210904 w 3785642"/>
                <a:gd name="connsiteY270" fmla="*/ 268906 h 479077"/>
                <a:gd name="connsiteX271" fmla="*/ 221818 w 3785642"/>
                <a:gd name="connsiteY271" fmla="*/ 256504 h 479077"/>
                <a:gd name="connsiteX272" fmla="*/ 233724 w 3785642"/>
                <a:gd name="connsiteY272" fmla="*/ 245094 h 479077"/>
                <a:gd name="connsiteX273" fmla="*/ 244141 w 3785642"/>
                <a:gd name="connsiteY273" fmla="*/ 232692 h 479077"/>
                <a:gd name="connsiteX274" fmla="*/ 257039 w 3785642"/>
                <a:gd name="connsiteY274" fmla="*/ 222770 h 479077"/>
                <a:gd name="connsiteX275" fmla="*/ 266961 w 3785642"/>
                <a:gd name="connsiteY275" fmla="*/ 209376 h 479077"/>
                <a:gd name="connsiteX276" fmla="*/ 278371 w 3785642"/>
                <a:gd name="connsiteY276" fmla="*/ 197966 h 479077"/>
                <a:gd name="connsiteX277" fmla="*/ 291269 w 3785642"/>
                <a:gd name="connsiteY277" fmla="*/ 188045 h 479077"/>
                <a:gd name="connsiteX278" fmla="*/ 301686 w 3785642"/>
                <a:gd name="connsiteY278" fmla="*/ 175147 h 479077"/>
                <a:gd name="connsiteX279" fmla="*/ 313592 w 3785642"/>
                <a:gd name="connsiteY279" fmla="*/ 163737 h 479077"/>
                <a:gd name="connsiteX280" fmla="*/ 325994 w 3785642"/>
                <a:gd name="connsiteY280" fmla="*/ 153319 h 479077"/>
                <a:gd name="connsiteX281" fmla="*/ 337404 w 3785642"/>
                <a:gd name="connsiteY281" fmla="*/ 141910 h 479077"/>
                <a:gd name="connsiteX282" fmla="*/ 347325 w 3785642"/>
                <a:gd name="connsiteY282" fmla="*/ 129012 h 479077"/>
                <a:gd name="connsiteX283" fmla="*/ 360224 w 3785642"/>
                <a:gd name="connsiteY283" fmla="*/ 118594 h 479077"/>
                <a:gd name="connsiteX284" fmla="*/ 371137 w 3785642"/>
                <a:gd name="connsiteY284" fmla="*/ 106192 h 479077"/>
                <a:gd name="connsiteX285" fmla="*/ 382051 w 3785642"/>
                <a:gd name="connsiteY285" fmla="*/ 93790 h 479077"/>
                <a:gd name="connsiteX286" fmla="*/ 393957 w 3785642"/>
                <a:gd name="connsiteY286" fmla="*/ 82380 h 479077"/>
                <a:gd name="connsiteX287" fmla="*/ 405366 w 3785642"/>
                <a:gd name="connsiteY287" fmla="*/ 70475 h 479077"/>
                <a:gd name="connsiteX288" fmla="*/ 417272 w 3785642"/>
                <a:gd name="connsiteY288" fmla="*/ 59561 h 479077"/>
                <a:gd name="connsiteX289" fmla="*/ 429674 w 3785642"/>
                <a:gd name="connsiteY289" fmla="*/ 48647 h 479077"/>
                <a:gd name="connsiteX290" fmla="*/ 440092 w 3785642"/>
                <a:gd name="connsiteY290" fmla="*/ 35749 h 479077"/>
                <a:gd name="connsiteX291" fmla="*/ 452494 w 3785642"/>
                <a:gd name="connsiteY291" fmla="*/ 24835 h 479077"/>
                <a:gd name="connsiteX292" fmla="*/ 463904 w 3785642"/>
                <a:gd name="connsiteY292" fmla="*/ 12929 h 479077"/>
                <a:gd name="connsiteX293" fmla="*/ 475313 w 3785642"/>
                <a:gd name="connsiteY293" fmla="*/ 1024 h 479077"/>
                <a:gd name="connsiteX294" fmla="*/ 491684 w 3785642"/>
                <a:gd name="connsiteY294" fmla="*/ 2512 h 479077"/>
                <a:gd name="connsiteX295" fmla="*/ 508055 w 3785642"/>
                <a:gd name="connsiteY295" fmla="*/ 2512 h 479077"/>
                <a:gd name="connsiteX296" fmla="*/ 524425 w 3785642"/>
                <a:gd name="connsiteY296" fmla="*/ 2512 h 479077"/>
                <a:gd name="connsiteX297" fmla="*/ 540796 w 3785642"/>
                <a:gd name="connsiteY297" fmla="*/ 1024 h 479077"/>
                <a:gd name="connsiteX298" fmla="*/ 557166 w 3785642"/>
                <a:gd name="connsiteY298" fmla="*/ 2512 h 479077"/>
                <a:gd name="connsiteX299" fmla="*/ 573537 w 3785642"/>
                <a:gd name="connsiteY299" fmla="*/ 1024 h 479077"/>
                <a:gd name="connsiteX300" fmla="*/ 589908 w 3785642"/>
                <a:gd name="connsiteY300" fmla="*/ 527 h 479077"/>
                <a:gd name="connsiteX301" fmla="*/ 606278 w 3785642"/>
                <a:gd name="connsiteY301" fmla="*/ 1520 h 479077"/>
                <a:gd name="connsiteX302" fmla="*/ 622649 w 3785642"/>
                <a:gd name="connsiteY302" fmla="*/ 1520 h 479077"/>
                <a:gd name="connsiteX303" fmla="*/ 639019 w 3785642"/>
                <a:gd name="connsiteY303" fmla="*/ 2016 h 479077"/>
                <a:gd name="connsiteX304" fmla="*/ 655390 w 3785642"/>
                <a:gd name="connsiteY304" fmla="*/ 527 h 479077"/>
                <a:gd name="connsiteX305" fmla="*/ 671760 w 3785642"/>
                <a:gd name="connsiteY305" fmla="*/ 1520 h 479077"/>
                <a:gd name="connsiteX306" fmla="*/ 688131 w 3785642"/>
                <a:gd name="connsiteY306" fmla="*/ 2512 h 479077"/>
                <a:gd name="connsiteX307" fmla="*/ 704501 w 3785642"/>
                <a:gd name="connsiteY307" fmla="*/ 1024 h 479077"/>
                <a:gd name="connsiteX308" fmla="*/ 720872 w 3785642"/>
                <a:gd name="connsiteY308" fmla="*/ 1520 h 479077"/>
                <a:gd name="connsiteX309" fmla="*/ 737243 w 3785642"/>
                <a:gd name="connsiteY309" fmla="*/ 2016 h 479077"/>
                <a:gd name="connsiteX310" fmla="*/ 753613 w 3785642"/>
                <a:gd name="connsiteY310" fmla="*/ 1024 h 479077"/>
                <a:gd name="connsiteX311" fmla="*/ 769984 w 3785642"/>
                <a:gd name="connsiteY311" fmla="*/ 527 h 479077"/>
                <a:gd name="connsiteX312" fmla="*/ 786354 w 3785642"/>
                <a:gd name="connsiteY312" fmla="*/ 1520 h 479077"/>
                <a:gd name="connsiteX313" fmla="*/ 802725 w 3785642"/>
                <a:gd name="connsiteY313" fmla="*/ 527 h 479077"/>
                <a:gd name="connsiteX314" fmla="*/ 819096 w 3785642"/>
                <a:gd name="connsiteY314" fmla="*/ 2512 h 479077"/>
                <a:gd name="connsiteX315" fmla="*/ 835466 w 3785642"/>
                <a:gd name="connsiteY315" fmla="*/ 527 h 479077"/>
                <a:gd name="connsiteX316" fmla="*/ 851837 w 3785642"/>
                <a:gd name="connsiteY316" fmla="*/ 1520 h 479077"/>
                <a:gd name="connsiteX317" fmla="*/ 868207 w 3785642"/>
                <a:gd name="connsiteY317" fmla="*/ 2016 h 479077"/>
                <a:gd name="connsiteX318" fmla="*/ 884578 w 3785642"/>
                <a:gd name="connsiteY318" fmla="*/ 2512 h 479077"/>
                <a:gd name="connsiteX319" fmla="*/ 900948 w 3785642"/>
                <a:gd name="connsiteY319" fmla="*/ 1520 h 479077"/>
                <a:gd name="connsiteX320" fmla="*/ 917319 w 3785642"/>
                <a:gd name="connsiteY320" fmla="*/ 1024 h 479077"/>
                <a:gd name="connsiteX321" fmla="*/ 933689 w 3785642"/>
                <a:gd name="connsiteY321" fmla="*/ 2512 h 479077"/>
                <a:gd name="connsiteX322" fmla="*/ 950060 w 3785642"/>
                <a:gd name="connsiteY322" fmla="*/ 1520 h 479077"/>
                <a:gd name="connsiteX323" fmla="*/ 966431 w 3785642"/>
                <a:gd name="connsiteY323" fmla="*/ 2016 h 479077"/>
                <a:gd name="connsiteX324" fmla="*/ 982801 w 3785642"/>
                <a:gd name="connsiteY324" fmla="*/ 2512 h 479077"/>
                <a:gd name="connsiteX325" fmla="*/ 999172 w 3785642"/>
                <a:gd name="connsiteY325" fmla="*/ 1520 h 479077"/>
                <a:gd name="connsiteX326" fmla="*/ 1015542 w 3785642"/>
                <a:gd name="connsiteY326" fmla="*/ 2512 h 479077"/>
                <a:gd name="connsiteX327" fmla="*/ 1031913 w 3785642"/>
                <a:gd name="connsiteY327" fmla="*/ 1520 h 479077"/>
                <a:gd name="connsiteX328" fmla="*/ 1048283 w 3785642"/>
                <a:gd name="connsiteY328" fmla="*/ 2016 h 479077"/>
                <a:gd name="connsiteX329" fmla="*/ 1064654 w 3785642"/>
                <a:gd name="connsiteY329" fmla="*/ 3504 h 479077"/>
                <a:gd name="connsiteX330" fmla="*/ 1081025 w 3785642"/>
                <a:gd name="connsiteY330" fmla="*/ 2016 h 479077"/>
                <a:gd name="connsiteX331" fmla="*/ 1097395 w 3785642"/>
                <a:gd name="connsiteY331" fmla="*/ 2512 h 479077"/>
                <a:gd name="connsiteX332" fmla="*/ 1113766 w 3785642"/>
                <a:gd name="connsiteY332" fmla="*/ 2512 h 479077"/>
                <a:gd name="connsiteX333" fmla="*/ 1130136 w 3785642"/>
                <a:gd name="connsiteY333" fmla="*/ 3504 h 479077"/>
                <a:gd name="connsiteX334" fmla="*/ 1146507 w 3785642"/>
                <a:gd name="connsiteY334" fmla="*/ 1520 h 479077"/>
                <a:gd name="connsiteX335" fmla="*/ 1162878 w 3785642"/>
                <a:gd name="connsiteY335" fmla="*/ 3008 h 479077"/>
                <a:gd name="connsiteX336" fmla="*/ 1179248 w 3785642"/>
                <a:gd name="connsiteY336" fmla="*/ 4000 h 479077"/>
                <a:gd name="connsiteX337" fmla="*/ 1195619 w 3785642"/>
                <a:gd name="connsiteY337" fmla="*/ 3504 h 479077"/>
                <a:gd name="connsiteX338" fmla="*/ 1211989 w 3785642"/>
                <a:gd name="connsiteY338" fmla="*/ 1520 h 479077"/>
                <a:gd name="connsiteX339" fmla="*/ 1228360 w 3785642"/>
                <a:gd name="connsiteY339" fmla="*/ 3504 h 479077"/>
                <a:gd name="connsiteX340" fmla="*/ 1244730 w 3785642"/>
                <a:gd name="connsiteY340" fmla="*/ 1520 h 479077"/>
                <a:gd name="connsiteX341" fmla="*/ 1261101 w 3785642"/>
                <a:gd name="connsiteY341" fmla="*/ 2512 h 479077"/>
                <a:gd name="connsiteX342" fmla="*/ 1277471 w 3785642"/>
                <a:gd name="connsiteY342" fmla="*/ 3504 h 479077"/>
                <a:gd name="connsiteX343" fmla="*/ 1293842 w 3785642"/>
                <a:gd name="connsiteY343" fmla="*/ 4000 h 479077"/>
                <a:gd name="connsiteX344" fmla="*/ 1310213 w 3785642"/>
                <a:gd name="connsiteY344" fmla="*/ 1520 h 479077"/>
                <a:gd name="connsiteX345" fmla="*/ 1326583 w 3785642"/>
                <a:gd name="connsiteY345" fmla="*/ 2016 h 479077"/>
                <a:gd name="connsiteX346" fmla="*/ 1342954 w 3785642"/>
                <a:gd name="connsiteY346" fmla="*/ 3008 h 479077"/>
                <a:gd name="connsiteX347" fmla="*/ 1359324 w 3785642"/>
                <a:gd name="connsiteY347" fmla="*/ 3008 h 479077"/>
                <a:gd name="connsiteX348" fmla="*/ 1375695 w 3785642"/>
                <a:gd name="connsiteY348" fmla="*/ 2512 h 479077"/>
                <a:gd name="connsiteX349" fmla="*/ 1392066 w 3785642"/>
                <a:gd name="connsiteY349" fmla="*/ 2512 h 479077"/>
                <a:gd name="connsiteX350" fmla="*/ 1408436 w 3785642"/>
                <a:gd name="connsiteY350" fmla="*/ 3504 h 479077"/>
                <a:gd name="connsiteX351" fmla="*/ 1424807 w 3785642"/>
                <a:gd name="connsiteY351" fmla="*/ 3504 h 479077"/>
                <a:gd name="connsiteX352" fmla="*/ 1441177 w 3785642"/>
                <a:gd name="connsiteY352" fmla="*/ 1520 h 479077"/>
                <a:gd name="connsiteX353" fmla="*/ 1457548 w 3785642"/>
                <a:gd name="connsiteY353" fmla="*/ 2512 h 479077"/>
                <a:gd name="connsiteX354" fmla="*/ 1473919 w 3785642"/>
                <a:gd name="connsiteY354" fmla="*/ 2016 h 479077"/>
                <a:gd name="connsiteX355" fmla="*/ 1490289 w 3785642"/>
                <a:gd name="connsiteY355" fmla="*/ 2016 h 479077"/>
                <a:gd name="connsiteX356" fmla="*/ 1506660 w 3785642"/>
                <a:gd name="connsiteY356" fmla="*/ 1520 h 479077"/>
                <a:gd name="connsiteX357" fmla="*/ 1523030 w 3785642"/>
                <a:gd name="connsiteY357" fmla="*/ 3504 h 479077"/>
                <a:gd name="connsiteX358" fmla="*/ 1539401 w 3785642"/>
                <a:gd name="connsiteY358" fmla="*/ 3008 h 479077"/>
                <a:gd name="connsiteX359" fmla="*/ 1555771 w 3785642"/>
                <a:gd name="connsiteY359" fmla="*/ 3008 h 479077"/>
                <a:gd name="connsiteX360" fmla="*/ 1572142 w 3785642"/>
                <a:gd name="connsiteY360" fmla="*/ 2512 h 479077"/>
                <a:gd name="connsiteX361" fmla="*/ 1588512 w 3785642"/>
                <a:gd name="connsiteY361" fmla="*/ 2016 h 479077"/>
                <a:gd name="connsiteX362" fmla="*/ 1604883 w 3785642"/>
                <a:gd name="connsiteY362" fmla="*/ 3008 h 479077"/>
                <a:gd name="connsiteX363" fmla="*/ 1621253 w 3785642"/>
                <a:gd name="connsiteY363" fmla="*/ 3008 h 479077"/>
                <a:gd name="connsiteX364" fmla="*/ 1637624 w 3785642"/>
                <a:gd name="connsiteY36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13375 w 3785642"/>
                <a:gd name="connsiteY37" fmla="*/ 10945 h 479077"/>
                <a:gd name="connsiteX38" fmla="*/ 3300973 w 3785642"/>
                <a:gd name="connsiteY38" fmla="*/ 21363 h 479077"/>
                <a:gd name="connsiteX39" fmla="*/ 3289068 w 3785642"/>
                <a:gd name="connsiteY39" fmla="*/ 32276 h 479077"/>
                <a:gd name="connsiteX40" fmla="*/ 3277658 w 3785642"/>
                <a:gd name="connsiteY40" fmla="*/ 43686 h 479077"/>
                <a:gd name="connsiteX41" fmla="*/ 3266248 w 3785642"/>
                <a:gd name="connsiteY41" fmla="*/ 55592 h 479077"/>
                <a:gd name="connsiteX42" fmla="*/ 3255830 w 3785642"/>
                <a:gd name="connsiteY42" fmla="*/ 68490 h 479077"/>
                <a:gd name="connsiteX43" fmla="*/ 3243924 w 3785642"/>
                <a:gd name="connsiteY43" fmla="*/ 79900 h 479077"/>
                <a:gd name="connsiteX44" fmla="*/ 3231522 w 3785642"/>
                <a:gd name="connsiteY44" fmla="*/ 90814 h 479077"/>
                <a:gd name="connsiteX45" fmla="*/ 3220609 w 3785642"/>
                <a:gd name="connsiteY45" fmla="*/ 102720 h 479077"/>
                <a:gd name="connsiteX46" fmla="*/ 3208207 w 3785642"/>
                <a:gd name="connsiteY46" fmla="*/ 113137 h 479077"/>
                <a:gd name="connsiteX47" fmla="*/ 3197293 w 3785642"/>
                <a:gd name="connsiteY47" fmla="*/ 125043 h 479077"/>
                <a:gd name="connsiteX48" fmla="*/ 3185387 w 3785642"/>
                <a:gd name="connsiteY48" fmla="*/ 136453 h 479077"/>
                <a:gd name="connsiteX49" fmla="*/ 3174970 w 3785642"/>
                <a:gd name="connsiteY49" fmla="*/ 148855 h 479077"/>
                <a:gd name="connsiteX50" fmla="*/ 3162071 w 3785642"/>
                <a:gd name="connsiteY50" fmla="*/ 159272 h 479077"/>
                <a:gd name="connsiteX51" fmla="*/ 3151158 w 3785642"/>
                <a:gd name="connsiteY51" fmla="*/ 171674 h 479077"/>
                <a:gd name="connsiteX52" fmla="*/ 3139252 w 3785642"/>
                <a:gd name="connsiteY52" fmla="*/ 182588 h 479077"/>
                <a:gd name="connsiteX53" fmla="*/ 3127843 w 3785642"/>
                <a:gd name="connsiteY53" fmla="*/ 194494 h 479077"/>
                <a:gd name="connsiteX54" fmla="*/ 3116432 w 3785642"/>
                <a:gd name="connsiteY54" fmla="*/ 205904 h 479077"/>
                <a:gd name="connsiteX55" fmla="*/ 3105022 w 3785642"/>
                <a:gd name="connsiteY55" fmla="*/ 217810 h 479077"/>
                <a:gd name="connsiteX56" fmla="*/ 3093117 w 3785642"/>
                <a:gd name="connsiteY56" fmla="*/ 229219 h 479077"/>
                <a:gd name="connsiteX57" fmla="*/ 3081707 w 3785642"/>
                <a:gd name="connsiteY57" fmla="*/ 240629 h 479077"/>
                <a:gd name="connsiteX58" fmla="*/ 3069305 w 3785642"/>
                <a:gd name="connsiteY58" fmla="*/ 251543 h 479077"/>
                <a:gd name="connsiteX59" fmla="*/ 3057895 w 3785642"/>
                <a:gd name="connsiteY59" fmla="*/ 263449 h 479077"/>
                <a:gd name="connsiteX60" fmla="*/ 3046486 w 3785642"/>
                <a:gd name="connsiteY60" fmla="*/ 275355 h 479077"/>
                <a:gd name="connsiteX61" fmla="*/ 3035572 w 3785642"/>
                <a:gd name="connsiteY61" fmla="*/ 287260 h 479077"/>
                <a:gd name="connsiteX62" fmla="*/ 3024658 w 3785642"/>
                <a:gd name="connsiteY62" fmla="*/ 299166 h 479077"/>
                <a:gd name="connsiteX63" fmla="*/ 3013248 w 3785642"/>
                <a:gd name="connsiteY63" fmla="*/ 311072 h 479077"/>
                <a:gd name="connsiteX64" fmla="*/ 3000350 w 3785642"/>
                <a:gd name="connsiteY64" fmla="*/ 321490 h 479077"/>
                <a:gd name="connsiteX65" fmla="*/ 2988941 w 3785642"/>
                <a:gd name="connsiteY65" fmla="*/ 333396 h 479077"/>
                <a:gd name="connsiteX66" fmla="*/ 2976539 w 3785642"/>
                <a:gd name="connsiteY66" fmla="*/ 344309 h 479077"/>
                <a:gd name="connsiteX67" fmla="*/ 2965129 w 3785642"/>
                <a:gd name="connsiteY67" fmla="*/ 356215 h 479077"/>
                <a:gd name="connsiteX68" fmla="*/ 2953223 w 3785642"/>
                <a:gd name="connsiteY68" fmla="*/ 367625 h 479077"/>
                <a:gd name="connsiteX69" fmla="*/ 2941813 w 3785642"/>
                <a:gd name="connsiteY69" fmla="*/ 379531 h 479077"/>
                <a:gd name="connsiteX70" fmla="*/ 2931395 w 3785642"/>
                <a:gd name="connsiteY70" fmla="*/ 392429 h 479077"/>
                <a:gd name="connsiteX71" fmla="*/ 2918497 w 3785642"/>
                <a:gd name="connsiteY71" fmla="*/ 402847 h 479077"/>
                <a:gd name="connsiteX72" fmla="*/ 2907584 w 3785642"/>
                <a:gd name="connsiteY72" fmla="*/ 415249 h 479077"/>
                <a:gd name="connsiteX73" fmla="*/ 2896174 w 3785642"/>
                <a:gd name="connsiteY73" fmla="*/ 426658 h 479077"/>
                <a:gd name="connsiteX74" fmla="*/ 2884268 w 3785642"/>
                <a:gd name="connsiteY74" fmla="*/ 438068 h 479077"/>
                <a:gd name="connsiteX75" fmla="*/ 2873354 w 3785642"/>
                <a:gd name="connsiteY75" fmla="*/ 450470 h 479077"/>
                <a:gd name="connsiteX76" fmla="*/ 2860952 w 3785642"/>
                <a:gd name="connsiteY76" fmla="*/ 461384 h 479077"/>
                <a:gd name="connsiteX77" fmla="*/ 2850039 w 3785642"/>
                <a:gd name="connsiteY77" fmla="*/ 473786 h 479077"/>
                <a:gd name="connsiteX78" fmla="*/ 2833668 w 3785642"/>
                <a:gd name="connsiteY78" fmla="*/ 473786 h 479077"/>
                <a:gd name="connsiteX79" fmla="*/ 2817297 w 3785642"/>
                <a:gd name="connsiteY79" fmla="*/ 473290 h 479077"/>
                <a:gd name="connsiteX80" fmla="*/ 2800927 w 3785642"/>
                <a:gd name="connsiteY80" fmla="*/ 473290 h 479077"/>
                <a:gd name="connsiteX81" fmla="*/ 2784556 w 3785642"/>
                <a:gd name="connsiteY81" fmla="*/ 473786 h 479077"/>
                <a:gd name="connsiteX82" fmla="*/ 2768186 w 3785642"/>
                <a:gd name="connsiteY82" fmla="*/ 474282 h 479077"/>
                <a:gd name="connsiteX83" fmla="*/ 2751815 w 3785642"/>
                <a:gd name="connsiteY83" fmla="*/ 474282 h 479077"/>
                <a:gd name="connsiteX84" fmla="*/ 2735444 w 3785642"/>
                <a:gd name="connsiteY84" fmla="*/ 473290 h 479077"/>
                <a:gd name="connsiteX85" fmla="*/ 2719074 w 3785642"/>
                <a:gd name="connsiteY85" fmla="*/ 474282 h 479077"/>
                <a:gd name="connsiteX86" fmla="*/ 2702703 w 3785642"/>
                <a:gd name="connsiteY86" fmla="*/ 472298 h 479077"/>
                <a:gd name="connsiteX87" fmla="*/ 2686333 w 3785642"/>
                <a:gd name="connsiteY87" fmla="*/ 472794 h 479077"/>
                <a:gd name="connsiteX88" fmla="*/ 2669962 w 3785642"/>
                <a:gd name="connsiteY88" fmla="*/ 474282 h 479077"/>
                <a:gd name="connsiteX89" fmla="*/ 2653592 w 3785642"/>
                <a:gd name="connsiteY89" fmla="*/ 472298 h 479077"/>
                <a:gd name="connsiteX90" fmla="*/ 2637221 w 3785642"/>
                <a:gd name="connsiteY90" fmla="*/ 474282 h 479077"/>
                <a:gd name="connsiteX91" fmla="*/ 2620851 w 3785642"/>
                <a:gd name="connsiteY91" fmla="*/ 474282 h 479077"/>
                <a:gd name="connsiteX92" fmla="*/ 2604480 w 3785642"/>
                <a:gd name="connsiteY92" fmla="*/ 472298 h 479077"/>
                <a:gd name="connsiteX93" fmla="*/ 2588109 w 3785642"/>
                <a:gd name="connsiteY93" fmla="*/ 473786 h 479077"/>
                <a:gd name="connsiteX94" fmla="*/ 2571739 w 3785642"/>
                <a:gd name="connsiteY94" fmla="*/ 472298 h 479077"/>
                <a:gd name="connsiteX95" fmla="*/ 2555368 w 3785642"/>
                <a:gd name="connsiteY95" fmla="*/ 473290 h 479077"/>
                <a:gd name="connsiteX96" fmla="*/ 2538998 w 3785642"/>
                <a:gd name="connsiteY96" fmla="*/ 474282 h 479077"/>
                <a:gd name="connsiteX97" fmla="*/ 2522627 w 3785642"/>
                <a:gd name="connsiteY97" fmla="*/ 473290 h 479077"/>
                <a:gd name="connsiteX98" fmla="*/ 2506257 w 3785642"/>
                <a:gd name="connsiteY98" fmla="*/ 474282 h 479077"/>
                <a:gd name="connsiteX99" fmla="*/ 2489886 w 3785642"/>
                <a:gd name="connsiteY99" fmla="*/ 473786 h 479077"/>
                <a:gd name="connsiteX100" fmla="*/ 2473516 w 3785642"/>
                <a:gd name="connsiteY100" fmla="*/ 474282 h 479077"/>
                <a:gd name="connsiteX101" fmla="*/ 2457145 w 3785642"/>
                <a:gd name="connsiteY101" fmla="*/ 472794 h 479077"/>
                <a:gd name="connsiteX102" fmla="*/ 2440775 w 3785642"/>
                <a:gd name="connsiteY102" fmla="*/ 472298 h 479077"/>
                <a:gd name="connsiteX103" fmla="*/ 2424404 w 3785642"/>
                <a:gd name="connsiteY103" fmla="*/ 473786 h 479077"/>
                <a:gd name="connsiteX104" fmla="*/ 2408033 w 3785642"/>
                <a:gd name="connsiteY104" fmla="*/ 472794 h 479077"/>
                <a:gd name="connsiteX105" fmla="*/ 2391663 w 3785642"/>
                <a:gd name="connsiteY105" fmla="*/ 473290 h 479077"/>
                <a:gd name="connsiteX106" fmla="*/ 2375292 w 3785642"/>
                <a:gd name="connsiteY106" fmla="*/ 473290 h 479077"/>
                <a:gd name="connsiteX107" fmla="*/ 2358922 w 3785642"/>
                <a:gd name="connsiteY107" fmla="*/ 472794 h 479077"/>
                <a:gd name="connsiteX108" fmla="*/ 2342551 w 3785642"/>
                <a:gd name="connsiteY108" fmla="*/ 472298 h 479077"/>
                <a:gd name="connsiteX109" fmla="*/ 2326180 w 3785642"/>
                <a:gd name="connsiteY109" fmla="*/ 473786 h 479077"/>
                <a:gd name="connsiteX110" fmla="*/ 2309810 w 3785642"/>
                <a:gd name="connsiteY110" fmla="*/ 473786 h 479077"/>
                <a:gd name="connsiteX111" fmla="*/ 2293439 w 3785642"/>
                <a:gd name="connsiteY111" fmla="*/ 473786 h 479077"/>
                <a:gd name="connsiteX112" fmla="*/ 2277069 w 3785642"/>
                <a:gd name="connsiteY112" fmla="*/ 472794 h 479077"/>
                <a:gd name="connsiteX113" fmla="*/ 2260698 w 3785642"/>
                <a:gd name="connsiteY113" fmla="*/ 474282 h 479077"/>
                <a:gd name="connsiteX114" fmla="*/ 2244327 w 3785642"/>
                <a:gd name="connsiteY114" fmla="*/ 472298 h 479077"/>
                <a:gd name="connsiteX115" fmla="*/ 2227957 w 3785642"/>
                <a:gd name="connsiteY115" fmla="*/ 474282 h 479077"/>
                <a:gd name="connsiteX116" fmla="*/ 2211586 w 3785642"/>
                <a:gd name="connsiteY116" fmla="*/ 473290 h 479077"/>
                <a:gd name="connsiteX117" fmla="*/ 2195216 w 3785642"/>
                <a:gd name="connsiteY117" fmla="*/ 474282 h 479077"/>
                <a:gd name="connsiteX118" fmla="*/ 2178845 w 3785642"/>
                <a:gd name="connsiteY118" fmla="*/ 472794 h 479077"/>
                <a:gd name="connsiteX119" fmla="*/ 2162474 w 3785642"/>
                <a:gd name="connsiteY119" fmla="*/ 474778 h 479077"/>
                <a:gd name="connsiteX120" fmla="*/ 2146104 w 3785642"/>
                <a:gd name="connsiteY120" fmla="*/ 473290 h 479077"/>
                <a:gd name="connsiteX121" fmla="*/ 2129733 w 3785642"/>
                <a:gd name="connsiteY121" fmla="*/ 474778 h 479077"/>
                <a:gd name="connsiteX122" fmla="*/ 2113363 w 3785642"/>
                <a:gd name="connsiteY122" fmla="*/ 474778 h 479077"/>
                <a:gd name="connsiteX123" fmla="*/ 2096992 w 3785642"/>
                <a:gd name="connsiteY123" fmla="*/ 474778 h 479077"/>
                <a:gd name="connsiteX124" fmla="*/ 2080621 w 3785642"/>
                <a:gd name="connsiteY124" fmla="*/ 474282 h 479077"/>
                <a:gd name="connsiteX125" fmla="*/ 2064251 w 3785642"/>
                <a:gd name="connsiteY125" fmla="*/ 472794 h 479077"/>
                <a:gd name="connsiteX126" fmla="*/ 2047880 w 3785642"/>
                <a:gd name="connsiteY126" fmla="*/ 474778 h 479077"/>
                <a:gd name="connsiteX127" fmla="*/ 2031510 w 3785642"/>
                <a:gd name="connsiteY127" fmla="*/ 474778 h 479077"/>
                <a:gd name="connsiteX128" fmla="*/ 2015139 w 3785642"/>
                <a:gd name="connsiteY128" fmla="*/ 474778 h 479077"/>
                <a:gd name="connsiteX129" fmla="*/ 1998769 w 3785642"/>
                <a:gd name="connsiteY129" fmla="*/ 474282 h 479077"/>
                <a:gd name="connsiteX130" fmla="*/ 1982398 w 3785642"/>
                <a:gd name="connsiteY130" fmla="*/ 473786 h 479077"/>
                <a:gd name="connsiteX131" fmla="*/ 1966028 w 3785642"/>
                <a:gd name="connsiteY131" fmla="*/ 473786 h 479077"/>
                <a:gd name="connsiteX132" fmla="*/ 1949657 w 3785642"/>
                <a:gd name="connsiteY132" fmla="*/ 472794 h 479077"/>
                <a:gd name="connsiteX133" fmla="*/ 1933287 w 3785642"/>
                <a:gd name="connsiteY133" fmla="*/ 473290 h 479077"/>
                <a:gd name="connsiteX134" fmla="*/ 1916916 w 3785642"/>
                <a:gd name="connsiteY134" fmla="*/ 474778 h 479077"/>
                <a:gd name="connsiteX135" fmla="*/ 1900546 w 3785642"/>
                <a:gd name="connsiteY135" fmla="*/ 472794 h 479077"/>
                <a:gd name="connsiteX136" fmla="*/ 1884175 w 3785642"/>
                <a:gd name="connsiteY136" fmla="*/ 473786 h 479077"/>
                <a:gd name="connsiteX137" fmla="*/ 1867804 w 3785642"/>
                <a:gd name="connsiteY137" fmla="*/ 474778 h 479077"/>
                <a:gd name="connsiteX138" fmla="*/ 1851434 w 3785642"/>
                <a:gd name="connsiteY138" fmla="*/ 474778 h 479077"/>
                <a:gd name="connsiteX139" fmla="*/ 1835063 w 3785642"/>
                <a:gd name="connsiteY139" fmla="*/ 474778 h 479077"/>
                <a:gd name="connsiteX140" fmla="*/ 1818693 w 3785642"/>
                <a:gd name="connsiteY140" fmla="*/ 474282 h 479077"/>
                <a:gd name="connsiteX141" fmla="*/ 1802322 w 3785642"/>
                <a:gd name="connsiteY141" fmla="*/ 472794 h 479077"/>
                <a:gd name="connsiteX142" fmla="*/ 1785951 w 3785642"/>
                <a:gd name="connsiteY142" fmla="*/ 473786 h 479077"/>
                <a:gd name="connsiteX143" fmla="*/ 1769581 w 3785642"/>
                <a:gd name="connsiteY143" fmla="*/ 473290 h 479077"/>
                <a:gd name="connsiteX144" fmla="*/ 1753210 w 3785642"/>
                <a:gd name="connsiteY144" fmla="*/ 472298 h 479077"/>
                <a:gd name="connsiteX145" fmla="*/ 1736840 w 3785642"/>
                <a:gd name="connsiteY145" fmla="*/ 473290 h 479077"/>
                <a:gd name="connsiteX146" fmla="*/ 1720469 w 3785642"/>
                <a:gd name="connsiteY146" fmla="*/ 474778 h 479077"/>
                <a:gd name="connsiteX147" fmla="*/ 1704098 w 3785642"/>
                <a:gd name="connsiteY147" fmla="*/ 472794 h 479077"/>
                <a:gd name="connsiteX148" fmla="*/ 1687728 w 3785642"/>
                <a:gd name="connsiteY148" fmla="*/ 474778 h 479077"/>
                <a:gd name="connsiteX149" fmla="*/ 1671357 w 3785642"/>
                <a:gd name="connsiteY149" fmla="*/ 474778 h 479077"/>
                <a:gd name="connsiteX150" fmla="*/ 1654987 w 3785642"/>
                <a:gd name="connsiteY150" fmla="*/ 472298 h 479077"/>
                <a:gd name="connsiteX151" fmla="*/ 1638616 w 3785642"/>
                <a:gd name="connsiteY151" fmla="*/ 472794 h 479077"/>
                <a:gd name="connsiteX152" fmla="*/ 1622246 w 3785642"/>
                <a:gd name="connsiteY152" fmla="*/ 473786 h 479077"/>
                <a:gd name="connsiteX153" fmla="*/ 1605875 w 3785642"/>
                <a:gd name="connsiteY153" fmla="*/ 474778 h 479077"/>
                <a:gd name="connsiteX154" fmla="*/ 1589505 w 3785642"/>
                <a:gd name="connsiteY154" fmla="*/ 473290 h 479077"/>
                <a:gd name="connsiteX155" fmla="*/ 1573134 w 3785642"/>
                <a:gd name="connsiteY155" fmla="*/ 474778 h 479077"/>
                <a:gd name="connsiteX156" fmla="*/ 1556763 w 3785642"/>
                <a:gd name="connsiteY156" fmla="*/ 472794 h 479077"/>
                <a:gd name="connsiteX157" fmla="*/ 1540393 w 3785642"/>
                <a:gd name="connsiteY157" fmla="*/ 472794 h 479077"/>
                <a:gd name="connsiteX158" fmla="*/ 1524022 w 3785642"/>
                <a:gd name="connsiteY158" fmla="*/ 474282 h 479077"/>
                <a:gd name="connsiteX159" fmla="*/ 1507652 w 3785642"/>
                <a:gd name="connsiteY159" fmla="*/ 472794 h 479077"/>
                <a:gd name="connsiteX160" fmla="*/ 1491281 w 3785642"/>
                <a:gd name="connsiteY160" fmla="*/ 474282 h 479077"/>
                <a:gd name="connsiteX161" fmla="*/ 1474910 w 3785642"/>
                <a:gd name="connsiteY161" fmla="*/ 474282 h 479077"/>
                <a:gd name="connsiteX162" fmla="*/ 1458540 w 3785642"/>
                <a:gd name="connsiteY162" fmla="*/ 472794 h 479077"/>
                <a:gd name="connsiteX163" fmla="*/ 1442169 w 3785642"/>
                <a:gd name="connsiteY163" fmla="*/ 471802 h 479077"/>
                <a:gd name="connsiteX164" fmla="*/ 1425799 w 3785642"/>
                <a:gd name="connsiteY164" fmla="*/ 472298 h 479077"/>
                <a:gd name="connsiteX165" fmla="*/ 1409428 w 3785642"/>
                <a:gd name="connsiteY165" fmla="*/ 472794 h 479077"/>
                <a:gd name="connsiteX166" fmla="*/ 1393058 w 3785642"/>
                <a:gd name="connsiteY166" fmla="*/ 473786 h 479077"/>
                <a:gd name="connsiteX167" fmla="*/ 1376687 w 3785642"/>
                <a:gd name="connsiteY167" fmla="*/ 471802 h 479077"/>
                <a:gd name="connsiteX168" fmla="*/ 1360317 w 3785642"/>
                <a:gd name="connsiteY168" fmla="*/ 473786 h 479077"/>
                <a:gd name="connsiteX169" fmla="*/ 1343946 w 3785642"/>
                <a:gd name="connsiteY169" fmla="*/ 473786 h 479077"/>
                <a:gd name="connsiteX170" fmla="*/ 1327576 w 3785642"/>
                <a:gd name="connsiteY170" fmla="*/ 472794 h 479077"/>
                <a:gd name="connsiteX171" fmla="*/ 1311205 w 3785642"/>
                <a:gd name="connsiteY171" fmla="*/ 473786 h 479077"/>
                <a:gd name="connsiteX172" fmla="*/ 1294834 w 3785642"/>
                <a:gd name="connsiteY172" fmla="*/ 473786 h 479077"/>
                <a:gd name="connsiteX173" fmla="*/ 1278464 w 3785642"/>
                <a:gd name="connsiteY173" fmla="*/ 473786 h 479077"/>
                <a:gd name="connsiteX174" fmla="*/ 1262093 w 3785642"/>
                <a:gd name="connsiteY174" fmla="*/ 473786 h 479077"/>
                <a:gd name="connsiteX175" fmla="*/ 1245723 w 3785642"/>
                <a:gd name="connsiteY175" fmla="*/ 473290 h 479077"/>
                <a:gd name="connsiteX176" fmla="*/ 1229352 w 3785642"/>
                <a:gd name="connsiteY176" fmla="*/ 472794 h 479077"/>
                <a:gd name="connsiteX177" fmla="*/ 1212981 w 3785642"/>
                <a:gd name="connsiteY177" fmla="*/ 473786 h 479077"/>
                <a:gd name="connsiteX178" fmla="*/ 1196611 w 3785642"/>
                <a:gd name="connsiteY178" fmla="*/ 472298 h 479077"/>
                <a:gd name="connsiteX179" fmla="*/ 1180240 w 3785642"/>
                <a:gd name="connsiteY179" fmla="*/ 472794 h 479077"/>
                <a:gd name="connsiteX180" fmla="*/ 1163870 w 3785642"/>
                <a:gd name="connsiteY180" fmla="*/ 472794 h 479077"/>
                <a:gd name="connsiteX181" fmla="*/ 1147499 w 3785642"/>
                <a:gd name="connsiteY181" fmla="*/ 473786 h 479077"/>
                <a:gd name="connsiteX182" fmla="*/ 1131128 w 3785642"/>
                <a:gd name="connsiteY182" fmla="*/ 473786 h 479077"/>
                <a:gd name="connsiteX183" fmla="*/ 1114758 w 3785642"/>
                <a:gd name="connsiteY183" fmla="*/ 472794 h 479077"/>
                <a:gd name="connsiteX184" fmla="*/ 1098387 w 3785642"/>
                <a:gd name="connsiteY184" fmla="*/ 473786 h 479077"/>
                <a:gd name="connsiteX185" fmla="*/ 1082017 w 3785642"/>
                <a:gd name="connsiteY185" fmla="*/ 474778 h 479077"/>
                <a:gd name="connsiteX186" fmla="*/ 1065646 w 3785642"/>
                <a:gd name="connsiteY186" fmla="*/ 474778 h 479077"/>
                <a:gd name="connsiteX187" fmla="*/ 1049276 w 3785642"/>
                <a:gd name="connsiteY187" fmla="*/ 474282 h 479077"/>
                <a:gd name="connsiteX188" fmla="*/ 1032905 w 3785642"/>
                <a:gd name="connsiteY188" fmla="*/ 473290 h 479077"/>
                <a:gd name="connsiteX189" fmla="*/ 1016535 w 3785642"/>
                <a:gd name="connsiteY189" fmla="*/ 474282 h 479077"/>
                <a:gd name="connsiteX190" fmla="*/ 1000164 w 3785642"/>
                <a:gd name="connsiteY190" fmla="*/ 474282 h 479077"/>
                <a:gd name="connsiteX191" fmla="*/ 983793 w 3785642"/>
                <a:gd name="connsiteY191" fmla="*/ 472794 h 479077"/>
                <a:gd name="connsiteX192" fmla="*/ 967423 w 3785642"/>
                <a:gd name="connsiteY192" fmla="*/ 472794 h 479077"/>
                <a:gd name="connsiteX193" fmla="*/ 951052 w 3785642"/>
                <a:gd name="connsiteY193" fmla="*/ 473786 h 479077"/>
                <a:gd name="connsiteX194" fmla="*/ 934682 w 3785642"/>
                <a:gd name="connsiteY194" fmla="*/ 474282 h 479077"/>
                <a:gd name="connsiteX195" fmla="*/ 918311 w 3785642"/>
                <a:gd name="connsiteY195" fmla="*/ 474778 h 479077"/>
                <a:gd name="connsiteX196" fmla="*/ 901940 w 3785642"/>
                <a:gd name="connsiteY196" fmla="*/ 473290 h 479077"/>
                <a:gd name="connsiteX197" fmla="*/ 885570 w 3785642"/>
                <a:gd name="connsiteY197" fmla="*/ 474778 h 479077"/>
                <a:gd name="connsiteX198" fmla="*/ 869199 w 3785642"/>
                <a:gd name="connsiteY198" fmla="*/ 474282 h 479077"/>
                <a:gd name="connsiteX199" fmla="*/ 852829 w 3785642"/>
                <a:gd name="connsiteY199" fmla="*/ 473786 h 479077"/>
                <a:gd name="connsiteX200" fmla="*/ 836458 w 3785642"/>
                <a:gd name="connsiteY200" fmla="*/ 474778 h 479077"/>
                <a:gd name="connsiteX201" fmla="*/ 820088 w 3785642"/>
                <a:gd name="connsiteY201" fmla="*/ 475274 h 479077"/>
                <a:gd name="connsiteX202" fmla="*/ 803717 w 3785642"/>
                <a:gd name="connsiteY202" fmla="*/ 473786 h 479077"/>
                <a:gd name="connsiteX203" fmla="*/ 787347 w 3785642"/>
                <a:gd name="connsiteY203" fmla="*/ 475770 h 479077"/>
                <a:gd name="connsiteX204" fmla="*/ 770976 w 3785642"/>
                <a:gd name="connsiteY204" fmla="*/ 474778 h 479077"/>
                <a:gd name="connsiteX205" fmla="*/ 754605 w 3785642"/>
                <a:gd name="connsiteY205" fmla="*/ 475274 h 479077"/>
                <a:gd name="connsiteX206" fmla="*/ 738235 w 3785642"/>
                <a:gd name="connsiteY206" fmla="*/ 473786 h 479077"/>
                <a:gd name="connsiteX207" fmla="*/ 721864 w 3785642"/>
                <a:gd name="connsiteY207" fmla="*/ 475274 h 479077"/>
                <a:gd name="connsiteX208" fmla="*/ 705494 w 3785642"/>
                <a:gd name="connsiteY208" fmla="*/ 475770 h 479077"/>
                <a:gd name="connsiteX209" fmla="*/ 689123 w 3785642"/>
                <a:gd name="connsiteY209" fmla="*/ 474282 h 479077"/>
                <a:gd name="connsiteX210" fmla="*/ 672753 w 3785642"/>
                <a:gd name="connsiteY210" fmla="*/ 475274 h 479077"/>
                <a:gd name="connsiteX211" fmla="*/ 656382 w 3785642"/>
                <a:gd name="connsiteY211" fmla="*/ 474778 h 479077"/>
                <a:gd name="connsiteX212" fmla="*/ 640011 w 3785642"/>
                <a:gd name="connsiteY212" fmla="*/ 475770 h 479077"/>
                <a:gd name="connsiteX213" fmla="*/ 623641 w 3785642"/>
                <a:gd name="connsiteY213" fmla="*/ 473786 h 479077"/>
                <a:gd name="connsiteX214" fmla="*/ 607270 w 3785642"/>
                <a:gd name="connsiteY214" fmla="*/ 474778 h 479077"/>
                <a:gd name="connsiteX215" fmla="*/ 590900 w 3785642"/>
                <a:gd name="connsiteY215" fmla="*/ 475274 h 479077"/>
                <a:gd name="connsiteX216" fmla="*/ 574529 w 3785642"/>
                <a:gd name="connsiteY216" fmla="*/ 474282 h 479077"/>
                <a:gd name="connsiteX217" fmla="*/ 558158 w 3785642"/>
                <a:gd name="connsiteY217" fmla="*/ 475274 h 479077"/>
                <a:gd name="connsiteX218" fmla="*/ 541788 w 3785642"/>
                <a:gd name="connsiteY218" fmla="*/ 475770 h 479077"/>
                <a:gd name="connsiteX219" fmla="*/ 525417 w 3785642"/>
                <a:gd name="connsiteY219" fmla="*/ 474282 h 479077"/>
                <a:gd name="connsiteX220" fmla="*/ 509047 w 3785642"/>
                <a:gd name="connsiteY220" fmla="*/ 473786 h 479077"/>
                <a:gd name="connsiteX221" fmla="*/ 492676 w 3785642"/>
                <a:gd name="connsiteY221" fmla="*/ 473786 h 479077"/>
                <a:gd name="connsiteX222" fmla="*/ 476306 w 3785642"/>
                <a:gd name="connsiteY222" fmla="*/ 474778 h 479077"/>
                <a:gd name="connsiteX223" fmla="*/ 459935 w 3785642"/>
                <a:gd name="connsiteY223" fmla="*/ 473786 h 479077"/>
                <a:gd name="connsiteX224" fmla="*/ 443565 w 3785642"/>
                <a:gd name="connsiteY224" fmla="*/ 474778 h 479077"/>
                <a:gd name="connsiteX225" fmla="*/ 427194 w 3785642"/>
                <a:gd name="connsiteY225" fmla="*/ 474282 h 479077"/>
                <a:gd name="connsiteX226" fmla="*/ 410823 w 3785642"/>
                <a:gd name="connsiteY226" fmla="*/ 473290 h 479077"/>
                <a:gd name="connsiteX227" fmla="*/ 394453 w 3785642"/>
                <a:gd name="connsiteY227" fmla="*/ 475770 h 479077"/>
                <a:gd name="connsiteX228" fmla="*/ 378082 w 3785642"/>
                <a:gd name="connsiteY228" fmla="*/ 475274 h 479077"/>
                <a:gd name="connsiteX229" fmla="*/ 361712 w 3785642"/>
                <a:gd name="connsiteY229" fmla="*/ 474778 h 479077"/>
                <a:gd name="connsiteX230" fmla="*/ 345341 w 3785642"/>
                <a:gd name="connsiteY230" fmla="*/ 476266 h 479077"/>
                <a:gd name="connsiteX231" fmla="*/ 328970 w 3785642"/>
                <a:gd name="connsiteY231" fmla="*/ 474282 h 479077"/>
                <a:gd name="connsiteX232" fmla="*/ 312600 w 3785642"/>
                <a:gd name="connsiteY232" fmla="*/ 475274 h 479077"/>
                <a:gd name="connsiteX233" fmla="*/ 296229 w 3785642"/>
                <a:gd name="connsiteY233" fmla="*/ 474282 h 479077"/>
                <a:gd name="connsiteX234" fmla="*/ 279859 w 3785642"/>
                <a:gd name="connsiteY234" fmla="*/ 475770 h 479077"/>
                <a:gd name="connsiteX235" fmla="*/ 263488 w 3785642"/>
                <a:gd name="connsiteY235" fmla="*/ 476266 h 479077"/>
                <a:gd name="connsiteX236" fmla="*/ 247118 w 3785642"/>
                <a:gd name="connsiteY236" fmla="*/ 476266 h 479077"/>
                <a:gd name="connsiteX237" fmla="*/ 230747 w 3785642"/>
                <a:gd name="connsiteY237" fmla="*/ 474778 h 479077"/>
                <a:gd name="connsiteX238" fmla="*/ 214376 w 3785642"/>
                <a:gd name="connsiteY238" fmla="*/ 474778 h 479077"/>
                <a:gd name="connsiteX239" fmla="*/ 198006 w 3785642"/>
                <a:gd name="connsiteY239" fmla="*/ 476762 h 479077"/>
                <a:gd name="connsiteX240" fmla="*/ 181635 w 3785642"/>
                <a:gd name="connsiteY240" fmla="*/ 476266 h 479077"/>
                <a:gd name="connsiteX241" fmla="*/ 165265 w 3785642"/>
                <a:gd name="connsiteY241" fmla="*/ 474778 h 479077"/>
                <a:gd name="connsiteX242" fmla="*/ 148894 w 3785642"/>
                <a:gd name="connsiteY242" fmla="*/ 476762 h 479077"/>
                <a:gd name="connsiteX243" fmla="*/ 132524 w 3785642"/>
                <a:gd name="connsiteY243" fmla="*/ 476266 h 479077"/>
                <a:gd name="connsiteX244" fmla="*/ 116153 w 3785642"/>
                <a:gd name="connsiteY244" fmla="*/ 475274 h 479077"/>
                <a:gd name="connsiteX245" fmla="*/ 99783 w 3785642"/>
                <a:gd name="connsiteY245" fmla="*/ 475274 h 479077"/>
                <a:gd name="connsiteX246" fmla="*/ 83412 w 3785642"/>
                <a:gd name="connsiteY246" fmla="*/ 475274 h 479077"/>
                <a:gd name="connsiteX247" fmla="*/ 67041 w 3785642"/>
                <a:gd name="connsiteY247" fmla="*/ 474778 h 479077"/>
                <a:gd name="connsiteX248" fmla="*/ 50671 w 3785642"/>
                <a:gd name="connsiteY248" fmla="*/ 475274 h 479077"/>
                <a:gd name="connsiteX249" fmla="*/ 34300 w 3785642"/>
                <a:gd name="connsiteY249" fmla="*/ 475274 h 479077"/>
                <a:gd name="connsiteX250" fmla="*/ 17930 w 3785642"/>
                <a:gd name="connsiteY250" fmla="*/ 475770 h 479077"/>
                <a:gd name="connsiteX251" fmla="*/ 567 w 3785642"/>
                <a:gd name="connsiteY251" fmla="*/ 475770 h 479077"/>
                <a:gd name="connsiteX252" fmla="*/ 12969 w 3785642"/>
                <a:gd name="connsiteY252" fmla="*/ 463368 h 479077"/>
                <a:gd name="connsiteX253" fmla="*/ 24379 w 3785642"/>
                <a:gd name="connsiteY253" fmla="*/ 451958 h 479077"/>
                <a:gd name="connsiteX254" fmla="*/ 35788 w 3785642"/>
                <a:gd name="connsiteY254" fmla="*/ 440053 h 479077"/>
                <a:gd name="connsiteX255" fmla="*/ 48686 w 3785642"/>
                <a:gd name="connsiteY255" fmla="*/ 430131 h 479077"/>
                <a:gd name="connsiteX256" fmla="*/ 59600 w 3785642"/>
                <a:gd name="connsiteY256" fmla="*/ 418225 h 479077"/>
                <a:gd name="connsiteX257" fmla="*/ 70514 w 3785642"/>
                <a:gd name="connsiteY257" fmla="*/ 405823 h 479077"/>
                <a:gd name="connsiteX258" fmla="*/ 83412 w 3785642"/>
                <a:gd name="connsiteY258" fmla="*/ 395406 h 479077"/>
                <a:gd name="connsiteX259" fmla="*/ 94822 w 3785642"/>
                <a:gd name="connsiteY259" fmla="*/ 383500 h 479077"/>
                <a:gd name="connsiteX260" fmla="*/ 106728 w 3785642"/>
                <a:gd name="connsiteY260" fmla="*/ 372090 h 479077"/>
                <a:gd name="connsiteX261" fmla="*/ 117145 w 3785642"/>
                <a:gd name="connsiteY261" fmla="*/ 359688 h 479077"/>
                <a:gd name="connsiteX262" fmla="*/ 128555 w 3785642"/>
                <a:gd name="connsiteY262" fmla="*/ 348278 h 479077"/>
                <a:gd name="connsiteX263" fmla="*/ 140461 w 3785642"/>
                <a:gd name="connsiteY263" fmla="*/ 336868 h 479077"/>
                <a:gd name="connsiteX264" fmla="*/ 152863 w 3785642"/>
                <a:gd name="connsiteY264" fmla="*/ 326451 h 479077"/>
                <a:gd name="connsiteX265" fmla="*/ 164769 w 3785642"/>
                <a:gd name="connsiteY265" fmla="*/ 315041 h 479077"/>
                <a:gd name="connsiteX266" fmla="*/ 176178 w 3785642"/>
                <a:gd name="connsiteY266" fmla="*/ 303135 h 479077"/>
                <a:gd name="connsiteX267" fmla="*/ 188084 w 3785642"/>
                <a:gd name="connsiteY267" fmla="*/ 291725 h 479077"/>
                <a:gd name="connsiteX268" fmla="*/ 199494 w 3785642"/>
                <a:gd name="connsiteY268" fmla="*/ 280315 h 479077"/>
                <a:gd name="connsiteX269" fmla="*/ 210904 w 3785642"/>
                <a:gd name="connsiteY269" fmla="*/ 268906 h 479077"/>
                <a:gd name="connsiteX270" fmla="*/ 221818 w 3785642"/>
                <a:gd name="connsiteY270" fmla="*/ 256504 h 479077"/>
                <a:gd name="connsiteX271" fmla="*/ 233724 w 3785642"/>
                <a:gd name="connsiteY271" fmla="*/ 245094 h 479077"/>
                <a:gd name="connsiteX272" fmla="*/ 244141 w 3785642"/>
                <a:gd name="connsiteY272" fmla="*/ 232692 h 479077"/>
                <a:gd name="connsiteX273" fmla="*/ 257039 w 3785642"/>
                <a:gd name="connsiteY273" fmla="*/ 222770 h 479077"/>
                <a:gd name="connsiteX274" fmla="*/ 266961 w 3785642"/>
                <a:gd name="connsiteY274" fmla="*/ 209376 h 479077"/>
                <a:gd name="connsiteX275" fmla="*/ 278371 w 3785642"/>
                <a:gd name="connsiteY275" fmla="*/ 197966 h 479077"/>
                <a:gd name="connsiteX276" fmla="*/ 291269 w 3785642"/>
                <a:gd name="connsiteY276" fmla="*/ 188045 h 479077"/>
                <a:gd name="connsiteX277" fmla="*/ 301686 w 3785642"/>
                <a:gd name="connsiteY277" fmla="*/ 175147 h 479077"/>
                <a:gd name="connsiteX278" fmla="*/ 313592 w 3785642"/>
                <a:gd name="connsiteY278" fmla="*/ 163737 h 479077"/>
                <a:gd name="connsiteX279" fmla="*/ 325994 w 3785642"/>
                <a:gd name="connsiteY279" fmla="*/ 153319 h 479077"/>
                <a:gd name="connsiteX280" fmla="*/ 337404 w 3785642"/>
                <a:gd name="connsiteY280" fmla="*/ 141910 h 479077"/>
                <a:gd name="connsiteX281" fmla="*/ 347325 w 3785642"/>
                <a:gd name="connsiteY281" fmla="*/ 129012 h 479077"/>
                <a:gd name="connsiteX282" fmla="*/ 360224 w 3785642"/>
                <a:gd name="connsiteY282" fmla="*/ 118594 h 479077"/>
                <a:gd name="connsiteX283" fmla="*/ 371137 w 3785642"/>
                <a:gd name="connsiteY283" fmla="*/ 106192 h 479077"/>
                <a:gd name="connsiteX284" fmla="*/ 382051 w 3785642"/>
                <a:gd name="connsiteY284" fmla="*/ 93790 h 479077"/>
                <a:gd name="connsiteX285" fmla="*/ 393957 w 3785642"/>
                <a:gd name="connsiteY285" fmla="*/ 82380 h 479077"/>
                <a:gd name="connsiteX286" fmla="*/ 405366 w 3785642"/>
                <a:gd name="connsiteY286" fmla="*/ 70475 h 479077"/>
                <a:gd name="connsiteX287" fmla="*/ 417272 w 3785642"/>
                <a:gd name="connsiteY287" fmla="*/ 59561 h 479077"/>
                <a:gd name="connsiteX288" fmla="*/ 429674 w 3785642"/>
                <a:gd name="connsiteY288" fmla="*/ 48647 h 479077"/>
                <a:gd name="connsiteX289" fmla="*/ 440092 w 3785642"/>
                <a:gd name="connsiteY289" fmla="*/ 35749 h 479077"/>
                <a:gd name="connsiteX290" fmla="*/ 452494 w 3785642"/>
                <a:gd name="connsiteY290" fmla="*/ 24835 h 479077"/>
                <a:gd name="connsiteX291" fmla="*/ 463904 w 3785642"/>
                <a:gd name="connsiteY291" fmla="*/ 12929 h 479077"/>
                <a:gd name="connsiteX292" fmla="*/ 475313 w 3785642"/>
                <a:gd name="connsiteY292" fmla="*/ 1024 h 479077"/>
                <a:gd name="connsiteX293" fmla="*/ 491684 w 3785642"/>
                <a:gd name="connsiteY293" fmla="*/ 2512 h 479077"/>
                <a:gd name="connsiteX294" fmla="*/ 508055 w 3785642"/>
                <a:gd name="connsiteY294" fmla="*/ 2512 h 479077"/>
                <a:gd name="connsiteX295" fmla="*/ 524425 w 3785642"/>
                <a:gd name="connsiteY295" fmla="*/ 2512 h 479077"/>
                <a:gd name="connsiteX296" fmla="*/ 540796 w 3785642"/>
                <a:gd name="connsiteY296" fmla="*/ 1024 h 479077"/>
                <a:gd name="connsiteX297" fmla="*/ 557166 w 3785642"/>
                <a:gd name="connsiteY297" fmla="*/ 2512 h 479077"/>
                <a:gd name="connsiteX298" fmla="*/ 573537 w 3785642"/>
                <a:gd name="connsiteY298" fmla="*/ 1024 h 479077"/>
                <a:gd name="connsiteX299" fmla="*/ 589908 w 3785642"/>
                <a:gd name="connsiteY299" fmla="*/ 527 h 479077"/>
                <a:gd name="connsiteX300" fmla="*/ 606278 w 3785642"/>
                <a:gd name="connsiteY300" fmla="*/ 1520 h 479077"/>
                <a:gd name="connsiteX301" fmla="*/ 622649 w 3785642"/>
                <a:gd name="connsiteY301" fmla="*/ 1520 h 479077"/>
                <a:gd name="connsiteX302" fmla="*/ 639019 w 3785642"/>
                <a:gd name="connsiteY302" fmla="*/ 2016 h 479077"/>
                <a:gd name="connsiteX303" fmla="*/ 655390 w 3785642"/>
                <a:gd name="connsiteY303" fmla="*/ 527 h 479077"/>
                <a:gd name="connsiteX304" fmla="*/ 671760 w 3785642"/>
                <a:gd name="connsiteY304" fmla="*/ 1520 h 479077"/>
                <a:gd name="connsiteX305" fmla="*/ 688131 w 3785642"/>
                <a:gd name="connsiteY305" fmla="*/ 2512 h 479077"/>
                <a:gd name="connsiteX306" fmla="*/ 704501 w 3785642"/>
                <a:gd name="connsiteY306" fmla="*/ 1024 h 479077"/>
                <a:gd name="connsiteX307" fmla="*/ 720872 w 3785642"/>
                <a:gd name="connsiteY307" fmla="*/ 1520 h 479077"/>
                <a:gd name="connsiteX308" fmla="*/ 737243 w 3785642"/>
                <a:gd name="connsiteY308" fmla="*/ 2016 h 479077"/>
                <a:gd name="connsiteX309" fmla="*/ 753613 w 3785642"/>
                <a:gd name="connsiteY309" fmla="*/ 1024 h 479077"/>
                <a:gd name="connsiteX310" fmla="*/ 769984 w 3785642"/>
                <a:gd name="connsiteY310" fmla="*/ 527 h 479077"/>
                <a:gd name="connsiteX311" fmla="*/ 786354 w 3785642"/>
                <a:gd name="connsiteY311" fmla="*/ 1520 h 479077"/>
                <a:gd name="connsiteX312" fmla="*/ 802725 w 3785642"/>
                <a:gd name="connsiteY312" fmla="*/ 527 h 479077"/>
                <a:gd name="connsiteX313" fmla="*/ 819096 w 3785642"/>
                <a:gd name="connsiteY313" fmla="*/ 2512 h 479077"/>
                <a:gd name="connsiteX314" fmla="*/ 835466 w 3785642"/>
                <a:gd name="connsiteY314" fmla="*/ 527 h 479077"/>
                <a:gd name="connsiteX315" fmla="*/ 851837 w 3785642"/>
                <a:gd name="connsiteY315" fmla="*/ 1520 h 479077"/>
                <a:gd name="connsiteX316" fmla="*/ 868207 w 3785642"/>
                <a:gd name="connsiteY316" fmla="*/ 2016 h 479077"/>
                <a:gd name="connsiteX317" fmla="*/ 884578 w 3785642"/>
                <a:gd name="connsiteY317" fmla="*/ 2512 h 479077"/>
                <a:gd name="connsiteX318" fmla="*/ 900948 w 3785642"/>
                <a:gd name="connsiteY318" fmla="*/ 1520 h 479077"/>
                <a:gd name="connsiteX319" fmla="*/ 917319 w 3785642"/>
                <a:gd name="connsiteY319" fmla="*/ 1024 h 479077"/>
                <a:gd name="connsiteX320" fmla="*/ 933689 w 3785642"/>
                <a:gd name="connsiteY320" fmla="*/ 2512 h 479077"/>
                <a:gd name="connsiteX321" fmla="*/ 950060 w 3785642"/>
                <a:gd name="connsiteY321" fmla="*/ 1520 h 479077"/>
                <a:gd name="connsiteX322" fmla="*/ 966431 w 3785642"/>
                <a:gd name="connsiteY322" fmla="*/ 2016 h 479077"/>
                <a:gd name="connsiteX323" fmla="*/ 982801 w 3785642"/>
                <a:gd name="connsiteY323" fmla="*/ 2512 h 479077"/>
                <a:gd name="connsiteX324" fmla="*/ 999172 w 3785642"/>
                <a:gd name="connsiteY324" fmla="*/ 1520 h 479077"/>
                <a:gd name="connsiteX325" fmla="*/ 1015542 w 3785642"/>
                <a:gd name="connsiteY325" fmla="*/ 2512 h 479077"/>
                <a:gd name="connsiteX326" fmla="*/ 1031913 w 3785642"/>
                <a:gd name="connsiteY326" fmla="*/ 1520 h 479077"/>
                <a:gd name="connsiteX327" fmla="*/ 1048283 w 3785642"/>
                <a:gd name="connsiteY327" fmla="*/ 2016 h 479077"/>
                <a:gd name="connsiteX328" fmla="*/ 1064654 w 3785642"/>
                <a:gd name="connsiteY328" fmla="*/ 3504 h 479077"/>
                <a:gd name="connsiteX329" fmla="*/ 1081025 w 3785642"/>
                <a:gd name="connsiteY329" fmla="*/ 2016 h 479077"/>
                <a:gd name="connsiteX330" fmla="*/ 1097395 w 3785642"/>
                <a:gd name="connsiteY330" fmla="*/ 2512 h 479077"/>
                <a:gd name="connsiteX331" fmla="*/ 1113766 w 3785642"/>
                <a:gd name="connsiteY331" fmla="*/ 2512 h 479077"/>
                <a:gd name="connsiteX332" fmla="*/ 1130136 w 3785642"/>
                <a:gd name="connsiteY332" fmla="*/ 3504 h 479077"/>
                <a:gd name="connsiteX333" fmla="*/ 1146507 w 3785642"/>
                <a:gd name="connsiteY333" fmla="*/ 1520 h 479077"/>
                <a:gd name="connsiteX334" fmla="*/ 1162878 w 3785642"/>
                <a:gd name="connsiteY334" fmla="*/ 3008 h 479077"/>
                <a:gd name="connsiteX335" fmla="*/ 1179248 w 3785642"/>
                <a:gd name="connsiteY335" fmla="*/ 4000 h 479077"/>
                <a:gd name="connsiteX336" fmla="*/ 1195619 w 3785642"/>
                <a:gd name="connsiteY336" fmla="*/ 3504 h 479077"/>
                <a:gd name="connsiteX337" fmla="*/ 1211989 w 3785642"/>
                <a:gd name="connsiteY337" fmla="*/ 1520 h 479077"/>
                <a:gd name="connsiteX338" fmla="*/ 1228360 w 3785642"/>
                <a:gd name="connsiteY338" fmla="*/ 3504 h 479077"/>
                <a:gd name="connsiteX339" fmla="*/ 1244730 w 3785642"/>
                <a:gd name="connsiteY339" fmla="*/ 1520 h 479077"/>
                <a:gd name="connsiteX340" fmla="*/ 1261101 w 3785642"/>
                <a:gd name="connsiteY340" fmla="*/ 2512 h 479077"/>
                <a:gd name="connsiteX341" fmla="*/ 1277471 w 3785642"/>
                <a:gd name="connsiteY341" fmla="*/ 3504 h 479077"/>
                <a:gd name="connsiteX342" fmla="*/ 1293842 w 3785642"/>
                <a:gd name="connsiteY342" fmla="*/ 4000 h 479077"/>
                <a:gd name="connsiteX343" fmla="*/ 1310213 w 3785642"/>
                <a:gd name="connsiteY343" fmla="*/ 1520 h 479077"/>
                <a:gd name="connsiteX344" fmla="*/ 1326583 w 3785642"/>
                <a:gd name="connsiteY344" fmla="*/ 2016 h 479077"/>
                <a:gd name="connsiteX345" fmla="*/ 1342954 w 3785642"/>
                <a:gd name="connsiteY345" fmla="*/ 3008 h 479077"/>
                <a:gd name="connsiteX346" fmla="*/ 1359324 w 3785642"/>
                <a:gd name="connsiteY346" fmla="*/ 3008 h 479077"/>
                <a:gd name="connsiteX347" fmla="*/ 1375695 w 3785642"/>
                <a:gd name="connsiteY347" fmla="*/ 2512 h 479077"/>
                <a:gd name="connsiteX348" fmla="*/ 1392066 w 3785642"/>
                <a:gd name="connsiteY348" fmla="*/ 2512 h 479077"/>
                <a:gd name="connsiteX349" fmla="*/ 1408436 w 3785642"/>
                <a:gd name="connsiteY349" fmla="*/ 3504 h 479077"/>
                <a:gd name="connsiteX350" fmla="*/ 1424807 w 3785642"/>
                <a:gd name="connsiteY350" fmla="*/ 3504 h 479077"/>
                <a:gd name="connsiteX351" fmla="*/ 1441177 w 3785642"/>
                <a:gd name="connsiteY351" fmla="*/ 1520 h 479077"/>
                <a:gd name="connsiteX352" fmla="*/ 1457548 w 3785642"/>
                <a:gd name="connsiteY352" fmla="*/ 2512 h 479077"/>
                <a:gd name="connsiteX353" fmla="*/ 1473919 w 3785642"/>
                <a:gd name="connsiteY353" fmla="*/ 2016 h 479077"/>
                <a:gd name="connsiteX354" fmla="*/ 1490289 w 3785642"/>
                <a:gd name="connsiteY354" fmla="*/ 2016 h 479077"/>
                <a:gd name="connsiteX355" fmla="*/ 1506660 w 3785642"/>
                <a:gd name="connsiteY355" fmla="*/ 1520 h 479077"/>
                <a:gd name="connsiteX356" fmla="*/ 1523030 w 3785642"/>
                <a:gd name="connsiteY356" fmla="*/ 3504 h 479077"/>
                <a:gd name="connsiteX357" fmla="*/ 1539401 w 3785642"/>
                <a:gd name="connsiteY357" fmla="*/ 3008 h 479077"/>
                <a:gd name="connsiteX358" fmla="*/ 1555771 w 3785642"/>
                <a:gd name="connsiteY358" fmla="*/ 3008 h 479077"/>
                <a:gd name="connsiteX359" fmla="*/ 1572142 w 3785642"/>
                <a:gd name="connsiteY359" fmla="*/ 2512 h 479077"/>
                <a:gd name="connsiteX360" fmla="*/ 1588512 w 3785642"/>
                <a:gd name="connsiteY360" fmla="*/ 2016 h 479077"/>
                <a:gd name="connsiteX361" fmla="*/ 1604883 w 3785642"/>
                <a:gd name="connsiteY361" fmla="*/ 3008 h 479077"/>
                <a:gd name="connsiteX362" fmla="*/ 1621253 w 3785642"/>
                <a:gd name="connsiteY362" fmla="*/ 3008 h 479077"/>
                <a:gd name="connsiteX363" fmla="*/ 1637624 w 3785642"/>
                <a:gd name="connsiteY36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28466 w 3785642"/>
                <a:gd name="connsiteY30" fmla="*/ 103216 h 479077"/>
                <a:gd name="connsiteX31" fmla="*/ 3417552 w 3785642"/>
                <a:gd name="connsiteY31" fmla="*/ 90814 h 479077"/>
                <a:gd name="connsiteX32" fmla="*/ 3405646 w 3785642"/>
                <a:gd name="connsiteY32" fmla="*/ 79404 h 479077"/>
                <a:gd name="connsiteX33" fmla="*/ 3393740 w 3785642"/>
                <a:gd name="connsiteY33" fmla="*/ 68490 h 479077"/>
                <a:gd name="connsiteX34" fmla="*/ 3382330 w 3785642"/>
                <a:gd name="connsiteY34" fmla="*/ 56584 h 479077"/>
                <a:gd name="connsiteX35" fmla="*/ 3370921 w 3785642"/>
                <a:gd name="connsiteY35" fmla="*/ 44678 h 479077"/>
                <a:gd name="connsiteX36" fmla="*/ 3313375 w 3785642"/>
                <a:gd name="connsiteY36" fmla="*/ 10945 h 479077"/>
                <a:gd name="connsiteX37" fmla="*/ 3300973 w 3785642"/>
                <a:gd name="connsiteY37" fmla="*/ 21363 h 479077"/>
                <a:gd name="connsiteX38" fmla="*/ 3289068 w 3785642"/>
                <a:gd name="connsiteY38" fmla="*/ 32276 h 479077"/>
                <a:gd name="connsiteX39" fmla="*/ 3277658 w 3785642"/>
                <a:gd name="connsiteY39" fmla="*/ 43686 h 479077"/>
                <a:gd name="connsiteX40" fmla="*/ 3266248 w 3785642"/>
                <a:gd name="connsiteY40" fmla="*/ 55592 h 479077"/>
                <a:gd name="connsiteX41" fmla="*/ 3255830 w 3785642"/>
                <a:gd name="connsiteY41" fmla="*/ 68490 h 479077"/>
                <a:gd name="connsiteX42" fmla="*/ 3243924 w 3785642"/>
                <a:gd name="connsiteY42" fmla="*/ 79900 h 479077"/>
                <a:gd name="connsiteX43" fmla="*/ 3231522 w 3785642"/>
                <a:gd name="connsiteY43" fmla="*/ 90814 h 479077"/>
                <a:gd name="connsiteX44" fmla="*/ 3220609 w 3785642"/>
                <a:gd name="connsiteY44" fmla="*/ 102720 h 479077"/>
                <a:gd name="connsiteX45" fmla="*/ 3208207 w 3785642"/>
                <a:gd name="connsiteY45" fmla="*/ 113137 h 479077"/>
                <a:gd name="connsiteX46" fmla="*/ 3197293 w 3785642"/>
                <a:gd name="connsiteY46" fmla="*/ 125043 h 479077"/>
                <a:gd name="connsiteX47" fmla="*/ 3185387 w 3785642"/>
                <a:gd name="connsiteY47" fmla="*/ 136453 h 479077"/>
                <a:gd name="connsiteX48" fmla="*/ 3174970 w 3785642"/>
                <a:gd name="connsiteY48" fmla="*/ 148855 h 479077"/>
                <a:gd name="connsiteX49" fmla="*/ 3162071 w 3785642"/>
                <a:gd name="connsiteY49" fmla="*/ 159272 h 479077"/>
                <a:gd name="connsiteX50" fmla="*/ 3151158 w 3785642"/>
                <a:gd name="connsiteY50" fmla="*/ 171674 h 479077"/>
                <a:gd name="connsiteX51" fmla="*/ 3139252 w 3785642"/>
                <a:gd name="connsiteY51" fmla="*/ 182588 h 479077"/>
                <a:gd name="connsiteX52" fmla="*/ 3127843 w 3785642"/>
                <a:gd name="connsiteY52" fmla="*/ 194494 h 479077"/>
                <a:gd name="connsiteX53" fmla="*/ 3116432 w 3785642"/>
                <a:gd name="connsiteY53" fmla="*/ 205904 h 479077"/>
                <a:gd name="connsiteX54" fmla="*/ 3105022 w 3785642"/>
                <a:gd name="connsiteY54" fmla="*/ 217810 h 479077"/>
                <a:gd name="connsiteX55" fmla="*/ 3093117 w 3785642"/>
                <a:gd name="connsiteY55" fmla="*/ 229219 h 479077"/>
                <a:gd name="connsiteX56" fmla="*/ 3081707 w 3785642"/>
                <a:gd name="connsiteY56" fmla="*/ 240629 h 479077"/>
                <a:gd name="connsiteX57" fmla="*/ 3069305 w 3785642"/>
                <a:gd name="connsiteY57" fmla="*/ 251543 h 479077"/>
                <a:gd name="connsiteX58" fmla="*/ 3057895 w 3785642"/>
                <a:gd name="connsiteY58" fmla="*/ 263449 h 479077"/>
                <a:gd name="connsiteX59" fmla="*/ 3046486 w 3785642"/>
                <a:gd name="connsiteY59" fmla="*/ 275355 h 479077"/>
                <a:gd name="connsiteX60" fmla="*/ 3035572 w 3785642"/>
                <a:gd name="connsiteY60" fmla="*/ 287260 h 479077"/>
                <a:gd name="connsiteX61" fmla="*/ 3024658 w 3785642"/>
                <a:gd name="connsiteY61" fmla="*/ 299166 h 479077"/>
                <a:gd name="connsiteX62" fmla="*/ 3013248 w 3785642"/>
                <a:gd name="connsiteY62" fmla="*/ 311072 h 479077"/>
                <a:gd name="connsiteX63" fmla="*/ 3000350 w 3785642"/>
                <a:gd name="connsiteY63" fmla="*/ 321490 h 479077"/>
                <a:gd name="connsiteX64" fmla="*/ 2988941 w 3785642"/>
                <a:gd name="connsiteY64" fmla="*/ 333396 h 479077"/>
                <a:gd name="connsiteX65" fmla="*/ 2976539 w 3785642"/>
                <a:gd name="connsiteY65" fmla="*/ 344309 h 479077"/>
                <a:gd name="connsiteX66" fmla="*/ 2965129 w 3785642"/>
                <a:gd name="connsiteY66" fmla="*/ 356215 h 479077"/>
                <a:gd name="connsiteX67" fmla="*/ 2953223 w 3785642"/>
                <a:gd name="connsiteY67" fmla="*/ 367625 h 479077"/>
                <a:gd name="connsiteX68" fmla="*/ 2941813 w 3785642"/>
                <a:gd name="connsiteY68" fmla="*/ 379531 h 479077"/>
                <a:gd name="connsiteX69" fmla="*/ 2931395 w 3785642"/>
                <a:gd name="connsiteY69" fmla="*/ 392429 h 479077"/>
                <a:gd name="connsiteX70" fmla="*/ 2918497 w 3785642"/>
                <a:gd name="connsiteY70" fmla="*/ 402847 h 479077"/>
                <a:gd name="connsiteX71" fmla="*/ 2907584 w 3785642"/>
                <a:gd name="connsiteY71" fmla="*/ 415249 h 479077"/>
                <a:gd name="connsiteX72" fmla="*/ 2896174 w 3785642"/>
                <a:gd name="connsiteY72" fmla="*/ 426658 h 479077"/>
                <a:gd name="connsiteX73" fmla="*/ 2884268 w 3785642"/>
                <a:gd name="connsiteY73" fmla="*/ 438068 h 479077"/>
                <a:gd name="connsiteX74" fmla="*/ 2873354 w 3785642"/>
                <a:gd name="connsiteY74" fmla="*/ 450470 h 479077"/>
                <a:gd name="connsiteX75" fmla="*/ 2860952 w 3785642"/>
                <a:gd name="connsiteY75" fmla="*/ 461384 h 479077"/>
                <a:gd name="connsiteX76" fmla="*/ 2850039 w 3785642"/>
                <a:gd name="connsiteY76" fmla="*/ 473786 h 479077"/>
                <a:gd name="connsiteX77" fmla="*/ 2833668 w 3785642"/>
                <a:gd name="connsiteY77" fmla="*/ 473786 h 479077"/>
                <a:gd name="connsiteX78" fmla="*/ 2817297 w 3785642"/>
                <a:gd name="connsiteY78" fmla="*/ 473290 h 479077"/>
                <a:gd name="connsiteX79" fmla="*/ 2800927 w 3785642"/>
                <a:gd name="connsiteY79" fmla="*/ 473290 h 479077"/>
                <a:gd name="connsiteX80" fmla="*/ 2784556 w 3785642"/>
                <a:gd name="connsiteY80" fmla="*/ 473786 h 479077"/>
                <a:gd name="connsiteX81" fmla="*/ 2768186 w 3785642"/>
                <a:gd name="connsiteY81" fmla="*/ 474282 h 479077"/>
                <a:gd name="connsiteX82" fmla="*/ 2751815 w 3785642"/>
                <a:gd name="connsiteY82" fmla="*/ 474282 h 479077"/>
                <a:gd name="connsiteX83" fmla="*/ 2735444 w 3785642"/>
                <a:gd name="connsiteY83" fmla="*/ 473290 h 479077"/>
                <a:gd name="connsiteX84" fmla="*/ 2719074 w 3785642"/>
                <a:gd name="connsiteY84" fmla="*/ 474282 h 479077"/>
                <a:gd name="connsiteX85" fmla="*/ 2702703 w 3785642"/>
                <a:gd name="connsiteY85" fmla="*/ 472298 h 479077"/>
                <a:gd name="connsiteX86" fmla="*/ 2686333 w 3785642"/>
                <a:gd name="connsiteY86" fmla="*/ 472794 h 479077"/>
                <a:gd name="connsiteX87" fmla="*/ 2669962 w 3785642"/>
                <a:gd name="connsiteY87" fmla="*/ 474282 h 479077"/>
                <a:gd name="connsiteX88" fmla="*/ 2653592 w 3785642"/>
                <a:gd name="connsiteY88" fmla="*/ 472298 h 479077"/>
                <a:gd name="connsiteX89" fmla="*/ 2637221 w 3785642"/>
                <a:gd name="connsiteY89" fmla="*/ 474282 h 479077"/>
                <a:gd name="connsiteX90" fmla="*/ 2620851 w 3785642"/>
                <a:gd name="connsiteY90" fmla="*/ 474282 h 479077"/>
                <a:gd name="connsiteX91" fmla="*/ 2604480 w 3785642"/>
                <a:gd name="connsiteY91" fmla="*/ 472298 h 479077"/>
                <a:gd name="connsiteX92" fmla="*/ 2588109 w 3785642"/>
                <a:gd name="connsiteY92" fmla="*/ 473786 h 479077"/>
                <a:gd name="connsiteX93" fmla="*/ 2571739 w 3785642"/>
                <a:gd name="connsiteY93" fmla="*/ 472298 h 479077"/>
                <a:gd name="connsiteX94" fmla="*/ 2555368 w 3785642"/>
                <a:gd name="connsiteY94" fmla="*/ 473290 h 479077"/>
                <a:gd name="connsiteX95" fmla="*/ 2538998 w 3785642"/>
                <a:gd name="connsiteY95" fmla="*/ 474282 h 479077"/>
                <a:gd name="connsiteX96" fmla="*/ 2522627 w 3785642"/>
                <a:gd name="connsiteY96" fmla="*/ 473290 h 479077"/>
                <a:gd name="connsiteX97" fmla="*/ 2506257 w 3785642"/>
                <a:gd name="connsiteY97" fmla="*/ 474282 h 479077"/>
                <a:gd name="connsiteX98" fmla="*/ 2489886 w 3785642"/>
                <a:gd name="connsiteY98" fmla="*/ 473786 h 479077"/>
                <a:gd name="connsiteX99" fmla="*/ 2473516 w 3785642"/>
                <a:gd name="connsiteY99" fmla="*/ 474282 h 479077"/>
                <a:gd name="connsiteX100" fmla="*/ 2457145 w 3785642"/>
                <a:gd name="connsiteY100" fmla="*/ 472794 h 479077"/>
                <a:gd name="connsiteX101" fmla="*/ 2440775 w 3785642"/>
                <a:gd name="connsiteY101" fmla="*/ 472298 h 479077"/>
                <a:gd name="connsiteX102" fmla="*/ 2424404 w 3785642"/>
                <a:gd name="connsiteY102" fmla="*/ 473786 h 479077"/>
                <a:gd name="connsiteX103" fmla="*/ 2408033 w 3785642"/>
                <a:gd name="connsiteY103" fmla="*/ 472794 h 479077"/>
                <a:gd name="connsiteX104" fmla="*/ 2391663 w 3785642"/>
                <a:gd name="connsiteY104" fmla="*/ 473290 h 479077"/>
                <a:gd name="connsiteX105" fmla="*/ 2375292 w 3785642"/>
                <a:gd name="connsiteY105" fmla="*/ 473290 h 479077"/>
                <a:gd name="connsiteX106" fmla="*/ 2358922 w 3785642"/>
                <a:gd name="connsiteY106" fmla="*/ 472794 h 479077"/>
                <a:gd name="connsiteX107" fmla="*/ 2342551 w 3785642"/>
                <a:gd name="connsiteY107" fmla="*/ 472298 h 479077"/>
                <a:gd name="connsiteX108" fmla="*/ 2326180 w 3785642"/>
                <a:gd name="connsiteY108" fmla="*/ 473786 h 479077"/>
                <a:gd name="connsiteX109" fmla="*/ 2309810 w 3785642"/>
                <a:gd name="connsiteY109" fmla="*/ 473786 h 479077"/>
                <a:gd name="connsiteX110" fmla="*/ 2293439 w 3785642"/>
                <a:gd name="connsiteY110" fmla="*/ 473786 h 479077"/>
                <a:gd name="connsiteX111" fmla="*/ 2277069 w 3785642"/>
                <a:gd name="connsiteY111" fmla="*/ 472794 h 479077"/>
                <a:gd name="connsiteX112" fmla="*/ 2260698 w 3785642"/>
                <a:gd name="connsiteY112" fmla="*/ 474282 h 479077"/>
                <a:gd name="connsiteX113" fmla="*/ 2244327 w 3785642"/>
                <a:gd name="connsiteY113" fmla="*/ 472298 h 479077"/>
                <a:gd name="connsiteX114" fmla="*/ 2227957 w 3785642"/>
                <a:gd name="connsiteY114" fmla="*/ 474282 h 479077"/>
                <a:gd name="connsiteX115" fmla="*/ 2211586 w 3785642"/>
                <a:gd name="connsiteY115" fmla="*/ 473290 h 479077"/>
                <a:gd name="connsiteX116" fmla="*/ 2195216 w 3785642"/>
                <a:gd name="connsiteY116" fmla="*/ 474282 h 479077"/>
                <a:gd name="connsiteX117" fmla="*/ 2178845 w 3785642"/>
                <a:gd name="connsiteY117" fmla="*/ 472794 h 479077"/>
                <a:gd name="connsiteX118" fmla="*/ 2162474 w 3785642"/>
                <a:gd name="connsiteY118" fmla="*/ 474778 h 479077"/>
                <a:gd name="connsiteX119" fmla="*/ 2146104 w 3785642"/>
                <a:gd name="connsiteY119" fmla="*/ 473290 h 479077"/>
                <a:gd name="connsiteX120" fmla="*/ 2129733 w 3785642"/>
                <a:gd name="connsiteY120" fmla="*/ 474778 h 479077"/>
                <a:gd name="connsiteX121" fmla="*/ 2113363 w 3785642"/>
                <a:gd name="connsiteY121" fmla="*/ 474778 h 479077"/>
                <a:gd name="connsiteX122" fmla="*/ 2096992 w 3785642"/>
                <a:gd name="connsiteY122" fmla="*/ 474778 h 479077"/>
                <a:gd name="connsiteX123" fmla="*/ 2080621 w 3785642"/>
                <a:gd name="connsiteY123" fmla="*/ 474282 h 479077"/>
                <a:gd name="connsiteX124" fmla="*/ 2064251 w 3785642"/>
                <a:gd name="connsiteY124" fmla="*/ 472794 h 479077"/>
                <a:gd name="connsiteX125" fmla="*/ 2047880 w 3785642"/>
                <a:gd name="connsiteY125" fmla="*/ 474778 h 479077"/>
                <a:gd name="connsiteX126" fmla="*/ 2031510 w 3785642"/>
                <a:gd name="connsiteY126" fmla="*/ 474778 h 479077"/>
                <a:gd name="connsiteX127" fmla="*/ 2015139 w 3785642"/>
                <a:gd name="connsiteY127" fmla="*/ 474778 h 479077"/>
                <a:gd name="connsiteX128" fmla="*/ 1998769 w 3785642"/>
                <a:gd name="connsiteY128" fmla="*/ 474282 h 479077"/>
                <a:gd name="connsiteX129" fmla="*/ 1982398 w 3785642"/>
                <a:gd name="connsiteY129" fmla="*/ 473786 h 479077"/>
                <a:gd name="connsiteX130" fmla="*/ 1966028 w 3785642"/>
                <a:gd name="connsiteY130" fmla="*/ 473786 h 479077"/>
                <a:gd name="connsiteX131" fmla="*/ 1949657 w 3785642"/>
                <a:gd name="connsiteY131" fmla="*/ 472794 h 479077"/>
                <a:gd name="connsiteX132" fmla="*/ 1933287 w 3785642"/>
                <a:gd name="connsiteY132" fmla="*/ 473290 h 479077"/>
                <a:gd name="connsiteX133" fmla="*/ 1916916 w 3785642"/>
                <a:gd name="connsiteY133" fmla="*/ 474778 h 479077"/>
                <a:gd name="connsiteX134" fmla="*/ 1900546 w 3785642"/>
                <a:gd name="connsiteY134" fmla="*/ 472794 h 479077"/>
                <a:gd name="connsiteX135" fmla="*/ 1884175 w 3785642"/>
                <a:gd name="connsiteY135" fmla="*/ 473786 h 479077"/>
                <a:gd name="connsiteX136" fmla="*/ 1867804 w 3785642"/>
                <a:gd name="connsiteY136" fmla="*/ 474778 h 479077"/>
                <a:gd name="connsiteX137" fmla="*/ 1851434 w 3785642"/>
                <a:gd name="connsiteY137" fmla="*/ 474778 h 479077"/>
                <a:gd name="connsiteX138" fmla="*/ 1835063 w 3785642"/>
                <a:gd name="connsiteY138" fmla="*/ 474778 h 479077"/>
                <a:gd name="connsiteX139" fmla="*/ 1818693 w 3785642"/>
                <a:gd name="connsiteY139" fmla="*/ 474282 h 479077"/>
                <a:gd name="connsiteX140" fmla="*/ 1802322 w 3785642"/>
                <a:gd name="connsiteY140" fmla="*/ 472794 h 479077"/>
                <a:gd name="connsiteX141" fmla="*/ 1785951 w 3785642"/>
                <a:gd name="connsiteY141" fmla="*/ 473786 h 479077"/>
                <a:gd name="connsiteX142" fmla="*/ 1769581 w 3785642"/>
                <a:gd name="connsiteY142" fmla="*/ 473290 h 479077"/>
                <a:gd name="connsiteX143" fmla="*/ 1753210 w 3785642"/>
                <a:gd name="connsiteY143" fmla="*/ 472298 h 479077"/>
                <a:gd name="connsiteX144" fmla="*/ 1736840 w 3785642"/>
                <a:gd name="connsiteY144" fmla="*/ 473290 h 479077"/>
                <a:gd name="connsiteX145" fmla="*/ 1720469 w 3785642"/>
                <a:gd name="connsiteY145" fmla="*/ 474778 h 479077"/>
                <a:gd name="connsiteX146" fmla="*/ 1704098 w 3785642"/>
                <a:gd name="connsiteY146" fmla="*/ 472794 h 479077"/>
                <a:gd name="connsiteX147" fmla="*/ 1687728 w 3785642"/>
                <a:gd name="connsiteY147" fmla="*/ 474778 h 479077"/>
                <a:gd name="connsiteX148" fmla="*/ 1671357 w 3785642"/>
                <a:gd name="connsiteY148" fmla="*/ 474778 h 479077"/>
                <a:gd name="connsiteX149" fmla="*/ 1654987 w 3785642"/>
                <a:gd name="connsiteY149" fmla="*/ 472298 h 479077"/>
                <a:gd name="connsiteX150" fmla="*/ 1638616 w 3785642"/>
                <a:gd name="connsiteY150" fmla="*/ 472794 h 479077"/>
                <a:gd name="connsiteX151" fmla="*/ 1622246 w 3785642"/>
                <a:gd name="connsiteY151" fmla="*/ 473786 h 479077"/>
                <a:gd name="connsiteX152" fmla="*/ 1605875 w 3785642"/>
                <a:gd name="connsiteY152" fmla="*/ 474778 h 479077"/>
                <a:gd name="connsiteX153" fmla="*/ 1589505 w 3785642"/>
                <a:gd name="connsiteY153" fmla="*/ 473290 h 479077"/>
                <a:gd name="connsiteX154" fmla="*/ 1573134 w 3785642"/>
                <a:gd name="connsiteY154" fmla="*/ 474778 h 479077"/>
                <a:gd name="connsiteX155" fmla="*/ 1556763 w 3785642"/>
                <a:gd name="connsiteY155" fmla="*/ 472794 h 479077"/>
                <a:gd name="connsiteX156" fmla="*/ 1540393 w 3785642"/>
                <a:gd name="connsiteY156" fmla="*/ 472794 h 479077"/>
                <a:gd name="connsiteX157" fmla="*/ 1524022 w 3785642"/>
                <a:gd name="connsiteY157" fmla="*/ 474282 h 479077"/>
                <a:gd name="connsiteX158" fmla="*/ 1507652 w 3785642"/>
                <a:gd name="connsiteY158" fmla="*/ 472794 h 479077"/>
                <a:gd name="connsiteX159" fmla="*/ 1491281 w 3785642"/>
                <a:gd name="connsiteY159" fmla="*/ 474282 h 479077"/>
                <a:gd name="connsiteX160" fmla="*/ 1474910 w 3785642"/>
                <a:gd name="connsiteY160" fmla="*/ 474282 h 479077"/>
                <a:gd name="connsiteX161" fmla="*/ 1458540 w 3785642"/>
                <a:gd name="connsiteY161" fmla="*/ 472794 h 479077"/>
                <a:gd name="connsiteX162" fmla="*/ 1442169 w 3785642"/>
                <a:gd name="connsiteY162" fmla="*/ 471802 h 479077"/>
                <a:gd name="connsiteX163" fmla="*/ 1425799 w 3785642"/>
                <a:gd name="connsiteY163" fmla="*/ 472298 h 479077"/>
                <a:gd name="connsiteX164" fmla="*/ 1409428 w 3785642"/>
                <a:gd name="connsiteY164" fmla="*/ 472794 h 479077"/>
                <a:gd name="connsiteX165" fmla="*/ 1393058 w 3785642"/>
                <a:gd name="connsiteY165" fmla="*/ 473786 h 479077"/>
                <a:gd name="connsiteX166" fmla="*/ 1376687 w 3785642"/>
                <a:gd name="connsiteY166" fmla="*/ 471802 h 479077"/>
                <a:gd name="connsiteX167" fmla="*/ 1360317 w 3785642"/>
                <a:gd name="connsiteY167" fmla="*/ 473786 h 479077"/>
                <a:gd name="connsiteX168" fmla="*/ 1343946 w 3785642"/>
                <a:gd name="connsiteY168" fmla="*/ 473786 h 479077"/>
                <a:gd name="connsiteX169" fmla="*/ 1327576 w 3785642"/>
                <a:gd name="connsiteY169" fmla="*/ 472794 h 479077"/>
                <a:gd name="connsiteX170" fmla="*/ 1311205 w 3785642"/>
                <a:gd name="connsiteY170" fmla="*/ 473786 h 479077"/>
                <a:gd name="connsiteX171" fmla="*/ 1294834 w 3785642"/>
                <a:gd name="connsiteY171" fmla="*/ 473786 h 479077"/>
                <a:gd name="connsiteX172" fmla="*/ 1278464 w 3785642"/>
                <a:gd name="connsiteY172" fmla="*/ 473786 h 479077"/>
                <a:gd name="connsiteX173" fmla="*/ 1262093 w 3785642"/>
                <a:gd name="connsiteY173" fmla="*/ 473786 h 479077"/>
                <a:gd name="connsiteX174" fmla="*/ 1245723 w 3785642"/>
                <a:gd name="connsiteY174" fmla="*/ 473290 h 479077"/>
                <a:gd name="connsiteX175" fmla="*/ 1229352 w 3785642"/>
                <a:gd name="connsiteY175" fmla="*/ 472794 h 479077"/>
                <a:gd name="connsiteX176" fmla="*/ 1212981 w 3785642"/>
                <a:gd name="connsiteY176" fmla="*/ 473786 h 479077"/>
                <a:gd name="connsiteX177" fmla="*/ 1196611 w 3785642"/>
                <a:gd name="connsiteY177" fmla="*/ 472298 h 479077"/>
                <a:gd name="connsiteX178" fmla="*/ 1180240 w 3785642"/>
                <a:gd name="connsiteY178" fmla="*/ 472794 h 479077"/>
                <a:gd name="connsiteX179" fmla="*/ 1163870 w 3785642"/>
                <a:gd name="connsiteY179" fmla="*/ 472794 h 479077"/>
                <a:gd name="connsiteX180" fmla="*/ 1147499 w 3785642"/>
                <a:gd name="connsiteY180" fmla="*/ 473786 h 479077"/>
                <a:gd name="connsiteX181" fmla="*/ 1131128 w 3785642"/>
                <a:gd name="connsiteY181" fmla="*/ 473786 h 479077"/>
                <a:gd name="connsiteX182" fmla="*/ 1114758 w 3785642"/>
                <a:gd name="connsiteY182" fmla="*/ 472794 h 479077"/>
                <a:gd name="connsiteX183" fmla="*/ 1098387 w 3785642"/>
                <a:gd name="connsiteY183" fmla="*/ 473786 h 479077"/>
                <a:gd name="connsiteX184" fmla="*/ 1082017 w 3785642"/>
                <a:gd name="connsiteY184" fmla="*/ 474778 h 479077"/>
                <a:gd name="connsiteX185" fmla="*/ 1065646 w 3785642"/>
                <a:gd name="connsiteY185" fmla="*/ 474778 h 479077"/>
                <a:gd name="connsiteX186" fmla="*/ 1049276 w 3785642"/>
                <a:gd name="connsiteY186" fmla="*/ 474282 h 479077"/>
                <a:gd name="connsiteX187" fmla="*/ 1032905 w 3785642"/>
                <a:gd name="connsiteY187" fmla="*/ 473290 h 479077"/>
                <a:gd name="connsiteX188" fmla="*/ 1016535 w 3785642"/>
                <a:gd name="connsiteY188" fmla="*/ 474282 h 479077"/>
                <a:gd name="connsiteX189" fmla="*/ 1000164 w 3785642"/>
                <a:gd name="connsiteY189" fmla="*/ 474282 h 479077"/>
                <a:gd name="connsiteX190" fmla="*/ 983793 w 3785642"/>
                <a:gd name="connsiteY190" fmla="*/ 472794 h 479077"/>
                <a:gd name="connsiteX191" fmla="*/ 967423 w 3785642"/>
                <a:gd name="connsiteY191" fmla="*/ 472794 h 479077"/>
                <a:gd name="connsiteX192" fmla="*/ 951052 w 3785642"/>
                <a:gd name="connsiteY192" fmla="*/ 473786 h 479077"/>
                <a:gd name="connsiteX193" fmla="*/ 934682 w 3785642"/>
                <a:gd name="connsiteY193" fmla="*/ 474282 h 479077"/>
                <a:gd name="connsiteX194" fmla="*/ 918311 w 3785642"/>
                <a:gd name="connsiteY194" fmla="*/ 474778 h 479077"/>
                <a:gd name="connsiteX195" fmla="*/ 901940 w 3785642"/>
                <a:gd name="connsiteY195" fmla="*/ 473290 h 479077"/>
                <a:gd name="connsiteX196" fmla="*/ 885570 w 3785642"/>
                <a:gd name="connsiteY196" fmla="*/ 474778 h 479077"/>
                <a:gd name="connsiteX197" fmla="*/ 869199 w 3785642"/>
                <a:gd name="connsiteY197" fmla="*/ 474282 h 479077"/>
                <a:gd name="connsiteX198" fmla="*/ 852829 w 3785642"/>
                <a:gd name="connsiteY198" fmla="*/ 473786 h 479077"/>
                <a:gd name="connsiteX199" fmla="*/ 836458 w 3785642"/>
                <a:gd name="connsiteY199" fmla="*/ 474778 h 479077"/>
                <a:gd name="connsiteX200" fmla="*/ 820088 w 3785642"/>
                <a:gd name="connsiteY200" fmla="*/ 475274 h 479077"/>
                <a:gd name="connsiteX201" fmla="*/ 803717 w 3785642"/>
                <a:gd name="connsiteY201" fmla="*/ 473786 h 479077"/>
                <a:gd name="connsiteX202" fmla="*/ 787347 w 3785642"/>
                <a:gd name="connsiteY202" fmla="*/ 475770 h 479077"/>
                <a:gd name="connsiteX203" fmla="*/ 770976 w 3785642"/>
                <a:gd name="connsiteY203" fmla="*/ 474778 h 479077"/>
                <a:gd name="connsiteX204" fmla="*/ 754605 w 3785642"/>
                <a:gd name="connsiteY204" fmla="*/ 475274 h 479077"/>
                <a:gd name="connsiteX205" fmla="*/ 738235 w 3785642"/>
                <a:gd name="connsiteY205" fmla="*/ 473786 h 479077"/>
                <a:gd name="connsiteX206" fmla="*/ 721864 w 3785642"/>
                <a:gd name="connsiteY206" fmla="*/ 475274 h 479077"/>
                <a:gd name="connsiteX207" fmla="*/ 705494 w 3785642"/>
                <a:gd name="connsiteY207" fmla="*/ 475770 h 479077"/>
                <a:gd name="connsiteX208" fmla="*/ 689123 w 3785642"/>
                <a:gd name="connsiteY208" fmla="*/ 474282 h 479077"/>
                <a:gd name="connsiteX209" fmla="*/ 672753 w 3785642"/>
                <a:gd name="connsiteY209" fmla="*/ 475274 h 479077"/>
                <a:gd name="connsiteX210" fmla="*/ 656382 w 3785642"/>
                <a:gd name="connsiteY210" fmla="*/ 474778 h 479077"/>
                <a:gd name="connsiteX211" fmla="*/ 640011 w 3785642"/>
                <a:gd name="connsiteY211" fmla="*/ 475770 h 479077"/>
                <a:gd name="connsiteX212" fmla="*/ 623641 w 3785642"/>
                <a:gd name="connsiteY212" fmla="*/ 473786 h 479077"/>
                <a:gd name="connsiteX213" fmla="*/ 607270 w 3785642"/>
                <a:gd name="connsiteY213" fmla="*/ 474778 h 479077"/>
                <a:gd name="connsiteX214" fmla="*/ 590900 w 3785642"/>
                <a:gd name="connsiteY214" fmla="*/ 475274 h 479077"/>
                <a:gd name="connsiteX215" fmla="*/ 574529 w 3785642"/>
                <a:gd name="connsiteY215" fmla="*/ 474282 h 479077"/>
                <a:gd name="connsiteX216" fmla="*/ 558158 w 3785642"/>
                <a:gd name="connsiteY216" fmla="*/ 475274 h 479077"/>
                <a:gd name="connsiteX217" fmla="*/ 541788 w 3785642"/>
                <a:gd name="connsiteY217" fmla="*/ 475770 h 479077"/>
                <a:gd name="connsiteX218" fmla="*/ 525417 w 3785642"/>
                <a:gd name="connsiteY218" fmla="*/ 474282 h 479077"/>
                <a:gd name="connsiteX219" fmla="*/ 509047 w 3785642"/>
                <a:gd name="connsiteY219" fmla="*/ 473786 h 479077"/>
                <a:gd name="connsiteX220" fmla="*/ 492676 w 3785642"/>
                <a:gd name="connsiteY220" fmla="*/ 473786 h 479077"/>
                <a:gd name="connsiteX221" fmla="*/ 476306 w 3785642"/>
                <a:gd name="connsiteY221" fmla="*/ 474778 h 479077"/>
                <a:gd name="connsiteX222" fmla="*/ 459935 w 3785642"/>
                <a:gd name="connsiteY222" fmla="*/ 473786 h 479077"/>
                <a:gd name="connsiteX223" fmla="*/ 443565 w 3785642"/>
                <a:gd name="connsiteY223" fmla="*/ 474778 h 479077"/>
                <a:gd name="connsiteX224" fmla="*/ 427194 w 3785642"/>
                <a:gd name="connsiteY224" fmla="*/ 474282 h 479077"/>
                <a:gd name="connsiteX225" fmla="*/ 410823 w 3785642"/>
                <a:gd name="connsiteY225" fmla="*/ 473290 h 479077"/>
                <a:gd name="connsiteX226" fmla="*/ 394453 w 3785642"/>
                <a:gd name="connsiteY226" fmla="*/ 475770 h 479077"/>
                <a:gd name="connsiteX227" fmla="*/ 378082 w 3785642"/>
                <a:gd name="connsiteY227" fmla="*/ 475274 h 479077"/>
                <a:gd name="connsiteX228" fmla="*/ 361712 w 3785642"/>
                <a:gd name="connsiteY228" fmla="*/ 474778 h 479077"/>
                <a:gd name="connsiteX229" fmla="*/ 345341 w 3785642"/>
                <a:gd name="connsiteY229" fmla="*/ 476266 h 479077"/>
                <a:gd name="connsiteX230" fmla="*/ 328970 w 3785642"/>
                <a:gd name="connsiteY230" fmla="*/ 474282 h 479077"/>
                <a:gd name="connsiteX231" fmla="*/ 312600 w 3785642"/>
                <a:gd name="connsiteY231" fmla="*/ 475274 h 479077"/>
                <a:gd name="connsiteX232" fmla="*/ 296229 w 3785642"/>
                <a:gd name="connsiteY232" fmla="*/ 474282 h 479077"/>
                <a:gd name="connsiteX233" fmla="*/ 279859 w 3785642"/>
                <a:gd name="connsiteY233" fmla="*/ 475770 h 479077"/>
                <a:gd name="connsiteX234" fmla="*/ 263488 w 3785642"/>
                <a:gd name="connsiteY234" fmla="*/ 476266 h 479077"/>
                <a:gd name="connsiteX235" fmla="*/ 247118 w 3785642"/>
                <a:gd name="connsiteY235" fmla="*/ 476266 h 479077"/>
                <a:gd name="connsiteX236" fmla="*/ 230747 w 3785642"/>
                <a:gd name="connsiteY236" fmla="*/ 474778 h 479077"/>
                <a:gd name="connsiteX237" fmla="*/ 214376 w 3785642"/>
                <a:gd name="connsiteY237" fmla="*/ 474778 h 479077"/>
                <a:gd name="connsiteX238" fmla="*/ 198006 w 3785642"/>
                <a:gd name="connsiteY238" fmla="*/ 476762 h 479077"/>
                <a:gd name="connsiteX239" fmla="*/ 181635 w 3785642"/>
                <a:gd name="connsiteY239" fmla="*/ 476266 h 479077"/>
                <a:gd name="connsiteX240" fmla="*/ 165265 w 3785642"/>
                <a:gd name="connsiteY240" fmla="*/ 474778 h 479077"/>
                <a:gd name="connsiteX241" fmla="*/ 148894 w 3785642"/>
                <a:gd name="connsiteY241" fmla="*/ 476762 h 479077"/>
                <a:gd name="connsiteX242" fmla="*/ 132524 w 3785642"/>
                <a:gd name="connsiteY242" fmla="*/ 476266 h 479077"/>
                <a:gd name="connsiteX243" fmla="*/ 116153 w 3785642"/>
                <a:gd name="connsiteY243" fmla="*/ 475274 h 479077"/>
                <a:gd name="connsiteX244" fmla="*/ 99783 w 3785642"/>
                <a:gd name="connsiteY244" fmla="*/ 475274 h 479077"/>
                <a:gd name="connsiteX245" fmla="*/ 83412 w 3785642"/>
                <a:gd name="connsiteY245" fmla="*/ 475274 h 479077"/>
                <a:gd name="connsiteX246" fmla="*/ 67041 w 3785642"/>
                <a:gd name="connsiteY246" fmla="*/ 474778 h 479077"/>
                <a:gd name="connsiteX247" fmla="*/ 50671 w 3785642"/>
                <a:gd name="connsiteY247" fmla="*/ 475274 h 479077"/>
                <a:gd name="connsiteX248" fmla="*/ 34300 w 3785642"/>
                <a:gd name="connsiteY248" fmla="*/ 475274 h 479077"/>
                <a:gd name="connsiteX249" fmla="*/ 17930 w 3785642"/>
                <a:gd name="connsiteY249" fmla="*/ 475770 h 479077"/>
                <a:gd name="connsiteX250" fmla="*/ 567 w 3785642"/>
                <a:gd name="connsiteY250" fmla="*/ 475770 h 479077"/>
                <a:gd name="connsiteX251" fmla="*/ 12969 w 3785642"/>
                <a:gd name="connsiteY251" fmla="*/ 463368 h 479077"/>
                <a:gd name="connsiteX252" fmla="*/ 24379 w 3785642"/>
                <a:gd name="connsiteY252" fmla="*/ 451958 h 479077"/>
                <a:gd name="connsiteX253" fmla="*/ 35788 w 3785642"/>
                <a:gd name="connsiteY253" fmla="*/ 440053 h 479077"/>
                <a:gd name="connsiteX254" fmla="*/ 48686 w 3785642"/>
                <a:gd name="connsiteY254" fmla="*/ 430131 h 479077"/>
                <a:gd name="connsiteX255" fmla="*/ 59600 w 3785642"/>
                <a:gd name="connsiteY255" fmla="*/ 418225 h 479077"/>
                <a:gd name="connsiteX256" fmla="*/ 70514 w 3785642"/>
                <a:gd name="connsiteY256" fmla="*/ 405823 h 479077"/>
                <a:gd name="connsiteX257" fmla="*/ 83412 w 3785642"/>
                <a:gd name="connsiteY257" fmla="*/ 395406 h 479077"/>
                <a:gd name="connsiteX258" fmla="*/ 94822 w 3785642"/>
                <a:gd name="connsiteY258" fmla="*/ 383500 h 479077"/>
                <a:gd name="connsiteX259" fmla="*/ 106728 w 3785642"/>
                <a:gd name="connsiteY259" fmla="*/ 372090 h 479077"/>
                <a:gd name="connsiteX260" fmla="*/ 117145 w 3785642"/>
                <a:gd name="connsiteY260" fmla="*/ 359688 h 479077"/>
                <a:gd name="connsiteX261" fmla="*/ 128555 w 3785642"/>
                <a:gd name="connsiteY261" fmla="*/ 348278 h 479077"/>
                <a:gd name="connsiteX262" fmla="*/ 140461 w 3785642"/>
                <a:gd name="connsiteY262" fmla="*/ 336868 h 479077"/>
                <a:gd name="connsiteX263" fmla="*/ 152863 w 3785642"/>
                <a:gd name="connsiteY263" fmla="*/ 326451 h 479077"/>
                <a:gd name="connsiteX264" fmla="*/ 164769 w 3785642"/>
                <a:gd name="connsiteY264" fmla="*/ 315041 h 479077"/>
                <a:gd name="connsiteX265" fmla="*/ 176178 w 3785642"/>
                <a:gd name="connsiteY265" fmla="*/ 303135 h 479077"/>
                <a:gd name="connsiteX266" fmla="*/ 188084 w 3785642"/>
                <a:gd name="connsiteY266" fmla="*/ 291725 h 479077"/>
                <a:gd name="connsiteX267" fmla="*/ 199494 w 3785642"/>
                <a:gd name="connsiteY267" fmla="*/ 280315 h 479077"/>
                <a:gd name="connsiteX268" fmla="*/ 210904 w 3785642"/>
                <a:gd name="connsiteY268" fmla="*/ 268906 h 479077"/>
                <a:gd name="connsiteX269" fmla="*/ 221818 w 3785642"/>
                <a:gd name="connsiteY269" fmla="*/ 256504 h 479077"/>
                <a:gd name="connsiteX270" fmla="*/ 233724 w 3785642"/>
                <a:gd name="connsiteY270" fmla="*/ 245094 h 479077"/>
                <a:gd name="connsiteX271" fmla="*/ 244141 w 3785642"/>
                <a:gd name="connsiteY271" fmla="*/ 232692 h 479077"/>
                <a:gd name="connsiteX272" fmla="*/ 257039 w 3785642"/>
                <a:gd name="connsiteY272" fmla="*/ 222770 h 479077"/>
                <a:gd name="connsiteX273" fmla="*/ 266961 w 3785642"/>
                <a:gd name="connsiteY273" fmla="*/ 209376 h 479077"/>
                <a:gd name="connsiteX274" fmla="*/ 278371 w 3785642"/>
                <a:gd name="connsiteY274" fmla="*/ 197966 h 479077"/>
                <a:gd name="connsiteX275" fmla="*/ 291269 w 3785642"/>
                <a:gd name="connsiteY275" fmla="*/ 188045 h 479077"/>
                <a:gd name="connsiteX276" fmla="*/ 301686 w 3785642"/>
                <a:gd name="connsiteY276" fmla="*/ 175147 h 479077"/>
                <a:gd name="connsiteX277" fmla="*/ 313592 w 3785642"/>
                <a:gd name="connsiteY277" fmla="*/ 163737 h 479077"/>
                <a:gd name="connsiteX278" fmla="*/ 325994 w 3785642"/>
                <a:gd name="connsiteY278" fmla="*/ 153319 h 479077"/>
                <a:gd name="connsiteX279" fmla="*/ 337404 w 3785642"/>
                <a:gd name="connsiteY279" fmla="*/ 141910 h 479077"/>
                <a:gd name="connsiteX280" fmla="*/ 347325 w 3785642"/>
                <a:gd name="connsiteY280" fmla="*/ 129012 h 479077"/>
                <a:gd name="connsiteX281" fmla="*/ 360224 w 3785642"/>
                <a:gd name="connsiteY281" fmla="*/ 118594 h 479077"/>
                <a:gd name="connsiteX282" fmla="*/ 371137 w 3785642"/>
                <a:gd name="connsiteY282" fmla="*/ 106192 h 479077"/>
                <a:gd name="connsiteX283" fmla="*/ 382051 w 3785642"/>
                <a:gd name="connsiteY283" fmla="*/ 93790 h 479077"/>
                <a:gd name="connsiteX284" fmla="*/ 393957 w 3785642"/>
                <a:gd name="connsiteY284" fmla="*/ 82380 h 479077"/>
                <a:gd name="connsiteX285" fmla="*/ 405366 w 3785642"/>
                <a:gd name="connsiteY285" fmla="*/ 70475 h 479077"/>
                <a:gd name="connsiteX286" fmla="*/ 417272 w 3785642"/>
                <a:gd name="connsiteY286" fmla="*/ 59561 h 479077"/>
                <a:gd name="connsiteX287" fmla="*/ 429674 w 3785642"/>
                <a:gd name="connsiteY287" fmla="*/ 48647 h 479077"/>
                <a:gd name="connsiteX288" fmla="*/ 440092 w 3785642"/>
                <a:gd name="connsiteY288" fmla="*/ 35749 h 479077"/>
                <a:gd name="connsiteX289" fmla="*/ 452494 w 3785642"/>
                <a:gd name="connsiteY289" fmla="*/ 24835 h 479077"/>
                <a:gd name="connsiteX290" fmla="*/ 463904 w 3785642"/>
                <a:gd name="connsiteY290" fmla="*/ 12929 h 479077"/>
                <a:gd name="connsiteX291" fmla="*/ 475313 w 3785642"/>
                <a:gd name="connsiteY291" fmla="*/ 1024 h 479077"/>
                <a:gd name="connsiteX292" fmla="*/ 491684 w 3785642"/>
                <a:gd name="connsiteY292" fmla="*/ 2512 h 479077"/>
                <a:gd name="connsiteX293" fmla="*/ 508055 w 3785642"/>
                <a:gd name="connsiteY293" fmla="*/ 2512 h 479077"/>
                <a:gd name="connsiteX294" fmla="*/ 524425 w 3785642"/>
                <a:gd name="connsiteY294" fmla="*/ 2512 h 479077"/>
                <a:gd name="connsiteX295" fmla="*/ 540796 w 3785642"/>
                <a:gd name="connsiteY295" fmla="*/ 1024 h 479077"/>
                <a:gd name="connsiteX296" fmla="*/ 557166 w 3785642"/>
                <a:gd name="connsiteY296" fmla="*/ 2512 h 479077"/>
                <a:gd name="connsiteX297" fmla="*/ 573537 w 3785642"/>
                <a:gd name="connsiteY297" fmla="*/ 1024 h 479077"/>
                <a:gd name="connsiteX298" fmla="*/ 589908 w 3785642"/>
                <a:gd name="connsiteY298" fmla="*/ 527 h 479077"/>
                <a:gd name="connsiteX299" fmla="*/ 606278 w 3785642"/>
                <a:gd name="connsiteY299" fmla="*/ 1520 h 479077"/>
                <a:gd name="connsiteX300" fmla="*/ 622649 w 3785642"/>
                <a:gd name="connsiteY300" fmla="*/ 1520 h 479077"/>
                <a:gd name="connsiteX301" fmla="*/ 639019 w 3785642"/>
                <a:gd name="connsiteY301" fmla="*/ 2016 h 479077"/>
                <a:gd name="connsiteX302" fmla="*/ 655390 w 3785642"/>
                <a:gd name="connsiteY302" fmla="*/ 527 h 479077"/>
                <a:gd name="connsiteX303" fmla="*/ 671760 w 3785642"/>
                <a:gd name="connsiteY303" fmla="*/ 1520 h 479077"/>
                <a:gd name="connsiteX304" fmla="*/ 688131 w 3785642"/>
                <a:gd name="connsiteY304" fmla="*/ 2512 h 479077"/>
                <a:gd name="connsiteX305" fmla="*/ 704501 w 3785642"/>
                <a:gd name="connsiteY305" fmla="*/ 1024 h 479077"/>
                <a:gd name="connsiteX306" fmla="*/ 720872 w 3785642"/>
                <a:gd name="connsiteY306" fmla="*/ 1520 h 479077"/>
                <a:gd name="connsiteX307" fmla="*/ 737243 w 3785642"/>
                <a:gd name="connsiteY307" fmla="*/ 2016 h 479077"/>
                <a:gd name="connsiteX308" fmla="*/ 753613 w 3785642"/>
                <a:gd name="connsiteY308" fmla="*/ 1024 h 479077"/>
                <a:gd name="connsiteX309" fmla="*/ 769984 w 3785642"/>
                <a:gd name="connsiteY309" fmla="*/ 527 h 479077"/>
                <a:gd name="connsiteX310" fmla="*/ 786354 w 3785642"/>
                <a:gd name="connsiteY310" fmla="*/ 1520 h 479077"/>
                <a:gd name="connsiteX311" fmla="*/ 802725 w 3785642"/>
                <a:gd name="connsiteY311" fmla="*/ 527 h 479077"/>
                <a:gd name="connsiteX312" fmla="*/ 819096 w 3785642"/>
                <a:gd name="connsiteY312" fmla="*/ 2512 h 479077"/>
                <a:gd name="connsiteX313" fmla="*/ 835466 w 3785642"/>
                <a:gd name="connsiteY313" fmla="*/ 527 h 479077"/>
                <a:gd name="connsiteX314" fmla="*/ 851837 w 3785642"/>
                <a:gd name="connsiteY314" fmla="*/ 1520 h 479077"/>
                <a:gd name="connsiteX315" fmla="*/ 868207 w 3785642"/>
                <a:gd name="connsiteY315" fmla="*/ 2016 h 479077"/>
                <a:gd name="connsiteX316" fmla="*/ 884578 w 3785642"/>
                <a:gd name="connsiteY316" fmla="*/ 2512 h 479077"/>
                <a:gd name="connsiteX317" fmla="*/ 900948 w 3785642"/>
                <a:gd name="connsiteY317" fmla="*/ 1520 h 479077"/>
                <a:gd name="connsiteX318" fmla="*/ 917319 w 3785642"/>
                <a:gd name="connsiteY318" fmla="*/ 1024 h 479077"/>
                <a:gd name="connsiteX319" fmla="*/ 933689 w 3785642"/>
                <a:gd name="connsiteY319" fmla="*/ 2512 h 479077"/>
                <a:gd name="connsiteX320" fmla="*/ 950060 w 3785642"/>
                <a:gd name="connsiteY320" fmla="*/ 1520 h 479077"/>
                <a:gd name="connsiteX321" fmla="*/ 966431 w 3785642"/>
                <a:gd name="connsiteY321" fmla="*/ 2016 h 479077"/>
                <a:gd name="connsiteX322" fmla="*/ 982801 w 3785642"/>
                <a:gd name="connsiteY322" fmla="*/ 2512 h 479077"/>
                <a:gd name="connsiteX323" fmla="*/ 999172 w 3785642"/>
                <a:gd name="connsiteY323" fmla="*/ 1520 h 479077"/>
                <a:gd name="connsiteX324" fmla="*/ 1015542 w 3785642"/>
                <a:gd name="connsiteY324" fmla="*/ 2512 h 479077"/>
                <a:gd name="connsiteX325" fmla="*/ 1031913 w 3785642"/>
                <a:gd name="connsiteY325" fmla="*/ 1520 h 479077"/>
                <a:gd name="connsiteX326" fmla="*/ 1048283 w 3785642"/>
                <a:gd name="connsiteY326" fmla="*/ 2016 h 479077"/>
                <a:gd name="connsiteX327" fmla="*/ 1064654 w 3785642"/>
                <a:gd name="connsiteY327" fmla="*/ 3504 h 479077"/>
                <a:gd name="connsiteX328" fmla="*/ 1081025 w 3785642"/>
                <a:gd name="connsiteY328" fmla="*/ 2016 h 479077"/>
                <a:gd name="connsiteX329" fmla="*/ 1097395 w 3785642"/>
                <a:gd name="connsiteY329" fmla="*/ 2512 h 479077"/>
                <a:gd name="connsiteX330" fmla="*/ 1113766 w 3785642"/>
                <a:gd name="connsiteY330" fmla="*/ 2512 h 479077"/>
                <a:gd name="connsiteX331" fmla="*/ 1130136 w 3785642"/>
                <a:gd name="connsiteY331" fmla="*/ 3504 h 479077"/>
                <a:gd name="connsiteX332" fmla="*/ 1146507 w 3785642"/>
                <a:gd name="connsiteY332" fmla="*/ 1520 h 479077"/>
                <a:gd name="connsiteX333" fmla="*/ 1162878 w 3785642"/>
                <a:gd name="connsiteY333" fmla="*/ 3008 h 479077"/>
                <a:gd name="connsiteX334" fmla="*/ 1179248 w 3785642"/>
                <a:gd name="connsiteY334" fmla="*/ 4000 h 479077"/>
                <a:gd name="connsiteX335" fmla="*/ 1195619 w 3785642"/>
                <a:gd name="connsiteY335" fmla="*/ 3504 h 479077"/>
                <a:gd name="connsiteX336" fmla="*/ 1211989 w 3785642"/>
                <a:gd name="connsiteY336" fmla="*/ 1520 h 479077"/>
                <a:gd name="connsiteX337" fmla="*/ 1228360 w 3785642"/>
                <a:gd name="connsiteY337" fmla="*/ 3504 h 479077"/>
                <a:gd name="connsiteX338" fmla="*/ 1244730 w 3785642"/>
                <a:gd name="connsiteY338" fmla="*/ 1520 h 479077"/>
                <a:gd name="connsiteX339" fmla="*/ 1261101 w 3785642"/>
                <a:gd name="connsiteY339" fmla="*/ 2512 h 479077"/>
                <a:gd name="connsiteX340" fmla="*/ 1277471 w 3785642"/>
                <a:gd name="connsiteY340" fmla="*/ 3504 h 479077"/>
                <a:gd name="connsiteX341" fmla="*/ 1293842 w 3785642"/>
                <a:gd name="connsiteY341" fmla="*/ 4000 h 479077"/>
                <a:gd name="connsiteX342" fmla="*/ 1310213 w 3785642"/>
                <a:gd name="connsiteY342" fmla="*/ 1520 h 479077"/>
                <a:gd name="connsiteX343" fmla="*/ 1326583 w 3785642"/>
                <a:gd name="connsiteY343" fmla="*/ 2016 h 479077"/>
                <a:gd name="connsiteX344" fmla="*/ 1342954 w 3785642"/>
                <a:gd name="connsiteY344" fmla="*/ 3008 h 479077"/>
                <a:gd name="connsiteX345" fmla="*/ 1359324 w 3785642"/>
                <a:gd name="connsiteY345" fmla="*/ 3008 h 479077"/>
                <a:gd name="connsiteX346" fmla="*/ 1375695 w 3785642"/>
                <a:gd name="connsiteY346" fmla="*/ 2512 h 479077"/>
                <a:gd name="connsiteX347" fmla="*/ 1392066 w 3785642"/>
                <a:gd name="connsiteY347" fmla="*/ 2512 h 479077"/>
                <a:gd name="connsiteX348" fmla="*/ 1408436 w 3785642"/>
                <a:gd name="connsiteY348" fmla="*/ 3504 h 479077"/>
                <a:gd name="connsiteX349" fmla="*/ 1424807 w 3785642"/>
                <a:gd name="connsiteY349" fmla="*/ 3504 h 479077"/>
                <a:gd name="connsiteX350" fmla="*/ 1441177 w 3785642"/>
                <a:gd name="connsiteY350" fmla="*/ 1520 h 479077"/>
                <a:gd name="connsiteX351" fmla="*/ 1457548 w 3785642"/>
                <a:gd name="connsiteY351" fmla="*/ 2512 h 479077"/>
                <a:gd name="connsiteX352" fmla="*/ 1473919 w 3785642"/>
                <a:gd name="connsiteY352" fmla="*/ 2016 h 479077"/>
                <a:gd name="connsiteX353" fmla="*/ 1490289 w 3785642"/>
                <a:gd name="connsiteY353" fmla="*/ 2016 h 479077"/>
                <a:gd name="connsiteX354" fmla="*/ 1506660 w 3785642"/>
                <a:gd name="connsiteY354" fmla="*/ 1520 h 479077"/>
                <a:gd name="connsiteX355" fmla="*/ 1523030 w 3785642"/>
                <a:gd name="connsiteY355" fmla="*/ 3504 h 479077"/>
                <a:gd name="connsiteX356" fmla="*/ 1539401 w 3785642"/>
                <a:gd name="connsiteY356" fmla="*/ 3008 h 479077"/>
                <a:gd name="connsiteX357" fmla="*/ 1555771 w 3785642"/>
                <a:gd name="connsiteY357" fmla="*/ 3008 h 479077"/>
                <a:gd name="connsiteX358" fmla="*/ 1572142 w 3785642"/>
                <a:gd name="connsiteY358" fmla="*/ 2512 h 479077"/>
                <a:gd name="connsiteX359" fmla="*/ 1588512 w 3785642"/>
                <a:gd name="connsiteY359" fmla="*/ 2016 h 479077"/>
                <a:gd name="connsiteX360" fmla="*/ 1604883 w 3785642"/>
                <a:gd name="connsiteY360" fmla="*/ 3008 h 479077"/>
                <a:gd name="connsiteX361" fmla="*/ 1621253 w 3785642"/>
                <a:gd name="connsiteY361" fmla="*/ 3008 h 479077"/>
                <a:gd name="connsiteX362" fmla="*/ 1637624 w 3785642"/>
                <a:gd name="connsiteY36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28466 w 3785642"/>
                <a:gd name="connsiteY30" fmla="*/ 103216 h 479077"/>
                <a:gd name="connsiteX31" fmla="*/ 3405646 w 3785642"/>
                <a:gd name="connsiteY31" fmla="*/ 79404 h 479077"/>
                <a:gd name="connsiteX32" fmla="*/ 3393740 w 3785642"/>
                <a:gd name="connsiteY32" fmla="*/ 68490 h 479077"/>
                <a:gd name="connsiteX33" fmla="*/ 3382330 w 3785642"/>
                <a:gd name="connsiteY33" fmla="*/ 56584 h 479077"/>
                <a:gd name="connsiteX34" fmla="*/ 3370921 w 3785642"/>
                <a:gd name="connsiteY34" fmla="*/ 44678 h 479077"/>
                <a:gd name="connsiteX35" fmla="*/ 3313375 w 3785642"/>
                <a:gd name="connsiteY35" fmla="*/ 10945 h 479077"/>
                <a:gd name="connsiteX36" fmla="*/ 3300973 w 3785642"/>
                <a:gd name="connsiteY36" fmla="*/ 21363 h 479077"/>
                <a:gd name="connsiteX37" fmla="*/ 3289068 w 3785642"/>
                <a:gd name="connsiteY37" fmla="*/ 32276 h 479077"/>
                <a:gd name="connsiteX38" fmla="*/ 3277658 w 3785642"/>
                <a:gd name="connsiteY38" fmla="*/ 43686 h 479077"/>
                <a:gd name="connsiteX39" fmla="*/ 3266248 w 3785642"/>
                <a:gd name="connsiteY39" fmla="*/ 55592 h 479077"/>
                <a:gd name="connsiteX40" fmla="*/ 3255830 w 3785642"/>
                <a:gd name="connsiteY40" fmla="*/ 68490 h 479077"/>
                <a:gd name="connsiteX41" fmla="*/ 3243924 w 3785642"/>
                <a:gd name="connsiteY41" fmla="*/ 79900 h 479077"/>
                <a:gd name="connsiteX42" fmla="*/ 3231522 w 3785642"/>
                <a:gd name="connsiteY42" fmla="*/ 90814 h 479077"/>
                <a:gd name="connsiteX43" fmla="*/ 3220609 w 3785642"/>
                <a:gd name="connsiteY43" fmla="*/ 102720 h 479077"/>
                <a:gd name="connsiteX44" fmla="*/ 3208207 w 3785642"/>
                <a:gd name="connsiteY44" fmla="*/ 113137 h 479077"/>
                <a:gd name="connsiteX45" fmla="*/ 3197293 w 3785642"/>
                <a:gd name="connsiteY45" fmla="*/ 125043 h 479077"/>
                <a:gd name="connsiteX46" fmla="*/ 3185387 w 3785642"/>
                <a:gd name="connsiteY46" fmla="*/ 136453 h 479077"/>
                <a:gd name="connsiteX47" fmla="*/ 3174970 w 3785642"/>
                <a:gd name="connsiteY47" fmla="*/ 148855 h 479077"/>
                <a:gd name="connsiteX48" fmla="*/ 3162071 w 3785642"/>
                <a:gd name="connsiteY48" fmla="*/ 159272 h 479077"/>
                <a:gd name="connsiteX49" fmla="*/ 3151158 w 3785642"/>
                <a:gd name="connsiteY49" fmla="*/ 171674 h 479077"/>
                <a:gd name="connsiteX50" fmla="*/ 3139252 w 3785642"/>
                <a:gd name="connsiteY50" fmla="*/ 182588 h 479077"/>
                <a:gd name="connsiteX51" fmla="*/ 3127843 w 3785642"/>
                <a:gd name="connsiteY51" fmla="*/ 194494 h 479077"/>
                <a:gd name="connsiteX52" fmla="*/ 3116432 w 3785642"/>
                <a:gd name="connsiteY52" fmla="*/ 205904 h 479077"/>
                <a:gd name="connsiteX53" fmla="*/ 3105022 w 3785642"/>
                <a:gd name="connsiteY53" fmla="*/ 217810 h 479077"/>
                <a:gd name="connsiteX54" fmla="*/ 3093117 w 3785642"/>
                <a:gd name="connsiteY54" fmla="*/ 229219 h 479077"/>
                <a:gd name="connsiteX55" fmla="*/ 3081707 w 3785642"/>
                <a:gd name="connsiteY55" fmla="*/ 240629 h 479077"/>
                <a:gd name="connsiteX56" fmla="*/ 3069305 w 3785642"/>
                <a:gd name="connsiteY56" fmla="*/ 251543 h 479077"/>
                <a:gd name="connsiteX57" fmla="*/ 3057895 w 3785642"/>
                <a:gd name="connsiteY57" fmla="*/ 263449 h 479077"/>
                <a:gd name="connsiteX58" fmla="*/ 3046486 w 3785642"/>
                <a:gd name="connsiteY58" fmla="*/ 275355 h 479077"/>
                <a:gd name="connsiteX59" fmla="*/ 3035572 w 3785642"/>
                <a:gd name="connsiteY59" fmla="*/ 287260 h 479077"/>
                <a:gd name="connsiteX60" fmla="*/ 3024658 w 3785642"/>
                <a:gd name="connsiteY60" fmla="*/ 299166 h 479077"/>
                <a:gd name="connsiteX61" fmla="*/ 3013248 w 3785642"/>
                <a:gd name="connsiteY61" fmla="*/ 311072 h 479077"/>
                <a:gd name="connsiteX62" fmla="*/ 3000350 w 3785642"/>
                <a:gd name="connsiteY62" fmla="*/ 321490 h 479077"/>
                <a:gd name="connsiteX63" fmla="*/ 2988941 w 3785642"/>
                <a:gd name="connsiteY63" fmla="*/ 333396 h 479077"/>
                <a:gd name="connsiteX64" fmla="*/ 2976539 w 3785642"/>
                <a:gd name="connsiteY64" fmla="*/ 344309 h 479077"/>
                <a:gd name="connsiteX65" fmla="*/ 2965129 w 3785642"/>
                <a:gd name="connsiteY65" fmla="*/ 356215 h 479077"/>
                <a:gd name="connsiteX66" fmla="*/ 2953223 w 3785642"/>
                <a:gd name="connsiteY66" fmla="*/ 367625 h 479077"/>
                <a:gd name="connsiteX67" fmla="*/ 2941813 w 3785642"/>
                <a:gd name="connsiteY67" fmla="*/ 379531 h 479077"/>
                <a:gd name="connsiteX68" fmla="*/ 2931395 w 3785642"/>
                <a:gd name="connsiteY68" fmla="*/ 392429 h 479077"/>
                <a:gd name="connsiteX69" fmla="*/ 2918497 w 3785642"/>
                <a:gd name="connsiteY69" fmla="*/ 402847 h 479077"/>
                <a:gd name="connsiteX70" fmla="*/ 2907584 w 3785642"/>
                <a:gd name="connsiteY70" fmla="*/ 415249 h 479077"/>
                <a:gd name="connsiteX71" fmla="*/ 2896174 w 3785642"/>
                <a:gd name="connsiteY71" fmla="*/ 426658 h 479077"/>
                <a:gd name="connsiteX72" fmla="*/ 2884268 w 3785642"/>
                <a:gd name="connsiteY72" fmla="*/ 438068 h 479077"/>
                <a:gd name="connsiteX73" fmla="*/ 2873354 w 3785642"/>
                <a:gd name="connsiteY73" fmla="*/ 450470 h 479077"/>
                <a:gd name="connsiteX74" fmla="*/ 2860952 w 3785642"/>
                <a:gd name="connsiteY74" fmla="*/ 461384 h 479077"/>
                <a:gd name="connsiteX75" fmla="*/ 2850039 w 3785642"/>
                <a:gd name="connsiteY75" fmla="*/ 473786 h 479077"/>
                <a:gd name="connsiteX76" fmla="*/ 2833668 w 3785642"/>
                <a:gd name="connsiteY76" fmla="*/ 473786 h 479077"/>
                <a:gd name="connsiteX77" fmla="*/ 2817297 w 3785642"/>
                <a:gd name="connsiteY77" fmla="*/ 473290 h 479077"/>
                <a:gd name="connsiteX78" fmla="*/ 2800927 w 3785642"/>
                <a:gd name="connsiteY78" fmla="*/ 473290 h 479077"/>
                <a:gd name="connsiteX79" fmla="*/ 2784556 w 3785642"/>
                <a:gd name="connsiteY79" fmla="*/ 473786 h 479077"/>
                <a:gd name="connsiteX80" fmla="*/ 2768186 w 3785642"/>
                <a:gd name="connsiteY80" fmla="*/ 474282 h 479077"/>
                <a:gd name="connsiteX81" fmla="*/ 2751815 w 3785642"/>
                <a:gd name="connsiteY81" fmla="*/ 474282 h 479077"/>
                <a:gd name="connsiteX82" fmla="*/ 2735444 w 3785642"/>
                <a:gd name="connsiteY82" fmla="*/ 473290 h 479077"/>
                <a:gd name="connsiteX83" fmla="*/ 2719074 w 3785642"/>
                <a:gd name="connsiteY83" fmla="*/ 474282 h 479077"/>
                <a:gd name="connsiteX84" fmla="*/ 2702703 w 3785642"/>
                <a:gd name="connsiteY84" fmla="*/ 472298 h 479077"/>
                <a:gd name="connsiteX85" fmla="*/ 2686333 w 3785642"/>
                <a:gd name="connsiteY85" fmla="*/ 472794 h 479077"/>
                <a:gd name="connsiteX86" fmla="*/ 2669962 w 3785642"/>
                <a:gd name="connsiteY86" fmla="*/ 474282 h 479077"/>
                <a:gd name="connsiteX87" fmla="*/ 2653592 w 3785642"/>
                <a:gd name="connsiteY87" fmla="*/ 472298 h 479077"/>
                <a:gd name="connsiteX88" fmla="*/ 2637221 w 3785642"/>
                <a:gd name="connsiteY88" fmla="*/ 474282 h 479077"/>
                <a:gd name="connsiteX89" fmla="*/ 2620851 w 3785642"/>
                <a:gd name="connsiteY89" fmla="*/ 474282 h 479077"/>
                <a:gd name="connsiteX90" fmla="*/ 2604480 w 3785642"/>
                <a:gd name="connsiteY90" fmla="*/ 472298 h 479077"/>
                <a:gd name="connsiteX91" fmla="*/ 2588109 w 3785642"/>
                <a:gd name="connsiteY91" fmla="*/ 473786 h 479077"/>
                <a:gd name="connsiteX92" fmla="*/ 2571739 w 3785642"/>
                <a:gd name="connsiteY92" fmla="*/ 472298 h 479077"/>
                <a:gd name="connsiteX93" fmla="*/ 2555368 w 3785642"/>
                <a:gd name="connsiteY93" fmla="*/ 473290 h 479077"/>
                <a:gd name="connsiteX94" fmla="*/ 2538998 w 3785642"/>
                <a:gd name="connsiteY94" fmla="*/ 474282 h 479077"/>
                <a:gd name="connsiteX95" fmla="*/ 2522627 w 3785642"/>
                <a:gd name="connsiteY95" fmla="*/ 473290 h 479077"/>
                <a:gd name="connsiteX96" fmla="*/ 2506257 w 3785642"/>
                <a:gd name="connsiteY96" fmla="*/ 474282 h 479077"/>
                <a:gd name="connsiteX97" fmla="*/ 2489886 w 3785642"/>
                <a:gd name="connsiteY97" fmla="*/ 473786 h 479077"/>
                <a:gd name="connsiteX98" fmla="*/ 2473516 w 3785642"/>
                <a:gd name="connsiteY98" fmla="*/ 474282 h 479077"/>
                <a:gd name="connsiteX99" fmla="*/ 2457145 w 3785642"/>
                <a:gd name="connsiteY99" fmla="*/ 472794 h 479077"/>
                <a:gd name="connsiteX100" fmla="*/ 2440775 w 3785642"/>
                <a:gd name="connsiteY100" fmla="*/ 472298 h 479077"/>
                <a:gd name="connsiteX101" fmla="*/ 2424404 w 3785642"/>
                <a:gd name="connsiteY101" fmla="*/ 473786 h 479077"/>
                <a:gd name="connsiteX102" fmla="*/ 2408033 w 3785642"/>
                <a:gd name="connsiteY102" fmla="*/ 472794 h 479077"/>
                <a:gd name="connsiteX103" fmla="*/ 2391663 w 3785642"/>
                <a:gd name="connsiteY103" fmla="*/ 473290 h 479077"/>
                <a:gd name="connsiteX104" fmla="*/ 2375292 w 3785642"/>
                <a:gd name="connsiteY104" fmla="*/ 473290 h 479077"/>
                <a:gd name="connsiteX105" fmla="*/ 2358922 w 3785642"/>
                <a:gd name="connsiteY105" fmla="*/ 472794 h 479077"/>
                <a:gd name="connsiteX106" fmla="*/ 2342551 w 3785642"/>
                <a:gd name="connsiteY106" fmla="*/ 472298 h 479077"/>
                <a:gd name="connsiteX107" fmla="*/ 2326180 w 3785642"/>
                <a:gd name="connsiteY107" fmla="*/ 473786 h 479077"/>
                <a:gd name="connsiteX108" fmla="*/ 2309810 w 3785642"/>
                <a:gd name="connsiteY108" fmla="*/ 473786 h 479077"/>
                <a:gd name="connsiteX109" fmla="*/ 2293439 w 3785642"/>
                <a:gd name="connsiteY109" fmla="*/ 473786 h 479077"/>
                <a:gd name="connsiteX110" fmla="*/ 2277069 w 3785642"/>
                <a:gd name="connsiteY110" fmla="*/ 472794 h 479077"/>
                <a:gd name="connsiteX111" fmla="*/ 2260698 w 3785642"/>
                <a:gd name="connsiteY111" fmla="*/ 474282 h 479077"/>
                <a:gd name="connsiteX112" fmla="*/ 2244327 w 3785642"/>
                <a:gd name="connsiteY112" fmla="*/ 472298 h 479077"/>
                <a:gd name="connsiteX113" fmla="*/ 2227957 w 3785642"/>
                <a:gd name="connsiteY113" fmla="*/ 474282 h 479077"/>
                <a:gd name="connsiteX114" fmla="*/ 2211586 w 3785642"/>
                <a:gd name="connsiteY114" fmla="*/ 473290 h 479077"/>
                <a:gd name="connsiteX115" fmla="*/ 2195216 w 3785642"/>
                <a:gd name="connsiteY115" fmla="*/ 474282 h 479077"/>
                <a:gd name="connsiteX116" fmla="*/ 2178845 w 3785642"/>
                <a:gd name="connsiteY116" fmla="*/ 472794 h 479077"/>
                <a:gd name="connsiteX117" fmla="*/ 2162474 w 3785642"/>
                <a:gd name="connsiteY117" fmla="*/ 474778 h 479077"/>
                <a:gd name="connsiteX118" fmla="*/ 2146104 w 3785642"/>
                <a:gd name="connsiteY118" fmla="*/ 473290 h 479077"/>
                <a:gd name="connsiteX119" fmla="*/ 2129733 w 3785642"/>
                <a:gd name="connsiteY119" fmla="*/ 474778 h 479077"/>
                <a:gd name="connsiteX120" fmla="*/ 2113363 w 3785642"/>
                <a:gd name="connsiteY120" fmla="*/ 474778 h 479077"/>
                <a:gd name="connsiteX121" fmla="*/ 2096992 w 3785642"/>
                <a:gd name="connsiteY121" fmla="*/ 474778 h 479077"/>
                <a:gd name="connsiteX122" fmla="*/ 2080621 w 3785642"/>
                <a:gd name="connsiteY122" fmla="*/ 474282 h 479077"/>
                <a:gd name="connsiteX123" fmla="*/ 2064251 w 3785642"/>
                <a:gd name="connsiteY123" fmla="*/ 472794 h 479077"/>
                <a:gd name="connsiteX124" fmla="*/ 2047880 w 3785642"/>
                <a:gd name="connsiteY124" fmla="*/ 474778 h 479077"/>
                <a:gd name="connsiteX125" fmla="*/ 2031510 w 3785642"/>
                <a:gd name="connsiteY125" fmla="*/ 474778 h 479077"/>
                <a:gd name="connsiteX126" fmla="*/ 2015139 w 3785642"/>
                <a:gd name="connsiteY126" fmla="*/ 474778 h 479077"/>
                <a:gd name="connsiteX127" fmla="*/ 1998769 w 3785642"/>
                <a:gd name="connsiteY127" fmla="*/ 474282 h 479077"/>
                <a:gd name="connsiteX128" fmla="*/ 1982398 w 3785642"/>
                <a:gd name="connsiteY128" fmla="*/ 473786 h 479077"/>
                <a:gd name="connsiteX129" fmla="*/ 1966028 w 3785642"/>
                <a:gd name="connsiteY129" fmla="*/ 473786 h 479077"/>
                <a:gd name="connsiteX130" fmla="*/ 1949657 w 3785642"/>
                <a:gd name="connsiteY130" fmla="*/ 472794 h 479077"/>
                <a:gd name="connsiteX131" fmla="*/ 1933287 w 3785642"/>
                <a:gd name="connsiteY131" fmla="*/ 473290 h 479077"/>
                <a:gd name="connsiteX132" fmla="*/ 1916916 w 3785642"/>
                <a:gd name="connsiteY132" fmla="*/ 474778 h 479077"/>
                <a:gd name="connsiteX133" fmla="*/ 1900546 w 3785642"/>
                <a:gd name="connsiteY133" fmla="*/ 472794 h 479077"/>
                <a:gd name="connsiteX134" fmla="*/ 1884175 w 3785642"/>
                <a:gd name="connsiteY134" fmla="*/ 473786 h 479077"/>
                <a:gd name="connsiteX135" fmla="*/ 1867804 w 3785642"/>
                <a:gd name="connsiteY135" fmla="*/ 474778 h 479077"/>
                <a:gd name="connsiteX136" fmla="*/ 1851434 w 3785642"/>
                <a:gd name="connsiteY136" fmla="*/ 474778 h 479077"/>
                <a:gd name="connsiteX137" fmla="*/ 1835063 w 3785642"/>
                <a:gd name="connsiteY137" fmla="*/ 474778 h 479077"/>
                <a:gd name="connsiteX138" fmla="*/ 1818693 w 3785642"/>
                <a:gd name="connsiteY138" fmla="*/ 474282 h 479077"/>
                <a:gd name="connsiteX139" fmla="*/ 1802322 w 3785642"/>
                <a:gd name="connsiteY139" fmla="*/ 472794 h 479077"/>
                <a:gd name="connsiteX140" fmla="*/ 1785951 w 3785642"/>
                <a:gd name="connsiteY140" fmla="*/ 473786 h 479077"/>
                <a:gd name="connsiteX141" fmla="*/ 1769581 w 3785642"/>
                <a:gd name="connsiteY141" fmla="*/ 473290 h 479077"/>
                <a:gd name="connsiteX142" fmla="*/ 1753210 w 3785642"/>
                <a:gd name="connsiteY142" fmla="*/ 472298 h 479077"/>
                <a:gd name="connsiteX143" fmla="*/ 1736840 w 3785642"/>
                <a:gd name="connsiteY143" fmla="*/ 473290 h 479077"/>
                <a:gd name="connsiteX144" fmla="*/ 1720469 w 3785642"/>
                <a:gd name="connsiteY144" fmla="*/ 474778 h 479077"/>
                <a:gd name="connsiteX145" fmla="*/ 1704098 w 3785642"/>
                <a:gd name="connsiteY145" fmla="*/ 472794 h 479077"/>
                <a:gd name="connsiteX146" fmla="*/ 1687728 w 3785642"/>
                <a:gd name="connsiteY146" fmla="*/ 474778 h 479077"/>
                <a:gd name="connsiteX147" fmla="*/ 1671357 w 3785642"/>
                <a:gd name="connsiteY147" fmla="*/ 474778 h 479077"/>
                <a:gd name="connsiteX148" fmla="*/ 1654987 w 3785642"/>
                <a:gd name="connsiteY148" fmla="*/ 472298 h 479077"/>
                <a:gd name="connsiteX149" fmla="*/ 1638616 w 3785642"/>
                <a:gd name="connsiteY149" fmla="*/ 472794 h 479077"/>
                <a:gd name="connsiteX150" fmla="*/ 1622246 w 3785642"/>
                <a:gd name="connsiteY150" fmla="*/ 473786 h 479077"/>
                <a:gd name="connsiteX151" fmla="*/ 1605875 w 3785642"/>
                <a:gd name="connsiteY151" fmla="*/ 474778 h 479077"/>
                <a:gd name="connsiteX152" fmla="*/ 1589505 w 3785642"/>
                <a:gd name="connsiteY152" fmla="*/ 473290 h 479077"/>
                <a:gd name="connsiteX153" fmla="*/ 1573134 w 3785642"/>
                <a:gd name="connsiteY153" fmla="*/ 474778 h 479077"/>
                <a:gd name="connsiteX154" fmla="*/ 1556763 w 3785642"/>
                <a:gd name="connsiteY154" fmla="*/ 472794 h 479077"/>
                <a:gd name="connsiteX155" fmla="*/ 1540393 w 3785642"/>
                <a:gd name="connsiteY155" fmla="*/ 472794 h 479077"/>
                <a:gd name="connsiteX156" fmla="*/ 1524022 w 3785642"/>
                <a:gd name="connsiteY156" fmla="*/ 474282 h 479077"/>
                <a:gd name="connsiteX157" fmla="*/ 1507652 w 3785642"/>
                <a:gd name="connsiteY157" fmla="*/ 472794 h 479077"/>
                <a:gd name="connsiteX158" fmla="*/ 1491281 w 3785642"/>
                <a:gd name="connsiteY158" fmla="*/ 474282 h 479077"/>
                <a:gd name="connsiteX159" fmla="*/ 1474910 w 3785642"/>
                <a:gd name="connsiteY159" fmla="*/ 474282 h 479077"/>
                <a:gd name="connsiteX160" fmla="*/ 1458540 w 3785642"/>
                <a:gd name="connsiteY160" fmla="*/ 472794 h 479077"/>
                <a:gd name="connsiteX161" fmla="*/ 1442169 w 3785642"/>
                <a:gd name="connsiteY161" fmla="*/ 471802 h 479077"/>
                <a:gd name="connsiteX162" fmla="*/ 1425799 w 3785642"/>
                <a:gd name="connsiteY162" fmla="*/ 472298 h 479077"/>
                <a:gd name="connsiteX163" fmla="*/ 1409428 w 3785642"/>
                <a:gd name="connsiteY163" fmla="*/ 472794 h 479077"/>
                <a:gd name="connsiteX164" fmla="*/ 1393058 w 3785642"/>
                <a:gd name="connsiteY164" fmla="*/ 473786 h 479077"/>
                <a:gd name="connsiteX165" fmla="*/ 1376687 w 3785642"/>
                <a:gd name="connsiteY165" fmla="*/ 471802 h 479077"/>
                <a:gd name="connsiteX166" fmla="*/ 1360317 w 3785642"/>
                <a:gd name="connsiteY166" fmla="*/ 473786 h 479077"/>
                <a:gd name="connsiteX167" fmla="*/ 1343946 w 3785642"/>
                <a:gd name="connsiteY167" fmla="*/ 473786 h 479077"/>
                <a:gd name="connsiteX168" fmla="*/ 1327576 w 3785642"/>
                <a:gd name="connsiteY168" fmla="*/ 472794 h 479077"/>
                <a:gd name="connsiteX169" fmla="*/ 1311205 w 3785642"/>
                <a:gd name="connsiteY169" fmla="*/ 473786 h 479077"/>
                <a:gd name="connsiteX170" fmla="*/ 1294834 w 3785642"/>
                <a:gd name="connsiteY170" fmla="*/ 473786 h 479077"/>
                <a:gd name="connsiteX171" fmla="*/ 1278464 w 3785642"/>
                <a:gd name="connsiteY171" fmla="*/ 473786 h 479077"/>
                <a:gd name="connsiteX172" fmla="*/ 1262093 w 3785642"/>
                <a:gd name="connsiteY172" fmla="*/ 473786 h 479077"/>
                <a:gd name="connsiteX173" fmla="*/ 1245723 w 3785642"/>
                <a:gd name="connsiteY173" fmla="*/ 473290 h 479077"/>
                <a:gd name="connsiteX174" fmla="*/ 1229352 w 3785642"/>
                <a:gd name="connsiteY174" fmla="*/ 472794 h 479077"/>
                <a:gd name="connsiteX175" fmla="*/ 1212981 w 3785642"/>
                <a:gd name="connsiteY175" fmla="*/ 473786 h 479077"/>
                <a:gd name="connsiteX176" fmla="*/ 1196611 w 3785642"/>
                <a:gd name="connsiteY176" fmla="*/ 472298 h 479077"/>
                <a:gd name="connsiteX177" fmla="*/ 1180240 w 3785642"/>
                <a:gd name="connsiteY177" fmla="*/ 472794 h 479077"/>
                <a:gd name="connsiteX178" fmla="*/ 1163870 w 3785642"/>
                <a:gd name="connsiteY178" fmla="*/ 472794 h 479077"/>
                <a:gd name="connsiteX179" fmla="*/ 1147499 w 3785642"/>
                <a:gd name="connsiteY179" fmla="*/ 473786 h 479077"/>
                <a:gd name="connsiteX180" fmla="*/ 1131128 w 3785642"/>
                <a:gd name="connsiteY180" fmla="*/ 473786 h 479077"/>
                <a:gd name="connsiteX181" fmla="*/ 1114758 w 3785642"/>
                <a:gd name="connsiteY181" fmla="*/ 472794 h 479077"/>
                <a:gd name="connsiteX182" fmla="*/ 1098387 w 3785642"/>
                <a:gd name="connsiteY182" fmla="*/ 473786 h 479077"/>
                <a:gd name="connsiteX183" fmla="*/ 1082017 w 3785642"/>
                <a:gd name="connsiteY183" fmla="*/ 474778 h 479077"/>
                <a:gd name="connsiteX184" fmla="*/ 1065646 w 3785642"/>
                <a:gd name="connsiteY184" fmla="*/ 474778 h 479077"/>
                <a:gd name="connsiteX185" fmla="*/ 1049276 w 3785642"/>
                <a:gd name="connsiteY185" fmla="*/ 474282 h 479077"/>
                <a:gd name="connsiteX186" fmla="*/ 1032905 w 3785642"/>
                <a:gd name="connsiteY186" fmla="*/ 473290 h 479077"/>
                <a:gd name="connsiteX187" fmla="*/ 1016535 w 3785642"/>
                <a:gd name="connsiteY187" fmla="*/ 474282 h 479077"/>
                <a:gd name="connsiteX188" fmla="*/ 1000164 w 3785642"/>
                <a:gd name="connsiteY188" fmla="*/ 474282 h 479077"/>
                <a:gd name="connsiteX189" fmla="*/ 983793 w 3785642"/>
                <a:gd name="connsiteY189" fmla="*/ 472794 h 479077"/>
                <a:gd name="connsiteX190" fmla="*/ 967423 w 3785642"/>
                <a:gd name="connsiteY190" fmla="*/ 472794 h 479077"/>
                <a:gd name="connsiteX191" fmla="*/ 951052 w 3785642"/>
                <a:gd name="connsiteY191" fmla="*/ 473786 h 479077"/>
                <a:gd name="connsiteX192" fmla="*/ 934682 w 3785642"/>
                <a:gd name="connsiteY192" fmla="*/ 474282 h 479077"/>
                <a:gd name="connsiteX193" fmla="*/ 918311 w 3785642"/>
                <a:gd name="connsiteY193" fmla="*/ 474778 h 479077"/>
                <a:gd name="connsiteX194" fmla="*/ 901940 w 3785642"/>
                <a:gd name="connsiteY194" fmla="*/ 473290 h 479077"/>
                <a:gd name="connsiteX195" fmla="*/ 885570 w 3785642"/>
                <a:gd name="connsiteY195" fmla="*/ 474778 h 479077"/>
                <a:gd name="connsiteX196" fmla="*/ 869199 w 3785642"/>
                <a:gd name="connsiteY196" fmla="*/ 474282 h 479077"/>
                <a:gd name="connsiteX197" fmla="*/ 852829 w 3785642"/>
                <a:gd name="connsiteY197" fmla="*/ 473786 h 479077"/>
                <a:gd name="connsiteX198" fmla="*/ 836458 w 3785642"/>
                <a:gd name="connsiteY198" fmla="*/ 474778 h 479077"/>
                <a:gd name="connsiteX199" fmla="*/ 820088 w 3785642"/>
                <a:gd name="connsiteY199" fmla="*/ 475274 h 479077"/>
                <a:gd name="connsiteX200" fmla="*/ 803717 w 3785642"/>
                <a:gd name="connsiteY200" fmla="*/ 473786 h 479077"/>
                <a:gd name="connsiteX201" fmla="*/ 787347 w 3785642"/>
                <a:gd name="connsiteY201" fmla="*/ 475770 h 479077"/>
                <a:gd name="connsiteX202" fmla="*/ 770976 w 3785642"/>
                <a:gd name="connsiteY202" fmla="*/ 474778 h 479077"/>
                <a:gd name="connsiteX203" fmla="*/ 754605 w 3785642"/>
                <a:gd name="connsiteY203" fmla="*/ 475274 h 479077"/>
                <a:gd name="connsiteX204" fmla="*/ 738235 w 3785642"/>
                <a:gd name="connsiteY204" fmla="*/ 473786 h 479077"/>
                <a:gd name="connsiteX205" fmla="*/ 721864 w 3785642"/>
                <a:gd name="connsiteY205" fmla="*/ 475274 h 479077"/>
                <a:gd name="connsiteX206" fmla="*/ 705494 w 3785642"/>
                <a:gd name="connsiteY206" fmla="*/ 475770 h 479077"/>
                <a:gd name="connsiteX207" fmla="*/ 689123 w 3785642"/>
                <a:gd name="connsiteY207" fmla="*/ 474282 h 479077"/>
                <a:gd name="connsiteX208" fmla="*/ 672753 w 3785642"/>
                <a:gd name="connsiteY208" fmla="*/ 475274 h 479077"/>
                <a:gd name="connsiteX209" fmla="*/ 656382 w 3785642"/>
                <a:gd name="connsiteY209" fmla="*/ 474778 h 479077"/>
                <a:gd name="connsiteX210" fmla="*/ 640011 w 3785642"/>
                <a:gd name="connsiteY210" fmla="*/ 475770 h 479077"/>
                <a:gd name="connsiteX211" fmla="*/ 623641 w 3785642"/>
                <a:gd name="connsiteY211" fmla="*/ 473786 h 479077"/>
                <a:gd name="connsiteX212" fmla="*/ 607270 w 3785642"/>
                <a:gd name="connsiteY212" fmla="*/ 474778 h 479077"/>
                <a:gd name="connsiteX213" fmla="*/ 590900 w 3785642"/>
                <a:gd name="connsiteY213" fmla="*/ 475274 h 479077"/>
                <a:gd name="connsiteX214" fmla="*/ 574529 w 3785642"/>
                <a:gd name="connsiteY214" fmla="*/ 474282 h 479077"/>
                <a:gd name="connsiteX215" fmla="*/ 558158 w 3785642"/>
                <a:gd name="connsiteY215" fmla="*/ 475274 h 479077"/>
                <a:gd name="connsiteX216" fmla="*/ 541788 w 3785642"/>
                <a:gd name="connsiteY216" fmla="*/ 475770 h 479077"/>
                <a:gd name="connsiteX217" fmla="*/ 525417 w 3785642"/>
                <a:gd name="connsiteY217" fmla="*/ 474282 h 479077"/>
                <a:gd name="connsiteX218" fmla="*/ 509047 w 3785642"/>
                <a:gd name="connsiteY218" fmla="*/ 473786 h 479077"/>
                <a:gd name="connsiteX219" fmla="*/ 492676 w 3785642"/>
                <a:gd name="connsiteY219" fmla="*/ 473786 h 479077"/>
                <a:gd name="connsiteX220" fmla="*/ 476306 w 3785642"/>
                <a:gd name="connsiteY220" fmla="*/ 474778 h 479077"/>
                <a:gd name="connsiteX221" fmla="*/ 459935 w 3785642"/>
                <a:gd name="connsiteY221" fmla="*/ 473786 h 479077"/>
                <a:gd name="connsiteX222" fmla="*/ 443565 w 3785642"/>
                <a:gd name="connsiteY222" fmla="*/ 474778 h 479077"/>
                <a:gd name="connsiteX223" fmla="*/ 427194 w 3785642"/>
                <a:gd name="connsiteY223" fmla="*/ 474282 h 479077"/>
                <a:gd name="connsiteX224" fmla="*/ 410823 w 3785642"/>
                <a:gd name="connsiteY224" fmla="*/ 473290 h 479077"/>
                <a:gd name="connsiteX225" fmla="*/ 394453 w 3785642"/>
                <a:gd name="connsiteY225" fmla="*/ 475770 h 479077"/>
                <a:gd name="connsiteX226" fmla="*/ 378082 w 3785642"/>
                <a:gd name="connsiteY226" fmla="*/ 475274 h 479077"/>
                <a:gd name="connsiteX227" fmla="*/ 361712 w 3785642"/>
                <a:gd name="connsiteY227" fmla="*/ 474778 h 479077"/>
                <a:gd name="connsiteX228" fmla="*/ 345341 w 3785642"/>
                <a:gd name="connsiteY228" fmla="*/ 476266 h 479077"/>
                <a:gd name="connsiteX229" fmla="*/ 328970 w 3785642"/>
                <a:gd name="connsiteY229" fmla="*/ 474282 h 479077"/>
                <a:gd name="connsiteX230" fmla="*/ 312600 w 3785642"/>
                <a:gd name="connsiteY230" fmla="*/ 475274 h 479077"/>
                <a:gd name="connsiteX231" fmla="*/ 296229 w 3785642"/>
                <a:gd name="connsiteY231" fmla="*/ 474282 h 479077"/>
                <a:gd name="connsiteX232" fmla="*/ 279859 w 3785642"/>
                <a:gd name="connsiteY232" fmla="*/ 475770 h 479077"/>
                <a:gd name="connsiteX233" fmla="*/ 263488 w 3785642"/>
                <a:gd name="connsiteY233" fmla="*/ 476266 h 479077"/>
                <a:gd name="connsiteX234" fmla="*/ 247118 w 3785642"/>
                <a:gd name="connsiteY234" fmla="*/ 476266 h 479077"/>
                <a:gd name="connsiteX235" fmla="*/ 230747 w 3785642"/>
                <a:gd name="connsiteY235" fmla="*/ 474778 h 479077"/>
                <a:gd name="connsiteX236" fmla="*/ 214376 w 3785642"/>
                <a:gd name="connsiteY236" fmla="*/ 474778 h 479077"/>
                <a:gd name="connsiteX237" fmla="*/ 198006 w 3785642"/>
                <a:gd name="connsiteY237" fmla="*/ 476762 h 479077"/>
                <a:gd name="connsiteX238" fmla="*/ 181635 w 3785642"/>
                <a:gd name="connsiteY238" fmla="*/ 476266 h 479077"/>
                <a:gd name="connsiteX239" fmla="*/ 165265 w 3785642"/>
                <a:gd name="connsiteY239" fmla="*/ 474778 h 479077"/>
                <a:gd name="connsiteX240" fmla="*/ 148894 w 3785642"/>
                <a:gd name="connsiteY240" fmla="*/ 476762 h 479077"/>
                <a:gd name="connsiteX241" fmla="*/ 132524 w 3785642"/>
                <a:gd name="connsiteY241" fmla="*/ 476266 h 479077"/>
                <a:gd name="connsiteX242" fmla="*/ 116153 w 3785642"/>
                <a:gd name="connsiteY242" fmla="*/ 475274 h 479077"/>
                <a:gd name="connsiteX243" fmla="*/ 99783 w 3785642"/>
                <a:gd name="connsiteY243" fmla="*/ 475274 h 479077"/>
                <a:gd name="connsiteX244" fmla="*/ 83412 w 3785642"/>
                <a:gd name="connsiteY244" fmla="*/ 475274 h 479077"/>
                <a:gd name="connsiteX245" fmla="*/ 67041 w 3785642"/>
                <a:gd name="connsiteY245" fmla="*/ 474778 h 479077"/>
                <a:gd name="connsiteX246" fmla="*/ 50671 w 3785642"/>
                <a:gd name="connsiteY246" fmla="*/ 475274 h 479077"/>
                <a:gd name="connsiteX247" fmla="*/ 34300 w 3785642"/>
                <a:gd name="connsiteY247" fmla="*/ 475274 h 479077"/>
                <a:gd name="connsiteX248" fmla="*/ 17930 w 3785642"/>
                <a:gd name="connsiteY248" fmla="*/ 475770 h 479077"/>
                <a:gd name="connsiteX249" fmla="*/ 567 w 3785642"/>
                <a:gd name="connsiteY249" fmla="*/ 475770 h 479077"/>
                <a:gd name="connsiteX250" fmla="*/ 12969 w 3785642"/>
                <a:gd name="connsiteY250" fmla="*/ 463368 h 479077"/>
                <a:gd name="connsiteX251" fmla="*/ 24379 w 3785642"/>
                <a:gd name="connsiteY251" fmla="*/ 451958 h 479077"/>
                <a:gd name="connsiteX252" fmla="*/ 35788 w 3785642"/>
                <a:gd name="connsiteY252" fmla="*/ 440053 h 479077"/>
                <a:gd name="connsiteX253" fmla="*/ 48686 w 3785642"/>
                <a:gd name="connsiteY253" fmla="*/ 430131 h 479077"/>
                <a:gd name="connsiteX254" fmla="*/ 59600 w 3785642"/>
                <a:gd name="connsiteY254" fmla="*/ 418225 h 479077"/>
                <a:gd name="connsiteX255" fmla="*/ 70514 w 3785642"/>
                <a:gd name="connsiteY255" fmla="*/ 405823 h 479077"/>
                <a:gd name="connsiteX256" fmla="*/ 83412 w 3785642"/>
                <a:gd name="connsiteY256" fmla="*/ 395406 h 479077"/>
                <a:gd name="connsiteX257" fmla="*/ 94822 w 3785642"/>
                <a:gd name="connsiteY257" fmla="*/ 383500 h 479077"/>
                <a:gd name="connsiteX258" fmla="*/ 106728 w 3785642"/>
                <a:gd name="connsiteY258" fmla="*/ 372090 h 479077"/>
                <a:gd name="connsiteX259" fmla="*/ 117145 w 3785642"/>
                <a:gd name="connsiteY259" fmla="*/ 359688 h 479077"/>
                <a:gd name="connsiteX260" fmla="*/ 128555 w 3785642"/>
                <a:gd name="connsiteY260" fmla="*/ 348278 h 479077"/>
                <a:gd name="connsiteX261" fmla="*/ 140461 w 3785642"/>
                <a:gd name="connsiteY261" fmla="*/ 336868 h 479077"/>
                <a:gd name="connsiteX262" fmla="*/ 152863 w 3785642"/>
                <a:gd name="connsiteY262" fmla="*/ 326451 h 479077"/>
                <a:gd name="connsiteX263" fmla="*/ 164769 w 3785642"/>
                <a:gd name="connsiteY263" fmla="*/ 315041 h 479077"/>
                <a:gd name="connsiteX264" fmla="*/ 176178 w 3785642"/>
                <a:gd name="connsiteY264" fmla="*/ 303135 h 479077"/>
                <a:gd name="connsiteX265" fmla="*/ 188084 w 3785642"/>
                <a:gd name="connsiteY265" fmla="*/ 291725 h 479077"/>
                <a:gd name="connsiteX266" fmla="*/ 199494 w 3785642"/>
                <a:gd name="connsiteY266" fmla="*/ 280315 h 479077"/>
                <a:gd name="connsiteX267" fmla="*/ 210904 w 3785642"/>
                <a:gd name="connsiteY267" fmla="*/ 268906 h 479077"/>
                <a:gd name="connsiteX268" fmla="*/ 221818 w 3785642"/>
                <a:gd name="connsiteY268" fmla="*/ 256504 h 479077"/>
                <a:gd name="connsiteX269" fmla="*/ 233724 w 3785642"/>
                <a:gd name="connsiteY269" fmla="*/ 245094 h 479077"/>
                <a:gd name="connsiteX270" fmla="*/ 244141 w 3785642"/>
                <a:gd name="connsiteY270" fmla="*/ 232692 h 479077"/>
                <a:gd name="connsiteX271" fmla="*/ 257039 w 3785642"/>
                <a:gd name="connsiteY271" fmla="*/ 222770 h 479077"/>
                <a:gd name="connsiteX272" fmla="*/ 266961 w 3785642"/>
                <a:gd name="connsiteY272" fmla="*/ 209376 h 479077"/>
                <a:gd name="connsiteX273" fmla="*/ 278371 w 3785642"/>
                <a:gd name="connsiteY273" fmla="*/ 197966 h 479077"/>
                <a:gd name="connsiteX274" fmla="*/ 291269 w 3785642"/>
                <a:gd name="connsiteY274" fmla="*/ 188045 h 479077"/>
                <a:gd name="connsiteX275" fmla="*/ 301686 w 3785642"/>
                <a:gd name="connsiteY275" fmla="*/ 175147 h 479077"/>
                <a:gd name="connsiteX276" fmla="*/ 313592 w 3785642"/>
                <a:gd name="connsiteY276" fmla="*/ 163737 h 479077"/>
                <a:gd name="connsiteX277" fmla="*/ 325994 w 3785642"/>
                <a:gd name="connsiteY277" fmla="*/ 153319 h 479077"/>
                <a:gd name="connsiteX278" fmla="*/ 337404 w 3785642"/>
                <a:gd name="connsiteY278" fmla="*/ 141910 h 479077"/>
                <a:gd name="connsiteX279" fmla="*/ 347325 w 3785642"/>
                <a:gd name="connsiteY279" fmla="*/ 129012 h 479077"/>
                <a:gd name="connsiteX280" fmla="*/ 360224 w 3785642"/>
                <a:gd name="connsiteY280" fmla="*/ 118594 h 479077"/>
                <a:gd name="connsiteX281" fmla="*/ 371137 w 3785642"/>
                <a:gd name="connsiteY281" fmla="*/ 106192 h 479077"/>
                <a:gd name="connsiteX282" fmla="*/ 382051 w 3785642"/>
                <a:gd name="connsiteY282" fmla="*/ 93790 h 479077"/>
                <a:gd name="connsiteX283" fmla="*/ 393957 w 3785642"/>
                <a:gd name="connsiteY283" fmla="*/ 82380 h 479077"/>
                <a:gd name="connsiteX284" fmla="*/ 405366 w 3785642"/>
                <a:gd name="connsiteY284" fmla="*/ 70475 h 479077"/>
                <a:gd name="connsiteX285" fmla="*/ 417272 w 3785642"/>
                <a:gd name="connsiteY285" fmla="*/ 59561 h 479077"/>
                <a:gd name="connsiteX286" fmla="*/ 429674 w 3785642"/>
                <a:gd name="connsiteY286" fmla="*/ 48647 h 479077"/>
                <a:gd name="connsiteX287" fmla="*/ 440092 w 3785642"/>
                <a:gd name="connsiteY287" fmla="*/ 35749 h 479077"/>
                <a:gd name="connsiteX288" fmla="*/ 452494 w 3785642"/>
                <a:gd name="connsiteY288" fmla="*/ 24835 h 479077"/>
                <a:gd name="connsiteX289" fmla="*/ 463904 w 3785642"/>
                <a:gd name="connsiteY289" fmla="*/ 12929 h 479077"/>
                <a:gd name="connsiteX290" fmla="*/ 475313 w 3785642"/>
                <a:gd name="connsiteY290" fmla="*/ 1024 h 479077"/>
                <a:gd name="connsiteX291" fmla="*/ 491684 w 3785642"/>
                <a:gd name="connsiteY291" fmla="*/ 2512 h 479077"/>
                <a:gd name="connsiteX292" fmla="*/ 508055 w 3785642"/>
                <a:gd name="connsiteY292" fmla="*/ 2512 h 479077"/>
                <a:gd name="connsiteX293" fmla="*/ 524425 w 3785642"/>
                <a:gd name="connsiteY293" fmla="*/ 2512 h 479077"/>
                <a:gd name="connsiteX294" fmla="*/ 540796 w 3785642"/>
                <a:gd name="connsiteY294" fmla="*/ 1024 h 479077"/>
                <a:gd name="connsiteX295" fmla="*/ 557166 w 3785642"/>
                <a:gd name="connsiteY295" fmla="*/ 2512 h 479077"/>
                <a:gd name="connsiteX296" fmla="*/ 573537 w 3785642"/>
                <a:gd name="connsiteY296" fmla="*/ 1024 h 479077"/>
                <a:gd name="connsiteX297" fmla="*/ 589908 w 3785642"/>
                <a:gd name="connsiteY297" fmla="*/ 527 h 479077"/>
                <a:gd name="connsiteX298" fmla="*/ 606278 w 3785642"/>
                <a:gd name="connsiteY298" fmla="*/ 1520 h 479077"/>
                <a:gd name="connsiteX299" fmla="*/ 622649 w 3785642"/>
                <a:gd name="connsiteY299" fmla="*/ 1520 h 479077"/>
                <a:gd name="connsiteX300" fmla="*/ 639019 w 3785642"/>
                <a:gd name="connsiteY300" fmla="*/ 2016 h 479077"/>
                <a:gd name="connsiteX301" fmla="*/ 655390 w 3785642"/>
                <a:gd name="connsiteY301" fmla="*/ 527 h 479077"/>
                <a:gd name="connsiteX302" fmla="*/ 671760 w 3785642"/>
                <a:gd name="connsiteY302" fmla="*/ 1520 h 479077"/>
                <a:gd name="connsiteX303" fmla="*/ 688131 w 3785642"/>
                <a:gd name="connsiteY303" fmla="*/ 2512 h 479077"/>
                <a:gd name="connsiteX304" fmla="*/ 704501 w 3785642"/>
                <a:gd name="connsiteY304" fmla="*/ 1024 h 479077"/>
                <a:gd name="connsiteX305" fmla="*/ 720872 w 3785642"/>
                <a:gd name="connsiteY305" fmla="*/ 1520 h 479077"/>
                <a:gd name="connsiteX306" fmla="*/ 737243 w 3785642"/>
                <a:gd name="connsiteY306" fmla="*/ 2016 h 479077"/>
                <a:gd name="connsiteX307" fmla="*/ 753613 w 3785642"/>
                <a:gd name="connsiteY307" fmla="*/ 1024 h 479077"/>
                <a:gd name="connsiteX308" fmla="*/ 769984 w 3785642"/>
                <a:gd name="connsiteY308" fmla="*/ 527 h 479077"/>
                <a:gd name="connsiteX309" fmla="*/ 786354 w 3785642"/>
                <a:gd name="connsiteY309" fmla="*/ 1520 h 479077"/>
                <a:gd name="connsiteX310" fmla="*/ 802725 w 3785642"/>
                <a:gd name="connsiteY310" fmla="*/ 527 h 479077"/>
                <a:gd name="connsiteX311" fmla="*/ 819096 w 3785642"/>
                <a:gd name="connsiteY311" fmla="*/ 2512 h 479077"/>
                <a:gd name="connsiteX312" fmla="*/ 835466 w 3785642"/>
                <a:gd name="connsiteY312" fmla="*/ 527 h 479077"/>
                <a:gd name="connsiteX313" fmla="*/ 851837 w 3785642"/>
                <a:gd name="connsiteY313" fmla="*/ 1520 h 479077"/>
                <a:gd name="connsiteX314" fmla="*/ 868207 w 3785642"/>
                <a:gd name="connsiteY314" fmla="*/ 2016 h 479077"/>
                <a:gd name="connsiteX315" fmla="*/ 884578 w 3785642"/>
                <a:gd name="connsiteY315" fmla="*/ 2512 h 479077"/>
                <a:gd name="connsiteX316" fmla="*/ 900948 w 3785642"/>
                <a:gd name="connsiteY316" fmla="*/ 1520 h 479077"/>
                <a:gd name="connsiteX317" fmla="*/ 917319 w 3785642"/>
                <a:gd name="connsiteY317" fmla="*/ 1024 h 479077"/>
                <a:gd name="connsiteX318" fmla="*/ 933689 w 3785642"/>
                <a:gd name="connsiteY318" fmla="*/ 2512 h 479077"/>
                <a:gd name="connsiteX319" fmla="*/ 950060 w 3785642"/>
                <a:gd name="connsiteY319" fmla="*/ 1520 h 479077"/>
                <a:gd name="connsiteX320" fmla="*/ 966431 w 3785642"/>
                <a:gd name="connsiteY320" fmla="*/ 2016 h 479077"/>
                <a:gd name="connsiteX321" fmla="*/ 982801 w 3785642"/>
                <a:gd name="connsiteY321" fmla="*/ 2512 h 479077"/>
                <a:gd name="connsiteX322" fmla="*/ 999172 w 3785642"/>
                <a:gd name="connsiteY322" fmla="*/ 1520 h 479077"/>
                <a:gd name="connsiteX323" fmla="*/ 1015542 w 3785642"/>
                <a:gd name="connsiteY323" fmla="*/ 2512 h 479077"/>
                <a:gd name="connsiteX324" fmla="*/ 1031913 w 3785642"/>
                <a:gd name="connsiteY324" fmla="*/ 1520 h 479077"/>
                <a:gd name="connsiteX325" fmla="*/ 1048283 w 3785642"/>
                <a:gd name="connsiteY325" fmla="*/ 2016 h 479077"/>
                <a:gd name="connsiteX326" fmla="*/ 1064654 w 3785642"/>
                <a:gd name="connsiteY326" fmla="*/ 3504 h 479077"/>
                <a:gd name="connsiteX327" fmla="*/ 1081025 w 3785642"/>
                <a:gd name="connsiteY327" fmla="*/ 2016 h 479077"/>
                <a:gd name="connsiteX328" fmla="*/ 1097395 w 3785642"/>
                <a:gd name="connsiteY328" fmla="*/ 2512 h 479077"/>
                <a:gd name="connsiteX329" fmla="*/ 1113766 w 3785642"/>
                <a:gd name="connsiteY329" fmla="*/ 2512 h 479077"/>
                <a:gd name="connsiteX330" fmla="*/ 1130136 w 3785642"/>
                <a:gd name="connsiteY330" fmla="*/ 3504 h 479077"/>
                <a:gd name="connsiteX331" fmla="*/ 1146507 w 3785642"/>
                <a:gd name="connsiteY331" fmla="*/ 1520 h 479077"/>
                <a:gd name="connsiteX332" fmla="*/ 1162878 w 3785642"/>
                <a:gd name="connsiteY332" fmla="*/ 3008 h 479077"/>
                <a:gd name="connsiteX333" fmla="*/ 1179248 w 3785642"/>
                <a:gd name="connsiteY333" fmla="*/ 4000 h 479077"/>
                <a:gd name="connsiteX334" fmla="*/ 1195619 w 3785642"/>
                <a:gd name="connsiteY334" fmla="*/ 3504 h 479077"/>
                <a:gd name="connsiteX335" fmla="*/ 1211989 w 3785642"/>
                <a:gd name="connsiteY335" fmla="*/ 1520 h 479077"/>
                <a:gd name="connsiteX336" fmla="*/ 1228360 w 3785642"/>
                <a:gd name="connsiteY336" fmla="*/ 3504 h 479077"/>
                <a:gd name="connsiteX337" fmla="*/ 1244730 w 3785642"/>
                <a:gd name="connsiteY337" fmla="*/ 1520 h 479077"/>
                <a:gd name="connsiteX338" fmla="*/ 1261101 w 3785642"/>
                <a:gd name="connsiteY338" fmla="*/ 2512 h 479077"/>
                <a:gd name="connsiteX339" fmla="*/ 1277471 w 3785642"/>
                <a:gd name="connsiteY339" fmla="*/ 3504 h 479077"/>
                <a:gd name="connsiteX340" fmla="*/ 1293842 w 3785642"/>
                <a:gd name="connsiteY340" fmla="*/ 4000 h 479077"/>
                <a:gd name="connsiteX341" fmla="*/ 1310213 w 3785642"/>
                <a:gd name="connsiteY341" fmla="*/ 1520 h 479077"/>
                <a:gd name="connsiteX342" fmla="*/ 1326583 w 3785642"/>
                <a:gd name="connsiteY342" fmla="*/ 2016 h 479077"/>
                <a:gd name="connsiteX343" fmla="*/ 1342954 w 3785642"/>
                <a:gd name="connsiteY343" fmla="*/ 3008 h 479077"/>
                <a:gd name="connsiteX344" fmla="*/ 1359324 w 3785642"/>
                <a:gd name="connsiteY344" fmla="*/ 3008 h 479077"/>
                <a:gd name="connsiteX345" fmla="*/ 1375695 w 3785642"/>
                <a:gd name="connsiteY345" fmla="*/ 2512 h 479077"/>
                <a:gd name="connsiteX346" fmla="*/ 1392066 w 3785642"/>
                <a:gd name="connsiteY346" fmla="*/ 2512 h 479077"/>
                <a:gd name="connsiteX347" fmla="*/ 1408436 w 3785642"/>
                <a:gd name="connsiteY347" fmla="*/ 3504 h 479077"/>
                <a:gd name="connsiteX348" fmla="*/ 1424807 w 3785642"/>
                <a:gd name="connsiteY348" fmla="*/ 3504 h 479077"/>
                <a:gd name="connsiteX349" fmla="*/ 1441177 w 3785642"/>
                <a:gd name="connsiteY349" fmla="*/ 1520 h 479077"/>
                <a:gd name="connsiteX350" fmla="*/ 1457548 w 3785642"/>
                <a:gd name="connsiteY350" fmla="*/ 2512 h 479077"/>
                <a:gd name="connsiteX351" fmla="*/ 1473919 w 3785642"/>
                <a:gd name="connsiteY351" fmla="*/ 2016 h 479077"/>
                <a:gd name="connsiteX352" fmla="*/ 1490289 w 3785642"/>
                <a:gd name="connsiteY352" fmla="*/ 2016 h 479077"/>
                <a:gd name="connsiteX353" fmla="*/ 1506660 w 3785642"/>
                <a:gd name="connsiteY353" fmla="*/ 1520 h 479077"/>
                <a:gd name="connsiteX354" fmla="*/ 1523030 w 3785642"/>
                <a:gd name="connsiteY354" fmla="*/ 3504 h 479077"/>
                <a:gd name="connsiteX355" fmla="*/ 1539401 w 3785642"/>
                <a:gd name="connsiteY355" fmla="*/ 3008 h 479077"/>
                <a:gd name="connsiteX356" fmla="*/ 1555771 w 3785642"/>
                <a:gd name="connsiteY356" fmla="*/ 3008 h 479077"/>
                <a:gd name="connsiteX357" fmla="*/ 1572142 w 3785642"/>
                <a:gd name="connsiteY357" fmla="*/ 2512 h 479077"/>
                <a:gd name="connsiteX358" fmla="*/ 1588512 w 3785642"/>
                <a:gd name="connsiteY358" fmla="*/ 2016 h 479077"/>
                <a:gd name="connsiteX359" fmla="*/ 1604883 w 3785642"/>
                <a:gd name="connsiteY359" fmla="*/ 3008 h 479077"/>
                <a:gd name="connsiteX360" fmla="*/ 1621253 w 3785642"/>
                <a:gd name="connsiteY360" fmla="*/ 3008 h 479077"/>
                <a:gd name="connsiteX361" fmla="*/ 1637624 w 3785642"/>
                <a:gd name="connsiteY36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05646 w 3785642"/>
                <a:gd name="connsiteY30" fmla="*/ 79404 h 479077"/>
                <a:gd name="connsiteX31" fmla="*/ 3393740 w 3785642"/>
                <a:gd name="connsiteY31" fmla="*/ 68490 h 479077"/>
                <a:gd name="connsiteX32" fmla="*/ 3382330 w 3785642"/>
                <a:gd name="connsiteY32" fmla="*/ 56584 h 479077"/>
                <a:gd name="connsiteX33" fmla="*/ 3370921 w 3785642"/>
                <a:gd name="connsiteY33" fmla="*/ 44678 h 479077"/>
                <a:gd name="connsiteX34" fmla="*/ 3313375 w 3785642"/>
                <a:gd name="connsiteY34" fmla="*/ 10945 h 479077"/>
                <a:gd name="connsiteX35" fmla="*/ 3300973 w 3785642"/>
                <a:gd name="connsiteY35" fmla="*/ 21363 h 479077"/>
                <a:gd name="connsiteX36" fmla="*/ 3289068 w 3785642"/>
                <a:gd name="connsiteY36" fmla="*/ 32276 h 479077"/>
                <a:gd name="connsiteX37" fmla="*/ 3277658 w 3785642"/>
                <a:gd name="connsiteY37" fmla="*/ 43686 h 479077"/>
                <a:gd name="connsiteX38" fmla="*/ 3266248 w 3785642"/>
                <a:gd name="connsiteY38" fmla="*/ 55592 h 479077"/>
                <a:gd name="connsiteX39" fmla="*/ 3255830 w 3785642"/>
                <a:gd name="connsiteY39" fmla="*/ 68490 h 479077"/>
                <a:gd name="connsiteX40" fmla="*/ 3243924 w 3785642"/>
                <a:gd name="connsiteY40" fmla="*/ 79900 h 479077"/>
                <a:gd name="connsiteX41" fmla="*/ 3231522 w 3785642"/>
                <a:gd name="connsiteY41" fmla="*/ 90814 h 479077"/>
                <a:gd name="connsiteX42" fmla="*/ 3220609 w 3785642"/>
                <a:gd name="connsiteY42" fmla="*/ 102720 h 479077"/>
                <a:gd name="connsiteX43" fmla="*/ 3208207 w 3785642"/>
                <a:gd name="connsiteY43" fmla="*/ 113137 h 479077"/>
                <a:gd name="connsiteX44" fmla="*/ 3197293 w 3785642"/>
                <a:gd name="connsiteY44" fmla="*/ 125043 h 479077"/>
                <a:gd name="connsiteX45" fmla="*/ 3185387 w 3785642"/>
                <a:gd name="connsiteY45" fmla="*/ 136453 h 479077"/>
                <a:gd name="connsiteX46" fmla="*/ 3174970 w 3785642"/>
                <a:gd name="connsiteY46" fmla="*/ 148855 h 479077"/>
                <a:gd name="connsiteX47" fmla="*/ 3162071 w 3785642"/>
                <a:gd name="connsiteY47" fmla="*/ 159272 h 479077"/>
                <a:gd name="connsiteX48" fmla="*/ 3151158 w 3785642"/>
                <a:gd name="connsiteY48" fmla="*/ 171674 h 479077"/>
                <a:gd name="connsiteX49" fmla="*/ 3139252 w 3785642"/>
                <a:gd name="connsiteY49" fmla="*/ 182588 h 479077"/>
                <a:gd name="connsiteX50" fmla="*/ 3127843 w 3785642"/>
                <a:gd name="connsiteY50" fmla="*/ 194494 h 479077"/>
                <a:gd name="connsiteX51" fmla="*/ 3116432 w 3785642"/>
                <a:gd name="connsiteY51" fmla="*/ 205904 h 479077"/>
                <a:gd name="connsiteX52" fmla="*/ 3105022 w 3785642"/>
                <a:gd name="connsiteY52" fmla="*/ 217810 h 479077"/>
                <a:gd name="connsiteX53" fmla="*/ 3093117 w 3785642"/>
                <a:gd name="connsiteY53" fmla="*/ 229219 h 479077"/>
                <a:gd name="connsiteX54" fmla="*/ 3081707 w 3785642"/>
                <a:gd name="connsiteY54" fmla="*/ 240629 h 479077"/>
                <a:gd name="connsiteX55" fmla="*/ 3069305 w 3785642"/>
                <a:gd name="connsiteY55" fmla="*/ 251543 h 479077"/>
                <a:gd name="connsiteX56" fmla="*/ 3057895 w 3785642"/>
                <a:gd name="connsiteY56" fmla="*/ 263449 h 479077"/>
                <a:gd name="connsiteX57" fmla="*/ 3046486 w 3785642"/>
                <a:gd name="connsiteY57" fmla="*/ 275355 h 479077"/>
                <a:gd name="connsiteX58" fmla="*/ 3035572 w 3785642"/>
                <a:gd name="connsiteY58" fmla="*/ 287260 h 479077"/>
                <a:gd name="connsiteX59" fmla="*/ 3024658 w 3785642"/>
                <a:gd name="connsiteY59" fmla="*/ 299166 h 479077"/>
                <a:gd name="connsiteX60" fmla="*/ 3013248 w 3785642"/>
                <a:gd name="connsiteY60" fmla="*/ 311072 h 479077"/>
                <a:gd name="connsiteX61" fmla="*/ 3000350 w 3785642"/>
                <a:gd name="connsiteY61" fmla="*/ 321490 h 479077"/>
                <a:gd name="connsiteX62" fmla="*/ 2988941 w 3785642"/>
                <a:gd name="connsiteY62" fmla="*/ 333396 h 479077"/>
                <a:gd name="connsiteX63" fmla="*/ 2976539 w 3785642"/>
                <a:gd name="connsiteY63" fmla="*/ 344309 h 479077"/>
                <a:gd name="connsiteX64" fmla="*/ 2965129 w 3785642"/>
                <a:gd name="connsiteY64" fmla="*/ 356215 h 479077"/>
                <a:gd name="connsiteX65" fmla="*/ 2953223 w 3785642"/>
                <a:gd name="connsiteY65" fmla="*/ 367625 h 479077"/>
                <a:gd name="connsiteX66" fmla="*/ 2941813 w 3785642"/>
                <a:gd name="connsiteY66" fmla="*/ 379531 h 479077"/>
                <a:gd name="connsiteX67" fmla="*/ 2931395 w 3785642"/>
                <a:gd name="connsiteY67" fmla="*/ 392429 h 479077"/>
                <a:gd name="connsiteX68" fmla="*/ 2918497 w 3785642"/>
                <a:gd name="connsiteY68" fmla="*/ 402847 h 479077"/>
                <a:gd name="connsiteX69" fmla="*/ 2907584 w 3785642"/>
                <a:gd name="connsiteY69" fmla="*/ 415249 h 479077"/>
                <a:gd name="connsiteX70" fmla="*/ 2896174 w 3785642"/>
                <a:gd name="connsiteY70" fmla="*/ 426658 h 479077"/>
                <a:gd name="connsiteX71" fmla="*/ 2884268 w 3785642"/>
                <a:gd name="connsiteY71" fmla="*/ 438068 h 479077"/>
                <a:gd name="connsiteX72" fmla="*/ 2873354 w 3785642"/>
                <a:gd name="connsiteY72" fmla="*/ 450470 h 479077"/>
                <a:gd name="connsiteX73" fmla="*/ 2860952 w 3785642"/>
                <a:gd name="connsiteY73" fmla="*/ 461384 h 479077"/>
                <a:gd name="connsiteX74" fmla="*/ 2850039 w 3785642"/>
                <a:gd name="connsiteY74" fmla="*/ 473786 h 479077"/>
                <a:gd name="connsiteX75" fmla="*/ 2833668 w 3785642"/>
                <a:gd name="connsiteY75" fmla="*/ 473786 h 479077"/>
                <a:gd name="connsiteX76" fmla="*/ 2817297 w 3785642"/>
                <a:gd name="connsiteY76" fmla="*/ 473290 h 479077"/>
                <a:gd name="connsiteX77" fmla="*/ 2800927 w 3785642"/>
                <a:gd name="connsiteY77" fmla="*/ 473290 h 479077"/>
                <a:gd name="connsiteX78" fmla="*/ 2784556 w 3785642"/>
                <a:gd name="connsiteY78" fmla="*/ 473786 h 479077"/>
                <a:gd name="connsiteX79" fmla="*/ 2768186 w 3785642"/>
                <a:gd name="connsiteY79" fmla="*/ 474282 h 479077"/>
                <a:gd name="connsiteX80" fmla="*/ 2751815 w 3785642"/>
                <a:gd name="connsiteY80" fmla="*/ 474282 h 479077"/>
                <a:gd name="connsiteX81" fmla="*/ 2735444 w 3785642"/>
                <a:gd name="connsiteY81" fmla="*/ 473290 h 479077"/>
                <a:gd name="connsiteX82" fmla="*/ 2719074 w 3785642"/>
                <a:gd name="connsiteY82" fmla="*/ 474282 h 479077"/>
                <a:gd name="connsiteX83" fmla="*/ 2702703 w 3785642"/>
                <a:gd name="connsiteY83" fmla="*/ 472298 h 479077"/>
                <a:gd name="connsiteX84" fmla="*/ 2686333 w 3785642"/>
                <a:gd name="connsiteY84" fmla="*/ 472794 h 479077"/>
                <a:gd name="connsiteX85" fmla="*/ 2669962 w 3785642"/>
                <a:gd name="connsiteY85" fmla="*/ 474282 h 479077"/>
                <a:gd name="connsiteX86" fmla="*/ 2653592 w 3785642"/>
                <a:gd name="connsiteY86" fmla="*/ 472298 h 479077"/>
                <a:gd name="connsiteX87" fmla="*/ 2637221 w 3785642"/>
                <a:gd name="connsiteY87" fmla="*/ 474282 h 479077"/>
                <a:gd name="connsiteX88" fmla="*/ 2620851 w 3785642"/>
                <a:gd name="connsiteY88" fmla="*/ 474282 h 479077"/>
                <a:gd name="connsiteX89" fmla="*/ 2604480 w 3785642"/>
                <a:gd name="connsiteY89" fmla="*/ 472298 h 479077"/>
                <a:gd name="connsiteX90" fmla="*/ 2588109 w 3785642"/>
                <a:gd name="connsiteY90" fmla="*/ 473786 h 479077"/>
                <a:gd name="connsiteX91" fmla="*/ 2571739 w 3785642"/>
                <a:gd name="connsiteY91" fmla="*/ 472298 h 479077"/>
                <a:gd name="connsiteX92" fmla="*/ 2555368 w 3785642"/>
                <a:gd name="connsiteY92" fmla="*/ 473290 h 479077"/>
                <a:gd name="connsiteX93" fmla="*/ 2538998 w 3785642"/>
                <a:gd name="connsiteY93" fmla="*/ 474282 h 479077"/>
                <a:gd name="connsiteX94" fmla="*/ 2522627 w 3785642"/>
                <a:gd name="connsiteY94" fmla="*/ 473290 h 479077"/>
                <a:gd name="connsiteX95" fmla="*/ 2506257 w 3785642"/>
                <a:gd name="connsiteY95" fmla="*/ 474282 h 479077"/>
                <a:gd name="connsiteX96" fmla="*/ 2489886 w 3785642"/>
                <a:gd name="connsiteY96" fmla="*/ 473786 h 479077"/>
                <a:gd name="connsiteX97" fmla="*/ 2473516 w 3785642"/>
                <a:gd name="connsiteY97" fmla="*/ 474282 h 479077"/>
                <a:gd name="connsiteX98" fmla="*/ 2457145 w 3785642"/>
                <a:gd name="connsiteY98" fmla="*/ 472794 h 479077"/>
                <a:gd name="connsiteX99" fmla="*/ 2440775 w 3785642"/>
                <a:gd name="connsiteY99" fmla="*/ 472298 h 479077"/>
                <a:gd name="connsiteX100" fmla="*/ 2424404 w 3785642"/>
                <a:gd name="connsiteY100" fmla="*/ 473786 h 479077"/>
                <a:gd name="connsiteX101" fmla="*/ 2408033 w 3785642"/>
                <a:gd name="connsiteY101" fmla="*/ 472794 h 479077"/>
                <a:gd name="connsiteX102" fmla="*/ 2391663 w 3785642"/>
                <a:gd name="connsiteY102" fmla="*/ 473290 h 479077"/>
                <a:gd name="connsiteX103" fmla="*/ 2375292 w 3785642"/>
                <a:gd name="connsiteY103" fmla="*/ 473290 h 479077"/>
                <a:gd name="connsiteX104" fmla="*/ 2358922 w 3785642"/>
                <a:gd name="connsiteY104" fmla="*/ 472794 h 479077"/>
                <a:gd name="connsiteX105" fmla="*/ 2342551 w 3785642"/>
                <a:gd name="connsiteY105" fmla="*/ 472298 h 479077"/>
                <a:gd name="connsiteX106" fmla="*/ 2326180 w 3785642"/>
                <a:gd name="connsiteY106" fmla="*/ 473786 h 479077"/>
                <a:gd name="connsiteX107" fmla="*/ 2309810 w 3785642"/>
                <a:gd name="connsiteY107" fmla="*/ 473786 h 479077"/>
                <a:gd name="connsiteX108" fmla="*/ 2293439 w 3785642"/>
                <a:gd name="connsiteY108" fmla="*/ 473786 h 479077"/>
                <a:gd name="connsiteX109" fmla="*/ 2277069 w 3785642"/>
                <a:gd name="connsiteY109" fmla="*/ 472794 h 479077"/>
                <a:gd name="connsiteX110" fmla="*/ 2260698 w 3785642"/>
                <a:gd name="connsiteY110" fmla="*/ 474282 h 479077"/>
                <a:gd name="connsiteX111" fmla="*/ 2244327 w 3785642"/>
                <a:gd name="connsiteY111" fmla="*/ 472298 h 479077"/>
                <a:gd name="connsiteX112" fmla="*/ 2227957 w 3785642"/>
                <a:gd name="connsiteY112" fmla="*/ 474282 h 479077"/>
                <a:gd name="connsiteX113" fmla="*/ 2211586 w 3785642"/>
                <a:gd name="connsiteY113" fmla="*/ 473290 h 479077"/>
                <a:gd name="connsiteX114" fmla="*/ 2195216 w 3785642"/>
                <a:gd name="connsiteY114" fmla="*/ 474282 h 479077"/>
                <a:gd name="connsiteX115" fmla="*/ 2178845 w 3785642"/>
                <a:gd name="connsiteY115" fmla="*/ 472794 h 479077"/>
                <a:gd name="connsiteX116" fmla="*/ 2162474 w 3785642"/>
                <a:gd name="connsiteY116" fmla="*/ 474778 h 479077"/>
                <a:gd name="connsiteX117" fmla="*/ 2146104 w 3785642"/>
                <a:gd name="connsiteY117" fmla="*/ 473290 h 479077"/>
                <a:gd name="connsiteX118" fmla="*/ 2129733 w 3785642"/>
                <a:gd name="connsiteY118" fmla="*/ 474778 h 479077"/>
                <a:gd name="connsiteX119" fmla="*/ 2113363 w 3785642"/>
                <a:gd name="connsiteY119" fmla="*/ 474778 h 479077"/>
                <a:gd name="connsiteX120" fmla="*/ 2096992 w 3785642"/>
                <a:gd name="connsiteY120" fmla="*/ 474778 h 479077"/>
                <a:gd name="connsiteX121" fmla="*/ 2080621 w 3785642"/>
                <a:gd name="connsiteY121" fmla="*/ 474282 h 479077"/>
                <a:gd name="connsiteX122" fmla="*/ 2064251 w 3785642"/>
                <a:gd name="connsiteY122" fmla="*/ 472794 h 479077"/>
                <a:gd name="connsiteX123" fmla="*/ 2047880 w 3785642"/>
                <a:gd name="connsiteY123" fmla="*/ 474778 h 479077"/>
                <a:gd name="connsiteX124" fmla="*/ 2031510 w 3785642"/>
                <a:gd name="connsiteY124" fmla="*/ 474778 h 479077"/>
                <a:gd name="connsiteX125" fmla="*/ 2015139 w 3785642"/>
                <a:gd name="connsiteY125" fmla="*/ 474778 h 479077"/>
                <a:gd name="connsiteX126" fmla="*/ 1998769 w 3785642"/>
                <a:gd name="connsiteY126" fmla="*/ 474282 h 479077"/>
                <a:gd name="connsiteX127" fmla="*/ 1982398 w 3785642"/>
                <a:gd name="connsiteY127" fmla="*/ 473786 h 479077"/>
                <a:gd name="connsiteX128" fmla="*/ 1966028 w 3785642"/>
                <a:gd name="connsiteY128" fmla="*/ 473786 h 479077"/>
                <a:gd name="connsiteX129" fmla="*/ 1949657 w 3785642"/>
                <a:gd name="connsiteY129" fmla="*/ 472794 h 479077"/>
                <a:gd name="connsiteX130" fmla="*/ 1933287 w 3785642"/>
                <a:gd name="connsiteY130" fmla="*/ 473290 h 479077"/>
                <a:gd name="connsiteX131" fmla="*/ 1916916 w 3785642"/>
                <a:gd name="connsiteY131" fmla="*/ 474778 h 479077"/>
                <a:gd name="connsiteX132" fmla="*/ 1900546 w 3785642"/>
                <a:gd name="connsiteY132" fmla="*/ 472794 h 479077"/>
                <a:gd name="connsiteX133" fmla="*/ 1884175 w 3785642"/>
                <a:gd name="connsiteY133" fmla="*/ 473786 h 479077"/>
                <a:gd name="connsiteX134" fmla="*/ 1867804 w 3785642"/>
                <a:gd name="connsiteY134" fmla="*/ 474778 h 479077"/>
                <a:gd name="connsiteX135" fmla="*/ 1851434 w 3785642"/>
                <a:gd name="connsiteY135" fmla="*/ 474778 h 479077"/>
                <a:gd name="connsiteX136" fmla="*/ 1835063 w 3785642"/>
                <a:gd name="connsiteY136" fmla="*/ 474778 h 479077"/>
                <a:gd name="connsiteX137" fmla="*/ 1818693 w 3785642"/>
                <a:gd name="connsiteY137" fmla="*/ 474282 h 479077"/>
                <a:gd name="connsiteX138" fmla="*/ 1802322 w 3785642"/>
                <a:gd name="connsiteY138" fmla="*/ 472794 h 479077"/>
                <a:gd name="connsiteX139" fmla="*/ 1785951 w 3785642"/>
                <a:gd name="connsiteY139" fmla="*/ 473786 h 479077"/>
                <a:gd name="connsiteX140" fmla="*/ 1769581 w 3785642"/>
                <a:gd name="connsiteY140" fmla="*/ 473290 h 479077"/>
                <a:gd name="connsiteX141" fmla="*/ 1753210 w 3785642"/>
                <a:gd name="connsiteY141" fmla="*/ 472298 h 479077"/>
                <a:gd name="connsiteX142" fmla="*/ 1736840 w 3785642"/>
                <a:gd name="connsiteY142" fmla="*/ 473290 h 479077"/>
                <a:gd name="connsiteX143" fmla="*/ 1720469 w 3785642"/>
                <a:gd name="connsiteY143" fmla="*/ 474778 h 479077"/>
                <a:gd name="connsiteX144" fmla="*/ 1704098 w 3785642"/>
                <a:gd name="connsiteY144" fmla="*/ 472794 h 479077"/>
                <a:gd name="connsiteX145" fmla="*/ 1687728 w 3785642"/>
                <a:gd name="connsiteY145" fmla="*/ 474778 h 479077"/>
                <a:gd name="connsiteX146" fmla="*/ 1671357 w 3785642"/>
                <a:gd name="connsiteY146" fmla="*/ 474778 h 479077"/>
                <a:gd name="connsiteX147" fmla="*/ 1654987 w 3785642"/>
                <a:gd name="connsiteY147" fmla="*/ 472298 h 479077"/>
                <a:gd name="connsiteX148" fmla="*/ 1638616 w 3785642"/>
                <a:gd name="connsiteY148" fmla="*/ 472794 h 479077"/>
                <a:gd name="connsiteX149" fmla="*/ 1622246 w 3785642"/>
                <a:gd name="connsiteY149" fmla="*/ 473786 h 479077"/>
                <a:gd name="connsiteX150" fmla="*/ 1605875 w 3785642"/>
                <a:gd name="connsiteY150" fmla="*/ 474778 h 479077"/>
                <a:gd name="connsiteX151" fmla="*/ 1589505 w 3785642"/>
                <a:gd name="connsiteY151" fmla="*/ 473290 h 479077"/>
                <a:gd name="connsiteX152" fmla="*/ 1573134 w 3785642"/>
                <a:gd name="connsiteY152" fmla="*/ 474778 h 479077"/>
                <a:gd name="connsiteX153" fmla="*/ 1556763 w 3785642"/>
                <a:gd name="connsiteY153" fmla="*/ 472794 h 479077"/>
                <a:gd name="connsiteX154" fmla="*/ 1540393 w 3785642"/>
                <a:gd name="connsiteY154" fmla="*/ 472794 h 479077"/>
                <a:gd name="connsiteX155" fmla="*/ 1524022 w 3785642"/>
                <a:gd name="connsiteY155" fmla="*/ 474282 h 479077"/>
                <a:gd name="connsiteX156" fmla="*/ 1507652 w 3785642"/>
                <a:gd name="connsiteY156" fmla="*/ 472794 h 479077"/>
                <a:gd name="connsiteX157" fmla="*/ 1491281 w 3785642"/>
                <a:gd name="connsiteY157" fmla="*/ 474282 h 479077"/>
                <a:gd name="connsiteX158" fmla="*/ 1474910 w 3785642"/>
                <a:gd name="connsiteY158" fmla="*/ 474282 h 479077"/>
                <a:gd name="connsiteX159" fmla="*/ 1458540 w 3785642"/>
                <a:gd name="connsiteY159" fmla="*/ 472794 h 479077"/>
                <a:gd name="connsiteX160" fmla="*/ 1442169 w 3785642"/>
                <a:gd name="connsiteY160" fmla="*/ 471802 h 479077"/>
                <a:gd name="connsiteX161" fmla="*/ 1425799 w 3785642"/>
                <a:gd name="connsiteY161" fmla="*/ 472298 h 479077"/>
                <a:gd name="connsiteX162" fmla="*/ 1409428 w 3785642"/>
                <a:gd name="connsiteY162" fmla="*/ 472794 h 479077"/>
                <a:gd name="connsiteX163" fmla="*/ 1393058 w 3785642"/>
                <a:gd name="connsiteY163" fmla="*/ 473786 h 479077"/>
                <a:gd name="connsiteX164" fmla="*/ 1376687 w 3785642"/>
                <a:gd name="connsiteY164" fmla="*/ 471802 h 479077"/>
                <a:gd name="connsiteX165" fmla="*/ 1360317 w 3785642"/>
                <a:gd name="connsiteY165" fmla="*/ 473786 h 479077"/>
                <a:gd name="connsiteX166" fmla="*/ 1343946 w 3785642"/>
                <a:gd name="connsiteY166" fmla="*/ 473786 h 479077"/>
                <a:gd name="connsiteX167" fmla="*/ 1327576 w 3785642"/>
                <a:gd name="connsiteY167" fmla="*/ 472794 h 479077"/>
                <a:gd name="connsiteX168" fmla="*/ 1311205 w 3785642"/>
                <a:gd name="connsiteY168" fmla="*/ 473786 h 479077"/>
                <a:gd name="connsiteX169" fmla="*/ 1294834 w 3785642"/>
                <a:gd name="connsiteY169" fmla="*/ 473786 h 479077"/>
                <a:gd name="connsiteX170" fmla="*/ 1278464 w 3785642"/>
                <a:gd name="connsiteY170" fmla="*/ 473786 h 479077"/>
                <a:gd name="connsiteX171" fmla="*/ 1262093 w 3785642"/>
                <a:gd name="connsiteY171" fmla="*/ 473786 h 479077"/>
                <a:gd name="connsiteX172" fmla="*/ 1245723 w 3785642"/>
                <a:gd name="connsiteY172" fmla="*/ 473290 h 479077"/>
                <a:gd name="connsiteX173" fmla="*/ 1229352 w 3785642"/>
                <a:gd name="connsiteY173" fmla="*/ 472794 h 479077"/>
                <a:gd name="connsiteX174" fmla="*/ 1212981 w 3785642"/>
                <a:gd name="connsiteY174" fmla="*/ 473786 h 479077"/>
                <a:gd name="connsiteX175" fmla="*/ 1196611 w 3785642"/>
                <a:gd name="connsiteY175" fmla="*/ 472298 h 479077"/>
                <a:gd name="connsiteX176" fmla="*/ 1180240 w 3785642"/>
                <a:gd name="connsiteY176" fmla="*/ 472794 h 479077"/>
                <a:gd name="connsiteX177" fmla="*/ 1163870 w 3785642"/>
                <a:gd name="connsiteY177" fmla="*/ 472794 h 479077"/>
                <a:gd name="connsiteX178" fmla="*/ 1147499 w 3785642"/>
                <a:gd name="connsiteY178" fmla="*/ 473786 h 479077"/>
                <a:gd name="connsiteX179" fmla="*/ 1131128 w 3785642"/>
                <a:gd name="connsiteY179" fmla="*/ 473786 h 479077"/>
                <a:gd name="connsiteX180" fmla="*/ 1114758 w 3785642"/>
                <a:gd name="connsiteY180" fmla="*/ 472794 h 479077"/>
                <a:gd name="connsiteX181" fmla="*/ 1098387 w 3785642"/>
                <a:gd name="connsiteY181" fmla="*/ 473786 h 479077"/>
                <a:gd name="connsiteX182" fmla="*/ 1082017 w 3785642"/>
                <a:gd name="connsiteY182" fmla="*/ 474778 h 479077"/>
                <a:gd name="connsiteX183" fmla="*/ 1065646 w 3785642"/>
                <a:gd name="connsiteY183" fmla="*/ 474778 h 479077"/>
                <a:gd name="connsiteX184" fmla="*/ 1049276 w 3785642"/>
                <a:gd name="connsiteY184" fmla="*/ 474282 h 479077"/>
                <a:gd name="connsiteX185" fmla="*/ 1032905 w 3785642"/>
                <a:gd name="connsiteY185" fmla="*/ 473290 h 479077"/>
                <a:gd name="connsiteX186" fmla="*/ 1016535 w 3785642"/>
                <a:gd name="connsiteY186" fmla="*/ 474282 h 479077"/>
                <a:gd name="connsiteX187" fmla="*/ 1000164 w 3785642"/>
                <a:gd name="connsiteY187" fmla="*/ 474282 h 479077"/>
                <a:gd name="connsiteX188" fmla="*/ 983793 w 3785642"/>
                <a:gd name="connsiteY188" fmla="*/ 472794 h 479077"/>
                <a:gd name="connsiteX189" fmla="*/ 967423 w 3785642"/>
                <a:gd name="connsiteY189" fmla="*/ 472794 h 479077"/>
                <a:gd name="connsiteX190" fmla="*/ 951052 w 3785642"/>
                <a:gd name="connsiteY190" fmla="*/ 473786 h 479077"/>
                <a:gd name="connsiteX191" fmla="*/ 934682 w 3785642"/>
                <a:gd name="connsiteY191" fmla="*/ 474282 h 479077"/>
                <a:gd name="connsiteX192" fmla="*/ 918311 w 3785642"/>
                <a:gd name="connsiteY192" fmla="*/ 474778 h 479077"/>
                <a:gd name="connsiteX193" fmla="*/ 901940 w 3785642"/>
                <a:gd name="connsiteY193" fmla="*/ 473290 h 479077"/>
                <a:gd name="connsiteX194" fmla="*/ 885570 w 3785642"/>
                <a:gd name="connsiteY194" fmla="*/ 474778 h 479077"/>
                <a:gd name="connsiteX195" fmla="*/ 869199 w 3785642"/>
                <a:gd name="connsiteY195" fmla="*/ 474282 h 479077"/>
                <a:gd name="connsiteX196" fmla="*/ 852829 w 3785642"/>
                <a:gd name="connsiteY196" fmla="*/ 473786 h 479077"/>
                <a:gd name="connsiteX197" fmla="*/ 836458 w 3785642"/>
                <a:gd name="connsiteY197" fmla="*/ 474778 h 479077"/>
                <a:gd name="connsiteX198" fmla="*/ 820088 w 3785642"/>
                <a:gd name="connsiteY198" fmla="*/ 475274 h 479077"/>
                <a:gd name="connsiteX199" fmla="*/ 803717 w 3785642"/>
                <a:gd name="connsiteY199" fmla="*/ 473786 h 479077"/>
                <a:gd name="connsiteX200" fmla="*/ 787347 w 3785642"/>
                <a:gd name="connsiteY200" fmla="*/ 475770 h 479077"/>
                <a:gd name="connsiteX201" fmla="*/ 770976 w 3785642"/>
                <a:gd name="connsiteY201" fmla="*/ 474778 h 479077"/>
                <a:gd name="connsiteX202" fmla="*/ 754605 w 3785642"/>
                <a:gd name="connsiteY202" fmla="*/ 475274 h 479077"/>
                <a:gd name="connsiteX203" fmla="*/ 738235 w 3785642"/>
                <a:gd name="connsiteY203" fmla="*/ 473786 h 479077"/>
                <a:gd name="connsiteX204" fmla="*/ 721864 w 3785642"/>
                <a:gd name="connsiteY204" fmla="*/ 475274 h 479077"/>
                <a:gd name="connsiteX205" fmla="*/ 705494 w 3785642"/>
                <a:gd name="connsiteY205" fmla="*/ 475770 h 479077"/>
                <a:gd name="connsiteX206" fmla="*/ 689123 w 3785642"/>
                <a:gd name="connsiteY206" fmla="*/ 474282 h 479077"/>
                <a:gd name="connsiteX207" fmla="*/ 672753 w 3785642"/>
                <a:gd name="connsiteY207" fmla="*/ 475274 h 479077"/>
                <a:gd name="connsiteX208" fmla="*/ 656382 w 3785642"/>
                <a:gd name="connsiteY208" fmla="*/ 474778 h 479077"/>
                <a:gd name="connsiteX209" fmla="*/ 640011 w 3785642"/>
                <a:gd name="connsiteY209" fmla="*/ 475770 h 479077"/>
                <a:gd name="connsiteX210" fmla="*/ 623641 w 3785642"/>
                <a:gd name="connsiteY210" fmla="*/ 473786 h 479077"/>
                <a:gd name="connsiteX211" fmla="*/ 607270 w 3785642"/>
                <a:gd name="connsiteY211" fmla="*/ 474778 h 479077"/>
                <a:gd name="connsiteX212" fmla="*/ 590900 w 3785642"/>
                <a:gd name="connsiteY212" fmla="*/ 475274 h 479077"/>
                <a:gd name="connsiteX213" fmla="*/ 574529 w 3785642"/>
                <a:gd name="connsiteY213" fmla="*/ 474282 h 479077"/>
                <a:gd name="connsiteX214" fmla="*/ 558158 w 3785642"/>
                <a:gd name="connsiteY214" fmla="*/ 475274 h 479077"/>
                <a:gd name="connsiteX215" fmla="*/ 541788 w 3785642"/>
                <a:gd name="connsiteY215" fmla="*/ 475770 h 479077"/>
                <a:gd name="connsiteX216" fmla="*/ 525417 w 3785642"/>
                <a:gd name="connsiteY216" fmla="*/ 474282 h 479077"/>
                <a:gd name="connsiteX217" fmla="*/ 509047 w 3785642"/>
                <a:gd name="connsiteY217" fmla="*/ 473786 h 479077"/>
                <a:gd name="connsiteX218" fmla="*/ 492676 w 3785642"/>
                <a:gd name="connsiteY218" fmla="*/ 473786 h 479077"/>
                <a:gd name="connsiteX219" fmla="*/ 476306 w 3785642"/>
                <a:gd name="connsiteY219" fmla="*/ 474778 h 479077"/>
                <a:gd name="connsiteX220" fmla="*/ 459935 w 3785642"/>
                <a:gd name="connsiteY220" fmla="*/ 473786 h 479077"/>
                <a:gd name="connsiteX221" fmla="*/ 443565 w 3785642"/>
                <a:gd name="connsiteY221" fmla="*/ 474778 h 479077"/>
                <a:gd name="connsiteX222" fmla="*/ 427194 w 3785642"/>
                <a:gd name="connsiteY222" fmla="*/ 474282 h 479077"/>
                <a:gd name="connsiteX223" fmla="*/ 410823 w 3785642"/>
                <a:gd name="connsiteY223" fmla="*/ 473290 h 479077"/>
                <a:gd name="connsiteX224" fmla="*/ 394453 w 3785642"/>
                <a:gd name="connsiteY224" fmla="*/ 475770 h 479077"/>
                <a:gd name="connsiteX225" fmla="*/ 378082 w 3785642"/>
                <a:gd name="connsiteY225" fmla="*/ 475274 h 479077"/>
                <a:gd name="connsiteX226" fmla="*/ 361712 w 3785642"/>
                <a:gd name="connsiteY226" fmla="*/ 474778 h 479077"/>
                <a:gd name="connsiteX227" fmla="*/ 345341 w 3785642"/>
                <a:gd name="connsiteY227" fmla="*/ 476266 h 479077"/>
                <a:gd name="connsiteX228" fmla="*/ 328970 w 3785642"/>
                <a:gd name="connsiteY228" fmla="*/ 474282 h 479077"/>
                <a:gd name="connsiteX229" fmla="*/ 312600 w 3785642"/>
                <a:gd name="connsiteY229" fmla="*/ 475274 h 479077"/>
                <a:gd name="connsiteX230" fmla="*/ 296229 w 3785642"/>
                <a:gd name="connsiteY230" fmla="*/ 474282 h 479077"/>
                <a:gd name="connsiteX231" fmla="*/ 279859 w 3785642"/>
                <a:gd name="connsiteY231" fmla="*/ 475770 h 479077"/>
                <a:gd name="connsiteX232" fmla="*/ 263488 w 3785642"/>
                <a:gd name="connsiteY232" fmla="*/ 476266 h 479077"/>
                <a:gd name="connsiteX233" fmla="*/ 247118 w 3785642"/>
                <a:gd name="connsiteY233" fmla="*/ 476266 h 479077"/>
                <a:gd name="connsiteX234" fmla="*/ 230747 w 3785642"/>
                <a:gd name="connsiteY234" fmla="*/ 474778 h 479077"/>
                <a:gd name="connsiteX235" fmla="*/ 214376 w 3785642"/>
                <a:gd name="connsiteY235" fmla="*/ 474778 h 479077"/>
                <a:gd name="connsiteX236" fmla="*/ 198006 w 3785642"/>
                <a:gd name="connsiteY236" fmla="*/ 476762 h 479077"/>
                <a:gd name="connsiteX237" fmla="*/ 181635 w 3785642"/>
                <a:gd name="connsiteY237" fmla="*/ 476266 h 479077"/>
                <a:gd name="connsiteX238" fmla="*/ 165265 w 3785642"/>
                <a:gd name="connsiteY238" fmla="*/ 474778 h 479077"/>
                <a:gd name="connsiteX239" fmla="*/ 148894 w 3785642"/>
                <a:gd name="connsiteY239" fmla="*/ 476762 h 479077"/>
                <a:gd name="connsiteX240" fmla="*/ 132524 w 3785642"/>
                <a:gd name="connsiteY240" fmla="*/ 476266 h 479077"/>
                <a:gd name="connsiteX241" fmla="*/ 116153 w 3785642"/>
                <a:gd name="connsiteY241" fmla="*/ 475274 h 479077"/>
                <a:gd name="connsiteX242" fmla="*/ 99783 w 3785642"/>
                <a:gd name="connsiteY242" fmla="*/ 475274 h 479077"/>
                <a:gd name="connsiteX243" fmla="*/ 83412 w 3785642"/>
                <a:gd name="connsiteY243" fmla="*/ 475274 h 479077"/>
                <a:gd name="connsiteX244" fmla="*/ 67041 w 3785642"/>
                <a:gd name="connsiteY244" fmla="*/ 474778 h 479077"/>
                <a:gd name="connsiteX245" fmla="*/ 50671 w 3785642"/>
                <a:gd name="connsiteY245" fmla="*/ 475274 h 479077"/>
                <a:gd name="connsiteX246" fmla="*/ 34300 w 3785642"/>
                <a:gd name="connsiteY246" fmla="*/ 475274 h 479077"/>
                <a:gd name="connsiteX247" fmla="*/ 17930 w 3785642"/>
                <a:gd name="connsiteY247" fmla="*/ 475770 h 479077"/>
                <a:gd name="connsiteX248" fmla="*/ 567 w 3785642"/>
                <a:gd name="connsiteY248" fmla="*/ 475770 h 479077"/>
                <a:gd name="connsiteX249" fmla="*/ 12969 w 3785642"/>
                <a:gd name="connsiteY249" fmla="*/ 463368 h 479077"/>
                <a:gd name="connsiteX250" fmla="*/ 24379 w 3785642"/>
                <a:gd name="connsiteY250" fmla="*/ 451958 h 479077"/>
                <a:gd name="connsiteX251" fmla="*/ 35788 w 3785642"/>
                <a:gd name="connsiteY251" fmla="*/ 440053 h 479077"/>
                <a:gd name="connsiteX252" fmla="*/ 48686 w 3785642"/>
                <a:gd name="connsiteY252" fmla="*/ 430131 h 479077"/>
                <a:gd name="connsiteX253" fmla="*/ 59600 w 3785642"/>
                <a:gd name="connsiteY253" fmla="*/ 418225 h 479077"/>
                <a:gd name="connsiteX254" fmla="*/ 70514 w 3785642"/>
                <a:gd name="connsiteY254" fmla="*/ 405823 h 479077"/>
                <a:gd name="connsiteX255" fmla="*/ 83412 w 3785642"/>
                <a:gd name="connsiteY255" fmla="*/ 395406 h 479077"/>
                <a:gd name="connsiteX256" fmla="*/ 94822 w 3785642"/>
                <a:gd name="connsiteY256" fmla="*/ 383500 h 479077"/>
                <a:gd name="connsiteX257" fmla="*/ 106728 w 3785642"/>
                <a:gd name="connsiteY257" fmla="*/ 372090 h 479077"/>
                <a:gd name="connsiteX258" fmla="*/ 117145 w 3785642"/>
                <a:gd name="connsiteY258" fmla="*/ 359688 h 479077"/>
                <a:gd name="connsiteX259" fmla="*/ 128555 w 3785642"/>
                <a:gd name="connsiteY259" fmla="*/ 348278 h 479077"/>
                <a:gd name="connsiteX260" fmla="*/ 140461 w 3785642"/>
                <a:gd name="connsiteY260" fmla="*/ 336868 h 479077"/>
                <a:gd name="connsiteX261" fmla="*/ 152863 w 3785642"/>
                <a:gd name="connsiteY261" fmla="*/ 326451 h 479077"/>
                <a:gd name="connsiteX262" fmla="*/ 164769 w 3785642"/>
                <a:gd name="connsiteY262" fmla="*/ 315041 h 479077"/>
                <a:gd name="connsiteX263" fmla="*/ 176178 w 3785642"/>
                <a:gd name="connsiteY263" fmla="*/ 303135 h 479077"/>
                <a:gd name="connsiteX264" fmla="*/ 188084 w 3785642"/>
                <a:gd name="connsiteY264" fmla="*/ 291725 h 479077"/>
                <a:gd name="connsiteX265" fmla="*/ 199494 w 3785642"/>
                <a:gd name="connsiteY265" fmla="*/ 280315 h 479077"/>
                <a:gd name="connsiteX266" fmla="*/ 210904 w 3785642"/>
                <a:gd name="connsiteY266" fmla="*/ 268906 h 479077"/>
                <a:gd name="connsiteX267" fmla="*/ 221818 w 3785642"/>
                <a:gd name="connsiteY267" fmla="*/ 256504 h 479077"/>
                <a:gd name="connsiteX268" fmla="*/ 233724 w 3785642"/>
                <a:gd name="connsiteY268" fmla="*/ 245094 h 479077"/>
                <a:gd name="connsiteX269" fmla="*/ 244141 w 3785642"/>
                <a:gd name="connsiteY269" fmla="*/ 232692 h 479077"/>
                <a:gd name="connsiteX270" fmla="*/ 257039 w 3785642"/>
                <a:gd name="connsiteY270" fmla="*/ 222770 h 479077"/>
                <a:gd name="connsiteX271" fmla="*/ 266961 w 3785642"/>
                <a:gd name="connsiteY271" fmla="*/ 209376 h 479077"/>
                <a:gd name="connsiteX272" fmla="*/ 278371 w 3785642"/>
                <a:gd name="connsiteY272" fmla="*/ 197966 h 479077"/>
                <a:gd name="connsiteX273" fmla="*/ 291269 w 3785642"/>
                <a:gd name="connsiteY273" fmla="*/ 188045 h 479077"/>
                <a:gd name="connsiteX274" fmla="*/ 301686 w 3785642"/>
                <a:gd name="connsiteY274" fmla="*/ 175147 h 479077"/>
                <a:gd name="connsiteX275" fmla="*/ 313592 w 3785642"/>
                <a:gd name="connsiteY275" fmla="*/ 163737 h 479077"/>
                <a:gd name="connsiteX276" fmla="*/ 325994 w 3785642"/>
                <a:gd name="connsiteY276" fmla="*/ 153319 h 479077"/>
                <a:gd name="connsiteX277" fmla="*/ 337404 w 3785642"/>
                <a:gd name="connsiteY277" fmla="*/ 141910 h 479077"/>
                <a:gd name="connsiteX278" fmla="*/ 347325 w 3785642"/>
                <a:gd name="connsiteY278" fmla="*/ 129012 h 479077"/>
                <a:gd name="connsiteX279" fmla="*/ 360224 w 3785642"/>
                <a:gd name="connsiteY279" fmla="*/ 118594 h 479077"/>
                <a:gd name="connsiteX280" fmla="*/ 371137 w 3785642"/>
                <a:gd name="connsiteY280" fmla="*/ 106192 h 479077"/>
                <a:gd name="connsiteX281" fmla="*/ 382051 w 3785642"/>
                <a:gd name="connsiteY281" fmla="*/ 93790 h 479077"/>
                <a:gd name="connsiteX282" fmla="*/ 393957 w 3785642"/>
                <a:gd name="connsiteY282" fmla="*/ 82380 h 479077"/>
                <a:gd name="connsiteX283" fmla="*/ 405366 w 3785642"/>
                <a:gd name="connsiteY283" fmla="*/ 70475 h 479077"/>
                <a:gd name="connsiteX284" fmla="*/ 417272 w 3785642"/>
                <a:gd name="connsiteY284" fmla="*/ 59561 h 479077"/>
                <a:gd name="connsiteX285" fmla="*/ 429674 w 3785642"/>
                <a:gd name="connsiteY285" fmla="*/ 48647 h 479077"/>
                <a:gd name="connsiteX286" fmla="*/ 440092 w 3785642"/>
                <a:gd name="connsiteY286" fmla="*/ 35749 h 479077"/>
                <a:gd name="connsiteX287" fmla="*/ 452494 w 3785642"/>
                <a:gd name="connsiteY287" fmla="*/ 24835 h 479077"/>
                <a:gd name="connsiteX288" fmla="*/ 463904 w 3785642"/>
                <a:gd name="connsiteY288" fmla="*/ 12929 h 479077"/>
                <a:gd name="connsiteX289" fmla="*/ 475313 w 3785642"/>
                <a:gd name="connsiteY289" fmla="*/ 1024 h 479077"/>
                <a:gd name="connsiteX290" fmla="*/ 491684 w 3785642"/>
                <a:gd name="connsiteY290" fmla="*/ 2512 h 479077"/>
                <a:gd name="connsiteX291" fmla="*/ 508055 w 3785642"/>
                <a:gd name="connsiteY291" fmla="*/ 2512 h 479077"/>
                <a:gd name="connsiteX292" fmla="*/ 524425 w 3785642"/>
                <a:gd name="connsiteY292" fmla="*/ 2512 h 479077"/>
                <a:gd name="connsiteX293" fmla="*/ 540796 w 3785642"/>
                <a:gd name="connsiteY293" fmla="*/ 1024 h 479077"/>
                <a:gd name="connsiteX294" fmla="*/ 557166 w 3785642"/>
                <a:gd name="connsiteY294" fmla="*/ 2512 h 479077"/>
                <a:gd name="connsiteX295" fmla="*/ 573537 w 3785642"/>
                <a:gd name="connsiteY295" fmla="*/ 1024 h 479077"/>
                <a:gd name="connsiteX296" fmla="*/ 589908 w 3785642"/>
                <a:gd name="connsiteY296" fmla="*/ 527 h 479077"/>
                <a:gd name="connsiteX297" fmla="*/ 606278 w 3785642"/>
                <a:gd name="connsiteY297" fmla="*/ 1520 h 479077"/>
                <a:gd name="connsiteX298" fmla="*/ 622649 w 3785642"/>
                <a:gd name="connsiteY298" fmla="*/ 1520 h 479077"/>
                <a:gd name="connsiteX299" fmla="*/ 639019 w 3785642"/>
                <a:gd name="connsiteY299" fmla="*/ 2016 h 479077"/>
                <a:gd name="connsiteX300" fmla="*/ 655390 w 3785642"/>
                <a:gd name="connsiteY300" fmla="*/ 527 h 479077"/>
                <a:gd name="connsiteX301" fmla="*/ 671760 w 3785642"/>
                <a:gd name="connsiteY301" fmla="*/ 1520 h 479077"/>
                <a:gd name="connsiteX302" fmla="*/ 688131 w 3785642"/>
                <a:gd name="connsiteY302" fmla="*/ 2512 h 479077"/>
                <a:gd name="connsiteX303" fmla="*/ 704501 w 3785642"/>
                <a:gd name="connsiteY303" fmla="*/ 1024 h 479077"/>
                <a:gd name="connsiteX304" fmla="*/ 720872 w 3785642"/>
                <a:gd name="connsiteY304" fmla="*/ 1520 h 479077"/>
                <a:gd name="connsiteX305" fmla="*/ 737243 w 3785642"/>
                <a:gd name="connsiteY305" fmla="*/ 2016 h 479077"/>
                <a:gd name="connsiteX306" fmla="*/ 753613 w 3785642"/>
                <a:gd name="connsiteY306" fmla="*/ 1024 h 479077"/>
                <a:gd name="connsiteX307" fmla="*/ 769984 w 3785642"/>
                <a:gd name="connsiteY307" fmla="*/ 527 h 479077"/>
                <a:gd name="connsiteX308" fmla="*/ 786354 w 3785642"/>
                <a:gd name="connsiteY308" fmla="*/ 1520 h 479077"/>
                <a:gd name="connsiteX309" fmla="*/ 802725 w 3785642"/>
                <a:gd name="connsiteY309" fmla="*/ 527 h 479077"/>
                <a:gd name="connsiteX310" fmla="*/ 819096 w 3785642"/>
                <a:gd name="connsiteY310" fmla="*/ 2512 h 479077"/>
                <a:gd name="connsiteX311" fmla="*/ 835466 w 3785642"/>
                <a:gd name="connsiteY311" fmla="*/ 527 h 479077"/>
                <a:gd name="connsiteX312" fmla="*/ 851837 w 3785642"/>
                <a:gd name="connsiteY312" fmla="*/ 1520 h 479077"/>
                <a:gd name="connsiteX313" fmla="*/ 868207 w 3785642"/>
                <a:gd name="connsiteY313" fmla="*/ 2016 h 479077"/>
                <a:gd name="connsiteX314" fmla="*/ 884578 w 3785642"/>
                <a:gd name="connsiteY314" fmla="*/ 2512 h 479077"/>
                <a:gd name="connsiteX315" fmla="*/ 900948 w 3785642"/>
                <a:gd name="connsiteY315" fmla="*/ 1520 h 479077"/>
                <a:gd name="connsiteX316" fmla="*/ 917319 w 3785642"/>
                <a:gd name="connsiteY316" fmla="*/ 1024 h 479077"/>
                <a:gd name="connsiteX317" fmla="*/ 933689 w 3785642"/>
                <a:gd name="connsiteY317" fmla="*/ 2512 h 479077"/>
                <a:gd name="connsiteX318" fmla="*/ 950060 w 3785642"/>
                <a:gd name="connsiteY318" fmla="*/ 1520 h 479077"/>
                <a:gd name="connsiteX319" fmla="*/ 966431 w 3785642"/>
                <a:gd name="connsiteY319" fmla="*/ 2016 h 479077"/>
                <a:gd name="connsiteX320" fmla="*/ 982801 w 3785642"/>
                <a:gd name="connsiteY320" fmla="*/ 2512 h 479077"/>
                <a:gd name="connsiteX321" fmla="*/ 999172 w 3785642"/>
                <a:gd name="connsiteY321" fmla="*/ 1520 h 479077"/>
                <a:gd name="connsiteX322" fmla="*/ 1015542 w 3785642"/>
                <a:gd name="connsiteY322" fmla="*/ 2512 h 479077"/>
                <a:gd name="connsiteX323" fmla="*/ 1031913 w 3785642"/>
                <a:gd name="connsiteY323" fmla="*/ 1520 h 479077"/>
                <a:gd name="connsiteX324" fmla="*/ 1048283 w 3785642"/>
                <a:gd name="connsiteY324" fmla="*/ 2016 h 479077"/>
                <a:gd name="connsiteX325" fmla="*/ 1064654 w 3785642"/>
                <a:gd name="connsiteY325" fmla="*/ 3504 h 479077"/>
                <a:gd name="connsiteX326" fmla="*/ 1081025 w 3785642"/>
                <a:gd name="connsiteY326" fmla="*/ 2016 h 479077"/>
                <a:gd name="connsiteX327" fmla="*/ 1097395 w 3785642"/>
                <a:gd name="connsiteY327" fmla="*/ 2512 h 479077"/>
                <a:gd name="connsiteX328" fmla="*/ 1113766 w 3785642"/>
                <a:gd name="connsiteY328" fmla="*/ 2512 h 479077"/>
                <a:gd name="connsiteX329" fmla="*/ 1130136 w 3785642"/>
                <a:gd name="connsiteY329" fmla="*/ 3504 h 479077"/>
                <a:gd name="connsiteX330" fmla="*/ 1146507 w 3785642"/>
                <a:gd name="connsiteY330" fmla="*/ 1520 h 479077"/>
                <a:gd name="connsiteX331" fmla="*/ 1162878 w 3785642"/>
                <a:gd name="connsiteY331" fmla="*/ 3008 h 479077"/>
                <a:gd name="connsiteX332" fmla="*/ 1179248 w 3785642"/>
                <a:gd name="connsiteY332" fmla="*/ 4000 h 479077"/>
                <a:gd name="connsiteX333" fmla="*/ 1195619 w 3785642"/>
                <a:gd name="connsiteY333" fmla="*/ 3504 h 479077"/>
                <a:gd name="connsiteX334" fmla="*/ 1211989 w 3785642"/>
                <a:gd name="connsiteY334" fmla="*/ 1520 h 479077"/>
                <a:gd name="connsiteX335" fmla="*/ 1228360 w 3785642"/>
                <a:gd name="connsiteY335" fmla="*/ 3504 h 479077"/>
                <a:gd name="connsiteX336" fmla="*/ 1244730 w 3785642"/>
                <a:gd name="connsiteY336" fmla="*/ 1520 h 479077"/>
                <a:gd name="connsiteX337" fmla="*/ 1261101 w 3785642"/>
                <a:gd name="connsiteY337" fmla="*/ 2512 h 479077"/>
                <a:gd name="connsiteX338" fmla="*/ 1277471 w 3785642"/>
                <a:gd name="connsiteY338" fmla="*/ 3504 h 479077"/>
                <a:gd name="connsiteX339" fmla="*/ 1293842 w 3785642"/>
                <a:gd name="connsiteY339" fmla="*/ 4000 h 479077"/>
                <a:gd name="connsiteX340" fmla="*/ 1310213 w 3785642"/>
                <a:gd name="connsiteY340" fmla="*/ 1520 h 479077"/>
                <a:gd name="connsiteX341" fmla="*/ 1326583 w 3785642"/>
                <a:gd name="connsiteY341" fmla="*/ 2016 h 479077"/>
                <a:gd name="connsiteX342" fmla="*/ 1342954 w 3785642"/>
                <a:gd name="connsiteY342" fmla="*/ 3008 h 479077"/>
                <a:gd name="connsiteX343" fmla="*/ 1359324 w 3785642"/>
                <a:gd name="connsiteY343" fmla="*/ 3008 h 479077"/>
                <a:gd name="connsiteX344" fmla="*/ 1375695 w 3785642"/>
                <a:gd name="connsiteY344" fmla="*/ 2512 h 479077"/>
                <a:gd name="connsiteX345" fmla="*/ 1392066 w 3785642"/>
                <a:gd name="connsiteY345" fmla="*/ 2512 h 479077"/>
                <a:gd name="connsiteX346" fmla="*/ 1408436 w 3785642"/>
                <a:gd name="connsiteY346" fmla="*/ 3504 h 479077"/>
                <a:gd name="connsiteX347" fmla="*/ 1424807 w 3785642"/>
                <a:gd name="connsiteY347" fmla="*/ 3504 h 479077"/>
                <a:gd name="connsiteX348" fmla="*/ 1441177 w 3785642"/>
                <a:gd name="connsiteY348" fmla="*/ 1520 h 479077"/>
                <a:gd name="connsiteX349" fmla="*/ 1457548 w 3785642"/>
                <a:gd name="connsiteY349" fmla="*/ 2512 h 479077"/>
                <a:gd name="connsiteX350" fmla="*/ 1473919 w 3785642"/>
                <a:gd name="connsiteY350" fmla="*/ 2016 h 479077"/>
                <a:gd name="connsiteX351" fmla="*/ 1490289 w 3785642"/>
                <a:gd name="connsiteY351" fmla="*/ 2016 h 479077"/>
                <a:gd name="connsiteX352" fmla="*/ 1506660 w 3785642"/>
                <a:gd name="connsiteY352" fmla="*/ 1520 h 479077"/>
                <a:gd name="connsiteX353" fmla="*/ 1523030 w 3785642"/>
                <a:gd name="connsiteY353" fmla="*/ 3504 h 479077"/>
                <a:gd name="connsiteX354" fmla="*/ 1539401 w 3785642"/>
                <a:gd name="connsiteY354" fmla="*/ 3008 h 479077"/>
                <a:gd name="connsiteX355" fmla="*/ 1555771 w 3785642"/>
                <a:gd name="connsiteY355" fmla="*/ 3008 h 479077"/>
                <a:gd name="connsiteX356" fmla="*/ 1572142 w 3785642"/>
                <a:gd name="connsiteY356" fmla="*/ 2512 h 479077"/>
                <a:gd name="connsiteX357" fmla="*/ 1588512 w 3785642"/>
                <a:gd name="connsiteY357" fmla="*/ 2016 h 479077"/>
                <a:gd name="connsiteX358" fmla="*/ 1604883 w 3785642"/>
                <a:gd name="connsiteY358" fmla="*/ 3008 h 479077"/>
                <a:gd name="connsiteX359" fmla="*/ 1621253 w 3785642"/>
                <a:gd name="connsiteY359" fmla="*/ 3008 h 479077"/>
                <a:gd name="connsiteX360" fmla="*/ 1637624 w 3785642"/>
                <a:gd name="connsiteY36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05646 w 3785642"/>
                <a:gd name="connsiteY29" fmla="*/ 79404 h 479077"/>
                <a:gd name="connsiteX30" fmla="*/ 3393740 w 3785642"/>
                <a:gd name="connsiteY30" fmla="*/ 68490 h 479077"/>
                <a:gd name="connsiteX31" fmla="*/ 3382330 w 3785642"/>
                <a:gd name="connsiteY31" fmla="*/ 56584 h 479077"/>
                <a:gd name="connsiteX32" fmla="*/ 3370921 w 3785642"/>
                <a:gd name="connsiteY32" fmla="*/ 44678 h 479077"/>
                <a:gd name="connsiteX33" fmla="*/ 3313375 w 3785642"/>
                <a:gd name="connsiteY33" fmla="*/ 10945 h 479077"/>
                <a:gd name="connsiteX34" fmla="*/ 3300973 w 3785642"/>
                <a:gd name="connsiteY34" fmla="*/ 21363 h 479077"/>
                <a:gd name="connsiteX35" fmla="*/ 3289068 w 3785642"/>
                <a:gd name="connsiteY35" fmla="*/ 32276 h 479077"/>
                <a:gd name="connsiteX36" fmla="*/ 3277658 w 3785642"/>
                <a:gd name="connsiteY36" fmla="*/ 43686 h 479077"/>
                <a:gd name="connsiteX37" fmla="*/ 3266248 w 3785642"/>
                <a:gd name="connsiteY37" fmla="*/ 55592 h 479077"/>
                <a:gd name="connsiteX38" fmla="*/ 3255830 w 3785642"/>
                <a:gd name="connsiteY38" fmla="*/ 68490 h 479077"/>
                <a:gd name="connsiteX39" fmla="*/ 3243924 w 3785642"/>
                <a:gd name="connsiteY39" fmla="*/ 79900 h 479077"/>
                <a:gd name="connsiteX40" fmla="*/ 3231522 w 3785642"/>
                <a:gd name="connsiteY40" fmla="*/ 90814 h 479077"/>
                <a:gd name="connsiteX41" fmla="*/ 3220609 w 3785642"/>
                <a:gd name="connsiteY41" fmla="*/ 102720 h 479077"/>
                <a:gd name="connsiteX42" fmla="*/ 3208207 w 3785642"/>
                <a:gd name="connsiteY42" fmla="*/ 113137 h 479077"/>
                <a:gd name="connsiteX43" fmla="*/ 3197293 w 3785642"/>
                <a:gd name="connsiteY43" fmla="*/ 125043 h 479077"/>
                <a:gd name="connsiteX44" fmla="*/ 3185387 w 3785642"/>
                <a:gd name="connsiteY44" fmla="*/ 136453 h 479077"/>
                <a:gd name="connsiteX45" fmla="*/ 3174970 w 3785642"/>
                <a:gd name="connsiteY45" fmla="*/ 148855 h 479077"/>
                <a:gd name="connsiteX46" fmla="*/ 3162071 w 3785642"/>
                <a:gd name="connsiteY46" fmla="*/ 159272 h 479077"/>
                <a:gd name="connsiteX47" fmla="*/ 3151158 w 3785642"/>
                <a:gd name="connsiteY47" fmla="*/ 171674 h 479077"/>
                <a:gd name="connsiteX48" fmla="*/ 3139252 w 3785642"/>
                <a:gd name="connsiteY48" fmla="*/ 182588 h 479077"/>
                <a:gd name="connsiteX49" fmla="*/ 3127843 w 3785642"/>
                <a:gd name="connsiteY49" fmla="*/ 194494 h 479077"/>
                <a:gd name="connsiteX50" fmla="*/ 3116432 w 3785642"/>
                <a:gd name="connsiteY50" fmla="*/ 205904 h 479077"/>
                <a:gd name="connsiteX51" fmla="*/ 3105022 w 3785642"/>
                <a:gd name="connsiteY51" fmla="*/ 217810 h 479077"/>
                <a:gd name="connsiteX52" fmla="*/ 3093117 w 3785642"/>
                <a:gd name="connsiteY52" fmla="*/ 229219 h 479077"/>
                <a:gd name="connsiteX53" fmla="*/ 3081707 w 3785642"/>
                <a:gd name="connsiteY53" fmla="*/ 240629 h 479077"/>
                <a:gd name="connsiteX54" fmla="*/ 3069305 w 3785642"/>
                <a:gd name="connsiteY54" fmla="*/ 251543 h 479077"/>
                <a:gd name="connsiteX55" fmla="*/ 3057895 w 3785642"/>
                <a:gd name="connsiteY55" fmla="*/ 263449 h 479077"/>
                <a:gd name="connsiteX56" fmla="*/ 3046486 w 3785642"/>
                <a:gd name="connsiteY56" fmla="*/ 275355 h 479077"/>
                <a:gd name="connsiteX57" fmla="*/ 3035572 w 3785642"/>
                <a:gd name="connsiteY57" fmla="*/ 287260 h 479077"/>
                <a:gd name="connsiteX58" fmla="*/ 3024658 w 3785642"/>
                <a:gd name="connsiteY58" fmla="*/ 299166 h 479077"/>
                <a:gd name="connsiteX59" fmla="*/ 3013248 w 3785642"/>
                <a:gd name="connsiteY59" fmla="*/ 311072 h 479077"/>
                <a:gd name="connsiteX60" fmla="*/ 3000350 w 3785642"/>
                <a:gd name="connsiteY60" fmla="*/ 321490 h 479077"/>
                <a:gd name="connsiteX61" fmla="*/ 2988941 w 3785642"/>
                <a:gd name="connsiteY61" fmla="*/ 333396 h 479077"/>
                <a:gd name="connsiteX62" fmla="*/ 2976539 w 3785642"/>
                <a:gd name="connsiteY62" fmla="*/ 344309 h 479077"/>
                <a:gd name="connsiteX63" fmla="*/ 2965129 w 3785642"/>
                <a:gd name="connsiteY63" fmla="*/ 356215 h 479077"/>
                <a:gd name="connsiteX64" fmla="*/ 2953223 w 3785642"/>
                <a:gd name="connsiteY64" fmla="*/ 367625 h 479077"/>
                <a:gd name="connsiteX65" fmla="*/ 2941813 w 3785642"/>
                <a:gd name="connsiteY65" fmla="*/ 379531 h 479077"/>
                <a:gd name="connsiteX66" fmla="*/ 2931395 w 3785642"/>
                <a:gd name="connsiteY66" fmla="*/ 392429 h 479077"/>
                <a:gd name="connsiteX67" fmla="*/ 2918497 w 3785642"/>
                <a:gd name="connsiteY67" fmla="*/ 402847 h 479077"/>
                <a:gd name="connsiteX68" fmla="*/ 2907584 w 3785642"/>
                <a:gd name="connsiteY68" fmla="*/ 415249 h 479077"/>
                <a:gd name="connsiteX69" fmla="*/ 2896174 w 3785642"/>
                <a:gd name="connsiteY69" fmla="*/ 426658 h 479077"/>
                <a:gd name="connsiteX70" fmla="*/ 2884268 w 3785642"/>
                <a:gd name="connsiteY70" fmla="*/ 438068 h 479077"/>
                <a:gd name="connsiteX71" fmla="*/ 2873354 w 3785642"/>
                <a:gd name="connsiteY71" fmla="*/ 450470 h 479077"/>
                <a:gd name="connsiteX72" fmla="*/ 2860952 w 3785642"/>
                <a:gd name="connsiteY72" fmla="*/ 461384 h 479077"/>
                <a:gd name="connsiteX73" fmla="*/ 2850039 w 3785642"/>
                <a:gd name="connsiteY73" fmla="*/ 473786 h 479077"/>
                <a:gd name="connsiteX74" fmla="*/ 2833668 w 3785642"/>
                <a:gd name="connsiteY74" fmla="*/ 473786 h 479077"/>
                <a:gd name="connsiteX75" fmla="*/ 2817297 w 3785642"/>
                <a:gd name="connsiteY75" fmla="*/ 473290 h 479077"/>
                <a:gd name="connsiteX76" fmla="*/ 2800927 w 3785642"/>
                <a:gd name="connsiteY76" fmla="*/ 473290 h 479077"/>
                <a:gd name="connsiteX77" fmla="*/ 2784556 w 3785642"/>
                <a:gd name="connsiteY77" fmla="*/ 473786 h 479077"/>
                <a:gd name="connsiteX78" fmla="*/ 2768186 w 3785642"/>
                <a:gd name="connsiteY78" fmla="*/ 474282 h 479077"/>
                <a:gd name="connsiteX79" fmla="*/ 2751815 w 3785642"/>
                <a:gd name="connsiteY79" fmla="*/ 474282 h 479077"/>
                <a:gd name="connsiteX80" fmla="*/ 2735444 w 3785642"/>
                <a:gd name="connsiteY80" fmla="*/ 473290 h 479077"/>
                <a:gd name="connsiteX81" fmla="*/ 2719074 w 3785642"/>
                <a:gd name="connsiteY81" fmla="*/ 474282 h 479077"/>
                <a:gd name="connsiteX82" fmla="*/ 2702703 w 3785642"/>
                <a:gd name="connsiteY82" fmla="*/ 472298 h 479077"/>
                <a:gd name="connsiteX83" fmla="*/ 2686333 w 3785642"/>
                <a:gd name="connsiteY83" fmla="*/ 472794 h 479077"/>
                <a:gd name="connsiteX84" fmla="*/ 2669962 w 3785642"/>
                <a:gd name="connsiteY84" fmla="*/ 474282 h 479077"/>
                <a:gd name="connsiteX85" fmla="*/ 2653592 w 3785642"/>
                <a:gd name="connsiteY85" fmla="*/ 472298 h 479077"/>
                <a:gd name="connsiteX86" fmla="*/ 2637221 w 3785642"/>
                <a:gd name="connsiteY86" fmla="*/ 474282 h 479077"/>
                <a:gd name="connsiteX87" fmla="*/ 2620851 w 3785642"/>
                <a:gd name="connsiteY87" fmla="*/ 474282 h 479077"/>
                <a:gd name="connsiteX88" fmla="*/ 2604480 w 3785642"/>
                <a:gd name="connsiteY88" fmla="*/ 472298 h 479077"/>
                <a:gd name="connsiteX89" fmla="*/ 2588109 w 3785642"/>
                <a:gd name="connsiteY89" fmla="*/ 473786 h 479077"/>
                <a:gd name="connsiteX90" fmla="*/ 2571739 w 3785642"/>
                <a:gd name="connsiteY90" fmla="*/ 472298 h 479077"/>
                <a:gd name="connsiteX91" fmla="*/ 2555368 w 3785642"/>
                <a:gd name="connsiteY91" fmla="*/ 473290 h 479077"/>
                <a:gd name="connsiteX92" fmla="*/ 2538998 w 3785642"/>
                <a:gd name="connsiteY92" fmla="*/ 474282 h 479077"/>
                <a:gd name="connsiteX93" fmla="*/ 2522627 w 3785642"/>
                <a:gd name="connsiteY93" fmla="*/ 473290 h 479077"/>
                <a:gd name="connsiteX94" fmla="*/ 2506257 w 3785642"/>
                <a:gd name="connsiteY94" fmla="*/ 474282 h 479077"/>
                <a:gd name="connsiteX95" fmla="*/ 2489886 w 3785642"/>
                <a:gd name="connsiteY95" fmla="*/ 473786 h 479077"/>
                <a:gd name="connsiteX96" fmla="*/ 2473516 w 3785642"/>
                <a:gd name="connsiteY96" fmla="*/ 474282 h 479077"/>
                <a:gd name="connsiteX97" fmla="*/ 2457145 w 3785642"/>
                <a:gd name="connsiteY97" fmla="*/ 472794 h 479077"/>
                <a:gd name="connsiteX98" fmla="*/ 2440775 w 3785642"/>
                <a:gd name="connsiteY98" fmla="*/ 472298 h 479077"/>
                <a:gd name="connsiteX99" fmla="*/ 2424404 w 3785642"/>
                <a:gd name="connsiteY99" fmla="*/ 473786 h 479077"/>
                <a:gd name="connsiteX100" fmla="*/ 2408033 w 3785642"/>
                <a:gd name="connsiteY100" fmla="*/ 472794 h 479077"/>
                <a:gd name="connsiteX101" fmla="*/ 2391663 w 3785642"/>
                <a:gd name="connsiteY101" fmla="*/ 473290 h 479077"/>
                <a:gd name="connsiteX102" fmla="*/ 2375292 w 3785642"/>
                <a:gd name="connsiteY102" fmla="*/ 473290 h 479077"/>
                <a:gd name="connsiteX103" fmla="*/ 2358922 w 3785642"/>
                <a:gd name="connsiteY103" fmla="*/ 472794 h 479077"/>
                <a:gd name="connsiteX104" fmla="*/ 2342551 w 3785642"/>
                <a:gd name="connsiteY104" fmla="*/ 472298 h 479077"/>
                <a:gd name="connsiteX105" fmla="*/ 2326180 w 3785642"/>
                <a:gd name="connsiteY105" fmla="*/ 473786 h 479077"/>
                <a:gd name="connsiteX106" fmla="*/ 2309810 w 3785642"/>
                <a:gd name="connsiteY106" fmla="*/ 473786 h 479077"/>
                <a:gd name="connsiteX107" fmla="*/ 2293439 w 3785642"/>
                <a:gd name="connsiteY107" fmla="*/ 473786 h 479077"/>
                <a:gd name="connsiteX108" fmla="*/ 2277069 w 3785642"/>
                <a:gd name="connsiteY108" fmla="*/ 472794 h 479077"/>
                <a:gd name="connsiteX109" fmla="*/ 2260698 w 3785642"/>
                <a:gd name="connsiteY109" fmla="*/ 474282 h 479077"/>
                <a:gd name="connsiteX110" fmla="*/ 2244327 w 3785642"/>
                <a:gd name="connsiteY110" fmla="*/ 472298 h 479077"/>
                <a:gd name="connsiteX111" fmla="*/ 2227957 w 3785642"/>
                <a:gd name="connsiteY111" fmla="*/ 474282 h 479077"/>
                <a:gd name="connsiteX112" fmla="*/ 2211586 w 3785642"/>
                <a:gd name="connsiteY112" fmla="*/ 473290 h 479077"/>
                <a:gd name="connsiteX113" fmla="*/ 2195216 w 3785642"/>
                <a:gd name="connsiteY113" fmla="*/ 474282 h 479077"/>
                <a:gd name="connsiteX114" fmla="*/ 2178845 w 3785642"/>
                <a:gd name="connsiteY114" fmla="*/ 472794 h 479077"/>
                <a:gd name="connsiteX115" fmla="*/ 2162474 w 3785642"/>
                <a:gd name="connsiteY115" fmla="*/ 474778 h 479077"/>
                <a:gd name="connsiteX116" fmla="*/ 2146104 w 3785642"/>
                <a:gd name="connsiteY116" fmla="*/ 473290 h 479077"/>
                <a:gd name="connsiteX117" fmla="*/ 2129733 w 3785642"/>
                <a:gd name="connsiteY117" fmla="*/ 474778 h 479077"/>
                <a:gd name="connsiteX118" fmla="*/ 2113363 w 3785642"/>
                <a:gd name="connsiteY118" fmla="*/ 474778 h 479077"/>
                <a:gd name="connsiteX119" fmla="*/ 2096992 w 3785642"/>
                <a:gd name="connsiteY119" fmla="*/ 474778 h 479077"/>
                <a:gd name="connsiteX120" fmla="*/ 2080621 w 3785642"/>
                <a:gd name="connsiteY120" fmla="*/ 474282 h 479077"/>
                <a:gd name="connsiteX121" fmla="*/ 2064251 w 3785642"/>
                <a:gd name="connsiteY121" fmla="*/ 472794 h 479077"/>
                <a:gd name="connsiteX122" fmla="*/ 2047880 w 3785642"/>
                <a:gd name="connsiteY122" fmla="*/ 474778 h 479077"/>
                <a:gd name="connsiteX123" fmla="*/ 2031510 w 3785642"/>
                <a:gd name="connsiteY123" fmla="*/ 474778 h 479077"/>
                <a:gd name="connsiteX124" fmla="*/ 2015139 w 3785642"/>
                <a:gd name="connsiteY124" fmla="*/ 474778 h 479077"/>
                <a:gd name="connsiteX125" fmla="*/ 1998769 w 3785642"/>
                <a:gd name="connsiteY125" fmla="*/ 474282 h 479077"/>
                <a:gd name="connsiteX126" fmla="*/ 1982398 w 3785642"/>
                <a:gd name="connsiteY126" fmla="*/ 473786 h 479077"/>
                <a:gd name="connsiteX127" fmla="*/ 1966028 w 3785642"/>
                <a:gd name="connsiteY127" fmla="*/ 473786 h 479077"/>
                <a:gd name="connsiteX128" fmla="*/ 1949657 w 3785642"/>
                <a:gd name="connsiteY128" fmla="*/ 472794 h 479077"/>
                <a:gd name="connsiteX129" fmla="*/ 1933287 w 3785642"/>
                <a:gd name="connsiteY129" fmla="*/ 473290 h 479077"/>
                <a:gd name="connsiteX130" fmla="*/ 1916916 w 3785642"/>
                <a:gd name="connsiteY130" fmla="*/ 474778 h 479077"/>
                <a:gd name="connsiteX131" fmla="*/ 1900546 w 3785642"/>
                <a:gd name="connsiteY131" fmla="*/ 472794 h 479077"/>
                <a:gd name="connsiteX132" fmla="*/ 1884175 w 3785642"/>
                <a:gd name="connsiteY132" fmla="*/ 473786 h 479077"/>
                <a:gd name="connsiteX133" fmla="*/ 1867804 w 3785642"/>
                <a:gd name="connsiteY133" fmla="*/ 474778 h 479077"/>
                <a:gd name="connsiteX134" fmla="*/ 1851434 w 3785642"/>
                <a:gd name="connsiteY134" fmla="*/ 474778 h 479077"/>
                <a:gd name="connsiteX135" fmla="*/ 1835063 w 3785642"/>
                <a:gd name="connsiteY135" fmla="*/ 474778 h 479077"/>
                <a:gd name="connsiteX136" fmla="*/ 1818693 w 3785642"/>
                <a:gd name="connsiteY136" fmla="*/ 474282 h 479077"/>
                <a:gd name="connsiteX137" fmla="*/ 1802322 w 3785642"/>
                <a:gd name="connsiteY137" fmla="*/ 472794 h 479077"/>
                <a:gd name="connsiteX138" fmla="*/ 1785951 w 3785642"/>
                <a:gd name="connsiteY138" fmla="*/ 473786 h 479077"/>
                <a:gd name="connsiteX139" fmla="*/ 1769581 w 3785642"/>
                <a:gd name="connsiteY139" fmla="*/ 473290 h 479077"/>
                <a:gd name="connsiteX140" fmla="*/ 1753210 w 3785642"/>
                <a:gd name="connsiteY140" fmla="*/ 472298 h 479077"/>
                <a:gd name="connsiteX141" fmla="*/ 1736840 w 3785642"/>
                <a:gd name="connsiteY141" fmla="*/ 473290 h 479077"/>
                <a:gd name="connsiteX142" fmla="*/ 1720469 w 3785642"/>
                <a:gd name="connsiteY142" fmla="*/ 474778 h 479077"/>
                <a:gd name="connsiteX143" fmla="*/ 1704098 w 3785642"/>
                <a:gd name="connsiteY143" fmla="*/ 472794 h 479077"/>
                <a:gd name="connsiteX144" fmla="*/ 1687728 w 3785642"/>
                <a:gd name="connsiteY144" fmla="*/ 474778 h 479077"/>
                <a:gd name="connsiteX145" fmla="*/ 1671357 w 3785642"/>
                <a:gd name="connsiteY145" fmla="*/ 474778 h 479077"/>
                <a:gd name="connsiteX146" fmla="*/ 1654987 w 3785642"/>
                <a:gd name="connsiteY146" fmla="*/ 472298 h 479077"/>
                <a:gd name="connsiteX147" fmla="*/ 1638616 w 3785642"/>
                <a:gd name="connsiteY147" fmla="*/ 472794 h 479077"/>
                <a:gd name="connsiteX148" fmla="*/ 1622246 w 3785642"/>
                <a:gd name="connsiteY148" fmla="*/ 473786 h 479077"/>
                <a:gd name="connsiteX149" fmla="*/ 1605875 w 3785642"/>
                <a:gd name="connsiteY149" fmla="*/ 474778 h 479077"/>
                <a:gd name="connsiteX150" fmla="*/ 1589505 w 3785642"/>
                <a:gd name="connsiteY150" fmla="*/ 473290 h 479077"/>
                <a:gd name="connsiteX151" fmla="*/ 1573134 w 3785642"/>
                <a:gd name="connsiteY151" fmla="*/ 474778 h 479077"/>
                <a:gd name="connsiteX152" fmla="*/ 1556763 w 3785642"/>
                <a:gd name="connsiteY152" fmla="*/ 472794 h 479077"/>
                <a:gd name="connsiteX153" fmla="*/ 1540393 w 3785642"/>
                <a:gd name="connsiteY153" fmla="*/ 472794 h 479077"/>
                <a:gd name="connsiteX154" fmla="*/ 1524022 w 3785642"/>
                <a:gd name="connsiteY154" fmla="*/ 474282 h 479077"/>
                <a:gd name="connsiteX155" fmla="*/ 1507652 w 3785642"/>
                <a:gd name="connsiteY155" fmla="*/ 472794 h 479077"/>
                <a:gd name="connsiteX156" fmla="*/ 1491281 w 3785642"/>
                <a:gd name="connsiteY156" fmla="*/ 474282 h 479077"/>
                <a:gd name="connsiteX157" fmla="*/ 1474910 w 3785642"/>
                <a:gd name="connsiteY157" fmla="*/ 474282 h 479077"/>
                <a:gd name="connsiteX158" fmla="*/ 1458540 w 3785642"/>
                <a:gd name="connsiteY158" fmla="*/ 472794 h 479077"/>
                <a:gd name="connsiteX159" fmla="*/ 1442169 w 3785642"/>
                <a:gd name="connsiteY159" fmla="*/ 471802 h 479077"/>
                <a:gd name="connsiteX160" fmla="*/ 1425799 w 3785642"/>
                <a:gd name="connsiteY160" fmla="*/ 472298 h 479077"/>
                <a:gd name="connsiteX161" fmla="*/ 1409428 w 3785642"/>
                <a:gd name="connsiteY161" fmla="*/ 472794 h 479077"/>
                <a:gd name="connsiteX162" fmla="*/ 1393058 w 3785642"/>
                <a:gd name="connsiteY162" fmla="*/ 473786 h 479077"/>
                <a:gd name="connsiteX163" fmla="*/ 1376687 w 3785642"/>
                <a:gd name="connsiteY163" fmla="*/ 471802 h 479077"/>
                <a:gd name="connsiteX164" fmla="*/ 1360317 w 3785642"/>
                <a:gd name="connsiteY164" fmla="*/ 473786 h 479077"/>
                <a:gd name="connsiteX165" fmla="*/ 1343946 w 3785642"/>
                <a:gd name="connsiteY165" fmla="*/ 473786 h 479077"/>
                <a:gd name="connsiteX166" fmla="*/ 1327576 w 3785642"/>
                <a:gd name="connsiteY166" fmla="*/ 472794 h 479077"/>
                <a:gd name="connsiteX167" fmla="*/ 1311205 w 3785642"/>
                <a:gd name="connsiteY167" fmla="*/ 473786 h 479077"/>
                <a:gd name="connsiteX168" fmla="*/ 1294834 w 3785642"/>
                <a:gd name="connsiteY168" fmla="*/ 473786 h 479077"/>
                <a:gd name="connsiteX169" fmla="*/ 1278464 w 3785642"/>
                <a:gd name="connsiteY169" fmla="*/ 473786 h 479077"/>
                <a:gd name="connsiteX170" fmla="*/ 1262093 w 3785642"/>
                <a:gd name="connsiteY170" fmla="*/ 473786 h 479077"/>
                <a:gd name="connsiteX171" fmla="*/ 1245723 w 3785642"/>
                <a:gd name="connsiteY171" fmla="*/ 473290 h 479077"/>
                <a:gd name="connsiteX172" fmla="*/ 1229352 w 3785642"/>
                <a:gd name="connsiteY172" fmla="*/ 472794 h 479077"/>
                <a:gd name="connsiteX173" fmla="*/ 1212981 w 3785642"/>
                <a:gd name="connsiteY173" fmla="*/ 473786 h 479077"/>
                <a:gd name="connsiteX174" fmla="*/ 1196611 w 3785642"/>
                <a:gd name="connsiteY174" fmla="*/ 472298 h 479077"/>
                <a:gd name="connsiteX175" fmla="*/ 1180240 w 3785642"/>
                <a:gd name="connsiteY175" fmla="*/ 472794 h 479077"/>
                <a:gd name="connsiteX176" fmla="*/ 1163870 w 3785642"/>
                <a:gd name="connsiteY176" fmla="*/ 472794 h 479077"/>
                <a:gd name="connsiteX177" fmla="*/ 1147499 w 3785642"/>
                <a:gd name="connsiteY177" fmla="*/ 473786 h 479077"/>
                <a:gd name="connsiteX178" fmla="*/ 1131128 w 3785642"/>
                <a:gd name="connsiteY178" fmla="*/ 473786 h 479077"/>
                <a:gd name="connsiteX179" fmla="*/ 1114758 w 3785642"/>
                <a:gd name="connsiteY179" fmla="*/ 472794 h 479077"/>
                <a:gd name="connsiteX180" fmla="*/ 1098387 w 3785642"/>
                <a:gd name="connsiteY180" fmla="*/ 473786 h 479077"/>
                <a:gd name="connsiteX181" fmla="*/ 1082017 w 3785642"/>
                <a:gd name="connsiteY181" fmla="*/ 474778 h 479077"/>
                <a:gd name="connsiteX182" fmla="*/ 1065646 w 3785642"/>
                <a:gd name="connsiteY182" fmla="*/ 474778 h 479077"/>
                <a:gd name="connsiteX183" fmla="*/ 1049276 w 3785642"/>
                <a:gd name="connsiteY183" fmla="*/ 474282 h 479077"/>
                <a:gd name="connsiteX184" fmla="*/ 1032905 w 3785642"/>
                <a:gd name="connsiteY184" fmla="*/ 473290 h 479077"/>
                <a:gd name="connsiteX185" fmla="*/ 1016535 w 3785642"/>
                <a:gd name="connsiteY185" fmla="*/ 474282 h 479077"/>
                <a:gd name="connsiteX186" fmla="*/ 1000164 w 3785642"/>
                <a:gd name="connsiteY186" fmla="*/ 474282 h 479077"/>
                <a:gd name="connsiteX187" fmla="*/ 983793 w 3785642"/>
                <a:gd name="connsiteY187" fmla="*/ 472794 h 479077"/>
                <a:gd name="connsiteX188" fmla="*/ 967423 w 3785642"/>
                <a:gd name="connsiteY188" fmla="*/ 472794 h 479077"/>
                <a:gd name="connsiteX189" fmla="*/ 951052 w 3785642"/>
                <a:gd name="connsiteY189" fmla="*/ 473786 h 479077"/>
                <a:gd name="connsiteX190" fmla="*/ 934682 w 3785642"/>
                <a:gd name="connsiteY190" fmla="*/ 474282 h 479077"/>
                <a:gd name="connsiteX191" fmla="*/ 918311 w 3785642"/>
                <a:gd name="connsiteY191" fmla="*/ 474778 h 479077"/>
                <a:gd name="connsiteX192" fmla="*/ 901940 w 3785642"/>
                <a:gd name="connsiteY192" fmla="*/ 473290 h 479077"/>
                <a:gd name="connsiteX193" fmla="*/ 885570 w 3785642"/>
                <a:gd name="connsiteY193" fmla="*/ 474778 h 479077"/>
                <a:gd name="connsiteX194" fmla="*/ 869199 w 3785642"/>
                <a:gd name="connsiteY194" fmla="*/ 474282 h 479077"/>
                <a:gd name="connsiteX195" fmla="*/ 852829 w 3785642"/>
                <a:gd name="connsiteY195" fmla="*/ 473786 h 479077"/>
                <a:gd name="connsiteX196" fmla="*/ 836458 w 3785642"/>
                <a:gd name="connsiteY196" fmla="*/ 474778 h 479077"/>
                <a:gd name="connsiteX197" fmla="*/ 820088 w 3785642"/>
                <a:gd name="connsiteY197" fmla="*/ 475274 h 479077"/>
                <a:gd name="connsiteX198" fmla="*/ 803717 w 3785642"/>
                <a:gd name="connsiteY198" fmla="*/ 473786 h 479077"/>
                <a:gd name="connsiteX199" fmla="*/ 787347 w 3785642"/>
                <a:gd name="connsiteY199" fmla="*/ 475770 h 479077"/>
                <a:gd name="connsiteX200" fmla="*/ 770976 w 3785642"/>
                <a:gd name="connsiteY200" fmla="*/ 474778 h 479077"/>
                <a:gd name="connsiteX201" fmla="*/ 754605 w 3785642"/>
                <a:gd name="connsiteY201" fmla="*/ 475274 h 479077"/>
                <a:gd name="connsiteX202" fmla="*/ 738235 w 3785642"/>
                <a:gd name="connsiteY202" fmla="*/ 473786 h 479077"/>
                <a:gd name="connsiteX203" fmla="*/ 721864 w 3785642"/>
                <a:gd name="connsiteY203" fmla="*/ 475274 h 479077"/>
                <a:gd name="connsiteX204" fmla="*/ 705494 w 3785642"/>
                <a:gd name="connsiteY204" fmla="*/ 475770 h 479077"/>
                <a:gd name="connsiteX205" fmla="*/ 689123 w 3785642"/>
                <a:gd name="connsiteY205" fmla="*/ 474282 h 479077"/>
                <a:gd name="connsiteX206" fmla="*/ 672753 w 3785642"/>
                <a:gd name="connsiteY206" fmla="*/ 475274 h 479077"/>
                <a:gd name="connsiteX207" fmla="*/ 656382 w 3785642"/>
                <a:gd name="connsiteY207" fmla="*/ 474778 h 479077"/>
                <a:gd name="connsiteX208" fmla="*/ 640011 w 3785642"/>
                <a:gd name="connsiteY208" fmla="*/ 475770 h 479077"/>
                <a:gd name="connsiteX209" fmla="*/ 623641 w 3785642"/>
                <a:gd name="connsiteY209" fmla="*/ 473786 h 479077"/>
                <a:gd name="connsiteX210" fmla="*/ 607270 w 3785642"/>
                <a:gd name="connsiteY210" fmla="*/ 474778 h 479077"/>
                <a:gd name="connsiteX211" fmla="*/ 590900 w 3785642"/>
                <a:gd name="connsiteY211" fmla="*/ 475274 h 479077"/>
                <a:gd name="connsiteX212" fmla="*/ 574529 w 3785642"/>
                <a:gd name="connsiteY212" fmla="*/ 474282 h 479077"/>
                <a:gd name="connsiteX213" fmla="*/ 558158 w 3785642"/>
                <a:gd name="connsiteY213" fmla="*/ 475274 h 479077"/>
                <a:gd name="connsiteX214" fmla="*/ 541788 w 3785642"/>
                <a:gd name="connsiteY214" fmla="*/ 475770 h 479077"/>
                <a:gd name="connsiteX215" fmla="*/ 525417 w 3785642"/>
                <a:gd name="connsiteY215" fmla="*/ 474282 h 479077"/>
                <a:gd name="connsiteX216" fmla="*/ 509047 w 3785642"/>
                <a:gd name="connsiteY216" fmla="*/ 473786 h 479077"/>
                <a:gd name="connsiteX217" fmla="*/ 492676 w 3785642"/>
                <a:gd name="connsiteY217" fmla="*/ 473786 h 479077"/>
                <a:gd name="connsiteX218" fmla="*/ 476306 w 3785642"/>
                <a:gd name="connsiteY218" fmla="*/ 474778 h 479077"/>
                <a:gd name="connsiteX219" fmla="*/ 459935 w 3785642"/>
                <a:gd name="connsiteY219" fmla="*/ 473786 h 479077"/>
                <a:gd name="connsiteX220" fmla="*/ 443565 w 3785642"/>
                <a:gd name="connsiteY220" fmla="*/ 474778 h 479077"/>
                <a:gd name="connsiteX221" fmla="*/ 427194 w 3785642"/>
                <a:gd name="connsiteY221" fmla="*/ 474282 h 479077"/>
                <a:gd name="connsiteX222" fmla="*/ 410823 w 3785642"/>
                <a:gd name="connsiteY222" fmla="*/ 473290 h 479077"/>
                <a:gd name="connsiteX223" fmla="*/ 394453 w 3785642"/>
                <a:gd name="connsiteY223" fmla="*/ 475770 h 479077"/>
                <a:gd name="connsiteX224" fmla="*/ 378082 w 3785642"/>
                <a:gd name="connsiteY224" fmla="*/ 475274 h 479077"/>
                <a:gd name="connsiteX225" fmla="*/ 361712 w 3785642"/>
                <a:gd name="connsiteY225" fmla="*/ 474778 h 479077"/>
                <a:gd name="connsiteX226" fmla="*/ 345341 w 3785642"/>
                <a:gd name="connsiteY226" fmla="*/ 476266 h 479077"/>
                <a:gd name="connsiteX227" fmla="*/ 328970 w 3785642"/>
                <a:gd name="connsiteY227" fmla="*/ 474282 h 479077"/>
                <a:gd name="connsiteX228" fmla="*/ 312600 w 3785642"/>
                <a:gd name="connsiteY228" fmla="*/ 475274 h 479077"/>
                <a:gd name="connsiteX229" fmla="*/ 296229 w 3785642"/>
                <a:gd name="connsiteY229" fmla="*/ 474282 h 479077"/>
                <a:gd name="connsiteX230" fmla="*/ 279859 w 3785642"/>
                <a:gd name="connsiteY230" fmla="*/ 475770 h 479077"/>
                <a:gd name="connsiteX231" fmla="*/ 263488 w 3785642"/>
                <a:gd name="connsiteY231" fmla="*/ 476266 h 479077"/>
                <a:gd name="connsiteX232" fmla="*/ 247118 w 3785642"/>
                <a:gd name="connsiteY232" fmla="*/ 476266 h 479077"/>
                <a:gd name="connsiteX233" fmla="*/ 230747 w 3785642"/>
                <a:gd name="connsiteY233" fmla="*/ 474778 h 479077"/>
                <a:gd name="connsiteX234" fmla="*/ 214376 w 3785642"/>
                <a:gd name="connsiteY234" fmla="*/ 474778 h 479077"/>
                <a:gd name="connsiteX235" fmla="*/ 198006 w 3785642"/>
                <a:gd name="connsiteY235" fmla="*/ 476762 h 479077"/>
                <a:gd name="connsiteX236" fmla="*/ 181635 w 3785642"/>
                <a:gd name="connsiteY236" fmla="*/ 476266 h 479077"/>
                <a:gd name="connsiteX237" fmla="*/ 165265 w 3785642"/>
                <a:gd name="connsiteY237" fmla="*/ 474778 h 479077"/>
                <a:gd name="connsiteX238" fmla="*/ 148894 w 3785642"/>
                <a:gd name="connsiteY238" fmla="*/ 476762 h 479077"/>
                <a:gd name="connsiteX239" fmla="*/ 132524 w 3785642"/>
                <a:gd name="connsiteY239" fmla="*/ 476266 h 479077"/>
                <a:gd name="connsiteX240" fmla="*/ 116153 w 3785642"/>
                <a:gd name="connsiteY240" fmla="*/ 475274 h 479077"/>
                <a:gd name="connsiteX241" fmla="*/ 99783 w 3785642"/>
                <a:gd name="connsiteY241" fmla="*/ 475274 h 479077"/>
                <a:gd name="connsiteX242" fmla="*/ 83412 w 3785642"/>
                <a:gd name="connsiteY242" fmla="*/ 475274 h 479077"/>
                <a:gd name="connsiteX243" fmla="*/ 67041 w 3785642"/>
                <a:gd name="connsiteY243" fmla="*/ 474778 h 479077"/>
                <a:gd name="connsiteX244" fmla="*/ 50671 w 3785642"/>
                <a:gd name="connsiteY244" fmla="*/ 475274 h 479077"/>
                <a:gd name="connsiteX245" fmla="*/ 34300 w 3785642"/>
                <a:gd name="connsiteY245" fmla="*/ 475274 h 479077"/>
                <a:gd name="connsiteX246" fmla="*/ 17930 w 3785642"/>
                <a:gd name="connsiteY246" fmla="*/ 475770 h 479077"/>
                <a:gd name="connsiteX247" fmla="*/ 567 w 3785642"/>
                <a:gd name="connsiteY247" fmla="*/ 475770 h 479077"/>
                <a:gd name="connsiteX248" fmla="*/ 12969 w 3785642"/>
                <a:gd name="connsiteY248" fmla="*/ 463368 h 479077"/>
                <a:gd name="connsiteX249" fmla="*/ 24379 w 3785642"/>
                <a:gd name="connsiteY249" fmla="*/ 451958 h 479077"/>
                <a:gd name="connsiteX250" fmla="*/ 35788 w 3785642"/>
                <a:gd name="connsiteY250" fmla="*/ 440053 h 479077"/>
                <a:gd name="connsiteX251" fmla="*/ 48686 w 3785642"/>
                <a:gd name="connsiteY251" fmla="*/ 430131 h 479077"/>
                <a:gd name="connsiteX252" fmla="*/ 59600 w 3785642"/>
                <a:gd name="connsiteY252" fmla="*/ 418225 h 479077"/>
                <a:gd name="connsiteX253" fmla="*/ 70514 w 3785642"/>
                <a:gd name="connsiteY253" fmla="*/ 405823 h 479077"/>
                <a:gd name="connsiteX254" fmla="*/ 83412 w 3785642"/>
                <a:gd name="connsiteY254" fmla="*/ 395406 h 479077"/>
                <a:gd name="connsiteX255" fmla="*/ 94822 w 3785642"/>
                <a:gd name="connsiteY255" fmla="*/ 383500 h 479077"/>
                <a:gd name="connsiteX256" fmla="*/ 106728 w 3785642"/>
                <a:gd name="connsiteY256" fmla="*/ 372090 h 479077"/>
                <a:gd name="connsiteX257" fmla="*/ 117145 w 3785642"/>
                <a:gd name="connsiteY257" fmla="*/ 359688 h 479077"/>
                <a:gd name="connsiteX258" fmla="*/ 128555 w 3785642"/>
                <a:gd name="connsiteY258" fmla="*/ 348278 h 479077"/>
                <a:gd name="connsiteX259" fmla="*/ 140461 w 3785642"/>
                <a:gd name="connsiteY259" fmla="*/ 336868 h 479077"/>
                <a:gd name="connsiteX260" fmla="*/ 152863 w 3785642"/>
                <a:gd name="connsiteY260" fmla="*/ 326451 h 479077"/>
                <a:gd name="connsiteX261" fmla="*/ 164769 w 3785642"/>
                <a:gd name="connsiteY261" fmla="*/ 315041 h 479077"/>
                <a:gd name="connsiteX262" fmla="*/ 176178 w 3785642"/>
                <a:gd name="connsiteY262" fmla="*/ 303135 h 479077"/>
                <a:gd name="connsiteX263" fmla="*/ 188084 w 3785642"/>
                <a:gd name="connsiteY263" fmla="*/ 291725 h 479077"/>
                <a:gd name="connsiteX264" fmla="*/ 199494 w 3785642"/>
                <a:gd name="connsiteY264" fmla="*/ 280315 h 479077"/>
                <a:gd name="connsiteX265" fmla="*/ 210904 w 3785642"/>
                <a:gd name="connsiteY265" fmla="*/ 268906 h 479077"/>
                <a:gd name="connsiteX266" fmla="*/ 221818 w 3785642"/>
                <a:gd name="connsiteY266" fmla="*/ 256504 h 479077"/>
                <a:gd name="connsiteX267" fmla="*/ 233724 w 3785642"/>
                <a:gd name="connsiteY267" fmla="*/ 245094 h 479077"/>
                <a:gd name="connsiteX268" fmla="*/ 244141 w 3785642"/>
                <a:gd name="connsiteY268" fmla="*/ 232692 h 479077"/>
                <a:gd name="connsiteX269" fmla="*/ 257039 w 3785642"/>
                <a:gd name="connsiteY269" fmla="*/ 222770 h 479077"/>
                <a:gd name="connsiteX270" fmla="*/ 266961 w 3785642"/>
                <a:gd name="connsiteY270" fmla="*/ 209376 h 479077"/>
                <a:gd name="connsiteX271" fmla="*/ 278371 w 3785642"/>
                <a:gd name="connsiteY271" fmla="*/ 197966 h 479077"/>
                <a:gd name="connsiteX272" fmla="*/ 291269 w 3785642"/>
                <a:gd name="connsiteY272" fmla="*/ 188045 h 479077"/>
                <a:gd name="connsiteX273" fmla="*/ 301686 w 3785642"/>
                <a:gd name="connsiteY273" fmla="*/ 175147 h 479077"/>
                <a:gd name="connsiteX274" fmla="*/ 313592 w 3785642"/>
                <a:gd name="connsiteY274" fmla="*/ 163737 h 479077"/>
                <a:gd name="connsiteX275" fmla="*/ 325994 w 3785642"/>
                <a:gd name="connsiteY275" fmla="*/ 153319 h 479077"/>
                <a:gd name="connsiteX276" fmla="*/ 337404 w 3785642"/>
                <a:gd name="connsiteY276" fmla="*/ 141910 h 479077"/>
                <a:gd name="connsiteX277" fmla="*/ 347325 w 3785642"/>
                <a:gd name="connsiteY277" fmla="*/ 129012 h 479077"/>
                <a:gd name="connsiteX278" fmla="*/ 360224 w 3785642"/>
                <a:gd name="connsiteY278" fmla="*/ 118594 h 479077"/>
                <a:gd name="connsiteX279" fmla="*/ 371137 w 3785642"/>
                <a:gd name="connsiteY279" fmla="*/ 106192 h 479077"/>
                <a:gd name="connsiteX280" fmla="*/ 382051 w 3785642"/>
                <a:gd name="connsiteY280" fmla="*/ 93790 h 479077"/>
                <a:gd name="connsiteX281" fmla="*/ 393957 w 3785642"/>
                <a:gd name="connsiteY281" fmla="*/ 82380 h 479077"/>
                <a:gd name="connsiteX282" fmla="*/ 405366 w 3785642"/>
                <a:gd name="connsiteY282" fmla="*/ 70475 h 479077"/>
                <a:gd name="connsiteX283" fmla="*/ 417272 w 3785642"/>
                <a:gd name="connsiteY283" fmla="*/ 59561 h 479077"/>
                <a:gd name="connsiteX284" fmla="*/ 429674 w 3785642"/>
                <a:gd name="connsiteY284" fmla="*/ 48647 h 479077"/>
                <a:gd name="connsiteX285" fmla="*/ 440092 w 3785642"/>
                <a:gd name="connsiteY285" fmla="*/ 35749 h 479077"/>
                <a:gd name="connsiteX286" fmla="*/ 452494 w 3785642"/>
                <a:gd name="connsiteY286" fmla="*/ 24835 h 479077"/>
                <a:gd name="connsiteX287" fmla="*/ 463904 w 3785642"/>
                <a:gd name="connsiteY287" fmla="*/ 12929 h 479077"/>
                <a:gd name="connsiteX288" fmla="*/ 475313 w 3785642"/>
                <a:gd name="connsiteY288" fmla="*/ 1024 h 479077"/>
                <a:gd name="connsiteX289" fmla="*/ 491684 w 3785642"/>
                <a:gd name="connsiteY289" fmla="*/ 2512 h 479077"/>
                <a:gd name="connsiteX290" fmla="*/ 508055 w 3785642"/>
                <a:gd name="connsiteY290" fmla="*/ 2512 h 479077"/>
                <a:gd name="connsiteX291" fmla="*/ 524425 w 3785642"/>
                <a:gd name="connsiteY291" fmla="*/ 2512 h 479077"/>
                <a:gd name="connsiteX292" fmla="*/ 540796 w 3785642"/>
                <a:gd name="connsiteY292" fmla="*/ 1024 h 479077"/>
                <a:gd name="connsiteX293" fmla="*/ 557166 w 3785642"/>
                <a:gd name="connsiteY293" fmla="*/ 2512 h 479077"/>
                <a:gd name="connsiteX294" fmla="*/ 573537 w 3785642"/>
                <a:gd name="connsiteY294" fmla="*/ 1024 h 479077"/>
                <a:gd name="connsiteX295" fmla="*/ 589908 w 3785642"/>
                <a:gd name="connsiteY295" fmla="*/ 527 h 479077"/>
                <a:gd name="connsiteX296" fmla="*/ 606278 w 3785642"/>
                <a:gd name="connsiteY296" fmla="*/ 1520 h 479077"/>
                <a:gd name="connsiteX297" fmla="*/ 622649 w 3785642"/>
                <a:gd name="connsiteY297" fmla="*/ 1520 h 479077"/>
                <a:gd name="connsiteX298" fmla="*/ 639019 w 3785642"/>
                <a:gd name="connsiteY298" fmla="*/ 2016 h 479077"/>
                <a:gd name="connsiteX299" fmla="*/ 655390 w 3785642"/>
                <a:gd name="connsiteY299" fmla="*/ 527 h 479077"/>
                <a:gd name="connsiteX300" fmla="*/ 671760 w 3785642"/>
                <a:gd name="connsiteY300" fmla="*/ 1520 h 479077"/>
                <a:gd name="connsiteX301" fmla="*/ 688131 w 3785642"/>
                <a:gd name="connsiteY301" fmla="*/ 2512 h 479077"/>
                <a:gd name="connsiteX302" fmla="*/ 704501 w 3785642"/>
                <a:gd name="connsiteY302" fmla="*/ 1024 h 479077"/>
                <a:gd name="connsiteX303" fmla="*/ 720872 w 3785642"/>
                <a:gd name="connsiteY303" fmla="*/ 1520 h 479077"/>
                <a:gd name="connsiteX304" fmla="*/ 737243 w 3785642"/>
                <a:gd name="connsiteY304" fmla="*/ 2016 h 479077"/>
                <a:gd name="connsiteX305" fmla="*/ 753613 w 3785642"/>
                <a:gd name="connsiteY305" fmla="*/ 1024 h 479077"/>
                <a:gd name="connsiteX306" fmla="*/ 769984 w 3785642"/>
                <a:gd name="connsiteY306" fmla="*/ 527 h 479077"/>
                <a:gd name="connsiteX307" fmla="*/ 786354 w 3785642"/>
                <a:gd name="connsiteY307" fmla="*/ 1520 h 479077"/>
                <a:gd name="connsiteX308" fmla="*/ 802725 w 3785642"/>
                <a:gd name="connsiteY308" fmla="*/ 527 h 479077"/>
                <a:gd name="connsiteX309" fmla="*/ 819096 w 3785642"/>
                <a:gd name="connsiteY309" fmla="*/ 2512 h 479077"/>
                <a:gd name="connsiteX310" fmla="*/ 835466 w 3785642"/>
                <a:gd name="connsiteY310" fmla="*/ 527 h 479077"/>
                <a:gd name="connsiteX311" fmla="*/ 851837 w 3785642"/>
                <a:gd name="connsiteY311" fmla="*/ 1520 h 479077"/>
                <a:gd name="connsiteX312" fmla="*/ 868207 w 3785642"/>
                <a:gd name="connsiteY312" fmla="*/ 2016 h 479077"/>
                <a:gd name="connsiteX313" fmla="*/ 884578 w 3785642"/>
                <a:gd name="connsiteY313" fmla="*/ 2512 h 479077"/>
                <a:gd name="connsiteX314" fmla="*/ 900948 w 3785642"/>
                <a:gd name="connsiteY314" fmla="*/ 1520 h 479077"/>
                <a:gd name="connsiteX315" fmla="*/ 917319 w 3785642"/>
                <a:gd name="connsiteY315" fmla="*/ 1024 h 479077"/>
                <a:gd name="connsiteX316" fmla="*/ 933689 w 3785642"/>
                <a:gd name="connsiteY316" fmla="*/ 2512 h 479077"/>
                <a:gd name="connsiteX317" fmla="*/ 950060 w 3785642"/>
                <a:gd name="connsiteY317" fmla="*/ 1520 h 479077"/>
                <a:gd name="connsiteX318" fmla="*/ 966431 w 3785642"/>
                <a:gd name="connsiteY318" fmla="*/ 2016 h 479077"/>
                <a:gd name="connsiteX319" fmla="*/ 982801 w 3785642"/>
                <a:gd name="connsiteY319" fmla="*/ 2512 h 479077"/>
                <a:gd name="connsiteX320" fmla="*/ 999172 w 3785642"/>
                <a:gd name="connsiteY320" fmla="*/ 1520 h 479077"/>
                <a:gd name="connsiteX321" fmla="*/ 1015542 w 3785642"/>
                <a:gd name="connsiteY321" fmla="*/ 2512 h 479077"/>
                <a:gd name="connsiteX322" fmla="*/ 1031913 w 3785642"/>
                <a:gd name="connsiteY322" fmla="*/ 1520 h 479077"/>
                <a:gd name="connsiteX323" fmla="*/ 1048283 w 3785642"/>
                <a:gd name="connsiteY323" fmla="*/ 2016 h 479077"/>
                <a:gd name="connsiteX324" fmla="*/ 1064654 w 3785642"/>
                <a:gd name="connsiteY324" fmla="*/ 3504 h 479077"/>
                <a:gd name="connsiteX325" fmla="*/ 1081025 w 3785642"/>
                <a:gd name="connsiteY325" fmla="*/ 2016 h 479077"/>
                <a:gd name="connsiteX326" fmla="*/ 1097395 w 3785642"/>
                <a:gd name="connsiteY326" fmla="*/ 2512 h 479077"/>
                <a:gd name="connsiteX327" fmla="*/ 1113766 w 3785642"/>
                <a:gd name="connsiteY327" fmla="*/ 2512 h 479077"/>
                <a:gd name="connsiteX328" fmla="*/ 1130136 w 3785642"/>
                <a:gd name="connsiteY328" fmla="*/ 3504 h 479077"/>
                <a:gd name="connsiteX329" fmla="*/ 1146507 w 3785642"/>
                <a:gd name="connsiteY329" fmla="*/ 1520 h 479077"/>
                <a:gd name="connsiteX330" fmla="*/ 1162878 w 3785642"/>
                <a:gd name="connsiteY330" fmla="*/ 3008 h 479077"/>
                <a:gd name="connsiteX331" fmla="*/ 1179248 w 3785642"/>
                <a:gd name="connsiteY331" fmla="*/ 4000 h 479077"/>
                <a:gd name="connsiteX332" fmla="*/ 1195619 w 3785642"/>
                <a:gd name="connsiteY332" fmla="*/ 3504 h 479077"/>
                <a:gd name="connsiteX333" fmla="*/ 1211989 w 3785642"/>
                <a:gd name="connsiteY333" fmla="*/ 1520 h 479077"/>
                <a:gd name="connsiteX334" fmla="*/ 1228360 w 3785642"/>
                <a:gd name="connsiteY334" fmla="*/ 3504 h 479077"/>
                <a:gd name="connsiteX335" fmla="*/ 1244730 w 3785642"/>
                <a:gd name="connsiteY335" fmla="*/ 1520 h 479077"/>
                <a:gd name="connsiteX336" fmla="*/ 1261101 w 3785642"/>
                <a:gd name="connsiteY336" fmla="*/ 2512 h 479077"/>
                <a:gd name="connsiteX337" fmla="*/ 1277471 w 3785642"/>
                <a:gd name="connsiteY337" fmla="*/ 3504 h 479077"/>
                <a:gd name="connsiteX338" fmla="*/ 1293842 w 3785642"/>
                <a:gd name="connsiteY338" fmla="*/ 4000 h 479077"/>
                <a:gd name="connsiteX339" fmla="*/ 1310213 w 3785642"/>
                <a:gd name="connsiteY339" fmla="*/ 1520 h 479077"/>
                <a:gd name="connsiteX340" fmla="*/ 1326583 w 3785642"/>
                <a:gd name="connsiteY340" fmla="*/ 2016 h 479077"/>
                <a:gd name="connsiteX341" fmla="*/ 1342954 w 3785642"/>
                <a:gd name="connsiteY341" fmla="*/ 3008 h 479077"/>
                <a:gd name="connsiteX342" fmla="*/ 1359324 w 3785642"/>
                <a:gd name="connsiteY342" fmla="*/ 3008 h 479077"/>
                <a:gd name="connsiteX343" fmla="*/ 1375695 w 3785642"/>
                <a:gd name="connsiteY343" fmla="*/ 2512 h 479077"/>
                <a:gd name="connsiteX344" fmla="*/ 1392066 w 3785642"/>
                <a:gd name="connsiteY344" fmla="*/ 2512 h 479077"/>
                <a:gd name="connsiteX345" fmla="*/ 1408436 w 3785642"/>
                <a:gd name="connsiteY345" fmla="*/ 3504 h 479077"/>
                <a:gd name="connsiteX346" fmla="*/ 1424807 w 3785642"/>
                <a:gd name="connsiteY346" fmla="*/ 3504 h 479077"/>
                <a:gd name="connsiteX347" fmla="*/ 1441177 w 3785642"/>
                <a:gd name="connsiteY347" fmla="*/ 1520 h 479077"/>
                <a:gd name="connsiteX348" fmla="*/ 1457548 w 3785642"/>
                <a:gd name="connsiteY348" fmla="*/ 2512 h 479077"/>
                <a:gd name="connsiteX349" fmla="*/ 1473919 w 3785642"/>
                <a:gd name="connsiteY349" fmla="*/ 2016 h 479077"/>
                <a:gd name="connsiteX350" fmla="*/ 1490289 w 3785642"/>
                <a:gd name="connsiteY350" fmla="*/ 2016 h 479077"/>
                <a:gd name="connsiteX351" fmla="*/ 1506660 w 3785642"/>
                <a:gd name="connsiteY351" fmla="*/ 1520 h 479077"/>
                <a:gd name="connsiteX352" fmla="*/ 1523030 w 3785642"/>
                <a:gd name="connsiteY352" fmla="*/ 3504 h 479077"/>
                <a:gd name="connsiteX353" fmla="*/ 1539401 w 3785642"/>
                <a:gd name="connsiteY353" fmla="*/ 3008 h 479077"/>
                <a:gd name="connsiteX354" fmla="*/ 1555771 w 3785642"/>
                <a:gd name="connsiteY354" fmla="*/ 3008 h 479077"/>
                <a:gd name="connsiteX355" fmla="*/ 1572142 w 3785642"/>
                <a:gd name="connsiteY355" fmla="*/ 2512 h 479077"/>
                <a:gd name="connsiteX356" fmla="*/ 1588512 w 3785642"/>
                <a:gd name="connsiteY356" fmla="*/ 2016 h 479077"/>
                <a:gd name="connsiteX357" fmla="*/ 1604883 w 3785642"/>
                <a:gd name="connsiteY357" fmla="*/ 3008 h 479077"/>
                <a:gd name="connsiteX358" fmla="*/ 1621253 w 3785642"/>
                <a:gd name="connsiteY358" fmla="*/ 3008 h 479077"/>
                <a:gd name="connsiteX359" fmla="*/ 1637624 w 3785642"/>
                <a:gd name="connsiteY35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05646 w 3785642"/>
                <a:gd name="connsiteY28" fmla="*/ 79404 h 479077"/>
                <a:gd name="connsiteX29" fmla="*/ 3393740 w 3785642"/>
                <a:gd name="connsiteY29" fmla="*/ 68490 h 479077"/>
                <a:gd name="connsiteX30" fmla="*/ 3382330 w 3785642"/>
                <a:gd name="connsiteY30" fmla="*/ 56584 h 479077"/>
                <a:gd name="connsiteX31" fmla="*/ 3370921 w 3785642"/>
                <a:gd name="connsiteY31" fmla="*/ 44678 h 479077"/>
                <a:gd name="connsiteX32" fmla="*/ 3313375 w 3785642"/>
                <a:gd name="connsiteY32" fmla="*/ 10945 h 479077"/>
                <a:gd name="connsiteX33" fmla="*/ 3300973 w 3785642"/>
                <a:gd name="connsiteY33" fmla="*/ 21363 h 479077"/>
                <a:gd name="connsiteX34" fmla="*/ 3289068 w 3785642"/>
                <a:gd name="connsiteY34" fmla="*/ 32276 h 479077"/>
                <a:gd name="connsiteX35" fmla="*/ 3277658 w 3785642"/>
                <a:gd name="connsiteY35" fmla="*/ 43686 h 479077"/>
                <a:gd name="connsiteX36" fmla="*/ 3266248 w 3785642"/>
                <a:gd name="connsiteY36" fmla="*/ 55592 h 479077"/>
                <a:gd name="connsiteX37" fmla="*/ 3255830 w 3785642"/>
                <a:gd name="connsiteY37" fmla="*/ 68490 h 479077"/>
                <a:gd name="connsiteX38" fmla="*/ 3243924 w 3785642"/>
                <a:gd name="connsiteY38" fmla="*/ 79900 h 479077"/>
                <a:gd name="connsiteX39" fmla="*/ 3231522 w 3785642"/>
                <a:gd name="connsiteY39" fmla="*/ 90814 h 479077"/>
                <a:gd name="connsiteX40" fmla="*/ 3220609 w 3785642"/>
                <a:gd name="connsiteY40" fmla="*/ 102720 h 479077"/>
                <a:gd name="connsiteX41" fmla="*/ 3208207 w 3785642"/>
                <a:gd name="connsiteY41" fmla="*/ 113137 h 479077"/>
                <a:gd name="connsiteX42" fmla="*/ 3197293 w 3785642"/>
                <a:gd name="connsiteY42" fmla="*/ 125043 h 479077"/>
                <a:gd name="connsiteX43" fmla="*/ 3185387 w 3785642"/>
                <a:gd name="connsiteY43" fmla="*/ 136453 h 479077"/>
                <a:gd name="connsiteX44" fmla="*/ 3174970 w 3785642"/>
                <a:gd name="connsiteY44" fmla="*/ 148855 h 479077"/>
                <a:gd name="connsiteX45" fmla="*/ 3162071 w 3785642"/>
                <a:gd name="connsiteY45" fmla="*/ 159272 h 479077"/>
                <a:gd name="connsiteX46" fmla="*/ 3151158 w 3785642"/>
                <a:gd name="connsiteY46" fmla="*/ 171674 h 479077"/>
                <a:gd name="connsiteX47" fmla="*/ 3139252 w 3785642"/>
                <a:gd name="connsiteY47" fmla="*/ 182588 h 479077"/>
                <a:gd name="connsiteX48" fmla="*/ 3127843 w 3785642"/>
                <a:gd name="connsiteY48" fmla="*/ 194494 h 479077"/>
                <a:gd name="connsiteX49" fmla="*/ 3116432 w 3785642"/>
                <a:gd name="connsiteY49" fmla="*/ 205904 h 479077"/>
                <a:gd name="connsiteX50" fmla="*/ 3105022 w 3785642"/>
                <a:gd name="connsiteY50" fmla="*/ 217810 h 479077"/>
                <a:gd name="connsiteX51" fmla="*/ 3093117 w 3785642"/>
                <a:gd name="connsiteY51" fmla="*/ 229219 h 479077"/>
                <a:gd name="connsiteX52" fmla="*/ 3081707 w 3785642"/>
                <a:gd name="connsiteY52" fmla="*/ 240629 h 479077"/>
                <a:gd name="connsiteX53" fmla="*/ 3069305 w 3785642"/>
                <a:gd name="connsiteY53" fmla="*/ 251543 h 479077"/>
                <a:gd name="connsiteX54" fmla="*/ 3057895 w 3785642"/>
                <a:gd name="connsiteY54" fmla="*/ 263449 h 479077"/>
                <a:gd name="connsiteX55" fmla="*/ 3046486 w 3785642"/>
                <a:gd name="connsiteY55" fmla="*/ 275355 h 479077"/>
                <a:gd name="connsiteX56" fmla="*/ 3035572 w 3785642"/>
                <a:gd name="connsiteY56" fmla="*/ 287260 h 479077"/>
                <a:gd name="connsiteX57" fmla="*/ 3024658 w 3785642"/>
                <a:gd name="connsiteY57" fmla="*/ 299166 h 479077"/>
                <a:gd name="connsiteX58" fmla="*/ 3013248 w 3785642"/>
                <a:gd name="connsiteY58" fmla="*/ 311072 h 479077"/>
                <a:gd name="connsiteX59" fmla="*/ 3000350 w 3785642"/>
                <a:gd name="connsiteY59" fmla="*/ 321490 h 479077"/>
                <a:gd name="connsiteX60" fmla="*/ 2988941 w 3785642"/>
                <a:gd name="connsiteY60" fmla="*/ 333396 h 479077"/>
                <a:gd name="connsiteX61" fmla="*/ 2976539 w 3785642"/>
                <a:gd name="connsiteY61" fmla="*/ 344309 h 479077"/>
                <a:gd name="connsiteX62" fmla="*/ 2965129 w 3785642"/>
                <a:gd name="connsiteY62" fmla="*/ 356215 h 479077"/>
                <a:gd name="connsiteX63" fmla="*/ 2953223 w 3785642"/>
                <a:gd name="connsiteY63" fmla="*/ 367625 h 479077"/>
                <a:gd name="connsiteX64" fmla="*/ 2941813 w 3785642"/>
                <a:gd name="connsiteY64" fmla="*/ 379531 h 479077"/>
                <a:gd name="connsiteX65" fmla="*/ 2931395 w 3785642"/>
                <a:gd name="connsiteY65" fmla="*/ 392429 h 479077"/>
                <a:gd name="connsiteX66" fmla="*/ 2918497 w 3785642"/>
                <a:gd name="connsiteY66" fmla="*/ 402847 h 479077"/>
                <a:gd name="connsiteX67" fmla="*/ 2907584 w 3785642"/>
                <a:gd name="connsiteY67" fmla="*/ 415249 h 479077"/>
                <a:gd name="connsiteX68" fmla="*/ 2896174 w 3785642"/>
                <a:gd name="connsiteY68" fmla="*/ 426658 h 479077"/>
                <a:gd name="connsiteX69" fmla="*/ 2884268 w 3785642"/>
                <a:gd name="connsiteY69" fmla="*/ 438068 h 479077"/>
                <a:gd name="connsiteX70" fmla="*/ 2873354 w 3785642"/>
                <a:gd name="connsiteY70" fmla="*/ 450470 h 479077"/>
                <a:gd name="connsiteX71" fmla="*/ 2860952 w 3785642"/>
                <a:gd name="connsiteY71" fmla="*/ 461384 h 479077"/>
                <a:gd name="connsiteX72" fmla="*/ 2850039 w 3785642"/>
                <a:gd name="connsiteY72" fmla="*/ 473786 h 479077"/>
                <a:gd name="connsiteX73" fmla="*/ 2833668 w 3785642"/>
                <a:gd name="connsiteY73" fmla="*/ 473786 h 479077"/>
                <a:gd name="connsiteX74" fmla="*/ 2817297 w 3785642"/>
                <a:gd name="connsiteY74" fmla="*/ 473290 h 479077"/>
                <a:gd name="connsiteX75" fmla="*/ 2800927 w 3785642"/>
                <a:gd name="connsiteY75" fmla="*/ 473290 h 479077"/>
                <a:gd name="connsiteX76" fmla="*/ 2784556 w 3785642"/>
                <a:gd name="connsiteY76" fmla="*/ 473786 h 479077"/>
                <a:gd name="connsiteX77" fmla="*/ 2768186 w 3785642"/>
                <a:gd name="connsiteY77" fmla="*/ 474282 h 479077"/>
                <a:gd name="connsiteX78" fmla="*/ 2751815 w 3785642"/>
                <a:gd name="connsiteY78" fmla="*/ 474282 h 479077"/>
                <a:gd name="connsiteX79" fmla="*/ 2735444 w 3785642"/>
                <a:gd name="connsiteY79" fmla="*/ 473290 h 479077"/>
                <a:gd name="connsiteX80" fmla="*/ 2719074 w 3785642"/>
                <a:gd name="connsiteY80" fmla="*/ 474282 h 479077"/>
                <a:gd name="connsiteX81" fmla="*/ 2702703 w 3785642"/>
                <a:gd name="connsiteY81" fmla="*/ 472298 h 479077"/>
                <a:gd name="connsiteX82" fmla="*/ 2686333 w 3785642"/>
                <a:gd name="connsiteY82" fmla="*/ 472794 h 479077"/>
                <a:gd name="connsiteX83" fmla="*/ 2669962 w 3785642"/>
                <a:gd name="connsiteY83" fmla="*/ 474282 h 479077"/>
                <a:gd name="connsiteX84" fmla="*/ 2653592 w 3785642"/>
                <a:gd name="connsiteY84" fmla="*/ 472298 h 479077"/>
                <a:gd name="connsiteX85" fmla="*/ 2637221 w 3785642"/>
                <a:gd name="connsiteY85" fmla="*/ 474282 h 479077"/>
                <a:gd name="connsiteX86" fmla="*/ 2620851 w 3785642"/>
                <a:gd name="connsiteY86" fmla="*/ 474282 h 479077"/>
                <a:gd name="connsiteX87" fmla="*/ 2604480 w 3785642"/>
                <a:gd name="connsiteY87" fmla="*/ 472298 h 479077"/>
                <a:gd name="connsiteX88" fmla="*/ 2588109 w 3785642"/>
                <a:gd name="connsiteY88" fmla="*/ 473786 h 479077"/>
                <a:gd name="connsiteX89" fmla="*/ 2571739 w 3785642"/>
                <a:gd name="connsiteY89" fmla="*/ 472298 h 479077"/>
                <a:gd name="connsiteX90" fmla="*/ 2555368 w 3785642"/>
                <a:gd name="connsiteY90" fmla="*/ 473290 h 479077"/>
                <a:gd name="connsiteX91" fmla="*/ 2538998 w 3785642"/>
                <a:gd name="connsiteY91" fmla="*/ 474282 h 479077"/>
                <a:gd name="connsiteX92" fmla="*/ 2522627 w 3785642"/>
                <a:gd name="connsiteY92" fmla="*/ 473290 h 479077"/>
                <a:gd name="connsiteX93" fmla="*/ 2506257 w 3785642"/>
                <a:gd name="connsiteY93" fmla="*/ 474282 h 479077"/>
                <a:gd name="connsiteX94" fmla="*/ 2489886 w 3785642"/>
                <a:gd name="connsiteY94" fmla="*/ 473786 h 479077"/>
                <a:gd name="connsiteX95" fmla="*/ 2473516 w 3785642"/>
                <a:gd name="connsiteY95" fmla="*/ 474282 h 479077"/>
                <a:gd name="connsiteX96" fmla="*/ 2457145 w 3785642"/>
                <a:gd name="connsiteY96" fmla="*/ 472794 h 479077"/>
                <a:gd name="connsiteX97" fmla="*/ 2440775 w 3785642"/>
                <a:gd name="connsiteY97" fmla="*/ 472298 h 479077"/>
                <a:gd name="connsiteX98" fmla="*/ 2424404 w 3785642"/>
                <a:gd name="connsiteY98" fmla="*/ 473786 h 479077"/>
                <a:gd name="connsiteX99" fmla="*/ 2408033 w 3785642"/>
                <a:gd name="connsiteY99" fmla="*/ 472794 h 479077"/>
                <a:gd name="connsiteX100" fmla="*/ 2391663 w 3785642"/>
                <a:gd name="connsiteY100" fmla="*/ 473290 h 479077"/>
                <a:gd name="connsiteX101" fmla="*/ 2375292 w 3785642"/>
                <a:gd name="connsiteY101" fmla="*/ 473290 h 479077"/>
                <a:gd name="connsiteX102" fmla="*/ 2358922 w 3785642"/>
                <a:gd name="connsiteY102" fmla="*/ 472794 h 479077"/>
                <a:gd name="connsiteX103" fmla="*/ 2342551 w 3785642"/>
                <a:gd name="connsiteY103" fmla="*/ 472298 h 479077"/>
                <a:gd name="connsiteX104" fmla="*/ 2326180 w 3785642"/>
                <a:gd name="connsiteY104" fmla="*/ 473786 h 479077"/>
                <a:gd name="connsiteX105" fmla="*/ 2309810 w 3785642"/>
                <a:gd name="connsiteY105" fmla="*/ 473786 h 479077"/>
                <a:gd name="connsiteX106" fmla="*/ 2293439 w 3785642"/>
                <a:gd name="connsiteY106" fmla="*/ 473786 h 479077"/>
                <a:gd name="connsiteX107" fmla="*/ 2277069 w 3785642"/>
                <a:gd name="connsiteY107" fmla="*/ 472794 h 479077"/>
                <a:gd name="connsiteX108" fmla="*/ 2260698 w 3785642"/>
                <a:gd name="connsiteY108" fmla="*/ 474282 h 479077"/>
                <a:gd name="connsiteX109" fmla="*/ 2244327 w 3785642"/>
                <a:gd name="connsiteY109" fmla="*/ 472298 h 479077"/>
                <a:gd name="connsiteX110" fmla="*/ 2227957 w 3785642"/>
                <a:gd name="connsiteY110" fmla="*/ 474282 h 479077"/>
                <a:gd name="connsiteX111" fmla="*/ 2211586 w 3785642"/>
                <a:gd name="connsiteY111" fmla="*/ 473290 h 479077"/>
                <a:gd name="connsiteX112" fmla="*/ 2195216 w 3785642"/>
                <a:gd name="connsiteY112" fmla="*/ 474282 h 479077"/>
                <a:gd name="connsiteX113" fmla="*/ 2178845 w 3785642"/>
                <a:gd name="connsiteY113" fmla="*/ 472794 h 479077"/>
                <a:gd name="connsiteX114" fmla="*/ 2162474 w 3785642"/>
                <a:gd name="connsiteY114" fmla="*/ 474778 h 479077"/>
                <a:gd name="connsiteX115" fmla="*/ 2146104 w 3785642"/>
                <a:gd name="connsiteY115" fmla="*/ 473290 h 479077"/>
                <a:gd name="connsiteX116" fmla="*/ 2129733 w 3785642"/>
                <a:gd name="connsiteY116" fmla="*/ 474778 h 479077"/>
                <a:gd name="connsiteX117" fmla="*/ 2113363 w 3785642"/>
                <a:gd name="connsiteY117" fmla="*/ 474778 h 479077"/>
                <a:gd name="connsiteX118" fmla="*/ 2096992 w 3785642"/>
                <a:gd name="connsiteY118" fmla="*/ 474778 h 479077"/>
                <a:gd name="connsiteX119" fmla="*/ 2080621 w 3785642"/>
                <a:gd name="connsiteY119" fmla="*/ 474282 h 479077"/>
                <a:gd name="connsiteX120" fmla="*/ 2064251 w 3785642"/>
                <a:gd name="connsiteY120" fmla="*/ 472794 h 479077"/>
                <a:gd name="connsiteX121" fmla="*/ 2047880 w 3785642"/>
                <a:gd name="connsiteY121" fmla="*/ 474778 h 479077"/>
                <a:gd name="connsiteX122" fmla="*/ 2031510 w 3785642"/>
                <a:gd name="connsiteY122" fmla="*/ 474778 h 479077"/>
                <a:gd name="connsiteX123" fmla="*/ 2015139 w 3785642"/>
                <a:gd name="connsiteY123" fmla="*/ 474778 h 479077"/>
                <a:gd name="connsiteX124" fmla="*/ 1998769 w 3785642"/>
                <a:gd name="connsiteY124" fmla="*/ 474282 h 479077"/>
                <a:gd name="connsiteX125" fmla="*/ 1982398 w 3785642"/>
                <a:gd name="connsiteY125" fmla="*/ 473786 h 479077"/>
                <a:gd name="connsiteX126" fmla="*/ 1966028 w 3785642"/>
                <a:gd name="connsiteY126" fmla="*/ 473786 h 479077"/>
                <a:gd name="connsiteX127" fmla="*/ 1949657 w 3785642"/>
                <a:gd name="connsiteY127" fmla="*/ 472794 h 479077"/>
                <a:gd name="connsiteX128" fmla="*/ 1933287 w 3785642"/>
                <a:gd name="connsiteY128" fmla="*/ 473290 h 479077"/>
                <a:gd name="connsiteX129" fmla="*/ 1916916 w 3785642"/>
                <a:gd name="connsiteY129" fmla="*/ 474778 h 479077"/>
                <a:gd name="connsiteX130" fmla="*/ 1900546 w 3785642"/>
                <a:gd name="connsiteY130" fmla="*/ 472794 h 479077"/>
                <a:gd name="connsiteX131" fmla="*/ 1884175 w 3785642"/>
                <a:gd name="connsiteY131" fmla="*/ 473786 h 479077"/>
                <a:gd name="connsiteX132" fmla="*/ 1867804 w 3785642"/>
                <a:gd name="connsiteY132" fmla="*/ 474778 h 479077"/>
                <a:gd name="connsiteX133" fmla="*/ 1851434 w 3785642"/>
                <a:gd name="connsiteY133" fmla="*/ 474778 h 479077"/>
                <a:gd name="connsiteX134" fmla="*/ 1835063 w 3785642"/>
                <a:gd name="connsiteY134" fmla="*/ 474778 h 479077"/>
                <a:gd name="connsiteX135" fmla="*/ 1818693 w 3785642"/>
                <a:gd name="connsiteY135" fmla="*/ 474282 h 479077"/>
                <a:gd name="connsiteX136" fmla="*/ 1802322 w 3785642"/>
                <a:gd name="connsiteY136" fmla="*/ 472794 h 479077"/>
                <a:gd name="connsiteX137" fmla="*/ 1785951 w 3785642"/>
                <a:gd name="connsiteY137" fmla="*/ 473786 h 479077"/>
                <a:gd name="connsiteX138" fmla="*/ 1769581 w 3785642"/>
                <a:gd name="connsiteY138" fmla="*/ 473290 h 479077"/>
                <a:gd name="connsiteX139" fmla="*/ 1753210 w 3785642"/>
                <a:gd name="connsiteY139" fmla="*/ 472298 h 479077"/>
                <a:gd name="connsiteX140" fmla="*/ 1736840 w 3785642"/>
                <a:gd name="connsiteY140" fmla="*/ 473290 h 479077"/>
                <a:gd name="connsiteX141" fmla="*/ 1720469 w 3785642"/>
                <a:gd name="connsiteY141" fmla="*/ 474778 h 479077"/>
                <a:gd name="connsiteX142" fmla="*/ 1704098 w 3785642"/>
                <a:gd name="connsiteY142" fmla="*/ 472794 h 479077"/>
                <a:gd name="connsiteX143" fmla="*/ 1687728 w 3785642"/>
                <a:gd name="connsiteY143" fmla="*/ 474778 h 479077"/>
                <a:gd name="connsiteX144" fmla="*/ 1671357 w 3785642"/>
                <a:gd name="connsiteY144" fmla="*/ 474778 h 479077"/>
                <a:gd name="connsiteX145" fmla="*/ 1654987 w 3785642"/>
                <a:gd name="connsiteY145" fmla="*/ 472298 h 479077"/>
                <a:gd name="connsiteX146" fmla="*/ 1638616 w 3785642"/>
                <a:gd name="connsiteY146" fmla="*/ 472794 h 479077"/>
                <a:gd name="connsiteX147" fmla="*/ 1622246 w 3785642"/>
                <a:gd name="connsiteY147" fmla="*/ 473786 h 479077"/>
                <a:gd name="connsiteX148" fmla="*/ 1605875 w 3785642"/>
                <a:gd name="connsiteY148" fmla="*/ 474778 h 479077"/>
                <a:gd name="connsiteX149" fmla="*/ 1589505 w 3785642"/>
                <a:gd name="connsiteY149" fmla="*/ 473290 h 479077"/>
                <a:gd name="connsiteX150" fmla="*/ 1573134 w 3785642"/>
                <a:gd name="connsiteY150" fmla="*/ 474778 h 479077"/>
                <a:gd name="connsiteX151" fmla="*/ 1556763 w 3785642"/>
                <a:gd name="connsiteY151" fmla="*/ 472794 h 479077"/>
                <a:gd name="connsiteX152" fmla="*/ 1540393 w 3785642"/>
                <a:gd name="connsiteY152" fmla="*/ 472794 h 479077"/>
                <a:gd name="connsiteX153" fmla="*/ 1524022 w 3785642"/>
                <a:gd name="connsiteY153" fmla="*/ 474282 h 479077"/>
                <a:gd name="connsiteX154" fmla="*/ 1507652 w 3785642"/>
                <a:gd name="connsiteY154" fmla="*/ 472794 h 479077"/>
                <a:gd name="connsiteX155" fmla="*/ 1491281 w 3785642"/>
                <a:gd name="connsiteY155" fmla="*/ 474282 h 479077"/>
                <a:gd name="connsiteX156" fmla="*/ 1474910 w 3785642"/>
                <a:gd name="connsiteY156" fmla="*/ 474282 h 479077"/>
                <a:gd name="connsiteX157" fmla="*/ 1458540 w 3785642"/>
                <a:gd name="connsiteY157" fmla="*/ 472794 h 479077"/>
                <a:gd name="connsiteX158" fmla="*/ 1442169 w 3785642"/>
                <a:gd name="connsiteY158" fmla="*/ 471802 h 479077"/>
                <a:gd name="connsiteX159" fmla="*/ 1425799 w 3785642"/>
                <a:gd name="connsiteY159" fmla="*/ 472298 h 479077"/>
                <a:gd name="connsiteX160" fmla="*/ 1409428 w 3785642"/>
                <a:gd name="connsiteY160" fmla="*/ 472794 h 479077"/>
                <a:gd name="connsiteX161" fmla="*/ 1393058 w 3785642"/>
                <a:gd name="connsiteY161" fmla="*/ 473786 h 479077"/>
                <a:gd name="connsiteX162" fmla="*/ 1376687 w 3785642"/>
                <a:gd name="connsiteY162" fmla="*/ 471802 h 479077"/>
                <a:gd name="connsiteX163" fmla="*/ 1360317 w 3785642"/>
                <a:gd name="connsiteY163" fmla="*/ 473786 h 479077"/>
                <a:gd name="connsiteX164" fmla="*/ 1343946 w 3785642"/>
                <a:gd name="connsiteY164" fmla="*/ 473786 h 479077"/>
                <a:gd name="connsiteX165" fmla="*/ 1327576 w 3785642"/>
                <a:gd name="connsiteY165" fmla="*/ 472794 h 479077"/>
                <a:gd name="connsiteX166" fmla="*/ 1311205 w 3785642"/>
                <a:gd name="connsiteY166" fmla="*/ 473786 h 479077"/>
                <a:gd name="connsiteX167" fmla="*/ 1294834 w 3785642"/>
                <a:gd name="connsiteY167" fmla="*/ 473786 h 479077"/>
                <a:gd name="connsiteX168" fmla="*/ 1278464 w 3785642"/>
                <a:gd name="connsiteY168" fmla="*/ 473786 h 479077"/>
                <a:gd name="connsiteX169" fmla="*/ 1262093 w 3785642"/>
                <a:gd name="connsiteY169" fmla="*/ 473786 h 479077"/>
                <a:gd name="connsiteX170" fmla="*/ 1245723 w 3785642"/>
                <a:gd name="connsiteY170" fmla="*/ 473290 h 479077"/>
                <a:gd name="connsiteX171" fmla="*/ 1229352 w 3785642"/>
                <a:gd name="connsiteY171" fmla="*/ 472794 h 479077"/>
                <a:gd name="connsiteX172" fmla="*/ 1212981 w 3785642"/>
                <a:gd name="connsiteY172" fmla="*/ 473786 h 479077"/>
                <a:gd name="connsiteX173" fmla="*/ 1196611 w 3785642"/>
                <a:gd name="connsiteY173" fmla="*/ 472298 h 479077"/>
                <a:gd name="connsiteX174" fmla="*/ 1180240 w 3785642"/>
                <a:gd name="connsiteY174" fmla="*/ 472794 h 479077"/>
                <a:gd name="connsiteX175" fmla="*/ 1163870 w 3785642"/>
                <a:gd name="connsiteY175" fmla="*/ 472794 h 479077"/>
                <a:gd name="connsiteX176" fmla="*/ 1147499 w 3785642"/>
                <a:gd name="connsiteY176" fmla="*/ 473786 h 479077"/>
                <a:gd name="connsiteX177" fmla="*/ 1131128 w 3785642"/>
                <a:gd name="connsiteY177" fmla="*/ 473786 h 479077"/>
                <a:gd name="connsiteX178" fmla="*/ 1114758 w 3785642"/>
                <a:gd name="connsiteY178" fmla="*/ 472794 h 479077"/>
                <a:gd name="connsiteX179" fmla="*/ 1098387 w 3785642"/>
                <a:gd name="connsiteY179" fmla="*/ 473786 h 479077"/>
                <a:gd name="connsiteX180" fmla="*/ 1082017 w 3785642"/>
                <a:gd name="connsiteY180" fmla="*/ 474778 h 479077"/>
                <a:gd name="connsiteX181" fmla="*/ 1065646 w 3785642"/>
                <a:gd name="connsiteY181" fmla="*/ 474778 h 479077"/>
                <a:gd name="connsiteX182" fmla="*/ 1049276 w 3785642"/>
                <a:gd name="connsiteY182" fmla="*/ 474282 h 479077"/>
                <a:gd name="connsiteX183" fmla="*/ 1032905 w 3785642"/>
                <a:gd name="connsiteY183" fmla="*/ 473290 h 479077"/>
                <a:gd name="connsiteX184" fmla="*/ 1016535 w 3785642"/>
                <a:gd name="connsiteY184" fmla="*/ 474282 h 479077"/>
                <a:gd name="connsiteX185" fmla="*/ 1000164 w 3785642"/>
                <a:gd name="connsiteY185" fmla="*/ 474282 h 479077"/>
                <a:gd name="connsiteX186" fmla="*/ 983793 w 3785642"/>
                <a:gd name="connsiteY186" fmla="*/ 472794 h 479077"/>
                <a:gd name="connsiteX187" fmla="*/ 967423 w 3785642"/>
                <a:gd name="connsiteY187" fmla="*/ 472794 h 479077"/>
                <a:gd name="connsiteX188" fmla="*/ 951052 w 3785642"/>
                <a:gd name="connsiteY188" fmla="*/ 473786 h 479077"/>
                <a:gd name="connsiteX189" fmla="*/ 934682 w 3785642"/>
                <a:gd name="connsiteY189" fmla="*/ 474282 h 479077"/>
                <a:gd name="connsiteX190" fmla="*/ 918311 w 3785642"/>
                <a:gd name="connsiteY190" fmla="*/ 474778 h 479077"/>
                <a:gd name="connsiteX191" fmla="*/ 901940 w 3785642"/>
                <a:gd name="connsiteY191" fmla="*/ 473290 h 479077"/>
                <a:gd name="connsiteX192" fmla="*/ 885570 w 3785642"/>
                <a:gd name="connsiteY192" fmla="*/ 474778 h 479077"/>
                <a:gd name="connsiteX193" fmla="*/ 869199 w 3785642"/>
                <a:gd name="connsiteY193" fmla="*/ 474282 h 479077"/>
                <a:gd name="connsiteX194" fmla="*/ 852829 w 3785642"/>
                <a:gd name="connsiteY194" fmla="*/ 473786 h 479077"/>
                <a:gd name="connsiteX195" fmla="*/ 836458 w 3785642"/>
                <a:gd name="connsiteY195" fmla="*/ 474778 h 479077"/>
                <a:gd name="connsiteX196" fmla="*/ 820088 w 3785642"/>
                <a:gd name="connsiteY196" fmla="*/ 475274 h 479077"/>
                <a:gd name="connsiteX197" fmla="*/ 803717 w 3785642"/>
                <a:gd name="connsiteY197" fmla="*/ 473786 h 479077"/>
                <a:gd name="connsiteX198" fmla="*/ 787347 w 3785642"/>
                <a:gd name="connsiteY198" fmla="*/ 475770 h 479077"/>
                <a:gd name="connsiteX199" fmla="*/ 770976 w 3785642"/>
                <a:gd name="connsiteY199" fmla="*/ 474778 h 479077"/>
                <a:gd name="connsiteX200" fmla="*/ 754605 w 3785642"/>
                <a:gd name="connsiteY200" fmla="*/ 475274 h 479077"/>
                <a:gd name="connsiteX201" fmla="*/ 738235 w 3785642"/>
                <a:gd name="connsiteY201" fmla="*/ 473786 h 479077"/>
                <a:gd name="connsiteX202" fmla="*/ 721864 w 3785642"/>
                <a:gd name="connsiteY202" fmla="*/ 475274 h 479077"/>
                <a:gd name="connsiteX203" fmla="*/ 705494 w 3785642"/>
                <a:gd name="connsiteY203" fmla="*/ 475770 h 479077"/>
                <a:gd name="connsiteX204" fmla="*/ 689123 w 3785642"/>
                <a:gd name="connsiteY204" fmla="*/ 474282 h 479077"/>
                <a:gd name="connsiteX205" fmla="*/ 672753 w 3785642"/>
                <a:gd name="connsiteY205" fmla="*/ 475274 h 479077"/>
                <a:gd name="connsiteX206" fmla="*/ 656382 w 3785642"/>
                <a:gd name="connsiteY206" fmla="*/ 474778 h 479077"/>
                <a:gd name="connsiteX207" fmla="*/ 640011 w 3785642"/>
                <a:gd name="connsiteY207" fmla="*/ 475770 h 479077"/>
                <a:gd name="connsiteX208" fmla="*/ 623641 w 3785642"/>
                <a:gd name="connsiteY208" fmla="*/ 473786 h 479077"/>
                <a:gd name="connsiteX209" fmla="*/ 607270 w 3785642"/>
                <a:gd name="connsiteY209" fmla="*/ 474778 h 479077"/>
                <a:gd name="connsiteX210" fmla="*/ 590900 w 3785642"/>
                <a:gd name="connsiteY210" fmla="*/ 475274 h 479077"/>
                <a:gd name="connsiteX211" fmla="*/ 574529 w 3785642"/>
                <a:gd name="connsiteY211" fmla="*/ 474282 h 479077"/>
                <a:gd name="connsiteX212" fmla="*/ 558158 w 3785642"/>
                <a:gd name="connsiteY212" fmla="*/ 475274 h 479077"/>
                <a:gd name="connsiteX213" fmla="*/ 541788 w 3785642"/>
                <a:gd name="connsiteY213" fmla="*/ 475770 h 479077"/>
                <a:gd name="connsiteX214" fmla="*/ 525417 w 3785642"/>
                <a:gd name="connsiteY214" fmla="*/ 474282 h 479077"/>
                <a:gd name="connsiteX215" fmla="*/ 509047 w 3785642"/>
                <a:gd name="connsiteY215" fmla="*/ 473786 h 479077"/>
                <a:gd name="connsiteX216" fmla="*/ 492676 w 3785642"/>
                <a:gd name="connsiteY216" fmla="*/ 473786 h 479077"/>
                <a:gd name="connsiteX217" fmla="*/ 476306 w 3785642"/>
                <a:gd name="connsiteY217" fmla="*/ 474778 h 479077"/>
                <a:gd name="connsiteX218" fmla="*/ 459935 w 3785642"/>
                <a:gd name="connsiteY218" fmla="*/ 473786 h 479077"/>
                <a:gd name="connsiteX219" fmla="*/ 443565 w 3785642"/>
                <a:gd name="connsiteY219" fmla="*/ 474778 h 479077"/>
                <a:gd name="connsiteX220" fmla="*/ 427194 w 3785642"/>
                <a:gd name="connsiteY220" fmla="*/ 474282 h 479077"/>
                <a:gd name="connsiteX221" fmla="*/ 410823 w 3785642"/>
                <a:gd name="connsiteY221" fmla="*/ 473290 h 479077"/>
                <a:gd name="connsiteX222" fmla="*/ 394453 w 3785642"/>
                <a:gd name="connsiteY222" fmla="*/ 475770 h 479077"/>
                <a:gd name="connsiteX223" fmla="*/ 378082 w 3785642"/>
                <a:gd name="connsiteY223" fmla="*/ 475274 h 479077"/>
                <a:gd name="connsiteX224" fmla="*/ 361712 w 3785642"/>
                <a:gd name="connsiteY224" fmla="*/ 474778 h 479077"/>
                <a:gd name="connsiteX225" fmla="*/ 345341 w 3785642"/>
                <a:gd name="connsiteY225" fmla="*/ 476266 h 479077"/>
                <a:gd name="connsiteX226" fmla="*/ 328970 w 3785642"/>
                <a:gd name="connsiteY226" fmla="*/ 474282 h 479077"/>
                <a:gd name="connsiteX227" fmla="*/ 312600 w 3785642"/>
                <a:gd name="connsiteY227" fmla="*/ 475274 h 479077"/>
                <a:gd name="connsiteX228" fmla="*/ 296229 w 3785642"/>
                <a:gd name="connsiteY228" fmla="*/ 474282 h 479077"/>
                <a:gd name="connsiteX229" fmla="*/ 279859 w 3785642"/>
                <a:gd name="connsiteY229" fmla="*/ 475770 h 479077"/>
                <a:gd name="connsiteX230" fmla="*/ 263488 w 3785642"/>
                <a:gd name="connsiteY230" fmla="*/ 476266 h 479077"/>
                <a:gd name="connsiteX231" fmla="*/ 247118 w 3785642"/>
                <a:gd name="connsiteY231" fmla="*/ 476266 h 479077"/>
                <a:gd name="connsiteX232" fmla="*/ 230747 w 3785642"/>
                <a:gd name="connsiteY232" fmla="*/ 474778 h 479077"/>
                <a:gd name="connsiteX233" fmla="*/ 214376 w 3785642"/>
                <a:gd name="connsiteY233" fmla="*/ 474778 h 479077"/>
                <a:gd name="connsiteX234" fmla="*/ 198006 w 3785642"/>
                <a:gd name="connsiteY234" fmla="*/ 476762 h 479077"/>
                <a:gd name="connsiteX235" fmla="*/ 181635 w 3785642"/>
                <a:gd name="connsiteY235" fmla="*/ 476266 h 479077"/>
                <a:gd name="connsiteX236" fmla="*/ 165265 w 3785642"/>
                <a:gd name="connsiteY236" fmla="*/ 474778 h 479077"/>
                <a:gd name="connsiteX237" fmla="*/ 148894 w 3785642"/>
                <a:gd name="connsiteY237" fmla="*/ 476762 h 479077"/>
                <a:gd name="connsiteX238" fmla="*/ 132524 w 3785642"/>
                <a:gd name="connsiteY238" fmla="*/ 476266 h 479077"/>
                <a:gd name="connsiteX239" fmla="*/ 116153 w 3785642"/>
                <a:gd name="connsiteY239" fmla="*/ 475274 h 479077"/>
                <a:gd name="connsiteX240" fmla="*/ 99783 w 3785642"/>
                <a:gd name="connsiteY240" fmla="*/ 475274 h 479077"/>
                <a:gd name="connsiteX241" fmla="*/ 83412 w 3785642"/>
                <a:gd name="connsiteY241" fmla="*/ 475274 h 479077"/>
                <a:gd name="connsiteX242" fmla="*/ 67041 w 3785642"/>
                <a:gd name="connsiteY242" fmla="*/ 474778 h 479077"/>
                <a:gd name="connsiteX243" fmla="*/ 50671 w 3785642"/>
                <a:gd name="connsiteY243" fmla="*/ 475274 h 479077"/>
                <a:gd name="connsiteX244" fmla="*/ 34300 w 3785642"/>
                <a:gd name="connsiteY244" fmla="*/ 475274 h 479077"/>
                <a:gd name="connsiteX245" fmla="*/ 17930 w 3785642"/>
                <a:gd name="connsiteY245" fmla="*/ 475770 h 479077"/>
                <a:gd name="connsiteX246" fmla="*/ 567 w 3785642"/>
                <a:gd name="connsiteY246" fmla="*/ 475770 h 479077"/>
                <a:gd name="connsiteX247" fmla="*/ 12969 w 3785642"/>
                <a:gd name="connsiteY247" fmla="*/ 463368 h 479077"/>
                <a:gd name="connsiteX248" fmla="*/ 24379 w 3785642"/>
                <a:gd name="connsiteY248" fmla="*/ 451958 h 479077"/>
                <a:gd name="connsiteX249" fmla="*/ 35788 w 3785642"/>
                <a:gd name="connsiteY249" fmla="*/ 440053 h 479077"/>
                <a:gd name="connsiteX250" fmla="*/ 48686 w 3785642"/>
                <a:gd name="connsiteY250" fmla="*/ 430131 h 479077"/>
                <a:gd name="connsiteX251" fmla="*/ 59600 w 3785642"/>
                <a:gd name="connsiteY251" fmla="*/ 418225 h 479077"/>
                <a:gd name="connsiteX252" fmla="*/ 70514 w 3785642"/>
                <a:gd name="connsiteY252" fmla="*/ 405823 h 479077"/>
                <a:gd name="connsiteX253" fmla="*/ 83412 w 3785642"/>
                <a:gd name="connsiteY253" fmla="*/ 395406 h 479077"/>
                <a:gd name="connsiteX254" fmla="*/ 94822 w 3785642"/>
                <a:gd name="connsiteY254" fmla="*/ 383500 h 479077"/>
                <a:gd name="connsiteX255" fmla="*/ 106728 w 3785642"/>
                <a:gd name="connsiteY255" fmla="*/ 372090 h 479077"/>
                <a:gd name="connsiteX256" fmla="*/ 117145 w 3785642"/>
                <a:gd name="connsiteY256" fmla="*/ 359688 h 479077"/>
                <a:gd name="connsiteX257" fmla="*/ 128555 w 3785642"/>
                <a:gd name="connsiteY257" fmla="*/ 348278 h 479077"/>
                <a:gd name="connsiteX258" fmla="*/ 140461 w 3785642"/>
                <a:gd name="connsiteY258" fmla="*/ 336868 h 479077"/>
                <a:gd name="connsiteX259" fmla="*/ 152863 w 3785642"/>
                <a:gd name="connsiteY259" fmla="*/ 326451 h 479077"/>
                <a:gd name="connsiteX260" fmla="*/ 164769 w 3785642"/>
                <a:gd name="connsiteY260" fmla="*/ 315041 h 479077"/>
                <a:gd name="connsiteX261" fmla="*/ 176178 w 3785642"/>
                <a:gd name="connsiteY261" fmla="*/ 303135 h 479077"/>
                <a:gd name="connsiteX262" fmla="*/ 188084 w 3785642"/>
                <a:gd name="connsiteY262" fmla="*/ 291725 h 479077"/>
                <a:gd name="connsiteX263" fmla="*/ 199494 w 3785642"/>
                <a:gd name="connsiteY263" fmla="*/ 280315 h 479077"/>
                <a:gd name="connsiteX264" fmla="*/ 210904 w 3785642"/>
                <a:gd name="connsiteY264" fmla="*/ 268906 h 479077"/>
                <a:gd name="connsiteX265" fmla="*/ 221818 w 3785642"/>
                <a:gd name="connsiteY265" fmla="*/ 256504 h 479077"/>
                <a:gd name="connsiteX266" fmla="*/ 233724 w 3785642"/>
                <a:gd name="connsiteY266" fmla="*/ 245094 h 479077"/>
                <a:gd name="connsiteX267" fmla="*/ 244141 w 3785642"/>
                <a:gd name="connsiteY267" fmla="*/ 232692 h 479077"/>
                <a:gd name="connsiteX268" fmla="*/ 257039 w 3785642"/>
                <a:gd name="connsiteY268" fmla="*/ 222770 h 479077"/>
                <a:gd name="connsiteX269" fmla="*/ 266961 w 3785642"/>
                <a:gd name="connsiteY269" fmla="*/ 209376 h 479077"/>
                <a:gd name="connsiteX270" fmla="*/ 278371 w 3785642"/>
                <a:gd name="connsiteY270" fmla="*/ 197966 h 479077"/>
                <a:gd name="connsiteX271" fmla="*/ 291269 w 3785642"/>
                <a:gd name="connsiteY271" fmla="*/ 188045 h 479077"/>
                <a:gd name="connsiteX272" fmla="*/ 301686 w 3785642"/>
                <a:gd name="connsiteY272" fmla="*/ 175147 h 479077"/>
                <a:gd name="connsiteX273" fmla="*/ 313592 w 3785642"/>
                <a:gd name="connsiteY273" fmla="*/ 163737 h 479077"/>
                <a:gd name="connsiteX274" fmla="*/ 325994 w 3785642"/>
                <a:gd name="connsiteY274" fmla="*/ 153319 h 479077"/>
                <a:gd name="connsiteX275" fmla="*/ 337404 w 3785642"/>
                <a:gd name="connsiteY275" fmla="*/ 141910 h 479077"/>
                <a:gd name="connsiteX276" fmla="*/ 347325 w 3785642"/>
                <a:gd name="connsiteY276" fmla="*/ 129012 h 479077"/>
                <a:gd name="connsiteX277" fmla="*/ 360224 w 3785642"/>
                <a:gd name="connsiteY277" fmla="*/ 118594 h 479077"/>
                <a:gd name="connsiteX278" fmla="*/ 371137 w 3785642"/>
                <a:gd name="connsiteY278" fmla="*/ 106192 h 479077"/>
                <a:gd name="connsiteX279" fmla="*/ 382051 w 3785642"/>
                <a:gd name="connsiteY279" fmla="*/ 93790 h 479077"/>
                <a:gd name="connsiteX280" fmla="*/ 393957 w 3785642"/>
                <a:gd name="connsiteY280" fmla="*/ 82380 h 479077"/>
                <a:gd name="connsiteX281" fmla="*/ 405366 w 3785642"/>
                <a:gd name="connsiteY281" fmla="*/ 70475 h 479077"/>
                <a:gd name="connsiteX282" fmla="*/ 417272 w 3785642"/>
                <a:gd name="connsiteY282" fmla="*/ 59561 h 479077"/>
                <a:gd name="connsiteX283" fmla="*/ 429674 w 3785642"/>
                <a:gd name="connsiteY283" fmla="*/ 48647 h 479077"/>
                <a:gd name="connsiteX284" fmla="*/ 440092 w 3785642"/>
                <a:gd name="connsiteY284" fmla="*/ 35749 h 479077"/>
                <a:gd name="connsiteX285" fmla="*/ 452494 w 3785642"/>
                <a:gd name="connsiteY285" fmla="*/ 24835 h 479077"/>
                <a:gd name="connsiteX286" fmla="*/ 463904 w 3785642"/>
                <a:gd name="connsiteY286" fmla="*/ 12929 h 479077"/>
                <a:gd name="connsiteX287" fmla="*/ 475313 w 3785642"/>
                <a:gd name="connsiteY287" fmla="*/ 1024 h 479077"/>
                <a:gd name="connsiteX288" fmla="*/ 491684 w 3785642"/>
                <a:gd name="connsiteY288" fmla="*/ 2512 h 479077"/>
                <a:gd name="connsiteX289" fmla="*/ 508055 w 3785642"/>
                <a:gd name="connsiteY289" fmla="*/ 2512 h 479077"/>
                <a:gd name="connsiteX290" fmla="*/ 524425 w 3785642"/>
                <a:gd name="connsiteY290" fmla="*/ 2512 h 479077"/>
                <a:gd name="connsiteX291" fmla="*/ 540796 w 3785642"/>
                <a:gd name="connsiteY291" fmla="*/ 1024 h 479077"/>
                <a:gd name="connsiteX292" fmla="*/ 557166 w 3785642"/>
                <a:gd name="connsiteY292" fmla="*/ 2512 h 479077"/>
                <a:gd name="connsiteX293" fmla="*/ 573537 w 3785642"/>
                <a:gd name="connsiteY293" fmla="*/ 1024 h 479077"/>
                <a:gd name="connsiteX294" fmla="*/ 589908 w 3785642"/>
                <a:gd name="connsiteY294" fmla="*/ 527 h 479077"/>
                <a:gd name="connsiteX295" fmla="*/ 606278 w 3785642"/>
                <a:gd name="connsiteY295" fmla="*/ 1520 h 479077"/>
                <a:gd name="connsiteX296" fmla="*/ 622649 w 3785642"/>
                <a:gd name="connsiteY296" fmla="*/ 1520 h 479077"/>
                <a:gd name="connsiteX297" fmla="*/ 639019 w 3785642"/>
                <a:gd name="connsiteY297" fmla="*/ 2016 h 479077"/>
                <a:gd name="connsiteX298" fmla="*/ 655390 w 3785642"/>
                <a:gd name="connsiteY298" fmla="*/ 527 h 479077"/>
                <a:gd name="connsiteX299" fmla="*/ 671760 w 3785642"/>
                <a:gd name="connsiteY299" fmla="*/ 1520 h 479077"/>
                <a:gd name="connsiteX300" fmla="*/ 688131 w 3785642"/>
                <a:gd name="connsiteY300" fmla="*/ 2512 h 479077"/>
                <a:gd name="connsiteX301" fmla="*/ 704501 w 3785642"/>
                <a:gd name="connsiteY301" fmla="*/ 1024 h 479077"/>
                <a:gd name="connsiteX302" fmla="*/ 720872 w 3785642"/>
                <a:gd name="connsiteY302" fmla="*/ 1520 h 479077"/>
                <a:gd name="connsiteX303" fmla="*/ 737243 w 3785642"/>
                <a:gd name="connsiteY303" fmla="*/ 2016 h 479077"/>
                <a:gd name="connsiteX304" fmla="*/ 753613 w 3785642"/>
                <a:gd name="connsiteY304" fmla="*/ 1024 h 479077"/>
                <a:gd name="connsiteX305" fmla="*/ 769984 w 3785642"/>
                <a:gd name="connsiteY305" fmla="*/ 527 h 479077"/>
                <a:gd name="connsiteX306" fmla="*/ 786354 w 3785642"/>
                <a:gd name="connsiteY306" fmla="*/ 1520 h 479077"/>
                <a:gd name="connsiteX307" fmla="*/ 802725 w 3785642"/>
                <a:gd name="connsiteY307" fmla="*/ 527 h 479077"/>
                <a:gd name="connsiteX308" fmla="*/ 819096 w 3785642"/>
                <a:gd name="connsiteY308" fmla="*/ 2512 h 479077"/>
                <a:gd name="connsiteX309" fmla="*/ 835466 w 3785642"/>
                <a:gd name="connsiteY309" fmla="*/ 527 h 479077"/>
                <a:gd name="connsiteX310" fmla="*/ 851837 w 3785642"/>
                <a:gd name="connsiteY310" fmla="*/ 1520 h 479077"/>
                <a:gd name="connsiteX311" fmla="*/ 868207 w 3785642"/>
                <a:gd name="connsiteY311" fmla="*/ 2016 h 479077"/>
                <a:gd name="connsiteX312" fmla="*/ 884578 w 3785642"/>
                <a:gd name="connsiteY312" fmla="*/ 2512 h 479077"/>
                <a:gd name="connsiteX313" fmla="*/ 900948 w 3785642"/>
                <a:gd name="connsiteY313" fmla="*/ 1520 h 479077"/>
                <a:gd name="connsiteX314" fmla="*/ 917319 w 3785642"/>
                <a:gd name="connsiteY314" fmla="*/ 1024 h 479077"/>
                <a:gd name="connsiteX315" fmla="*/ 933689 w 3785642"/>
                <a:gd name="connsiteY315" fmla="*/ 2512 h 479077"/>
                <a:gd name="connsiteX316" fmla="*/ 950060 w 3785642"/>
                <a:gd name="connsiteY316" fmla="*/ 1520 h 479077"/>
                <a:gd name="connsiteX317" fmla="*/ 966431 w 3785642"/>
                <a:gd name="connsiteY317" fmla="*/ 2016 h 479077"/>
                <a:gd name="connsiteX318" fmla="*/ 982801 w 3785642"/>
                <a:gd name="connsiteY318" fmla="*/ 2512 h 479077"/>
                <a:gd name="connsiteX319" fmla="*/ 999172 w 3785642"/>
                <a:gd name="connsiteY319" fmla="*/ 1520 h 479077"/>
                <a:gd name="connsiteX320" fmla="*/ 1015542 w 3785642"/>
                <a:gd name="connsiteY320" fmla="*/ 2512 h 479077"/>
                <a:gd name="connsiteX321" fmla="*/ 1031913 w 3785642"/>
                <a:gd name="connsiteY321" fmla="*/ 1520 h 479077"/>
                <a:gd name="connsiteX322" fmla="*/ 1048283 w 3785642"/>
                <a:gd name="connsiteY322" fmla="*/ 2016 h 479077"/>
                <a:gd name="connsiteX323" fmla="*/ 1064654 w 3785642"/>
                <a:gd name="connsiteY323" fmla="*/ 3504 h 479077"/>
                <a:gd name="connsiteX324" fmla="*/ 1081025 w 3785642"/>
                <a:gd name="connsiteY324" fmla="*/ 2016 h 479077"/>
                <a:gd name="connsiteX325" fmla="*/ 1097395 w 3785642"/>
                <a:gd name="connsiteY325" fmla="*/ 2512 h 479077"/>
                <a:gd name="connsiteX326" fmla="*/ 1113766 w 3785642"/>
                <a:gd name="connsiteY326" fmla="*/ 2512 h 479077"/>
                <a:gd name="connsiteX327" fmla="*/ 1130136 w 3785642"/>
                <a:gd name="connsiteY327" fmla="*/ 3504 h 479077"/>
                <a:gd name="connsiteX328" fmla="*/ 1146507 w 3785642"/>
                <a:gd name="connsiteY328" fmla="*/ 1520 h 479077"/>
                <a:gd name="connsiteX329" fmla="*/ 1162878 w 3785642"/>
                <a:gd name="connsiteY329" fmla="*/ 3008 h 479077"/>
                <a:gd name="connsiteX330" fmla="*/ 1179248 w 3785642"/>
                <a:gd name="connsiteY330" fmla="*/ 4000 h 479077"/>
                <a:gd name="connsiteX331" fmla="*/ 1195619 w 3785642"/>
                <a:gd name="connsiteY331" fmla="*/ 3504 h 479077"/>
                <a:gd name="connsiteX332" fmla="*/ 1211989 w 3785642"/>
                <a:gd name="connsiteY332" fmla="*/ 1520 h 479077"/>
                <a:gd name="connsiteX333" fmla="*/ 1228360 w 3785642"/>
                <a:gd name="connsiteY333" fmla="*/ 3504 h 479077"/>
                <a:gd name="connsiteX334" fmla="*/ 1244730 w 3785642"/>
                <a:gd name="connsiteY334" fmla="*/ 1520 h 479077"/>
                <a:gd name="connsiteX335" fmla="*/ 1261101 w 3785642"/>
                <a:gd name="connsiteY335" fmla="*/ 2512 h 479077"/>
                <a:gd name="connsiteX336" fmla="*/ 1277471 w 3785642"/>
                <a:gd name="connsiteY336" fmla="*/ 3504 h 479077"/>
                <a:gd name="connsiteX337" fmla="*/ 1293842 w 3785642"/>
                <a:gd name="connsiteY337" fmla="*/ 4000 h 479077"/>
                <a:gd name="connsiteX338" fmla="*/ 1310213 w 3785642"/>
                <a:gd name="connsiteY338" fmla="*/ 1520 h 479077"/>
                <a:gd name="connsiteX339" fmla="*/ 1326583 w 3785642"/>
                <a:gd name="connsiteY339" fmla="*/ 2016 h 479077"/>
                <a:gd name="connsiteX340" fmla="*/ 1342954 w 3785642"/>
                <a:gd name="connsiteY340" fmla="*/ 3008 h 479077"/>
                <a:gd name="connsiteX341" fmla="*/ 1359324 w 3785642"/>
                <a:gd name="connsiteY341" fmla="*/ 3008 h 479077"/>
                <a:gd name="connsiteX342" fmla="*/ 1375695 w 3785642"/>
                <a:gd name="connsiteY342" fmla="*/ 2512 h 479077"/>
                <a:gd name="connsiteX343" fmla="*/ 1392066 w 3785642"/>
                <a:gd name="connsiteY343" fmla="*/ 2512 h 479077"/>
                <a:gd name="connsiteX344" fmla="*/ 1408436 w 3785642"/>
                <a:gd name="connsiteY344" fmla="*/ 3504 h 479077"/>
                <a:gd name="connsiteX345" fmla="*/ 1424807 w 3785642"/>
                <a:gd name="connsiteY345" fmla="*/ 3504 h 479077"/>
                <a:gd name="connsiteX346" fmla="*/ 1441177 w 3785642"/>
                <a:gd name="connsiteY346" fmla="*/ 1520 h 479077"/>
                <a:gd name="connsiteX347" fmla="*/ 1457548 w 3785642"/>
                <a:gd name="connsiteY347" fmla="*/ 2512 h 479077"/>
                <a:gd name="connsiteX348" fmla="*/ 1473919 w 3785642"/>
                <a:gd name="connsiteY348" fmla="*/ 2016 h 479077"/>
                <a:gd name="connsiteX349" fmla="*/ 1490289 w 3785642"/>
                <a:gd name="connsiteY349" fmla="*/ 2016 h 479077"/>
                <a:gd name="connsiteX350" fmla="*/ 1506660 w 3785642"/>
                <a:gd name="connsiteY350" fmla="*/ 1520 h 479077"/>
                <a:gd name="connsiteX351" fmla="*/ 1523030 w 3785642"/>
                <a:gd name="connsiteY351" fmla="*/ 3504 h 479077"/>
                <a:gd name="connsiteX352" fmla="*/ 1539401 w 3785642"/>
                <a:gd name="connsiteY352" fmla="*/ 3008 h 479077"/>
                <a:gd name="connsiteX353" fmla="*/ 1555771 w 3785642"/>
                <a:gd name="connsiteY353" fmla="*/ 3008 h 479077"/>
                <a:gd name="connsiteX354" fmla="*/ 1572142 w 3785642"/>
                <a:gd name="connsiteY354" fmla="*/ 2512 h 479077"/>
                <a:gd name="connsiteX355" fmla="*/ 1588512 w 3785642"/>
                <a:gd name="connsiteY355" fmla="*/ 2016 h 479077"/>
                <a:gd name="connsiteX356" fmla="*/ 1604883 w 3785642"/>
                <a:gd name="connsiteY356" fmla="*/ 3008 h 479077"/>
                <a:gd name="connsiteX357" fmla="*/ 1621253 w 3785642"/>
                <a:gd name="connsiteY357" fmla="*/ 3008 h 479077"/>
                <a:gd name="connsiteX358" fmla="*/ 1637624 w 3785642"/>
                <a:gd name="connsiteY35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05646 w 3785642"/>
                <a:gd name="connsiteY27" fmla="*/ 79404 h 479077"/>
                <a:gd name="connsiteX28" fmla="*/ 3393740 w 3785642"/>
                <a:gd name="connsiteY28" fmla="*/ 68490 h 479077"/>
                <a:gd name="connsiteX29" fmla="*/ 3382330 w 3785642"/>
                <a:gd name="connsiteY29" fmla="*/ 56584 h 479077"/>
                <a:gd name="connsiteX30" fmla="*/ 3370921 w 3785642"/>
                <a:gd name="connsiteY30" fmla="*/ 44678 h 479077"/>
                <a:gd name="connsiteX31" fmla="*/ 3313375 w 3785642"/>
                <a:gd name="connsiteY31" fmla="*/ 10945 h 479077"/>
                <a:gd name="connsiteX32" fmla="*/ 3300973 w 3785642"/>
                <a:gd name="connsiteY32" fmla="*/ 21363 h 479077"/>
                <a:gd name="connsiteX33" fmla="*/ 3289068 w 3785642"/>
                <a:gd name="connsiteY33" fmla="*/ 32276 h 479077"/>
                <a:gd name="connsiteX34" fmla="*/ 3277658 w 3785642"/>
                <a:gd name="connsiteY34" fmla="*/ 43686 h 479077"/>
                <a:gd name="connsiteX35" fmla="*/ 3266248 w 3785642"/>
                <a:gd name="connsiteY35" fmla="*/ 55592 h 479077"/>
                <a:gd name="connsiteX36" fmla="*/ 3255830 w 3785642"/>
                <a:gd name="connsiteY36" fmla="*/ 68490 h 479077"/>
                <a:gd name="connsiteX37" fmla="*/ 3243924 w 3785642"/>
                <a:gd name="connsiteY37" fmla="*/ 79900 h 479077"/>
                <a:gd name="connsiteX38" fmla="*/ 3231522 w 3785642"/>
                <a:gd name="connsiteY38" fmla="*/ 90814 h 479077"/>
                <a:gd name="connsiteX39" fmla="*/ 3220609 w 3785642"/>
                <a:gd name="connsiteY39" fmla="*/ 102720 h 479077"/>
                <a:gd name="connsiteX40" fmla="*/ 3208207 w 3785642"/>
                <a:gd name="connsiteY40" fmla="*/ 113137 h 479077"/>
                <a:gd name="connsiteX41" fmla="*/ 3197293 w 3785642"/>
                <a:gd name="connsiteY41" fmla="*/ 125043 h 479077"/>
                <a:gd name="connsiteX42" fmla="*/ 3185387 w 3785642"/>
                <a:gd name="connsiteY42" fmla="*/ 136453 h 479077"/>
                <a:gd name="connsiteX43" fmla="*/ 3174970 w 3785642"/>
                <a:gd name="connsiteY43" fmla="*/ 148855 h 479077"/>
                <a:gd name="connsiteX44" fmla="*/ 3162071 w 3785642"/>
                <a:gd name="connsiteY44" fmla="*/ 159272 h 479077"/>
                <a:gd name="connsiteX45" fmla="*/ 3151158 w 3785642"/>
                <a:gd name="connsiteY45" fmla="*/ 171674 h 479077"/>
                <a:gd name="connsiteX46" fmla="*/ 3139252 w 3785642"/>
                <a:gd name="connsiteY46" fmla="*/ 182588 h 479077"/>
                <a:gd name="connsiteX47" fmla="*/ 3127843 w 3785642"/>
                <a:gd name="connsiteY47" fmla="*/ 194494 h 479077"/>
                <a:gd name="connsiteX48" fmla="*/ 3116432 w 3785642"/>
                <a:gd name="connsiteY48" fmla="*/ 205904 h 479077"/>
                <a:gd name="connsiteX49" fmla="*/ 3105022 w 3785642"/>
                <a:gd name="connsiteY49" fmla="*/ 217810 h 479077"/>
                <a:gd name="connsiteX50" fmla="*/ 3093117 w 3785642"/>
                <a:gd name="connsiteY50" fmla="*/ 229219 h 479077"/>
                <a:gd name="connsiteX51" fmla="*/ 3081707 w 3785642"/>
                <a:gd name="connsiteY51" fmla="*/ 240629 h 479077"/>
                <a:gd name="connsiteX52" fmla="*/ 3069305 w 3785642"/>
                <a:gd name="connsiteY52" fmla="*/ 251543 h 479077"/>
                <a:gd name="connsiteX53" fmla="*/ 3057895 w 3785642"/>
                <a:gd name="connsiteY53" fmla="*/ 263449 h 479077"/>
                <a:gd name="connsiteX54" fmla="*/ 3046486 w 3785642"/>
                <a:gd name="connsiteY54" fmla="*/ 275355 h 479077"/>
                <a:gd name="connsiteX55" fmla="*/ 3035572 w 3785642"/>
                <a:gd name="connsiteY55" fmla="*/ 287260 h 479077"/>
                <a:gd name="connsiteX56" fmla="*/ 3024658 w 3785642"/>
                <a:gd name="connsiteY56" fmla="*/ 299166 h 479077"/>
                <a:gd name="connsiteX57" fmla="*/ 3013248 w 3785642"/>
                <a:gd name="connsiteY57" fmla="*/ 311072 h 479077"/>
                <a:gd name="connsiteX58" fmla="*/ 3000350 w 3785642"/>
                <a:gd name="connsiteY58" fmla="*/ 321490 h 479077"/>
                <a:gd name="connsiteX59" fmla="*/ 2988941 w 3785642"/>
                <a:gd name="connsiteY59" fmla="*/ 333396 h 479077"/>
                <a:gd name="connsiteX60" fmla="*/ 2976539 w 3785642"/>
                <a:gd name="connsiteY60" fmla="*/ 344309 h 479077"/>
                <a:gd name="connsiteX61" fmla="*/ 2965129 w 3785642"/>
                <a:gd name="connsiteY61" fmla="*/ 356215 h 479077"/>
                <a:gd name="connsiteX62" fmla="*/ 2953223 w 3785642"/>
                <a:gd name="connsiteY62" fmla="*/ 367625 h 479077"/>
                <a:gd name="connsiteX63" fmla="*/ 2941813 w 3785642"/>
                <a:gd name="connsiteY63" fmla="*/ 379531 h 479077"/>
                <a:gd name="connsiteX64" fmla="*/ 2931395 w 3785642"/>
                <a:gd name="connsiteY64" fmla="*/ 392429 h 479077"/>
                <a:gd name="connsiteX65" fmla="*/ 2918497 w 3785642"/>
                <a:gd name="connsiteY65" fmla="*/ 402847 h 479077"/>
                <a:gd name="connsiteX66" fmla="*/ 2907584 w 3785642"/>
                <a:gd name="connsiteY66" fmla="*/ 415249 h 479077"/>
                <a:gd name="connsiteX67" fmla="*/ 2896174 w 3785642"/>
                <a:gd name="connsiteY67" fmla="*/ 426658 h 479077"/>
                <a:gd name="connsiteX68" fmla="*/ 2884268 w 3785642"/>
                <a:gd name="connsiteY68" fmla="*/ 438068 h 479077"/>
                <a:gd name="connsiteX69" fmla="*/ 2873354 w 3785642"/>
                <a:gd name="connsiteY69" fmla="*/ 450470 h 479077"/>
                <a:gd name="connsiteX70" fmla="*/ 2860952 w 3785642"/>
                <a:gd name="connsiteY70" fmla="*/ 461384 h 479077"/>
                <a:gd name="connsiteX71" fmla="*/ 2850039 w 3785642"/>
                <a:gd name="connsiteY71" fmla="*/ 473786 h 479077"/>
                <a:gd name="connsiteX72" fmla="*/ 2833668 w 3785642"/>
                <a:gd name="connsiteY72" fmla="*/ 473786 h 479077"/>
                <a:gd name="connsiteX73" fmla="*/ 2817297 w 3785642"/>
                <a:gd name="connsiteY73" fmla="*/ 473290 h 479077"/>
                <a:gd name="connsiteX74" fmla="*/ 2800927 w 3785642"/>
                <a:gd name="connsiteY74" fmla="*/ 473290 h 479077"/>
                <a:gd name="connsiteX75" fmla="*/ 2784556 w 3785642"/>
                <a:gd name="connsiteY75" fmla="*/ 473786 h 479077"/>
                <a:gd name="connsiteX76" fmla="*/ 2768186 w 3785642"/>
                <a:gd name="connsiteY76" fmla="*/ 474282 h 479077"/>
                <a:gd name="connsiteX77" fmla="*/ 2751815 w 3785642"/>
                <a:gd name="connsiteY77" fmla="*/ 474282 h 479077"/>
                <a:gd name="connsiteX78" fmla="*/ 2735444 w 3785642"/>
                <a:gd name="connsiteY78" fmla="*/ 473290 h 479077"/>
                <a:gd name="connsiteX79" fmla="*/ 2719074 w 3785642"/>
                <a:gd name="connsiteY79" fmla="*/ 474282 h 479077"/>
                <a:gd name="connsiteX80" fmla="*/ 2702703 w 3785642"/>
                <a:gd name="connsiteY80" fmla="*/ 472298 h 479077"/>
                <a:gd name="connsiteX81" fmla="*/ 2686333 w 3785642"/>
                <a:gd name="connsiteY81" fmla="*/ 472794 h 479077"/>
                <a:gd name="connsiteX82" fmla="*/ 2669962 w 3785642"/>
                <a:gd name="connsiteY82" fmla="*/ 474282 h 479077"/>
                <a:gd name="connsiteX83" fmla="*/ 2653592 w 3785642"/>
                <a:gd name="connsiteY83" fmla="*/ 472298 h 479077"/>
                <a:gd name="connsiteX84" fmla="*/ 2637221 w 3785642"/>
                <a:gd name="connsiteY84" fmla="*/ 474282 h 479077"/>
                <a:gd name="connsiteX85" fmla="*/ 2620851 w 3785642"/>
                <a:gd name="connsiteY85" fmla="*/ 474282 h 479077"/>
                <a:gd name="connsiteX86" fmla="*/ 2604480 w 3785642"/>
                <a:gd name="connsiteY86" fmla="*/ 472298 h 479077"/>
                <a:gd name="connsiteX87" fmla="*/ 2588109 w 3785642"/>
                <a:gd name="connsiteY87" fmla="*/ 473786 h 479077"/>
                <a:gd name="connsiteX88" fmla="*/ 2571739 w 3785642"/>
                <a:gd name="connsiteY88" fmla="*/ 472298 h 479077"/>
                <a:gd name="connsiteX89" fmla="*/ 2555368 w 3785642"/>
                <a:gd name="connsiteY89" fmla="*/ 473290 h 479077"/>
                <a:gd name="connsiteX90" fmla="*/ 2538998 w 3785642"/>
                <a:gd name="connsiteY90" fmla="*/ 474282 h 479077"/>
                <a:gd name="connsiteX91" fmla="*/ 2522627 w 3785642"/>
                <a:gd name="connsiteY91" fmla="*/ 473290 h 479077"/>
                <a:gd name="connsiteX92" fmla="*/ 2506257 w 3785642"/>
                <a:gd name="connsiteY92" fmla="*/ 474282 h 479077"/>
                <a:gd name="connsiteX93" fmla="*/ 2489886 w 3785642"/>
                <a:gd name="connsiteY93" fmla="*/ 473786 h 479077"/>
                <a:gd name="connsiteX94" fmla="*/ 2473516 w 3785642"/>
                <a:gd name="connsiteY94" fmla="*/ 474282 h 479077"/>
                <a:gd name="connsiteX95" fmla="*/ 2457145 w 3785642"/>
                <a:gd name="connsiteY95" fmla="*/ 472794 h 479077"/>
                <a:gd name="connsiteX96" fmla="*/ 2440775 w 3785642"/>
                <a:gd name="connsiteY96" fmla="*/ 472298 h 479077"/>
                <a:gd name="connsiteX97" fmla="*/ 2424404 w 3785642"/>
                <a:gd name="connsiteY97" fmla="*/ 473786 h 479077"/>
                <a:gd name="connsiteX98" fmla="*/ 2408033 w 3785642"/>
                <a:gd name="connsiteY98" fmla="*/ 472794 h 479077"/>
                <a:gd name="connsiteX99" fmla="*/ 2391663 w 3785642"/>
                <a:gd name="connsiteY99" fmla="*/ 473290 h 479077"/>
                <a:gd name="connsiteX100" fmla="*/ 2375292 w 3785642"/>
                <a:gd name="connsiteY100" fmla="*/ 473290 h 479077"/>
                <a:gd name="connsiteX101" fmla="*/ 2358922 w 3785642"/>
                <a:gd name="connsiteY101" fmla="*/ 472794 h 479077"/>
                <a:gd name="connsiteX102" fmla="*/ 2342551 w 3785642"/>
                <a:gd name="connsiteY102" fmla="*/ 472298 h 479077"/>
                <a:gd name="connsiteX103" fmla="*/ 2326180 w 3785642"/>
                <a:gd name="connsiteY103" fmla="*/ 473786 h 479077"/>
                <a:gd name="connsiteX104" fmla="*/ 2309810 w 3785642"/>
                <a:gd name="connsiteY104" fmla="*/ 473786 h 479077"/>
                <a:gd name="connsiteX105" fmla="*/ 2293439 w 3785642"/>
                <a:gd name="connsiteY105" fmla="*/ 473786 h 479077"/>
                <a:gd name="connsiteX106" fmla="*/ 2277069 w 3785642"/>
                <a:gd name="connsiteY106" fmla="*/ 472794 h 479077"/>
                <a:gd name="connsiteX107" fmla="*/ 2260698 w 3785642"/>
                <a:gd name="connsiteY107" fmla="*/ 474282 h 479077"/>
                <a:gd name="connsiteX108" fmla="*/ 2244327 w 3785642"/>
                <a:gd name="connsiteY108" fmla="*/ 472298 h 479077"/>
                <a:gd name="connsiteX109" fmla="*/ 2227957 w 3785642"/>
                <a:gd name="connsiteY109" fmla="*/ 474282 h 479077"/>
                <a:gd name="connsiteX110" fmla="*/ 2211586 w 3785642"/>
                <a:gd name="connsiteY110" fmla="*/ 473290 h 479077"/>
                <a:gd name="connsiteX111" fmla="*/ 2195216 w 3785642"/>
                <a:gd name="connsiteY111" fmla="*/ 474282 h 479077"/>
                <a:gd name="connsiteX112" fmla="*/ 2178845 w 3785642"/>
                <a:gd name="connsiteY112" fmla="*/ 472794 h 479077"/>
                <a:gd name="connsiteX113" fmla="*/ 2162474 w 3785642"/>
                <a:gd name="connsiteY113" fmla="*/ 474778 h 479077"/>
                <a:gd name="connsiteX114" fmla="*/ 2146104 w 3785642"/>
                <a:gd name="connsiteY114" fmla="*/ 473290 h 479077"/>
                <a:gd name="connsiteX115" fmla="*/ 2129733 w 3785642"/>
                <a:gd name="connsiteY115" fmla="*/ 474778 h 479077"/>
                <a:gd name="connsiteX116" fmla="*/ 2113363 w 3785642"/>
                <a:gd name="connsiteY116" fmla="*/ 474778 h 479077"/>
                <a:gd name="connsiteX117" fmla="*/ 2096992 w 3785642"/>
                <a:gd name="connsiteY117" fmla="*/ 474778 h 479077"/>
                <a:gd name="connsiteX118" fmla="*/ 2080621 w 3785642"/>
                <a:gd name="connsiteY118" fmla="*/ 474282 h 479077"/>
                <a:gd name="connsiteX119" fmla="*/ 2064251 w 3785642"/>
                <a:gd name="connsiteY119" fmla="*/ 472794 h 479077"/>
                <a:gd name="connsiteX120" fmla="*/ 2047880 w 3785642"/>
                <a:gd name="connsiteY120" fmla="*/ 474778 h 479077"/>
                <a:gd name="connsiteX121" fmla="*/ 2031510 w 3785642"/>
                <a:gd name="connsiteY121" fmla="*/ 474778 h 479077"/>
                <a:gd name="connsiteX122" fmla="*/ 2015139 w 3785642"/>
                <a:gd name="connsiteY122" fmla="*/ 474778 h 479077"/>
                <a:gd name="connsiteX123" fmla="*/ 1998769 w 3785642"/>
                <a:gd name="connsiteY123" fmla="*/ 474282 h 479077"/>
                <a:gd name="connsiteX124" fmla="*/ 1982398 w 3785642"/>
                <a:gd name="connsiteY124" fmla="*/ 473786 h 479077"/>
                <a:gd name="connsiteX125" fmla="*/ 1966028 w 3785642"/>
                <a:gd name="connsiteY125" fmla="*/ 473786 h 479077"/>
                <a:gd name="connsiteX126" fmla="*/ 1949657 w 3785642"/>
                <a:gd name="connsiteY126" fmla="*/ 472794 h 479077"/>
                <a:gd name="connsiteX127" fmla="*/ 1933287 w 3785642"/>
                <a:gd name="connsiteY127" fmla="*/ 473290 h 479077"/>
                <a:gd name="connsiteX128" fmla="*/ 1916916 w 3785642"/>
                <a:gd name="connsiteY128" fmla="*/ 474778 h 479077"/>
                <a:gd name="connsiteX129" fmla="*/ 1900546 w 3785642"/>
                <a:gd name="connsiteY129" fmla="*/ 472794 h 479077"/>
                <a:gd name="connsiteX130" fmla="*/ 1884175 w 3785642"/>
                <a:gd name="connsiteY130" fmla="*/ 473786 h 479077"/>
                <a:gd name="connsiteX131" fmla="*/ 1867804 w 3785642"/>
                <a:gd name="connsiteY131" fmla="*/ 474778 h 479077"/>
                <a:gd name="connsiteX132" fmla="*/ 1851434 w 3785642"/>
                <a:gd name="connsiteY132" fmla="*/ 474778 h 479077"/>
                <a:gd name="connsiteX133" fmla="*/ 1835063 w 3785642"/>
                <a:gd name="connsiteY133" fmla="*/ 474778 h 479077"/>
                <a:gd name="connsiteX134" fmla="*/ 1818693 w 3785642"/>
                <a:gd name="connsiteY134" fmla="*/ 474282 h 479077"/>
                <a:gd name="connsiteX135" fmla="*/ 1802322 w 3785642"/>
                <a:gd name="connsiteY135" fmla="*/ 472794 h 479077"/>
                <a:gd name="connsiteX136" fmla="*/ 1785951 w 3785642"/>
                <a:gd name="connsiteY136" fmla="*/ 473786 h 479077"/>
                <a:gd name="connsiteX137" fmla="*/ 1769581 w 3785642"/>
                <a:gd name="connsiteY137" fmla="*/ 473290 h 479077"/>
                <a:gd name="connsiteX138" fmla="*/ 1753210 w 3785642"/>
                <a:gd name="connsiteY138" fmla="*/ 472298 h 479077"/>
                <a:gd name="connsiteX139" fmla="*/ 1736840 w 3785642"/>
                <a:gd name="connsiteY139" fmla="*/ 473290 h 479077"/>
                <a:gd name="connsiteX140" fmla="*/ 1720469 w 3785642"/>
                <a:gd name="connsiteY140" fmla="*/ 474778 h 479077"/>
                <a:gd name="connsiteX141" fmla="*/ 1704098 w 3785642"/>
                <a:gd name="connsiteY141" fmla="*/ 472794 h 479077"/>
                <a:gd name="connsiteX142" fmla="*/ 1687728 w 3785642"/>
                <a:gd name="connsiteY142" fmla="*/ 474778 h 479077"/>
                <a:gd name="connsiteX143" fmla="*/ 1671357 w 3785642"/>
                <a:gd name="connsiteY143" fmla="*/ 474778 h 479077"/>
                <a:gd name="connsiteX144" fmla="*/ 1654987 w 3785642"/>
                <a:gd name="connsiteY144" fmla="*/ 472298 h 479077"/>
                <a:gd name="connsiteX145" fmla="*/ 1638616 w 3785642"/>
                <a:gd name="connsiteY145" fmla="*/ 472794 h 479077"/>
                <a:gd name="connsiteX146" fmla="*/ 1622246 w 3785642"/>
                <a:gd name="connsiteY146" fmla="*/ 473786 h 479077"/>
                <a:gd name="connsiteX147" fmla="*/ 1605875 w 3785642"/>
                <a:gd name="connsiteY147" fmla="*/ 474778 h 479077"/>
                <a:gd name="connsiteX148" fmla="*/ 1589505 w 3785642"/>
                <a:gd name="connsiteY148" fmla="*/ 473290 h 479077"/>
                <a:gd name="connsiteX149" fmla="*/ 1573134 w 3785642"/>
                <a:gd name="connsiteY149" fmla="*/ 474778 h 479077"/>
                <a:gd name="connsiteX150" fmla="*/ 1556763 w 3785642"/>
                <a:gd name="connsiteY150" fmla="*/ 472794 h 479077"/>
                <a:gd name="connsiteX151" fmla="*/ 1540393 w 3785642"/>
                <a:gd name="connsiteY151" fmla="*/ 472794 h 479077"/>
                <a:gd name="connsiteX152" fmla="*/ 1524022 w 3785642"/>
                <a:gd name="connsiteY152" fmla="*/ 474282 h 479077"/>
                <a:gd name="connsiteX153" fmla="*/ 1507652 w 3785642"/>
                <a:gd name="connsiteY153" fmla="*/ 472794 h 479077"/>
                <a:gd name="connsiteX154" fmla="*/ 1491281 w 3785642"/>
                <a:gd name="connsiteY154" fmla="*/ 474282 h 479077"/>
                <a:gd name="connsiteX155" fmla="*/ 1474910 w 3785642"/>
                <a:gd name="connsiteY155" fmla="*/ 474282 h 479077"/>
                <a:gd name="connsiteX156" fmla="*/ 1458540 w 3785642"/>
                <a:gd name="connsiteY156" fmla="*/ 472794 h 479077"/>
                <a:gd name="connsiteX157" fmla="*/ 1442169 w 3785642"/>
                <a:gd name="connsiteY157" fmla="*/ 471802 h 479077"/>
                <a:gd name="connsiteX158" fmla="*/ 1425799 w 3785642"/>
                <a:gd name="connsiteY158" fmla="*/ 472298 h 479077"/>
                <a:gd name="connsiteX159" fmla="*/ 1409428 w 3785642"/>
                <a:gd name="connsiteY159" fmla="*/ 472794 h 479077"/>
                <a:gd name="connsiteX160" fmla="*/ 1393058 w 3785642"/>
                <a:gd name="connsiteY160" fmla="*/ 473786 h 479077"/>
                <a:gd name="connsiteX161" fmla="*/ 1376687 w 3785642"/>
                <a:gd name="connsiteY161" fmla="*/ 471802 h 479077"/>
                <a:gd name="connsiteX162" fmla="*/ 1360317 w 3785642"/>
                <a:gd name="connsiteY162" fmla="*/ 473786 h 479077"/>
                <a:gd name="connsiteX163" fmla="*/ 1343946 w 3785642"/>
                <a:gd name="connsiteY163" fmla="*/ 473786 h 479077"/>
                <a:gd name="connsiteX164" fmla="*/ 1327576 w 3785642"/>
                <a:gd name="connsiteY164" fmla="*/ 472794 h 479077"/>
                <a:gd name="connsiteX165" fmla="*/ 1311205 w 3785642"/>
                <a:gd name="connsiteY165" fmla="*/ 473786 h 479077"/>
                <a:gd name="connsiteX166" fmla="*/ 1294834 w 3785642"/>
                <a:gd name="connsiteY166" fmla="*/ 473786 h 479077"/>
                <a:gd name="connsiteX167" fmla="*/ 1278464 w 3785642"/>
                <a:gd name="connsiteY167" fmla="*/ 473786 h 479077"/>
                <a:gd name="connsiteX168" fmla="*/ 1262093 w 3785642"/>
                <a:gd name="connsiteY168" fmla="*/ 473786 h 479077"/>
                <a:gd name="connsiteX169" fmla="*/ 1245723 w 3785642"/>
                <a:gd name="connsiteY169" fmla="*/ 473290 h 479077"/>
                <a:gd name="connsiteX170" fmla="*/ 1229352 w 3785642"/>
                <a:gd name="connsiteY170" fmla="*/ 472794 h 479077"/>
                <a:gd name="connsiteX171" fmla="*/ 1212981 w 3785642"/>
                <a:gd name="connsiteY171" fmla="*/ 473786 h 479077"/>
                <a:gd name="connsiteX172" fmla="*/ 1196611 w 3785642"/>
                <a:gd name="connsiteY172" fmla="*/ 472298 h 479077"/>
                <a:gd name="connsiteX173" fmla="*/ 1180240 w 3785642"/>
                <a:gd name="connsiteY173" fmla="*/ 472794 h 479077"/>
                <a:gd name="connsiteX174" fmla="*/ 1163870 w 3785642"/>
                <a:gd name="connsiteY174" fmla="*/ 472794 h 479077"/>
                <a:gd name="connsiteX175" fmla="*/ 1147499 w 3785642"/>
                <a:gd name="connsiteY175" fmla="*/ 473786 h 479077"/>
                <a:gd name="connsiteX176" fmla="*/ 1131128 w 3785642"/>
                <a:gd name="connsiteY176" fmla="*/ 473786 h 479077"/>
                <a:gd name="connsiteX177" fmla="*/ 1114758 w 3785642"/>
                <a:gd name="connsiteY177" fmla="*/ 472794 h 479077"/>
                <a:gd name="connsiteX178" fmla="*/ 1098387 w 3785642"/>
                <a:gd name="connsiteY178" fmla="*/ 473786 h 479077"/>
                <a:gd name="connsiteX179" fmla="*/ 1082017 w 3785642"/>
                <a:gd name="connsiteY179" fmla="*/ 474778 h 479077"/>
                <a:gd name="connsiteX180" fmla="*/ 1065646 w 3785642"/>
                <a:gd name="connsiteY180" fmla="*/ 474778 h 479077"/>
                <a:gd name="connsiteX181" fmla="*/ 1049276 w 3785642"/>
                <a:gd name="connsiteY181" fmla="*/ 474282 h 479077"/>
                <a:gd name="connsiteX182" fmla="*/ 1032905 w 3785642"/>
                <a:gd name="connsiteY182" fmla="*/ 473290 h 479077"/>
                <a:gd name="connsiteX183" fmla="*/ 1016535 w 3785642"/>
                <a:gd name="connsiteY183" fmla="*/ 474282 h 479077"/>
                <a:gd name="connsiteX184" fmla="*/ 1000164 w 3785642"/>
                <a:gd name="connsiteY184" fmla="*/ 474282 h 479077"/>
                <a:gd name="connsiteX185" fmla="*/ 983793 w 3785642"/>
                <a:gd name="connsiteY185" fmla="*/ 472794 h 479077"/>
                <a:gd name="connsiteX186" fmla="*/ 967423 w 3785642"/>
                <a:gd name="connsiteY186" fmla="*/ 472794 h 479077"/>
                <a:gd name="connsiteX187" fmla="*/ 951052 w 3785642"/>
                <a:gd name="connsiteY187" fmla="*/ 473786 h 479077"/>
                <a:gd name="connsiteX188" fmla="*/ 934682 w 3785642"/>
                <a:gd name="connsiteY188" fmla="*/ 474282 h 479077"/>
                <a:gd name="connsiteX189" fmla="*/ 918311 w 3785642"/>
                <a:gd name="connsiteY189" fmla="*/ 474778 h 479077"/>
                <a:gd name="connsiteX190" fmla="*/ 901940 w 3785642"/>
                <a:gd name="connsiteY190" fmla="*/ 473290 h 479077"/>
                <a:gd name="connsiteX191" fmla="*/ 885570 w 3785642"/>
                <a:gd name="connsiteY191" fmla="*/ 474778 h 479077"/>
                <a:gd name="connsiteX192" fmla="*/ 869199 w 3785642"/>
                <a:gd name="connsiteY192" fmla="*/ 474282 h 479077"/>
                <a:gd name="connsiteX193" fmla="*/ 852829 w 3785642"/>
                <a:gd name="connsiteY193" fmla="*/ 473786 h 479077"/>
                <a:gd name="connsiteX194" fmla="*/ 836458 w 3785642"/>
                <a:gd name="connsiteY194" fmla="*/ 474778 h 479077"/>
                <a:gd name="connsiteX195" fmla="*/ 820088 w 3785642"/>
                <a:gd name="connsiteY195" fmla="*/ 475274 h 479077"/>
                <a:gd name="connsiteX196" fmla="*/ 803717 w 3785642"/>
                <a:gd name="connsiteY196" fmla="*/ 473786 h 479077"/>
                <a:gd name="connsiteX197" fmla="*/ 787347 w 3785642"/>
                <a:gd name="connsiteY197" fmla="*/ 475770 h 479077"/>
                <a:gd name="connsiteX198" fmla="*/ 770976 w 3785642"/>
                <a:gd name="connsiteY198" fmla="*/ 474778 h 479077"/>
                <a:gd name="connsiteX199" fmla="*/ 754605 w 3785642"/>
                <a:gd name="connsiteY199" fmla="*/ 475274 h 479077"/>
                <a:gd name="connsiteX200" fmla="*/ 738235 w 3785642"/>
                <a:gd name="connsiteY200" fmla="*/ 473786 h 479077"/>
                <a:gd name="connsiteX201" fmla="*/ 721864 w 3785642"/>
                <a:gd name="connsiteY201" fmla="*/ 475274 h 479077"/>
                <a:gd name="connsiteX202" fmla="*/ 705494 w 3785642"/>
                <a:gd name="connsiteY202" fmla="*/ 475770 h 479077"/>
                <a:gd name="connsiteX203" fmla="*/ 689123 w 3785642"/>
                <a:gd name="connsiteY203" fmla="*/ 474282 h 479077"/>
                <a:gd name="connsiteX204" fmla="*/ 672753 w 3785642"/>
                <a:gd name="connsiteY204" fmla="*/ 475274 h 479077"/>
                <a:gd name="connsiteX205" fmla="*/ 656382 w 3785642"/>
                <a:gd name="connsiteY205" fmla="*/ 474778 h 479077"/>
                <a:gd name="connsiteX206" fmla="*/ 640011 w 3785642"/>
                <a:gd name="connsiteY206" fmla="*/ 475770 h 479077"/>
                <a:gd name="connsiteX207" fmla="*/ 623641 w 3785642"/>
                <a:gd name="connsiteY207" fmla="*/ 473786 h 479077"/>
                <a:gd name="connsiteX208" fmla="*/ 607270 w 3785642"/>
                <a:gd name="connsiteY208" fmla="*/ 474778 h 479077"/>
                <a:gd name="connsiteX209" fmla="*/ 590900 w 3785642"/>
                <a:gd name="connsiteY209" fmla="*/ 475274 h 479077"/>
                <a:gd name="connsiteX210" fmla="*/ 574529 w 3785642"/>
                <a:gd name="connsiteY210" fmla="*/ 474282 h 479077"/>
                <a:gd name="connsiteX211" fmla="*/ 558158 w 3785642"/>
                <a:gd name="connsiteY211" fmla="*/ 475274 h 479077"/>
                <a:gd name="connsiteX212" fmla="*/ 541788 w 3785642"/>
                <a:gd name="connsiteY212" fmla="*/ 475770 h 479077"/>
                <a:gd name="connsiteX213" fmla="*/ 525417 w 3785642"/>
                <a:gd name="connsiteY213" fmla="*/ 474282 h 479077"/>
                <a:gd name="connsiteX214" fmla="*/ 509047 w 3785642"/>
                <a:gd name="connsiteY214" fmla="*/ 473786 h 479077"/>
                <a:gd name="connsiteX215" fmla="*/ 492676 w 3785642"/>
                <a:gd name="connsiteY215" fmla="*/ 473786 h 479077"/>
                <a:gd name="connsiteX216" fmla="*/ 476306 w 3785642"/>
                <a:gd name="connsiteY216" fmla="*/ 474778 h 479077"/>
                <a:gd name="connsiteX217" fmla="*/ 459935 w 3785642"/>
                <a:gd name="connsiteY217" fmla="*/ 473786 h 479077"/>
                <a:gd name="connsiteX218" fmla="*/ 443565 w 3785642"/>
                <a:gd name="connsiteY218" fmla="*/ 474778 h 479077"/>
                <a:gd name="connsiteX219" fmla="*/ 427194 w 3785642"/>
                <a:gd name="connsiteY219" fmla="*/ 474282 h 479077"/>
                <a:gd name="connsiteX220" fmla="*/ 410823 w 3785642"/>
                <a:gd name="connsiteY220" fmla="*/ 473290 h 479077"/>
                <a:gd name="connsiteX221" fmla="*/ 394453 w 3785642"/>
                <a:gd name="connsiteY221" fmla="*/ 475770 h 479077"/>
                <a:gd name="connsiteX222" fmla="*/ 378082 w 3785642"/>
                <a:gd name="connsiteY222" fmla="*/ 475274 h 479077"/>
                <a:gd name="connsiteX223" fmla="*/ 361712 w 3785642"/>
                <a:gd name="connsiteY223" fmla="*/ 474778 h 479077"/>
                <a:gd name="connsiteX224" fmla="*/ 345341 w 3785642"/>
                <a:gd name="connsiteY224" fmla="*/ 476266 h 479077"/>
                <a:gd name="connsiteX225" fmla="*/ 328970 w 3785642"/>
                <a:gd name="connsiteY225" fmla="*/ 474282 h 479077"/>
                <a:gd name="connsiteX226" fmla="*/ 312600 w 3785642"/>
                <a:gd name="connsiteY226" fmla="*/ 475274 h 479077"/>
                <a:gd name="connsiteX227" fmla="*/ 296229 w 3785642"/>
                <a:gd name="connsiteY227" fmla="*/ 474282 h 479077"/>
                <a:gd name="connsiteX228" fmla="*/ 279859 w 3785642"/>
                <a:gd name="connsiteY228" fmla="*/ 475770 h 479077"/>
                <a:gd name="connsiteX229" fmla="*/ 263488 w 3785642"/>
                <a:gd name="connsiteY229" fmla="*/ 476266 h 479077"/>
                <a:gd name="connsiteX230" fmla="*/ 247118 w 3785642"/>
                <a:gd name="connsiteY230" fmla="*/ 476266 h 479077"/>
                <a:gd name="connsiteX231" fmla="*/ 230747 w 3785642"/>
                <a:gd name="connsiteY231" fmla="*/ 474778 h 479077"/>
                <a:gd name="connsiteX232" fmla="*/ 214376 w 3785642"/>
                <a:gd name="connsiteY232" fmla="*/ 474778 h 479077"/>
                <a:gd name="connsiteX233" fmla="*/ 198006 w 3785642"/>
                <a:gd name="connsiteY233" fmla="*/ 476762 h 479077"/>
                <a:gd name="connsiteX234" fmla="*/ 181635 w 3785642"/>
                <a:gd name="connsiteY234" fmla="*/ 476266 h 479077"/>
                <a:gd name="connsiteX235" fmla="*/ 165265 w 3785642"/>
                <a:gd name="connsiteY235" fmla="*/ 474778 h 479077"/>
                <a:gd name="connsiteX236" fmla="*/ 148894 w 3785642"/>
                <a:gd name="connsiteY236" fmla="*/ 476762 h 479077"/>
                <a:gd name="connsiteX237" fmla="*/ 132524 w 3785642"/>
                <a:gd name="connsiteY237" fmla="*/ 476266 h 479077"/>
                <a:gd name="connsiteX238" fmla="*/ 116153 w 3785642"/>
                <a:gd name="connsiteY238" fmla="*/ 475274 h 479077"/>
                <a:gd name="connsiteX239" fmla="*/ 99783 w 3785642"/>
                <a:gd name="connsiteY239" fmla="*/ 475274 h 479077"/>
                <a:gd name="connsiteX240" fmla="*/ 83412 w 3785642"/>
                <a:gd name="connsiteY240" fmla="*/ 475274 h 479077"/>
                <a:gd name="connsiteX241" fmla="*/ 67041 w 3785642"/>
                <a:gd name="connsiteY241" fmla="*/ 474778 h 479077"/>
                <a:gd name="connsiteX242" fmla="*/ 50671 w 3785642"/>
                <a:gd name="connsiteY242" fmla="*/ 475274 h 479077"/>
                <a:gd name="connsiteX243" fmla="*/ 34300 w 3785642"/>
                <a:gd name="connsiteY243" fmla="*/ 475274 h 479077"/>
                <a:gd name="connsiteX244" fmla="*/ 17930 w 3785642"/>
                <a:gd name="connsiteY244" fmla="*/ 475770 h 479077"/>
                <a:gd name="connsiteX245" fmla="*/ 567 w 3785642"/>
                <a:gd name="connsiteY245" fmla="*/ 475770 h 479077"/>
                <a:gd name="connsiteX246" fmla="*/ 12969 w 3785642"/>
                <a:gd name="connsiteY246" fmla="*/ 463368 h 479077"/>
                <a:gd name="connsiteX247" fmla="*/ 24379 w 3785642"/>
                <a:gd name="connsiteY247" fmla="*/ 451958 h 479077"/>
                <a:gd name="connsiteX248" fmla="*/ 35788 w 3785642"/>
                <a:gd name="connsiteY248" fmla="*/ 440053 h 479077"/>
                <a:gd name="connsiteX249" fmla="*/ 48686 w 3785642"/>
                <a:gd name="connsiteY249" fmla="*/ 430131 h 479077"/>
                <a:gd name="connsiteX250" fmla="*/ 59600 w 3785642"/>
                <a:gd name="connsiteY250" fmla="*/ 418225 h 479077"/>
                <a:gd name="connsiteX251" fmla="*/ 70514 w 3785642"/>
                <a:gd name="connsiteY251" fmla="*/ 405823 h 479077"/>
                <a:gd name="connsiteX252" fmla="*/ 83412 w 3785642"/>
                <a:gd name="connsiteY252" fmla="*/ 395406 h 479077"/>
                <a:gd name="connsiteX253" fmla="*/ 94822 w 3785642"/>
                <a:gd name="connsiteY253" fmla="*/ 383500 h 479077"/>
                <a:gd name="connsiteX254" fmla="*/ 106728 w 3785642"/>
                <a:gd name="connsiteY254" fmla="*/ 372090 h 479077"/>
                <a:gd name="connsiteX255" fmla="*/ 117145 w 3785642"/>
                <a:gd name="connsiteY255" fmla="*/ 359688 h 479077"/>
                <a:gd name="connsiteX256" fmla="*/ 128555 w 3785642"/>
                <a:gd name="connsiteY256" fmla="*/ 348278 h 479077"/>
                <a:gd name="connsiteX257" fmla="*/ 140461 w 3785642"/>
                <a:gd name="connsiteY257" fmla="*/ 336868 h 479077"/>
                <a:gd name="connsiteX258" fmla="*/ 152863 w 3785642"/>
                <a:gd name="connsiteY258" fmla="*/ 326451 h 479077"/>
                <a:gd name="connsiteX259" fmla="*/ 164769 w 3785642"/>
                <a:gd name="connsiteY259" fmla="*/ 315041 h 479077"/>
                <a:gd name="connsiteX260" fmla="*/ 176178 w 3785642"/>
                <a:gd name="connsiteY260" fmla="*/ 303135 h 479077"/>
                <a:gd name="connsiteX261" fmla="*/ 188084 w 3785642"/>
                <a:gd name="connsiteY261" fmla="*/ 291725 h 479077"/>
                <a:gd name="connsiteX262" fmla="*/ 199494 w 3785642"/>
                <a:gd name="connsiteY262" fmla="*/ 280315 h 479077"/>
                <a:gd name="connsiteX263" fmla="*/ 210904 w 3785642"/>
                <a:gd name="connsiteY263" fmla="*/ 268906 h 479077"/>
                <a:gd name="connsiteX264" fmla="*/ 221818 w 3785642"/>
                <a:gd name="connsiteY264" fmla="*/ 256504 h 479077"/>
                <a:gd name="connsiteX265" fmla="*/ 233724 w 3785642"/>
                <a:gd name="connsiteY265" fmla="*/ 245094 h 479077"/>
                <a:gd name="connsiteX266" fmla="*/ 244141 w 3785642"/>
                <a:gd name="connsiteY266" fmla="*/ 232692 h 479077"/>
                <a:gd name="connsiteX267" fmla="*/ 257039 w 3785642"/>
                <a:gd name="connsiteY267" fmla="*/ 222770 h 479077"/>
                <a:gd name="connsiteX268" fmla="*/ 266961 w 3785642"/>
                <a:gd name="connsiteY268" fmla="*/ 209376 h 479077"/>
                <a:gd name="connsiteX269" fmla="*/ 278371 w 3785642"/>
                <a:gd name="connsiteY269" fmla="*/ 197966 h 479077"/>
                <a:gd name="connsiteX270" fmla="*/ 291269 w 3785642"/>
                <a:gd name="connsiteY270" fmla="*/ 188045 h 479077"/>
                <a:gd name="connsiteX271" fmla="*/ 301686 w 3785642"/>
                <a:gd name="connsiteY271" fmla="*/ 175147 h 479077"/>
                <a:gd name="connsiteX272" fmla="*/ 313592 w 3785642"/>
                <a:gd name="connsiteY272" fmla="*/ 163737 h 479077"/>
                <a:gd name="connsiteX273" fmla="*/ 325994 w 3785642"/>
                <a:gd name="connsiteY273" fmla="*/ 153319 h 479077"/>
                <a:gd name="connsiteX274" fmla="*/ 337404 w 3785642"/>
                <a:gd name="connsiteY274" fmla="*/ 141910 h 479077"/>
                <a:gd name="connsiteX275" fmla="*/ 347325 w 3785642"/>
                <a:gd name="connsiteY275" fmla="*/ 129012 h 479077"/>
                <a:gd name="connsiteX276" fmla="*/ 360224 w 3785642"/>
                <a:gd name="connsiteY276" fmla="*/ 118594 h 479077"/>
                <a:gd name="connsiteX277" fmla="*/ 371137 w 3785642"/>
                <a:gd name="connsiteY277" fmla="*/ 106192 h 479077"/>
                <a:gd name="connsiteX278" fmla="*/ 382051 w 3785642"/>
                <a:gd name="connsiteY278" fmla="*/ 93790 h 479077"/>
                <a:gd name="connsiteX279" fmla="*/ 393957 w 3785642"/>
                <a:gd name="connsiteY279" fmla="*/ 82380 h 479077"/>
                <a:gd name="connsiteX280" fmla="*/ 405366 w 3785642"/>
                <a:gd name="connsiteY280" fmla="*/ 70475 h 479077"/>
                <a:gd name="connsiteX281" fmla="*/ 417272 w 3785642"/>
                <a:gd name="connsiteY281" fmla="*/ 59561 h 479077"/>
                <a:gd name="connsiteX282" fmla="*/ 429674 w 3785642"/>
                <a:gd name="connsiteY282" fmla="*/ 48647 h 479077"/>
                <a:gd name="connsiteX283" fmla="*/ 440092 w 3785642"/>
                <a:gd name="connsiteY283" fmla="*/ 35749 h 479077"/>
                <a:gd name="connsiteX284" fmla="*/ 452494 w 3785642"/>
                <a:gd name="connsiteY284" fmla="*/ 24835 h 479077"/>
                <a:gd name="connsiteX285" fmla="*/ 463904 w 3785642"/>
                <a:gd name="connsiteY285" fmla="*/ 12929 h 479077"/>
                <a:gd name="connsiteX286" fmla="*/ 475313 w 3785642"/>
                <a:gd name="connsiteY286" fmla="*/ 1024 h 479077"/>
                <a:gd name="connsiteX287" fmla="*/ 491684 w 3785642"/>
                <a:gd name="connsiteY287" fmla="*/ 2512 h 479077"/>
                <a:gd name="connsiteX288" fmla="*/ 508055 w 3785642"/>
                <a:gd name="connsiteY288" fmla="*/ 2512 h 479077"/>
                <a:gd name="connsiteX289" fmla="*/ 524425 w 3785642"/>
                <a:gd name="connsiteY289" fmla="*/ 2512 h 479077"/>
                <a:gd name="connsiteX290" fmla="*/ 540796 w 3785642"/>
                <a:gd name="connsiteY290" fmla="*/ 1024 h 479077"/>
                <a:gd name="connsiteX291" fmla="*/ 557166 w 3785642"/>
                <a:gd name="connsiteY291" fmla="*/ 2512 h 479077"/>
                <a:gd name="connsiteX292" fmla="*/ 573537 w 3785642"/>
                <a:gd name="connsiteY292" fmla="*/ 1024 h 479077"/>
                <a:gd name="connsiteX293" fmla="*/ 589908 w 3785642"/>
                <a:gd name="connsiteY293" fmla="*/ 527 h 479077"/>
                <a:gd name="connsiteX294" fmla="*/ 606278 w 3785642"/>
                <a:gd name="connsiteY294" fmla="*/ 1520 h 479077"/>
                <a:gd name="connsiteX295" fmla="*/ 622649 w 3785642"/>
                <a:gd name="connsiteY295" fmla="*/ 1520 h 479077"/>
                <a:gd name="connsiteX296" fmla="*/ 639019 w 3785642"/>
                <a:gd name="connsiteY296" fmla="*/ 2016 h 479077"/>
                <a:gd name="connsiteX297" fmla="*/ 655390 w 3785642"/>
                <a:gd name="connsiteY297" fmla="*/ 527 h 479077"/>
                <a:gd name="connsiteX298" fmla="*/ 671760 w 3785642"/>
                <a:gd name="connsiteY298" fmla="*/ 1520 h 479077"/>
                <a:gd name="connsiteX299" fmla="*/ 688131 w 3785642"/>
                <a:gd name="connsiteY299" fmla="*/ 2512 h 479077"/>
                <a:gd name="connsiteX300" fmla="*/ 704501 w 3785642"/>
                <a:gd name="connsiteY300" fmla="*/ 1024 h 479077"/>
                <a:gd name="connsiteX301" fmla="*/ 720872 w 3785642"/>
                <a:gd name="connsiteY301" fmla="*/ 1520 h 479077"/>
                <a:gd name="connsiteX302" fmla="*/ 737243 w 3785642"/>
                <a:gd name="connsiteY302" fmla="*/ 2016 h 479077"/>
                <a:gd name="connsiteX303" fmla="*/ 753613 w 3785642"/>
                <a:gd name="connsiteY303" fmla="*/ 1024 h 479077"/>
                <a:gd name="connsiteX304" fmla="*/ 769984 w 3785642"/>
                <a:gd name="connsiteY304" fmla="*/ 527 h 479077"/>
                <a:gd name="connsiteX305" fmla="*/ 786354 w 3785642"/>
                <a:gd name="connsiteY305" fmla="*/ 1520 h 479077"/>
                <a:gd name="connsiteX306" fmla="*/ 802725 w 3785642"/>
                <a:gd name="connsiteY306" fmla="*/ 527 h 479077"/>
                <a:gd name="connsiteX307" fmla="*/ 819096 w 3785642"/>
                <a:gd name="connsiteY307" fmla="*/ 2512 h 479077"/>
                <a:gd name="connsiteX308" fmla="*/ 835466 w 3785642"/>
                <a:gd name="connsiteY308" fmla="*/ 527 h 479077"/>
                <a:gd name="connsiteX309" fmla="*/ 851837 w 3785642"/>
                <a:gd name="connsiteY309" fmla="*/ 1520 h 479077"/>
                <a:gd name="connsiteX310" fmla="*/ 868207 w 3785642"/>
                <a:gd name="connsiteY310" fmla="*/ 2016 h 479077"/>
                <a:gd name="connsiteX311" fmla="*/ 884578 w 3785642"/>
                <a:gd name="connsiteY311" fmla="*/ 2512 h 479077"/>
                <a:gd name="connsiteX312" fmla="*/ 900948 w 3785642"/>
                <a:gd name="connsiteY312" fmla="*/ 1520 h 479077"/>
                <a:gd name="connsiteX313" fmla="*/ 917319 w 3785642"/>
                <a:gd name="connsiteY313" fmla="*/ 1024 h 479077"/>
                <a:gd name="connsiteX314" fmla="*/ 933689 w 3785642"/>
                <a:gd name="connsiteY314" fmla="*/ 2512 h 479077"/>
                <a:gd name="connsiteX315" fmla="*/ 950060 w 3785642"/>
                <a:gd name="connsiteY315" fmla="*/ 1520 h 479077"/>
                <a:gd name="connsiteX316" fmla="*/ 966431 w 3785642"/>
                <a:gd name="connsiteY316" fmla="*/ 2016 h 479077"/>
                <a:gd name="connsiteX317" fmla="*/ 982801 w 3785642"/>
                <a:gd name="connsiteY317" fmla="*/ 2512 h 479077"/>
                <a:gd name="connsiteX318" fmla="*/ 999172 w 3785642"/>
                <a:gd name="connsiteY318" fmla="*/ 1520 h 479077"/>
                <a:gd name="connsiteX319" fmla="*/ 1015542 w 3785642"/>
                <a:gd name="connsiteY319" fmla="*/ 2512 h 479077"/>
                <a:gd name="connsiteX320" fmla="*/ 1031913 w 3785642"/>
                <a:gd name="connsiteY320" fmla="*/ 1520 h 479077"/>
                <a:gd name="connsiteX321" fmla="*/ 1048283 w 3785642"/>
                <a:gd name="connsiteY321" fmla="*/ 2016 h 479077"/>
                <a:gd name="connsiteX322" fmla="*/ 1064654 w 3785642"/>
                <a:gd name="connsiteY322" fmla="*/ 3504 h 479077"/>
                <a:gd name="connsiteX323" fmla="*/ 1081025 w 3785642"/>
                <a:gd name="connsiteY323" fmla="*/ 2016 h 479077"/>
                <a:gd name="connsiteX324" fmla="*/ 1097395 w 3785642"/>
                <a:gd name="connsiteY324" fmla="*/ 2512 h 479077"/>
                <a:gd name="connsiteX325" fmla="*/ 1113766 w 3785642"/>
                <a:gd name="connsiteY325" fmla="*/ 2512 h 479077"/>
                <a:gd name="connsiteX326" fmla="*/ 1130136 w 3785642"/>
                <a:gd name="connsiteY326" fmla="*/ 3504 h 479077"/>
                <a:gd name="connsiteX327" fmla="*/ 1146507 w 3785642"/>
                <a:gd name="connsiteY327" fmla="*/ 1520 h 479077"/>
                <a:gd name="connsiteX328" fmla="*/ 1162878 w 3785642"/>
                <a:gd name="connsiteY328" fmla="*/ 3008 h 479077"/>
                <a:gd name="connsiteX329" fmla="*/ 1179248 w 3785642"/>
                <a:gd name="connsiteY329" fmla="*/ 4000 h 479077"/>
                <a:gd name="connsiteX330" fmla="*/ 1195619 w 3785642"/>
                <a:gd name="connsiteY330" fmla="*/ 3504 h 479077"/>
                <a:gd name="connsiteX331" fmla="*/ 1211989 w 3785642"/>
                <a:gd name="connsiteY331" fmla="*/ 1520 h 479077"/>
                <a:gd name="connsiteX332" fmla="*/ 1228360 w 3785642"/>
                <a:gd name="connsiteY332" fmla="*/ 3504 h 479077"/>
                <a:gd name="connsiteX333" fmla="*/ 1244730 w 3785642"/>
                <a:gd name="connsiteY333" fmla="*/ 1520 h 479077"/>
                <a:gd name="connsiteX334" fmla="*/ 1261101 w 3785642"/>
                <a:gd name="connsiteY334" fmla="*/ 2512 h 479077"/>
                <a:gd name="connsiteX335" fmla="*/ 1277471 w 3785642"/>
                <a:gd name="connsiteY335" fmla="*/ 3504 h 479077"/>
                <a:gd name="connsiteX336" fmla="*/ 1293842 w 3785642"/>
                <a:gd name="connsiteY336" fmla="*/ 4000 h 479077"/>
                <a:gd name="connsiteX337" fmla="*/ 1310213 w 3785642"/>
                <a:gd name="connsiteY337" fmla="*/ 1520 h 479077"/>
                <a:gd name="connsiteX338" fmla="*/ 1326583 w 3785642"/>
                <a:gd name="connsiteY338" fmla="*/ 2016 h 479077"/>
                <a:gd name="connsiteX339" fmla="*/ 1342954 w 3785642"/>
                <a:gd name="connsiteY339" fmla="*/ 3008 h 479077"/>
                <a:gd name="connsiteX340" fmla="*/ 1359324 w 3785642"/>
                <a:gd name="connsiteY340" fmla="*/ 3008 h 479077"/>
                <a:gd name="connsiteX341" fmla="*/ 1375695 w 3785642"/>
                <a:gd name="connsiteY341" fmla="*/ 2512 h 479077"/>
                <a:gd name="connsiteX342" fmla="*/ 1392066 w 3785642"/>
                <a:gd name="connsiteY342" fmla="*/ 2512 h 479077"/>
                <a:gd name="connsiteX343" fmla="*/ 1408436 w 3785642"/>
                <a:gd name="connsiteY343" fmla="*/ 3504 h 479077"/>
                <a:gd name="connsiteX344" fmla="*/ 1424807 w 3785642"/>
                <a:gd name="connsiteY344" fmla="*/ 3504 h 479077"/>
                <a:gd name="connsiteX345" fmla="*/ 1441177 w 3785642"/>
                <a:gd name="connsiteY345" fmla="*/ 1520 h 479077"/>
                <a:gd name="connsiteX346" fmla="*/ 1457548 w 3785642"/>
                <a:gd name="connsiteY346" fmla="*/ 2512 h 479077"/>
                <a:gd name="connsiteX347" fmla="*/ 1473919 w 3785642"/>
                <a:gd name="connsiteY347" fmla="*/ 2016 h 479077"/>
                <a:gd name="connsiteX348" fmla="*/ 1490289 w 3785642"/>
                <a:gd name="connsiteY348" fmla="*/ 2016 h 479077"/>
                <a:gd name="connsiteX349" fmla="*/ 1506660 w 3785642"/>
                <a:gd name="connsiteY349" fmla="*/ 1520 h 479077"/>
                <a:gd name="connsiteX350" fmla="*/ 1523030 w 3785642"/>
                <a:gd name="connsiteY350" fmla="*/ 3504 h 479077"/>
                <a:gd name="connsiteX351" fmla="*/ 1539401 w 3785642"/>
                <a:gd name="connsiteY351" fmla="*/ 3008 h 479077"/>
                <a:gd name="connsiteX352" fmla="*/ 1555771 w 3785642"/>
                <a:gd name="connsiteY352" fmla="*/ 3008 h 479077"/>
                <a:gd name="connsiteX353" fmla="*/ 1572142 w 3785642"/>
                <a:gd name="connsiteY353" fmla="*/ 2512 h 479077"/>
                <a:gd name="connsiteX354" fmla="*/ 1588512 w 3785642"/>
                <a:gd name="connsiteY354" fmla="*/ 2016 h 479077"/>
                <a:gd name="connsiteX355" fmla="*/ 1604883 w 3785642"/>
                <a:gd name="connsiteY355" fmla="*/ 3008 h 479077"/>
                <a:gd name="connsiteX356" fmla="*/ 1621253 w 3785642"/>
                <a:gd name="connsiteY356" fmla="*/ 3008 h 479077"/>
                <a:gd name="connsiteX357" fmla="*/ 1637624 w 3785642"/>
                <a:gd name="connsiteY35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05646 w 3785642"/>
                <a:gd name="connsiteY26" fmla="*/ 79404 h 479077"/>
                <a:gd name="connsiteX27" fmla="*/ 3393740 w 3785642"/>
                <a:gd name="connsiteY27" fmla="*/ 68490 h 479077"/>
                <a:gd name="connsiteX28" fmla="*/ 3382330 w 3785642"/>
                <a:gd name="connsiteY28" fmla="*/ 56584 h 479077"/>
                <a:gd name="connsiteX29" fmla="*/ 3370921 w 3785642"/>
                <a:gd name="connsiteY29" fmla="*/ 44678 h 479077"/>
                <a:gd name="connsiteX30" fmla="*/ 3313375 w 3785642"/>
                <a:gd name="connsiteY30" fmla="*/ 10945 h 479077"/>
                <a:gd name="connsiteX31" fmla="*/ 3300973 w 3785642"/>
                <a:gd name="connsiteY31" fmla="*/ 21363 h 479077"/>
                <a:gd name="connsiteX32" fmla="*/ 3289068 w 3785642"/>
                <a:gd name="connsiteY32" fmla="*/ 32276 h 479077"/>
                <a:gd name="connsiteX33" fmla="*/ 3277658 w 3785642"/>
                <a:gd name="connsiteY33" fmla="*/ 43686 h 479077"/>
                <a:gd name="connsiteX34" fmla="*/ 3266248 w 3785642"/>
                <a:gd name="connsiteY34" fmla="*/ 55592 h 479077"/>
                <a:gd name="connsiteX35" fmla="*/ 3255830 w 3785642"/>
                <a:gd name="connsiteY35" fmla="*/ 68490 h 479077"/>
                <a:gd name="connsiteX36" fmla="*/ 3243924 w 3785642"/>
                <a:gd name="connsiteY36" fmla="*/ 79900 h 479077"/>
                <a:gd name="connsiteX37" fmla="*/ 3231522 w 3785642"/>
                <a:gd name="connsiteY37" fmla="*/ 90814 h 479077"/>
                <a:gd name="connsiteX38" fmla="*/ 3220609 w 3785642"/>
                <a:gd name="connsiteY38" fmla="*/ 102720 h 479077"/>
                <a:gd name="connsiteX39" fmla="*/ 3208207 w 3785642"/>
                <a:gd name="connsiteY39" fmla="*/ 113137 h 479077"/>
                <a:gd name="connsiteX40" fmla="*/ 3197293 w 3785642"/>
                <a:gd name="connsiteY40" fmla="*/ 125043 h 479077"/>
                <a:gd name="connsiteX41" fmla="*/ 3185387 w 3785642"/>
                <a:gd name="connsiteY41" fmla="*/ 136453 h 479077"/>
                <a:gd name="connsiteX42" fmla="*/ 3174970 w 3785642"/>
                <a:gd name="connsiteY42" fmla="*/ 148855 h 479077"/>
                <a:gd name="connsiteX43" fmla="*/ 3162071 w 3785642"/>
                <a:gd name="connsiteY43" fmla="*/ 159272 h 479077"/>
                <a:gd name="connsiteX44" fmla="*/ 3151158 w 3785642"/>
                <a:gd name="connsiteY44" fmla="*/ 171674 h 479077"/>
                <a:gd name="connsiteX45" fmla="*/ 3139252 w 3785642"/>
                <a:gd name="connsiteY45" fmla="*/ 182588 h 479077"/>
                <a:gd name="connsiteX46" fmla="*/ 3127843 w 3785642"/>
                <a:gd name="connsiteY46" fmla="*/ 194494 h 479077"/>
                <a:gd name="connsiteX47" fmla="*/ 3116432 w 3785642"/>
                <a:gd name="connsiteY47" fmla="*/ 205904 h 479077"/>
                <a:gd name="connsiteX48" fmla="*/ 3105022 w 3785642"/>
                <a:gd name="connsiteY48" fmla="*/ 217810 h 479077"/>
                <a:gd name="connsiteX49" fmla="*/ 3093117 w 3785642"/>
                <a:gd name="connsiteY49" fmla="*/ 229219 h 479077"/>
                <a:gd name="connsiteX50" fmla="*/ 3081707 w 3785642"/>
                <a:gd name="connsiteY50" fmla="*/ 240629 h 479077"/>
                <a:gd name="connsiteX51" fmla="*/ 3069305 w 3785642"/>
                <a:gd name="connsiteY51" fmla="*/ 251543 h 479077"/>
                <a:gd name="connsiteX52" fmla="*/ 3057895 w 3785642"/>
                <a:gd name="connsiteY52" fmla="*/ 263449 h 479077"/>
                <a:gd name="connsiteX53" fmla="*/ 3046486 w 3785642"/>
                <a:gd name="connsiteY53" fmla="*/ 275355 h 479077"/>
                <a:gd name="connsiteX54" fmla="*/ 3035572 w 3785642"/>
                <a:gd name="connsiteY54" fmla="*/ 287260 h 479077"/>
                <a:gd name="connsiteX55" fmla="*/ 3024658 w 3785642"/>
                <a:gd name="connsiteY55" fmla="*/ 299166 h 479077"/>
                <a:gd name="connsiteX56" fmla="*/ 3013248 w 3785642"/>
                <a:gd name="connsiteY56" fmla="*/ 311072 h 479077"/>
                <a:gd name="connsiteX57" fmla="*/ 3000350 w 3785642"/>
                <a:gd name="connsiteY57" fmla="*/ 321490 h 479077"/>
                <a:gd name="connsiteX58" fmla="*/ 2988941 w 3785642"/>
                <a:gd name="connsiteY58" fmla="*/ 333396 h 479077"/>
                <a:gd name="connsiteX59" fmla="*/ 2976539 w 3785642"/>
                <a:gd name="connsiteY59" fmla="*/ 344309 h 479077"/>
                <a:gd name="connsiteX60" fmla="*/ 2965129 w 3785642"/>
                <a:gd name="connsiteY60" fmla="*/ 356215 h 479077"/>
                <a:gd name="connsiteX61" fmla="*/ 2953223 w 3785642"/>
                <a:gd name="connsiteY61" fmla="*/ 367625 h 479077"/>
                <a:gd name="connsiteX62" fmla="*/ 2941813 w 3785642"/>
                <a:gd name="connsiteY62" fmla="*/ 379531 h 479077"/>
                <a:gd name="connsiteX63" fmla="*/ 2931395 w 3785642"/>
                <a:gd name="connsiteY63" fmla="*/ 392429 h 479077"/>
                <a:gd name="connsiteX64" fmla="*/ 2918497 w 3785642"/>
                <a:gd name="connsiteY64" fmla="*/ 402847 h 479077"/>
                <a:gd name="connsiteX65" fmla="*/ 2907584 w 3785642"/>
                <a:gd name="connsiteY65" fmla="*/ 415249 h 479077"/>
                <a:gd name="connsiteX66" fmla="*/ 2896174 w 3785642"/>
                <a:gd name="connsiteY66" fmla="*/ 426658 h 479077"/>
                <a:gd name="connsiteX67" fmla="*/ 2884268 w 3785642"/>
                <a:gd name="connsiteY67" fmla="*/ 438068 h 479077"/>
                <a:gd name="connsiteX68" fmla="*/ 2873354 w 3785642"/>
                <a:gd name="connsiteY68" fmla="*/ 450470 h 479077"/>
                <a:gd name="connsiteX69" fmla="*/ 2860952 w 3785642"/>
                <a:gd name="connsiteY69" fmla="*/ 461384 h 479077"/>
                <a:gd name="connsiteX70" fmla="*/ 2850039 w 3785642"/>
                <a:gd name="connsiteY70" fmla="*/ 473786 h 479077"/>
                <a:gd name="connsiteX71" fmla="*/ 2833668 w 3785642"/>
                <a:gd name="connsiteY71" fmla="*/ 473786 h 479077"/>
                <a:gd name="connsiteX72" fmla="*/ 2817297 w 3785642"/>
                <a:gd name="connsiteY72" fmla="*/ 473290 h 479077"/>
                <a:gd name="connsiteX73" fmla="*/ 2800927 w 3785642"/>
                <a:gd name="connsiteY73" fmla="*/ 473290 h 479077"/>
                <a:gd name="connsiteX74" fmla="*/ 2784556 w 3785642"/>
                <a:gd name="connsiteY74" fmla="*/ 473786 h 479077"/>
                <a:gd name="connsiteX75" fmla="*/ 2768186 w 3785642"/>
                <a:gd name="connsiteY75" fmla="*/ 474282 h 479077"/>
                <a:gd name="connsiteX76" fmla="*/ 2751815 w 3785642"/>
                <a:gd name="connsiteY76" fmla="*/ 474282 h 479077"/>
                <a:gd name="connsiteX77" fmla="*/ 2735444 w 3785642"/>
                <a:gd name="connsiteY77" fmla="*/ 473290 h 479077"/>
                <a:gd name="connsiteX78" fmla="*/ 2719074 w 3785642"/>
                <a:gd name="connsiteY78" fmla="*/ 474282 h 479077"/>
                <a:gd name="connsiteX79" fmla="*/ 2702703 w 3785642"/>
                <a:gd name="connsiteY79" fmla="*/ 472298 h 479077"/>
                <a:gd name="connsiteX80" fmla="*/ 2686333 w 3785642"/>
                <a:gd name="connsiteY80" fmla="*/ 472794 h 479077"/>
                <a:gd name="connsiteX81" fmla="*/ 2669962 w 3785642"/>
                <a:gd name="connsiteY81" fmla="*/ 474282 h 479077"/>
                <a:gd name="connsiteX82" fmla="*/ 2653592 w 3785642"/>
                <a:gd name="connsiteY82" fmla="*/ 472298 h 479077"/>
                <a:gd name="connsiteX83" fmla="*/ 2637221 w 3785642"/>
                <a:gd name="connsiteY83" fmla="*/ 474282 h 479077"/>
                <a:gd name="connsiteX84" fmla="*/ 2620851 w 3785642"/>
                <a:gd name="connsiteY84" fmla="*/ 474282 h 479077"/>
                <a:gd name="connsiteX85" fmla="*/ 2604480 w 3785642"/>
                <a:gd name="connsiteY85" fmla="*/ 472298 h 479077"/>
                <a:gd name="connsiteX86" fmla="*/ 2588109 w 3785642"/>
                <a:gd name="connsiteY86" fmla="*/ 473786 h 479077"/>
                <a:gd name="connsiteX87" fmla="*/ 2571739 w 3785642"/>
                <a:gd name="connsiteY87" fmla="*/ 472298 h 479077"/>
                <a:gd name="connsiteX88" fmla="*/ 2555368 w 3785642"/>
                <a:gd name="connsiteY88" fmla="*/ 473290 h 479077"/>
                <a:gd name="connsiteX89" fmla="*/ 2538998 w 3785642"/>
                <a:gd name="connsiteY89" fmla="*/ 474282 h 479077"/>
                <a:gd name="connsiteX90" fmla="*/ 2522627 w 3785642"/>
                <a:gd name="connsiteY90" fmla="*/ 473290 h 479077"/>
                <a:gd name="connsiteX91" fmla="*/ 2506257 w 3785642"/>
                <a:gd name="connsiteY91" fmla="*/ 474282 h 479077"/>
                <a:gd name="connsiteX92" fmla="*/ 2489886 w 3785642"/>
                <a:gd name="connsiteY92" fmla="*/ 473786 h 479077"/>
                <a:gd name="connsiteX93" fmla="*/ 2473516 w 3785642"/>
                <a:gd name="connsiteY93" fmla="*/ 474282 h 479077"/>
                <a:gd name="connsiteX94" fmla="*/ 2457145 w 3785642"/>
                <a:gd name="connsiteY94" fmla="*/ 472794 h 479077"/>
                <a:gd name="connsiteX95" fmla="*/ 2440775 w 3785642"/>
                <a:gd name="connsiteY95" fmla="*/ 472298 h 479077"/>
                <a:gd name="connsiteX96" fmla="*/ 2424404 w 3785642"/>
                <a:gd name="connsiteY96" fmla="*/ 473786 h 479077"/>
                <a:gd name="connsiteX97" fmla="*/ 2408033 w 3785642"/>
                <a:gd name="connsiteY97" fmla="*/ 472794 h 479077"/>
                <a:gd name="connsiteX98" fmla="*/ 2391663 w 3785642"/>
                <a:gd name="connsiteY98" fmla="*/ 473290 h 479077"/>
                <a:gd name="connsiteX99" fmla="*/ 2375292 w 3785642"/>
                <a:gd name="connsiteY99" fmla="*/ 473290 h 479077"/>
                <a:gd name="connsiteX100" fmla="*/ 2358922 w 3785642"/>
                <a:gd name="connsiteY100" fmla="*/ 472794 h 479077"/>
                <a:gd name="connsiteX101" fmla="*/ 2342551 w 3785642"/>
                <a:gd name="connsiteY101" fmla="*/ 472298 h 479077"/>
                <a:gd name="connsiteX102" fmla="*/ 2326180 w 3785642"/>
                <a:gd name="connsiteY102" fmla="*/ 473786 h 479077"/>
                <a:gd name="connsiteX103" fmla="*/ 2309810 w 3785642"/>
                <a:gd name="connsiteY103" fmla="*/ 473786 h 479077"/>
                <a:gd name="connsiteX104" fmla="*/ 2293439 w 3785642"/>
                <a:gd name="connsiteY104" fmla="*/ 473786 h 479077"/>
                <a:gd name="connsiteX105" fmla="*/ 2277069 w 3785642"/>
                <a:gd name="connsiteY105" fmla="*/ 472794 h 479077"/>
                <a:gd name="connsiteX106" fmla="*/ 2260698 w 3785642"/>
                <a:gd name="connsiteY106" fmla="*/ 474282 h 479077"/>
                <a:gd name="connsiteX107" fmla="*/ 2244327 w 3785642"/>
                <a:gd name="connsiteY107" fmla="*/ 472298 h 479077"/>
                <a:gd name="connsiteX108" fmla="*/ 2227957 w 3785642"/>
                <a:gd name="connsiteY108" fmla="*/ 474282 h 479077"/>
                <a:gd name="connsiteX109" fmla="*/ 2211586 w 3785642"/>
                <a:gd name="connsiteY109" fmla="*/ 473290 h 479077"/>
                <a:gd name="connsiteX110" fmla="*/ 2195216 w 3785642"/>
                <a:gd name="connsiteY110" fmla="*/ 474282 h 479077"/>
                <a:gd name="connsiteX111" fmla="*/ 2178845 w 3785642"/>
                <a:gd name="connsiteY111" fmla="*/ 472794 h 479077"/>
                <a:gd name="connsiteX112" fmla="*/ 2162474 w 3785642"/>
                <a:gd name="connsiteY112" fmla="*/ 474778 h 479077"/>
                <a:gd name="connsiteX113" fmla="*/ 2146104 w 3785642"/>
                <a:gd name="connsiteY113" fmla="*/ 473290 h 479077"/>
                <a:gd name="connsiteX114" fmla="*/ 2129733 w 3785642"/>
                <a:gd name="connsiteY114" fmla="*/ 474778 h 479077"/>
                <a:gd name="connsiteX115" fmla="*/ 2113363 w 3785642"/>
                <a:gd name="connsiteY115" fmla="*/ 474778 h 479077"/>
                <a:gd name="connsiteX116" fmla="*/ 2096992 w 3785642"/>
                <a:gd name="connsiteY116" fmla="*/ 474778 h 479077"/>
                <a:gd name="connsiteX117" fmla="*/ 2080621 w 3785642"/>
                <a:gd name="connsiteY117" fmla="*/ 474282 h 479077"/>
                <a:gd name="connsiteX118" fmla="*/ 2064251 w 3785642"/>
                <a:gd name="connsiteY118" fmla="*/ 472794 h 479077"/>
                <a:gd name="connsiteX119" fmla="*/ 2047880 w 3785642"/>
                <a:gd name="connsiteY119" fmla="*/ 474778 h 479077"/>
                <a:gd name="connsiteX120" fmla="*/ 2031510 w 3785642"/>
                <a:gd name="connsiteY120" fmla="*/ 474778 h 479077"/>
                <a:gd name="connsiteX121" fmla="*/ 2015139 w 3785642"/>
                <a:gd name="connsiteY121" fmla="*/ 474778 h 479077"/>
                <a:gd name="connsiteX122" fmla="*/ 1998769 w 3785642"/>
                <a:gd name="connsiteY122" fmla="*/ 474282 h 479077"/>
                <a:gd name="connsiteX123" fmla="*/ 1982398 w 3785642"/>
                <a:gd name="connsiteY123" fmla="*/ 473786 h 479077"/>
                <a:gd name="connsiteX124" fmla="*/ 1966028 w 3785642"/>
                <a:gd name="connsiteY124" fmla="*/ 473786 h 479077"/>
                <a:gd name="connsiteX125" fmla="*/ 1949657 w 3785642"/>
                <a:gd name="connsiteY125" fmla="*/ 472794 h 479077"/>
                <a:gd name="connsiteX126" fmla="*/ 1933287 w 3785642"/>
                <a:gd name="connsiteY126" fmla="*/ 473290 h 479077"/>
                <a:gd name="connsiteX127" fmla="*/ 1916916 w 3785642"/>
                <a:gd name="connsiteY127" fmla="*/ 474778 h 479077"/>
                <a:gd name="connsiteX128" fmla="*/ 1900546 w 3785642"/>
                <a:gd name="connsiteY128" fmla="*/ 472794 h 479077"/>
                <a:gd name="connsiteX129" fmla="*/ 1884175 w 3785642"/>
                <a:gd name="connsiteY129" fmla="*/ 473786 h 479077"/>
                <a:gd name="connsiteX130" fmla="*/ 1867804 w 3785642"/>
                <a:gd name="connsiteY130" fmla="*/ 474778 h 479077"/>
                <a:gd name="connsiteX131" fmla="*/ 1851434 w 3785642"/>
                <a:gd name="connsiteY131" fmla="*/ 474778 h 479077"/>
                <a:gd name="connsiteX132" fmla="*/ 1835063 w 3785642"/>
                <a:gd name="connsiteY132" fmla="*/ 474778 h 479077"/>
                <a:gd name="connsiteX133" fmla="*/ 1818693 w 3785642"/>
                <a:gd name="connsiteY133" fmla="*/ 474282 h 479077"/>
                <a:gd name="connsiteX134" fmla="*/ 1802322 w 3785642"/>
                <a:gd name="connsiteY134" fmla="*/ 472794 h 479077"/>
                <a:gd name="connsiteX135" fmla="*/ 1785951 w 3785642"/>
                <a:gd name="connsiteY135" fmla="*/ 473786 h 479077"/>
                <a:gd name="connsiteX136" fmla="*/ 1769581 w 3785642"/>
                <a:gd name="connsiteY136" fmla="*/ 473290 h 479077"/>
                <a:gd name="connsiteX137" fmla="*/ 1753210 w 3785642"/>
                <a:gd name="connsiteY137" fmla="*/ 472298 h 479077"/>
                <a:gd name="connsiteX138" fmla="*/ 1736840 w 3785642"/>
                <a:gd name="connsiteY138" fmla="*/ 473290 h 479077"/>
                <a:gd name="connsiteX139" fmla="*/ 1720469 w 3785642"/>
                <a:gd name="connsiteY139" fmla="*/ 474778 h 479077"/>
                <a:gd name="connsiteX140" fmla="*/ 1704098 w 3785642"/>
                <a:gd name="connsiteY140" fmla="*/ 472794 h 479077"/>
                <a:gd name="connsiteX141" fmla="*/ 1687728 w 3785642"/>
                <a:gd name="connsiteY141" fmla="*/ 474778 h 479077"/>
                <a:gd name="connsiteX142" fmla="*/ 1671357 w 3785642"/>
                <a:gd name="connsiteY142" fmla="*/ 474778 h 479077"/>
                <a:gd name="connsiteX143" fmla="*/ 1654987 w 3785642"/>
                <a:gd name="connsiteY143" fmla="*/ 472298 h 479077"/>
                <a:gd name="connsiteX144" fmla="*/ 1638616 w 3785642"/>
                <a:gd name="connsiteY144" fmla="*/ 472794 h 479077"/>
                <a:gd name="connsiteX145" fmla="*/ 1622246 w 3785642"/>
                <a:gd name="connsiteY145" fmla="*/ 473786 h 479077"/>
                <a:gd name="connsiteX146" fmla="*/ 1605875 w 3785642"/>
                <a:gd name="connsiteY146" fmla="*/ 474778 h 479077"/>
                <a:gd name="connsiteX147" fmla="*/ 1589505 w 3785642"/>
                <a:gd name="connsiteY147" fmla="*/ 473290 h 479077"/>
                <a:gd name="connsiteX148" fmla="*/ 1573134 w 3785642"/>
                <a:gd name="connsiteY148" fmla="*/ 474778 h 479077"/>
                <a:gd name="connsiteX149" fmla="*/ 1556763 w 3785642"/>
                <a:gd name="connsiteY149" fmla="*/ 472794 h 479077"/>
                <a:gd name="connsiteX150" fmla="*/ 1540393 w 3785642"/>
                <a:gd name="connsiteY150" fmla="*/ 472794 h 479077"/>
                <a:gd name="connsiteX151" fmla="*/ 1524022 w 3785642"/>
                <a:gd name="connsiteY151" fmla="*/ 474282 h 479077"/>
                <a:gd name="connsiteX152" fmla="*/ 1507652 w 3785642"/>
                <a:gd name="connsiteY152" fmla="*/ 472794 h 479077"/>
                <a:gd name="connsiteX153" fmla="*/ 1491281 w 3785642"/>
                <a:gd name="connsiteY153" fmla="*/ 474282 h 479077"/>
                <a:gd name="connsiteX154" fmla="*/ 1474910 w 3785642"/>
                <a:gd name="connsiteY154" fmla="*/ 474282 h 479077"/>
                <a:gd name="connsiteX155" fmla="*/ 1458540 w 3785642"/>
                <a:gd name="connsiteY155" fmla="*/ 472794 h 479077"/>
                <a:gd name="connsiteX156" fmla="*/ 1442169 w 3785642"/>
                <a:gd name="connsiteY156" fmla="*/ 471802 h 479077"/>
                <a:gd name="connsiteX157" fmla="*/ 1425799 w 3785642"/>
                <a:gd name="connsiteY157" fmla="*/ 472298 h 479077"/>
                <a:gd name="connsiteX158" fmla="*/ 1409428 w 3785642"/>
                <a:gd name="connsiteY158" fmla="*/ 472794 h 479077"/>
                <a:gd name="connsiteX159" fmla="*/ 1393058 w 3785642"/>
                <a:gd name="connsiteY159" fmla="*/ 473786 h 479077"/>
                <a:gd name="connsiteX160" fmla="*/ 1376687 w 3785642"/>
                <a:gd name="connsiteY160" fmla="*/ 471802 h 479077"/>
                <a:gd name="connsiteX161" fmla="*/ 1360317 w 3785642"/>
                <a:gd name="connsiteY161" fmla="*/ 473786 h 479077"/>
                <a:gd name="connsiteX162" fmla="*/ 1343946 w 3785642"/>
                <a:gd name="connsiteY162" fmla="*/ 473786 h 479077"/>
                <a:gd name="connsiteX163" fmla="*/ 1327576 w 3785642"/>
                <a:gd name="connsiteY163" fmla="*/ 472794 h 479077"/>
                <a:gd name="connsiteX164" fmla="*/ 1311205 w 3785642"/>
                <a:gd name="connsiteY164" fmla="*/ 473786 h 479077"/>
                <a:gd name="connsiteX165" fmla="*/ 1294834 w 3785642"/>
                <a:gd name="connsiteY165" fmla="*/ 473786 h 479077"/>
                <a:gd name="connsiteX166" fmla="*/ 1278464 w 3785642"/>
                <a:gd name="connsiteY166" fmla="*/ 473786 h 479077"/>
                <a:gd name="connsiteX167" fmla="*/ 1262093 w 3785642"/>
                <a:gd name="connsiteY167" fmla="*/ 473786 h 479077"/>
                <a:gd name="connsiteX168" fmla="*/ 1245723 w 3785642"/>
                <a:gd name="connsiteY168" fmla="*/ 473290 h 479077"/>
                <a:gd name="connsiteX169" fmla="*/ 1229352 w 3785642"/>
                <a:gd name="connsiteY169" fmla="*/ 472794 h 479077"/>
                <a:gd name="connsiteX170" fmla="*/ 1212981 w 3785642"/>
                <a:gd name="connsiteY170" fmla="*/ 473786 h 479077"/>
                <a:gd name="connsiteX171" fmla="*/ 1196611 w 3785642"/>
                <a:gd name="connsiteY171" fmla="*/ 472298 h 479077"/>
                <a:gd name="connsiteX172" fmla="*/ 1180240 w 3785642"/>
                <a:gd name="connsiteY172" fmla="*/ 472794 h 479077"/>
                <a:gd name="connsiteX173" fmla="*/ 1163870 w 3785642"/>
                <a:gd name="connsiteY173" fmla="*/ 472794 h 479077"/>
                <a:gd name="connsiteX174" fmla="*/ 1147499 w 3785642"/>
                <a:gd name="connsiteY174" fmla="*/ 473786 h 479077"/>
                <a:gd name="connsiteX175" fmla="*/ 1131128 w 3785642"/>
                <a:gd name="connsiteY175" fmla="*/ 473786 h 479077"/>
                <a:gd name="connsiteX176" fmla="*/ 1114758 w 3785642"/>
                <a:gd name="connsiteY176" fmla="*/ 472794 h 479077"/>
                <a:gd name="connsiteX177" fmla="*/ 1098387 w 3785642"/>
                <a:gd name="connsiteY177" fmla="*/ 473786 h 479077"/>
                <a:gd name="connsiteX178" fmla="*/ 1082017 w 3785642"/>
                <a:gd name="connsiteY178" fmla="*/ 474778 h 479077"/>
                <a:gd name="connsiteX179" fmla="*/ 1065646 w 3785642"/>
                <a:gd name="connsiteY179" fmla="*/ 474778 h 479077"/>
                <a:gd name="connsiteX180" fmla="*/ 1049276 w 3785642"/>
                <a:gd name="connsiteY180" fmla="*/ 474282 h 479077"/>
                <a:gd name="connsiteX181" fmla="*/ 1032905 w 3785642"/>
                <a:gd name="connsiteY181" fmla="*/ 473290 h 479077"/>
                <a:gd name="connsiteX182" fmla="*/ 1016535 w 3785642"/>
                <a:gd name="connsiteY182" fmla="*/ 474282 h 479077"/>
                <a:gd name="connsiteX183" fmla="*/ 1000164 w 3785642"/>
                <a:gd name="connsiteY183" fmla="*/ 474282 h 479077"/>
                <a:gd name="connsiteX184" fmla="*/ 983793 w 3785642"/>
                <a:gd name="connsiteY184" fmla="*/ 472794 h 479077"/>
                <a:gd name="connsiteX185" fmla="*/ 967423 w 3785642"/>
                <a:gd name="connsiteY185" fmla="*/ 472794 h 479077"/>
                <a:gd name="connsiteX186" fmla="*/ 951052 w 3785642"/>
                <a:gd name="connsiteY186" fmla="*/ 473786 h 479077"/>
                <a:gd name="connsiteX187" fmla="*/ 934682 w 3785642"/>
                <a:gd name="connsiteY187" fmla="*/ 474282 h 479077"/>
                <a:gd name="connsiteX188" fmla="*/ 918311 w 3785642"/>
                <a:gd name="connsiteY188" fmla="*/ 474778 h 479077"/>
                <a:gd name="connsiteX189" fmla="*/ 901940 w 3785642"/>
                <a:gd name="connsiteY189" fmla="*/ 473290 h 479077"/>
                <a:gd name="connsiteX190" fmla="*/ 885570 w 3785642"/>
                <a:gd name="connsiteY190" fmla="*/ 474778 h 479077"/>
                <a:gd name="connsiteX191" fmla="*/ 869199 w 3785642"/>
                <a:gd name="connsiteY191" fmla="*/ 474282 h 479077"/>
                <a:gd name="connsiteX192" fmla="*/ 852829 w 3785642"/>
                <a:gd name="connsiteY192" fmla="*/ 473786 h 479077"/>
                <a:gd name="connsiteX193" fmla="*/ 836458 w 3785642"/>
                <a:gd name="connsiteY193" fmla="*/ 474778 h 479077"/>
                <a:gd name="connsiteX194" fmla="*/ 820088 w 3785642"/>
                <a:gd name="connsiteY194" fmla="*/ 475274 h 479077"/>
                <a:gd name="connsiteX195" fmla="*/ 803717 w 3785642"/>
                <a:gd name="connsiteY195" fmla="*/ 473786 h 479077"/>
                <a:gd name="connsiteX196" fmla="*/ 787347 w 3785642"/>
                <a:gd name="connsiteY196" fmla="*/ 475770 h 479077"/>
                <a:gd name="connsiteX197" fmla="*/ 770976 w 3785642"/>
                <a:gd name="connsiteY197" fmla="*/ 474778 h 479077"/>
                <a:gd name="connsiteX198" fmla="*/ 754605 w 3785642"/>
                <a:gd name="connsiteY198" fmla="*/ 475274 h 479077"/>
                <a:gd name="connsiteX199" fmla="*/ 738235 w 3785642"/>
                <a:gd name="connsiteY199" fmla="*/ 473786 h 479077"/>
                <a:gd name="connsiteX200" fmla="*/ 721864 w 3785642"/>
                <a:gd name="connsiteY200" fmla="*/ 475274 h 479077"/>
                <a:gd name="connsiteX201" fmla="*/ 705494 w 3785642"/>
                <a:gd name="connsiteY201" fmla="*/ 475770 h 479077"/>
                <a:gd name="connsiteX202" fmla="*/ 689123 w 3785642"/>
                <a:gd name="connsiteY202" fmla="*/ 474282 h 479077"/>
                <a:gd name="connsiteX203" fmla="*/ 672753 w 3785642"/>
                <a:gd name="connsiteY203" fmla="*/ 475274 h 479077"/>
                <a:gd name="connsiteX204" fmla="*/ 656382 w 3785642"/>
                <a:gd name="connsiteY204" fmla="*/ 474778 h 479077"/>
                <a:gd name="connsiteX205" fmla="*/ 640011 w 3785642"/>
                <a:gd name="connsiteY205" fmla="*/ 475770 h 479077"/>
                <a:gd name="connsiteX206" fmla="*/ 623641 w 3785642"/>
                <a:gd name="connsiteY206" fmla="*/ 473786 h 479077"/>
                <a:gd name="connsiteX207" fmla="*/ 607270 w 3785642"/>
                <a:gd name="connsiteY207" fmla="*/ 474778 h 479077"/>
                <a:gd name="connsiteX208" fmla="*/ 590900 w 3785642"/>
                <a:gd name="connsiteY208" fmla="*/ 475274 h 479077"/>
                <a:gd name="connsiteX209" fmla="*/ 574529 w 3785642"/>
                <a:gd name="connsiteY209" fmla="*/ 474282 h 479077"/>
                <a:gd name="connsiteX210" fmla="*/ 558158 w 3785642"/>
                <a:gd name="connsiteY210" fmla="*/ 475274 h 479077"/>
                <a:gd name="connsiteX211" fmla="*/ 541788 w 3785642"/>
                <a:gd name="connsiteY211" fmla="*/ 475770 h 479077"/>
                <a:gd name="connsiteX212" fmla="*/ 525417 w 3785642"/>
                <a:gd name="connsiteY212" fmla="*/ 474282 h 479077"/>
                <a:gd name="connsiteX213" fmla="*/ 509047 w 3785642"/>
                <a:gd name="connsiteY213" fmla="*/ 473786 h 479077"/>
                <a:gd name="connsiteX214" fmla="*/ 492676 w 3785642"/>
                <a:gd name="connsiteY214" fmla="*/ 473786 h 479077"/>
                <a:gd name="connsiteX215" fmla="*/ 476306 w 3785642"/>
                <a:gd name="connsiteY215" fmla="*/ 474778 h 479077"/>
                <a:gd name="connsiteX216" fmla="*/ 459935 w 3785642"/>
                <a:gd name="connsiteY216" fmla="*/ 473786 h 479077"/>
                <a:gd name="connsiteX217" fmla="*/ 443565 w 3785642"/>
                <a:gd name="connsiteY217" fmla="*/ 474778 h 479077"/>
                <a:gd name="connsiteX218" fmla="*/ 427194 w 3785642"/>
                <a:gd name="connsiteY218" fmla="*/ 474282 h 479077"/>
                <a:gd name="connsiteX219" fmla="*/ 410823 w 3785642"/>
                <a:gd name="connsiteY219" fmla="*/ 473290 h 479077"/>
                <a:gd name="connsiteX220" fmla="*/ 394453 w 3785642"/>
                <a:gd name="connsiteY220" fmla="*/ 475770 h 479077"/>
                <a:gd name="connsiteX221" fmla="*/ 378082 w 3785642"/>
                <a:gd name="connsiteY221" fmla="*/ 475274 h 479077"/>
                <a:gd name="connsiteX222" fmla="*/ 361712 w 3785642"/>
                <a:gd name="connsiteY222" fmla="*/ 474778 h 479077"/>
                <a:gd name="connsiteX223" fmla="*/ 345341 w 3785642"/>
                <a:gd name="connsiteY223" fmla="*/ 476266 h 479077"/>
                <a:gd name="connsiteX224" fmla="*/ 328970 w 3785642"/>
                <a:gd name="connsiteY224" fmla="*/ 474282 h 479077"/>
                <a:gd name="connsiteX225" fmla="*/ 312600 w 3785642"/>
                <a:gd name="connsiteY225" fmla="*/ 475274 h 479077"/>
                <a:gd name="connsiteX226" fmla="*/ 296229 w 3785642"/>
                <a:gd name="connsiteY226" fmla="*/ 474282 h 479077"/>
                <a:gd name="connsiteX227" fmla="*/ 279859 w 3785642"/>
                <a:gd name="connsiteY227" fmla="*/ 475770 h 479077"/>
                <a:gd name="connsiteX228" fmla="*/ 263488 w 3785642"/>
                <a:gd name="connsiteY228" fmla="*/ 476266 h 479077"/>
                <a:gd name="connsiteX229" fmla="*/ 247118 w 3785642"/>
                <a:gd name="connsiteY229" fmla="*/ 476266 h 479077"/>
                <a:gd name="connsiteX230" fmla="*/ 230747 w 3785642"/>
                <a:gd name="connsiteY230" fmla="*/ 474778 h 479077"/>
                <a:gd name="connsiteX231" fmla="*/ 214376 w 3785642"/>
                <a:gd name="connsiteY231" fmla="*/ 474778 h 479077"/>
                <a:gd name="connsiteX232" fmla="*/ 198006 w 3785642"/>
                <a:gd name="connsiteY232" fmla="*/ 476762 h 479077"/>
                <a:gd name="connsiteX233" fmla="*/ 181635 w 3785642"/>
                <a:gd name="connsiteY233" fmla="*/ 476266 h 479077"/>
                <a:gd name="connsiteX234" fmla="*/ 165265 w 3785642"/>
                <a:gd name="connsiteY234" fmla="*/ 474778 h 479077"/>
                <a:gd name="connsiteX235" fmla="*/ 148894 w 3785642"/>
                <a:gd name="connsiteY235" fmla="*/ 476762 h 479077"/>
                <a:gd name="connsiteX236" fmla="*/ 132524 w 3785642"/>
                <a:gd name="connsiteY236" fmla="*/ 476266 h 479077"/>
                <a:gd name="connsiteX237" fmla="*/ 116153 w 3785642"/>
                <a:gd name="connsiteY237" fmla="*/ 475274 h 479077"/>
                <a:gd name="connsiteX238" fmla="*/ 99783 w 3785642"/>
                <a:gd name="connsiteY238" fmla="*/ 475274 h 479077"/>
                <a:gd name="connsiteX239" fmla="*/ 83412 w 3785642"/>
                <a:gd name="connsiteY239" fmla="*/ 475274 h 479077"/>
                <a:gd name="connsiteX240" fmla="*/ 67041 w 3785642"/>
                <a:gd name="connsiteY240" fmla="*/ 474778 h 479077"/>
                <a:gd name="connsiteX241" fmla="*/ 50671 w 3785642"/>
                <a:gd name="connsiteY241" fmla="*/ 475274 h 479077"/>
                <a:gd name="connsiteX242" fmla="*/ 34300 w 3785642"/>
                <a:gd name="connsiteY242" fmla="*/ 475274 h 479077"/>
                <a:gd name="connsiteX243" fmla="*/ 17930 w 3785642"/>
                <a:gd name="connsiteY243" fmla="*/ 475770 h 479077"/>
                <a:gd name="connsiteX244" fmla="*/ 567 w 3785642"/>
                <a:gd name="connsiteY244" fmla="*/ 475770 h 479077"/>
                <a:gd name="connsiteX245" fmla="*/ 12969 w 3785642"/>
                <a:gd name="connsiteY245" fmla="*/ 463368 h 479077"/>
                <a:gd name="connsiteX246" fmla="*/ 24379 w 3785642"/>
                <a:gd name="connsiteY246" fmla="*/ 451958 h 479077"/>
                <a:gd name="connsiteX247" fmla="*/ 35788 w 3785642"/>
                <a:gd name="connsiteY247" fmla="*/ 440053 h 479077"/>
                <a:gd name="connsiteX248" fmla="*/ 48686 w 3785642"/>
                <a:gd name="connsiteY248" fmla="*/ 430131 h 479077"/>
                <a:gd name="connsiteX249" fmla="*/ 59600 w 3785642"/>
                <a:gd name="connsiteY249" fmla="*/ 418225 h 479077"/>
                <a:gd name="connsiteX250" fmla="*/ 70514 w 3785642"/>
                <a:gd name="connsiteY250" fmla="*/ 405823 h 479077"/>
                <a:gd name="connsiteX251" fmla="*/ 83412 w 3785642"/>
                <a:gd name="connsiteY251" fmla="*/ 395406 h 479077"/>
                <a:gd name="connsiteX252" fmla="*/ 94822 w 3785642"/>
                <a:gd name="connsiteY252" fmla="*/ 383500 h 479077"/>
                <a:gd name="connsiteX253" fmla="*/ 106728 w 3785642"/>
                <a:gd name="connsiteY253" fmla="*/ 372090 h 479077"/>
                <a:gd name="connsiteX254" fmla="*/ 117145 w 3785642"/>
                <a:gd name="connsiteY254" fmla="*/ 359688 h 479077"/>
                <a:gd name="connsiteX255" fmla="*/ 128555 w 3785642"/>
                <a:gd name="connsiteY255" fmla="*/ 348278 h 479077"/>
                <a:gd name="connsiteX256" fmla="*/ 140461 w 3785642"/>
                <a:gd name="connsiteY256" fmla="*/ 336868 h 479077"/>
                <a:gd name="connsiteX257" fmla="*/ 152863 w 3785642"/>
                <a:gd name="connsiteY257" fmla="*/ 326451 h 479077"/>
                <a:gd name="connsiteX258" fmla="*/ 164769 w 3785642"/>
                <a:gd name="connsiteY258" fmla="*/ 315041 h 479077"/>
                <a:gd name="connsiteX259" fmla="*/ 176178 w 3785642"/>
                <a:gd name="connsiteY259" fmla="*/ 303135 h 479077"/>
                <a:gd name="connsiteX260" fmla="*/ 188084 w 3785642"/>
                <a:gd name="connsiteY260" fmla="*/ 291725 h 479077"/>
                <a:gd name="connsiteX261" fmla="*/ 199494 w 3785642"/>
                <a:gd name="connsiteY261" fmla="*/ 280315 h 479077"/>
                <a:gd name="connsiteX262" fmla="*/ 210904 w 3785642"/>
                <a:gd name="connsiteY262" fmla="*/ 268906 h 479077"/>
                <a:gd name="connsiteX263" fmla="*/ 221818 w 3785642"/>
                <a:gd name="connsiteY263" fmla="*/ 256504 h 479077"/>
                <a:gd name="connsiteX264" fmla="*/ 233724 w 3785642"/>
                <a:gd name="connsiteY264" fmla="*/ 245094 h 479077"/>
                <a:gd name="connsiteX265" fmla="*/ 244141 w 3785642"/>
                <a:gd name="connsiteY265" fmla="*/ 232692 h 479077"/>
                <a:gd name="connsiteX266" fmla="*/ 257039 w 3785642"/>
                <a:gd name="connsiteY266" fmla="*/ 222770 h 479077"/>
                <a:gd name="connsiteX267" fmla="*/ 266961 w 3785642"/>
                <a:gd name="connsiteY267" fmla="*/ 209376 h 479077"/>
                <a:gd name="connsiteX268" fmla="*/ 278371 w 3785642"/>
                <a:gd name="connsiteY268" fmla="*/ 197966 h 479077"/>
                <a:gd name="connsiteX269" fmla="*/ 291269 w 3785642"/>
                <a:gd name="connsiteY269" fmla="*/ 188045 h 479077"/>
                <a:gd name="connsiteX270" fmla="*/ 301686 w 3785642"/>
                <a:gd name="connsiteY270" fmla="*/ 175147 h 479077"/>
                <a:gd name="connsiteX271" fmla="*/ 313592 w 3785642"/>
                <a:gd name="connsiteY271" fmla="*/ 163737 h 479077"/>
                <a:gd name="connsiteX272" fmla="*/ 325994 w 3785642"/>
                <a:gd name="connsiteY272" fmla="*/ 153319 h 479077"/>
                <a:gd name="connsiteX273" fmla="*/ 337404 w 3785642"/>
                <a:gd name="connsiteY273" fmla="*/ 141910 h 479077"/>
                <a:gd name="connsiteX274" fmla="*/ 347325 w 3785642"/>
                <a:gd name="connsiteY274" fmla="*/ 129012 h 479077"/>
                <a:gd name="connsiteX275" fmla="*/ 360224 w 3785642"/>
                <a:gd name="connsiteY275" fmla="*/ 118594 h 479077"/>
                <a:gd name="connsiteX276" fmla="*/ 371137 w 3785642"/>
                <a:gd name="connsiteY276" fmla="*/ 106192 h 479077"/>
                <a:gd name="connsiteX277" fmla="*/ 382051 w 3785642"/>
                <a:gd name="connsiteY277" fmla="*/ 93790 h 479077"/>
                <a:gd name="connsiteX278" fmla="*/ 393957 w 3785642"/>
                <a:gd name="connsiteY278" fmla="*/ 82380 h 479077"/>
                <a:gd name="connsiteX279" fmla="*/ 405366 w 3785642"/>
                <a:gd name="connsiteY279" fmla="*/ 70475 h 479077"/>
                <a:gd name="connsiteX280" fmla="*/ 417272 w 3785642"/>
                <a:gd name="connsiteY280" fmla="*/ 59561 h 479077"/>
                <a:gd name="connsiteX281" fmla="*/ 429674 w 3785642"/>
                <a:gd name="connsiteY281" fmla="*/ 48647 h 479077"/>
                <a:gd name="connsiteX282" fmla="*/ 440092 w 3785642"/>
                <a:gd name="connsiteY282" fmla="*/ 35749 h 479077"/>
                <a:gd name="connsiteX283" fmla="*/ 452494 w 3785642"/>
                <a:gd name="connsiteY283" fmla="*/ 24835 h 479077"/>
                <a:gd name="connsiteX284" fmla="*/ 463904 w 3785642"/>
                <a:gd name="connsiteY284" fmla="*/ 12929 h 479077"/>
                <a:gd name="connsiteX285" fmla="*/ 475313 w 3785642"/>
                <a:gd name="connsiteY285" fmla="*/ 1024 h 479077"/>
                <a:gd name="connsiteX286" fmla="*/ 491684 w 3785642"/>
                <a:gd name="connsiteY286" fmla="*/ 2512 h 479077"/>
                <a:gd name="connsiteX287" fmla="*/ 508055 w 3785642"/>
                <a:gd name="connsiteY287" fmla="*/ 2512 h 479077"/>
                <a:gd name="connsiteX288" fmla="*/ 524425 w 3785642"/>
                <a:gd name="connsiteY288" fmla="*/ 2512 h 479077"/>
                <a:gd name="connsiteX289" fmla="*/ 540796 w 3785642"/>
                <a:gd name="connsiteY289" fmla="*/ 1024 h 479077"/>
                <a:gd name="connsiteX290" fmla="*/ 557166 w 3785642"/>
                <a:gd name="connsiteY290" fmla="*/ 2512 h 479077"/>
                <a:gd name="connsiteX291" fmla="*/ 573537 w 3785642"/>
                <a:gd name="connsiteY291" fmla="*/ 1024 h 479077"/>
                <a:gd name="connsiteX292" fmla="*/ 589908 w 3785642"/>
                <a:gd name="connsiteY292" fmla="*/ 527 h 479077"/>
                <a:gd name="connsiteX293" fmla="*/ 606278 w 3785642"/>
                <a:gd name="connsiteY293" fmla="*/ 1520 h 479077"/>
                <a:gd name="connsiteX294" fmla="*/ 622649 w 3785642"/>
                <a:gd name="connsiteY294" fmla="*/ 1520 h 479077"/>
                <a:gd name="connsiteX295" fmla="*/ 639019 w 3785642"/>
                <a:gd name="connsiteY295" fmla="*/ 2016 h 479077"/>
                <a:gd name="connsiteX296" fmla="*/ 655390 w 3785642"/>
                <a:gd name="connsiteY296" fmla="*/ 527 h 479077"/>
                <a:gd name="connsiteX297" fmla="*/ 671760 w 3785642"/>
                <a:gd name="connsiteY297" fmla="*/ 1520 h 479077"/>
                <a:gd name="connsiteX298" fmla="*/ 688131 w 3785642"/>
                <a:gd name="connsiteY298" fmla="*/ 2512 h 479077"/>
                <a:gd name="connsiteX299" fmla="*/ 704501 w 3785642"/>
                <a:gd name="connsiteY299" fmla="*/ 1024 h 479077"/>
                <a:gd name="connsiteX300" fmla="*/ 720872 w 3785642"/>
                <a:gd name="connsiteY300" fmla="*/ 1520 h 479077"/>
                <a:gd name="connsiteX301" fmla="*/ 737243 w 3785642"/>
                <a:gd name="connsiteY301" fmla="*/ 2016 h 479077"/>
                <a:gd name="connsiteX302" fmla="*/ 753613 w 3785642"/>
                <a:gd name="connsiteY302" fmla="*/ 1024 h 479077"/>
                <a:gd name="connsiteX303" fmla="*/ 769984 w 3785642"/>
                <a:gd name="connsiteY303" fmla="*/ 527 h 479077"/>
                <a:gd name="connsiteX304" fmla="*/ 786354 w 3785642"/>
                <a:gd name="connsiteY304" fmla="*/ 1520 h 479077"/>
                <a:gd name="connsiteX305" fmla="*/ 802725 w 3785642"/>
                <a:gd name="connsiteY305" fmla="*/ 527 h 479077"/>
                <a:gd name="connsiteX306" fmla="*/ 819096 w 3785642"/>
                <a:gd name="connsiteY306" fmla="*/ 2512 h 479077"/>
                <a:gd name="connsiteX307" fmla="*/ 835466 w 3785642"/>
                <a:gd name="connsiteY307" fmla="*/ 527 h 479077"/>
                <a:gd name="connsiteX308" fmla="*/ 851837 w 3785642"/>
                <a:gd name="connsiteY308" fmla="*/ 1520 h 479077"/>
                <a:gd name="connsiteX309" fmla="*/ 868207 w 3785642"/>
                <a:gd name="connsiteY309" fmla="*/ 2016 h 479077"/>
                <a:gd name="connsiteX310" fmla="*/ 884578 w 3785642"/>
                <a:gd name="connsiteY310" fmla="*/ 2512 h 479077"/>
                <a:gd name="connsiteX311" fmla="*/ 900948 w 3785642"/>
                <a:gd name="connsiteY311" fmla="*/ 1520 h 479077"/>
                <a:gd name="connsiteX312" fmla="*/ 917319 w 3785642"/>
                <a:gd name="connsiteY312" fmla="*/ 1024 h 479077"/>
                <a:gd name="connsiteX313" fmla="*/ 933689 w 3785642"/>
                <a:gd name="connsiteY313" fmla="*/ 2512 h 479077"/>
                <a:gd name="connsiteX314" fmla="*/ 950060 w 3785642"/>
                <a:gd name="connsiteY314" fmla="*/ 1520 h 479077"/>
                <a:gd name="connsiteX315" fmla="*/ 966431 w 3785642"/>
                <a:gd name="connsiteY315" fmla="*/ 2016 h 479077"/>
                <a:gd name="connsiteX316" fmla="*/ 982801 w 3785642"/>
                <a:gd name="connsiteY316" fmla="*/ 2512 h 479077"/>
                <a:gd name="connsiteX317" fmla="*/ 999172 w 3785642"/>
                <a:gd name="connsiteY317" fmla="*/ 1520 h 479077"/>
                <a:gd name="connsiteX318" fmla="*/ 1015542 w 3785642"/>
                <a:gd name="connsiteY318" fmla="*/ 2512 h 479077"/>
                <a:gd name="connsiteX319" fmla="*/ 1031913 w 3785642"/>
                <a:gd name="connsiteY319" fmla="*/ 1520 h 479077"/>
                <a:gd name="connsiteX320" fmla="*/ 1048283 w 3785642"/>
                <a:gd name="connsiteY320" fmla="*/ 2016 h 479077"/>
                <a:gd name="connsiteX321" fmla="*/ 1064654 w 3785642"/>
                <a:gd name="connsiteY321" fmla="*/ 3504 h 479077"/>
                <a:gd name="connsiteX322" fmla="*/ 1081025 w 3785642"/>
                <a:gd name="connsiteY322" fmla="*/ 2016 h 479077"/>
                <a:gd name="connsiteX323" fmla="*/ 1097395 w 3785642"/>
                <a:gd name="connsiteY323" fmla="*/ 2512 h 479077"/>
                <a:gd name="connsiteX324" fmla="*/ 1113766 w 3785642"/>
                <a:gd name="connsiteY324" fmla="*/ 2512 h 479077"/>
                <a:gd name="connsiteX325" fmla="*/ 1130136 w 3785642"/>
                <a:gd name="connsiteY325" fmla="*/ 3504 h 479077"/>
                <a:gd name="connsiteX326" fmla="*/ 1146507 w 3785642"/>
                <a:gd name="connsiteY326" fmla="*/ 1520 h 479077"/>
                <a:gd name="connsiteX327" fmla="*/ 1162878 w 3785642"/>
                <a:gd name="connsiteY327" fmla="*/ 3008 h 479077"/>
                <a:gd name="connsiteX328" fmla="*/ 1179248 w 3785642"/>
                <a:gd name="connsiteY328" fmla="*/ 4000 h 479077"/>
                <a:gd name="connsiteX329" fmla="*/ 1195619 w 3785642"/>
                <a:gd name="connsiteY329" fmla="*/ 3504 h 479077"/>
                <a:gd name="connsiteX330" fmla="*/ 1211989 w 3785642"/>
                <a:gd name="connsiteY330" fmla="*/ 1520 h 479077"/>
                <a:gd name="connsiteX331" fmla="*/ 1228360 w 3785642"/>
                <a:gd name="connsiteY331" fmla="*/ 3504 h 479077"/>
                <a:gd name="connsiteX332" fmla="*/ 1244730 w 3785642"/>
                <a:gd name="connsiteY332" fmla="*/ 1520 h 479077"/>
                <a:gd name="connsiteX333" fmla="*/ 1261101 w 3785642"/>
                <a:gd name="connsiteY333" fmla="*/ 2512 h 479077"/>
                <a:gd name="connsiteX334" fmla="*/ 1277471 w 3785642"/>
                <a:gd name="connsiteY334" fmla="*/ 3504 h 479077"/>
                <a:gd name="connsiteX335" fmla="*/ 1293842 w 3785642"/>
                <a:gd name="connsiteY335" fmla="*/ 4000 h 479077"/>
                <a:gd name="connsiteX336" fmla="*/ 1310213 w 3785642"/>
                <a:gd name="connsiteY336" fmla="*/ 1520 h 479077"/>
                <a:gd name="connsiteX337" fmla="*/ 1326583 w 3785642"/>
                <a:gd name="connsiteY337" fmla="*/ 2016 h 479077"/>
                <a:gd name="connsiteX338" fmla="*/ 1342954 w 3785642"/>
                <a:gd name="connsiteY338" fmla="*/ 3008 h 479077"/>
                <a:gd name="connsiteX339" fmla="*/ 1359324 w 3785642"/>
                <a:gd name="connsiteY339" fmla="*/ 3008 h 479077"/>
                <a:gd name="connsiteX340" fmla="*/ 1375695 w 3785642"/>
                <a:gd name="connsiteY340" fmla="*/ 2512 h 479077"/>
                <a:gd name="connsiteX341" fmla="*/ 1392066 w 3785642"/>
                <a:gd name="connsiteY341" fmla="*/ 2512 h 479077"/>
                <a:gd name="connsiteX342" fmla="*/ 1408436 w 3785642"/>
                <a:gd name="connsiteY342" fmla="*/ 3504 h 479077"/>
                <a:gd name="connsiteX343" fmla="*/ 1424807 w 3785642"/>
                <a:gd name="connsiteY343" fmla="*/ 3504 h 479077"/>
                <a:gd name="connsiteX344" fmla="*/ 1441177 w 3785642"/>
                <a:gd name="connsiteY344" fmla="*/ 1520 h 479077"/>
                <a:gd name="connsiteX345" fmla="*/ 1457548 w 3785642"/>
                <a:gd name="connsiteY345" fmla="*/ 2512 h 479077"/>
                <a:gd name="connsiteX346" fmla="*/ 1473919 w 3785642"/>
                <a:gd name="connsiteY346" fmla="*/ 2016 h 479077"/>
                <a:gd name="connsiteX347" fmla="*/ 1490289 w 3785642"/>
                <a:gd name="connsiteY347" fmla="*/ 2016 h 479077"/>
                <a:gd name="connsiteX348" fmla="*/ 1506660 w 3785642"/>
                <a:gd name="connsiteY348" fmla="*/ 1520 h 479077"/>
                <a:gd name="connsiteX349" fmla="*/ 1523030 w 3785642"/>
                <a:gd name="connsiteY349" fmla="*/ 3504 h 479077"/>
                <a:gd name="connsiteX350" fmla="*/ 1539401 w 3785642"/>
                <a:gd name="connsiteY350" fmla="*/ 3008 h 479077"/>
                <a:gd name="connsiteX351" fmla="*/ 1555771 w 3785642"/>
                <a:gd name="connsiteY351" fmla="*/ 3008 h 479077"/>
                <a:gd name="connsiteX352" fmla="*/ 1572142 w 3785642"/>
                <a:gd name="connsiteY352" fmla="*/ 2512 h 479077"/>
                <a:gd name="connsiteX353" fmla="*/ 1588512 w 3785642"/>
                <a:gd name="connsiteY353" fmla="*/ 2016 h 479077"/>
                <a:gd name="connsiteX354" fmla="*/ 1604883 w 3785642"/>
                <a:gd name="connsiteY354" fmla="*/ 3008 h 479077"/>
                <a:gd name="connsiteX355" fmla="*/ 1621253 w 3785642"/>
                <a:gd name="connsiteY355" fmla="*/ 3008 h 479077"/>
                <a:gd name="connsiteX356" fmla="*/ 1637624 w 3785642"/>
                <a:gd name="connsiteY35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498908 w 3785642"/>
                <a:gd name="connsiteY24" fmla="*/ 171674 h 479077"/>
                <a:gd name="connsiteX25" fmla="*/ 3405646 w 3785642"/>
                <a:gd name="connsiteY25" fmla="*/ 79404 h 479077"/>
                <a:gd name="connsiteX26" fmla="*/ 3393740 w 3785642"/>
                <a:gd name="connsiteY26" fmla="*/ 68490 h 479077"/>
                <a:gd name="connsiteX27" fmla="*/ 3382330 w 3785642"/>
                <a:gd name="connsiteY27" fmla="*/ 56584 h 479077"/>
                <a:gd name="connsiteX28" fmla="*/ 3370921 w 3785642"/>
                <a:gd name="connsiteY28" fmla="*/ 44678 h 479077"/>
                <a:gd name="connsiteX29" fmla="*/ 3313375 w 3785642"/>
                <a:gd name="connsiteY29" fmla="*/ 10945 h 479077"/>
                <a:gd name="connsiteX30" fmla="*/ 3300973 w 3785642"/>
                <a:gd name="connsiteY30" fmla="*/ 21363 h 479077"/>
                <a:gd name="connsiteX31" fmla="*/ 3289068 w 3785642"/>
                <a:gd name="connsiteY31" fmla="*/ 32276 h 479077"/>
                <a:gd name="connsiteX32" fmla="*/ 3277658 w 3785642"/>
                <a:gd name="connsiteY32" fmla="*/ 43686 h 479077"/>
                <a:gd name="connsiteX33" fmla="*/ 3266248 w 3785642"/>
                <a:gd name="connsiteY33" fmla="*/ 55592 h 479077"/>
                <a:gd name="connsiteX34" fmla="*/ 3255830 w 3785642"/>
                <a:gd name="connsiteY34" fmla="*/ 68490 h 479077"/>
                <a:gd name="connsiteX35" fmla="*/ 3243924 w 3785642"/>
                <a:gd name="connsiteY35" fmla="*/ 79900 h 479077"/>
                <a:gd name="connsiteX36" fmla="*/ 3231522 w 3785642"/>
                <a:gd name="connsiteY36" fmla="*/ 90814 h 479077"/>
                <a:gd name="connsiteX37" fmla="*/ 3220609 w 3785642"/>
                <a:gd name="connsiteY37" fmla="*/ 102720 h 479077"/>
                <a:gd name="connsiteX38" fmla="*/ 3208207 w 3785642"/>
                <a:gd name="connsiteY38" fmla="*/ 113137 h 479077"/>
                <a:gd name="connsiteX39" fmla="*/ 3197293 w 3785642"/>
                <a:gd name="connsiteY39" fmla="*/ 125043 h 479077"/>
                <a:gd name="connsiteX40" fmla="*/ 3185387 w 3785642"/>
                <a:gd name="connsiteY40" fmla="*/ 136453 h 479077"/>
                <a:gd name="connsiteX41" fmla="*/ 3174970 w 3785642"/>
                <a:gd name="connsiteY41" fmla="*/ 148855 h 479077"/>
                <a:gd name="connsiteX42" fmla="*/ 3162071 w 3785642"/>
                <a:gd name="connsiteY42" fmla="*/ 159272 h 479077"/>
                <a:gd name="connsiteX43" fmla="*/ 3151158 w 3785642"/>
                <a:gd name="connsiteY43" fmla="*/ 171674 h 479077"/>
                <a:gd name="connsiteX44" fmla="*/ 3139252 w 3785642"/>
                <a:gd name="connsiteY44" fmla="*/ 182588 h 479077"/>
                <a:gd name="connsiteX45" fmla="*/ 3127843 w 3785642"/>
                <a:gd name="connsiteY45" fmla="*/ 194494 h 479077"/>
                <a:gd name="connsiteX46" fmla="*/ 3116432 w 3785642"/>
                <a:gd name="connsiteY46" fmla="*/ 205904 h 479077"/>
                <a:gd name="connsiteX47" fmla="*/ 3105022 w 3785642"/>
                <a:gd name="connsiteY47" fmla="*/ 217810 h 479077"/>
                <a:gd name="connsiteX48" fmla="*/ 3093117 w 3785642"/>
                <a:gd name="connsiteY48" fmla="*/ 229219 h 479077"/>
                <a:gd name="connsiteX49" fmla="*/ 3081707 w 3785642"/>
                <a:gd name="connsiteY49" fmla="*/ 240629 h 479077"/>
                <a:gd name="connsiteX50" fmla="*/ 3069305 w 3785642"/>
                <a:gd name="connsiteY50" fmla="*/ 251543 h 479077"/>
                <a:gd name="connsiteX51" fmla="*/ 3057895 w 3785642"/>
                <a:gd name="connsiteY51" fmla="*/ 263449 h 479077"/>
                <a:gd name="connsiteX52" fmla="*/ 3046486 w 3785642"/>
                <a:gd name="connsiteY52" fmla="*/ 275355 h 479077"/>
                <a:gd name="connsiteX53" fmla="*/ 3035572 w 3785642"/>
                <a:gd name="connsiteY53" fmla="*/ 287260 h 479077"/>
                <a:gd name="connsiteX54" fmla="*/ 3024658 w 3785642"/>
                <a:gd name="connsiteY54" fmla="*/ 299166 h 479077"/>
                <a:gd name="connsiteX55" fmla="*/ 3013248 w 3785642"/>
                <a:gd name="connsiteY55" fmla="*/ 311072 h 479077"/>
                <a:gd name="connsiteX56" fmla="*/ 3000350 w 3785642"/>
                <a:gd name="connsiteY56" fmla="*/ 321490 h 479077"/>
                <a:gd name="connsiteX57" fmla="*/ 2988941 w 3785642"/>
                <a:gd name="connsiteY57" fmla="*/ 333396 h 479077"/>
                <a:gd name="connsiteX58" fmla="*/ 2976539 w 3785642"/>
                <a:gd name="connsiteY58" fmla="*/ 344309 h 479077"/>
                <a:gd name="connsiteX59" fmla="*/ 2965129 w 3785642"/>
                <a:gd name="connsiteY59" fmla="*/ 356215 h 479077"/>
                <a:gd name="connsiteX60" fmla="*/ 2953223 w 3785642"/>
                <a:gd name="connsiteY60" fmla="*/ 367625 h 479077"/>
                <a:gd name="connsiteX61" fmla="*/ 2941813 w 3785642"/>
                <a:gd name="connsiteY61" fmla="*/ 379531 h 479077"/>
                <a:gd name="connsiteX62" fmla="*/ 2931395 w 3785642"/>
                <a:gd name="connsiteY62" fmla="*/ 392429 h 479077"/>
                <a:gd name="connsiteX63" fmla="*/ 2918497 w 3785642"/>
                <a:gd name="connsiteY63" fmla="*/ 402847 h 479077"/>
                <a:gd name="connsiteX64" fmla="*/ 2907584 w 3785642"/>
                <a:gd name="connsiteY64" fmla="*/ 415249 h 479077"/>
                <a:gd name="connsiteX65" fmla="*/ 2896174 w 3785642"/>
                <a:gd name="connsiteY65" fmla="*/ 426658 h 479077"/>
                <a:gd name="connsiteX66" fmla="*/ 2884268 w 3785642"/>
                <a:gd name="connsiteY66" fmla="*/ 438068 h 479077"/>
                <a:gd name="connsiteX67" fmla="*/ 2873354 w 3785642"/>
                <a:gd name="connsiteY67" fmla="*/ 450470 h 479077"/>
                <a:gd name="connsiteX68" fmla="*/ 2860952 w 3785642"/>
                <a:gd name="connsiteY68" fmla="*/ 461384 h 479077"/>
                <a:gd name="connsiteX69" fmla="*/ 2850039 w 3785642"/>
                <a:gd name="connsiteY69" fmla="*/ 473786 h 479077"/>
                <a:gd name="connsiteX70" fmla="*/ 2833668 w 3785642"/>
                <a:gd name="connsiteY70" fmla="*/ 473786 h 479077"/>
                <a:gd name="connsiteX71" fmla="*/ 2817297 w 3785642"/>
                <a:gd name="connsiteY71" fmla="*/ 473290 h 479077"/>
                <a:gd name="connsiteX72" fmla="*/ 2800927 w 3785642"/>
                <a:gd name="connsiteY72" fmla="*/ 473290 h 479077"/>
                <a:gd name="connsiteX73" fmla="*/ 2784556 w 3785642"/>
                <a:gd name="connsiteY73" fmla="*/ 473786 h 479077"/>
                <a:gd name="connsiteX74" fmla="*/ 2768186 w 3785642"/>
                <a:gd name="connsiteY74" fmla="*/ 474282 h 479077"/>
                <a:gd name="connsiteX75" fmla="*/ 2751815 w 3785642"/>
                <a:gd name="connsiteY75" fmla="*/ 474282 h 479077"/>
                <a:gd name="connsiteX76" fmla="*/ 2735444 w 3785642"/>
                <a:gd name="connsiteY76" fmla="*/ 473290 h 479077"/>
                <a:gd name="connsiteX77" fmla="*/ 2719074 w 3785642"/>
                <a:gd name="connsiteY77" fmla="*/ 474282 h 479077"/>
                <a:gd name="connsiteX78" fmla="*/ 2702703 w 3785642"/>
                <a:gd name="connsiteY78" fmla="*/ 472298 h 479077"/>
                <a:gd name="connsiteX79" fmla="*/ 2686333 w 3785642"/>
                <a:gd name="connsiteY79" fmla="*/ 472794 h 479077"/>
                <a:gd name="connsiteX80" fmla="*/ 2669962 w 3785642"/>
                <a:gd name="connsiteY80" fmla="*/ 474282 h 479077"/>
                <a:gd name="connsiteX81" fmla="*/ 2653592 w 3785642"/>
                <a:gd name="connsiteY81" fmla="*/ 472298 h 479077"/>
                <a:gd name="connsiteX82" fmla="*/ 2637221 w 3785642"/>
                <a:gd name="connsiteY82" fmla="*/ 474282 h 479077"/>
                <a:gd name="connsiteX83" fmla="*/ 2620851 w 3785642"/>
                <a:gd name="connsiteY83" fmla="*/ 474282 h 479077"/>
                <a:gd name="connsiteX84" fmla="*/ 2604480 w 3785642"/>
                <a:gd name="connsiteY84" fmla="*/ 472298 h 479077"/>
                <a:gd name="connsiteX85" fmla="*/ 2588109 w 3785642"/>
                <a:gd name="connsiteY85" fmla="*/ 473786 h 479077"/>
                <a:gd name="connsiteX86" fmla="*/ 2571739 w 3785642"/>
                <a:gd name="connsiteY86" fmla="*/ 472298 h 479077"/>
                <a:gd name="connsiteX87" fmla="*/ 2555368 w 3785642"/>
                <a:gd name="connsiteY87" fmla="*/ 473290 h 479077"/>
                <a:gd name="connsiteX88" fmla="*/ 2538998 w 3785642"/>
                <a:gd name="connsiteY88" fmla="*/ 474282 h 479077"/>
                <a:gd name="connsiteX89" fmla="*/ 2522627 w 3785642"/>
                <a:gd name="connsiteY89" fmla="*/ 473290 h 479077"/>
                <a:gd name="connsiteX90" fmla="*/ 2506257 w 3785642"/>
                <a:gd name="connsiteY90" fmla="*/ 474282 h 479077"/>
                <a:gd name="connsiteX91" fmla="*/ 2489886 w 3785642"/>
                <a:gd name="connsiteY91" fmla="*/ 473786 h 479077"/>
                <a:gd name="connsiteX92" fmla="*/ 2473516 w 3785642"/>
                <a:gd name="connsiteY92" fmla="*/ 474282 h 479077"/>
                <a:gd name="connsiteX93" fmla="*/ 2457145 w 3785642"/>
                <a:gd name="connsiteY93" fmla="*/ 472794 h 479077"/>
                <a:gd name="connsiteX94" fmla="*/ 2440775 w 3785642"/>
                <a:gd name="connsiteY94" fmla="*/ 472298 h 479077"/>
                <a:gd name="connsiteX95" fmla="*/ 2424404 w 3785642"/>
                <a:gd name="connsiteY95" fmla="*/ 473786 h 479077"/>
                <a:gd name="connsiteX96" fmla="*/ 2408033 w 3785642"/>
                <a:gd name="connsiteY96" fmla="*/ 472794 h 479077"/>
                <a:gd name="connsiteX97" fmla="*/ 2391663 w 3785642"/>
                <a:gd name="connsiteY97" fmla="*/ 473290 h 479077"/>
                <a:gd name="connsiteX98" fmla="*/ 2375292 w 3785642"/>
                <a:gd name="connsiteY98" fmla="*/ 473290 h 479077"/>
                <a:gd name="connsiteX99" fmla="*/ 2358922 w 3785642"/>
                <a:gd name="connsiteY99" fmla="*/ 472794 h 479077"/>
                <a:gd name="connsiteX100" fmla="*/ 2342551 w 3785642"/>
                <a:gd name="connsiteY100" fmla="*/ 472298 h 479077"/>
                <a:gd name="connsiteX101" fmla="*/ 2326180 w 3785642"/>
                <a:gd name="connsiteY101" fmla="*/ 473786 h 479077"/>
                <a:gd name="connsiteX102" fmla="*/ 2309810 w 3785642"/>
                <a:gd name="connsiteY102" fmla="*/ 473786 h 479077"/>
                <a:gd name="connsiteX103" fmla="*/ 2293439 w 3785642"/>
                <a:gd name="connsiteY103" fmla="*/ 473786 h 479077"/>
                <a:gd name="connsiteX104" fmla="*/ 2277069 w 3785642"/>
                <a:gd name="connsiteY104" fmla="*/ 472794 h 479077"/>
                <a:gd name="connsiteX105" fmla="*/ 2260698 w 3785642"/>
                <a:gd name="connsiteY105" fmla="*/ 474282 h 479077"/>
                <a:gd name="connsiteX106" fmla="*/ 2244327 w 3785642"/>
                <a:gd name="connsiteY106" fmla="*/ 472298 h 479077"/>
                <a:gd name="connsiteX107" fmla="*/ 2227957 w 3785642"/>
                <a:gd name="connsiteY107" fmla="*/ 474282 h 479077"/>
                <a:gd name="connsiteX108" fmla="*/ 2211586 w 3785642"/>
                <a:gd name="connsiteY108" fmla="*/ 473290 h 479077"/>
                <a:gd name="connsiteX109" fmla="*/ 2195216 w 3785642"/>
                <a:gd name="connsiteY109" fmla="*/ 474282 h 479077"/>
                <a:gd name="connsiteX110" fmla="*/ 2178845 w 3785642"/>
                <a:gd name="connsiteY110" fmla="*/ 472794 h 479077"/>
                <a:gd name="connsiteX111" fmla="*/ 2162474 w 3785642"/>
                <a:gd name="connsiteY111" fmla="*/ 474778 h 479077"/>
                <a:gd name="connsiteX112" fmla="*/ 2146104 w 3785642"/>
                <a:gd name="connsiteY112" fmla="*/ 473290 h 479077"/>
                <a:gd name="connsiteX113" fmla="*/ 2129733 w 3785642"/>
                <a:gd name="connsiteY113" fmla="*/ 474778 h 479077"/>
                <a:gd name="connsiteX114" fmla="*/ 2113363 w 3785642"/>
                <a:gd name="connsiteY114" fmla="*/ 474778 h 479077"/>
                <a:gd name="connsiteX115" fmla="*/ 2096992 w 3785642"/>
                <a:gd name="connsiteY115" fmla="*/ 474778 h 479077"/>
                <a:gd name="connsiteX116" fmla="*/ 2080621 w 3785642"/>
                <a:gd name="connsiteY116" fmla="*/ 474282 h 479077"/>
                <a:gd name="connsiteX117" fmla="*/ 2064251 w 3785642"/>
                <a:gd name="connsiteY117" fmla="*/ 472794 h 479077"/>
                <a:gd name="connsiteX118" fmla="*/ 2047880 w 3785642"/>
                <a:gd name="connsiteY118" fmla="*/ 474778 h 479077"/>
                <a:gd name="connsiteX119" fmla="*/ 2031510 w 3785642"/>
                <a:gd name="connsiteY119" fmla="*/ 474778 h 479077"/>
                <a:gd name="connsiteX120" fmla="*/ 2015139 w 3785642"/>
                <a:gd name="connsiteY120" fmla="*/ 474778 h 479077"/>
                <a:gd name="connsiteX121" fmla="*/ 1998769 w 3785642"/>
                <a:gd name="connsiteY121" fmla="*/ 474282 h 479077"/>
                <a:gd name="connsiteX122" fmla="*/ 1982398 w 3785642"/>
                <a:gd name="connsiteY122" fmla="*/ 473786 h 479077"/>
                <a:gd name="connsiteX123" fmla="*/ 1966028 w 3785642"/>
                <a:gd name="connsiteY123" fmla="*/ 473786 h 479077"/>
                <a:gd name="connsiteX124" fmla="*/ 1949657 w 3785642"/>
                <a:gd name="connsiteY124" fmla="*/ 472794 h 479077"/>
                <a:gd name="connsiteX125" fmla="*/ 1933287 w 3785642"/>
                <a:gd name="connsiteY125" fmla="*/ 473290 h 479077"/>
                <a:gd name="connsiteX126" fmla="*/ 1916916 w 3785642"/>
                <a:gd name="connsiteY126" fmla="*/ 474778 h 479077"/>
                <a:gd name="connsiteX127" fmla="*/ 1900546 w 3785642"/>
                <a:gd name="connsiteY127" fmla="*/ 472794 h 479077"/>
                <a:gd name="connsiteX128" fmla="*/ 1884175 w 3785642"/>
                <a:gd name="connsiteY128" fmla="*/ 473786 h 479077"/>
                <a:gd name="connsiteX129" fmla="*/ 1867804 w 3785642"/>
                <a:gd name="connsiteY129" fmla="*/ 474778 h 479077"/>
                <a:gd name="connsiteX130" fmla="*/ 1851434 w 3785642"/>
                <a:gd name="connsiteY130" fmla="*/ 474778 h 479077"/>
                <a:gd name="connsiteX131" fmla="*/ 1835063 w 3785642"/>
                <a:gd name="connsiteY131" fmla="*/ 474778 h 479077"/>
                <a:gd name="connsiteX132" fmla="*/ 1818693 w 3785642"/>
                <a:gd name="connsiteY132" fmla="*/ 474282 h 479077"/>
                <a:gd name="connsiteX133" fmla="*/ 1802322 w 3785642"/>
                <a:gd name="connsiteY133" fmla="*/ 472794 h 479077"/>
                <a:gd name="connsiteX134" fmla="*/ 1785951 w 3785642"/>
                <a:gd name="connsiteY134" fmla="*/ 473786 h 479077"/>
                <a:gd name="connsiteX135" fmla="*/ 1769581 w 3785642"/>
                <a:gd name="connsiteY135" fmla="*/ 473290 h 479077"/>
                <a:gd name="connsiteX136" fmla="*/ 1753210 w 3785642"/>
                <a:gd name="connsiteY136" fmla="*/ 472298 h 479077"/>
                <a:gd name="connsiteX137" fmla="*/ 1736840 w 3785642"/>
                <a:gd name="connsiteY137" fmla="*/ 473290 h 479077"/>
                <a:gd name="connsiteX138" fmla="*/ 1720469 w 3785642"/>
                <a:gd name="connsiteY138" fmla="*/ 474778 h 479077"/>
                <a:gd name="connsiteX139" fmla="*/ 1704098 w 3785642"/>
                <a:gd name="connsiteY139" fmla="*/ 472794 h 479077"/>
                <a:gd name="connsiteX140" fmla="*/ 1687728 w 3785642"/>
                <a:gd name="connsiteY140" fmla="*/ 474778 h 479077"/>
                <a:gd name="connsiteX141" fmla="*/ 1671357 w 3785642"/>
                <a:gd name="connsiteY141" fmla="*/ 474778 h 479077"/>
                <a:gd name="connsiteX142" fmla="*/ 1654987 w 3785642"/>
                <a:gd name="connsiteY142" fmla="*/ 472298 h 479077"/>
                <a:gd name="connsiteX143" fmla="*/ 1638616 w 3785642"/>
                <a:gd name="connsiteY143" fmla="*/ 472794 h 479077"/>
                <a:gd name="connsiteX144" fmla="*/ 1622246 w 3785642"/>
                <a:gd name="connsiteY144" fmla="*/ 473786 h 479077"/>
                <a:gd name="connsiteX145" fmla="*/ 1605875 w 3785642"/>
                <a:gd name="connsiteY145" fmla="*/ 474778 h 479077"/>
                <a:gd name="connsiteX146" fmla="*/ 1589505 w 3785642"/>
                <a:gd name="connsiteY146" fmla="*/ 473290 h 479077"/>
                <a:gd name="connsiteX147" fmla="*/ 1573134 w 3785642"/>
                <a:gd name="connsiteY147" fmla="*/ 474778 h 479077"/>
                <a:gd name="connsiteX148" fmla="*/ 1556763 w 3785642"/>
                <a:gd name="connsiteY148" fmla="*/ 472794 h 479077"/>
                <a:gd name="connsiteX149" fmla="*/ 1540393 w 3785642"/>
                <a:gd name="connsiteY149" fmla="*/ 472794 h 479077"/>
                <a:gd name="connsiteX150" fmla="*/ 1524022 w 3785642"/>
                <a:gd name="connsiteY150" fmla="*/ 474282 h 479077"/>
                <a:gd name="connsiteX151" fmla="*/ 1507652 w 3785642"/>
                <a:gd name="connsiteY151" fmla="*/ 472794 h 479077"/>
                <a:gd name="connsiteX152" fmla="*/ 1491281 w 3785642"/>
                <a:gd name="connsiteY152" fmla="*/ 474282 h 479077"/>
                <a:gd name="connsiteX153" fmla="*/ 1474910 w 3785642"/>
                <a:gd name="connsiteY153" fmla="*/ 474282 h 479077"/>
                <a:gd name="connsiteX154" fmla="*/ 1458540 w 3785642"/>
                <a:gd name="connsiteY154" fmla="*/ 472794 h 479077"/>
                <a:gd name="connsiteX155" fmla="*/ 1442169 w 3785642"/>
                <a:gd name="connsiteY155" fmla="*/ 471802 h 479077"/>
                <a:gd name="connsiteX156" fmla="*/ 1425799 w 3785642"/>
                <a:gd name="connsiteY156" fmla="*/ 472298 h 479077"/>
                <a:gd name="connsiteX157" fmla="*/ 1409428 w 3785642"/>
                <a:gd name="connsiteY157" fmla="*/ 472794 h 479077"/>
                <a:gd name="connsiteX158" fmla="*/ 1393058 w 3785642"/>
                <a:gd name="connsiteY158" fmla="*/ 473786 h 479077"/>
                <a:gd name="connsiteX159" fmla="*/ 1376687 w 3785642"/>
                <a:gd name="connsiteY159" fmla="*/ 471802 h 479077"/>
                <a:gd name="connsiteX160" fmla="*/ 1360317 w 3785642"/>
                <a:gd name="connsiteY160" fmla="*/ 473786 h 479077"/>
                <a:gd name="connsiteX161" fmla="*/ 1343946 w 3785642"/>
                <a:gd name="connsiteY161" fmla="*/ 473786 h 479077"/>
                <a:gd name="connsiteX162" fmla="*/ 1327576 w 3785642"/>
                <a:gd name="connsiteY162" fmla="*/ 472794 h 479077"/>
                <a:gd name="connsiteX163" fmla="*/ 1311205 w 3785642"/>
                <a:gd name="connsiteY163" fmla="*/ 473786 h 479077"/>
                <a:gd name="connsiteX164" fmla="*/ 1294834 w 3785642"/>
                <a:gd name="connsiteY164" fmla="*/ 473786 h 479077"/>
                <a:gd name="connsiteX165" fmla="*/ 1278464 w 3785642"/>
                <a:gd name="connsiteY165" fmla="*/ 473786 h 479077"/>
                <a:gd name="connsiteX166" fmla="*/ 1262093 w 3785642"/>
                <a:gd name="connsiteY166" fmla="*/ 473786 h 479077"/>
                <a:gd name="connsiteX167" fmla="*/ 1245723 w 3785642"/>
                <a:gd name="connsiteY167" fmla="*/ 473290 h 479077"/>
                <a:gd name="connsiteX168" fmla="*/ 1229352 w 3785642"/>
                <a:gd name="connsiteY168" fmla="*/ 472794 h 479077"/>
                <a:gd name="connsiteX169" fmla="*/ 1212981 w 3785642"/>
                <a:gd name="connsiteY169" fmla="*/ 473786 h 479077"/>
                <a:gd name="connsiteX170" fmla="*/ 1196611 w 3785642"/>
                <a:gd name="connsiteY170" fmla="*/ 472298 h 479077"/>
                <a:gd name="connsiteX171" fmla="*/ 1180240 w 3785642"/>
                <a:gd name="connsiteY171" fmla="*/ 472794 h 479077"/>
                <a:gd name="connsiteX172" fmla="*/ 1163870 w 3785642"/>
                <a:gd name="connsiteY172" fmla="*/ 472794 h 479077"/>
                <a:gd name="connsiteX173" fmla="*/ 1147499 w 3785642"/>
                <a:gd name="connsiteY173" fmla="*/ 473786 h 479077"/>
                <a:gd name="connsiteX174" fmla="*/ 1131128 w 3785642"/>
                <a:gd name="connsiteY174" fmla="*/ 473786 h 479077"/>
                <a:gd name="connsiteX175" fmla="*/ 1114758 w 3785642"/>
                <a:gd name="connsiteY175" fmla="*/ 472794 h 479077"/>
                <a:gd name="connsiteX176" fmla="*/ 1098387 w 3785642"/>
                <a:gd name="connsiteY176" fmla="*/ 473786 h 479077"/>
                <a:gd name="connsiteX177" fmla="*/ 1082017 w 3785642"/>
                <a:gd name="connsiteY177" fmla="*/ 474778 h 479077"/>
                <a:gd name="connsiteX178" fmla="*/ 1065646 w 3785642"/>
                <a:gd name="connsiteY178" fmla="*/ 474778 h 479077"/>
                <a:gd name="connsiteX179" fmla="*/ 1049276 w 3785642"/>
                <a:gd name="connsiteY179" fmla="*/ 474282 h 479077"/>
                <a:gd name="connsiteX180" fmla="*/ 1032905 w 3785642"/>
                <a:gd name="connsiteY180" fmla="*/ 473290 h 479077"/>
                <a:gd name="connsiteX181" fmla="*/ 1016535 w 3785642"/>
                <a:gd name="connsiteY181" fmla="*/ 474282 h 479077"/>
                <a:gd name="connsiteX182" fmla="*/ 1000164 w 3785642"/>
                <a:gd name="connsiteY182" fmla="*/ 474282 h 479077"/>
                <a:gd name="connsiteX183" fmla="*/ 983793 w 3785642"/>
                <a:gd name="connsiteY183" fmla="*/ 472794 h 479077"/>
                <a:gd name="connsiteX184" fmla="*/ 967423 w 3785642"/>
                <a:gd name="connsiteY184" fmla="*/ 472794 h 479077"/>
                <a:gd name="connsiteX185" fmla="*/ 951052 w 3785642"/>
                <a:gd name="connsiteY185" fmla="*/ 473786 h 479077"/>
                <a:gd name="connsiteX186" fmla="*/ 934682 w 3785642"/>
                <a:gd name="connsiteY186" fmla="*/ 474282 h 479077"/>
                <a:gd name="connsiteX187" fmla="*/ 918311 w 3785642"/>
                <a:gd name="connsiteY187" fmla="*/ 474778 h 479077"/>
                <a:gd name="connsiteX188" fmla="*/ 901940 w 3785642"/>
                <a:gd name="connsiteY188" fmla="*/ 473290 h 479077"/>
                <a:gd name="connsiteX189" fmla="*/ 885570 w 3785642"/>
                <a:gd name="connsiteY189" fmla="*/ 474778 h 479077"/>
                <a:gd name="connsiteX190" fmla="*/ 869199 w 3785642"/>
                <a:gd name="connsiteY190" fmla="*/ 474282 h 479077"/>
                <a:gd name="connsiteX191" fmla="*/ 852829 w 3785642"/>
                <a:gd name="connsiteY191" fmla="*/ 473786 h 479077"/>
                <a:gd name="connsiteX192" fmla="*/ 836458 w 3785642"/>
                <a:gd name="connsiteY192" fmla="*/ 474778 h 479077"/>
                <a:gd name="connsiteX193" fmla="*/ 820088 w 3785642"/>
                <a:gd name="connsiteY193" fmla="*/ 475274 h 479077"/>
                <a:gd name="connsiteX194" fmla="*/ 803717 w 3785642"/>
                <a:gd name="connsiteY194" fmla="*/ 473786 h 479077"/>
                <a:gd name="connsiteX195" fmla="*/ 787347 w 3785642"/>
                <a:gd name="connsiteY195" fmla="*/ 475770 h 479077"/>
                <a:gd name="connsiteX196" fmla="*/ 770976 w 3785642"/>
                <a:gd name="connsiteY196" fmla="*/ 474778 h 479077"/>
                <a:gd name="connsiteX197" fmla="*/ 754605 w 3785642"/>
                <a:gd name="connsiteY197" fmla="*/ 475274 h 479077"/>
                <a:gd name="connsiteX198" fmla="*/ 738235 w 3785642"/>
                <a:gd name="connsiteY198" fmla="*/ 473786 h 479077"/>
                <a:gd name="connsiteX199" fmla="*/ 721864 w 3785642"/>
                <a:gd name="connsiteY199" fmla="*/ 475274 h 479077"/>
                <a:gd name="connsiteX200" fmla="*/ 705494 w 3785642"/>
                <a:gd name="connsiteY200" fmla="*/ 475770 h 479077"/>
                <a:gd name="connsiteX201" fmla="*/ 689123 w 3785642"/>
                <a:gd name="connsiteY201" fmla="*/ 474282 h 479077"/>
                <a:gd name="connsiteX202" fmla="*/ 672753 w 3785642"/>
                <a:gd name="connsiteY202" fmla="*/ 475274 h 479077"/>
                <a:gd name="connsiteX203" fmla="*/ 656382 w 3785642"/>
                <a:gd name="connsiteY203" fmla="*/ 474778 h 479077"/>
                <a:gd name="connsiteX204" fmla="*/ 640011 w 3785642"/>
                <a:gd name="connsiteY204" fmla="*/ 475770 h 479077"/>
                <a:gd name="connsiteX205" fmla="*/ 623641 w 3785642"/>
                <a:gd name="connsiteY205" fmla="*/ 473786 h 479077"/>
                <a:gd name="connsiteX206" fmla="*/ 607270 w 3785642"/>
                <a:gd name="connsiteY206" fmla="*/ 474778 h 479077"/>
                <a:gd name="connsiteX207" fmla="*/ 590900 w 3785642"/>
                <a:gd name="connsiteY207" fmla="*/ 475274 h 479077"/>
                <a:gd name="connsiteX208" fmla="*/ 574529 w 3785642"/>
                <a:gd name="connsiteY208" fmla="*/ 474282 h 479077"/>
                <a:gd name="connsiteX209" fmla="*/ 558158 w 3785642"/>
                <a:gd name="connsiteY209" fmla="*/ 475274 h 479077"/>
                <a:gd name="connsiteX210" fmla="*/ 541788 w 3785642"/>
                <a:gd name="connsiteY210" fmla="*/ 475770 h 479077"/>
                <a:gd name="connsiteX211" fmla="*/ 525417 w 3785642"/>
                <a:gd name="connsiteY211" fmla="*/ 474282 h 479077"/>
                <a:gd name="connsiteX212" fmla="*/ 509047 w 3785642"/>
                <a:gd name="connsiteY212" fmla="*/ 473786 h 479077"/>
                <a:gd name="connsiteX213" fmla="*/ 492676 w 3785642"/>
                <a:gd name="connsiteY213" fmla="*/ 473786 h 479077"/>
                <a:gd name="connsiteX214" fmla="*/ 476306 w 3785642"/>
                <a:gd name="connsiteY214" fmla="*/ 474778 h 479077"/>
                <a:gd name="connsiteX215" fmla="*/ 459935 w 3785642"/>
                <a:gd name="connsiteY215" fmla="*/ 473786 h 479077"/>
                <a:gd name="connsiteX216" fmla="*/ 443565 w 3785642"/>
                <a:gd name="connsiteY216" fmla="*/ 474778 h 479077"/>
                <a:gd name="connsiteX217" fmla="*/ 427194 w 3785642"/>
                <a:gd name="connsiteY217" fmla="*/ 474282 h 479077"/>
                <a:gd name="connsiteX218" fmla="*/ 410823 w 3785642"/>
                <a:gd name="connsiteY218" fmla="*/ 473290 h 479077"/>
                <a:gd name="connsiteX219" fmla="*/ 394453 w 3785642"/>
                <a:gd name="connsiteY219" fmla="*/ 475770 h 479077"/>
                <a:gd name="connsiteX220" fmla="*/ 378082 w 3785642"/>
                <a:gd name="connsiteY220" fmla="*/ 475274 h 479077"/>
                <a:gd name="connsiteX221" fmla="*/ 361712 w 3785642"/>
                <a:gd name="connsiteY221" fmla="*/ 474778 h 479077"/>
                <a:gd name="connsiteX222" fmla="*/ 345341 w 3785642"/>
                <a:gd name="connsiteY222" fmla="*/ 476266 h 479077"/>
                <a:gd name="connsiteX223" fmla="*/ 328970 w 3785642"/>
                <a:gd name="connsiteY223" fmla="*/ 474282 h 479077"/>
                <a:gd name="connsiteX224" fmla="*/ 312600 w 3785642"/>
                <a:gd name="connsiteY224" fmla="*/ 475274 h 479077"/>
                <a:gd name="connsiteX225" fmla="*/ 296229 w 3785642"/>
                <a:gd name="connsiteY225" fmla="*/ 474282 h 479077"/>
                <a:gd name="connsiteX226" fmla="*/ 279859 w 3785642"/>
                <a:gd name="connsiteY226" fmla="*/ 475770 h 479077"/>
                <a:gd name="connsiteX227" fmla="*/ 263488 w 3785642"/>
                <a:gd name="connsiteY227" fmla="*/ 476266 h 479077"/>
                <a:gd name="connsiteX228" fmla="*/ 247118 w 3785642"/>
                <a:gd name="connsiteY228" fmla="*/ 476266 h 479077"/>
                <a:gd name="connsiteX229" fmla="*/ 230747 w 3785642"/>
                <a:gd name="connsiteY229" fmla="*/ 474778 h 479077"/>
                <a:gd name="connsiteX230" fmla="*/ 214376 w 3785642"/>
                <a:gd name="connsiteY230" fmla="*/ 474778 h 479077"/>
                <a:gd name="connsiteX231" fmla="*/ 198006 w 3785642"/>
                <a:gd name="connsiteY231" fmla="*/ 476762 h 479077"/>
                <a:gd name="connsiteX232" fmla="*/ 181635 w 3785642"/>
                <a:gd name="connsiteY232" fmla="*/ 476266 h 479077"/>
                <a:gd name="connsiteX233" fmla="*/ 165265 w 3785642"/>
                <a:gd name="connsiteY233" fmla="*/ 474778 h 479077"/>
                <a:gd name="connsiteX234" fmla="*/ 148894 w 3785642"/>
                <a:gd name="connsiteY234" fmla="*/ 476762 h 479077"/>
                <a:gd name="connsiteX235" fmla="*/ 132524 w 3785642"/>
                <a:gd name="connsiteY235" fmla="*/ 476266 h 479077"/>
                <a:gd name="connsiteX236" fmla="*/ 116153 w 3785642"/>
                <a:gd name="connsiteY236" fmla="*/ 475274 h 479077"/>
                <a:gd name="connsiteX237" fmla="*/ 99783 w 3785642"/>
                <a:gd name="connsiteY237" fmla="*/ 475274 h 479077"/>
                <a:gd name="connsiteX238" fmla="*/ 83412 w 3785642"/>
                <a:gd name="connsiteY238" fmla="*/ 475274 h 479077"/>
                <a:gd name="connsiteX239" fmla="*/ 67041 w 3785642"/>
                <a:gd name="connsiteY239" fmla="*/ 474778 h 479077"/>
                <a:gd name="connsiteX240" fmla="*/ 50671 w 3785642"/>
                <a:gd name="connsiteY240" fmla="*/ 475274 h 479077"/>
                <a:gd name="connsiteX241" fmla="*/ 34300 w 3785642"/>
                <a:gd name="connsiteY241" fmla="*/ 475274 h 479077"/>
                <a:gd name="connsiteX242" fmla="*/ 17930 w 3785642"/>
                <a:gd name="connsiteY242" fmla="*/ 475770 h 479077"/>
                <a:gd name="connsiteX243" fmla="*/ 567 w 3785642"/>
                <a:gd name="connsiteY243" fmla="*/ 475770 h 479077"/>
                <a:gd name="connsiteX244" fmla="*/ 12969 w 3785642"/>
                <a:gd name="connsiteY244" fmla="*/ 463368 h 479077"/>
                <a:gd name="connsiteX245" fmla="*/ 24379 w 3785642"/>
                <a:gd name="connsiteY245" fmla="*/ 451958 h 479077"/>
                <a:gd name="connsiteX246" fmla="*/ 35788 w 3785642"/>
                <a:gd name="connsiteY246" fmla="*/ 440053 h 479077"/>
                <a:gd name="connsiteX247" fmla="*/ 48686 w 3785642"/>
                <a:gd name="connsiteY247" fmla="*/ 430131 h 479077"/>
                <a:gd name="connsiteX248" fmla="*/ 59600 w 3785642"/>
                <a:gd name="connsiteY248" fmla="*/ 418225 h 479077"/>
                <a:gd name="connsiteX249" fmla="*/ 70514 w 3785642"/>
                <a:gd name="connsiteY249" fmla="*/ 405823 h 479077"/>
                <a:gd name="connsiteX250" fmla="*/ 83412 w 3785642"/>
                <a:gd name="connsiteY250" fmla="*/ 395406 h 479077"/>
                <a:gd name="connsiteX251" fmla="*/ 94822 w 3785642"/>
                <a:gd name="connsiteY251" fmla="*/ 383500 h 479077"/>
                <a:gd name="connsiteX252" fmla="*/ 106728 w 3785642"/>
                <a:gd name="connsiteY252" fmla="*/ 372090 h 479077"/>
                <a:gd name="connsiteX253" fmla="*/ 117145 w 3785642"/>
                <a:gd name="connsiteY253" fmla="*/ 359688 h 479077"/>
                <a:gd name="connsiteX254" fmla="*/ 128555 w 3785642"/>
                <a:gd name="connsiteY254" fmla="*/ 348278 h 479077"/>
                <a:gd name="connsiteX255" fmla="*/ 140461 w 3785642"/>
                <a:gd name="connsiteY255" fmla="*/ 336868 h 479077"/>
                <a:gd name="connsiteX256" fmla="*/ 152863 w 3785642"/>
                <a:gd name="connsiteY256" fmla="*/ 326451 h 479077"/>
                <a:gd name="connsiteX257" fmla="*/ 164769 w 3785642"/>
                <a:gd name="connsiteY257" fmla="*/ 315041 h 479077"/>
                <a:gd name="connsiteX258" fmla="*/ 176178 w 3785642"/>
                <a:gd name="connsiteY258" fmla="*/ 303135 h 479077"/>
                <a:gd name="connsiteX259" fmla="*/ 188084 w 3785642"/>
                <a:gd name="connsiteY259" fmla="*/ 291725 h 479077"/>
                <a:gd name="connsiteX260" fmla="*/ 199494 w 3785642"/>
                <a:gd name="connsiteY260" fmla="*/ 280315 h 479077"/>
                <a:gd name="connsiteX261" fmla="*/ 210904 w 3785642"/>
                <a:gd name="connsiteY261" fmla="*/ 268906 h 479077"/>
                <a:gd name="connsiteX262" fmla="*/ 221818 w 3785642"/>
                <a:gd name="connsiteY262" fmla="*/ 256504 h 479077"/>
                <a:gd name="connsiteX263" fmla="*/ 233724 w 3785642"/>
                <a:gd name="connsiteY263" fmla="*/ 245094 h 479077"/>
                <a:gd name="connsiteX264" fmla="*/ 244141 w 3785642"/>
                <a:gd name="connsiteY264" fmla="*/ 232692 h 479077"/>
                <a:gd name="connsiteX265" fmla="*/ 257039 w 3785642"/>
                <a:gd name="connsiteY265" fmla="*/ 222770 h 479077"/>
                <a:gd name="connsiteX266" fmla="*/ 266961 w 3785642"/>
                <a:gd name="connsiteY266" fmla="*/ 209376 h 479077"/>
                <a:gd name="connsiteX267" fmla="*/ 278371 w 3785642"/>
                <a:gd name="connsiteY267" fmla="*/ 197966 h 479077"/>
                <a:gd name="connsiteX268" fmla="*/ 291269 w 3785642"/>
                <a:gd name="connsiteY268" fmla="*/ 188045 h 479077"/>
                <a:gd name="connsiteX269" fmla="*/ 301686 w 3785642"/>
                <a:gd name="connsiteY269" fmla="*/ 175147 h 479077"/>
                <a:gd name="connsiteX270" fmla="*/ 313592 w 3785642"/>
                <a:gd name="connsiteY270" fmla="*/ 163737 h 479077"/>
                <a:gd name="connsiteX271" fmla="*/ 325994 w 3785642"/>
                <a:gd name="connsiteY271" fmla="*/ 153319 h 479077"/>
                <a:gd name="connsiteX272" fmla="*/ 337404 w 3785642"/>
                <a:gd name="connsiteY272" fmla="*/ 141910 h 479077"/>
                <a:gd name="connsiteX273" fmla="*/ 347325 w 3785642"/>
                <a:gd name="connsiteY273" fmla="*/ 129012 h 479077"/>
                <a:gd name="connsiteX274" fmla="*/ 360224 w 3785642"/>
                <a:gd name="connsiteY274" fmla="*/ 118594 h 479077"/>
                <a:gd name="connsiteX275" fmla="*/ 371137 w 3785642"/>
                <a:gd name="connsiteY275" fmla="*/ 106192 h 479077"/>
                <a:gd name="connsiteX276" fmla="*/ 382051 w 3785642"/>
                <a:gd name="connsiteY276" fmla="*/ 93790 h 479077"/>
                <a:gd name="connsiteX277" fmla="*/ 393957 w 3785642"/>
                <a:gd name="connsiteY277" fmla="*/ 82380 h 479077"/>
                <a:gd name="connsiteX278" fmla="*/ 405366 w 3785642"/>
                <a:gd name="connsiteY278" fmla="*/ 70475 h 479077"/>
                <a:gd name="connsiteX279" fmla="*/ 417272 w 3785642"/>
                <a:gd name="connsiteY279" fmla="*/ 59561 h 479077"/>
                <a:gd name="connsiteX280" fmla="*/ 429674 w 3785642"/>
                <a:gd name="connsiteY280" fmla="*/ 48647 h 479077"/>
                <a:gd name="connsiteX281" fmla="*/ 440092 w 3785642"/>
                <a:gd name="connsiteY281" fmla="*/ 35749 h 479077"/>
                <a:gd name="connsiteX282" fmla="*/ 452494 w 3785642"/>
                <a:gd name="connsiteY282" fmla="*/ 24835 h 479077"/>
                <a:gd name="connsiteX283" fmla="*/ 463904 w 3785642"/>
                <a:gd name="connsiteY283" fmla="*/ 12929 h 479077"/>
                <a:gd name="connsiteX284" fmla="*/ 475313 w 3785642"/>
                <a:gd name="connsiteY284" fmla="*/ 1024 h 479077"/>
                <a:gd name="connsiteX285" fmla="*/ 491684 w 3785642"/>
                <a:gd name="connsiteY285" fmla="*/ 2512 h 479077"/>
                <a:gd name="connsiteX286" fmla="*/ 508055 w 3785642"/>
                <a:gd name="connsiteY286" fmla="*/ 2512 h 479077"/>
                <a:gd name="connsiteX287" fmla="*/ 524425 w 3785642"/>
                <a:gd name="connsiteY287" fmla="*/ 2512 h 479077"/>
                <a:gd name="connsiteX288" fmla="*/ 540796 w 3785642"/>
                <a:gd name="connsiteY288" fmla="*/ 1024 h 479077"/>
                <a:gd name="connsiteX289" fmla="*/ 557166 w 3785642"/>
                <a:gd name="connsiteY289" fmla="*/ 2512 h 479077"/>
                <a:gd name="connsiteX290" fmla="*/ 573537 w 3785642"/>
                <a:gd name="connsiteY290" fmla="*/ 1024 h 479077"/>
                <a:gd name="connsiteX291" fmla="*/ 589908 w 3785642"/>
                <a:gd name="connsiteY291" fmla="*/ 527 h 479077"/>
                <a:gd name="connsiteX292" fmla="*/ 606278 w 3785642"/>
                <a:gd name="connsiteY292" fmla="*/ 1520 h 479077"/>
                <a:gd name="connsiteX293" fmla="*/ 622649 w 3785642"/>
                <a:gd name="connsiteY293" fmla="*/ 1520 h 479077"/>
                <a:gd name="connsiteX294" fmla="*/ 639019 w 3785642"/>
                <a:gd name="connsiteY294" fmla="*/ 2016 h 479077"/>
                <a:gd name="connsiteX295" fmla="*/ 655390 w 3785642"/>
                <a:gd name="connsiteY295" fmla="*/ 527 h 479077"/>
                <a:gd name="connsiteX296" fmla="*/ 671760 w 3785642"/>
                <a:gd name="connsiteY296" fmla="*/ 1520 h 479077"/>
                <a:gd name="connsiteX297" fmla="*/ 688131 w 3785642"/>
                <a:gd name="connsiteY297" fmla="*/ 2512 h 479077"/>
                <a:gd name="connsiteX298" fmla="*/ 704501 w 3785642"/>
                <a:gd name="connsiteY298" fmla="*/ 1024 h 479077"/>
                <a:gd name="connsiteX299" fmla="*/ 720872 w 3785642"/>
                <a:gd name="connsiteY299" fmla="*/ 1520 h 479077"/>
                <a:gd name="connsiteX300" fmla="*/ 737243 w 3785642"/>
                <a:gd name="connsiteY300" fmla="*/ 2016 h 479077"/>
                <a:gd name="connsiteX301" fmla="*/ 753613 w 3785642"/>
                <a:gd name="connsiteY301" fmla="*/ 1024 h 479077"/>
                <a:gd name="connsiteX302" fmla="*/ 769984 w 3785642"/>
                <a:gd name="connsiteY302" fmla="*/ 527 h 479077"/>
                <a:gd name="connsiteX303" fmla="*/ 786354 w 3785642"/>
                <a:gd name="connsiteY303" fmla="*/ 1520 h 479077"/>
                <a:gd name="connsiteX304" fmla="*/ 802725 w 3785642"/>
                <a:gd name="connsiteY304" fmla="*/ 527 h 479077"/>
                <a:gd name="connsiteX305" fmla="*/ 819096 w 3785642"/>
                <a:gd name="connsiteY305" fmla="*/ 2512 h 479077"/>
                <a:gd name="connsiteX306" fmla="*/ 835466 w 3785642"/>
                <a:gd name="connsiteY306" fmla="*/ 527 h 479077"/>
                <a:gd name="connsiteX307" fmla="*/ 851837 w 3785642"/>
                <a:gd name="connsiteY307" fmla="*/ 1520 h 479077"/>
                <a:gd name="connsiteX308" fmla="*/ 868207 w 3785642"/>
                <a:gd name="connsiteY308" fmla="*/ 2016 h 479077"/>
                <a:gd name="connsiteX309" fmla="*/ 884578 w 3785642"/>
                <a:gd name="connsiteY309" fmla="*/ 2512 h 479077"/>
                <a:gd name="connsiteX310" fmla="*/ 900948 w 3785642"/>
                <a:gd name="connsiteY310" fmla="*/ 1520 h 479077"/>
                <a:gd name="connsiteX311" fmla="*/ 917319 w 3785642"/>
                <a:gd name="connsiteY311" fmla="*/ 1024 h 479077"/>
                <a:gd name="connsiteX312" fmla="*/ 933689 w 3785642"/>
                <a:gd name="connsiteY312" fmla="*/ 2512 h 479077"/>
                <a:gd name="connsiteX313" fmla="*/ 950060 w 3785642"/>
                <a:gd name="connsiteY313" fmla="*/ 1520 h 479077"/>
                <a:gd name="connsiteX314" fmla="*/ 966431 w 3785642"/>
                <a:gd name="connsiteY314" fmla="*/ 2016 h 479077"/>
                <a:gd name="connsiteX315" fmla="*/ 982801 w 3785642"/>
                <a:gd name="connsiteY315" fmla="*/ 2512 h 479077"/>
                <a:gd name="connsiteX316" fmla="*/ 999172 w 3785642"/>
                <a:gd name="connsiteY316" fmla="*/ 1520 h 479077"/>
                <a:gd name="connsiteX317" fmla="*/ 1015542 w 3785642"/>
                <a:gd name="connsiteY317" fmla="*/ 2512 h 479077"/>
                <a:gd name="connsiteX318" fmla="*/ 1031913 w 3785642"/>
                <a:gd name="connsiteY318" fmla="*/ 1520 h 479077"/>
                <a:gd name="connsiteX319" fmla="*/ 1048283 w 3785642"/>
                <a:gd name="connsiteY319" fmla="*/ 2016 h 479077"/>
                <a:gd name="connsiteX320" fmla="*/ 1064654 w 3785642"/>
                <a:gd name="connsiteY320" fmla="*/ 3504 h 479077"/>
                <a:gd name="connsiteX321" fmla="*/ 1081025 w 3785642"/>
                <a:gd name="connsiteY321" fmla="*/ 2016 h 479077"/>
                <a:gd name="connsiteX322" fmla="*/ 1097395 w 3785642"/>
                <a:gd name="connsiteY322" fmla="*/ 2512 h 479077"/>
                <a:gd name="connsiteX323" fmla="*/ 1113766 w 3785642"/>
                <a:gd name="connsiteY323" fmla="*/ 2512 h 479077"/>
                <a:gd name="connsiteX324" fmla="*/ 1130136 w 3785642"/>
                <a:gd name="connsiteY324" fmla="*/ 3504 h 479077"/>
                <a:gd name="connsiteX325" fmla="*/ 1146507 w 3785642"/>
                <a:gd name="connsiteY325" fmla="*/ 1520 h 479077"/>
                <a:gd name="connsiteX326" fmla="*/ 1162878 w 3785642"/>
                <a:gd name="connsiteY326" fmla="*/ 3008 h 479077"/>
                <a:gd name="connsiteX327" fmla="*/ 1179248 w 3785642"/>
                <a:gd name="connsiteY327" fmla="*/ 4000 h 479077"/>
                <a:gd name="connsiteX328" fmla="*/ 1195619 w 3785642"/>
                <a:gd name="connsiteY328" fmla="*/ 3504 h 479077"/>
                <a:gd name="connsiteX329" fmla="*/ 1211989 w 3785642"/>
                <a:gd name="connsiteY329" fmla="*/ 1520 h 479077"/>
                <a:gd name="connsiteX330" fmla="*/ 1228360 w 3785642"/>
                <a:gd name="connsiteY330" fmla="*/ 3504 h 479077"/>
                <a:gd name="connsiteX331" fmla="*/ 1244730 w 3785642"/>
                <a:gd name="connsiteY331" fmla="*/ 1520 h 479077"/>
                <a:gd name="connsiteX332" fmla="*/ 1261101 w 3785642"/>
                <a:gd name="connsiteY332" fmla="*/ 2512 h 479077"/>
                <a:gd name="connsiteX333" fmla="*/ 1277471 w 3785642"/>
                <a:gd name="connsiteY333" fmla="*/ 3504 h 479077"/>
                <a:gd name="connsiteX334" fmla="*/ 1293842 w 3785642"/>
                <a:gd name="connsiteY334" fmla="*/ 4000 h 479077"/>
                <a:gd name="connsiteX335" fmla="*/ 1310213 w 3785642"/>
                <a:gd name="connsiteY335" fmla="*/ 1520 h 479077"/>
                <a:gd name="connsiteX336" fmla="*/ 1326583 w 3785642"/>
                <a:gd name="connsiteY336" fmla="*/ 2016 h 479077"/>
                <a:gd name="connsiteX337" fmla="*/ 1342954 w 3785642"/>
                <a:gd name="connsiteY337" fmla="*/ 3008 h 479077"/>
                <a:gd name="connsiteX338" fmla="*/ 1359324 w 3785642"/>
                <a:gd name="connsiteY338" fmla="*/ 3008 h 479077"/>
                <a:gd name="connsiteX339" fmla="*/ 1375695 w 3785642"/>
                <a:gd name="connsiteY339" fmla="*/ 2512 h 479077"/>
                <a:gd name="connsiteX340" fmla="*/ 1392066 w 3785642"/>
                <a:gd name="connsiteY340" fmla="*/ 2512 h 479077"/>
                <a:gd name="connsiteX341" fmla="*/ 1408436 w 3785642"/>
                <a:gd name="connsiteY341" fmla="*/ 3504 h 479077"/>
                <a:gd name="connsiteX342" fmla="*/ 1424807 w 3785642"/>
                <a:gd name="connsiteY342" fmla="*/ 3504 h 479077"/>
                <a:gd name="connsiteX343" fmla="*/ 1441177 w 3785642"/>
                <a:gd name="connsiteY343" fmla="*/ 1520 h 479077"/>
                <a:gd name="connsiteX344" fmla="*/ 1457548 w 3785642"/>
                <a:gd name="connsiteY344" fmla="*/ 2512 h 479077"/>
                <a:gd name="connsiteX345" fmla="*/ 1473919 w 3785642"/>
                <a:gd name="connsiteY345" fmla="*/ 2016 h 479077"/>
                <a:gd name="connsiteX346" fmla="*/ 1490289 w 3785642"/>
                <a:gd name="connsiteY346" fmla="*/ 2016 h 479077"/>
                <a:gd name="connsiteX347" fmla="*/ 1506660 w 3785642"/>
                <a:gd name="connsiteY347" fmla="*/ 1520 h 479077"/>
                <a:gd name="connsiteX348" fmla="*/ 1523030 w 3785642"/>
                <a:gd name="connsiteY348" fmla="*/ 3504 h 479077"/>
                <a:gd name="connsiteX349" fmla="*/ 1539401 w 3785642"/>
                <a:gd name="connsiteY349" fmla="*/ 3008 h 479077"/>
                <a:gd name="connsiteX350" fmla="*/ 1555771 w 3785642"/>
                <a:gd name="connsiteY350" fmla="*/ 3008 h 479077"/>
                <a:gd name="connsiteX351" fmla="*/ 1572142 w 3785642"/>
                <a:gd name="connsiteY351" fmla="*/ 2512 h 479077"/>
                <a:gd name="connsiteX352" fmla="*/ 1588512 w 3785642"/>
                <a:gd name="connsiteY352" fmla="*/ 2016 h 479077"/>
                <a:gd name="connsiteX353" fmla="*/ 1604883 w 3785642"/>
                <a:gd name="connsiteY353" fmla="*/ 3008 h 479077"/>
                <a:gd name="connsiteX354" fmla="*/ 1621253 w 3785642"/>
                <a:gd name="connsiteY354" fmla="*/ 3008 h 479077"/>
                <a:gd name="connsiteX355" fmla="*/ 1637624 w 3785642"/>
                <a:gd name="connsiteY35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498908 w 3785642"/>
                <a:gd name="connsiteY23" fmla="*/ 171674 h 479077"/>
                <a:gd name="connsiteX24" fmla="*/ 3405646 w 3785642"/>
                <a:gd name="connsiteY24" fmla="*/ 79404 h 479077"/>
                <a:gd name="connsiteX25" fmla="*/ 3393740 w 3785642"/>
                <a:gd name="connsiteY25" fmla="*/ 68490 h 479077"/>
                <a:gd name="connsiteX26" fmla="*/ 3382330 w 3785642"/>
                <a:gd name="connsiteY26" fmla="*/ 56584 h 479077"/>
                <a:gd name="connsiteX27" fmla="*/ 3370921 w 3785642"/>
                <a:gd name="connsiteY27" fmla="*/ 44678 h 479077"/>
                <a:gd name="connsiteX28" fmla="*/ 3313375 w 3785642"/>
                <a:gd name="connsiteY28" fmla="*/ 10945 h 479077"/>
                <a:gd name="connsiteX29" fmla="*/ 3300973 w 3785642"/>
                <a:gd name="connsiteY29" fmla="*/ 21363 h 479077"/>
                <a:gd name="connsiteX30" fmla="*/ 3289068 w 3785642"/>
                <a:gd name="connsiteY30" fmla="*/ 32276 h 479077"/>
                <a:gd name="connsiteX31" fmla="*/ 3277658 w 3785642"/>
                <a:gd name="connsiteY31" fmla="*/ 43686 h 479077"/>
                <a:gd name="connsiteX32" fmla="*/ 3266248 w 3785642"/>
                <a:gd name="connsiteY32" fmla="*/ 55592 h 479077"/>
                <a:gd name="connsiteX33" fmla="*/ 3255830 w 3785642"/>
                <a:gd name="connsiteY33" fmla="*/ 68490 h 479077"/>
                <a:gd name="connsiteX34" fmla="*/ 3243924 w 3785642"/>
                <a:gd name="connsiteY34" fmla="*/ 79900 h 479077"/>
                <a:gd name="connsiteX35" fmla="*/ 3231522 w 3785642"/>
                <a:gd name="connsiteY35" fmla="*/ 90814 h 479077"/>
                <a:gd name="connsiteX36" fmla="*/ 3220609 w 3785642"/>
                <a:gd name="connsiteY36" fmla="*/ 102720 h 479077"/>
                <a:gd name="connsiteX37" fmla="*/ 3208207 w 3785642"/>
                <a:gd name="connsiteY37" fmla="*/ 113137 h 479077"/>
                <a:gd name="connsiteX38" fmla="*/ 3197293 w 3785642"/>
                <a:gd name="connsiteY38" fmla="*/ 125043 h 479077"/>
                <a:gd name="connsiteX39" fmla="*/ 3185387 w 3785642"/>
                <a:gd name="connsiteY39" fmla="*/ 136453 h 479077"/>
                <a:gd name="connsiteX40" fmla="*/ 3174970 w 3785642"/>
                <a:gd name="connsiteY40" fmla="*/ 148855 h 479077"/>
                <a:gd name="connsiteX41" fmla="*/ 3162071 w 3785642"/>
                <a:gd name="connsiteY41" fmla="*/ 159272 h 479077"/>
                <a:gd name="connsiteX42" fmla="*/ 3151158 w 3785642"/>
                <a:gd name="connsiteY42" fmla="*/ 171674 h 479077"/>
                <a:gd name="connsiteX43" fmla="*/ 3139252 w 3785642"/>
                <a:gd name="connsiteY43" fmla="*/ 182588 h 479077"/>
                <a:gd name="connsiteX44" fmla="*/ 3127843 w 3785642"/>
                <a:gd name="connsiteY44" fmla="*/ 194494 h 479077"/>
                <a:gd name="connsiteX45" fmla="*/ 3116432 w 3785642"/>
                <a:gd name="connsiteY45" fmla="*/ 205904 h 479077"/>
                <a:gd name="connsiteX46" fmla="*/ 3105022 w 3785642"/>
                <a:gd name="connsiteY46" fmla="*/ 217810 h 479077"/>
                <a:gd name="connsiteX47" fmla="*/ 3093117 w 3785642"/>
                <a:gd name="connsiteY47" fmla="*/ 229219 h 479077"/>
                <a:gd name="connsiteX48" fmla="*/ 3081707 w 3785642"/>
                <a:gd name="connsiteY48" fmla="*/ 240629 h 479077"/>
                <a:gd name="connsiteX49" fmla="*/ 3069305 w 3785642"/>
                <a:gd name="connsiteY49" fmla="*/ 251543 h 479077"/>
                <a:gd name="connsiteX50" fmla="*/ 3057895 w 3785642"/>
                <a:gd name="connsiteY50" fmla="*/ 263449 h 479077"/>
                <a:gd name="connsiteX51" fmla="*/ 3046486 w 3785642"/>
                <a:gd name="connsiteY51" fmla="*/ 275355 h 479077"/>
                <a:gd name="connsiteX52" fmla="*/ 3035572 w 3785642"/>
                <a:gd name="connsiteY52" fmla="*/ 287260 h 479077"/>
                <a:gd name="connsiteX53" fmla="*/ 3024658 w 3785642"/>
                <a:gd name="connsiteY53" fmla="*/ 299166 h 479077"/>
                <a:gd name="connsiteX54" fmla="*/ 3013248 w 3785642"/>
                <a:gd name="connsiteY54" fmla="*/ 311072 h 479077"/>
                <a:gd name="connsiteX55" fmla="*/ 3000350 w 3785642"/>
                <a:gd name="connsiteY55" fmla="*/ 321490 h 479077"/>
                <a:gd name="connsiteX56" fmla="*/ 2988941 w 3785642"/>
                <a:gd name="connsiteY56" fmla="*/ 333396 h 479077"/>
                <a:gd name="connsiteX57" fmla="*/ 2976539 w 3785642"/>
                <a:gd name="connsiteY57" fmla="*/ 344309 h 479077"/>
                <a:gd name="connsiteX58" fmla="*/ 2965129 w 3785642"/>
                <a:gd name="connsiteY58" fmla="*/ 356215 h 479077"/>
                <a:gd name="connsiteX59" fmla="*/ 2953223 w 3785642"/>
                <a:gd name="connsiteY59" fmla="*/ 367625 h 479077"/>
                <a:gd name="connsiteX60" fmla="*/ 2941813 w 3785642"/>
                <a:gd name="connsiteY60" fmla="*/ 379531 h 479077"/>
                <a:gd name="connsiteX61" fmla="*/ 2931395 w 3785642"/>
                <a:gd name="connsiteY61" fmla="*/ 392429 h 479077"/>
                <a:gd name="connsiteX62" fmla="*/ 2918497 w 3785642"/>
                <a:gd name="connsiteY62" fmla="*/ 402847 h 479077"/>
                <a:gd name="connsiteX63" fmla="*/ 2907584 w 3785642"/>
                <a:gd name="connsiteY63" fmla="*/ 415249 h 479077"/>
                <a:gd name="connsiteX64" fmla="*/ 2896174 w 3785642"/>
                <a:gd name="connsiteY64" fmla="*/ 426658 h 479077"/>
                <a:gd name="connsiteX65" fmla="*/ 2884268 w 3785642"/>
                <a:gd name="connsiteY65" fmla="*/ 438068 h 479077"/>
                <a:gd name="connsiteX66" fmla="*/ 2873354 w 3785642"/>
                <a:gd name="connsiteY66" fmla="*/ 450470 h 479077"/>
                <a:gd name="connsiteX67" fmla="*/ 2860952 w 3785642"/>
                <a:gd name="connsiteY67" fmla="*/ 461384 h 479077"/>
                <a:gd name="connsiteX68" fmla="*/ 2850039 w 3785642"/>
                <a:gd name="connsiteY68" fmla="*/ 473786 h 479077"/>
                <a:gd name="connsiteX69" fmla="*/ 2833668 w 3785642"/>
                <a:gd name="connsiteY69" fmla="*/ 473786 h 479077"/>
                <a:gd name="connsiteX70" fmla="*/ 2817297 w 3785642"/>
                <a:gd name="connsiteY70" fmla="*/ 473290 h 479077"/>
                <a:gd name="connsiteX71" fmla="*/ 2800927 w 3785642"/>
                <a:gd name="connsiteY71" fmla="*/ 473290 h 479077"/>
                <a:gd name="connsiteX72" fmla="*/ 2784556 w 3785642"/>
                <a:gd name="connsiteY72" fmla="*/ 473786 h 479077"/>
                <a:gd name="connsiteX73" fmla="*/ 2768186 w 3785642"/>
                <a:gd name="connsiteY73" fmla="*/ 474282 h 479077"/>
                <a:gd name="connsiteX74" fmla="*/ 2751815 w 3785642"/>
                <a:gd name="connsiteY74" fmla="*/ 474282 h 479077"/>
                <a:gd name="connsiteX75" fmla="*/ 2735444 w 3785642"/>
                <a:gd name="connsiteY75" fmla="*/ 473290 h 479077"/>
                <a:gd name="connsiteX76" fmla="*/ 2719074 w 3785642"/>
                <a:gd name="connsiteY76" fmla="*/ 474282 h 479077"/>
                <a:gd name="connsiteX77" fmla="*/ 2702703 w 3785642"/>
                <a:gd name="connsiteY77" fmla="*/ 472298 h 479077"/>
                <a:gd name="connsiteX78" fmla="*/ 2686333 w 3785642"/>
                <a:gd name="connsiteY78" fmla="*/ 472794 h 479077"/>
                <a:gd name="connsiteX79" fmla="*/ 2669962 w 3785642"/>
                <a:gd name="connsiteY79" fmla="*/ 474282 h 479077"/>
                <a:gd name="connsiteX80" fmla="*/ 2653592 w 3785642"/>
                <a:gd name="connsiteY80" fmla="*/ 472298 h 479077"/>
                <a:gd name="connsiteX81" fmla="*/ 2637221 w 3785642"/>
                <a:gd name="connsiteY81" fmla="*/ 474282 h 479077"/>
                <a:gd name="connsiteX82" fmla="*/ 2620851 w 3785642"/>
                <a:gd name="connsiteY82" fmla="*/ 474282 h 479077"/>
                <a:gd name="connsiteX83" fmla="*/ 2604480 w 3785642"/>
                <a:gd name="connsiteY83" fmla="*/ 472298 h 479077"/>
                <a:gd name="connsiteX84" fmla="*/ 2588109 w 3785642"/>
                <a:gd name="connsiteY84" fmla="*/ 473786 h 479077"/>
                <a:gd name="connsiteX85" fmla="*/ 2571739 w 3785642"/>
                <a:gd name="connsiteY85" fmla="*/ 472298 h 479077"/>
                <a:gd name="connsiteX86" fmla="*/ 2555368 w 3785642"/>
                <a:gd name="connsiteY86" fmla="*/ 473290 h 479077"/>
                <a:gd name="connsiteX87" fmla="*/ 2538998 w 3785642"/>
                <a:gd name="connsiteY87" fmla="*/ 474282 h 479077"/>
                <a:gd name="connsiteX88" fmla="*/ 2522627 w 3785642"/>
                <a:gd name="connsiteY88" fmla="*/ 473290 h 479077"/>
                <a:gd name="connsiteX89" fmla="*/ 2506257 w 3785642"/>
                <a:gd name="connsiteY89" fmla="*/ 474282 h 479077"/>
                <a:gd name="connsiteX90" fmla="*/ 2489886 w 3785642"/>
                <a:gd name="connsiteY90" fmla="*/ 473786 h 479077"/>
                <a:gd name="connsiteX91" fmla="*/ 2473516 w 3785642"/>
                <a:gd name="connsiteY91" fmla="*/ 474282 h 479077"/>
                <a:gd name="connsiteX92" fmla="*/ 2457145 w 3785642"/>
                <a:gd name="connsiteY92" fmla="*/ 472794 h 479077"/>
                <a:gd name="connsiteX93" fmla="*/ 2440775 w 3785642"/>
                <a:gd name="connsiteY93" fmla="*/ 472298 h 479077"/>
                <a:gd name="connsiteX94" fmla="*/ 2424404 w 3785642"/>
                <a:gd name="connsiteY94" fmla="*/ 473786 h 479077"/>
                <a:gd name="connsiteX95" fmla="*/ 2408033 w 3785642"/>
                <a:gd name="connsiteY95" fmla="*/ 472794 h 479077"/>
                <a:gd name="connsiteX96" fmla="*/ 2391663 w 3785642"/>
                <a:gd name="connsiteY96" fmla="*/ 473290 h 479077"/>
                <a:gd name="connsiteX97" fmla="*/ 2375292 w 3785642"/>
                <a:gd name="connsiteY97" fmla="*/ 473290 h 479077"/>
                <a:gd name="connsiteX98" fmla="*/ 2358922 w 3785642"/>
                <a:gd name="connsiteY98" fmla="*/ 472794 h 479077"/>
                <a:gd name="connsiteX99" fmla="*/ 2342551 w 3785642"/>
                <a:gd name="connsiteY99" fmla="*/ 472298 h 479077"/>
                <a:gd name="connsiteX100" fmla="*/ 2326180 w 3785642"/>
                <a:gd name="connsiteY100" fmla="*/ 473786 h 479077"/>
                <a:gd name="connsiteX101" fmla="*/ 2309810 w 3785642"/>
                <a:gd name="connsiteY101" fmla="*/ 473786 h 479077"/>
                <a:gd name="connsiteX102" fmla="*/ 2293439 w 3785642"/>
                <a:gd name="connsiteY102" fmla="*/ 473786 h 479077"/>
                <a:gd name="connsiteX103" fmla="*/ 2277069 w 3785642"/>
                <a:gd name="connsiteY103" fmla="*/ 472794 h 479077"/>
                <a:gd name="connsiteX104" fmla="*/ 2260698 w 3785642"/>
                <a:gd name="connsiteY104" fmla="*/ 474282 h 479077"/>
                <a:gd name="connsiteX105" fmla="*/ 2244327 w 3785642"/>
                <a:gd name="connsiteY105" fmla="*/ 472298 h 479077"/>
                <a:gd name="connsiteX106" fmla="*/ 2227957 w 3785642"/>
                <a:gd name="connsiteY106" fmla="*/ 474282 h 479077"/>
                <a:gd name="connsiteX107" fmla="*/ 2211586 w 3785642"/>
                <a:gd name="connsiteY107" fmla="*/ 473290 h 479077"/>
                <a:gd name="connsiteX108" fmla="*/ 2195216 w 3785642"/>
                <a:gd name="connsiteY108" fmla="*/ 474282 h 479077"/>
                <a:gd name="connsiteX109" fmla="*/ 2178845 w 3785642"/>
                <a:gd name="connsiteY109" fmla="*/ 472794 h 479077"/>
                <a:gd name="connsiteX110" fmla="*/ 2162474 w 3785642"/>
                <a:gd name="connsiteY110" fmla="*/ 474778 h 479077"/>
                <a:gd name="connsiteX111" fmla="*/ 2146104 w 3785642"/>
                <a:gd name="connsiteY111" fmla="*/ 473290 h 479077"/>
                <a:gd name="connsiteX112" fmla="*/ 2129733 w 3785642"/>
                <a:gd name="connsiteY112" fmla="*/ 474778 h 479077"/>
                <a:gd name="connsiteX113" fmla="*/ 2113363 w 3785642"/>
                <a:gd name="connsiteY113" fmla="*/ 474778 h 479077"/>
                <a:gd name="connsiteX114" fmla="*/ 2096992 w 3785642"/>
                <a:gd name="connsiteY114" fmla="*/ 474778 h 479077"/>
                <a:gd name="connsiteX115" fmla="*/ 2080621 w 3785642"/>
                <a:gd name="connsiteY115" fmla="*/ 474282 h 479077"/>
                <a:gd name="connsiteX116" fmla="*/ 2064251 w 3785642"/>
                <a:gd name="connsiteY116" fmla="*/ 472794 h 479077"/>
                <a:gd name="connsiteX117" fmla="*/ 2047880 w 3785642"/>
                <a:gd name="connsiteY117" fmla="*/ 474778 h 479077"/>
                <a:gd name="connsiteX118" fmla="*/ 2031510 w 3785642"/>
                <a:gd name="connsiteY118" fmla="*/ 474778 h 479077"/>
                <a:gd name="connsiteX119" fmla="*/ 2015139 w 3785642"/>
                <a:gd name="connsiteY119" fmla="*/ 474778 h 479077"/>
                <a:gd name="connsiteX120" fmla="*/ 1998769 w 3785642"/>
                <a:gd name="connsiteY120" fmla="*/ 474282 h 479077"/>
                <a:gd name="connsiteX121" fmla="*/ 1982398 w 3785642"/>
                <a:gd name="connsiteY121" fmla="*/ 473786 h 479077"/>
                <a:gd name="connsiteX122" fmla="*/ 1966028 w 3785642"/>
                <a:gd name="connsiteY122" fmla="*/ 473786 h 479077"/>
                <a:gd name="connsiteX123" fmla="*/ 1949657 w 3785642"/>
                <a:gd name="connsiteY123" fmla="*/ 472794 h 479077"/>
                <a:gd name="connsiteX124" fmla="*/ 1933287 w 3785642"/>
                <a:gd name="connsiteY124" fmla="*/ 473290 h 479077"/>
                <a:gd name="connsiteX125" fmla="*/ 1916916 w 3785642"/>
                <a:gd name="connsiteY125" fmla="*/ 474778 h 479077"/>
                <a:gd name="connsiteX126" fmla="*/ 1900546 w 3785642"/>
                <a:gd name="connsiteY126" fmla="*/ 472794 h 479077"/>
                <a:gd name="connsiteX127" fmla="*/ 1884175 w 3785642"/>
                <a:gd name="connsiteY127" fmla="*/ 473786 h 479077"/>
                <a:gd name="connsiteX128" fmla="*/ 1867804 w 3785642"/>
                <a:gd name="connsiteY128" fmla="*/ 474778 h 479077"/>
                <a:gd name="connsiteX129" fmla="*/ 1851434 w 3785642"/>
                <a:gd name="connsiteY129" fmla="*/ 474778 h 479077"/>
                <a:gd name="connsiteX130" fmla="*/ 1835063 w 3785642"/>
                <a:gd name="connsiteY130" fmla="*/ 474778 h 479077"/>
                <a:gd name="connsiteX131" fmla="*/ 1818693 w 3785642"/>
                <a:gd name="connsiteY131" fmla="*/ 474282 h 479077"/>
                <a:gd name="connsiteX132" fmla="*/ 1802322 w 3785642"/>
                <a:gd name="connsiteY132" fmla="*/ 472794 h 479077"/>
                <a:gd name="connsiteX133" fmla="*/ 1785951 w 3785642"/>
                <a:gd name="connsiteY133" fmla="*/ 473786 h 479077"/>
                <a:gd name="connsiteX134" fmla="*/ 1769581 w 3785642"/>
                <a:gd name="connsiteY134" fmla="*/ 473290 h 479077"/>
                <a:gd name="connsiteX135" fmla="*/ 1753210 w 3785642"/>
                <a:gd name="connsiteY135" fmla="*/ 472298 h 479077"/>
                <a:gd name="connsiteX136" fmla="*/ 1736840 w 3785642"/>
                <a:gd name="connsiteY136" fmla="*/ 473290 h 479077"/>
                <a:gd name="connsiteX137" fmla="*/ 1720469 w 3785642"/>
                <a:gd name="connsiteY137" fmla="*/ 474778 h 479077"/>
                <a:gd name="connsiteX138" fmla="*/ 1704098 w 3785642"/>
                <a:gd name="connsiteY138" fmla="*/ 472794 h 479077"/>
                <a:gd name="connsiteX139" fmla="*/ 1687728 w 3785642"/>
                <a:gd name="connsiteY139" fmla="*/ 474778 h 479077"/>
                <a:gd name="connsiteX140" fmla="*/ 1671357 w 3785642"/>
                <a:gd name="connsiteY140" fmla="*/ 474778 h 479077"/>
                <a:gd name="connsiteX141" fmla="*/ 1654987 w 3785642"/>
                <a:gd name="connsiteY141" fmla="*/ 472298 h 479077"/>
                <a:gd name="connsiteX142" fmla="*/ 1638616 w 3785642"/>
                <a:gd name="connsiteY142" fmla="*/ 472794 h 479077"/>
                <a:gd name="connsiteX143" fmla="*/ 1622246 w 3785642"/>
                <a:gd name="connsiteY143" fmla="*/ 473786 h 479077"/>
                <a:gd name="connsiteX144" fmla="*/ 1605875 w 3785642"/>
                <a:gd name="connsiteY144" fmla="*/ 474778 h 479077"/>
                <a:gd name="connsiteX145" fmla="*/ 1589505 w 3785642"/>
                <a:gd name="connsiteY145" fmla="*/ 473290 h 479077"/>
                <a:gd name="connsiteX146" fmla="*/ 1573134 w 3785642"/>
                <a:gd name="connsiteY146" fmla="*/ 474778 h 479077"/>
                <a:gd name="connsiteX147" fmla="*/ 1556763 w 3785642"/>
                <a:gd name="connsiteY147" fmla="*/ 472794 h 479077"/>
                <a:gd name="connsiteX148" fmla="*/ 1540393 w 3785642"/>
                <a:gd name="connsiteY148" fmla="*/ 472794 h 479077"/>
                <a:gd name="connsiteX149" fmla="*/ 1524022 w 3785642"/>
                <a:gd name="connsiteY149" fmla="*/ 474282 h 479077"/>
                <a:gd name="connsiteX150" fmla="*/ 1507652 w 3785642"/>
                <a:gd name="connsiteY150" fmla="*/ 472794 h 479077"/>
                <a:gd name="connsiteX151" fmla="*/ 1491281 w 3785642"/>
                <a:gd name="connsiteY151" fmla="*/ 474282 h 479077"/>
                <a:gd name="connsiteX152" fmla="*/ 1474910 w 3785642"/>
                <a:gd name="connsiteY152" fmla="*/ 474282 h 479077"/>
                <a:gd name="connsiteX153" fmla="*/ 1458540 w 3785642"/>
                <a:gd name="connsiteY153" fmla="*/ 472794 h 479077"/>
                <a:gd name="connsiteX154" fmla="*/ 1442169 w 3785642"/>
                <a:gd name="connsiteY154" fmla="*/ 471802 h 479077"/>
                <a:gd name="connsiteX155" fmla="*/ 1425799 w 3785642"/>
                <a:gd name="connsiteY155" fmla="*/ 472298 h 479077"/>
                <a:gd name="connsiteX156" fmla="*/ 1409428 w 3785642"/>
                <a:gd name="connsiteY156" fmla="*/ 472794 h 479077"/>
                <a:gd name="connsiteX157" fmla="*/ 1393058 w 3785642"/>
                <a:gd name="connsiteY157" fmla="*/ 473786 h 479077"/>
                <a:gd name="connsiteX158" fmla="*/ 1376687 w 3785642"/>
                <a:gd name="connsiteY158" fmla="*/ 471802 h 479077"/>
                <a:gd name="connsiteX159" fmla="*/ 1360317 w 3785642"/>
                <a:gd name="connsiteY159" fmla="*/ 473786 h 479077"/>
                <a:gd name="connsiteX160" fmla="*/ 1343946 w 3785642"/>
                <a:gd name="connsiteY160" fmla="*/ 473786 h 479077"/>
                <a:gd name="connsiteX161" fmla="*/ 1327576 w 3785642"/>
                <a:gd name="connsiteY161" fmla="*/ 472794 h 479077"/>
                <a:gd name="connsiteX162" fmla="*/ 1311205 w 3785642"/>
                <a:gd name="connsiteY162" fmla="*/ 473786 h 479077"/>
                <a:gd name="connsiteX163" fmla="*/ 1294834 w 3785642"/>
                <a:gd name="connsiteY163" fmla="*/ 473786 h 479077"/>
                <a:gd name="connsiteX164" fmla="*/ 1278464 w 3785642"/>
                <a:gd name="connsiteY164" fmla="*/ 473786 h 479077"/>
                <a:gd name="connsiteX165" fmla="*/ 1262093 w 3785642"/>
                <a:gd name="connsiteY165" fmla="*/ 473786 h 479077"/>
                <a:gd name="connsiteX166" fmla="*/ 1245723 w 3785642"/>
                <a:gd name="connsiteY166" fmla="*/ 473290 h 479077"/>
                <a:gd name="connsiteX167" fmla="*/ 1229352 w 3785642"/>
                <a:gd name="connsiteY167" fmla="*/ 472794 h 479077"/>
                <a:gd name="connsiteX168" fmla="*/ 1212981 w 3785642"/>
                <a:gd name="connsiteY168" fmla="*/ 473786 h 479077"/>
                <a:gd name="connsiteX169" fmla="*/ 1196611 w 3785642"/>
                <a:gd name="connsiteY169" fmla="*/ 472298 h 479077"/>
                <a:gd name="connsiteX170" fmla="*/ 1180240 w 3785642"/>
                <a:gd name="connsiteY170" fmla="*/ 472794 h 479077"/>
                <a:gd name="connsiteX171" fmla="*/ 1163870 w 3785642"/>
                <a:gd name="connsiteY171" fmla="*/ 472794 h 479077"/>
                <a:gd name="connsiteX172" fmla="*/ 1147499 w 3785642"/>
                <a:gd name="connsiteY172" fmla="*/ 473786 h 479077"/>
                <a:gd name="connsiteX173" fmla="*/ 1131128 w 3785642"/>
                <a:gd name="connsiteY173" fmla="*/ 473786 h 479077"/>
                <a:gd name="connsiteX174" fmla="*/ 1114758 w 3785642"/>
                <a:gd name="connsiteY174" fmla="*/ 472794 h 479077"/>
                <a:gd name="connsiteX175" fmla="*/ 1098387 w 3785642"/>
                <a:gd name="connsiteY175" fmla="*/ 473786 h 479077"/>
                <a:gd name="connsiteX176" fmla="*/ 1082017 w 3785642"/>
                <a:gd name="connsiteY176" fmla="*/ 474778 h 479077"/>
                <a:gd name="connsiteX177" fmla="*/ 1065646 w 3785642"/>
                <a:gd name="connsiteY177" fmla="*/ 474778 h 479077"/>
                <a:gd name="connsiteX178" fmla="*/ 1049276 w 3785642"/>
                <a:gd name="connsiteY178" fmla="*/ 474282 h 479077"/>
                <a:gd name="connsiteX179" fmla="*/ 1032905 w 3785642"/>
                <a:gd name="connsiteY179" fmla="*/ 473290 h 479077"/>
                <a:gd name="connsiteX180" fmla="*/ 1016535 w 3785642"/>
                <a:gd name="connsiteY180" fmla="*/ 474282 h 479077"/>
                <a:gd name="connsiteX181" fmla="*/ 1000164 w 3785642"/>
                <a:gd name="connsiteY181" fmla="*/ 474282 h 479077"/>
                <a:gd name="connsiteX182" fmla="*/ 983793 w 3785642"/>
                <a:gd name="connsiteY182" fmla="*/ 472794 h 479077"/>
                <a:gd name="connsiteX183" fmla="*/ 967423 w 3785642"/>
                <a:gd name="connsiteY183" fmla="*/ 472794 h 479077"/>
                <a:gd name="connsiteX184" fmla="*/ 951052 w 3785642"/>
                <a:gd name="connsiteY184" fmla="*/ 473786 h 479077"/>
                <a:gd name="connsiteX185" fmla="*/ 934682 w 3785642"/>
                <a:gd name="connsiteY185" fmla="*/ 474282 h 479077"/>
                <a:gd name="connsiteX186" fmla="*/ 918311 w 3785642"/>
                <a:gd name="connsiteY186" fmla="*/ 474778 h 479077"/>
                <a:gd name="connsiteX187" fmla="*/ 901940 w 3785642"/>
                <a:gd name="connsiteY187" fmla="*/ 473290 h 479077"/>
                <a:gd name="connsiteX188" fmla="*/ 885570 w 3785642"/>
                <a:gd name="connsiteY188" fmla="*/ 474778 h 479077"/>
                <a:gd name="connsiteX189" fmla="*/ 869199 w 3785642"/>
                <a:gd name="connsiteY189" fmla="*/ 474282 h 479077"/>
                <a:gd name="connsiteX190" fmla="*/ 852829 w 3785642"/>
                <a:gd name="connsiteY190" fmla="*/ 473786 h 479077"/>
                <a:gd name="connsiteX191" fmla="*/ 836458 w 3785642"/>
                <a:gd name="connsiteY191" fmla="*/ 474778 h 479077"/>
                <a:gd name="connsiteX192" fmla="*/ 820088 w 3785642"/>
                <a:gd name="connsiteY192" fmla="*/ 475274 h 479077"/>
                <a:gd name="connsiteX193" fmla="*/ 803717 w 3785642"/>
                <a:gd name="connsiteY193" fmla="*/ 473786 h 479077"/>
                <a:gd name="connsiteX194" fmla="*/ 787347 w 3785642"/>
                <a:gd name="connsiteY194" fmla="*/ 475770 h 479077"/>
                <a:gd name="connsiteX195" fmla="*/ 770976 w 3785642"/>
                <a:gd name="connsiteY195" fmla="*/ 474778 h 479077"/>
                <a:gd name="connsiteX196" fmla="*/ 754605 w 3785642"/>
                <a:gd name="connsiteY196" fmla="*/ 475274 h 479077"/>
                <a:gd name="connsiteX197" fmla="*/ 738235 w 3785642"/>
                <a:gd name="connsiteY197" fmla="*/ 473786 h 479077"/>
                <a:gd name="connsiteX198" fmla="*/ 721864 w 3785642"/>
                <a:gd name="connsiteY198" fmla="*/ 475274 h 479077"/>
                <a:gd name="connsiteX199" fmla="*/ 705494 w 3785642"/>
                <a:gd name="connsiteY199" fmla="*/ 475770 h 479077"/>
                <a:gd name="connsiteX200" fmla="*/ 689123 w 3785642"/>
                <a:gd name="connsiteY200" fmla="*/ 474282 h 479077"/>
                <a:gd name="connsiteX201" fmla="*/ 672753 w 3785642"/>
                <a:gd name="connsiteY201" fmla="*/ 475274 h 479077"/>
                <a:gd name="connsiteX202" fmla="*/ 656382 w 3785642"/>
                <a:gd name="connsiteY202" fmla="*/ 474778 h 479077"/>
                <a:gd name="connsiteX203" fmla="*/ 640011 w 3785642"/>
                <a:gd name="connsiteY203" fmla="*/ 475770 h 479077"/>
                <a:gd name="connsiteX204" fmla="*/ 623641 w 3785642"/>
                <a:gd name="connsiteY204" fmla="*/ 473786 h 479077"/>
                <a:gd name="connsiteX205" fmla="*/ 607270 w 3785642"/>
                <a:gd name="connsiteY205" fmla="*/ 474778 h 479077"/>
                <a:gd name="connsiteX206" fmla="*/ 590900 w 3785642"/>
                <a:gd name="connsiteY206" fmla="*/ 475274 h 479077"/>
                <a:gd name="connsiteX207" fmla="*/ 574529 w 3785642"/>
                <a:gd name="connsiteY207" fmla="*/ 474282 h 479077"/>
                <a:gd name="connsiteX208" fmla="*/ 558158 w 3785642"/>
                <a:gd name="connsiteY208" fmla="*/ 475274 h 479077"/>
                <a:gd name="connsiteX209" fmla="*/ 541788 w 3785642"/>
                <a:gd name="connsiteY209" fmla="*/ 475770 h 479077"/>
                <a:gd name="connsiteX210" fmla="*/ 525417 w 3785642"/>
                <a:gd name="connsiteY210" fmla="*/ 474282 h 479077"/>
                <a:gd name="connsiteX211" fmla="*/ 509047 w 3785642"/>
                <a:gd name="connsiteY211" fmla="*/ 473786 h 479077"/>
                <a:gd name="connsiteX212" fmla="*/ 492676 w 3785642"/>
                <a:gd name="connsiteY212" fmla="*/ 473786 h 479077"/>
                <a:gd name="connsiteX213" fmla="*/ 476306 w 3785642"/>
                <a:gd name="connsiteY213" fmla="*/ 474778 h 479077"/>
                <a:gd name="connsiteX214" fmla="*/ 459935 w 3785642"/>
                <a:gd name="connsiteY214" fmla="*/ 473786 h 479077"/>
                <a:gd name="connsiteX215" fmla="*/ 443565 w 3785642"/>
                <a:gd name="connsiteY215" fmla="*/ 474778 h 479077"/>
                <a:gd name="connsiteX216" fmla="*/ 427194 w 3785642"/>
                <a:gd name="connsiteY216" fmla="*/ 474282 h 479077"/>
                <a:gd name="connsiteX217" fmla="*/ 410823 w 3785642"/>
                <a:gd name="connsiteY217" fmla="*/ 473290 h 479077"/>
                <a:gd name="connsiteX218" fmla="*/ 394453 w 3785642"/>
                <a:gd name="connsiteY218" fmla="*/ 475770 h 479077"/>
                <a:gd name="connsiteX219" fmla="*/ 378082 w 3785642"/>
                <a:gd name="connsiteY219" fmla="*/ 475274 h 479077"/>
                <a:gd name="connsiteX220" fmla="*/ 361712 w 3785642"/>
                <a:gd name="connsiteY220" fmla="*/ 474778 h 479077"/>
                <a:gd name="connsiteX221" fmla="*/ 345341 w 3785642"/>
                <a:gd name="connsiteY221" fmla="*/ 476266 h 479077"/>
                <a:gd name="connsiteX222" fmla="*/ 328970 w 3785642"/>
                <a:gd name="connsiteY222" fmla="*/ 474282 h 479077"/>
                <a:gd name="connsiteX223" fmla="*/ 312600 w 3785642"/>
                <a:gd name="connsiteY223" fmla="*/ 475274 h 479077"/>
                <a:gd name="connsiteX224" fmla="*/ 296229 w 3785642"/>
                <a:gd name="connsiteY224" fmla="*/ 474282 h 479077"/>
                <a:gd name="connsiteX225" fmla="*/ 279859 w 3785642"/>
                <a:gd name="connsiteY225" fmla="*/ 475770 h 479077"/>
                <a:gd name="connsiteX226" fmla="*/ 263488 w 3785642"/>
                <a:gd name="connsiteY226" fmla="*/ 476266 h 479077"/>
                <a:gd name="connsiteX227" fmla="*/ 247118 w 3785642"/>
                <a:gd name="connsiteY227" fmla="*/ 476266 h 479077"/>
                <a:gd name="connsiteX228" fmla="*/ 230747 w 3785642"/>
                <a:gd name="connsiteY228" fmla="*/ 474778 h 479077"/>
                <a:gd name="connsiteX229" fmla="*/ 214376 w 3785642"/>
                <a:gd name="connsiteY229" fmla="*/ 474778 h 479077"/>
                <a:gd name="connsiteX230" fmla="*/ 198006 w 3785642"/>
                <a:gd name="connsiteY230" fmla="*/ 476762 h 479077"/>
                <a:gd name="connsiteX231" fmla="*/ 181635 w 3785642"/>
                <a:gd name="connsiteY231" fmla="*/ 476266 h 479077"/>
                <a:gd name="connsiteX232" fmla="*/ 165265 w 3785642"/>
                <a:gd name="connsiteY232" fmla="*/ 474778 h 479077"/>
                <a:gd name="connsiteX233" fmla="*/ 148894 w 3785642"/>
                <a:gd name="connsiteY233" fmla="*/ 476762 h 479077"/>
                <a:gd name="connsiteX234" fmla="*/ 132524 w 3785642"/>
                <a:gd name="connsiteY234" fmla="*/ 476266 h 479077"/>
                <a:gd name="connsiteX235" fmla="*/ 116153 w 3785642"/>
                <a:gd name="connsiteY235" fmla="*/ 475274 h 479077"/>
                <a:gd name="connsiteX236" fmla="*/ 99783 w 3785642"/>
                <a:gd name="connsiteY236" fmla="*/ 475274 h 479077"/>
                <a:gd name="connsiteX237" fmla="*/ 83412 w 3785642"/>
                <a:gd name="connsiteY237" fmla="*/ 475274 h 479077"/>
                <a:gd name="connsiteX238" fmla="*/ 67041 w 3785642"/>
                <a:gd name="connsiteY238" fmla="*/ 474778 h 479077"/>
                <a:gd name="connsiteX239" fmla="*/ 50671 w 3785642"/>
                <a:gd name="connsiteY239" fmla="*/ 475274 h 479077"/>
                <a:gd name="connsiteX240" fmla="*/ 34300 w 3785642"/>
                <a:gd name="connsiteY240" fmla="*/ 475274 h 479077"/>
                <a:gd name="connsiteX241" fmla="*/ 17930 w 3785642"/>
                <a:gd name="connsiteY241" fmla="*/ 475770 h 479077"/>
                <a:gd name="connsiteX242" fmla="*/ 567 w 3785642"/>
                <a:gd name="connsiteY242" fmla="*/ 475770 h 479077"/>
                <a:gd name="connsiteX243" fmla="*/ 12969 w 3785642"/>
                <a:gd name="connsiteY243" fmla="*/ 463368 h 479077"/>
                <a:gd name="connsiteX244" fmla="*/ 24379 w 3785642"/>
                <a:gd name="connsiteY244" fmla="*/ 451958 h 479077"/>
                <a:gd name="connsiteX245" fmla="*/ 35788 w 3785642"/>
                <a:gd name="connsiteY245" fmla="*/ 440053 h 479077"/>
                <a:gd name="connsiteX246" fmla="*/ 48686 w 3785642"/>
                <a:gd name="connsiteY246" fmla="*/ 430131 h 479077"/>
                <a:gd name="connsiteX247" fmla="*/ 59600 w 3785642"/>
                <a:gd name="connsiteY247" fmla="*/ 418225 h 479077"/>
                <a:gd name="connsiteX248" fmla="*/ 70514 w 3785642"/>
                <a:gd name="connsiteY248" fmla="*/ 405823 h 479077"/>
                <a:gd name="connsiteX249" fmla="*/ 83412 w 3785642"/>
                <a:gd name="connsiteY249" fmla="*/ 395406 h 479077"/>
                <a:gd name="connsiteX250" fmla="*/ 94822 w 3785642"/>
                <a:gd name="connsiteY250" fmla="*/ 383500 h 479077"/>
                <a:gd name="connsiteX251" fmla="*/ 106728 w 3785642"/>
                <a:gd name="connsiteY251" fmla="*/ 372090 h 479077"/>
                <a:gd name="connsiteX252" fmla="*/ 117145 w 3785642"/>
                <a:gd name="connsiteY252" fmla="*/ 359688 h 479077"/>
                <a:gd name="connsiteX253" fmla="*/ 128555 w 3785642"/>
                <a:gd name="connsiteY253" fmla="*/ 348278 h 479077"/>
                <a:gd name="connsiteX254" fmla="*/ 140461 w 3785642"/>
                <a:gd name="connsiteY254" fmla="*/ 336868 h 479077"/>
                <a:gd name="connsiteX255" fmla="*/ 152863 w 3785642"/>
                <a:gd name="connsiteY255" fmla="*/ 326451 h 479077"/>
                <a:gd name="connsiteX256" fmla="*/ 164769 w 3785642"/>
                <a:gd name="connsiteY256" fmla="*/ 315041 h 479077"/>
                <a:gd name="connsiteX257" fmla="*/ 176178 w 3785642"/>
                <a:gd name="connsiteY257" fmla="*/ 303135 h 479077"/>
                <a:gd name="connsiteX258" fmla="*/ 188084 w 3785642"/>
                <a:gd name="connsiteY258" fmla="*/ 291725 h 479077"/>
                <a:gd name="connsiteX259" fmla="*/ 199494 w 3785642"/>
                <a:gd name="connsiteY259" fmla="*/ 280315 h 479077"/>
                <a:gd name="connsiteX260" fmla="*/ 210904 w 3785642"/>
                <a:gd name="connsiteY260" fmla="*/ 268906 h 479077"/>
                <a:gd name="connsiteX261" fmla="*/ 221818 w 3785642"/>
                <a:gd name="connsiteY261" fmla="*/ 256504 h 479077"/>
                <a:gd name="connsiteX262" fmla="*/ 233724 w 3785642"/>
                <a:gd name="connsiteY262" fmla="*/ 245094 h 479077"/>
                <a:gd name="connsiteX263" fmla="*/ 244141 w 3785642"/>
                <a:gd name="connsiteY263" fmla="*/ 232692 h 479077"/>
                <a:gd name="connsiteX264" fmla="*/ 257039 w 3785642"/>
                <a:gd name="connsiteY264" fmla="*/ 222770 h 479077"/>
                <a:gd name="connsiteX265" fmla="*/ 266961 w 3785642"/>
                <a:gd name="connsiteY265" fmla="*/ 209376 h 479077"/>
                <a:gd name="connsiteX266" fmla="*/ 278371 w 3785642"/>
                <a:gd name="connsiteY266" fmla="*/ 197966 h 479077"/>
                <a:gd name="connsiteX267" fmla="*/ 291269 w 3785642"/>
                <a:gd name="connsiteY267" fmla="*/ 188045 h 479077"/>
                <a:gd name="connsiteX268" fmla="*/ 301686 w 3785642"/>
                <a:gd name="connsiteY268" fmla="*/ 175147 h 479077"/>
                <a:gd name="connsiteX269" fmla="*/ 313592 w 3785642"/>
                <a:gd name="connsiteY269" fmla="*/ 163737 h 479077"/>
                <a:gd name="connsiteX270" fmla="*/ 325994 w 3785642"/>
                <a:gd name="connsiteY270" fmla="*/ 153319 h 479077"/>
                <a:gd name="connsiteX271" fmla="*/ 337404 w 3785642"/>
                <a:gd name="connsiteY271" fmla="*/ 141910 h 479077"/>
                <a:gd name="connsiteX272" fmla="*/ 347325 w 3785642"/>
                <a:gd name="connsiteY272" fmla="*/ 129012 h 479077"/>
                <a:gd name="connsiteX273" fmla="*/ 360224 w 3785642"/>
                <a:gd name="connsiteY273" fmla="*/ 118594 h 479077"/>
                <a:gd name="connsiteX274" fmla="*/ 371137 w 3785642"/>
                <a:gd name="connsiteY274" fmla="*/ 106192 h 479077"/>
                <a:gd name="connsiteX275" fmla="*/ 382051 w 3785642"/>
                <a:gd name="connsiteY275" fmla="*/ 93790 h 479077"/>
                <a:gd name="connsiteX276" fmla="*/ 393957 w 3785642"/>
                <a:gd name="connsiteY276" fmla="*/ 82380 h 479077"/>
                <a:gd name="connsiteX277" fmla="*/ 405366 w 3785642"/>
                <a:gd name="connsiteY277" fmla="*/ 70475 h 479077"/>
                <a:gd name="connsiteX278" fmla="*/ 417272 w 3785642"/>
                <a:gd name="connsiteY278" fmla="*/ 59561 h 479077"/>
                <a:gd name="connsiteX279" fmla="*/ 429674 w 3785642"/>
                <a:gd name="connsiteY279" fmla="*/ 48647 h 479077"/>
                <a:gd name="connsiteX280" fmla="*/ 440092 w 3785642"/>
                <a:gd name="connsiteY280" fmla="*/ 35749 h 479077"/>
                <a:gd name="connsiteX281" fmla="*/ 452494 w 3785642"/>
                <a:gd name="connsiteY281" fmla="*/ 24835 h 479077"/>
                <a:gd name="connsiteX282" fmla="*/ 463904 w 3785642"/>
                <a:gd name="connsiteY282" fmla="*/ 12929 h 479077"/>
                <a:gd name="connsiteX283" fmla="*/ 475313 w 3785642"/>
                <a:gd name="connsiteY283" fmla="*/ 1024 h 479077"/>
                <a:gd name="connsiteX284" fmla="*/ 491684 w 3785642"/>
                <a:gd name="connsiteY284" fmla="*/ 2512 h 479077"/>
                <a:gd name="connsiteX285" fmla="*/ 508055 w 3785642"/>
                <a:gd name="connsiteY285" fmla="*/ 2512 h 479077"/>
                <a:gd name="connsiteX286" fmla="*/ 524425 w 3785642"/>
                <a:gd name="connsiteY286" fmla="*/ 2512 h 479077"/>
                <a:gd name="connsiteX287" fmla="*/ 540796 w 3785642"/>
                <a:gd name="connsiteY287" fmla="*/ 1024 h 479077"/>
                <a:gd name="connsiteX288" fmla="*/ 557166 w 3785642"/>
                <a:gd name="connsiteY288" fmla="*/ 2512 h 479077"/>
                <a:gd name="connsiteX289" fmla="*/ 573537 w 3785642"/>
                <a:gd name="connsiteY289" fmla="*/ 1024 h 479077"/>
                <a:gd name="connsiteX290" fmla="*/ 589908 w 3785642"/>
                <a:gd name="connsiteY290" fmla="*/ 527 h 479077"/>
                <a:gd name="connsiteX291" fmla="*/ 606278 w 3785642"/>
                <a:gd name="connsiteY291" fmla="*/ 1520 h 479077"/>
                <a:gd name="connsiteX292" fmla="*/ 622649 w 3785642"/>
                <a:gd name="connsiteY292" fmla="*/ 1520 h 479077"/>
                <a:gd name="connsiteX293" fmla="*/ 639019 w 3785642"/>
                <a:gd name="connsiteY293" fmla="*/ 2016 h 479077"/>
                <a:gd name="connsiteX294" fmla="*/ 655390 w 3785642"/>
                <a:gd name="connsiteY294" fmla="*/ 527 h 479077"/>
                <a:gd name="connsiteX295" fmla="*/ 671760 w 3785642"/>
                <a:gd name="connsiteY295" fmla="*/ 1520 h 479077"/>
                <a:gd name="connsiteX296" fmla="*/ 688131 w 3785642"/>
                <a:gd name="connsiteY296" fmla="*/ 2512 h 479077"/>
                <a:gd name="connsiteX297" fmla="*/ 704501 w 3785642"/>
                <a:gd name="connsiteY297" fmla="*/ 1024 h 479077"/>
                <a:gd name="connsiteX298" fmla="*/ 720872 w 3785642"/>
                <a:gd name="connsiteY298" fmla="*/ 1520 h 479077"/>
                <a:gd name="connsiteX299" fmla="*/ 737243 w 3785642"/>
                <a:gd name="connsiteY299" fmla="*/ 2016 h 479077"/>
                <a:gd name="connsiteX300" fmla="*/ 753613 w 3785642"/>
                <a:gd name="connsiteY300" fmla="*/ 1024 h 479077"/>
                <a:gd name="connsiteX301" fmla="*/ 769984 w 3785642"/>
                <a:gd name="connsiteY301" fmla="*/ 527 h 479077"/>
                <a:gd name="connsiteX302" fmla="*/ 786354 w 3785642"/>
                <a:gd name="connsiteY302" fmla="*/ 1520 h 479077"/>
                <a:gd name="connsiteX303" fmla="*/ 802725 w 3785642"/>
                <a:gd name="connsiteY303" fmla="*/ 527 h 479077"/>
                <a:gd name="connsiteX304" fmla="*/ 819096 w 3785642"/>
                <a:gd name="connsiteY304" fmla="*/ 2512 h 479077"/>
                <a:gd name="connsiteX305" fmla="*/ 835466 w 3785642"/>
                <a:gd name="connsiteY305" fmla="*/ 527 h 479077"/>
                <a:gd name="connsiteX306" fmla="*/ 851837 w 3785642"/>
                <a:gd name="connsiteY306" fmla="*/ 1520 h 479077"/>
                <a:gd name="connsiteX307" fmla="*/ 868207 w 3785642"/>
                <a:gd name="connsiteY307" fmla="*/ 2016 h 479077"/>
                <a:gd name="connsiteX308" fmla="*/ 884578 w 3785642"/>
                <a:gd name="connsiteY308" fmla="*/ 2512 h 479077"/>
                <a:gd name="connsiteX309" fmla="*/ 900948 w 3785642"/>
                <a:gd name="connsiteY309" fmla="*/ 1520 h 479077"/>
                <a:gd name="connsiteX310" fmla="*/ 917319 w 3785642"/>
                <a:gd name="connsiteY310" fmla="*/ 1024 h 479077"/>
                <a:gd name="connsiteX311" fmla="*/ 933689 w 3785642"/>
                <a:gd name="connsiteY311" fmla="*/ 2512 h 479077"/>
                <a:gd name="connsiteX312" fmla="*/ 950060 w 3785642"/>
                <a:gd name="connsiteY312" fmla="*/ 1520 h 479077"/>
                <a:gd name="connsiteX313" fmla="*/ 966431 w 3785642"/>
                <a:gd name="connsiteY313" fmla="*/ 2016 h 479077"/>
                <a:gd name="connsiteX314" fmla="*/ 982801 w 3785642"/>
                <a:gd name="connsiteY314" fmla="*/ 2512 h 479077"/>
                <a:gd name="connsiteX315" fmla="*/ 999172 w 3785642"/>
                <a:gd name="connsiteY315" fmla="*/ 1520 h 479077"/>
                <a:gd name="connsiteX316" fmla="*/ 1015542 w 3785642"/>
                <a:gd name="connsiteY316" fmla="*/ 2512 h 479077"/>
                <a:gd name="connsiteX317" fmla="*/ 1031913 w 3785642"/>
                <a:gd name="connsiteY317" fmla="*/ 1520 h 479077"/>
                <a:gd name="connsiteX318" fmla="*/ 1048283 w 3785642"/>
                <a:gd name="connsiteY318" fmla="*/ 2016 h 479077"/>
                <a:gd name="connsiteX319" fmla="*/ 1064654 w 3785642"/>
                <a:gd name="connsiteY319" fmla="*/ 3504 h 479077"/>
                <a:gd name="connsiteX320" fmla="*/ 1081025 w 3785642"/>
                <a:gd name="connsiteY320" fmla="*/ 2016 h 479077"/>
                <a:gd name="connsiteX321" fmla="*/ 1097395 w 3785642"/>
                <a:gd name="connsiteY321" fmla="*/ 2512 h 479077"/>
                <a:gd name="connsiteX322" fmla="*/ 1113766 w 3785642"/>
                <a:gd name="connsiteY322" fmla="*/ 2512 h 479077"/>
                <a:gd name="connsiteX323" fmla="*/ 1130136 w 3785642"/>
                <a:gd name="connsiteY323" fmla="*/ 3504 h 479077"/>
                <a:gd name="connsiteX324" fmla="*/ 1146507 w 3785642"/>
                <a:gd name="connsiteY324" fmla="*/ 1520 h 479077"/>
                <a:gd name="connsiteX325" fmla="*/ 1162878 w 3785642"/>
                <a:gd name="connsiteY325" fmla="*/ 3008 h 479077"/>
                <a:gd name="connsiteX326" fmla="*/ 1179248 w 3785642"/>
                <a:gd name="connsiteY326" fmla="*/ 4000 h 479077"/>
                <a:gd name="connsiteX327" fmla="*/ 1195619 w 3785642"/>
                <a:gd name="connsiteY327" fmla="*/ 3504 h 479077"/>
                <a:gd name="connsiteX328" fmla="*/ 1211989 w 3785642"/>
                <a:gd name="connsiteY328" fmla="*/ 1520 h 479077"/>
                <a:gd name="connsiteX329" fmla="*/ 1228360 w 3785642"/>
                <a:gd name="connsiteY329" fmla="*/ 3504 h 479077"/>
                <a:gd name="connsiteX330" fmla="*/ 1244730 w 3785642"/>
                <a:gd name="connsiteY330" fmla="*/ 1520 h 479077"/>
                <a:gd name="connsiteX331" fmla="*/ 1261101 w 3785642"/>
                <a:gd name="connsiteY331" fmla="*/ 2512 h 479077"/>
                <a:gd name="connsiteX332" fmla="*/ 1277471 w 3785642"/>
                <a:gd name="connsiteY332" fmla="*/ 3504 h 479077"/>
                <a:gd name="connsiteX333" fmla="*/ 1293842 w 3785642"/>
                <a:gd name="connsiteY333" fmla="*/ 4000 h 479077"/>
                <a:gd name="connsiteX334" fmla="*/ 1310213 w 3785642"/>
                <a:gd name="connsiteY334" fmla="*/ 1520 h 479077"/>
                <a:gd name="connsiteX335" fmla="*/ 1326583 w 3785642"/>
                <a:gd name="connsiteY335" fmla="*/ 2016 h 479077"/>
                <a:gd name="connsiteX336" fmla="*/ 1342954 w 3785642"/>
                <a:gd name="connsiteY336" fmla="*/ 3008 h 479077"/>
                <a:gd name="connsiteX337" fmla="*/ 1359324 w 3785642"/>
                <a:gd name="connsiteY337" fmla="*/ 3008 h 479077"/>
                <a:gd name="connsiteX338" fmla="*/ 1375695 w 3785642"/>
                <a:gd name="connsiteY338" fmla="*/ 2512 h 479077"/>
                <a:gd name="connsiteX339" fmla="*/ 1392066 w 3785642"/>
                <a:gd name="connsiteY339" fmla="*/ 2512 h 479077"/>
                <a:gd name="connsiteX340" fmla="*/ 1408436 w 3785642"/>
                <a:gd name="connsiteY340" fmla="*/ 3504 h 479077"/>
                <a:gd name="connsiteX341" fmla="*/ 1424807 w 3785642"/>
                <a:gd name="connsiteY341" fmla="*/ 3504 h 479077"/>
                <a:gd name="connsiteX342" fmla="*/ 1441177 w 3785642"/>
                <a:gd name="connsiteY342" fmla="*/ 1520 h 479077"/>
                <a:gd name="connsiteX343" fmla="*/ 1457548 w 3785642"/>
                <a:gd name="connsiteY343" fmla="*/ 2512 h 479077"/>
                <a:gd name="connsiteX344" fmla="*/ 1473919 w 3785642"/>
                <a:gd name="connsiteY344" fmla="*/ 2016 h 479077"/>
                <a:gd name="connsiteX345" fmla="*/ 1490289 w 3785642"/>
                <a:gd name="connsiteY345" fmla="*/ 2016 h 479077"/>
                <a:gd name="connsiteX346" fmla="*/ 1506660 w 3785642"/>
                <a:gd name="connsiteY346" fmla="*/ 1520 h 479077"/>
                <a:gd name="connsiteX347" fmla="*/ 1523030 w 3785642"/>
                <a:gd name="connsiteY347" fmla="*/ 3504 h 479077"/>
                <a:gd name="connsiteX348" fmla="*/ 1539401 w 3785642"/>
                <a:gd name="connsiteY348" fmla="*/ 3008 h 479077"/>
                <a:gd name="connsiteX349" fmla="*/ 1555771 w 3785642"/>
                <a:gd name="connsiteY349" fmla="*/ 3008 h 479077"/>
                <a:gd name="connsiteX350" fmla="*/ 1572142 w 3785642"/>
                <a:gd name="connsiteY350" fmla="*/ 2512 h 479077"/>
                <a:gd name="connsiteX351" fmla="*/ 1588512 w 3785642"/>
                <a:gd name="connsiteY351" fmla="*/ 2016 h 479077"/>
                <a:gd name="connsiteX352" fmla="*/ 1604883 w 3785642"/>
                <a:gd name="connsiteY352" fmla="*/ 3008 h 479077"/>
                <a:gd name="connsiteX353" fmla="*/ 1621253 w 3785642"/>
                <a:gd name="connsiteY353" fmla="*/ 3008 h 479077"/>
                <a:gd name="connsiteX354" fmla="*/ 1637624 w 3785642"/>
                <a:gd name="connsiteY35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498908 w 3785642"/>
                <a:gd name="connsiteY22" fmla="*/ 171674 h 479077"/>
                <a:gd name="connsiteX23" fmla="*/ 3405646 w 3785642"/>
                <a:gd name="connsiteY23" fmla="*/ 79404 h 479077"/>
                <a:gd name="connsiteX24" fmla="*/ 3393740 w 3785642"/>
                <a:gd name="connsiteY24" fmla="*/ 68490 h 479077"/>
                <a:gd name="connsiteX25" fmla="*/ 3382330 w 3785642"/>
                <a:gd name="connsiteY25" fmla="*/ 56584 h 479077"/>
                <a:gd name="connsiteX26" fmla="*/ 3370921 w 3785642"/>
                <a:gd name="connsiteY26" fmla="*/ 44678 h 479077"/>
                <a:gd name="connsiteX27" fmla="*/ 3313375 w 3785642"/>
                <a:gd name="connsiteY27" fmla="*/ 10945 h 479077"/>
                <a:gd name="connsiteX28" fmla="*/ 3300973 w 3785642"/>
                <a:gd name="connsiteY28" fmla="*/ 21363 h 479077"/>
                <a:gd name="connsiteX29" fmla="*/ 3289068 w 3785642"/>
                <a:gd name="connsiteY29" fmla="*/ 32276 h 479077"/>
                <a:gd name="connsiteX30" fmla="*/ 3277658 w 3785642"/>
                <a:gd name="connsiteY30" fmla="*/ 43686 h 479077"/>
                <a:gd name="connsiteX31" fmla="*/ 3266248 w 3785642"/>
                <a:gd name="connsiteY31" fmla="*/ 55592 h 479077"/>
                <a:gd name="connsiteX32" fmla="*/ 3255830 w 3785642"/>
                <a:gd name="connsiteY32" fmla="*/ 68490 h 479077"/>
                <a:gd name="connsiteX33" fmla="*/ 3243924 w 3785642"/>
                <a:gd name="connsiteY33" fmla="*/ 79900 h 479077"/>
                <a:gd name="connsiteX34" fmla="*/ 3231522 w 3785642"/>
                <a:gd name="connsiteY34" fmla="*/ 90814 h 479077"/>
                <a:gd name="connsiteX35" fmla="*/ 3220609 w 3785642"/>
                <a:gd name="connsiteY35" fmla="*/ 102720 h 479077"/>
                <a:gd name="connsiteX36" fmla="*/ 3208207 w 3785642"/>
                <a:gd name="connsiteY36" fmla="*/ 113137 h 479077"/>
                <a:gd name="connsiteX37" fmla="*/ 3197293 w 3785642"/>
                <a:gd name="connsiteY37" fmla="*/ 125043 h 479077"/>
                <a:gd name="connsiteX38" fmla="*/ 3185387 w 3785642"/>
                <a:gd name="connsiteY38" fmla="*/ 136453 h 479077"/>
                <a:gd name="connsiteX39" fmla="*/ 3174970 w 3785642"/>
                <a:gd name="connsiteY39" fmla="*/ 148855 h 479077"/>
                <a:gd name="connsiteX40" fmla="*/ 3162071 w 3785642"/>
                <a:gd name="connsiteY40" fmla="*/ 159272 h 479077"/>
                <a:gd name="connsiteX41" fmla="*/ 3151158 w 3785642"/>
                <a:gd name="connsiteY41" fmla="*/ 171674 h 479077"/>
                <a:gd name="connsiteX42" fmla="*/ 3139252 w 3785642"/>
                <a:gd name="connsiteY42" fmla="*/ 182588 h 479077"/>
                <a:gd name="connsiteX43" fmla="*/ 3127843 w 3785642"/>
                <a:gd name="connsiteY43" fmla="*/ 194494 h 479077"/>
                <a:gd name="connsiteX44" fmla="*/ 3116432 w 3785642"/>
                <a:gd name="connsiteY44" fmla="*/ 205904 h 479077"/>
                <a:gd name="connsiteX45" fmla="*/ 3105022 w 3785642"/>
                <a:gd name="connsiteY45" fmla="*/ 217810 h 479077"/>
                <a:gd name="connsiteX46" fmla="*/ 3093117 w 3785642"/>
                <a:gd name="connsiteY46" fmla="*/ 229219 h 479077"/>
                <a:gd name="connsiteX47" fmla="*/ 3081707 w 3785642"/>
                <a:gd name="connsiteY47" fmla="*/ 240629 h 479077"/>
                <a:gd name="connsiteX48" fmla="*/ 3069305 w 3785642"/>
                <a:gd name="connsiteY48" fmla="*/ 251543 h 479077"/>
                <a:gd name="connsiteX49" fmla="*/ 3057895 w 3785642"/>
                <a:gd name="connsiteY49" fmla="*/ 263449 h 479077"/>
                <a:gd name="connsiteX50" fmla="*/ 3046486 w 3785642"/>
                <a:gd name="connsiteY50" fmla="*/ 275355 h 479077"/>
                <a:gd name="connsiteX51" fmla="*/ 3035572 w 3785642"/>
                <a:gd name="connsiteY51" fmla="*/ 287260 h 479077"/>
                <a:gd name="connsiteX52" fmla="*/ 3024658 w 3785642"/>
                <a:gd name="connsiteY52" fmla="*/ 299166 h 479077"/>
                <a:gd name="connsiteX53" fmla="*/ 3013248 w 3785642"/>
                <a:gd name="connsiteY53" fmla="*/ 311072 h 479077"/>
                <a:gd name="connsiteX54" fmla="*/ 3000350 w 3785642"/>
                <a:gd name="connsiteY54" fmla="*/ 321490 h 479077"/>
                <a:gd name="connsiteX55" fmla="*/ 2988941 w 3785642"/>
                <a:gd name="connsiteY55" fmla="*/ 333396 h 479077"/>
                <a:gd name="connsiteX56" fmla="*/ 2976539 w 3785642"/>
                <a:gd name="connsiteY56" fmla="*/ 344309 h 479077"/>
                <a:gd name="connsiteX57" fmla="*/ 2965129 w 3785642"/>
                <a:gd name="connsiteY57" fmla="*/ 356215 h 479077"/>
                <a:gd name="connsiteX58" fmla="*/ 2953223 w 3785642"/>
                <a:gd name="connsiteY58" fmla="*/ 367625 h 479077"/>
                <a:gd name="connsiteX59" fmla="*/ 2941813 w 3785642"/>
                <a:gd name="connsiteY59" fmla="*/ 379531 h 479077"/>
                <a:gd name="connsiteX60" fmla="*/ 2931395 w 3785642"/>
                <a:gd name="connsiteY60" fmla="*/ 392429 h 479077"/>
                <a:gd name="connsiteX61" fmla="*/ 2918497 w 3785642"/>
                <a:gd name="connsiteY61" fmla="*/ 402847 h 479077"/>
                <a:gd name="connsiteX62" fmla="*/ 2907584 w 3785642"/>
                <a:gd name="connsiteY62" fmla="*/ 415249 h 479077"/>
                <a:gd name="connsiteX63" fmla="*/ 2896174 w 3785642"/>
                <a:gd name="connsiteY63" fmla="*/ 426658 h 479077"/>
                <a:gd name="connsiteX64" fmla="*/ 2884268 w 3785642"/>
                <a:gd name="connsiteY64" fmla="*/ 438068 h 479077"/>
                <a:gd name="connsiteX65" fmla="*/ 2873354 w 3785642"/>
                <a:gd name="connsiteY65" fmla="*/ 450470 h 479077"/>
                <a:gd name="connsiteX66" fmla="*/ 2860952 w 3785642"/>
                <a:gd name="connsiteY66" fmla="*/ 461384 h 479077"/>
                <a:gd name="connsiteX67" fmla="*/ 2850039 w 3785642"/>
                <a:gd name="connsiteY67" fmla="*/ 473786 h 479077"/>
                <a:gd name="connsiteX68" fmla="*/ 2833668 w 3785642"/>
                <a:gd name="connsiteY68" fmla="*/ 473786 h 479077"/>
                <a:gd name="connsiteX69" fmla="*/ 2817297 w 3785642"/>
                <a:gd name="connsiteY69" fmla="*/ 473290 h 479077"/>
                <a:gd name="connsiteX70" fmla="*/ 2800927 w 3785642"/>
                <a:gd name="connsiteY70" fmla="*/ 473290 h 479077"/>
                <a:gd name="connsiteX71" fmla="*/ 2784556 w 3785642"/>
                <a:gd name="connsiteY71" fmla="*/ 473786 h 479077"/>
                <a:gd name="connsiteX72" fmla="*/ 2768186 w 3785642"/>
                <a:gd name="connsiteY72" fmla="*/ 474282 h 479077"/>
                <a:gd name="connsiteX73" fmla="*/ 2751815 w 3785642"/>
                <a:gd name="connsiteY73" fmla="*/ 474282 h 479077"/>
                <a:gd name="connsiteX74" fmla="*/ 2735444 w 3785642"/>
                <a:gd name="connsiteY74" fmla="*/ 473290 h 479077"/>
                <a:gd name="connsiteX75" fmla="*/ 2719074 w 3785642"/>
                <a:gd name="connsiteY75" fmla="*/ 474282 h 479077"/>
                <a:gd name="connsiteX76" fmla="*/ 2702703 w 3785642"/>
                <a:gd name="connsiteY76" fmla="*/ 472298 h 479077"/>
                <a:gd name="connsiteX77" fmla="*/ 2686333 w 3785642"/>
                <a:gd name="connsiteY77" fmla="*/ 472794 h 479077"/>
                <a:gd name="connsiteX78" fmla="*/ 2669962 w 3785642"/>
                <a:gd name="connsiteY78" fmla="*/ 474282 h 479077"/>
                <a:gd name="connsiteX79" fmla="*/ 2653592 w 3785642"/>
                <a:gd name="connsiteY79" fmla="*/ 472298 h 479077"/>
                <a:gd name="connsiteX80" fmla="*/ 2637221 w 3785642"/>
                <a:gd name="connsiteY80" fmla="*/ 474282 h 479077"/>
                <a:gd name="connsiteX81" fmla="*/ 2620851 w 3785642"/>
                <a:gd name="connsiteY81" fmla="*/ 474282 h 479077"/>
                <a:gd name="connsiteX82" fmla="*/ 2604480 w 3785642"/>
                <a:gd name="connsiteY82" fmla="*/ 472298 h 479077"/>
                <a:gd name="connsiteX83" fmla="*/ 2588109 w 3785642"/>
                <a:gd name="connsiteY83" fmla="*/ 473786 h 479077"/>
                <a:gd name="connsiteX84" fmla="*/ 2571739 w 3785642"/>
                <a:gd name="connsiteY84" fmla="*/ 472298 h 479077"/>
                <a:gd name="connsiteX85" fmla="*/ 2555368 w 3785642"/>
                <a:gd name="connsiteY85" fmla="*/ 473290 h 479077"/>
                <a:gd name="connsiteX86" fmla="*/ 2538998 w 3785642"/>
                <a:gd name="connsiteY86" fmla="*/ 474282 h 479077"/>
                <a:gd name="connsiteX87" fmla="*/ 2522627 w 3785642"/>
                <a:gd name="connsiteY87" fmla="*/ 473290 h 479077"/>
                <a:gd name="connsiteX88" fmla="*/ 2506257 w 3785642"/>
                <a:gd name="connsiteY88" fmla="*/ 474282 h 479077"/>
                <a:gd name="connsiteX89" fmla="*/ 2489886 w 3785642"/>
                <a:gd name="connsiteY89" fmla="*/ 473786 h 479077"/>
                <a:gd name="connsiteX90" fmla="*/ 2473516 w 3785642"/>
                <a:gd name="connsiteY90" fmla="*/ 474282 h 479077"/>
                <a:gd name="connsiteX91" fmla="*/ 2457145 w 3785642"/>
                <a:gd name="connsiteY91" fmla="*/ 472794 h 479077"/>
                <a:gd name="connsiteX92" fmla="*/ 2440775 w 3785642"/>
                <a:gd name="connsiteY92" fmla="*/ 472298 h 479077"/>
                <a:gd name="connsiteX93" fmla="*/ 2424404 w 3785642"/>
                <a:gd name="connsiteY93" fmla="*/ 473786 h 479077"/>
                <a:gd name="connsiteX94" fmla="*/ 2408033 w 3785642"/>
                <a:gd name="connsiteY94" fmla="*/ 472794 h 479077"/>
                <a:gd name="connsiteX95" fmla="*/ 2391663 w 3785642"/>
                <a:gd name="connsiteY95" fmla="*/ 473290 h 479077"/>
                <a:gd name="connsiteX96" fmla="*/ 2375292 w 3785642"/>
                <a:gd name="connsiteY96" fmla="*/ 473290 h 479077"/>
                <a:gd name="connsiteX97" fmla="*/ 2358922 w 3785642"/>
                <a:gd name="connsiteY97" fmla="*/ 472794 h 479077"/>
                <a:gd name="connsiteX98" fmla="*/ 2342551 w 3785642"/>
                <a:gd name="connsiteY98" fmla="*/ 472298 h 479077"/>
                <a:gd name="connsiteX99" fmla="*/ 2326180 w 3785642"/>
                <a:gd name="connsiteY99" fmla="*/ 473786 h 479077"/>
                <a:gd name="connsiteX100" fmla="*/ 2309810 w 3785642"/>
                <a:gd name="connsiteY100" fmla="*/ 473786 h 479077"/>
                <a:gd name="connsiteX101" fmla="*/ 2293439 w 3785642"/>
                <a:gd name="connsiteY101" fmla="*/ 473786 h 479077"/>
                <a:gd name="connsiteX102" fmla="*/ 2277069 w 3785642"/>
                <a:gd name="connsiteY102" fmla="*/ 472794 h 479077"/>
                <a:gd name="connsiteX103" fmla="*/ 2260698 w 3785642"/>
                <a:gd name="connsiteY103" fmla="*/ 474282 h 479077"/>
                <a:gd name="connsiteX104" fmla="*/ 2244327 w 3785642"/>
                <a:gd name="connsiteY104" fmla="*/ 472298 h 479077"/>
                <a:gd name="connsiteX105" fmla="*/ 2227957 w 3785642"/>
                <a:gd name="connsiteY105" fmla="*/ 474282 h 479077"/>
                <a:gd name="connsiteX106" fmla="*/ 2211586 w 3785642"/>
                <a:gd name="connsiteY106" fmla="*/ 473290 h 479077"/>
                <a:gd name="connsiteX107" fmla="*/ 2195216 w 3785642"/>
                <a:gd name="connsiteY107" fmla="*/ 474282 h 479077"/>
                <a:gd name="connsiteX108" fmla="*/ 2178845 w 3785642"/>
                <a:gd name="connsiteY108" fmla="*/ 472794 h 479077"/>
                <a:gd name="connsiteX109" fmla="*/ 2162474 w 3785642"/>
                <a:gd name="connsiteY109" fmla="*/ 474778 h 479077"/>
                <a:gd name="connsiteX110" fmla="*/ 2146104 w 3785642"/>
                <a:gd name="connsiteY110" fmla="*/ 473290 h 479077"/>
                <a:gd name="connsiteX111" fmla="*/ 2129733 w 3785642"/>
                <a:gd name="connsiteY111" fmla="*/ 474778 h 479077"/>
                <a:gd name="connsiteX112" fmla="*/ 2113363 w 3785642"/>
                <a:gd name="connsiteY112" fmla="*/ 474778 h 479077"/>
                <a:gd name="connsiteX113" fmla="*/ 2096992 w 3785642"/>
                <a:gd name="connsiteY113" fmla="*/ 474778 h 479077"/>
                <a:gd name="connsiteX114" fmla="*/ 2080621 w 3785642"/>
                <a:gd name="connsiteY114" fmla="*/ 474282 h 479077"/>
                <a:gd name="connsiteX115" fmla="*/ 2064251 w 3785642"/>
                <a:gd name="connsiteY115" fmla="*/ 472794 h 479077"/>
                <a:gd name="connsiteX116" fmla="*/ 2047880 w 3785642"/>
                <a:gd name="connsiteY116" fmla="*/ 474778 h 479077"/>
                <a:gd name="connsiteX117" fmla="*/ 2031510 w 3785642"/>
                <a:gd name="connsiteY117" fmla="*/ 474778 h 479077"/>
                <a:gd name="connsiteX118" fmla="*/ 2015139 w 3785642"/>
                <a:gd name="connsiteY118" fmla="*/ 474778 h 479077"/>
                <a:gd name="connsiteX119" fmla="*/ 1998769 w 3785642"/>
                <a:gd name="connsiteY119" fmla="*/ 474282 h 479077"/>
                <a:gd name="connsiteX120" fmla="*/ 1982398 w 3785642"/>
                <a:gd name="connsiteY120" fmla="*/ 473786 h 479077"/>
                <a:gd name="connsiteX121" fmla="*/ 1966028 w 3785642"/>
                <a:gd name="connsiteY121" fmla="*/ 473786 h 479077"/>
                <a:gd name="connsiteX122" fmla="*/ 1949657 w 3785642"/>
                <a:gd name="connsiteY122" fmla="*/ 472794 h 479077"/>
                <a:gd name="connsiteX123" fmla="*/ 1933287 w 3785642"/>
                <a:gd name="connsiteY123" fmla="*/ 473290 h 479077"/>
                <a:gd name="connsiteX124" fmla="*/ 1916916 w 3785642"/>
                <a:gd name="connsiteY124" fmla="*/ 474778 h 479077"/>
                <a:gd name="connsiteX125" fmla="*/ 1900546 w 3785642"/>
                <a:gd name="connsiteY125" fmla="*/ 472794 h 479077"/>
                <a:gd name="connsiteX126" fmla="*/ 1884175 w 3785642"/>
                <a:gd name="connsiteY126" fmla="*/ 473786 h 479077"/>
                <a:gd name="connsiteX127" fmla="*/ 1867804 w 3785642"/>
                <a:gd name="connsiteY127" fmla="*/ 474778 h 479077"/>
                <a:gd name="connsiteX128" fmla="*/ 1851434 w 3785642"/>
                <a:gd name="connsiteY128" fmla="*/ 474778 h 479077"/>
                <a:gd name="connsiteX129" fmla="*/ 1835063 w 3785642"/>
                <a:gd name="connsiteY129" fmla="*/ 474778 h 479077"/>
                <a:gd name="connsiteX130" fmla="*/ 1818693 w 3785642"/>
                <a:gd name="connsiteY130" fmla="*/ 474282 h 479077"/>
                <a:gd name="connsiteX131" fmla="*/ 1802322 w 3785642"/>
                <a:gd name="connsiteY131" fmla="*/ 472794 h 479077"/>
                <a:gd name="connsiteX132" fmla="*/ 1785951 w 3785642"/>
                <a:gd name="connsiteY132" fmla="*/ 473786 h 479077"/>
                <a:gd name="connsiteX133" fmla="*/ 1769581 w 3785642"/>
                <a:gd name="connsiteY133" fmla="*/ 473290 h 479077"/>
                <a:gd name="connsiteX134" fmla="*/ 1753210 w 3785642"/>
                <a:gd name="connsiteY134" fmla="*/ 472298 h 479077"/>
                <a:gd name="connsiteX135" fmla="*/ 1736840 w 3785642"/>
                <a:gd name="connsiteY135" fmla="*/ 473290 h 479077"/>
                <a:gd name="connsiteX136" fmla="*/ 1720469 w 3785642"/>
                <a:gd name="connsiteY136" fmla="*/ 474778 h 479077"/>
                <a:gd name="connsiteX137" fmla="*/ 1704098 w 3785642"/>
                <a:gd name="connsiteY137" fmla="*/ 472794 h 479077"/>
                <a:gd name="connsiteX138" fmla="*/ 1687728 w 3785642"/>
                <a:gd name="connsiteY138" fmla="*/ 474778 h 479077"/>
                <a:gd name="connsiteX139" fmla="*/ 1671357 w 3785642"/>
                <a:gd name="connsiteY139" fmla="*/ 474778 h 479077"/>
                <a:gd name="connsiteX140" fmla="*/ 1654987 w 3785642"/>
                <a:gd name="connsiteY140" fmla="*/ 472298 h 479077"/>
                <a:gd name="connsiteX141" fmla="*/ 1638616 w 3785642"/>
                <a:gd name="connsiteY141" fmla="*/ 472794 h 479077"/>
                <a:gd name="connsiteX142" fmla="*/ 1622246 w 3785642"/>
                <a:gd name="connsiteY142" fmla="*/ 473786 h 479077"/>
                <a:gd name="connsiteX143" fmla="*/ 1605875 w 3785642"/>
                <a:gd name="connsiteY143" fmla="*/ 474778 h 479077"/>
                <a:gd name="connsiteX144" fmla="*/ 1589505 w 3785642"/>
                <a:gd name="connsiteY144" fmla="*/ 473290 h 479077"/>
                <a:gd name="connsiteX145" fmla="*/ 1573134 w 3785642"/>
                <a:gd name="connsiteY145" fmla="*/ 474778 h 479077"/>
                <a:gd name="connsiteX146" fmla="*/ 1556763 w 3785642"/>
                <a:gd name="connsiteY146" fmla="*/ 472794 h 479077"/>
                <a:gd name="connsiteX147" fmla="*/ 1540393 w 3785642"/>
                <a:gd name="connsiteY147" fmla="*/ 472794 h 479077"/>
                <a:gd name="connsiteX148" fmla="*/ 1524022 w 3785642"/>
                <a:gd name="connsiteY148" fmla="*/ 474282 h 479077"/>
                <a:gd name="connsiteX149" fmla="*/ 1507652 w 3785642"/>
                <a:gd name="connsiteY149" fmla="*/ 472794 h 479077"/>
                <a:gd name="connsiteX150" fmla="*/ 1491281 w 3785642"/>
                <a:gd name="connsiteY150" fmla="*/ 474282 h 479077"/>
                <a:gd name="connsiteX151" fmla="*/ 1474910 w 3785642"/>
                <a:gd name="connsiteY151" fmla="*/ 474282 h 479077"/>
                <a:gd name="connsiteX152" fmla="*/ 1458540 w 3785642"/>
                <a:gd name="connsiteY152" fmla="*/ 472794 h 479077"/>
                <a:gd name="connsiteX153" fmla="*/ 1442169 w 3785642"/>
                <a:gd name="connsiteY153" fmla="*/ 471802 h 479077"/>
                <a:gd name="connsiteX154" fmla="*/ 1425799 w 3785642"/>
                <a:gd name="connsiteY154" fmla="*/ 472298 h 479077"/>
                <a:gd name="connsiteX155" fmla="*/ 1409428 w 3785642"/>
                <a:gd name="connsiteY155" fmla="*/ 472794 h 479077"/>
                <a:gd name="connsiteX156" fmla="*/ 1393058 w 3785642"/>
                <a:gd name="connsiteY156" fmla="*/ 473786 h 479077"/>
                <a:gd name="connsiteX157" fmla="*/ 1376687 w 3785642"/>
                <a:gd name="connsiteY157" fmla="*/ 471802 h 479077"/>
                <a:gd name="connsiteX158" fmla="*/ 1360317 w 3785642"/>
                <a:gd name="connsiteY158" fmla="*/ 473786 h 479077"/>
                <a:gd name="connsiteX159" fmla="*/ 1343946 w 3785642"/>
                <a:gd name="connsiteY159" fmla="*/ 473786 h 479077"/>
                <a:gd name="connsiteX160" fmla="*/ 1327576 w 3785642"/>
                <a:gd name="connsiteY160" fmla="*/ 472794 h 479077"/>
                <a:gd name="connsiteX161" fmla="*/ 1311205 w 3785642"/>
                <a:gd name="connsiteY161" fmla="*/ 473786 h 479077"/>
                <a:gd name="connsiteX162" fmla="*/ 1294834 w 3785642"/>
                <a:gd name="connsiteY162" fmla="*/ 473786 h 479077"/>
                <a:gd name="connsiteX163" fmla="*/ 1278464 w 3785642"/>
                <a:gd name="connsiteY163" fmla="*/ 473786 h 479077"/>
                <a:gd name="connsiteX164" fmla="*/ 1262093 w 3785642"/>
                <a:gd name="connsiteY164" fmla="*/ 473786 h 479077"/>
                <a:gd name="connsiteX165" fmla="*/ 1245723 w 3785642"/>
                <a:gd name="connsiteY165" fmla="*/ 473290 h 479077"/>
                <a:gd name="connsiteX166" fmla="*/ 1229352 w 3785642"/>
                <a:gd name="connsiteY166" fmla="*/ 472794 h 479077"/>
                <a:gd name="connsiteX167" fmla="*/ 1212981 w 3785642"/>
                <a:gd name="connsiteY167" fmla="*/ 473786 h 479077"/>
                <a:gd name="connsiteX168" fmla="*/ 1196611 w 3785642"/>
                <a:gd name="connsiteY168" fmla="*/ 472298 h 479077"/>
                <a:gd name="connsiteX169" fmla="*/ 1180240 w 3785642"/>
                <a:gd name="connsiteY169" fmla="*/ 472794 h 479077"/>
                <a:gd name="connsiteX170" fmla="*/ 1163870 w 3785642"/>
                <a:gd name="connsiteY170" fmla="*/ 472794 h 479077"/>
                <a:gd name="connsiteX171" fmla="*/ 1147499 w 3785642"/>
                <a:gd name="connsiteY171" fmla="*/ 473786 h 479077"/>
                <a:gd name="connsiteX172" fmla="*/ 1131128 w 3785642"/>
                <a:gd name="connsiteY172" fmla="*/ 473786 h 479077"/>
                <a:gd name="connsiteX173" fmla="*/ 1114758 w 3785642"/>
                <a:gd name="connsiteY173" fmla="*/ 472794 h 479077"/>
                <a:gd name="connsiteX174" fmla="*/ 1098387 w 3785642"/>
                <a:gd name="connsiteY174" fmla="*/ 473786 h 479077"/>
                <a:gd name="connsiteX175" fmla="*/ 1082017 w 3785642"/>
                <a:gd name="connsiteY175" fmla="*/ 474778 h 479077"/>
                <a:gd name="connsiteX176" fmla="*/ 1065646 w 3785642"/>
                <a:gd name="connsiteY176" fmla="*/ 474778 h 479077"/>
                <a:gd name="connsiteX177" fmla="*/ 1049276 w 3785642"/>
                <a:gd name="connsiteY177" fmla="*/ 474282 h 479077"/>
                <a:gd name="connsiteX178" fmla="*/ 1032905 w 3785642"/>
                <a:gd name="connsiteY178" fmla="*/ 473290 h 479077"/>
                <a:gd name="connsiteX179" fmla="*/ 1016535 w 3785642"/>
                <a:gd name="connsiteY179" fmla="*/ 474282 h 479077"/>
                <a:gd name="connsiteX180" fmla="*/ 1000164 w 3785642"/>
                <a:gd name="connsiteY180" fmla="*/ 474282 h 479077"/>
                <a:gd name="connsiteX181" fmla="*/ 983793 w 3785642"/>
                <a:gd name="connsiteY181" fmla="*/ 472794 h 479077"/>
                <a:gd name="connsiteX182" fmla="*/ 967423 w 3785642"/>
                <a:gd name="connsiteY182" fmla="*/ 472794 h 479077"/>
                <a:gd name="connsiteX183" fmla="*/ 951052 w 3785642"/>
                <a:gd name="connsiteY183" fmla="*/ 473786 h 479077"/>
                <a:gd name="connsiteX184" fmla="*/ 934682 w 3785642"/>
                <a:gd name="connsiteY184" fmla="*/ 474282 h 479077"/>
                <a:gd name="connsiteX185" fmla="*/ 918311 w 3785642"/>
                <a:gd name="connsiteY185" fmla="*/ 474778 h 479077"/>
                <a:gd name="connsiteX186" fmla="*/ 901940 w 3785642"/>
                <a:gd name="connsiteY186" fmla="*/ 473290 h 479077"/>
                <a:gd name="connsiteX187" fmla="*/ 885570 w 3785642"/>
                <a:gd name="connsiteY187" fmla="*/ 474778 h 479077"/>
                <a:gd name="connsiteX188" fmla="*/ 869199 w 3785642"/>
                <a:gd name="connsiteY188" fmla="*/ 474282 h 479077"/>
                <a:gd name="connsiteX189" fmla="*/ 852829 w 3785642"/>
                <a:gd name="connsiteY189" fmla="*/ 473786 h 479077"/>
                <a:gd name="connsiteX190" fmla="*/ 836458 w 3785642"/>
                <a:gd name="connsiteY190" fmla="*/ 474778 h 479077"/>
                <a:gd name="connsiteX191" fmla="*/ 820088 w 3785642"/>
                <a:gd name="connsiteY191" fmla="*/ 475274 h 479077"/>
                <a:gd name="connsiteX192" fmla="*/ 803717 w 3785642"/>
                <a:gd name="connsiteY192" fmla="*/ 473786 h 479077"/>
                <a:gd name="connsiteX193" fmla="*/ 787347 w 3785642"/>
                <a:gd name="connsiteY193" fmla="*/ 475770 h 479077"/>
                <a:gd name="connsiteX194" fmla="*/ 770976 w 3785642"/>
                <a:gd name="connsiteY194" fmla="*/ 474778 h 479077"/>
                <a:gd name="connsiteX195" fmla="*/ 754605 w 3785642"/>
                <a:gd name="connsiteY195" fmla="*/ 475274 h 479077"/>
                <a:gd name="connsiteX196" fmla="*/ 738235 w 3785642"/>
                <a:gd name="connsiteY196" fmla="*/ 473786 h 479077"/>
                <a:gd name="connsiteX197" fmla="*/ 721864 w 3785642"/>
                <a:gd name="connsiteY197" fmla="*/ 475274 h 479077"/>
                <a:gd name="connsiteX198" fmla="*/ 705494 w 3785642"/>
                <a:gd name="connsiteY198" fmla="*/ 475770 h 479077"/>
                <a:gd name="connsiteX199" fmla="*/ 689123 w 3785642"/>
                <a:gd name="connsiteY199" fmla="*/ 474282 h 479077"/>
                <a:gd name="connsiteX200" fmla="*/ 672753 w 3785642"/>
                <a:gd name="connsiteY200" fmla="*/ 475274 h 479077"/>
                <a:gd name="connsiteX201" fmla="*/ 656382 w 3785642"/>
                <a:gd name="connsiteY201" fmla="*/ 474778 h 479077"/>
                <a:gd name="connsiteX202" fmla="*/ 640011 w 3785642"/>
                <a:gd name="connsiteY202" fmla="*/ 475770 h 479077"/>
                <a:gd name="connsiteX203" fmla="*/ 623641 w 3785642"/>
                <a:gd name="connsiteY203" fmla="*/ 473786 h 479077"/>
                <a:gd name="connsiteX204" fmla="*/ 607270 w 3785642"/>
                <a:gd name="connsiteY204" fmla="*/ 474778 h 479077"/>
                <a:gd name="connsiteX205" fmla="*/ 590900 w 3785642"/>
                <a:gd name="connsiteY205" fmla="*/ 475274 h 479077"/>
                <a:gd name="connsiteX206" fmla="*/ 574529 w 3785642"/>
                <a:gd name="connsiteY206" fmla="*/ 474282 h 479077"/>
                <a:gd name="connsiteX207" fmla="*/ 558158 w 3785642"/>
                <a:gd name="connsiteY207" fmla="*/ 475274 h 479077"/>
                <a:gd name="connsiteX208" fmla="*/ 541788 w 3785642"/>
                <a:gd name="connsiteY208" fmla="*/ 475770 h 479077"/>
                <a:gd name="connsiteX209" fmla="*/ 525417 w 3785642"/>
                <a:gd name="connsiteY209" fmla="*/ 474282 h 479077"/>
                <a:gd name="connsiteX210" fmla="*/ 509047 w 3785642"/>
                <a:gd name="connsiteY210" fmla="*/ 473786 h 479077"/>
                <a:gd name="connsiteX211" fmla="*/ 492676 w 3785642"/>
                <a:gd name="connsiteY211" fmla="*/ 473786 h 479077"/>
                <a:gd name="connsiteX212" fmla="*/ 476306 w 3785642"/>
                <a:gd name="connsiteY212" fmla="*/ 474778 h 479077"/>
                <a:gd name="connsiteX213" fmla="*/ 459935 w 3785642"/>
                <a:gd name="connsiteY213" fmla="*/ 473786 h 479077"/>
                <a:gd name="connsiteX214" fmla="*/ 443565 w 3785642"/>
                <a:gd name="connsiteY214" fmla="*/ 474778 h 479077"/>
                <a:gd name="connsiteX215" fmla="*/ 427194 w 3785642"/>
                <a:gd name="connsiteY215" fmla="*/ 474282 h 479077"/>
                <a:gd name="connsiteX216" fmla="*/ 410823 w 3785642"/>
                <a:gd name="connsiteY216" fmla="*/ 473290 h 479077"/>
                <a:gd name="connsiteX217" fmla="*/ 394453 w 3785642"/>
                <a:gd name="connsiteY217" fmla="*/ 475770 h 479077"/>
                <a:gd name="connsiteX218" fmla="*/ 378082 w 3785642"/>
                <a:gd name="connsiteY218" fmla="*/ 475274 h 479077"/>
                <a:gd name="connsiteX219" fmla="*/ 361712 w 3785642"/>
                <a:gd name="connsiteY219" fmla="*/ 474778 h 479077"/>
                <a:gd name="connsiteX220" fmla="*/ 345341 w 3785642"/>
                <a:gd name="connsiteY220" fmla="*/ 476266 h 479077"/>
                <a:gd name="connsiteX221" fmla="*/ 328970 w 3785642"/>
                <a:gd name="connsiteY221" fmla="*/ 474282 h 479077"/>
                <a:gd name="connsiteX222" fmla="*/ 312600 w 3785642"/>
                <a:gd name="connsiteY222" fmla="*/ 475274 h 479077"/>
                <a:gd name="connsiteX223" fmla="*/ 296229 w 3785642"/>
                <a:gd name="connsiteY223" fmla="*/ 474282 h 479077"/>
                <a:gd name="connsiteX224" fmla="*/ 279859 w 3785642"/>
                <a:gd name="connsiteY224" fmla="*/ 475770 h 479077"/>
                <a:gd name="connsiteX225" fmla="*/ 263488 w 3785642"/>
                <a:gd name="connsiteY225" fmla="*/ 476266 h 479077"/>
                <a:gd name="connsiteX226" fmla="*/ 247118 w 3785642"/>
                <a:gd name="connsiteY226" fmla="*/ 476266 h 479077"/>
                <a:gd name="connsiteX227" fmla="*/ 230747 w 3785642"/>
                <a:gd name="connsiteY227" fmla="*/ 474778 h 479077"/>
                <a:gd name="connsiteX228" fmla="*/ 214376 w 3785642"/>
                <a:gd name="connsiteY228" fmla="*/ 474778 h 479077"/>
                <a:gd name="connsiteX229" fmla="*/ 198006 w 3785642"/>
                <a:gd name="connsiteY229" fmla="*/ 476762 h 479077"/>
                <a:gd name="connsiteX230" fmla="*/ 181635 w 3785642"/>
                <a:gd name="connsiteY230" fmla="*/ 476266 h 479077"/>
                <a:gd name="connsiteX231" fmla="*/ 165265 w 3785642"/>
                <a:gd name="connsiteY231" fmla="*/ 474778 h 479077"/>
                <a:gd name="connsiteX232" fmla="*/ 148894 w 3785642"/>
                <a:gd name="connsiteY232" fmla="*/ 476762 h 479077"/>
                <a:gd name="connsiteX233" fmla="*/ 132524 w 3785642"/>
                <a:gd name="connsiteY233" fmla="*/ 476266 h 479077"/>
                <a:gd name="connsiteX234" fmla="*/ 116153 w 3785642"/>
                <a:gd name="connsiteY234" fmla="*/ 475274 h 479077"/>
                <a:gd name="connsiteX235" fmla="*/ 99783 w 3785642"/>
                <a:gd name="connsiteY235" fmla="*/ 475274 h 479077"/>
                <a:gd name="connsiteX236" fmla="*/ 83412 w 3785642"/>
                <a:gd name="connsiteY236" fmla="*/ 475274 h 479077"/>
                <a:gd name="connsiteX237" fmla="*/ 67041 w 3785642"/>
                <a:gd name="connsiteY237" fmla="*/ 474778 h 479077"/>
                <a:gd name="connsiteX238" fmla="*/ 50671 w 3785642"/>
                <a:gd name="connsiteY238" fmla="*/ 475274 h 479077"/>
                <a:gd name="connsiteX239" fmla="*/ 34300 w 3785642"/>
                <a:gd name="connsiteY239" fmla="*/ 475274 h 479077"/>
                <a:gd name="connsiteX240" fmla="*/ 17930 w 3785642"/>
                <a:gd name="connsiteY240" fmla="*/ 475770 h 479077"/>
                <a:gd name="connsiteX241" fmla="*/ 567 w 3785642"/>
                <a:gd name="connsiteY241" fmla="*/ 475770 h 479077"/>
                <a:gd name="connsiteX242" fmla="*/ 12969 w 3785642"/>
                <a:gd name="connsiteY242" fmla="*/ 463368 h 479077"/>
                <a:gd name="connsiteX243" fmla="*/ 24379 w 3785642"/>
                <a:gd name="connsiteY243" fmla="*/ 451958 h 479077"/>
                <a:gd name="connsiteX244" fmla="*/ 35788 w 3785642"/>
                <a:gd name="connsiteY244" fmla="*/ 440053 h 479077"/>
                <a:gd name="connsiteX245" fmla="*/ 48686 w 3785642"/>
                <a:gd name="connsiteY245" fmla="*/ 430131 h 479077"/>
                <a:gd name="connsiteX246" fmla="*/ 59600 w 3785642"/>
                <a:gd name="connsiteY246" fmla="*/ 418225 h 479077"/>
                <a:gd name="connsiteX247" fmla="*/ 70514 w 3785642"/>
                <a:gd name="connsiteY247" fmla="*/ 405823 h 479077"/>
                <a:gd name="connsiteX248" fmla="*/ 83412 w 3785642"/>
                <a:gd name="connsiteY248" fmla="*/ 395406 h 479077"/>
                <a:gd name="connsiteX249" fmla="*/ 94822 w 3785642"/>
                <a:gd name="connsiteY249" fmla="*/ 383500 h 479077"/>
                <a:gd name="connsiteX250" fmla="*/ 106728 w 3785642"/>
                <a:gd name="connsiteY250" fmla="*/ 372090 h 479077"/>
                <a:gd name="connsiteX251" fmla="*/ 117145 w 3785642"/>
                <a:gd name="connsiteY251" fmla="*/ 359688 h 479077"/>
                <a:gd name="connsiteX252" fmla="*/ 128555 w 3785642"/>
                <a:gd name="connsiteY252" fmla="*/ 348278 h 479077"/>
                <a:gd name="connsiteX253" fmla="*/ 140461 w 3785642"/>
                <a:gd name="connsiteY253" fmla="*/ 336868 h 479077"/>
                <a:gd name="connsiteX254" fmla="*/ 152863 w 3785642"/>
                <a:gd name="connsiteY254" fmla="*/ 326451 h 479077"/>
                <a:gd name="connsiteX255" fmla="*/ 164769 w 3785642"/>
                <a:gd name="connsiteY255" fmla="*/ 315041 h 479077"/>
                <a:gd name="connsiteX256" fmla="*/ 176178 w 3785642"/>
                <a:gd name="connsiteY256" fmla="*/ 303135 h 479077"/>
                <a:gd name="connsiteX257" fmla="*/ 188084 w 3785642"/>
                <a:gd name="connsiteY257" fmla="*/ 291725 h 479077"/>
                <a:gd name="connsiteX258" fmla="*/ 199494 w 3785642"/>
                <a:gd name="connsiteY258" fmla="*/ 280315 h 479077"/>
                <a:gd name="connsiteX259" fmla="*/ 210904 w 3785642"/>
                <a:gd name="connsiteY259" fmla="*/ 268906 h 479077"/>
                <a:gd name="connsiteX260" fmla="*/ 221818 w 3785642"/>
                <a:gd name="connsiteY260" fmla="*/ 256504 h 479077"/>
                <a:gd name="connsiteX261" fmla="*/ 233724 w 3785642"/>
                <a:gd name="connsiteY261" fmla="*/ 245094 h 479077"/>
                <a:gd name="connsiteX262" fmla="*/ 244141 w 3785642"/>
                <a:gd name="connsiteY262" fmla="*/ 232692 h 479077"/>
                <a:gd name="connsiteX263" fmla="*/ 257039 w 3785642"/>
                <a:gd name="connsiteY263" fmla="*/ 222770 h 479077"/>
                <a:gd name="connsiteX264" fmla="*/ 266961 w 3785642"/>
                <a:gd name="connsiteY264" fmla="*/ 209376 h 479077"/>
                <a:gd name="connsiteX265" fmla="*/ 278371 w 3785642"/>
                <a:gd name="connsiteY265" fmla="*/ 197966 h 479077"/>
                <a:gd name="connsiteX266" fmla="*/ 291269 w 3785642"/>
                <a:gd name="connsiteY266" fmla="*/ 188045 h 479077"/>
                <a:gd name="connsiteX267" fmla="*/ 301686 w 3785642"/>
                <a:gd name="connsiteY267" fmla="*/ 175147 h 479077"/>
                <a:gd name="connsiteX268" fmla="*/ 313592 w 3785642"/>
                <a:gd name="connsiteY268" fmla="*/ 163737 h 479077"/>
                <a:gd name="connsiteX269" fmla="*/ 325994 w 3785642"/>
                <a:gd name="connsiteY269" fmla="*/ 153319 h 479077"/>
                <a:gd name="connsiteX270" fmla="*/ 337404 w 3785642"/>
                <a:gd name="connsiteY270" fmla="*/ 141910 h 479077"/>
                <a:gd name="connsiteX271" fmla="*/ 347325 w 3785642"/>
                <a:gd name="connsiteY271" fmla="*/ 129012 h 479077"/>
                <a:gd name="connsiteX272" fmla="*/ 360224 w 3785642"/>
                <a:gd name="connsiteY272" fmla="*/ 118594 h 479077"/>
                <a:gd name="connsiteX273" fmla="*/ 371137 w 3785642"/>
                <a:gd name="connsiteY273" fmla="*/ 106192 h 479077"/>
                <a:gd name="connsiteX274" fmla="*/ 382051 w 3785642"/>
                <a:gd name="connsiteY274" fmla="*/ 93790 h 479077"/>
                <a:gd name="connsiteX275" fmla="*/ 393957 w 3785642"/>
                <a:gd name="connsiteY275" fmla="*/ 82380 h 479077"/>
                <a:gd name="connsiteX276" fmla="*/ 405366 w 3785642"/>
                <a:gd name="connsiteY276" fmla="*/ 70475 h 479077"/>
                <a:gd name="connsiteX277" fmla="*/ 417272 w 3785642"/>
                <a:gd name="connsiteY277" fmla="*/ 59561 h 479077"/>
                <a:gd name="connsiteX278" fmla="*/ 429674 w 3785642"/>
                <a:gd name="connsiteY278" fmla="*/ 48647 h 479077"/>
                <a:gd name="connsiteX279" fmla="*/ 440092 w 3785642"/>
                <a:gd name="connsiteY279" fmla="*/ 35749 h 479077"/>
                <a:gd name="connsiteX280" fmla="*/ 452494 w 3785642"/>
                <a:gd name="connsiteY280" fmla="*/ 24835 h 479077"/>
                <a:gd name="connsiteX281" fmla="*/ 463904 w 3785642"/>
                <a:gd name="connsiteY281" fmla="*/ 12929 h 479077"/>
                <a:gd name="connsiteX282" fmla="*/ 475313 w 3785642"/>
                <a:gd name="connsiteY282" fmla="*/ 1024 h 479077"/>
                <a:gd name="connsiteX283" fmla="*/ 491684 w 3785642"/>
                <a:gd name="connsiteY283" fmla="*/ 2512 h 479077"/>
                <a:gd name="connsiteX284" fmla="*/ 508055 w 3785642"/>
                <a:gd name="connsiteY284" fmla="*/ 2512 h 479077"/>
                <a:gd name="connsiteX285" fmla="*/ 524425 w 3785642"/>
                <a:gd name="connsiteY285" fmla="*/ 2512 h 479077"/>
                <a:gd name="connsiteX286" fmla="*/ 540796 w 3785642"/>
                <a:gd name="connsiteY286" fmla="*/ 1024 h 479077"/>
                <a:gd name="connsiteX287" fmla="*/ 557166 w 3785642"/>
                <a:gd name="connsiteY287" fmla="*/ 2512 h 479077"/>
                <a:gd name="connsiteX288" fmla="*/ 573537 w 3785642"/>
                <a:gd name="connsiteY288" fmla="*/ 1024 h 479077"/>
                <a:gd name="connsiteX289" fmla="*/ 589908 w 3785642"/>
                <a:gd name="connsiteY289" fmla="*/ 527 h 479077"/>
                <a:gd name="connsiteX290" fmla="*/ 606278 w 3785642"/>
                <a:gd name="connsiteY290" fmla="*/ 1520 h 479077"/>
                <a:gd name="connsiteX291" fmla="*/ 622649 w 3785642"/>
                <a:gd name="connsiteY291" fmla="*/ 1520 h 479077"/>
                <a:gd name="connsiteX292" fmla="*/ 639019 w 3785642"/>
                <a:gd name="connsiteY292" fmla="*/ 2016 h 479077"/>
                <a:gd name="connsiteX293" fmla="*/ 655390 w 3785642"/>
                <a:gd name="connsiteY293" fmla="*/ 527 h 479077"/>
                <a:gd name="connsiteX294" fmla="*/ 671760 w 3785642"/>
                <a:gd name="connsiteY294" fmla="*/ 1520 h 479077"/>
                <a:gd name="connsiteX295" fmla="*/ 688131 w 3785642"/>
                <a:gd name="connsiteY295" fmla="*/ 2512 h 479077"/>
                <a:gd name="connsiteX296" fmla="*/ 704501 w 3785642"/>
                <a:gd name="connsiteY296" fmla="*/ 1024 h 479077"/>
                <a:gd name="connsiteX297" fmla="*/ 720872 w 3785642"/>
                <a:gd name="connsiteY297" fmla="*/ 1520 h 479077"/>
                <a:gd name="connsiteX298" fmla="*/ 737243 w 3785642"/>
                <a:gd name="connsiteY298" fmla="*/ 2016 h 479077"/>
                <a:gd name="connsiteX299" fmla="*/ 753613 w 3785642"/>
                <a:gd name="connsiteY299" fmla="*/ 1024 h 479077"/>
                <a:gd name="connsiteX300" fmla="*/ 769984 w 3785642"/>
                <a:gd name="connsiteY300" fmla="*/ 527 h 479077"/>
                <a:gd name="connsiteX301" fmla="*/ 786354 w 3785642"/>
                <a:gd name="connsiteY301" fmla="*/ 1520 h 479077"/>
                <a:gd name="connsiteX302" fmla="*/ 802725 w 3785642"/>
                <a:gd name="connsiteY302" fmla="*/ 527 h 479077"/>
                <a:gd name="connsiteX303" fmla="*/ 819096 w 3785642"/>
                <a:gd name="connsiteY303" fmla="*/ 2512 h 479077"/>
                <a:gd name="connsiteX304" fmla="*/ 835466 w 3785642"/>
                <a:gd name="connsiteY304" fmla="*/ 527 h 479077"/>
                <a:gd name="connsiteX305" fmla="*/ 851837 w 3785642"/>
                <a:gd name="connsiteY305" fmla="*/ 1520 h 479077"/>
                <a:gd name="connsiteX306" fmla="*/ 868207 w 3785642"/>
                <a:gd name="connsiteY306" fmla="*/ 2016 h 479077"/>
                <a:gd name="connsiteX307" fmla="*/ 884578 w 3785642"/>
                <a:gd name="connsiteY307" fmla="*/ 2512 h 479077"/>
                <a:gd name="connsiteX308" fmla="*/ 900948 w 3785642"/>
                <a:gd name="connsiteY308" fmla="*/ 1520 h 479077"/>
                <a:gd name="connsiteX309" fmla="*/ 917319 w 3785642"/>
                <a:gd name="connsiteY309" fmla="*/ 1024 h 479077"/>
                <a:gd name="connsiteX310" fmla="*/ 933689 w 3785642"/>
                <a:gd name="connsiteY310" fmla="*/ 2512 h 479077"/>
                <a:gd name="connsiteX311" fmla="*/ 950060 w 3785642"/>
                <a:gd name="connsiteY311" fmla="*/ 1520 h 479077"/>
                <a:gd name="connsiteX312" fmla="*/ 966431 w 3785642"/>
                <a:gd name="connsiteY312" fmla="*/ 2016 h 479077"/>
                <a:gd name="connsiteX313" fmla="*/ 982801 w 3785642"/>
                <a:gd name="connsiteY313" fmla="*/ 2512 h 479077"/>
                <a:gd name="connsiteX314" fmla="*/ 999172 w 3785642"/>
                <a:gd name="connsiteY314" fmla="*/ 1520 h 479077"/>
                <a:gd name="connsiteX315" fmla="*/ 1015542 w 3785642"/>
                <a:gd name="connsiteY315" fmla="*/ 2512 h 479077"/>
                <a:gd name="connsiteX316" fmla="*/ 1031913 w 3785642"/>
                <a:gd name="connsiteY316" fmla="*/ 1520 h 479077"/>
                <a:gd name="connsiteX317" fmla="*/ 1048283 w 3785642"/>
                <a:gd name="connsiteY317" fmla="*/ 2016 h 479077"/>
                <a:gd name="connsiteX318" fmla="*/ 1064654 w 3785642"/>
                <a:gd name="connsiteY318" fmla="*/ 3504 h 479077"/>
                <a:gd name="connsiteX319" fmla="*/ 1081025 w 3785642"/>
                <a:gd name="connsiteY319" fmla="*/ 2016 h 479077"/>
                <a:gd name="connsiteX320" fmla="*/ 1097395 w 3785642"/>
                <a:gd name="connsiteY320" fmla="*/ 2512 h 479077"/>
                <a:gd name="connsiteX321" fmla="*/ 1113766 w 3785642"/>
                <a:gd name="connsiteY321" fmla="*/ 2512 h 479077"/>
                <a:gd name="connsiteX322" fmla="*/ 1130136 w 3785642"/>
                <a:gd name="connsiteY322" fmla="*/ 3504 h 479077"/>
                <a:gd name="connsiteX323" fmla="*/ 1146507 w 3785642"/>
                <a:gd name="connsiteY323" fmla="*/ 1520 h 479077"/>
                <a:gd name="connsiteX324" fmla="*/ 1162878 w 3785642"/>
                <a:gd name="connsiteY324" fmla="*/ 3008 h 479077"/>
                <a:gd name="connsiteX325" fmla="*/ 1179248 w 3785642"/>
                <a:gd name="connsiteY325" fmla="*/ 4000 h 479077"/>
                <a:gd name="connsiteX326" fmla="*/ 1195619 w 3785642"/>
                <a:gd name="connsiteY326" fmla="*/ 3504 h 479077"/>
                <a:gd name="connsiteX327" fmla="*/ 1211989 w 3785642"/>
                <a:gd name="connsiteY327" fmla="*/ 1520 h 479077"/>
                <a:gd name="connsiteX328" fmla="*/ 1228360 w 3785642"/>
                <a:gd name="connsiteY328" fmla="*/ 3504 h 479077"/>
                <a:gd name="connsiteX329" fmla="*/ 1244730 w 3785642"/>
                <a:gd name="connsiteY329" fmla="*/ 1520 h 479077"/>
                <a:gd name="connsiteX330" fmla="*/ 1261101 w 3785642"/>
                <a:gd name="connsiteY330" fmla="*/ 2512 h 479077"/>
                <a:gd name="connsiteX331" fmla="*/ 1277471 w 3785642"/>
                <a:gd name="connsiteY331" fmla="*/ 3504 h 479077"/>
                <a:gd name="connsiteX332" fmla="*/ 1293842 w 3785642"/>
                <a:gd name="connsiteY332" fmla="*/ 4000 h 479077"/>
                <a:gd name="connsiteX333" fmla="*/ 1310213 w 3785642"/>
                <a:gd name="connsiteY333" fmla="*/ 1520 h 479077"/>
                <a:gd name="connsiteX334" fmla="*/ 1326583 w 3785642"/>
                <a:gd name="connsiteY334" fmla="*/ 2016 h 479077"/>
                <a:gd name="connsiteX335" fmla="*/ 1342954 w 3785642"/>
                <a:gd name="connsiteY335" fmla="*/ 3008 h 479077"/>
                <a:gd name="connsiteX336" fmla="*/ 1359324 w 3785642"/>
                <a:gd name="connsiteY336" fmla="*/ 3008 h 479077"/>
                <a:gd name="connsiteX337" fmla="*/ 1375695 w 3785642"/>
                <a:gd name="connsiteY337" fmla="*/ 2512 h 479077"/>
                <a:gd name="connsiteX338" fmla="*/ 1392066 w 3785642"/>
                <a:gd name="connsiteY338" fmla="*/ 2512 h 479077"/>
                <a:gd name="connsiteX339" fmla="*/ 1408436 w 3785642"/>
                <a:gd name="connsiteY339" fmla="*/ 3504 h 479077"/>
                <a:gd name="connsiteX340" fmla="*/ 1424807 w 3785642"/>
                <a:gd name="connsiteY340" fmla="*/ 3504 h 479077"/>
                <a:gd name="connsiteX341" fmla="*/ 1441177 w 3785642"/>
                <a:gd name="connsiteY341" fmla="*/ 1520 h 479077"/>
                <a:gd name="connsiteX342" fmla="*/ 1457548 w 3785642"/>
                <a:gd name="connsiteY342" fmla="*/ 2512 h 479077"/>
                <a:gd name="connsiteX343" fmla="*/ 1473919 w 3785642"/>
                <a:gd name="connsiteY343" fmla="*/ 2016 h 479077"/>
                <a:gd name="connsiteX344" fmla="*/ 1490289 w 3785642"/>
                <a:gd name="connsiteY344" fmla="*/ 2016 h 479077"/>
                <a:gd name="connsiteX345" fmla="*/ 1506660 w 3785642"/>
                <a:gd name="connsiteY345" fmla="*/ 1520 h 479077"/>
                <a:gd name="connsiteX346" fmla="*/ 1523030 w 3785642"/>
                <a:gd name="connsiteY346" fmla="*/ 3504 h 479077"/>
                <a:gd name="connsiteX347" fmla="*/ 1539401 w 3785642"/>
                <a:gd name="connsiteY347" fmla="*/ 3008 h 479077"/>
                <a:gd name="connsiteX348" fmla="*/ 1555771 w 3785642"/>
                <a:gd name="connsiteY348" fmla="*/ 3008 h 479077"/>
                <a:gd name="connsiteX349" fmla="*/ 1572142 w 3785642"/>
                <a:gd name="connsiteY349" fmla="*/ 2512 h 479077"/>
                <a:gd name="connsiteX350" fmla="*/ 1588512 w 3785642"/>
                <a:gd name="connsiteY350" fmla="*/ 2016 h 479077"/>
                <a:gd name="connsiteX351" fmla="*/ 1604883 w 3785642"/>
                <a:gd name="connsiteY351" fmla="*/ 3008 h 479077"/>
                <a:gd name="connsiteX352" fmla="*/ 1621253 w 3785642"/>
                <a:gd name="connsiteY352" fmla="*/ 3008 h 479077"/>
                <a:gd name="connsiteX353" fmla="*/ 1637624 w 3785642"/>
                <a:gd name="connsiteY35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405646 w 3785642"/>
                <a:gd name="connsiteY22" fmla="*/ 79404 h 479077"/>
                <a:gd name="connsiteX23" fmla="*/ 3393740 w 3785642"/>
                <a:gd name="connsiteY23" fmla="*/ 68490 h 479077"/>
                <a:gd name="connsiteX24" fmla="*/ 3382330 w 3785642"/>
                <a:gd name="connsiteY24" fmla="*/ 56584 h 479077"/>
                <a:gd name="connsiteX25" fmla="*/ 3370921 w 3785642"/>
                <a:gd name="connsiteY25" fmla="*/ 44678 h 479077"/>
                <a:gd name="connsiteX26" fmla="*/ 3313375 w 3785642"/>
                <a:gd name="connsiteY26" fmla="*/ 10945 h 479077"/>
                <a:gd name="connsiteX27" fmla="*/ 3300973 w 3785642"/>
                <a:gd name="connsiteY27" fmla="*/ 21363 h 479077"/>
                <a:gd name="connsiteX28" fmla="*/ 3289068 w 3785642"/>
                <a:gd name="connsiteY28" fmla="*/ 32276 h 479077"/>
                <a:gd name="connsiteX29" fmla="*/ 3277658 w 3785642"/>
                <a:gd name="connsiteY29" fmla="*/ 43686 h 479077"/>
                <a:gd name="connsiteX30" fmla="*/ 3266248 w 3785642"/>
                <a:gd name="connsiteY30" fmla="*/ 55592 h 479077"/>
                <a:gd name="connsiteX31" fmla="*/ 3255830 w 3785642"/>
                <a:gd name="connsiteY31" fmla="*/ 68490 h 479077"/>
                <a:gd name="connsiteX32" fmla="*/ 3243924 w 3785642"/>
                <a:gd name="connsiteY32" fmla="*/ 79900 h 479077"/>
                <a:gd name="connsiteX33" fmla="*/ 3231522 w 3785642"/>
                <a:gd name="connsiteY33" fmla="*/ 90814 h 479077"/>
                <a:gd name="connsiteX34" fmla="*/ 3220609 w 3785642"/>
                <a:gd name="connsiteY34" fmla="*/ 102720 h 479077"/>
                <a:gd name="connsiteX35" fmla="*/ 3208207 w 3785642"/>
                <a:gd name="connsiteY35" fmla="*/ 113137 h 479077"/>
                <a:gd name="connsiteX36" fmla="*/ 3197293 w 3785642"/>
                <a:gd name="connsiteY36" fmla="*/ 125043 h 479077"/>
                <a:gd name="connsiteX37" fmla="*/ 3185387 w 3785642"/>
                <a:gd name="connsiteY37" fmla="*/ 136453 h 479077"/>
                <a:gd name="connsiteX38" fmla="*/ 3174970 w 3785642"/>
                <a:gd name="connsiteY38" fmla="*/ 148855 h 479077"/>
                <a:gd name="connsiteX39" fmla="*/ 3162071 w 3785642"/>
                <a:gd name="connsiteY39" fmla="*/ 159272 h 479077"/>
                <a:gd name="connsiteX40" fmla="*/ 3151158 w 3785642"/>
                <a:gd name="connsiteY40" fmla="*/ 171674 h 479077"/>
                <a:gd name="connsiteX41" fmla="*/ 3139252 w 3785642"/>
                <a:gd name="connsiteY41" fmla="*/ 182588 h 479077"/>
                <a:gd name="connsiteX42" fmla="*/ 3127843 w 3785642"/>
                <a:gd name="connsiteY42" fmla="*/ 194494 h 479077"/>
                <a:gd name="connsiteX43" fmla="*/ 3116432 w 3785642"/>
                <a:gd name="connsiteY43" fmla="*/ 205904 h 479077"/>
                <a:gd name="connsiteX44" fmla="*/ 3105022 w 3785642"/>
                <a:gd name="connsiteY44" fmla="*/ 217810 h 479077"/>
                <a:gd name="connsiteX45" fmla="*/ 3093117 w 3785642"/>
                <a:gd name="connsiteY45" fmla="*/ 229219 h 479077"/>
                <a:gd name="connsiteX46" fmla="*/ 3081707 w 3785642"/>
                <a:gd name="connsiteY46" fmla="*/ 240629 h 479077"/>
                <a:gd name="connsiteX47" fmla="*/ 3069305 w 3785642"/>
                <a:gd name="connsiteY47" fmla="*/ 251543 h 479077"/>
                <a:gd name="connsiteX48" fmla="*/ 3057895 w 3785642"/>
                <a:gd name="connsiteY48" fmla="*/ 263449 h 479077"/>
                <a:gd name="connsiteX49" fmla="*/ 3046486 w 3785642"/>
                <a:gd name="connsiteY49" fmla="*/ 275355 h 479077"/>
                <a:gd name="connsiteX50" fmla="*/ 3035572 w 3785642"/>
                <a:gd name="connsiteY50" fmla="*/ 287260 h 479077"/>
                <a:gd name="connsiteX51" fmla="*/ 3024658 w 3785642"/>
                <a:gd name="connsiteY51" fmla="*/ 299166 h 479077"/>
                <a:gd name="connsiteX52" fmla="*/ 3013248 w 3785642"/>
                <a:gd name="connsiteY52" fmla="*/ 311072 h 479077"/>
                <a:gd name="connsiteX53" fmla="*/ 3000350 w 3785642"/>
                <a:gd name="connsiteY53" fmla="*/ 321490 h 479077"/>
                <a:gd name="connsiteX54" fmla="*/ 2988941 w 3785642"/>
                <a:gd name="connsiteY54" fmla="*/ 333396 h 479077"/>
                <a:gd name="connsiteX55" fmla="*/ 2976539 w 3785642"/>
                <a:gd name="connsiteY55" fmla="*/ 344309 h 479077"/>
                <a:gd name="connsiteX56" fmla="*/ 2965129 w 3785642"/>
                <a:gd name="connsiteY56" fmla="*/ 356215 h 479077"/>
                <a:gd name="connsiteX57" fmla="*/ 2953223 w 3785642"/>
                <a:gd name="connsiteY57" fmla="*/ 367625 h 479077"/>
                <a:gd name="connsiteX58" fmla="*/ 2941813 w 3785642"/>
                <a:gd name="connsiteY58" fmla="*/ 379531 h 479077"/>
                <a:gd name="connsiteX59" fmla="*/ 2931395 w 3785642"/>
                <a:gd name="connsiteY59" fmla="*/ 392429 h 479077"/>
                <a:gd name="connsiteX60" fmla="*/ 2918497 w 3785642"/>
                <a:gd name="connsiteY60" fmla="*/ 402847 h 479077"/>
                <a:gd name="connsiteX61" fmla="*/ 2907584 w 3785642"/>
                <a:gd name="connsiteY61" fmla="*/ 415249 h 479077"/>
                <a:gd name="connsiteX62" fmla="*/ 2896174 w 3785642"/>
                <a:gd name="connsiteY62" fmla="*/ 426658 h 479077"/>
                <a:gd name="connsiteX63" fmla="*/ 2884268 w 3785642"/>
                <a:gd name="connsiteY63" fmla="*/ 438068 h 479077"/>
                <a:gd name="connsiteX64" fmla="*/ 2873354 w 3785642"/>
                <a:gd name="connsiteY64" fmla="*/ 450470 h 479077"/>
                <a:gd name="connsiteX65" fmla="*/ 2860952 w 3785642"/>
                <a:gd name="connsiteY65" fmla="*/ 461384 h 479077"/>
                <a:gd name="connsiteX66" fmla="*/ 2850039 w 3785642"/>
                <a:gd name="connsiteY66" fmla="*/ 473786 h 479077"/>
                <a:gd name="connsiteX67" fmla="*/ 2833668 w 3785642"/>
                <a:gd name="connsiteY67" fmla="*/ 473786 h 479077"/>
                <a:gd name="connsiteX68" fmla="*/ 2817297 w 3785642"/>
                <a:gd name="connsiteY68" fmla="*/ 473290 h 479077"/>
                <a:gd name="connsiteX69" fmla="*/ 2800927 w 3785642"/>
                <a:gd name="connsiteY69" fmla="*/ 473290 h 479077"/>
                <a:gd name="connsiteX70" fmla="*/ 2784556 w 3785642"/>
                <a:gd name="connsiteY70" fmla="*/ 473786 h 479077"/>
                <a:gd name="connsiteX71" fmla="*/ 2768186 w 3785642"/>
                <a:gd name="connsiteY71" fmla="*/ 474282 h 479077"/>
                <a:gd name="connsiteX72" fmla="*/ 2751815 w 3785642"/>
                <a:gd name="connsiteY72" fmla="*/ 474282 h 479077"/>
                <a:gd name="connsiteX73" fmla="*/ 2735444 w 3785642"/>
                <a:gd name="connsiteY73" fmla="*/ 473290 h 479077"/>
                <a:gd name="connsiteX74" fmla="*/ 2719074 w 3785642"/>
                <a:gd name="connsiteY74" fmla="*/ 474282 h 479077"/>
                <a:gd name="connsiteX75" fmla="*/ 2702703 w 3785642"/>
                <a:gd name="connsiteY75" fmla="*/ 472298 h 479077"/>
                <a:gd name="connsiteX76" fmla="*/ 2686333 w 3785642"/>
                <a:gd name="connsiteY76" fmla="*/ 472794 h 479077"/>
                <a:gd name="connsiteX77" fmla="*/ 2669962 w 3785642"/>
                <a:gd name="connsiteY77" fmla="*/ 474282 h 479077"/>
                <a:gd name="connsiteX78" fmla="*/ 2653592 w 3785642"/>
                <a:gd name="connsiteY78" fmla="*/ 472298 h 479077"/>
                <a:gd name="connsiteX79" fmla="*/ 2637221 w 3785642"/>
                <a:gd name="connsiteY79" fmla="*/ 474282 h 479077"/>
                <a:gd name="connsiteX80" fmla="*/ 2620851 w 3785642"/>
                <a:gd name="connsiteY80" fmla="*/ 474282 h 479077"/>
                <a:gd name="connsiteX81" fmla="*/ 2604480 w 3785642"/>
                <a:gd name="connsiteY81" fmla="*/ 472298 h 479077"/>
                <a:gd name="connsiteX82" fmla="*/ 2588109 w 3785642"/>
                <a:gd name="connsiteY82" fmla="*/ 473786 h 479077"/>
                <a:gd name="connsiteX83" fmla="*/ 2571739 w 3785642"/>
                <a:gd name="connsiteY83" fmla="*/ 472298 h 479077"/>
                <a:gd name="connsiteX84" fmla="*/ 2555368 w 3785642"/>
                <a:gd name="connsiteY84" fmla="*/ 473290 h 479077"/>
                <a:gd name="connsiteX85" fmla="*/ 2538998 w 3785642"/>
                <a:gd name="connsiteY85" fmla="*/ 474282 h 479077"/>
                <a:gd name="connsiteX86" fmla="*/ 2522627 w 3785642"/>
                <a:gd name="connsiteY86" fmla="*/ 473290 h 479077"/>
                <a:gd name="connsiteX87" fmla="*/ 2506257 w 3785642"/>
                <a:gd name="connsiteY87" fmla="*/ 474282 h 479077"/>
                <a:gd name="connsiteX88" fmla="*/ 2489886 w 3785642"/>
                <a:gd name="connsiteY88" fmla="*/ 473786 h 479077"/>
                <a:gd name="connsiteX89" fmla="*/ 2473516 w 3785642"/>
                <a:gd name="connsiteY89" fmla="*/ 474282 h 479077"/>
                <a:gd name="connsiteX90" fmla="*/ 2457145 w 3785642"/>
                <a:gd name="connsiteY90" fmla="*/ 472794 h 479077"/>
                <a:gd name="connsiteX91" fmla="*/ 2440775 w 3785642"/>
                <a:gd name="connsiteY91" fmla="*/ 472298 h 479077"/>
                <a:gd name="connsiteX92" fmla="*/ 2424404 w 3785642"/>
                <a:gd name="connsiteY92" fmla="*/ 473786 h 479077"/>
                <a:gd name="connsiteX93" fmla="*/ 2408033 w 3785642"/>
                <a:gd name="connsiteY93" fmla="*/ 472794 h 479077"/>
                <a:gd name="connsiteX94" fmla="*/ 2391663 w 3785642"/>
                <a:gd name="connsiteY94" fmla="*/ 473290 h 479077"/>
                <a:gd name="connsiteX95" fmla="*/ 2375292 w 3785642"/>
                <a:gd name="connsiteY95" fmla="*/ 473290 h 479077"/>
                <a:gd name="connsiteX96" fmla="*/ 2358922 w 3785642"/>
                <a:gd name="connsiteY96" fmla="*/ 472794 h 479077"/>
                <a:gd name="connsiteX97" fmla="*/ 2342551 w 3785642"/>
                <a:gd name="connsiteY97" fmla="*/ 472298 h 479077"/>
                <a:gd name="connsiteX98" fmla="*/ 2326180 w 3785642"/>
                <a:gd name="connsiteY98" fmla="*/ 473786 h 479077"/>
                <a:gd name="connsiteX99" fmla="*/ 2309810 w 3785642"/>
                <a:gd name="connsiteY99" fmla="*/ 473786 h 479077"/>
                <a:gd name="connsiteX100" fmla="*/ 2293439 w 3785642"/>
                <a:gd name="connsiteY100" fmla="*/ 473786 h 479077"/>
                <a:gd name="connsiteX101" fmla="*/ 2277069 w 3785642"/>
                <a:gd name="connsiteY101" fmla="*/ 472794 h 479077"/>
                <a:gd name="connsiteX102" fmla="*/ 2260698 w 3785642"/>
                <a:gd name="connsiteY102" fmla="*/ 474282 h 479077"/>
                <a:gd name="connsiteX103" fmla="*/ 2244327 w 3785642"/>
                <a:gd name="connsiteY103" fmla="*/ 472298 h 479077"/>
                <a:gd name="connsiteX104" fmla="*/ 2227957 w 3785642"/>
                <a:gd name="connsiteY104" fmla="*/ 474282 h 479077"/>
                <a:gd name="connsiteX105" fmla="*/ 2211586 w 3785642"/>
                <a:gd name="connsiteY105" fmla="*/ 473290 h 479077"/>
                <a:gd name="connsiteX106" fmla="*/ 2195216 w 3785642"/>
                <a:gd name="connsiteY106" fmla="*/ 474282 h 479077"/>
                <a:gd name="connsiteX107" fmla="*/ 2178845 w 3785642"/>
                <a:gd name="connsiteY107" fmla="*/ 472794 h 479077"/>
                <a:gd name="connsiteX108" fmla="*/ 2162474 w 3785642"/>
                <a:gd name="connsiteY108" fmla="*/ 474778 h 479077"/>
                <a:gd name="connsiteX109" fmla="*/ 2146104 w 3785642"/>
                <a:gd name="connsiteY109" fmla="*/ 473290 h 479077"/>
                <a:gd name="connsiteX110" fmla="*/ 2129733 w 3785642"/>
                <a:gd name="connsiteY110" fmla="*/ 474778 h 479077"/>
                <a:gd name="connsiteX111" fmla="*/ 2113363 w 3785642"/>
                <a:gd name="connsiteY111" fmla="*/ 474778 h 479077"/>
                <a:gd name="connsiteX112" fmla="*/ 2096992 w 3785642"/>
                <a:gd name="connsiteY112" fmla="*/ 474778 h 479077"/>
                <a:gd name="connsiteX113" fmla="*/ 2080621 w 3785642"/>
                <a:gd name="connsiteY113" fmla="*/ 474282 h 479077"/>
                <a:gd name="connsiteX114" fmla="*/ 2064251 w 3785642"/>
                <a:gd name="connsiteY114" fmla="*/ 472794 h 479077"/>
                <a:gd name="connsiteX115" fmla="*/ 2047880 w 3785642"/>
                <a:gd name="connsiteY115" fmla="*/ 474778 h 479077"/>
                <a:gd name="connsiteX116" fmla="*/ 2031510 w 3785642"/>
                <a:gd name="connsiteY116" fmla="*/ 474778 h 479077"/>
                <a:gd name="connsiteX117" fmla="*/ 2015139 w 3785642"/>
                <a:gd name="connsiteY117" fmla="*/ 474778 h 479077"/>
                <a:gd name="connsiteX118" fmla="*/ 1998769 w 3785642"/>
                <a:gd name="connsiteY118" fmla="*/ 474282 h 479077"/>
                <a:gd name="connsiteX119" fmla="*/ 1982398 w 3785642"/>
                <a:gd name="connsiteY119" fmla="*/ 473786 h 479077"/>
                <a:gd name="connsiteX120" fmla="*/ 1966028 w 3785642"/>
                <a:gd name="connsiteY120" fmla="*/ 473786 h 479077"/>
                <a:gd name="connsiteX121" fmla="*/ 1949657 w 3785642"/>
                <a:gd name="connsiteY121" fmla="*/ 472794 h 479077"/>
                <a:gd name="connsiteX122" fmla="*/ 1933287 w 3785642"/>
                <a:gd name="connsiteY122" fmla="*/ 473290 h 479077"/>
                <a:gd name="connsiteX123" fmla="*/ 1916916 w 3785642"/>
                <a:gd name="connsiteY123" fmla="*/ 474778 h 479077"/>
                <a:gd name="connsiteX124" fmla="*/ 1900546 w 3785642"/>
                <a:gd name="connsiteY124" fmla="*/ 472794 h 479077"/>
                <a:gd name="connsiteX125" fmla="*/ 1884175 w 3785642"/>
                <a:gd name="connsiteY125" fmla="*/ 473786 h 479077"/>
                <a:gd name="connsiteX126" fmla="*/ 1867804 w 3785642"/>
                <a:gd name="connsiteY126" fmla="*/ 474778 h 479077"/>
                <a:gd name="connsiteX127" fmla="*/ 1851434 w 3785642"/>
                <a:gd name="connsiteY127" fmla="*/ 474778 h 479077"/>
                <a:gd name="connsiteX128" fmla="*/ 1835063 w 3785642"/>
                <a:gd name="connsiteY128" fmla="*/ 474778 h 479077"/>
                <a:gd name="connsiteX129" fmla="*/ 1818693 w 3785642"/>
                <a:gd name="connsiteY129" fmla="*/ 474282 h 479077"/>
                <a:gd name="connsiteX130" fmla="*/ 1802322 w 3785642"/>
                <a:gd name="connsiteY130" fmla="*/ 472794 h 479077"/>
                <a:gd name="connsiteX131" fmla="*/ 1785951 w 3785642"/>
                <a:gd name="connsiteY131" fmla="*/ 473786 h 479077"/>
                <a:gd name="connsiteX132" fmla="*/ 1769581 w 3785642"/>
                <a:gd name="connsiteY132" fmla="*/ 473290 h 479077"/>
                <a:gd name="connsiteX133" fmla="*/ 1753210 w 3785642"/>
                <a:gd name="connsiteY133" fmla="*/ 472298 h 479077"/>
                <a:gd name="connsiteX134" fmla="*/ 1736840 w 3785642"/>
                <a:gd name="connsiteY134" fmla="*/ 473290 h 479077"/>
                <a:gd name="connsiteX135" fmla="*/ 1720469 w 3785642"/>
                <a:gd name="connsiteY135" fmla="*/ 474778 h 479077"/>
                <a:gd name="connsiteX136" fmla="*/ 1704098 w 3785642"/>
                <a:gd name="connsiteY136" fmla="*/ 472794 h 479077"/>
                <a:gd name="connsiteX137" fmla="*/ 1687728 w 3785642"/>
                <a:gd name="connsiteY137" fmla="*/ 474778 h 479077"/>
                <a:gd name="connsiteX138" fmla="*/ 1671357 w 3785642"/>
                <a:gd name="connsiteY138" fmla="*/ 474778 h 479077"/>
                <a:gd name="connsiteX139" fmla="*/ 1654987 w 3785642"/>
                <a:gd name="connsiteY139" fmla="*/ 472298 h 479077"/>
                <a:gd name="connsiteX140" fmla="*/ 1638616 w 3785642"/>
                <a:gd name="connsiteY140" fmla="*/ 472794 h 479077"/>
                <a:gd name="connsiteX141" fmla="*/ 1622246 w 3785642"/>
                <a:gd name="connsiteY141" fmla="*/ 473786 h 479077"/>
                <a:gd name="connsiteX142" fmla="*/ 1605875 w 3785642"/>
                <a:gd name="connsiteY142" fmla="*/ 474778 h 479077"/>
                <a:gd name="connsiteX143" fmla="*/ 1589505 w 3785642"/>
                <a:gd name="connsiteY143" fmla="*/ 473290 h 479077"/>
                <a:gd name="connsiteX144" fmla="*/ 1573134 w 3785642"/>
                <a:gd name="connsiteY144" fmla="*/ 474778 h 479077"/>
                <a:gd name="connsiteX145" fmla="*/ 1556763 w 3785642"/>
                <a:gd name="connsiteY145" fmla="*/ 472794 h 479077"/>
                <a:gd name="connsiteX146" fmla="*/ 1540393 w 3785642"/>
                <a:gd name="connsiteY146" fmla="*/ 472794 h 479077"/>
                <a:gd name="connsiteX147" fmla="*/ 1524022 w 3785642"/>
                <a:gd name="connsiteY147" fmla="*/ 474282 h 479077"/>
                <a:gd name="connsiteX148" fmla="*/ 1507652 w 3785642"/>
                <a:gd name="connsiteY148" fmla="*/ 472794 h 479077"/>
                <a:gd name="connsiteX149" fmla="*/ 1491281 w 3785642"/>
                <a:gd name="connsiteY149" fmla="*/ 474282 h 479077"/>
                <a:gd name="connsiteX150" fmla="*/ 1474910 w 3785642"/>
                <a:gd name="connsiteY150" fmla="*/ 474282 h 479077"/>
                <a:gd name="connsiteX151" fmla="*/ 1458540 w 3785642"/>
                <a:gd name="connsiteY151" fmla="*/ 472794 h 479077"/>
                <a:gd name="connsiteX152" fmla="*/ 1442169 w 3785642"/>
                <a:gd name="connsiteY152" fmla="*/ 471802 h 479077"/>
                <a:gd name="connsiteX153" fmla="*/ 1425799 w 3785642"/>
                <a:gd name="connsiteY153" fmla="*/ 472298 h 479077"/>
                <a:gd name="connsiteX154" fmla="*/ 1409428 w 3785642"/>
                <a:gd name="connsiteY154" fmla="*/ 472794 h 479077"/>
                <a:gd name="connsiteX155" fmla="*/ 1393058 w 3785642"/>
                <a:gd name="connsiteY155" fmla="*/ 473786 h 479077"/>
                <a:gd name="connsiteX156" fmla="*/ 1376687 w 3785642"/>
                <a:gd name="connsiteY156" fmla="*/ 471802 h 479077"/>
                <a:gd name="connsiteX157" fmla="*/ 1360317 w 3785642"/>
                <a:gd name="connsiteY157" fmla="*/ 473786 h 479077"/>
                <a:gd name="connsiteX158" fmla="*/ 1343946 w 3785642"/>
                <a:gd name="connsiteY158" fmla="*/ 473786 h 479077"/>
                <a:gd name="connsiteX159" fmla="*/ 1327576 w 3785642"/>
                <a:gd name="connsiteY159" fmla="*/ 472794 h 479077"/>
                <a:gd name="connsiteX160" fmla="*/ 1311205 w 3785642"/>
                <a:gd name="connsiteY160" fmla="*/ 473786 h 479077"/>
                <a:gd name="connsiteX161" fmla="*/ 1294834 w 3785642"/>
                <a:gd name="connsiteY161" fmla="*/ 473786 h 479077"/>
                <a:gd name="connsiteX162" fmla="*/ 1278464 w 3785642"/>
                <a:gd name="connsiteY162" fmla="*/ 473786 h 479077"/>
                <a:gd name="connsiteX163" fmla="*/ 1262093 w 3785642"/>
                <a:gd name="connsiteY163" fmla="*/ 473786 h 479077"/>
                <a:gd name="connsiteX164" fmla="*/ 1245723 w 3785642"/>
                <a:gd name="connsiteY164" fmla="*/ 473290 h 479077"/>
                <a:gd name="connsiteX165" fmla="*/ 1229352 w 3785642"/>
                <a:gd name="connsiteY165" fmla="*/ 472794 h 479077"/>
                <a:gd name="connsiteX166" fmla="*/ 1212981 w 3785642"/>
                <a:gd name="connsiteY166" fmla="*/ 473786 h 479077"/>
                <a:gd name="connsiteX167" fmla="*/ 1196611 w 3785642"/>
                <a:gd name="connsiteY167" fmla="*/ 472298 h 479077"/>
                <a:gd name="connsiteX168" fmla="*/ 1180240 w 3785642"/>
                <a:gd name="connsiteY168" fmla="*/ 472794 h 479077"/>
                <a:gd name="connsiteX169" fmla="*/ 1163870 w 3785642"/>
                <a:gd name="connsiteY169" fmla="*/ 472794 h 479077"/>
                <a:gd name="connsiteX170" fmla="*/ 1147499 w 3785642"/>
                <a:gd name="connsiteY170" fmla="*/ 473786 h 479077"/>
                <a:gd name="connsiteX171" fmla="*/ 1131128 w 3785642"/>
                <a:gd name="connsiteY171" fmla="*/ 473786 h 479077"/>
                <a:gd name="connsiteX172" fmla="*/ 1114758 w 3785642"/>
                <a:gd name="connsiteY172" fmla="*/ 472794 h 479077"/>
                <a:gd name="connsiteX173" fmla="*/ 1098387 w 3785642"/>
                <a:gd name="connsiteY173" fmla="*/ 473786 h 479077"/>
                <a:gd name="connsiteX174" fmla="*/ 1082017 w 3785642"/>
                <a:gd name="connsiteY174" fmla="*/ 474778 h 479077"/>
                <a:gd name="connsiteX175" fmla="*/ 1065646 w 3785642"/>
                <a:gd name="connsiteY175" fmla="*/ 474778 h 479077"/>
                <a:gd name="connsiteX176" fmla="*/ 1049276 w 3785642"/>
                <a:gd name="connsiteY176" fmla="*/ 474282 h 479077"/>
                <a:gd name="connsiteX177" fmla="*/ 1032905 w 3785642"/>
                <a:gd name="connsiteY177" fmla="*/ 473290 h 479077"/>
                <a:gd name="connsiteX178" fmla="*/ 1016535 w 3785642"/>
                <a:gd name="connsiteY178" fmla="*/ 474282 h 479077"/>
                <a:gd name="connsiteX179" fmla="*/ 1000164 w 3785642"/>
                <a:gd name="connsiteY179" fmla="*/ 474282 h 479077"/>
                <a:gd name="connsiteX180" fmla="*/ 983793 w 3785642"/>
                <a:gd name="connsiteY180" fmla="*/ 472794 h 479077"/>
                <a:gd name="connsiteX181" fmla="*/ 967423 w 3785642"/>
                <a:gd name="connsiteY181" fmla="*/ 472794 h 479077"/>
                <a:gd name="connsiteX182" fmla="*/ 951052 w 3785642"/>
                <a:gd name="connsiteY182" fmla="*/ 473786 h 479077"/>
                <a:gd name="connsiteX183" fmla="*/ 934682 w 3785642"/>
                <a:gd name="connsiteY183" fmla="*/ 474282 h 479077"/>
                <a:gd name="connsiteX184" fmla="*/ 918311 w 3785642"/>
                <a:gd name="connsiteY184" fmla="*/ 474778 h 479077"/>
                <a:gd name="connsiteX185" fmla="*/ 901940 w 3785642"/>
                <a:gd name="connsiteY185" fmla="*/ 473290 h 479077"/>
                <a:gd name="connsiteX186" fmla="*/ 885570 w 3785642"/>
                <a:gd name="connsiteY186" fmla="*/ 474778 h 479077"/>
                <a:gd name="connsiteX187" fmla="*/ 869199 w 3785642"/>
                <a:gd name="connsiteY187" fmla="*/ 474282 h 479077"/>
                <a:gd name="connsiteX188" fmla="*/ 852829 w 3785642"/>
                <a:gd name="connsiteY188" fmla="*/ 473786 h 479077"/>
                <a:gd name="connsiteX189" fmla="*/ 836458 w 3785642"/>
                <a:gd name="connsiteY189" fmla="*/ 474778 h 479077"/>
                <a:gd name="connsiteX190" fmla="*/ 820088 w 3785642"/>
                <a:gd name="connsiteY190" fmla="*/ 475274 h 479077"/>
                <a:gd name="connsiteX191" fmla="*/ 803717 w 3785642"/>
                <a:gd name="connsiteY191" fmla="*/ 473786 h 479077"/>
                <a:gd name="connsiteX192" fmla="*/ 787347 w 3785642"/>
                <a:gd name="connsiteY192" fmla="*/ 475770 h 479077"/>
                <a:gd name="connsiteX193" fmla="*/ 770976 w 3785642"/>
                <a:gd name="connsiteY193" fmla="*/ 474778 h 479077"/>
                <a:gd name="connsiteX194" fmla="*/ 754605 w 3785642"/>
                <a:gd name="connsiteY194" fmla="*/ 475274 h 479077"/>
                <a:gd name="connsiteX195" fmla="*/ 738235 w 3785642"/>
                <a:gd name="connsiteY195" fmla="*/ 473786 h 479077"/>
                <a:gd name="connsiteX196" fmla="*/ 721864 w 3785642"/>
                <a:gd name="connsiteY196" fmla="*/ 475274 h 479077"/>
                <a:gd name="connsiteX197" fmla="*/ 705494 w 3785642"/>
                <a:gd name="connsiteY197" fmla="*/ 475770 h 479077"/>
                <a:gd name="connsiteX198" fmla="*/ 689123 w 3785642"/>
                <a:gd name="connsiteY198" fmla="*/ 474282 h 479077"/>
                <a:gd name="connsiteX199" fmla="*/ 672753 w 3785642"/>
                <a:gd name="connsiteY199" fmla="*/ 475274 h 479077"/>
                <a:gd name="connsiteX200" fmla="*/ 656382 w 3785642"/>
                <a:gd name="connsiteY200" fmla="*/ 474778 h 479077"/>
                <a:gd name="connsiteX201" fmla="*/ 640011 w 3785642"/>
                <a:gd name="connsiteY201" fmla="*/ 475770 h 479077"/>
                <a:gd name="connsiteX202" fmla="*/ 623641 w 3785642"/>
                <a:gd name="connsiteY202" fmla="*/ 473786 h 479077"/>
                <a:gd name="connsiteX203" fmla="*/ 607270 w 3785642"/>
                <a:gd name="connsiteY203" fmla="*/ 474778 h 479077"/>
                <a:gd name="connsiteX204" fmla="*/ 590900 w 3785642"/>
                <a:gd name="connsiteY204" fmla="*/ 475274 h 479077"/>
                <a:gd name="connsiteX205" fmla="*/ 574529 w 3785642"/>
                <a:gd name="connsiteY205" fmla="*/ 474282 h 479077"/>
                <a:gd name="connsiteX206" fmla="*/ 558158 w 3785642"/>
                <a:gd name="connsiteY206" fmla="*/ 475274 h 479077"/>
                <a:gd name="connsiteX207" fmla="*/ 541788 w 3785642"/>
                <a:gd name="connsiteY207" fmla="*/ 475770 h 479077"/>
                <a:gd name="connsiteX208" fmla="*/ 525417 w 3785642"/>
                <a:gd name="connsiteY208" fmla="*/ 474282 h 479077"/>
                <a:gd name="connsiteX209" fmla="*/ 509047 w 3785642"/>
                <a:gd name="connsiteY209" fmla="*/ 473786 h 479077"/>
                <a:gd name="connsiteX210" fmla="*/ 492676 w 3785642"/>
                <a:gd name="connsiteY210" fmla="*/ 473786 h 479077"/>
                <a:gd name="connsiteX211" fmla="*/ 476306 w 3785642"/>
                <a:gd name="connsiteY211" fmla="*/ 474778 h 479077"/>
                <a:gd name="connsiteX212" fmla="*/ 459935 w 3785642"/>
                <a:gd name="connsiteY212" fmla="*/ 473786 h 479077"/>
                <a:gd name="connsiteX213" fmla="*/ 443565 w 3785642"/>
                <a:gd name="connsiteY213" fmla="*/ 474778 h 479077"/>
                <a:gd name="connsiteX214" fmla="*/ 427194 w 3785642"/>
                <a:gd name="connsiteY214" fmla="*/ 474282 h 479077"/>
                <a:gd name="connsiteX215" fmla="*/ 410823 w 3785642"/>
                <a:gd name="connsiteY215" fmla="*/ 473290 h 479077"/>
                <a:gd name="connsiteX216" fmla="*/ 394453 w 3785642"/>
                <a:gd name="connsiteY216" fmla="*/ 475770 h 479077"/>
                <a:gd name="connsiteX217" fmla="*/ 378082 w 3785642"/>
                <a:gd name="connsiteY217" fmla="*/ 475274 h 479077"/>
                <a:gd name="connsiteX218" fmla="*/ 361712 w 3785642"/>
                <a:gd name="connsiteY218" fmla="*/ 474778 h 479077"/>
                <a:gd name="connsiteX219" fmla="*/ 345341 w 3785642"/>
                <a:gd name="connsiteY219" fmla="*/ 476266 h 479077"/>
                <a:gd name="connsiteX220" fmla="*/ 328970 w 3785642"/>
                <a:gd name="connsiteY220" fmla="*/ 474282 h 479077"/>
                <a:gd name="connsiteX221" fmla="*/ 312600 w 3785642"/>
                <a:gd name="connsiteY221" fmla="*/ 475274 h 479077"/>
                <a:gd name="connsiteX222" fmla="*/ 296229 w 3785642"/>
                <a:gd name="connsiteY222" fmla="*/ 474282 h 479077"/>
                <a:gd name="connsiteX223" fmla="*/ 279859 w 3785642"/>
                <a:gd name="connsiteY223" fmla="*/ 475770 h 479077"/>
                <a:gd name="connsiteX224" fmla="*/ 263488 w 3785642"/>
                <a:gd name="connsiteY224" fmla="*/ 476266 h 479077"/>
                <a:gd name="connsiteX225" fmla="*/ 247118 w 3785642"/>
                <a:gd name="connsiteY225" fmla="*/ 476266 h 479077"/>
                <a:gd name="connsiteX226" fmla="*/ 230747 w 3785642"/>
                <a:gd name="connsiteY226" fmla="*/ 474778 h 479077"/>
                <a:gd name="connsiteX227" fmla="*/ 214376 w 3785642"/>
                <a:gd name="connsiteY227" fmla="*/ 474778 h 479077"/>
                <a:gd name="connsiteX228" fmla="*/ 198006 w 3785642"/>
                <a:gd name="connsiteY228" fmla="*/ 476762 h 479077"/>
                <a:gd name="connsiteX229" fmla="*/ 181635 w 3785642"/>
                <a:gd name="connsiteY229" fmla="*/ 476266 h 479077"/>
                <a:gd name="connsiteX230" fmla="*/ 165265 w 3785642"/>
                <a:gd name="connsiteY230" fmla="*/ 474778 h 479077"/>
                <a:gd name="connsiteX231" fmla="*/ 148894 w 3785642"/>
                <a:gd name="connsiteY231" fmla="*/ 476762 h 479077"/>
                <a:gd name="connsiteX232" fmla="*/ 132524 w 3785642"/>
                <a:gd name="connsiteY232" fmla="*/ 476266 h 479077"/>
                <a:gd name="connsiteX233" fmla="*/ 116153 w 3785642"/>
                <a:gd name="connsiteY233" fmla="*/ 475274 h 479077"/>
                <a:gd name="connsiteX234" fmla="*/ 99783 w 3785642"/>
                <a:gd name="connsiteY234" fmla="*/ 475274 h 479077"/>
                <a:gd name="connsiteX235" fmla="*/ 83412 w 3785642"/>
                <a:gd name="connsiteY235" fmla="*/ 475274 h 479077"/>
                <a:gd name="connsiteX236" fmla="*/ 67041 w 3785642"/>
                <a:gd name="connsiteY236" fmla="*/ 474778 h 479077"/>
                <a:gd name="connsiteX237" fmla="*/ 50671 w 3785642"/>
                <a:gd name="connsiteY237" fmla="*/ 475274 h 479077"/>
                <a:gd name="connsiteX238" fmla="*/ 34300 w 3785642"/>
                <a:gd name="connsiteY238" fmla="*/ 475274 h 479077"/>
                <a:gd name="connsiteX239" fmla="*/ 17930 w 3785642"/>
                <a:gd name="connsiteY239" fmla="*/ 475770 h 479077"/>
                <a:gd name="connsiteX240" fmla="*/ 567 w 3785642"/>
                <a:gd name="connsiteY240" fmla="*/ 475770 h 479077"/>
                <a:gd name="connsiteX241" fmla="*/ 12969 w 3785642"/>
                <a:gd name="connsiteY241" fmla="*/ 463368 h 479077"/>
                <a:gd name="connsiteX242" fmla="*/ 24379 w 3785642"/>
                <a:gd name="connsiteY242" fmla="*/ 451958 h 479077"/>
                <a:gd name="connsiteX243" fmla="*/ 35788 w 3785642"/>
                <a:gd name="connsiteY243" fmla="*/ 440053 h 479077"/>
                <a:gd name="connsiteX244" fmla="*/ 48686 w 3785642"/>
                <a:gd name="connsiteY244" fmla="*/ 430131 h 479077"/>
                <a:gd name="connsiteX245" fmla="*/ 59600 w 3785642"/>
                <a:gd name="connsiteY245" fmla="*/ 418225 h 479077"/>
                <a:gd name="connsiteX246" fmla="*/ 70514 w 3785642"/>
                <a:gd name="connsiteY246" fmla="*/ 405823 h 479077"/>
                <a:gd name="connsiteX247" fmla="*/ 83412 w 3785642"/>
                <a:gd name="connsiteY247" fmla="*/ 395406 h 479077"/>
                <a:gd name="connsiteX248" fmla="*/ 94822 w 3785642"/>
                <a:gd name="connsiteY248" fmla="*/ 383500 h 479077"/>
                <a:gd name="connsiteX249" fmla="*/ 106728 w 3785642"/>
                <a:gd name="connsiteY249" fmla="*/ 372090 h 479077"/>
                <a:gd name="connsiteX250" fmla="*/ 117145 w 3785642"/>
                <a:gd name="connsiteY250" fmla="*/ 359688 h 479077"/>
                <a:gd name="connsiteX251" fmla="*/ 128555 w 3785642"/>
                <a:gd name="connsiteY251" fmla="*/ 348278 h 479077"/>
                <a:gd name="connsiteX252" fmla="*/ 140461 w 3785642"/>
                <a:gd name="connsiteY252" fmla="*/ 336868 h 479077"/>
                <a:gd name="connsiteX253" fmla="*/ 152863 w 3785642"/>
                <a:gd name="connsiteY253" fmla="*/ 326451 h 479077"/>
                <a:gd name="connsiteX254" fmla="*/ 164769 w 3785642"/>
                <a:gd name="connsiteY254" fmla="*/ 315041 h 479077"/>
                <a:gd name="connsiteX255" fmla="*/ 176178 w 3785642"/>
                <a:gd name="connsiteY255" fmla="*/ 303135 h 479077"/>
                <a:gd name="connsiteX256" fmla="*/ 188084 w 3785642"/>
                <a:gd name="connsiteY256" fmla="*/ 291725 h 479077"/>
                <a:gd name="connsiteX257" fmla="*/ 199494 w 3785642"/>
                <a:gd name="connsiteY257" fmla="*/ 280315 h 479077"/>
                <a:gd name="connsiteX258" fmla="*/ 210904 w 3785642"/>
                <a:gd name="connsiteY258" fmla="*/ 268906 h 479077"/>
                <a:gd name="connsiteX259" fmla="*/ 221818 w 3785642"/>
                <a:gd name="connsiteY259" fmla="*/ 256504 h 479077"/>
                <a:gd name="connsiteX260" fmla="*/ 233724 w 3785642"/>
                <a:gd name="connsiteY260" fmla="*/ 245094 h 479077"/>
                <a:gd name="connsiteX261" fmla="*/ 244141 w 3785642"/>
                <a:gd name="connsiteY261" fmla="*/ 232692 h 479077"/>
                <a:gd name="connsiteX262" fmla="*/ 257039 w 3785642"/>
                <a:gd name="connsiteY262" fmla="*/ 222770 h 479077"/>
                <a:gd name="connsiteX263" fmla="*/ 266961 w 3785642"/>
                <a:gd name="connsiteY263" fmla="*/ 209376 h 479077"/>
                <a:gd name="connsiteX264" fmla="*/ 278371 w 3785642"/>
                <a:gd name="connsiteY264" fmla="*/ 197966 h 479077"/>
                <a:gd name="connsiteX265" fmla="*/ 291269 w 3785642"/>
                <a:gd name="connsiteY265" fmla="*/ 188045 h 479077"/>
                <a:gd name="connsiteX266" fmla="*/ 301686 w 3785642"/>
                <a:gd name="connsiteY266" fmla="*/ 175147 h 479077"/>
                <a:gd name="connsiteX267" fmla="*/ 313592 w 3785642"/>
                <a:gd name="connsiteY267" fmla="*/ 163737 h 479077"/>
                <a:gd name="connsiteX268" fmla="*/ 325994 w 3785642"/>
                <a:gd name="connsiteY268" fmla="*/ 153319 h 479077"/>
                <a:gd name="connsiteX269" fmla="*/ 337404 w 3785642"/>
                <a:gd name="connsiteY269" fmla="*/ 141910 h 479077"/>
                <a:gd name="connsiteX270" fmla="*/ 347325 w 3785642"/>
                <a:gd name="connsiteY270" fmla="*/ 129012 h 479077"/>
                <a:gd name="connsiteX271" fmla="*/ 360224 w 3785642"/>
                <a:gd name="connsiteY271" fmla="*/ 118594 h 479077"/>
                <a:gd name="connsiteX272" fmla="*/ 371137 w 3785642"/>
                <a:gd name="connsiteY272" fmla="*/ 106192 h 479077"/>
                <a:gd name="connsiteX273" fmla="*/ 382051 w 3785642"/>
                <a:gd name="connsiteY273" fmla="*/ 93790 h 479077"/>
                <a:gd name="connsiteX274" fmla="*/ 393957 w 3785642"/>
                <a:gd name="connsiteY274" fmla="*/ 82380 h 479077"/>
                <a:gd name="connsiteX275" fmla="*/ 405366 w 3785642"/>
                <a:gd name="connsiteY275" fmla="*/ 70475 h 479077"/>
                <a:gd name="connsiteX276" fmla="*/ 417272 w 3785642"/>
                <a:gd name="connsiteY276" fmla="*/ 59561 h 479077"/>
                <a:gd name="connsiteX277" fmla="*/ 429674 w 3785642"/>
                <a:gd name="connsiteY277" fmla="*/ 48647 h 479077"/>
                <a:gd name="connsiteX278" fmla="*/ 440092 w 3785642"/>
                <a:gd name="connsiteY278" fmla="*/ 35749 h 479077"/>
                <a:gd name="connsiteX279" fmla="*/ 452494 w 3785642"/>
                <a:gd name="connsiteY279" fmla="*/ 24835 h 479077"/>
                <a:gd name="connsiteX280" fmla="*/ 463904 w 3785642"/>
                <a:gd name="connsiteY280" fmla="*/ 12929 h 479077"/>
                <a:gd name="connsiteX281" fmla="*/ 475313 w 3785642"/>
                <a:gd name="connsiteY281" fmla="*/ 1024 h 479077"/>
                <a:gd name="connsiteX282" fmla="*/ 491684 w 3785642"/>
                <a:gd name="connsiteY282" fmla="*/ 2512 h 479077"/>
                <a:gd name="connsiteX283" fmla="*/ 508055 w 3785642"/>
                <a:gd name="connsiteY283" fmla="*/ 2512 h 479077"/>
                <a:gd name="connsiteX284" fmla="*/ 524425 w 3785642"/>
                <a:gd name="connsiteY284" fmla="*/ 2512 h 479077"/>
                <a:gd name="connsiteX285" fmla="*/ 540796 w 3785642"/>
                <a:gd name="connsiteY285" fmla="*/ 1024 h 479077"/>
                <a:gd name="connsiteX286" fmla="*/ 557166 w 3785642"/>
                <a:gd name="connsiteY286" fmla="*/ 2512 h 479077"/>
                <a:gd name="connsiteX287" fmla="*/ 573537 w 3785642"/>
                <a:gd name="connsiteY287" fmla="*/ 1024 h 479077"/>
                <a:gd name="connsiteX288" fmla="*/ 589908 w 3785642"/>
                <a:gd name="connsiteY288" fmla="*/ 527 h 479077"/>
                <a:gd name="connsiteX289" fmla="*/ 606278 w 3785642"/>
                <a:gd name="connsiteY289" fmla="*/ 1520 h 479077"/>
                <a:gd name="connsiteX290" fmla="*/ 622649 w 3785642"/>
                <a:gd name="connsiteY290" fmla="*/ 1520 h 479077"/>
                <a:gd name="connsiteX291" fmla="*/ 639019 w 3785642"/>
                <a:gd name="connsiteY291" fmla="*/ 2016 h 479077"/>
                <a:gd name="connsiteX292" fmla="*/ 655390 w 3785642"/>
                <a:gd name="connsiteY292" fmla="*/ 527 h 479077"/>
                <a:gd name="connsiteX293" fmla="*/ 671760 w 3785642"/>
                <a:gd name="connsiteY293" fmla="*/ 1520 h 479077"/>
                <a:gd name="connsiteX294" fmla="*/ 688131 w 3785642"/>
                <a:gd name="connsiteY294" fmla="*/ 2512 h 479077"/>
                <a:gd name="connsiteX295" fmla="*/ 704501 w 3785642"/>
                <a:gd name="connsiteY295" fmla="*/ 1024 h 479077"/>
                <a:gd name="connsiteX296" fmla="*/ 720872 w 3785642"/>
                <a:gd name="connsiteY296" fmla="*/ 1520 h 479077"/>
                <a:gd name="connsiteX297" fmla="*/ 737243 w 3785642"/>
                <a:gd name="connsiteY297" fmla="*/ 2016 h 479077"/>
                <a:gd name="connsiteX298" fmla="*/ 753613 w 3785642"/>
                <a:gd name="connsiteY298" fmla="*/ 1024 h 479077"/>
                <a:gd name="connsiteX299" fmla="*/ 769984 w 3785642"/>
                <a:gd name="connsiteY299" fmla="*/ 527 h 479077"/>
                <a:gd name="connsiteX300" fmla="*/ 786354 w 3785642"/>
                <a:gd name="connsiteY300" fmla="*/ 1520 h 479077"/>
                <a:gd name="connsiteX301" fmla="*/ 802725 w 3785642"/>
                <a:gd name="connsiteY301" fmla="*/ 527 h 479077"/>
                <a:gd name="connsiteX302" fmla="*/ 819096 w 3785642"/>
                <a:gd name="connsiteY302" fmla="*/ 2512 h 479077"/>
                <a:gd name="connsiteX303" fmla="*/ 835466 w 3785642"/>
                <a:gd name="connsiteY303" fmla="*/ 527 h 479077"/>
                <a:gd name="connsiteX304" fmla="*/ 851837 w 3785642"/>
                <a:gd name="connsiteY304" fmla="*/ 1520 h 479077"/>
                <a:gd name="connsiteX305" fmla="*/ 868207 w 3785642"/>
                <a:gd name="connsiteY305" fmla="*/ 2016 h 479077"/>
                <a:gd name="connsiteX306" fmla="*/ 884578 w 3785642"/>
                <a:gd name="connsiteY306" fmla="*/ 2512 h 479077"/>
                <a:gd name="connsiteX307" fmla="*/ 900948 w 3785642"/>
                <a:gd name="connsiteY307" fmla="*/ 1520 h 479077"/>
                <a:gd name="connsiteX308" fmla="*/ 917319 w 3785642"/>
                <a:gd name="connsiteY308" fmla="*/ 1024 h 479077"/>
                <a:gd name="connsiteX309" fmla="*/ 933689 w 3785642"/>
                <a:gd name="connsiteY309" fmla="*/ 2512 h 479077"/>
                <a:gd name="connsiteX310" fmla="*/ 950060 w 3785642"/>
                <a:gd name="connsiteY310" fmla="*/ 1520 h 479077"/>
                <a:gd name="connsiteX311" fmla="*/ 966431 w 3785642"/>
                <a:gd name="connsiteY311" fmla="*/ 2016 h 479077"/>
                <a:gd name="connsiteX312" fmla="*/ 982801 w 3785642"/>
                <a:gd name="connsiteY312" fmla="*/ 2512 h 479077"/>
                <a:gd name="connsiteX313" fmla="*/ 999172 w 3785642"/>
                <a:gd name="connsiteY313" fmla="*/ 1520 h 479077"/>
                <a:gd name="connsiteX314" fmla="*/ 1015542 w 3785642"/>
                <a:gd name="connsiteY314" fmla="*/ 2512 h 479077"/>
                <a:gd name="connsiteX315" fmla="*/ 1031913 w 3785642"/>
                <a:gd name="connsiteY315" fmla="*/ 1520 h 479077"/>
                <a:gd name="connsiteX316" fmla="*/ 1048283 w 3785642"/>
                <a:gd name="connsiteY316" fmla="*/ 2016 h 479077"/>
                <a:gd name="connsiteX317" fmla="*/ 1064654 w 3785642"/>
                <a:gd name="connsiteY317" fmla="*/ 3504 h 479077"/>
                <a:gd name="connsiteX318" fmla="*/ 1081025 w 3785642"/>
                <a:gd name="connsiteY318" fmla="*/ 2016 h 479077"/>
                <a:gd name="connsiteX319" fmla="*/ 1097395 w 3785642"/>
                <a:gd name="connsiteY319" fmla="*/ 2512 h 479077"/>
                <a:gd name="connsiteX320" fmla="*/ 1113766 w 3785642"/>
                <a:gd name="connsiteY320" fmla="*/ 2512 h 479077"/>
                <a:gd name="connsiteX321" fmla="*/ 1130136 w 3785642"/>
                <a:gd name="connsiteY321" fmla="*/ 3504 h 479077"/>
                <a:gd name="connsiteX322" fmla="*/ 1146507 w 3785642"/>
                <a:gd name="connsiteY322" fmla="*/ 1520 h 479077"/>
                <a:gd name="connsiteX323" fmla="*/ 1162878 w 3785642"/>
                <a:gd name="connsiteY323" fmla="*/ 3008 h 479077"/>
                <a:gd name="connsiteX324" fmla="*/ 1179248 w 3785642"/>
                <a:gd name="connsiteY324" fmla="*/ 4000 h 479077"/>
                <a:gd name="connsiteX325" fmla="*/ 1195619 w 3785642"/>
                <a:gd name="connsiteY325" fmla="*/ 3504 h 479077"/>
                <a:gd name="connsiteX326" fmla="*/ 1211989 w 3785642"/>
                <a:gd name="connsiteY326" fmla="*/ 1520 h 479077"/>
                <a:gd name="connsiteX327" fmla="*/ 1228360 w 3785642"/>
                <a:gd name="connsiteY327" fmla="*/ 3504 h 479077"/>
                <a:gd name="connsiteX328" fmla="*/ 1244730 w 3785642"/>
                <a:gd name="connsiteY328" fmla="*/ 1520 h 479077"/>
                <a:gd name="connsiteX329" fmla="*/ 1261101 w 3785642"/>
                <a:gd name="connsiteY329" fmla="*/ 2512 h 479077"/>
                <a:gd name="connsiteX330" fmla="*/ 1277471 w 3785642"/>
                <a:gd name="connsiteY330" fmla="*/ 3504 h 479077"/>
                <a:gd name="connsiteX331" fmla="*/ 1293842 w 3785642"/>
                <a:gd name="connsiteY331" fmla="*/ 4000 h 479077"/>
                <a:gd name="connsiteX332" fmla="*/ 1310213 w 3785642"/>
                <a:gd name="connsiteY332" fmla="*/ 1520 h 479077"/>
                <a:gd name="connsiteX333" fmla="*/ 1326583 w 3785642"/>
                <a:gd name="connsiteY333" fmla="*/ 2016 h 479077"/>
                <a:gd name="connsiteX334" fmla="*/ 1342954 w 3785642"/>
                <a:gd name="connsiteY334" fmla="*/ 3008 h 479077"/>
                <a:gd name="connsiteX335" fmla="*/ 1359324 w 3785642"/>
                <a:gd name="connsiteY335" fmla="*/ 3008 h 479077"/>
                <a:gd name="connsiteX336" fmla="*/ 1375695 w 3785642"/>
                <a:gd name="connsiteY336" fmla="*/ 2512 h 479077"/>
                <a:gd name="connsiteX337" fmla="*/ 1392066 w 3785642"/>
                <a:gd name="connsiteY337" fmla="*/ 2512 h 479077"/>
                <a:gd name="connsiteX338" fmla="*/ 1408436 w 3785642"/>
                <a:gd name="connsiteY338" fmla="*/ 3504 h 479077"/>
                <a:gd name="connsiteX339" fmla="*/ 1424807 w 3785642"/>
                <a:gd name="connsiteY339" fmla="*/ 3504 h 479077"/>
                <a:gd name="connsiteX340" fmla="*/ 1441177 w 3785642"/>
                <a:gd name="connsiteY340" fmla="*/ 1520 h 479077"/>
                <a:gd name="connsiteX341" fmla="*/ 1457548 w 3785642"/>
                <a:gd name="connsiteY341" fmla="*/ 2512 h 479077"/>
                <a:gd name="connsiteX342" fmla="*/ 1473919 w 3785642"/>
                <a:gd name="connsiteY342" fmla="*/ 2016 h 479077"/>
                <a:gd name="connsiteX343" fmla="*/ 1490289 w 3785642"/>
                <a:gd name="connsiteY343" fmla="*/ 2016 h 479077"/>
                <a:gd name="connsiteX344" fmla="*/ 1506660 w 3785642"/>
                <a:gd name="connsiteY344" fmla="*/ 1520 h 479077"/>
                <a:gd name="connsiteX345" fmla="*/ 1523030 w 3785642"/>
                <a:gd name="connsiteY345" fmla="*/ 3504 h 479077"/>
                <a:gd name="connsiteX346" fmla="*/ 1539401 w 3785642"/>
                <a:gd name="connsiteY346" fmla="*/ 3008 h 479077"/>
                <a:gd name="connsiteX347" fmla="*/ 1555771 w 3785642"/>
                <a:gd name="connsiteY347" fmla="*/ 3008 h 479077"/>
                <a:gd name="connsiteX348" fmla="*/ 1572142 w 3785642"/>
                <a:gd name="connsiteY348" fmla="*/ 2512 h 479077"/>
                <a:gd name="connsiteX349" fmla="*/ 1588512 w 3785642"/>
                <a:gd name="connsiteY349" fmla="*/ 2016 h 479077"/>
                <a:gd name="connsiteX350" fmla="*/ 1604883 w 3785642"/>
                <a:gd name="connsiteY350" fmla="*/ 3008 h 479077"/>
                <a:gd name="connsiteX351" fmla="*/ 1621253 w 3785642"/>
                <a:gd name="connsiteY351" fmla="*/ 3008 h 479077"/>
                <a:gd name="connsiteX352" fmla="*/ 1637624 w 3785642"/>
                <a:gd name="connsiteY35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82330 w 3785642"/>
                <a:gd name="connsiteY23" fmla="*/ 56584 h 479077"/>
                <a:gd name="connsiteX24" fmla="*/ 3370921 w 3785642"/>
                <a:gd name="connsiteY24" fmla="*/ 44678 h 479077"/>
                <a:gd name="connsiteX25" fmla="*/ 3313375 w 3785642"/>
                <a:gd name="connsiteY25" fmla="*/ 10945 h 479077"/>
                <a:gd name="connsiteX26" fmla="*/ 3300973 w 3785642"/>
                <a:gd name="connsiteY26" fmla="*/ 21363 h 479077"/>
                <a:gd name="connsiteX27" fmla="*/ 3289068 w 3785642"/>
                <a:gd name="connsiteY27" fmla="*/ 32276 h 479077"/>
                <a:gd name="connsiteX28" fmla="*/ 3277658 w 3785642"/>
                <a:gd name="connsiteY28" fmla="*/ 43686 h 479077"/>
                <a:gd name="connsiteX29" fmla="*/ 3266248 w 3785642"/>
                <a:gd name="connsiteY29" fmla="*/ 55592 h 479077"/>
                <a:gd name="connsiteX30" fmla="*/ 3255830 w 3785642"/>
                <a:gd name="connsiteY30" fmla="*/ 68490 h 479077"/>
                <a:gd name="connsiteX31" fmla="*/ 3243924 w 3785642"/>
                <a:gd name="connsiteY31" fmla="*/ 79900 h 479077"/>
                <a:gd name="connsiteX32" fmla="*/ 3231522 w 3785642"/>
                <a:gd name="connsiteY32" fmla="*/ 90814 h 479077"/>
                <a:gd name="connsiteX33" fmla="*/ 3220609 w 3785642"/>
                <a:gd name="connsiteY33" fmla="*/ 102720 h 479077"/>
                <a:gd name="connsiteX34" fmla="*/ 3208207 w 3785642"/>
                <a:gd name="connsiteY34" fmla="*/ 113137 h 479077"/>
                <a:gd name="connsiteX35" fmla="*/ 3197293 w 3785642"/>
                <a:gd name="connsiteY35" fmla="*/ 125043 h 479077"/>
                <a:gd name="connsiteX36" fmla="*/ 3185387 w 3785642"/>
                <a:gd name="connsiteY36" fmla="*/ 136453 h 479077"/>
                <a:gd name="connsiteX37" fmla="*/ 3174970 w 3785642"/>
                <a:gd name="connsiteY37" fmla="*/ 148855 h 479077"/>
                <a:gd name="connsiteX38" fmla="*/ 3162071 w 3785642"/>
                <a:gd name="connsiteY38" fmla="*/ 159272 h 479077"/>
                <a:gd name="connsiteX39" fmla="*/ 3151158 w 3785642"/>
                <a:gd name="connsiteY39" fmla="*/ 171674 h 479077"/>
                <a:gd name="connsiteX40" fmla="*/ 3139252 w 3785642"/>
                <a:gd name="connsiteY40" fmla="*/ 182588 h 479077"/>
                <a:gd name="connsiteX41" fmla="*/ 3127843 w 3785642"/>
                <a:gd name="connsiteY41" fmla="*/ 194494 h 479077"/>
                <a:gd name="connsiteX42" fmla="*/ 3116432 w 3785642"/>
                <a:gd name="connsiteY42" fmla="*/ 205904 h 479077"/>
                <a:gd name="connsiteX43" fmla="*/ 3105022 w 3785642"/>
                <a:gd name="connsiteY43" fmla="*/ 217810 h 479077"/>
                <a:gd name="connsiteX44" fmla="*/ 3093117 w 3785642"/>
                <a:gd name="connsiteY44" fmla="*/ 229219 h 479077"/>
                <a:gd name="connsiteX45" fmla="*/ 3081707 w 3785642"/>
                <a:gd name="connsiteY45" fmla="*/ 240629 h 479077"/>
                <a:gd name="connsiteX46" fmla="*/ 3069305 w 3785642"/>
                <a:gd name="connsiteY46" fmla="*/ 251543 h 479077"/>
                <a:gd name="connsiteX47" fmla="*/ 3057895 w 3785642"/>
                <a:gd name="connsiteY47" fmla="*/ 263449 h 479077"/>
                <a:gd name="connsiteX48" fmla="*/ 3046486 w 3785642"/>
                <a:gd name="connsiteY48" fmla="*/ 275355 h 479077"/>
                <a:gd name="connsiteX49" fmla="*/ 3035572 w 3785642"/>
                <a:gd name="connsiteY49" fmla="*/ 287260 h 479077"/>
                <a:gd name="connsiteX50" fmla="*/ 3024658 w 3785642"/>
                <a:gd name="connsiteY50" fmla="*/ 299166 h 479077"/>
                <a:gd name="connsiteX51" fmla="*/ 3013248 w 3785642"/>
                <a:gd name="connsiteY51" fmla="*/ 311072 h 479077"/>
                <a:gd name="connsiteX52" fmla="*/ 3000350 w 3785642"/>
                <a:gd name="connsiteY52" fmla="*/ 321490 h 479077"/>
                <a:gd name="connsiteX53" fmla="*/ 2988941 w 3785642"/>
                <a:gd name="connsiteY53" fmla="*/ 333396 h 479077"/>
                <a:gd name="connsiteX54" fmla="*/ 2976539 w 3785642"/>
                <a:gd name="connsiteY54" fmla="*/ 344309 h 479077"/>
                <a:gd name="connsiteX55" fmla="*/ 2965129 w 3785642"/>
                <a:gd name="connsiteY55" fmla="*/ 356215 h 479077"/>
                <a:gd name="connsiteX56" fmla="*/ 2953223 w 3785642"/>
                <a:gd name="connsiteY56" fmla="*/ 367625 h 479077"/>
                <a:gd name="connsiteX57" fmla="*/ 2941813 w 3785642"/>
                <a:gd name="connsiteY57" fmla="*/ 379531 h 479077"/>
                <a:gd name="connsiteX58" fmla="*/ 2931395 w 3785642"/>
                <a:gd name="connsiteY58" fmla="*/ 392429 h 479077"/>
                <a:gd name="connsiteX59" fmla="*/ 2918497 w 3785642"/>
                <a:gd name="connsiteY59" fmla="*/ 402847 h 479077"/>
                <a:gd name="connsiteX60" fmla="*/ 2907584 w 3785642"/>
                <a:gd name="connsiteY60" fmla="*/ 415249 h 479077"/>
                <a:gd name="connsiteX61" fmla="*/ 2896174 w 3785642"/>
                <a:gd name="connsiteY61" fmla="*/ 426658 h 479077"/>
                <a:gd name="connsiteX62" fmla="*/ 2884268 w 3785642"/>
                <a:gd name="connsiteY62" fmla="*/ 438068 h 479077"/>
                <a:gd name="connsiteX63" fmla="*/ 2873354 w 3785642"/>
                <a:gd name="connsiteY63" fmla="*/ 450470 h 479077"/>
                <a:gd name="connsiteX64" fmla="*/ 2860952 w 3785642"/>
                <a:gd name="connsiteY64" fmla="*/ 461384 h 479077"/>
                <a:gd name="connsiteX65" fmla="*/ 2850039 w 3785642"/>
                <a:gd name="connsiteY65" fmla="*/ 473786 h 479077"/>
                <a:gd name="connsiteX66" fmla="*/ 2833668 w 3785642"/>
                <a:gd name="connsiteY66" fmla="*/ 473786 h 479077"/>
                <a:gd name="connsiteX67" fmla="*/ 2817297 w 3785642"/>
                <a:gd name="connsiteY67" fmla="*/ 473290 h 479077"/>
                <a:gd name="connsiteX68" fmla="*/ 2800927 w 3785642"/>
                <a:gd name="connsiteY68" fmla="*/ 473290 h 479077"/>
                <a:gd name="connsiteX69" fmla="*/ 2784556 w 3785642"/>
                <a:gd name="connsiteY69" fmla="*/ 473786 h 479077"/>
                <a:gd name="connsiteX70" fmla="*/ 2768186 w 3785642"/>
                <a:gd name="connsiteY70" fmla="*/ 474282 h 479077"/>
                <a:gd name="connsiteX71" fmla="*/ 2751815 w 3785642"/>
                <a:gd name="connsiteY71" fmla="*/ 474282 h 479077"/>
                <a:gd name="connsiteX72" fmla="*/ 2735444 w 3785642"/>
                <a:gd name="connsiteY72" fmla="*/ 473290 h 479077"/>
                <a:gd name="connsiteX73" fmla="*/ 2719074 w 3785642"/>
                <a:gd name="connsiteY73" fmla="*/ 474282 h 479077"/>
                <a:gd name="connsiteX74" fmla="*/ 2702703 w 3785642"/>
                <a:gd name="connsiteY74" fmla="*/ 472298 h 479077"/>
                <a:gd name="connsiteX75" fmla="*/ 2686333 w 3785642"/>
                <a:gd name="connsiteY75" fmla="*/ 472794 h 479077"/>
                <a:gd name="connsiteX76" fmla="*/ 2669962 w 3785642"/>
                <a:gd name="connsiteY76" fmla="*/ 474282 h 479077"/>
                <a:gd name="connsiteX77" fmla="*/ 2653592 w 3785642"/>
                <a:gd name="connsiteY77" fmla="*/ 472298 h 479077"/>
                <a:gd name="connsiteX78" fmla="*/ 2637221 w 3785642"/>
                <a:gd name="connsiteY78" fmla="*/ 474282 h 479077"/>
                <a:gd name="connsiteX79" fmla="*/ 2620851 w 3785642"/>
                <a:gd name="connsiteY79" fmla="*/ 474282 h 479077"/>
                <a:gd name="connsiteX80" fmla="*/ 2604480 w 3785642"/>
                <a:gd name="connsiteY80" fmla="*/ 472298 h 479077"/>
                <a:gd name="connsiteX81" fmla="*/ 2588109 w 3785642"/>
                <a:gd name="connsiteY81" fmla="*/ 473786 h 479077"/>
                <a:gd name="connsiteX82" fmla="*/ 2571739 w 3785642"/>
                <a:gd name="connsiteY82" fmla="*/ 472298 h 479077"/>
                <a:gd name="connsiteX83" fmla="*/ 2555368 w 3785642"/>
                <a:gd name="connsiteY83" fmla="*/ 473290 h 479077"/>
                <a:gd name="connsiteX84" fmla="*/ 2538998 w 3785642"/>
                <a:gd name="connsiteY84" fmla="*/ 474282 h 479077"/>
                <a:gd name="connsiteX85" fmla="*/ 2522627 w 3785642"/>
                <a:gd name="connsiteY85" fmla="*/ 473290 h 479077"/>
                <a:gd name="connsiteX86" fmla="*/ 2506257 w 3785642"/>
                <a:gd name="connsiteY86" fmla="*/ 474282 h 479077"/>
                <a:gd name="connsiteX87" fmla="*/ 2489886 w 3785642"/>
                <a:gd name="connsiteY87" fmla="*/ 473786 h 479077"/>
                <a:gd name="connsiteX88" fmla="*/ 2473516 w 3785642"/>
                <a:gd name="connsiteY88" fmla="*/ 474282 h 479077"/>
                <a:gd name="connsiteX89" fmla="*/ 2457145 w 3785642"/>
                <a:gd name="connsiteY89" fmla="*/ 472794 h 479077"/>
                <a:gd name="connsiteX90" fmla="*/ 2440775 w 3785642"/>
                <a:gd name="connsiteY90" fmla="*/ 472298 h 479077"/>
                <a:gd name="connsiteX91" fmla="*/ 2424404 w 3785642"/>
                <a:gd name="connsiteY91" fmla="*/ 473786 h 479077"/>
                <a:gd name="connsiteX92" fmla="*/ 2408033 w 3785642"/>
                <a:gd name="connsiteY92" fmla="*/ 472794 h 479077"/>
                <a:gd name="connsiteX93" fmla="*/ 2391663 w 3785642"/>
                <a:gd name="connsiteY93" fmla="*/ 473290 h 479077"/>
                <a:gd name="connsiteX94" fmla="*/ 2375292 w 3785642"/>
                <a:gd name="connsiteY94" fmla="*/ 473290 h 479077"/>
                <a:gd name="connsiteX95" fmla="*/ 2358922 w 3785642"/>
                <a:gd name="connsiteY95" fmla="*/ 472794 h 479077"/>
                <a:gd name="connsiteX96" fmla="*/ 2342551 w 3785642"/>
                <a:gd name="connsiteY96" fmla="*/ 472298 h 479077"/>
                <a:gd name="connsiteX97" fmla="*/ 2326180 w 3785642"/>
                <a:gd name="connsiteY97" fmla="*/ 473786 h 479077"/>
                <a:gd name="connsiteX98" fmla="*/ 2309810 w 3785642"/>
                <a:gd name="connsiteY98" fmla="*/ 473786 h 479077"/>
                <a:gd name="connsiteX99" fmla="*/ 2293439 w 3785642"/>
                <a:gd name="connsiteY99" fmla="*/ 473786 h 479077"/>
                <a:gd name="connsiteX100" fmla="*/ 2277069 w 3785642"/>
                <a:gd name="connsiteY100" fmla="*/ 472794 h 479077"/>
                <a:gd name="connsiteX101" fmla="*/ 2260698 w 3785642"/>
                <a:gd name="connsiteY101" fmla="*/ 474282 h 479077"/>
                <a:gd name="connsiteX102" fmla="*/ 2244327 w 3785642"/>
                <a:gd name="connsiteY102" fmla="*/ 472298 h 479077"/>
                <a:gd name="connsiteX103" fmla="*/ 2227957 w 3785642"/>
                <a:gd name="connsiteY103" fmla="*/ 474282 h 479077"/>
                <a:gd name="connsiteX104" fmla="*/ 2211586 w 3785642"/>
                <a:gd name="connsiteY104" fmla="*/ 473290 h 479077"/>
                <a:gd name="connsiteX105" fmla="*/ 2195216 w 3785642"/>
                <a:gd name="connsiteY105" fmla="*/ 474282 h 479077"/>
                <a:gd name="connsiteX106" fmla="*/ 2178845 w 3785642"/>
                <a:gd name="connsiteY106" fmla="*/ 472794 h 479077"/>
                <a:gd name="connsiteX107" fmla="*/ 2162474 w 3785642"/>
                <a:gd name="connsiteY107" fmla="*/ 474778 h 479077"/>
                <a:gd name="connsiteX108" fmla="*/ 2146104 w 3785642"/>
                <a:gd name="connsiteY108" fmla="*/ 473290 h 479077"/>
                <a:gd name="connsiteX109" fmla="*/ 2129733 w 3785642"/>
                <a:gd name="connsiteY109" fmla="*/ 474778 h 479077"/>
                <a:gd name="connsiteX110" fmla="*/ 2113363 w 3785642"/>
                <a:gd name="connsiteY110" fmla="*/ 474778 h 479077"/>
                <a:gd name="connsiteX111" fmla="*/ 2096992 w 3785642"/>
                <a:gd name="connsiteY111" fmla="*/ 474778 h 479077"/>
                <a:gd name="connsiteX112" fmla="*/ 2080621 w 3785642"/>
                <a:gd name="connsiteY112" fmla="*/ 474282 h 479077"/>
                <a:gd name="connsiteX113" fmla="*/ 2064251 w 3785642"/>
                <a:gd name="connsiteY113" fmla="*/ 472794 h 479077"/>
                <a:gd name="connsiteX114" fmla="*/ 2047880 w 3785642"/>
                <a:gd name="connsiteY114" fmla="*/ 474778 h 479077"/>
                <a:gd name="connsiteX115" fmla="*/ 2031510 w 3785642"/>
                <a:gd name="connsiteY115" fmla="*/ 474778 h 479077"/>
                <a:gd name="connsiteX116" fmla="*/ 2015139 w 3785642"/>
                <a:gd name="connsiteY116" fmla="*/ 474778 h 479077"/>
                <a:gd name="connsiteX117" fmla="*/ 1998769 w 3785642"/>
                <a:gd name="connsiteY117" fmla="*/ 474282 h 479077"/>
                <a:gd name="connsiteX118" fmla="*/ 1982398 w 3785642"/>
                <a:gd name="connsiteY118" fmla="*/ 473786 h 479077"/>
                <a:gd name="connsiteX119" fmla="*/ 1966028 w 3785642"/>
                <a:gd name="connsiteY119" fmla="*/ 473786 h 479077"/>
                <a:gd name="connsiteX120" fmla="*/ 1949657 w 3785642"/>
                <a:gd name="connsiteY120" fmla="*/ 472794 h 479077"/>
                <a:gd name="connsiteX121" fmla="*/ 1933287 w 3785642"/>
                <a:gd name="connsiteY121" fmla="*/ 473290 h 479077"/>
                <a:gd name="connsiteX122" fmla="*/ 1916916 w 3785642"/>
                <a:gd name="connsiteY122" fmla="*/ 474778 h 479077"/>
                <a:gd name="connsiteX123" fmla="*/ 1900546 w 3785642"/>
                <a:gd name="connsiteY123" fmla="*/ 472794 h 479077"/>
                <a:gd name="connsiteX124" fmla="*/ 1884175 w 3785642"/>
                <a:gd name="connsiteY124" fmla="*/ 473786 h 479077"/>
                <a:gd name="connsiteX125" fmla="*/ 1867804 w 3785642"/>
                <a:gd name="connsiteY125" fmla="*/ 474778 h 479077"/>
                <a:gd name="connsiteX126" fmla="*/ 1851434 w 3785642"/>
                <a:gd name="connsiteY126" fmla="*/ 474778 h 479077"/>
                <a:gd name="connsiteX127" fmla="*/ 1835063 w 3785642"/>
                <a:gd name="connsiteY127" fmla="*/ 474778 h 479077"/>
                <a:gd name="connsiteX128" fmla="*/ 1818693 w 3785642"/>
                <a:gd name="connsiteY128" fmla="*/ 474282 h 479077"/>
                <a:gd name="connsiteX129" fmla="*/ 1802322 w 3785642"/>
                <a:gd name="connsiteY129" fmla="*/ 472794 h 479077"/>
                <a:gd name="connsiteX130" fmla="*/ 1785951 w 3785642"/>
                <a:gd name="connsiteY130" fmla="*/ 473786 h 479077"/>
                <a:gd name="connsiteX131" fmla="*/ 1769581 w 3785642"/>
                <a:gd name="connsiteY131" fmla="*/ 473290 h 479077"/>
                <a:gd name="connsiteX132" fmla="*/ 1753210 w 3785642"/>
                <a:gd name="connsiteY132" fmla="*/ 472298 h 479077"/>
                <a:gd name="connsiteX133" fmla="*/ 1736840 w 3785642"/>
                <a:gd name="connsiteY133" fmla="*/ 473290 h 479077"/>
                <a:gd name="connsiteX134" fmla="*/ 1720469 w 3785642"/>
                <a:gd name="connsiteY134" fmla="*/ 474778 h 479077"/>
                <a:gd name="connsiteX135" fmla="*/ 1704098 w 3785642"/>
                <a:gd name="connsiteY135" fmla="*/ 472794 h 479077"/>
                <a:gd name="connsiteX136" fmla="*/ 1687728 w 3785642"/>
                <a:gd name="connsiteY136" fmla="*/ 474778 h 479077"/>
                <a:gd name="connsiteX137" fmla="*/ 1671357 w 3785642"/>
                <a:gd name="connsiteY137" fmla="*/ 474778 h 479077"/>
                <a:gd name="connsiteX138" fmla="*/ 1654987 w 3785642"/>
                <a:gd name="connsiteY138" fmla="*/ 472298 h 479077"/>
                <a:gd name="connsiteX139" fmla="*/ 1638616 w 3785642"/>
                <a:gd name="connsiteY139" fmla="*/ 472794 h 479077"/>
                <a:gd name="connsiteX140" fmla="*/ 1622246 w 3785642"/>
                <a:gd name="connsiteY140" fmla="*/ 473786 h 479077"/>
                <a:gd name="connsiteX141" fmla="*/ 1605875 w 3785642"/>
                <a:gd name="connsiteY141" fmla="*/ 474778 h 479077"/>
                <a:gd name="connsiteX142" fmla="*/ 1589505 w 3785642"/>
                <a:gd name="connsiteY142" fmla="*/ 473290 h 479077"/>
                <a:gd name="connsiteX143" fmla="*/ 1573134 w 3785642"/>
                <a:gd name="connsiteY143" fmla="*/ 474778 h 479077"/>
                <a:gd name="connsiteX144" fmla="*/ 1556763 w 3785642"/>
                <a:gd name="connsiteY144" fmla="*/ 472794 h 479077"/>
                <a:gd name="connsiteX145" fmla="*/ 1540393 w 3785642"/>
                <a:gd name="connsiteY145" fmla="*/ 472794 h 479077"/>
                <a:gd name="connsiteX146" fmla="*/ 1524022 w 3785642"/>
                <a:gd name="connsiteY146" fmla="*/ 474282 h 479077"/>
                <a:gd name="connsiteX147" fmla="*/ 1507652 w 3785642"/>
                <a:gd name="connsiteY147" fmla="*/ 472794 h 479077"/>
                <a:gd name="connsiteX148" fmla="*/ 1491281 w 3785642"/>
                <a:gd name="connsiteY148" fmla="*/ 474282 h 479077"/>
                <a:gd name="connsiteX149" fmla="*/ 1474910 w 3785642"/>
                <a:gd name="connsiteY149" fmla="*/ 474282 h 479077"/>
                <a:gd name="connsiteX150" fmla="*/ 1458540 w 3785642"/>
                <a:gd name="connsiteY150" fmla="*/ 472794 h 479077"/>
                <a:gd name="connsiteX151" fmla="*/ 1442169 w 3785642"/>
                <a:gd name="connsiteY151" fmla="*/ 471802 h 479077"/>
                <a:gd name="connsiteX152" fmla="*/ 1425799 w 3785642"/>
                <a:gd name="connsiteY152" fmla="*/ 472298 h 479077"/>
                <a:gd name="connsiteX153" fmla="*/ 1409428 w 3785642"/>
                <a:gd name="connsiteY153" fmla="*/ 472794 h 479077"/>
                <a:gd name="connsiteX154" fmla="*/ 1393058 w 3785642"/>
                <a:gd name="connsiteY154" fmla="*/ 473786 h 479077"/>
                <a:gd name="connsiteX155" fmla="*/ 1376687 w 3785642"/>
                <a:gd name="connsiteY155" fmla="*/ 471802 h 479077"/>
                <a:gd name="connsiteX156" fmla="*/ 1360317 w 3785642"/>
                <a:gd name="connsiteY156" fmla="*/ 473786 h 479077"/>
                <a:gd name="connsiteX157" fmla="*/ 1343946 w 3785642"/>
                <a:gd name="connsiteY157" fmla="*/ 473786 h 479077"/>
                <a:gd name="connsiteX158" fmla="*/ 1327576 w 3785642"/>
                <a:gd name="connsiteY158" fmla="*/ 472794 h 479077"/>
                <a:gd name="connsiteX159" fmla="*/ 1311205 w 3785642"/>
                <a:gd name="connsiteY159" fmla="*/ 473786 h 479077"/>
                <a:gd name="connsiteX160" fmla="*/ 1294834 w 3785642"/>
                <a:gd name="connsiteY160" fmla="*/ 473786 h 479077"/>
                <a:gd name="connsiteX161" fmla="*/ 1278464 w 3785642"/>
                <a:gd name="connsiteY161" fmla="*/ 473786 h 479077"/>
                <a:gd name="connsiteX162" fmla="*/ 1262093 w 3785642"/>
                <a:gd name="connsiteY162" fmla="*/ 473786 h 479077"/>
                <a:gd name="connsiteX163" fmla="*/ 1245723 w 3785642"/>
                <a:gd name="connsiteY163" fmla="*/ 473290 h 479077"/>
                <a:gd name="connsiteX164" fmla="*/ 1229352 w 3785642"/>
                <a:gd name="connsiteY164" fmla="*/ 472794 h 479077"/>
                <a:gd name="connsiteX165" fmla="*/ 1212981 w 3785642"/>
                <a:gd name="connsiteY165" fmla="*/ 473786 h 479077"/>
                <a:gd name="connsiteX166" fmla="*/ 1196611 w 3785642"/>
                <a:gd name="connsiteY166" fmla="*/ 472298 h 479077"/>
                <a:gd name="connsiteX167" fmla="*/ 1180240 w 3785642"/>
                <a:gd name="connsiteY167" fmla="*/ 472794 h 479077"/>
                <a:gd name="connsiteX168" fmla="*/ 1163870 w 3785642"/>
                <a:gd name="connsiteY168" fmla="*/ 472794 h 479077"/>
                <a:gd name="connsiteX169" fmla="*/ 1147499 w 3785642"/>
                <a:gd name="connsiteY169" fmla="*/ 473786 h 479077"/>
                <a:gd name="connsiteX170" fmla="*/ 1131128 w 3785642"/>
                <a:gd name="connsiteY170" fmla="*/ 473786 h 479077"/>
                <a:gd name="connsiteX171" fmla="*/ 1114758 w 3785642"/>
                <a:gd name="connsiteY171" fmla="*/ 472794 h 479077"/>
                <a:gd name="connsiteX172" fmla="*/ 1098387 w 3785642"/>
                <a:gd name="connsiteY172" fmla="*/ 473786 h 479077"/>
                <a:gd name="connsiteX173" fmla="*/ 1082017 w 3785642"/>
                <a:gd name="connsiteY173" fmla="*/ 474778 h 479077"/>
                <a:gd name="connsiteX174" fmla="*/ 1065646 w 3785642"/>
                <a:gd name="connsiteY174" fmla="*/ 474778 h 479077"/>
                <a:gd name="connsiteX175" fmla="*/ 1049276 w 3785642"/>
                <a:gd name="connsiteY175" fmla="*/ 474282 h 479077"/>
                <a:gd name="connsiteX176" fmla="*/ 1032905 w 3785642"/>
                <a:gd name="connsiteY176" fmla="*/ 473290 h 479077"/>
                <a:gd name="connsiteX177" fmla="*/ 1016535 w 3785642"/>
                <a:gd name="connsiteY177" fmla="*/ 474282 h 479077"/>
                <a:gd name="connsiteX178" fmla="*/ 1000164 w 3785642"/>
                <a:gd name="connsiteY178" fmla="*/ 474282 h 479077"/>
                <a:gd name="connsiteX179" fmla="*/ 983793 w 3785642"/>
                <a:gd name="connsiteY179" fmla="*/ 472794 h 479077"/>
                <a:gd name="connsiteX180" fmla="*/ 967423 w 3785642"/>
                <a:gd name="connsiteY180" fmla="*/ 472794 h 479077"/>
                <a:gd name="connsiteX181" fmla="*/ 951052 w 3785642"/>
                <a:gd name="connsiteY181" fmla="*/ 473786 h 479077"/>
                <a:gd name="connsiteX182" fmla="*/ 934682 w 3785642"/>
                <a:gd name="connsiteY182" fmla="*/ 474282 h 479077"/>
                <a:gd name="connsiteX183" fmla="*/ 918311 w 3785642"/>
                <a:gd name="connsiteY183" fmla="*/ 474778 h 479077"/>
                <a:gd name="connsiteX184" fmla="*/ 901940 w 3785642"/>
                <a:gd name="connsiteY184" fmla="*/ 473290 h 479077"/>
                <a:gd name="connsiteX185" fmla="*/ 885570 w 3785642"/>
                <a:gd name="connsiteY185" fmla="*/ 474778 h 479077"/>
                <a:gd name="connsiteX186" fmla="*/ 869199 w 3785642"/>
                <a:gd name="connsiteY186" fmla="*/ 474282 h 479077"/>
                <a:gd name="connsiteX187" fmla="*/ 852829 w 3785642"/>
                <a:gd name="connsiteY187" fmla="*/ 473786 h 479077"/>
                <a:gd name="connsiteX188" fmla="*/ 836458 w 3785642"/>
                <a:gd name="connsiteY188" fmla="*/ 474778 h 479077"/>
                <a:gd name="connsiteX189" fmla="*/ 820088 w 3785642"/>
                <a:gd name="connsiteY189" fmla="*/ 475274 h 479077"/>
                <a:gd name="connsiteX190" fmla="*/ 803717 w 3785642"/>
                <a:gd name="connsiteY190" fmla="*/ 473786 h 479077"/>
                <a:gd name="connsiteX191" fmla="*/ 787347 w 3785642"/>
                <a:gd name="connsiteY191" fmla="*/ 475770 h 479077"/>
                <a:gd name="connsiteX192" fmla="*/ 770976 w 3785642"/>
                <a:gd name="connsiteY192" fmla="*/ 474778 h 479077"/>
                <a:gd name="connsiteX193" fmla="*/ 754605 w 3785642"/>
                <a:gd name="connsiteY193" fmla="*/ 475274 h 479077"/>
                <a:gd name="connsiteX194" fmla="*/ 738235 w 3785642"/>
                <a:gd name="connsiteY194" fmla="*/ 473786 h 479077"/>
                <a:gd name="connsiteX195" fmla="*/ 721864 w 3785642"/>
                <a:gd name="connsiteY195" fmla="*/ 475274 h 479077"/>
                <a:gd name="connsiteX196" fmla="*/ 705494 w 3785642"/>
                <a:gd name="connsiteY196" fmla="*/ 475770 h 479077"/>
                <a:gd name="connsiteX197" fmla="*/ 689123 w 3785642"/>
                <a:gd name="connsiteY197" fmla="*/ 474282 h 479077"/>
                <a:gd name="connsiteX198" fmla="*/ 672753 w 3785642"/>
                <a:gd name="connsiteY198" fmla="*/ 475274 h 479077"/>
                <a:gd name="connsiteX199" fmla="*/ 656382 w 3785642"/>
                <a:gd name="connsiteY199" fmla="*/ 474778 h 479077"/>
                <a:gd name="connsiteX200" fmla="*/ 640011 w 3785642"/>
                <a:gd name="connsiteY200" fmla="*/ 475770 h 479077"/>
                <a:gd name="connsiteX201" fmla="*/ 623641 w 3785642"/>
                <a:gd name="connsiteY201" fmla="*/ 473786 h 479077"/>
                <a:gd name="connsiteX202" fmla="*/ 607270 w 3785642"/>
                <a:gd name="connsiteY202" fmla="*/ 474778 h 479077"/>
                <a:gd name="connsiteX203" fmla="*/ 590900 w 3785642"/>
                <a:gd name="connsiteY203" fmla="*/ 475274 h 479077"/>
                <a:gd name="connsiteX204" fmla="*/ 574529 w 3785642"/>
                <a:gd name="connsiteY204" fmla="*/ 474282 h 479077"/>
                <a:gd name="connsiteX205" fmla="*/ 558158 w 3785642"/>
                <a:gd name="connsiteY205" fmla="*/ 475274 h 479077"/>
                <a:gd name="connsiteX206" fmla="*/ 541788 w 3785642"/>
                <a:gd name="connsiteY206" fmla="*/ 475770 h 479077"/>
                <a:gd name="connsiteX207" fmla="*/ 525417 w 3785642"/>
                <a:gd name="connsiteY207" fmla="*/ 474282 h 479077"/>
                <a:gd name="connsiteX208" fmla="*/ 509047 w 3785642"/>
                <a:gd name="connsiteY208" fmla="*/ 473786 h 479077"/>
                <a:gd name="connsiteX209" fmla="*/ 492676 w 3785642"/>
                <a:gd name="connsiteY209" fmla="*/ 473786 h 479077"/>
                <a:gd name="connsiteX210" fmla="*/ 476306 w 3785642"/>
                <a:gd name="connsiteY210" fmla="*/ 474778 h 479077"/>
                <a:gd name="connsiteX211" fmla="*/ 459935 w 3785642"/>
                <a:gd name="connsiteY211" fmla="*/ 473786 h 479077"/>
                <a:gd name="connsiteX212" fmla="*/ 443565 w 3785642"/>
                <a:gd name="connsiteY212" fmla="*/ 474778 h 479077"/>
                <a:gd name="connsiteX213" fmla="*/ 427194 w 3785642"/>
                <a:gd name="connsiteY213" fmla="*/ 474282 h 479077"/>
                <a:gd name="connsiteX214" fmla="*/ 410823 w 3785642"/>
                <a:gd name="connsiteY214" fmla="*/ 473290 h 479077"/>
                <a:gd name="connsiteX215" fmla="*/ 394453 w 3785642"/>
                <a:gd name="connsiteY215" fmla="*/ 475770 h 479077"/>
                <a:gd name="connsiteX216" fmla="*/ 378082 w 3785642"/>
                <a:gd name="connsiteY216" fmla="*/ 475274 h 479077"/>
                <a:gd name="connsiteX217" fmla="*/ 361712 w 3785642"/>
                <a:gd name="connsiteY217" fmla="*/ 474778 h 479077"/>
                <a:gd name="connsiteX218" fmla="*/ 345341 w 3785642"/>
                <a:gd name="connsiteY218" fmla="*/ 476266 h 479077"/>
                <a:gd name="connsiteX219" fmla="*/ 328970 w 3785642"/>
                <a:gd name="connsiteY219" fmla="*/ 474282 h 479077"/>
                <a:gd name="connsiteX220" fmla="*/ 312600 w 3785642"/>
                <a:gd name="connsiteY220" fmla="*/ 475274 h 479077"/>
                <a:gd name="connsiteX221" fmla="*/ 296229 w 3785642"/>
                <a:gd name="connsiteY221" fmla="*/ 474282 h 479077"/>
                <a:gd name="connsiteX222" fmla="*/ 279859 w 3785642"/>
                <a:gd name="connsiteY222" fmla="*/ 475770 h 479077"/>
                <a:gd name="connsiteX223" fmla="*/ 263488 w 3785642"/>
                <a:gd name="connsiteY223" fmla="*/ 476266 h 479077"/>
                <a:gd name="connsiteX224" fmla="*/ 247118 w 3785642"/>
                <a:gd name="connsiteY224" fmla="*/ 476266 h 479077"/>
                <a:gd name="connsiteX225" fmla="*/ 230747 w 3785642"/>
                <a:gd name="connsiteY225" fmla="*/ 474778 h 479077"/>
                <a:gd name="connsiteX226" fmla="*/ 214376 w 3785642"/>
                <a:gd name="connsiteY226" fmla="*/ 474778 h 479077"/>
                <a:gd name="connsiteX227" fmla="*/ 198006 w 3785642"/>
                <a:gd name="connsiteY227" fmla="*/ 476762 h 479077"/>
                <a:gd name="connsiteX228" fmla="*/ 181635 w 3785642"/>
                <a:gd name="connsiteY228" fmla="*/ 476266 h 479077"/>
                <a:gd name="connsiteX229" fmla="*/ 165265 w 3785642"/>
                <a:gd name="connsiteY229" fmla="*/ 474778 h 479077"/>
                <a:gd name="connsiteX230" fmla="*/ 148894 w 3785642"/>
                <a:gd name="connsiteY230" fmla="*/ 476762 h 479077"/>
                <a:gd name="connsiteX231" fmla="*/ 132524 w 3785642"/>
                <a:gd name="connsiteY231" fmla="*/ 476266 h 479077"/>
                <a:gd name="connsiteX232" fmla="*/ 116153 w 3785642"/>
                <a:gd name="connsiteY232" fmla="*/ 475274 h 479077"/>
                <a:gd name="connsiteX233" fmla="*/ 99783 w 3785642"/>
                <a:gd name="connsiteY233" fmla="*/ 475274 h 479077"/>
                <a:gd name="connsiteX234" fmla="*/ 83412 w 3785642"/>
                <a:gd name="connsiteY234" fmla="*/ 475274 h 479077"/>
                <a:gd name="connsiteX235" fmla="*/ 67041 w 3785642"/>
                <a:gd name="connsiteY235" fmla="*/ 474778 h 479077"/>
                <a:gd name="connsiteX236" fmla="*/ 50671 w 3785642"/>
                <a:gd name="connsiteY236" fmla="*/ 475274 h 479077"/>
                <a:gd name="connsiteX237" fmla="*/ 34300 w 3785642"/>
                <a:gd name="connsiteY237" fmla="*/ 475274 h 479077"/>
                <a:gd name="connsiteX238" fmla="*/ 17930 w 3785642"/>
                <a:gd name="connsiteY238" fmla="*/ 475770 h 479077"/>
                <a:gd name="connsiteX239" fmla="*/ 567 w 3785642"/>
                <a:gd name="connsiteY239" fmla="*/ 475770 h 479077"/>
                <a:gd name="connsiteX240" fmla="*/ 12969 w 3785642"/>
                <a:gd name="connsiteY240" fmla="*/ 463368 h 479077"/>
                <a:gd name="connsiteX241" fmla="*/ 24379 w 3785642"/>
                <a:gd name="connsiteY241" fmla="*/ 451958 h 479077"/>
                <a:gd name="connsiteX242" fmla="*/ 35788 w 3785642"/>
                <a:gd name="connsiteY242" fmla="*/ 440053 h 479077"/>
                <a:gd name="connsiteX243" fmla="*/ 48686 w 3785642"/>
                <a:gd name="connsiteY243" fmla="*/ 430131 h 479077"/>
                <a:gd name="connsiteX244" fmla="*/ 59600 w 3785642"/>
                <a:gd name="connsiteY244" fmla="*/ 418225 h 479077"/>
                <a:gd name="connsiteX245" fmla="*/ 70514 w 3785642"/>
                <a:gd name="connsiteY245" fmla="*/ 405823 h 479077"/>
                <a:gd name="connsiteX246" fmla="*/ 83412 w 3785642"/>
                <a:gd name="connsiteY246" fmla="*/ 395406 h 479077"/>
                <a:gd name="connsiteX247" fmla="*/ 94822 w 3785642"/>
                <a:gd name="connsiteY247" fmla="*/ 383500 h 479077"/>
                <a:gd name="connsiteX248" fmla="*/ 106728 w 3785642"/>
                <a:gd name="connsiteY248" fmla="*/ 372090 h 479077"/>
                <a:gd name="connsiteX249" fmla="*/ 117145 w 3785642"/>
                <a:gd name="connsiteY249" fmla="*/ 359688 h 479077"/>
                <a:gd name="connsiteX250" fmla="*/ 128555 w 3785642"/>
                <a:gd name="connsiteY250" fmla="*/ 348278 h 479077"/>
                <a:gd name="connsiteX251" fmla="*/ 140461 w 3785642"/>
                <a:gd name="connsiteY251" fmla="*/ 336868 h 479077"/>
                <a:gd name="connsiteX252" fmla="*/ 152863 w 3785642"/>
                <a:gd name="connsiteY252" fmla="*/ 326451 h 479077"/>
                <a:gd name="connsiteX253" fmla="*/ 164769 w 3785642"/>
                <a:gd name="connsiteY253" fmla="*/ 315041 h 479077"/>
                <a:gd name="connsiteX254" fmla="*/ 176178 w 3785642"/>
                <a:gd name="connsiteY254" fmla="*/ 303135 h 479077"/>
                <a:gd name="connsiteX255" fmla="*/ 188084 w 3785642"/>
                <a:gd name="connsiteY255" fmla="*/ 291725 h 479077"/>
                <a:gd name="connsiteX256" fmla="*/ 199494 w 3785642"/>
                <a:gd name="connsiteY256" fmla="*/ 280315 h 479077"/>
                <a:gd name="connsiteX257" fmla="*/ 210904 w 3785642"/>
                <a:gd name="connsiteY257" fmla="*/ 268906 h 479077"/>
                <a:gd name="connsiteX258" fmla="*/ 221818 w 3785642"/>
                <a:gd name="connsiteY258" fmla="*/ 256504 h 479077"/>
                <a:gd name="connsiteX259" fmla="*/ 233724 w 3785642"/>
                <a:gd name="connsiteY259" fmla="*/ 245094 h 479077"/>
                <a:gd name="connsiteX260" fmla="*/ 244141 w 3785642"/>
                <a:gd name="connsiteY260" fmla="*/ 232692 h 479077"/>
                <a:gd name="connsiteX261" fmla="*/ 257039 w 3785642"/>
                <a:gd name="connsiteY261" fmla="*/ 222770 h 479077"/>
                <a:gd name="connsiteX262" fmla="*/ 266961 w 3785642"/>
                <a:gd name="connsiteY262" fmla="*/ 209376 h 479077"/>
                <a:gd name="connsiteX263" fmla="*/ 278371 w 3785642"/>
                <a:gd name="connsiteY263" fmla="*/ 197966 h 479077"/>
                <a:gd name="connsiteX264" fmla="*/ 291269 w 3785642"/>
                <a:gd name="connsiteY264" fmla="*/ 188045 h 479077"/>
                <a:gd name="connsiteX265" fmla="*/ 301686 w 3785642"/>
                <a:gd name="connsiteY265" fmla="*/ 175147 h 479077"/>
                <a:gd name="connsiteX266" fmla="*/ 313592 w 3785642"/>
                <a:gd name="connsiteY266" fmla="*/ 163737 h 479077"/>
                <a:gd name="connsiteX267" fmla="*/ 325994 w 3785642"/>
                <a:gd name="connsiteY267" fmla="*/ 153319 h 479077"/>
                <a:gd name="connsiteX268" fmla="*/ 337404 w 3785642"/>
                <a:gd name="connsiteY268" fmla="*/ 141910 h 479077"/>
                <a:gd name="connsiteX269" fmla="*/ 347325 w 3785642"/>
                <a:gd name="connsiteY269" fmla="*/ 129012 h 479077"/>
                <a:gd name="connsiteX270" fmla="*/ 360224 w 3785642"/>
                <a:gd name="connsiteY270" fmla="*/ 118594 h 479077"/>
                <a:gd name="connsiteX271" fmla="*/ 371137 w 3785642"/>
                <a:gd name="connsiteY271" fmla="*/ 106192 h 479077"/>
                <a:gd name="connsiteX272" fmla="*/ 382051 w 3785642"/>
                <a:gd name="connsiteY272" fmla="*/ 93790 h 479077"/>
                <a:gd name="connsiteX273" fmla="*/ 393957 w 3785642"/>
                <a:gd name="connsiteY273" fmla="*/ 82380 h 479077"/>
                <a:gd name="connsiteX274" fmla="*/ 405366 w 3785642"/>
                <a:gd name="connsiteY274" fmla="*/ 70475 h 479077"/>
                <a:gd name="connsiteX275" fmla="*/ 417272 w 3785642"/>
                <a:gd name="connsiteY275" fmla="*/ 59561 h 479077"/>
                <a:gd name="connsiteX276" fmla="*/ 429674 w 3785642"/>
                <a:gd name="connsiteY276" fmla="*/ 48647 h 479077"/>
                <a:gd name="connsiteX277" fmla="*/ 440092 w 3785642"/>
                <a:gd name="connsiteY277" fmla="*/ 35749 h 479077"/>
                <a:gd name="connsiteX278" fmla="*/ 452494 w 3785642"/>
                <a:gd name="connsiteY278" fmla="*/ 24835 h 479077"/>
                <a:gd name="connsiteX279" fmla="*/ 463904 w 3785642"/>
                <a:gd name="connsiteY279" fmla="*/ 12929 h 479077"/>
                <a:gd name="connsiteX280" fmla="*/ 475313 w 3785642"/>
                <a:gd name="connsiteY280" fmla="*/ 1024 h 479077"/>
                <a:gd name="connsiteX281" fmla="*/ 491684 w 3785642"/>
                <a:gd name="connsiteY281" fmla="*/ 2512 h 479077"/>
                <a:gd name="connsiteX282" fmla="*/ 508055 w 3785642"/>
                <a:gd name="connsiteY282" fmla="*/ 2512 h 479077"/>
                <a:gd name="connsiteX283" fmla="*/ 524425 w 3785642"/>
                <a:gd name="connsiteY283" fmla="*/ 2512 h 479077"/>
                <a:gd name="connsiteX284" fmla="*/ 540796 w 3785642"/>
                <a:gd name="connsiteY284" fmla="*/ 1024 h 479077"/>
                <a:gd name="connsiteX285" fmla="*/ 557166 w 3785642"/>
                <a:gd name="connsiteY285" fmla="*/ 2512 h 479077"/>
                <a:gd name="connsiteX286" fmla="*/ 573537 w 3785642"/>
                <a:gd name="connsiteY286" fmla="*/ 1024 h 479077"/>
                <a:gd name="connsiteX287" fmla="*/ 589908 w 3785642"/>
                <a:gd name="connsiteY287" fmla="*/ 527 h 479077"/>
                <a:gd name="connsiteX288" fmla="*/ 606278 w 3785642"/>
                <a:gd name="connsiteY288" fmla="*/ 1520 h 479077"/>
                <a:gd name="connsiteX289" fmla="*/ 622649 w 3785642"/>
                <a:gd name="connsiteY289" fmla="*/ 1520 h 479077"/>
                <a:gd name="connsiteX290" fmla="*/ 639019 w 3785642"/>
                <a:gd name="connsiteY290" fmla="*/ 2016 h 479077"/>
                <a:gd name="connsiteX291" fmla="*/ 655390 w 3785642"/>
                <a:gd name="connsiteY291" fmla="*/ 527 h 479077"/>
                <a:gd name="connsiteX292" fmla="*/ 671760 w 3785642"/>
                <a:gd name="connsiteY292" fmla="*/ 1520 h 479077"/>
                <a:gd name="connsiteX293" fmla="*/ 688131 w 3785642"/>
                <a:gd name="connsiteY293" fmla="*/ 2512 h 479077"/>
                <a:gd name="connsiteX294" fmla="*/ 704501 w 3785642"/>
                <a:gd name="connsiteY294" fmla="*/ 1024 h 479077"/>
                <a:gd name="connsiteX295" fmla="*/ 720872 w 3785642"/>
                <a:gd name="connsiteY295" fmla="*/ 1520 h 479077"/>
                <a:gd name="connsiteX296" fmla="*/ 737243 w 3785642"/>
                <a:gd name="connsiteY296" fmla="*/ 2016 h 479077"/>
                <a:gd name="connsiteX297" fmla="*/ 753613 w 3785642"/>
                <a:gd name="connsiteY297" fmla="*/ 1024 h 479077"/>
                <a:gd name="connsiteX298" fmla="*/ 769984 w 3785642"/>
                <a:gd name="connsiteY298" fmla="*/ 527 h 479077"/>
                <a:gd name="connsiteX299" fmla="*/ 786354 w 3785642"/>
                <a:gd name="connsiteY299" fmla="*/ 1520 h 479077"/>
                <a:gd name="connsiteX300" fmla="*/ 802725 w 3785642"/>
                <a:gd name="connsiteY300" fmla="*/ 527 h 479077"/>
                <a:gd name="connsiteX301" fmla="*/ 819096 w 3785642"/>
                <a:gd name="connsiteY301" fmla="*/ 2512 h 479077"/>
                <a:gd name="connsiteX302" fmla="*/ 835466 w 3785642"/>
                <a:gd name="connsiteY302" fmla="*/ 527 h 479077"/>
                <a:gd name="connsiteX303" fmla="*/ 851837 w 3785642"/>
                <a:gd name="connsiteY303" fmla="*/ 1520 h 479077"/>
                <a:gd name="connsiteX304" fmla="*/ 868207 w 3785642"/>
                <a:gd name="connsiteY304" fmla="*/ 2016 h 479077"/>
                <a:gd name="connsiteX305" fmla="*/ 884578 w 3785642"/>
                <a:gd name="connsiteY305" fmla="*/ 2512 h 479077"/>
                <a:gd name="connsiteX306" fmla="*/ 900948 w 3785642"/>
                <a:gd name="connsiteY306" fmla="*/ 1520 h 479077"/>
                <a:gd name="connsiteX307" fmla="*/ 917319 w 3785642"/>
                <a:gd name="connsiteY307" fmla="*/ 1024 h 479077"/>
                <a:gd name="connsiteX308" fmla="*/ 933689 w 3785642"/>
                <a:gd name="connsiteY308" fmla="*/ 2512 h 479077"/>
                <a:gd name="connsiteX309" fmla="*/ 950060 w 3785642"/>
                <a:gd name="connsiteY309" fmla="*/ 1520 h 479077"/>
                <a:gd name="connsiteX310" fmla="*/ 966431 w 3785642"/>
                <a:gd name="connsiteY310" fmla="*/ 2016 h 479077"/>
                <a:gd name="connsiteX311" fmla="*/ 982801 w 3785642"/>
                <a:gd name="connsiteY311" fmla="*/ 2512 h 479077"/>
                <a:gd name="connsiteX312" fmla="*/ 999172 w 3785642"/>
                <a:gd name="connsiteY312" fmla="*/ 1520 h 479077"/>
                <a:gd name="connsiteX313" fmla="*/ 1015542 w 3785642"/>
                <a:gd name="connsiteY313" fmla="*/ 2512 h 479077"/>
                <a:gd name="connsiteX314" fmla="*/ 1031913 w 3785642"/>
                <a:gd name="connsiteY314" fmla="*/ 1520 h 479077"/>
                <a:gd name="connsiteX315" fmla="*/ 1048283 w 3785642"/>
                <a:gd name="connsiteY315" fmla="*/ 2016 h 479077"/>
                <a:gd name="connsiteX316" fmla="*/ 1064654 w 3785642"/>
                <a:gd name="connsiteY316" fmla="*/ 3504 h 479077"/>
                <a:gd name="connsiteX317" fmla="*/ 1081025 w 3785642"/>
                <a:gd name="connsiteY317" fmla="*/ 2016 h 479077"/>
                <a:gd name="connsiteX318" fmla="*/ 1097395 w 3785642"/>
                <a:gd name="connsiteY318" fmla="*/ 2512 h 479077"/>
                <a:gd name="connsiteX319" fmla="*/ 1113766 w 3785642"/>
                <a:gd name="connsiteY319" fmla="*/ 2512 h 479077"/>
                <a:gd name="connsiteX320" fmla="*/ 1130136 w 3785642"/>
                <a:gd name="connsiteY320" fmla="*/ 3504 h 479077"/>
                <a:gd name="connsiteX321" fmla="*/ 1146507 w 3785642"/>
                <a:gd name="connsiteY321" fmla="*/ 1520 h 479077"/>
                <a:gd name="connsiteX322" fmla="*/ 1162878 w 3785642"/>
                <a:gd name="connsiteY322" fmla="*/ 3008 h 479077"/>
                <a:gd name="connsiteX323" fmla="*/ 1179248 w 3785642"/>
                <a:gd name="connsiteY323" fmla="*/ 4000 h 479077"/>
                <a:gd name="connsiteX324" fmla="*/ 1195619 w 3785642"/>
                <a:gd name="connsiteY324" fmla="*/ 3504 h 479077"/>
                <a:gd name="connsiteX325" fmla="*/ 1211989 w 3785642"/>
                <a:gd name="connsiteY325" fmla="*/ 1520 h 479077"/>
                <a:gd name="connsiteX326" fmla="*/ 1228360 w 3785642"/>
                <a:gd name="connsiteY326" fmla="*/ 3504 h 479077"/>
                <a:gd name="connsiteX327" fmla="*/ 1244730 w 3785642"/>
                <a:gd name="connsiteY327" fmla="*/ 1520 h 479077"/>
                <a:gd name="connsiteX328" fmla="*/ 1261101 w 3785642"/>
                <a:gd name="connsiteY328" fmla="*/ 2512 h 479077"/>
                <a:gd name="connsiteX329" fmla="*/ 1277471 w 3785642"/>
                <a:gd name="connsiteY329" fmla="*/ 3504 h 479077"/>
                <a:gd name="connsiteX330" fmla="*/ 1293842 w 3785642"/>
                <a:gd name="connsiteY330" fmla="*/ 4000 h 479077"/>
                <a:gd name="connsiteX331" fmla="*/ 1310213 w 3785642"/>
                <a:gd name="connsiteY331" fmla="*/ 1520 h 479077"/>
                <a:gd name="connsiteX332" fmla="*/ 1326583 w 3785642"/>
                <a:gd name="connsiteY332" fmla="*/ 2016 h 479077"/>
                <a:gd name="connsiteX333" fmla="*/ 1342954 w 3785642"/>
                <a:gd name="connsiteY333" fmla="*/ 3008 h 479077"/>
                <a:gd name="connsiteX334" fmla="*/ 1359324 w 3785642"/>
                <a:gd name="connsiteY334" fmla="*/ 3008 h 479077"/>
                <a:gd name="connsiteX335" fmla="*/ 1375695 w 3785642"/>
                <a:gd name="connsiteY335" fmla="*/ 2512 h 479077"/>
                <a:gd name="connsiteX336" fmla="*/ 1392066 w 3785642"/>
                <a:gd name="connsiteY336" fmla="*/ 2512 h 479077"/>
                <a:gd name="connsiteX337" fmla="*/ 1408436 w 3785642"/>
                <a:gd name="connsiteY337" fmla="*/ 3504 h 479077"/>
                <a:gd name="connsiteX338" fmla="*/ 1424807 w 3785642"/>
                <a:gd name="connsiteY338" fmla="*/ 3504 h 479077"/>
                <a:gd name="connsiteX339" fmla="*/ 1441177 w 3785642"/>
                <a:gd name="connsiteY339" fmla="*/ 1520 h 479077"/>
                <a:gd name="connsiteX340" fmla="*/ 1457548 w 3785642"/>
                <a:gd name="connsiteY340" fmla="*/ 2512 h 479077"/>
                <a:gd name="connsiteX341" fmla="*/ 1473919 w 3785642"/>
                <a:gd name="connsiteY341" fmla="*/ 2016 h 479077"/>
                <a:gd name="connsiteX342" fmla="*/ 1490289 w 3785642"/>
                <a:gd name="connsiteY342" fmla="*/ 2016 h 479077"/>
                <a:gd name="connsiteX343" fmla="*/ 1506660 w 3785642"/>
                <a:gd name="connsiteY343" fmla="*/ 1520 h 479077"/>
                <a:gd name="connsiteX344" fmla="*/ 1523030 w 3785642"/>
                <a:gd name="connsiteY344" fmla="*/ 3504 h 479077"/>
                <a:gd name="connsiteX345" fmla="*/ 1539401 w 3785642"/>
                <a:gd name="connsiteY345" fmla="*/ 3008 h 479077"/>
                <a:gd name="connsiteX346" fmla="*/ 1555771 w 3785642"/>
                <a:gd name="connsiteY346" fmla="*/ 3008 h 479077"/>
                <a:gd name="connsiteX347" fmla="*/ 1572142 w 3785642"/>
                <a:gd name="connsiteY347" fmla="*/ 2512 h 479077"/>
                <a:gd name="connsiteX348" fmla="*/ 1588512 w 3785642"/>
                <a:gd name="connsiteY348" fmla="*/ 2016 h 479077"/>
                <a:gd name="connsiteX349" fmla="*/ 1604883 w 3785642"/>
                <a:gd name="connsiteY349" fmla="*/ 3008 h 479077"/>
                <a:gd name="connsiteX350" fmla="*/ 1621253 w 3785642"/>
                <a:gd name="connsiteY350" fmla="*/ 3008 h 479077"/>
                <a:gd name="connsiteX351" fmla="*/ 1637624 w 3785642"/>
                <a:gd name="connsiteY35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82330 w 3785642"/>
                <a:gd name="connsiteY23" fmla="*/ 56584 h 479077"/>
                <a:gd name="connsiteX24" fmla="*/ 3313375 w 3785642"/>
                <a:gd name="connsiteY24" fmla="*/ 10945 h 479077"/>
                <a:gd name="connsiteX25" fmla="*/ 3300973 w 3785642"/>
                <a:gd name="connsiteY25" fmla="*/ 21363 h 479077"/>
                <a:gd name="connsiteX26" fmla="*/ 3289068 w 3785642"/>
                <a:gd name="connsiteY26" fmla="*/ 32276 h 479077"/>
                <a:gd name="connsiteX27" fmla="*/ 3277658 w 3785642"/>
                <a:gd name="connsiteY27" fmla="*/ 43686 h 479077"/>
                <a:gd name="connsiteX28" fmla="*/ 3266248 w 3785642"/>
                <a:gd name="connsiteY28" fmla="*/ 55592 h 479077"/>
                <a:gd name="connsiteX29" fmla="*/ 3255830 w 3785642"/>
                <a:gd name="connsiteY29" fmla="*/ 68490 h 479077"/>
                <a:gd name="connsiteX30" fmla="*/ 3243924 w 3785642"/>
                <a:gd name="connsiteY30" fmla="*/ 79900 h 479077"/>
                <a:gd name="connsiteX31" fmla="*/ 3231522 w 3785642"/>
                <a:gd name="connsiteY31" fmla="*/ 90814 h 479077"/>
                <a:gd name="connsiteX32" fmla="*/ 3220609 w 3785642"/>
                <a:gd name="connsiteY32" fmla="*/ 102720 h 479077"/>
                <a:gd name="connsiteX33" fmla="*/ 3208207 w 3785642"/>
                <a:gd name="connsiteY33" fmla="*/ 113137 h 479077"/>
                <a:gd name="connsiteX34" fmla="*/ 3197293 w 3785642"/>
                <a:gd name="connsiteY34" fmla="*/ 125043 h 479077"/>
                <a:gd name="connsiteX35" fmla="*/ 3185387 w 3785642"/>
                <a:gd name="connsiteY35" fmla="*/ 136453 h 479077"/>
                <a:gd name="connsiteX36" fmla="*/ 3174970 w 3785642"/>
                <a:gd name="connsiteY36" fmla="*/ 148855 h 479077"/>
                <a:gd name="connsiteX37" fmla="*/ 3162071 w 3785642"/>
                <a:gd name="connsiteY37" fmla="*/ 159272 h 479077"/>
                <a:gd name="connsiteX38" fmla="*/ 3151158 w 3785642"/>
                <a:gd name="connsiteY38" fmla="*/ 171674 h 479077"/>
                <a:gd name="connsiteX39" fmla="*/ 3139252 w 3785642"/>
                <a:gd name="connsiteY39" fmla="*/ 182588 h 479077"/>
                <a:gd name="connsiteX40" fmla="*/ 3127843 w 3785642"/>
                <a:gd name="connsiteY40" fmla="*/ 194494 h 479077"/>
                <a:gd name="connsiteX41" fmla="*/ 3116432 w 3785642"/>
                <a:gd name="connsiteY41" fmla="*/ 205904 h 479077"/>
                <a:gd name="connsiteX42" fmla="*/ 3105022 w 3785642"/>
                <a:gd name="connsiteY42" fmla="*/ 217810 h 479077"/>
                <a:gd name="connsiteX43" fmla="*/ 3093117 w 3785642"/>
                <a:gd name="connsiteY43" fmla="*/ 229219 h 479077"/>
                <a:gd name="connsiteX44" fmla="*/ 3081707 w 3785642"/>
                <a:gd name="connsiteY44" fmla="*/ 240629 h 479077"/>
                <a:gd name="connsiteX45" fmla="*/ 3069305 w 3785642"/>
                <a:gd name="connsiteY45" fmla="*/ 251543 h 479077"/>
                <a:gd name="connsiteX46" fmla="*/ 3057895 w 3785642"/>
                <a:gd name="connsiteY46" fmla="*/ 263449 h 479077"/>
                <a:gd name="connsiteX47" fmla="*/ 3046486 w 3785642"/>
                <a:gd name="connsiteY47" fmla="*/ 275355 h 479077"/>
                <a:gd name="connsiteX48" fmla="*/ 3035572 w 3785642"/>
                <a:gd name="connsiteY48" fmla="*/ 287260 h 479077"/>
                <a:gd name="connsiteX49" fmla="*/ 3024658 w 3785642"/>
                <a:gd name="connsiteY49" fmla="*/ 299166 h 479077"/>
                <a:gd name="connsiteX50" fmla="*/ 3013248 w 3785642"/>
                <a:gd name="connsiteY50" fmla="*/ 311072 h 479077"/>
                <a:gd name="connsiteX51" fmla="*/ 3000350 w 3785642"/>
                <a:gd name="connsiteY51" fmla="*/ 321490 h 479077"/>
                <a:gd name="connsiteX52" fmla="*/ 2988941 w 3785642"/>
                <a:gd name="connsiteY52" fmla="*/ 333396 h 479077"/>
                <a:gd name="connsiteX53" fmla="*/ 2976539 w 3785642"/>
                <a:gd name="connsiteY53" fmla="*/ 344309 h 479077"/>
                <a:gd name="connsiteX54" fmla="*/ 2965129 w 3785642"/>
                <a:gd name="connsiteY54" fmla="*/ 356215 h 479077"/>
                <a:gd name="connsiteX55" fmla="*/ 2953223 w 3785642"/>
                <a:gd name="connsiteY55" fmla="*/ 367625 h 479077"/>
                <a:gd name="connsiteX56" fmla="*/ 2941813 w 3785642"/>
                <a:gd name="connsiteY56" fmla="*/ 379531 h 479077"/>
                <a:gd name="connsiteX57" fmla="*/ 2931395 w 3785642"/>
                <a:gd name="connsiteY57" fmla="*/ 392429 h 479077"/>
                <a:gd name="connsiteX58" fmla="*/ 2918497 w 3785642"/>
                <a:gd name="connsiteY58" fmla="*/ 402847 h 479077"/>
                <a:gd name="connsiteX59" fmla="*/ 2907584 w 3785642"/>
                <a:gd name="connsiteY59" fmla="*/ 415249 h 479077"/>
                <a:gd name="connsiteX60" fmla="*/ 2896174 w 3785642"/>
                <a:gd name="connsiteY60" fmla="*/ 426658 h 479077"/>
                <a:gd name="connsiteX61" fmla="*/ 2884268 w 3785642"/>
                <a:gd name="connsiteY61" fmla="*/ 438068 h 479077"/>
                <a:gd name="connsiteX62" fmla="*/ 2873354 w 3785642"/>
                <a:gd name="connsiteY62" fmla="*/ 450470 h 479077"/>
                <a:gd name="connsiteX63" fmla="*/ 2860952 w 3785642"/>
                <a:gd name="connsiteY63" fmla="*/ 461384 h 479077"/>
                <a:gd name="connsiteX64" fmla="*/ 2850039 w 3785642"/>
                <a:gd name="connsiteY64" fmla="*/ 473786 h 479077"/>
                <a:gd name="connsiteX65" fmla="*/ 2833668 w 3785642"/>
                <a:gd name="connsiteY65" fmla="*/ 473786 h 479077"/>
                <a:gd name="connsiteX66" fmla="*/ 2817297 w 3785642"/>
                <a:gd name="connsiteY66" fmla="*/ 473290 h 479077"/>
                <a:gd name="connsiteX67" fmla="*/ 2800927 w 3785642"/>
                <a:gd name="connsiteY67" fmla="*/ 473290 h 479077"/>
                <a:gd name="connsiteX68" fmla="*/ 2784556 w 3785642"/>
                <a:gd name="connsiteY68" fmla="*/ 473786 h 479077"/>
                <a:gd name="connsiteX69" fmla="*/ 2768186 w 3785642"/>
                <a:gd name="connsiteY69" fmla="*/ 474282 h 479077"/>
                <a:gd name="connsiteX70" fmla="*/ 2751815 w 3785642"/>
                <a:gd name="connsiteY70" fmla="*/ 474282 h 479077"/>
                <a:gd name="connsiteX71" fmla="*/ 2735444 w 3785642"/>
                <a:gd name="connsiteY71" fmla="*/ 473290 h 479077"/>
                <a:gd name="connsiteX72" fmla="*/ 2719074 w 3785642"/>
                <a:gd name="connsiteY72" fmla="*/ 474282 h 479077"/>
                <a:gd name="connsiteX73" fmla="*/ 2702703 w 3785642"/>
                <a:gd name="connsiteY73" fmla="*/ 472298 h 479077"/>
                <a:gd name="connsiteX74" fmla="*/ 2686333 w 3785642"/>
                <a:gd name="connsiteY74" fmla="*/ 472794 h 479077"/>
                <a:gd name="connsiteX75" fmla="*/ 2669962 w 3785642"/>
                <a:gd name="connsiteY75" fmla="*/ 474282 h 479077"/>
                <a:gd name="connsiteX76" fmla="*/ 2653592 w 3785642"/>
                <a:gd name="connsiteY76" fmla="*/ 472298 h 479077"/>
                <a:gd name="connsiteX77" fmla="*/ 2637221 w 3785642"/>
                <a:gd name="connsiteY77" fmla="*/ 474282 h 479077"/>
                <a:gd name="connsiteX78" fmla="*/ 2620851 w 3785642"/>
                <a:gd name="connsiteY78" fmla="*/ 474282 h 479077"/>
                <a:gd name="connsiteX79" fmla="*/ 2604480 w 3785642"/>
                <a:gd name="connsiteY79" fmla="*/ 472298 h 479077"/>
                <a:gd name="connsiteX80" fmla="*/ 2588109 w 3785642"/>
                <a:gd name="connsiteY80" fmla="*/ 473786 h 479077"/>
                <a:gd name="connsiteX81" fmla="*/ 2571739 w 3785642"/>
                <a:gd name="connsiteY81" fmla="*/ 472298 h 479077"/>
                <a:gd name="connsiteX82" fmla="*/ 2555368 w 3785642"/>
                <a:gd name="connsiteY82" fmla="*/ 473290 h 479077"/>
                <a:gd name="connsiteX83" fmla="*/ 2538998 w 3785642"/>
                <a:gd name="connsiteY83" fmla="*/ 474282 h 479077"/>
                <a:gd name="connsiteX84" fmla="*/ 2522627 w 3785642"/>
                <a:gd name="connsiteY84" fmla="*/ 473290 h 479077"/>
                <a:gd name="connsiteX85" fmla="*/ 2506257 w 3785642"/>
                <a:gd name="connsiteY85" fmla="*/ 474282 h 479077"/>
                <a:gd name="connsiteX86" fmla="*/ 2489886 w 3785642"/>
                <a:gd name="connsiteY86" fmla="*/ 473786 h 479077"/>
                <a:gd name="connsiteX87" fmla="*/ 2473516 w 3785642"/>
                <a:gd name="connsiteY87" fmla="*/ 474282 h 479077"/>
                <a:gd name="connsiteX88" fmla="*/ 2457145 w 3785642"/>
                <a:gd name="connsiteY88" fmla="*/ 472794 h 479077"/>
                <a:gd name="connsiteX89" fmla="*/ 2440775 w 3785642"/>
                <a:gd name="connsiteY89" fmla="*/ 472298 h 479077"/>
                <a:gd name="connsiteX90" fmla="*/ 2424404 w 3785642"/>
                <a:gd name="connsiteY90" fmla="*/ 473786 h 479077"/>
                <a:gd name="connsiteX91" fmla="*/ 2408033 w 3785642"/>
                <a:gd name="connsiteY91" fmla="*/ 472794 h 479077"/>
                <a:gd name="connsiteX92" fmla="*/ 2391663 w 3785642"/>
                <a:gd name="connsiteY92" fmla="*/ 473290 h 479077"/>
                <a:gd name="connsiteX93" fmla="*/ 2375292 w 3785642"/>
                <a:gd name="connsiteY93" fmla="*/ 473290 h 479077"/>
                <a:gd name="connsiteX94" fmla="*/ 2358922 w 3785642"/>
                <a:gd name="connsiteY94" fmla="*/ 472794 h 479077"/>
                <a:gd name="connsiteX95" fmla="*/ 2342551 w 3785642"/>
                <a:gd name="connsiteY95" fmla="*/ 472298 h 479077"/>
                <a:gd name="connsiteX96" fmla="*/ 2326180 w 3785642"/>
                <a:gd name="connsiteY96" fmla="*/ 473786 h 479077"/>
                <a:gd name="connsiteX97" fmla="*/ 2309810 w 3785642"/>
                <a:gd name="connsiteY97" fmla="*/ 473786 h 479077"/>
                <a:gd name="connsiteX98" fmla="*/ 2293439 w 3785642"/>
                <a:gd name="connsiteY98" fmla="*/ 473786 h 479077"/>
                <a:gd name="connsiteX99" fmla="*/ 2277069 w 3785642"/>
                <a:gd name="connsiteY99" fmla="*/ 472794 h 479077"/>
                <a:gd name="connsiteX100" fmla="*/ 2260698 w 3785642"/>
                <a:gd name="connsiteY100" fmla="*/ 474282 h 479077"/>
                <a:gd name="connsiteX101" fmla="*/ 2244327 w 3785642"/>
                <a:gd name="connsiteY101" fmla="*/ 472298 h 479077"/>
                <a:gd name="connsiteX102" fmla="*/ 2227957 w 3785642"/>
                <a:gd name="connsiteY102" fmla="*/ 474282 h 479077"/>
                <a:gd name="connsiteX103" fmla="*/ 2211586 w 3785642"/>
                <a:gd name="connsiteY103" fmla="*/ 473290 h 479077"/>
                <a:gd name="connsiteX104" fmla="*/ 2195216 w 3785642"/>
                <a:gd name="connsiteY104" fmla="*/ 474282 h 479077"/>
                <a:gd name="connsiteX105" fmla="*/ 2178845 w 3785642"/>
                <a:gd name="connsiteY105" fmla="*/ 472794 h 479077"/>
                <a:gd name="connsiteX106" fmla="*/ 2162474 w 3785642"/>
                <a:gd name="connsiteY106" fmla="*/ 474778 h 479077"/>
                <a:gd name="connsiteX107" fmla="*/ 2146104 w 3785642"/>
                <a:gd name="connsiteY107" fmla="*/ 473290 h 479077"/>
                <a:gd name="connsiteX108" fmla="*/ 2129733 w 3785642"/>
                <a:gd name="connsiteY108" fmla="*/ 474778 h 479077"/>
                <a:gd name="connsiteX109" fmla="*/ 2113363 w 3785642"/>
                <a:gd name="connsiteY109" fmla="*/ 474778 h 479077"/>
                <a:gd name="connsiteX110" fmla="*/ 2096992 w 3785642"/>
                <a:gd name="connsiteY110" fmla="*/ 474778 h 479077"/>
                <a:gd name="connsiteX111" fmla="*/ 2080621 w 3785642"/>
                <a:gd name="connsiteY111" fmla="*/ 474282 h 479077"/>
                <a:gd name="connsiteX112" fmla="*/ 2064251 w 3785642"/>
                <a:gd name="connsiteY112" fmla="*/ 472794 h 479077"/>
                <a:gd name="connsiteX113" fmla="*/ 2047880 w 3785642"/>
                <a:gd name="connsiteY113" fmla="*/ 474778 h 479077"/>
                <a:gd name="connsiteX114" fmla="*/ 2031510 w 3785642"/>
                <a:gd name="connsiteY114" fmla="*/ 474778 h 479077"/>
                <a:gd name="connsiteX115" fmla="*/ 2015139 w 3785642"/>
                <a:gd name="connsiteY115" fmla="*/ 474778 h 479077"/>
                <a:gd name="connsiteX116" fmla="*/ 1998769 w 3785642"/>
                <a:gd name="connsiteY116" fmla="*/ 474282 h 479077"/>
                <a:gd name="connsiteX117" fmla="*/ 1982398 w 3785642"/>
                <a:gd name="connsiteY117" fmla="*/ 473786 h 479077"/>
                <a:gd name="connsiteX118" fmla="*/ 1966028 w 3785642"/>
                <a:gd name="connsiteY118" fmla="*/ 473786 h 479077"/>
                <a:gd name="connsiteX119" fmla="*/ 1949657 w 3785642"/>
                <a:gd name="connsiteY119" fmla="*/ 472794 h 479077"/>
                <a:gd name="connsiteX120" fmla="*/ 1933287 w 3785642"/>
                <a:gd name="connsiteY120" fmla="*/ 473290 h 479077"/>
                <a:gd name="connsiteX121" fmla="*/ 1916916 w 3785642"/>
                <a:gd name="connsiteY121" fmla="*/ 474778 h 479077"/>
                <a:gd name="connsiteX122" fmla="*/ 1900546 w 3785642"/>
                <a:gd name="connsiteY122" fmla="*/ 472794 h 479077"/>
                <a:gd name="connsiteX123" fmla="*/ 1884175 w 3785642"/>
                <a:gd name="connsiteY123" fmla="*/ 473786 h 479077"/>
                <a:gd name="connsiteX124" fmla="*/ 1867804 w 3785642"/>
                <a:gd name="connsiteY124" fmla="*/ 474778 h 479077"/>
                <a:gd name="connsiteX125" fmla="*/ 1851434 w 3785642"/>
                <a:gd name="connsiteY125" fmla="*/ 474778 h 479077"/>
                <a:gd name="connsiteX126" fmla="*/ 1835063 w 3785642"/>
                <a:gd name="connsiteY126" fmla="*/ 474778 h 479077"/>
                <a:gd name="connsiteX127" fmla="*/ 1818693 w 3785642"/>
                <a:gd name="connsiteY127" fmla="*/ 474282 h 479077"/>
                <a:gd name="connsiteX128" fmla="*/ 1802322 w 3785642"/>
                <a:gd name="connsiteY128" fmla="*/ 472794 h 479077"/>
                <a:gd name="connsiteX129" fmla="*/ 1785951 w 3785642"/>
                <a:gd name="connsiteY129" fmla="*/ 473786 h 479077"/>
                <a:gd name="connsiteX130" fmla="*/ 1769581 w 3785642"/>
                <a:gd name="connsiteY130" fmla="*/ 473290 h 479077"/>
                <a:gd name="connsiteX131" fmla="*/ 1753210 w 3785642"/>
                <a:gd name="connsiteY131" fmla="*/ 472298 h 479077"/>
                <a:gd name="connsiteX132" fmla="*/ 1736840 w 3785642"/>
                <a:gd name="connsiteY132" fmla="*/ 473290 h 479077"/>
                <a:gd name="connsiteX133" fmla="*/ 1720469 w 3785642"/>
                <a:gd name="connsiteY133" fmla="*/ 474778 h 479077"/>
                <a:gd name="connsiteX134" fmla="*/ 1704098 w 3785642"/>
                <a:gd name="connsiteY134" fmla="*/ 472794 h 479077"/>
                <a:gd name="connsiteX135" fmla="*/ 1687728 w 3785642"/>
                <a:gd name="connsiteY135" fmla="*/ 474778 h 479077"/>
                <a:gd name="connsiteX136" fmla="*/ 1671357 w 3785642"/>
                <a:gd name="connsiteY136" fmla="*/ 474778 h 479077"/>
                <a:gd name="connsiteX137" fmla="*/ 1654987 w 3785642"/>
                <a:gd name="connsiteY137" fmla="*/ 472298 h 479077"/>
                <a:gd name="connsiteX138" fmla="*/ 1638616 w 3785642"/>
                <a:gd name="connsiteY138" fmla="*/ 472794 h 479077"/>
                <a:gd name="connsiteX139" fmla="*/ 1622246 w 3785642"/>
                <a:gd name="connsiteY139" fmla="*/ 473786 h 479077"/>
                <a:gd name="connsiteX140" fmla="*/ 1605875 w 3785642"/>
                <a:gd name="connsiteY140" fmla="*/ 474778 h 479077"/>
                <a:gd name="connsiteX141" fmla="*/ 1589505 w 3785642"/>
                <a:gd name="connsiteY141" fmla="*/ 473290 h 479077"/>
                <a:gd name="connsiteX142" fmla="*/ 1573134 w 3785642"/>
                <a:gd name="connsiteY142" fmla="*/ 474778 h 479077"/>
                <a:gd name="connsiteX143" fmla="*/ 1556763 w 3785642"/>
                <a:gd name="connsiteY143" fmla="*/ 472794 h 479077"/>
                <a:gd name="connsiteX144" fmla="*/ 1540393 w 3785642"/>
                <a:gd name="connsiteY144" fmla="*/ 472794 h 479077"/>
                <a:gd name="connsiteX145" fmla="*/ 1524022 w 3785642"/>
                <a:gd name="connsiteY145" fmla="*/ 474282 h 479077"/>
                <a:gd name="connsiteX146" fmla="*/ 1507652 w 3785642"/>
                <a:gd name="connsiteY146" fmla="*/ 472794 h 479077"/>
                <a:gd name="connsiteX147" fmla="*/ 1491281 w 3785642"/>
                <a:gd name="connsiteY147" fmla="*/ 474282 h 479077"/>
                <a:gd name="connsiteX148" fmla="*/ 1474910 w 3785642"/>
                <a:gd name="connsiteY148" fmla="*/ 474282 h 479077"/>
                <a:gd name="connsiteX149" fmla="*/ 1458540 w 3785642"/>
                <a:gd name="connsiteY149" fmla="*/ 472794 h 479077"/>
                <a:gd name="connsiteX150" fmla="*/ 1442169 w 3785642"/>
                <a:gd name="connsiteY150" fmla="*/ 471802 h 479077"/>
                <a:gd name="connsiteX151" fmla="*/ 1425799 w 3785642"/>
                <a:gd name="connsiteY151" fmla="*/ 472298 h 479077"/>
                <a:gd name="connsiteX152" fmla="*/ 1409428 w 3785642"/>
                <a:gd name="connsiteY152" fmla="*/ 472794 h 479077"/>
                <a:gd name="connsiteX153" fmla="*/ 1393058 w 3785642"/>
                <a:gd name="connsiteY153" fmla="*/ 473786 h 479077"/>
                <a:gd name="connsiteX154" fmla="*/ 1376687 w 3785642"/>
                <a:gd name="connsiteY154" fmla="*/ 471802 h 479077"/>
                <a:gd name="connsiteX155" fmla="*/ 1360317 w 3785642"/>
                <a:gd name="connsiteY155" fmla="*/ 473786 h 479077"/>
                <a:gd name="connsiteX156" fmla="*/ 1343946 w 3785642"/>
                <a:gd name="connsiteY156" fmla="*/ 473786 h 479077"/>
                <a:gd name="connsiteX157" fmla="*/ 1327576 w 3785642"/>
                <a:gd name="connsiteY157" fmla="*/ 472794 h 479077"/>
                <a:gd name="connsiteX158" fmla="*/ 1311205 w 3785642"/>
                <a:gd name="connsiteY158" fmla="*/ 473786 h 479077"/>
                <a:gd name="connsiteX159" fmla="*/ 1294834 w 3785642"/>
                <a:gd name="connsiteY159" fmla="*/ 473786 h 479077"/>
                <a:gd name="connsiteX160" fmla="*/ 1278464 w 3785642"/>
                <a:gd name="connsiteY160" fmla="*/ 473786 h 479077"/>
                <a:gd name="connsiteX161" fmla="*/ 1262093 w 3785642"/>
                <a:gd name="connsiteY161" fmla="*/ 473786 h 479077"/>
                <a:gd name="connsiteX162" fmla="*/ 1245723 w 3785642"/>
                <a:gd name="connsiteY162" fmla="*/ 473290 h 479077"/>
                <a:gd name="connsiteX163" fmla="*/ 1229352 w 3785642"/>
                <a:gd name="connsiteY163" fmla="*/ 472794 h 479077"/>
                <a:gd name="connsiteX164" fmla="*/ 1212981 w 3785642"/>
                <a:gd name="connsiteY164" fmla="*/ 473786 h 479077"/>
                <a:gd name="connsiteX165" fmla="*/ 1196611 w 3785642"/>
                <a:gd name="connsiteY165" fmla="*/ 472298 h 479077"/>
                <a:gd name="connsiteX166" fmla="*/ 1180240 w 3785642"/>
                <a:gd name="connsiteY166" fmla="*/ 472794 h 479077"/>
                <a:gd name="connsiteX167" fmla="*/ 1163870 w 3785642"/>
                <a:gd name="connsiteY167" fmla="*/ 472794 h 479077"/>
                <a:gd name="connsiteX168" fmla="*/ 1147499 w 3785642"/>
                <a:gd name="connsiteY168" fmla="*/ 473786 h 479077"/>
                <a:gd name="connsiteX169" fmla="*/ 1131128 w 3785642"/>
                <a:gd name="connsiteY169" fmla="*/ 473786 h 479077"/>
                <a:gd name="connsiteX170" fmla="*/ 1114758 w 3785642"/>
                <a:gd name="connsiteY170" fmla="*/ 472794 h 479077"/>
                <a:gd name="connsiteX171" fmla="*/ 1098387 w 3785642"/>
                <a:gd name="connsiteY171" fmla="*/ 473786 h 479077"/>
                <a:gd name="connsiteX172" fmla="*/ 1082017 w 3785642"/>
                <a:gd name="connsiteY172" fmla="*/ 474778 h 479077"/>
                <a:gd name="connsiteX173" fmla="*/ 1065646 w 3785642"/>
                <a:gd name="connsiteY173" fmla="*/ 474778 h 479077"/>
                <a:gd name="connsiteX174" fmla="*/ 1049276 w 3785642"/>
                <a:gd name="connsiteY174" fmla="*/ 474282 h 479077"/>
                <a:gd name="connsiteX175" fmla="*/ 1032905 w 3785642"/>
                <a:gd name="connsiteY175" fmla="*/ 473290 h 479077"/>
                <a:gd name="connsiteX176" fmla="*/ 1016535 w 3785642"/>
                <a:gd name="connsiteY176" fmla="*/ 474282 h 479077"/>
                <a:gd name="connsiteX177" fmla="*/ 1000164 w 3785642"/>
                <a:gd name="connsiteY177" fmla="*/ 474282 h 479077"/>
                <a:gd name="connsiteX178" fmla="*/ 983793 w 3785642"/>
                <a:gd name="connsiteY178" fmla="*/ 472794 h 479077"/>
                <a:gd name="connsiteX179" fmla="*/ 967423 w 3785642"/>
                <a:gd name="connsiteY179" fmla="*/ 472794 h 479077"/>
                <a:gd name="connsiteX180" fmla="*/ 951052 w 3785642"/>
                <a:gd name="connsiteY180" fmla="*/ 473786 h 479077"/>
                <a:gd name="connsiteX181" fmla="*/ 934682 w 3785642"/>
                <a:gd name="connsiteY181" fmla="*/ 474282 h 479077"/>
                <a:gd name="connsiteX182" fmla="*/ 918311 w 3785642"/>
                <a:gd name="connsiteY182" fmla="*/ 474778 h 479077"/>
                <a:gd name="connsiteX183" fmla="*/ 901940 w 3785642"/>
                <a:gd name="connsiteY183" fmla="*/ 473290 h 479077"/>
                <a:gd name="connsiteX184" fmla="*/ 885570 w 3785642"/>
                <a:gd name="connsiteY184" fmla="*/ 474778 h 479077"/>
                <a:gd name="connsiteX185" fmla="*/ 869199 w 3785642"/>
                <a:gd name="connsiteY185" fmla="*/ 474282 h 479077"/>
                <a:gd name="connsiteX186" fmla="*/ 852829 w 3785642"/>
                <a:gd name="connsiteY186" fmla="*/ 473786 h 479077"/>
                <a:gd name="connsiteX187" fmla="*/ 836458 w 3785642"/>
                <a:gd name="connsiteY187" fmla="*/ 474778 h 479077"/>
                <a:gd name="connsiteX188" fmla="*/ 820088 w 3785642"/>
                <a:gd name="connsiteY188" fmla="*/ 475274 h 479077"/>
                <a:gd name="connsiteX189" fmla="*/ 803717 w 3785642"/>
                <a:gd name="connsiteY189" fmla="*/ 473786 h 479077"/>
                <a:gd name="connsiteX190" fmla="*/ 787347 w 3785642"/>
                <a:gd name="connsiteY190" fmla="*/ 475770 h 479077"/>
                <a:gd name="connsiteX191" fmla="*/ 770976 w 3785642"/>
                <a:gd name="connsiteY191" fmla="*/ 474778 h 479077"/>
                <a:gd name="connsiteX192" fmla="*/ 754605 w 3785642"/>
                <a:gd name="connsiteY192" fmla="*/ 475274 h 479077"/>
                <a:gd name="connsiteX193" fmla="*/ 738235 w 3785642"/>
                <a:gd name="connsiteY193" fmla="*/ 473786 h 479077"/>
                <a:gd name="connsiteX194" fmla="*/ 721864 w 3785642"/>
                <a:gd name="connsiteY194" fmla="*/ 475274 h 479077"/>
                <a:gd name="connsiteX195" fmla="*/ 705494 w 3785642"/>
                <a:gd name="connsiteY195" fmla="*/ 475770 h 479077"/>
                <a:gd name="connsiteX196" fmla="*/ 689123 w 3785642"/>
                <a:gd name="connsiteY196" fmla="*/ 474282 h 479077"/>
                <a:gd name="connsiteX197" fmla="*/ 672753 w 3785642"/>
                <a:gd name="connsiteY197" fmla="*/ 475274 h 479077"/>
                <a:gd name="connsiteX198" fmla="*/ 656382 w 3785642"/>
                <a:gd name="connsiteY198" fmla="*/ 474778 h 479077"/>
                <a:gd name="connsiteX199" fmla="*/ 640011 w 3785642"/>
                <a:gd name="connsiteY199" fmla="*/ 475770 h 479077"/>
                <a:gd name="connsiteX200" fmla="*/ 623641 w 3785642"/>
                <a:gd name="connsiteY200" fmla="*/ 473786 h 479077"/>
                <a:gd name="connsiteX201" fmla="*/ 607270 w 3785642"/>
                <a:gd name="connsiteY201" fmla="*/ 474778 h 479077"/>
                <a:gd name="connsiteX202" fmla="*/ 590900 w 3785642"/>
                <a:gd name="connsiteY202" fmla="*/ 475274 h 479077"/>
                <a:gd name="connsiteX203" fmla="*/ 574529 w 3785642"/>
                <a:gd name="connsiteY203" fmla="*/ 474282 h 479077"/>
                <a:gd name="connsiteX204" fmla="*/ 558158 w 3785642"/>
                <a:gd name="connsiteY204" fmla="*/ 475274 h 479077"/>
                <a:gd name="connsiteX205" fmla="*/ 541788 w 3785642"/>
                <a:gd name="connsiteY205" fmla="*/ 475770 h 479077"/>
                <a:gd name="connsiteX206" fmla="*/ 525417 w 3785642"/>
                <a:gd name="connsiteY206" fmla="*/ 474282 h 479077"/>
                <a:gd name="connsiteX207" fmla="*/ 509047 w 3785642"/>
                <a:gd name="connsiteY207" fmla="*/ 473786 h 479077"/>
                <a:gd name="connsiteX208" fmla="*/ 492676 w 3785642"/>
                <a:gd name="connsiteY208" fmla="*/ 473786 h 479077"/>
                <a:gd name="connsiteX209" fmla="*/ 476306 w 3785642"/>
                <a:gd name="connsiteY209" fmla="*/ 474778 h 479077"/>
                <a:gd name="connsiteX210" fmla="*/ 459935 w 3785642"/>
                <a:gd name="connsiteY210" fmla="*/ 473786 h 479077"/>
                <a:gd name="connsiteX211" fmla="*/ 443565 w 3785642"/>
                <a:gd name="connsiteY211" fmla="*/ 474778 h 479077"/>
                <a:gd name="connsiteX212" fmla="*/ 427194 w 3785642"/>
                <a:gd name="connsiteY212" fmla="*/ 474282 h 479077"/>
                <a:gd name="connsiteX213" fmla="*/ 410823 w 3785642"/>
                <a:gd name="connsiteY213" fmla="*/ 473290 h 479077"/>
                <a:gd name="connsiteX214" fmla="*/ 394453 w 3785642"/>
                <a:gd name="connsiteY214" fmla="*/ 475770 h 479077"/>
                <a:gd name="connsiteX215" fmla="*/ 378082 w 3785642"/>
                <a:gd name="connsiteY215" fmla="*/ 475274 h 479077"/>
                <a:gd name="connsiteX216" fmla="*/ 361712 w 3785642"/>
                <a:gd name="connsiteY216" fmla="*/ 474778 h 479077"/>
                <a:gd name="connsiteX217" fmla="*/ 345341 w 3785642"/>
                <a:gd name="connsiteY217" fmla="*/ 476266 h 479077"/>
                <a:gd name="connsiteX218" fmla="*/ 328970 w 3785642"/>
                <a:gd name="connsiteY218" fmla="*/ 474282 h 479077"/>
                <a:gd name="connsiteX219" fmla="*/ 312600 w 3785642"/>
                <a:gd name="connsiteY219" fmla="*/ 475274 h 479077"/>
                <a:gd name="connsiteX220" fmla="*/ 296229 w 3785642"/>
                <a:gd name="connsiteY220" fmla="*/ 474282 h 479077"/>
                <a:gd name="connsiteX221" fmla="*/ 279859 w 3785642"/>
                <a:gd name="connsiteY221" fmla="*/ 475770 h 479077"/>
                <a:gd name="connsiteX222" fmla="*/ 263488 w 3785642"/>
                <a:gd name="connsiteY222" fmla="*/ 476266 h 479077"/>
                <a:gd name="connsiteX223" fmla="*/ 247118 w 3785642"/>
                <a:gd name="connsiteY223" fmla="*/ 476266 h 479077"/>
                <a:gd name="connsiteX224" fmla="*/ 230747 w 3785642"/>
                <a:gd name="connsiteY224" fmla="*/ 474778 h 479077"/>
                <a:gd name="connsiteX225" fmla="*/ 214376 w 3785642"/>
                <a:gd name="connsiteY225" fmla="*/ 474778 h 479077"/>
                <a:gd name="connsiteX226" fmla="*/ 198006 w 3785642"/>
                <a:gd name="connsiteY226" fmla="*/ 476762 h 479077"/>
                <a:gd name="connsiteX227" fmla="*/ 181635 w 3785642"/>
                <a:gd name="connsiteY227" fmla="*/ 476266 h 479077"/>
                <a:gd name="connsiteX228" fmla="*/ 165265 w 3785642"/>
                <a:gd name="connsiteY228" fmla="*/ 474778 h 479077"/>
                <a:gd name="connsiteX229" fmla="*/ 148894 w 3785642"/>
                <a:gd name="connsiteY229" fmla="*/ 476762 h 479077"/>
                <a:gd name="connsiteX230" fmla="*/ 132524 w 3785642"/>
                <a:gd name="connsiteY230" fmla="*/ 476266 h 479077"/>
                <a:gd name="connsiteX231" fmla="*/ 116153 w 3785642"/>
                <a:gd name="connsiteY231" fmla="*/ 475274 h 479077"/>
                <a:gd name="connsiteX232" fmla="*/ 99783 w 3785642"/>
                <a:gd name="connsiteY232" fmla="*/ 475274 h 479077"/>
                <a:gd name="connsiteX233" fmla="*/ 83412 w 3785642"/>
                <a:gd name="connsiteY233" fmla="*/ 475274 h 479077"/>
                <a:gd name="connsiteX234" fmla="*/ 67041 w 3785642"/>
                <a:gd name="connsiteY234" fmla="*/ 474778 h 479077"/>
                <a:gd name="connsiteX235" fmla="*/ 50671 w 3785642"/>
                <a:gd name="connsiteY235" fmla="*/ 475274 h 479077"/>
                <a:gd name="connsiteX236" fmla="*/ 34300 w 3785642"/>
                <a:gd name="connsiteY236" fmla="*/ 475274 h 479077"/>
                <a:gd name="connsiteX237" fmla="*/ 17930 w 3785642"/>
                <a:gd name="connsiteY237" fmla="*/ 475770 h 479077"/>
                <a:gd name="connsiteX238" fmla="*/ 567 w 3785642"/>
                <a:gd name="connsiteY238" fmla="*/ 475770 h 479077"/>
                <a:gd name="connsiteX239" fmla="*/ 12969 w 3785642"/>
                <a:gd name="connsiteY239" fmla="*/ 463368 h 479077"/>
                <a:gd name="connsiteX240" fmla="*/ 24379 w 3785642"/>
                <a:gd name="connsiteY240" fmla="*/ 451958 h 479077"/>
                <a:gd name="connsiteX241" fmla="*/ 35788 w 3785642"/>
                <a:gd name="connsiteY241" fmla="*/ 440053 h 479077"/>
                <a:gd name="connsiteX242" fmla="*/ 48686 w 3785642"/>
                <a:gd name="connsiteY242" fmla="*/ 430131 h 479077"/>
                <a:gd name="connsiteX243" fmla="*/ 59600 w 3785642"/>
                <a:gd name="connsiteY243" fmla="*/ 418225 h 479077"/>
                <a:gd name="connsiteX244" fmla="*/ 70514 w 3785642"/>
                <a:gd name="connsiteY244" fmla="*/ 405823 h 479077"/>
                <a:gd name="connsiteX245" fmla="*/ 83412 w 3785642"/>
                <a:gd name="connsiteY245" fmla="*/ 395406 h 479077"/>
                <a:gd name="connsiteX246" fmla="*/ 94822 w 3785642"/>
                <a:gd name="connsiteY246" fmla="*/ 383500 h 479077"/>
                <a:gd name="connsiteX247" fmla="*/ 106728 w 3785642"/>
                <a:gd name="connsiteY247" fmla="*/ 372090 h 479077"/>
                <a:gd name="connsiteX248" fmla="*/ 117145 w 3785642"/>
                <a:gd name="connsiteY248" fmla="*/ 359688 h 479077"/>
                <a:gd name="connsiteX249" fmla="*/ 128555 w 3785642"/>
                <a:gd name="connsiteY249" fmla="*/ 348278 h 479077"/>
                <a:gd name="connsiteX250" fmla="*/ 140461 w 3785642"/>
                <a:gd name="connsiteY250" fmla="*/ 336868 h 479077"/>
                <a:gd name="connsiteX251" fmla="*/ 152863 w 3785642"/>
                <a:gd name="connsiteY251" fmla="*/ 326451 h 479077"/>
                <a:gd name="connsiteX252" fmla="*/ 164769 w 3785642"/>
                <a:gd name="connsiteY252" fmla="*/ 315041 h 479077"/>
                <a:gd name="connsiteX253" fmla="*/ 176178 w 3785642"/>
                <a:gd name="connsiteY253" fmla="*/ 303135 h 479077"/>
                <a:gd name="connsiteX254" fmla="*/ 188084 w 3785642"/>
                <a:gd name="connsiteY254" fmla="*/ 291725 h 479077"/>
                <a:gd name="connsiteX255" fmla="*/ 199494 w 3785642"/>
                <a:gd name="connsiteY255" fmla="*/ 280315 h 479077"/>
                <a:gd name="connsiteX256" fmla="*/ 210904 w 3785642"/>
                <a:gd name="connsiteY256" fmla="*/ 268906 h 479077"/>
                <a:gd name="connsiteX257" fmla="*/ 221818 w 3785642"/>
                <a:gd name="connsiteY257" fmla="*/ 256504 h 479077"/>
                <a:gd name="connsiteX258" fmla="*/ 233724 w 3785642"/>
                <a:gd name="connsiteY258" fmla="*/ 245094 h 479077"/>
                <a:gd name="connsiteX259" fmla="*/ 244141 w 3785642"/>
                <a:gd name="connsiteY259" fmla="*/ 232692 h 479077"/>
                <a:gd name="connsiteX260" fmla="*/ 257039 w 3785642"/>
                <a:gd name="connsiteY260" fmla="*/ 222770 h 479077"/>
                <a:gd name="connsiteX261" fmla="*/ 266961 w 3785642"/>
                <a:gd name="connsiteY261" fmla="*/ 209376 h 479077"/>
                <a:gd name="connsiteX262" fmla="*/ 278371 w 3785642"/>
                <a:gd name="connsiteY262" fmla="*/ 197966 h 479077"/>
                <a:gd name="connsiteX263" fmla="*/ 291269 w 3785642"/>
                <a:gd name="connsiteY263" fmla="*/ 188045 h 479077"/>
                <a:gd name="connsiteX264" fmla="*/ 301686 w 3785642"/>
                <a:gd name="connsiteY264" fmla="*/ 175147 h 479077"/>
                <a:gd name="connsiteX265" fmla="*/ 313592 w 3785642"/>
                <a:gd name="connsiteY265" fmla="*/ 163737 h 479077"/>
                <a:gd name="connsiteX266" fmla="*/ 325994 w 3785642"/>
                <a:gd name="connsiteY266" fmla="*/ 153319 h 479077"/>
                <a:gd name="connsiteX267" fmla="*/ 337404 w 3785642"/>
                <a:gd name="connsiteY267" fmla="*/ 141910 h 479077"/>
                <a:gd name="connsiteX268" fmla="*/ 347325 w 3785642"/>
                <a:gd name="connsiteY268" fmla="*/ 129012 h 479077"/>
                <a:gd name="connsiteX269" fmla="*/ 360224 w 3785642"/>
                <a:gd name="connsiteY269" fmla="*/ 118594 h 479077"/>
                <a:gd name="connsiteX270" fmla="*/ 371137 w 3785642"/>
                <a:gd name="connsiteY270" fmla="*/ 106192 h 479077"/>
                <a:gd name="connsiteX271" fmla="*/ 382051 w 3785642"/>
                <a:gd name="connsiteY271" fmla="*/ 93790 h 479077"/>
                <a:gd name="connsiteX272" fmla="*/ 393957 w 3785642"/>
                <a:gd name="connsiteY272" fmla="*/ 82380 h 479077"/>
                <a:gd name="connsiteX273" fmla="*/ 405366 w 3785642"/>
                <a:gd name="connsiteY273" fmla="*/ 70475 h 479077"/>
                <a:gd name="connsiteX274" fmla="*/ 417272 w 3785642"/>
                <a:gd name="connsiteY274" fmla="*/ 59561 h 479077"/>
                <a:gd name="connsiteX275" fmla="*/ 429674 w 3785642"/>
                <a:gd name="connsiteY275" fmla="*/ 48647 h 479077"/>
                <a:gd name="connsiteX276" fmla="*/ 440092 w 3785642"/>
                <a:gd name="connsiteY276" fmla="*/ 35749 h 479077"/>
                <a:gd name="connsiteX277" fmla="*/ 452494 w 3785642"/>
                <a:gd name="connsiteY277" fmla="*/ 24835 h 479077"/>
                <a:gd name="connsiteX278" fmla="*/ 463904 w 3785642"/>
                <a:gd name="connsiteY278" fmla="*/ 12929 h 479077"/>
                <a:gd name="connsiteX279" fmla="*/ 475313 w 3785642"/>
                <a:gd name="connsiteY279" fmla="*/ 1024 h 479077"/>
                <a:gd name="connsiteX280" fmla="*/ 491684 w 3785642"/>
                <a:gd name="connsiteY280" fmla="*/ 2512 h 479077"/>
                <a:gd name="connsiteX281" fmla="*/ 508055 w 3785642"/>
                <a:gd name="connsiteY281" fmla="*/ 2512 h 479077"/>
                <a:gd name="connsiteX282" fmla="*/ 524425 w 3785642"/>
                <a:gd name="connsiteY282" fmla="*/ 2512 h 479077"/>
                <a:gd name="connsiteX283" fmla="*/ 540796 w 3785642"/>
                <a:gd name="connsiteY283" fmla="*/ 1024 h 479077"/>
                <a:gd name="connsiteX284" fmla="*/ 557166 w 3785642"/>
                <a:gd name="connsiteY284" fmla="*/ 2512 h 479077"/>
                <a:gd name="connsiteX285" fmla="*/ 573537 w 3785642"/>
                <a:gd name="connsiteY285" fmla="*/ 1024 h 479077"/>
                <a:gd name="connsiteX286" fmla="*/ 589908 w 3785642"/>
                <a:gd name="connsiteY286" fmla="*/ 527 h 479077"/>
                <a:gd name="connsiteX287" fmla="*/ 606278 w 3785642"/>
                <a:gd name="connsiteY287" fmla="*/ 1520 h 479077"/>
                <a:gd name="connsiteX288" fmla="*/ 622649 w 3785642"/>
                <a:gd name="connsiteY288" fmla="*/ 1520 h 479077"/>
                <a:gd name="connsiteX289" fmla="*/ 639019 w 3785642"/>
                <a:gd name="connsiteY289" fmla="*/ 2016 h 479077"/>
                <a:gd name="connsiteX290" fmla="*/ 655390 w 3785642"/>
                <a:gd name="connsiteY290" fmla="*/ 527 h 479077"/>
                <a:gd name="connsiteX291" fmla="*/ 671760 w 3785642"/>
                <a:gd name="connsiteY291" fmla="*/ 1520 h 479077"/>
                <a:gd name="connsiteX292" fmla="*/ 688131 w 3785642"/>
                <a:gd name="connsiteY292" fmla="*/ 2512 h 479077"/>
                <a:gd name="connsiteX293" fmla="*/ 704501 w 3785642"/>
                <a:gd name="connsiteY293" fmla="*/ 1024 h 479077"/>
                <a:gd name="connsiteX294" fmla="*/ 720872 w 3785642"/>
                <a:gd name="connsiteY294" fmla="*/ 1520 h 479077"/>
                <a:gd name="connsiteX295" fmla="*/ 737243 w 3785642"/>
                <a:gd name="connsiteY295" fmla="*/ 2016 h 479077"/>
                <a:gd name="connsiteX296" fmla="*/ 753613 w 3785642"/>
                <a:gd name="connsiteY296" fmla="*/ 1024 h 479077"/>
                <a:gd name="connsiteX297" fmla="*/ 769984 w 3785642"/>
                <a:gd name="connsiteY297" fmla="*/ 527 h 479077"/>
                <a:gd name="connsiteX298" fmla="*/ 786354 w 3785642"/>
                <a:gd name="connsiteY298" fmla="*/ 1520 h 479077"/>
                <a:gd name="connsiteX299" fmla="*/ 802725 w 3785642"/>
                <a:gd name="connsiteY299" fmla="*/ 527 h 479077"/>
                <a:gd name="connsiteX300" fmla="*/ 819096 w 3785642"/>
                <a:gd name="connsiteY300" fmla="*/ 2512 h 479077"/>
                <a:gd name="connsiteX301" fmla="*/ 835466 w 3785642"/>
                <a:gd name="connsiteY301" fmla="*/ 527 h 479077"/>
                <a:gd name="connsiteX302" fmla="*/ 851837 w 3785642"/>
                <a:gd name="connsiteY302" fmla="*/ 1520 h 479077"/>
                <a:gd name="connsiteX303" fmla="*/ 868207 w 3785642"/>
                <a:gd name="connsiteY303" fmla="*/ 2016 h 479077"/>
                <a:gd name="connsiteX304" fmla="*/ 884578 w 3785642"/>
                <a:gd name="connsiteY304" fmla="*/ 2512 h 479077"/>
                <a:gd name="connsiteX305" fmla="*/ 900948 w 3785642"/>
                <a:gd name="connsiteY305" fmla="*/ 1520 h 479077"/>
                <a:gd name="connsiteX306" fmla="*/ 917319 w 3785642"/>
                <a:gd name="connsiteY306" fmla="*/ 1024 h 479077"/>
                <a:gd name="connsiteX307" fmla="*/ 933689 w 3785642"/>
                <a:gd name="connsiteY307" fmla="*/ 2512 h 479077"/>
                <a:gd name="connsiteX308" fmla="*/ 950060 w 3785642"/>
                <a:gd name="connsiteY308" fmla="*/ 1520 h 479077"/>
                <a:gd name="connsiteX309" fmla="*/ 966431 w 3785642"/>
                <a:gd name="connsiteY309" fmla="*/ 2016 h 479077"/>
                <a:gd name="connsiteX310" fmla="*/ 982801 w 3785642"/>
                <a:gd name="connsiteY310" fmla="*/ 2512 h 479077"/>
                <a:gd name="connsiteX311" fmla="*/ 999172 w 3785642"/>
                <a:gd name="connsiteY311" fmla="*/ 1520 h 479077"/>
                <a:gd name="connsiteX312" fmla="*/ 1015542 w 3785642"/>
                <a:gd name="connsiteY312" fmla="*/ 2512 h 479077"/>
                <a:gd name="connsiteX313" fmla="*/ 1031913 w 3785642"/>
                <a:gd name="connsiteY313" fmla="*/ 1520 h 479077"/>
                <a:gd name="connsiteX314" fmla="*/ 1048283 w 3785642"/>
                <a:gd name="connsiteY314" fmla="*/ 2016 h 479077"/>
                <a:gd name="connsiteX315" fmla="*/ 1064654 w 3785642"/>
                <a:gd name="connsiteY315" fmla="*/ 3504 h 479077"/>
                <a:gd name="connsiteX316" fmla="*/ 1081025 w 3785642"/>
                <a:gd name="connsiteY316" fmla="*/ 2016 h 479077"/>
                <a:gd name="connsiteX317" fmla="*/ 1097395 w 3785642"/>
                <a:gd name="connsiteY317" fmla="*/ 2512 h 479077"/>
                <a:gd name="connsiteX318" fmla="*/ 1113766 w 3785642"/>
                <a:gd name="connsiteY318" fmla="*/ 2512 h 479077"/>
                <a:gd name="connsiteX319" fmla="*/ 1130136 w 3785642"/>
                <a:gd name="connsiteY319" fmla="*/ 3504 h 479077"/>
                <a:gd name="connsiteX320" fmla="*/ 1146507 w 3785642"/>
                <a:gd name="connsiteY320" fmla="*/ 1520 h 479077"/>
                <a:gd name="connsiteX321" fmla="*/ 1162878 w 3785642"/>
                <a:gd name="connsiteY321" fmla="*/ 3008 h 479077"/>
                <a:gd name="connsiteX322" fmla="*/ 1179248 w 3785642"/>
                <a:gd name="connsiteY322" fmla="*/ 4000 h 479077"/>
                <a:gd name="connsiteX323" fmla="*/ 1195619 w 3785642"/>
                <a:gd name="connsiteY323" fmla="*/ 3504 h 479077"/>
                <a:gd name="connsiteX324" fmla="*/ 1211989 w 3785642"/>
                <a:gd name="connsiteY324" fmla="*/ 1520 h 479077"/>
                <a:gd name="connsiteX325" fmla="*/ 1228360 w 3785642"/>
                <a:gd name="connsiteY325" fmla="*/ 3504 h 479077"/>
                <a:gd name="connsiteX326" fmla="*/ 1244730 w 3785642"/>
                <a:gd name="connsiteY326" fmla="*/ 1520 h 479077"/>
                <a:gd name="connsiteX327" fmla="*/ 1261101 w 3785642"/>
                <a:gd name="connsiteY327" fmla="*/ 2512 h 479077"/>
                <a:gd name="connsiteX328" fmla="*/ 1277471 w 3785642"/>
                <a:gd name="connsiteY328" fmla="*/ 3504 h 479077"/>
                <a:gd name="connsiteX329" fmla="*/ 1293842 w 3785642"/>
                <a:gd name="connsiteY329" fmla="*/ 4000 h 479077"/>
                <a:gd name="connsiteX330" fmla="*/ 1310213 w 3785642"/>
                <a:gd name="connsiteY330" fmla="*/ 1520 h 479077"/>
                <a:gd name="connsiteX331" fmla="*/ 1326583 w 3785642"/>
                <a:gd name="connsiteY331" fmla="*/ 2016 h 479077"/>
                <a:gd name="connsiteX332" fmla="*/ 1342954 w 3785642"/>
                <a:gd name="connsiteY332" fmla="*/ 3008 h 479077"/>
                <a:gd name="connsiteX333" fmla="*/ 1359324 w 3785642"/>
                <a:gd name="connsiteY333" fmla="*/ 3008 h 479077"/>
                <a:gd name="connsiteX334" fmla="*/ 1375695 w 3785642"/>
                <a:gd name="connsiteY334" fmla="*/ 2512 h 479077"/>
                <a:gd name="connsiteX335" fmla="*/ 1392066 w 3785642"/>
                <a:gd name="connsiteY335" fmla="*/ 2512 h 479077"/>
                <a:gd name="connsiteX336" fmla="*/ 1408436 w 3785642"/>
                <a:gd name="connsiteY336" fmla="*/ 3504 h 479077"/>
                <a:gd name="connsiteX337" fmla="*/ 1424807 w 3785642"/>
                <a:gd name="connsiteY337" fmla="*/ 3504 h 479077"/>
                <a:gd name="connsiteX338" fmla="*/ 1441177 w 3785642"/>
                <a:gd name="connsiteY338" fmla="*/ 1520 h 479077"/>
                <a:gd name="connsiteX339" fmla="*/ 1457548 w 3785642"/>
                <a:gd name="connsiteY339" fmla="*/ 2512 h 479077"/>
                <a:gd name="connsiteX340" fmla="*/ 1473919 w 3785642"/>
                <a:gd name="connsiteY340" fmla="*/ 2016 h 479077"/>
                <a:gd name="connsiteX341" fmla="*/ 1490289 w 3785642"/>
                <a:gd name="connsiteY341" fmla="*/ 2016 h 479077"/>
                <a:gd name="connsiteX342" fmla="*/ 1506660 w 3785642"/>
                <a:gd name="connsiteY342" fmla="*/ 1520 h 479077"/>
                <a:gd name="connsiteX343" fmla="*/ 1523030 w 3785642"/>
                <a:gd name="connsiteY343" fmla="*/ 3504 h 479077"/>
                <a:gd name="connsiteX344" fmla="*/ 1539401 w 3785642"/>
                <a:gd name="connsiteY344" fmla="*/ 3008 h 479077"/>
                <a:gd name="connsiteX345" fmla="*/ 1555771 w 3785642"/>
                <a:gd name="connsiteY345" fmla="*/ 3008 h 479077"/>
                <a:gd name="connsiteX346" fmla="*/ 1572142 w 3785642"/>
                <a:gd name="connsiteY346" fmla="*/ 2512 h 479077"/>
                <a:gd name="connsiteX347" fmla="*/ 1588512 w 3785642"/>
                <a:gd name="connsiteY347" fmla="*/ 2016 h 479077"/>
                <a:gd name="connsiteX348" fmla="*/ 1604883 w 3785642"/>
                <a:gd name="connsiteY348" fmla="*/ 3008 h 479077"/>
                <a:gd name="connsiteX349" fmla="*/ 1621253 w 3785642"/>
                <a:gd name="connsiteY349" fmla="*/ 3008 h 479077"/>
                <a:gd name="connsiteX350" fmla="*/ 1637624 w 3785642"/>
                <a:gd name="connsiteY35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13375 w 3785642"/>
                <a:gd name="connsiteY23" fmla="*/ 10945 h 479077"/>
                <a:gd name="connsiteX24" fmla="*/ 3300973 w 3785642"/>
                <a:gd name="connsiteY24" fmla="*/ 21363 h 479077"/>
                <a:gd name="connsiteX25" fmla="*/ 3289068 w 3785642"/>
                <a:gd name="connsiteY25" fmla="*/ 32276 h 479077"/>
                <a:gd name="connsiteX26" fmla="*/ 3277658 w 3785642"/>
                <a:gd name="connsiteY26" fmla="*/ 43686 h 479077"/>
                <a:gd name="connsiteX27" fmla="*/ 3266248 w 3785642"/>
                <a:gd name="connsiteY27" fmla="*/ 55592 h 479077"/>
                <a:gd name="connsiteX28" fmla="*/ 3255830 w 3785642"/>
                <a:gd name="connsiteY28" fmla="*/ 68490 h 479077"/>
                <a:gd name="connsiteX29" fmla="*/ 3243924 w 3785642"/>
                <a:gd name="connsiteY29" fmla="*/ 79900 h 479077"/>
                <a:gd name="connsiteX30" fmla="*/ 3231522 w 3785642"/>
                <a:gd name="connsiteY30" fmla="*/ 90814 h 479077"/>
                <a:gd name="connsiteX31" fmla="*/ 3220609 w 3785642"/>
                <a:gd name="connsiteY31" fmla="*/ 102720 h 479077"/>
                <a:gd name="connsiteX32" fmla="*/ 3208207 w 3785642"/>
                <a:gd name="connsiteY32" fmla="*/ 113137 h 479077"/>
                <a:gd name="connsiteX33" fmla="*/ 3197293 w 3785642"/>
                <a:gd name="connsiteY33" fmla="*/ 125043 h 479077"/>
                <a:gd name="connsiteX34" fmla="*/ 3185387 w 3785642"/>
                <a:gd name="connsiteY34" fmla="*/ 136453 h 479077"/>
                <a:gd name="connsiteX35" fmla="*/ 3174970 w 3785642"/>
                <a:gd name="connsiteY35" fmla="*/ 148855 h 479077"/>
                <a:gd name="connsiteX36" fmla="*/ 3162071 w 3785642"/>
                <a:gd name="connsiteY36" fmla="*/ 159272 h 479077"/>
                <a:gd name="connsiteX37" fmla="*/ 3151158 w 3785642"/>
                <a:gd name="connsiteY37" fmla="*/ 171674 h 479077"/>
                <a:gd name="connsiteX38" fmla="*/ 3139252 w 3785642"/>
                <a:gd name="connsiteY38" fmla="*/ 182588 h 479077"/>
                <a:gd name="connsiteX39" fmla="*/ 3127843 w 3785642"/>
                <a:gd name="connsiteY39" fmla="*/ 194494 h 479077"/>
                <a:gd name="connsiteX40" fmla="*/ 3116432 w 3785642"/>
                <a:gd name="connsiteY40" fmla="*/ 205904 h 479077"/>
                <a:gd name="connsiteX41" fmla="*/ 3105022 w 3785642"/>
                <a:gd name="connsiteY41" fmla="*/ 217810 h 479077"/>
                <a:gd name="connsiteX42" fmla="*/ 3093117 w 3785642"/>
                <a:gd name="connsiteY42" fmla="*/ 229219 h 479077"/>
                <a:gd name="connsiteX43" fmla="*/ 3081707 w 3785642"/>
                <a:gd name="connsiteY43" fmla="*/ 240629 h 479077"/>
                <a:gd name="connsiteX44" fmla="*/ 3069305 w 3785642"/>
                <a:gd name="connsiteY44" fmla="*/ 251543 h 479077"/>
                <a:gd name="connsiteX45" fmla="*/ 3057895 w 3785642"/>
                <a:gd name="connsiteY45" fmla="*/ 263449 h 479077"/>
                <a:gd name="connsiteX46" fmla="*/ 3046486 w 3785642"/>
                <a:gd name="connsiteY46" fmla="*/ 275355 h 479077"/>
                <a:gd name="connsiteX47" fmla="*/ 3035572 w 3785642"/>
                <a:gd name="connsiteY47" fmla="*/ 287260 h 479077"/>
                <a:gd name="connsiteX48" fmla="*/ 3024658 w 3785642"/>
                <a:gd name="connsiteY48" fmla="*/ 299166 h 479077"/>
                <a:gd name="connsiteX49" fmla="*/ 3013248 w 3785642"/>
                <a:gd name="connsiteY49" fmla="*/ 311072 h 479077"/>
                <a:gd name="connsiteX50" fmla="*/ 3000350 w 3785642"/>
                <a:gd name="connsiteY50" fmla="*/ 321490 h 479077"/>
                <a:gd name="connsiteX51" fmla="*/ 2988941 w 3785642"/>
                <a:gd name="connsiteY51" fmla="*/ 333396 h 479077"/>
                <a:gd name="connsiteX52" fmla="*/ 2976539 w 3785642"/>
                <a:gd name="connsiteY52" fmla="*/ 344309 h 479077"/>
                <a:gd name="connsiteX53" fmla="*/ 2965129 w 3785642"/>
                <a:gd name="connsiteY53" fmla="*/ 356215 h 479077"/>
                <a:gd name="connsiteX54" fmla="*/ 2953223 w 3785642"/>
                <a:gd name="connsiteY54" fmla="*/ 367625 h 479077"/>
                <a:gd name="connsiteX55" fmla="*/ 2941813 w 3785642"/>
                <a:gd name="connsiteY55" fmla="*/ 379531 h 479077"/>
                <a:gd name="connsiteX56" fmla="*/ 2931395 w 3785642"/>
                <a:gd name="connsiteY56" fmla="*/ 392429 h 479077"/>
                <a:gd name="connsiteX57" fmla="*/ 2918497 w 3785642"/>
                <a:gd name="connsiteY57" fmla="*/ 402847 h 479077"/>
                <a:gd name="connsiteX58" fmla="*/ 2907584 w 3785642"/>
                <a:gd name="connsiteY58" fmla="*/ 415249 h 479077"/>
                <a:gd name="connsiteX59" fmla="*/ 2896174 w 3785642"/>
                <a:gd name="connsiteY59" fmla="*/ 426658 h 479077"/>
                <a:gd name="connsiteX60" fmla="*/ 2884268 w 3785642"/>
                <a:gd name="connsiteY60" fmla="*/ 438068 h 479077"/>
                <a:gd name="connsiteX61" fmla="*/ 2873354 w 3785642"/>
                <a:gd name="connsiteY61" fmla="*/ 450470 h 479077"/>
                <a:gd name="connsiteX62" fmla="*/ 2860952 w 3785642"/>
                <a:gd name="connsiteY62" fmla="*/ 461384 h 479077"/>
                <a:gd name="connsiteX63" fmla="*/ 2850039 w 3785642"/>
                <a:gd name="connsiteY63" fmla="*/ 473786 h 479077"/>
                <a:gd name="connsiteX64" fmla="*/ 2833668 w 3785642"/>
                <a:gd name="connsiteY64" fmla="*/ 473786 h 479077"/>
                <a:gd name="connsiteX65" fmla="*/ 2817297 w 3785642"/>
                <a:gd name="connsiteY65" fmla="*/ 473290 h 479077"/>
                <a:gd name="connsiteX66" fmla="*/ 2800927 w 3785642"/>
                <a:gd name="connsiteY66" fmla="*/ 473290 h 479077"/>
                <a:gd name="connsiteX67" fmla="*/ 2784556 w 3785642"/>
                <a:gd name="connsiteY67" fmla="*/ 473786 h 479077"/>
                <a:gd name="connsiteX68" fmla="*/ 2768186 w 3785642"/>
                <a:gd name="connsiteY68" fmla="*/ 474282 h 479077"/>
                <a:gd name="connsiteX69" fmla="*/ 2751815 w 3785642"/>
                <a:gd name="connsiteY69" fmla="*/ 474282 h 479077"/>
                <a:gd name="connsiteX70" fmla="*/ 2735444 w 3785642"/>
                <a:gd name="connsiteY70" fmla="*/ 473290 h 479077"/>
                <a:gd name="connsiteX71" fmla="*/ 2719074 w 3785642"/>
                <a:gd name="connsiteY71" fmla="*/ 474282 h 479077"/>
                <a:gd name="connsiteX72" fmla="*/ 2702703 w 3785642"/>
                <a:gd name="connsiteY72" fmla="*/ 472298 h 479077"/>
                <a:gd name="connsiteX73" fmla="*/ 2686333 w 3785642"/>
                <a:gd name="connsiteY73" fmla="*/ 472794 h 479077"/>
                <a:gd name="connsiteX74" fmla="*/ 2669962 w 3785642"/>
                <a:gd name="connsiteY74" fmla="*/ 474282 h 479077"/>
                <a:gd name="connsiteX75" fmla="*/ 2653592 w 3785642"/>
                <a:gd name="connsiteY75" fmla="*/ 472298 h 479077"/>
                <a:gd name="connsiteX76" fmla="*/ 2637221 w 3785642"/>
                <a:gd name="connsiteY76" fmla="*/ 474282 h 479077"/>
                <a:gd name="connsiteX77" fmla="*/ 2620851 w 3785642"/>
                <a:gd name="connsiteY77" fmla="*/ 474282 h 479077"/>
                <a:gd name="connsiteX78" fmla="*/ 2604480 w 3785642"/>
                <a:gd name="connsiteY78" fmla="*/ 472298 h 479077"/>
                <a:gd name="connsiteX79" fmla="*/ 2588109 w 3785642"/>
                <a:gd name="connsiteY79" fmla="*/ 473786 h 479077"/>
                <a:gd name="connsiteX80" fmla="*/ 2571739 w 3785642"/>
                <a:gd name="connsiteY80" fmla="*/ 472298 h 479077"/>
                <a:gd name="connsiteX81" fmla="*/ 2555368 w 3785642"/>
                <a:gd name="connsiteY81" fmla="*/ 473290 h 479077"/>
                <a:gd name="connsiteX82" fmla="*/ 2538998 w 3785642"/>
                <a:gd name="connsiteY82" fmla="*/ 474282 h 479077"/>
                <a:gd name="connsiteX83" fmla="*/ 2522627 w 3785642"/>
                <a:gd name="connsiteY83" fmla="*/ 473290 h 479077"/>
                <a:gd name="connsiteX84" fmla="*/ 2506257 w 3785642"/>
                <a:gd name="connsiteY84" fmla="*/ 474282 h 479077"/>
                <a:gd name="connsiteX85" fmla="*/ 2489886 w 3785642"/>
                <a:gd name="connsiteY85" fmla="*/ 473786 h 479077"/>
                <a:gd name="connsiteX86" fmla="*/ 2473516 w 3785642"/>
                <a:gd name="connsiteY86" fmla="*/ 474282 h 479077"/>
                <a:gd name="connsiteX87" fmla="*/ 2457145 w 3785642"/>
                <a:gd name="connsiteY87" fmla="*/ 472794 h 479077"/>
                <a:gd name="connsiteX88" fmla="*/ 2440775 w 3785642"/>
                <a:gd name="connsiteY88" fmla="*/ 472298 h 479077"/>
                <a:gd name="connsiteX89" fmla="*/ 2424404 w 3785642"/>
                <a:gd name="connsiteY89" fmla="*/ 473786 h 479077"/>
                <a:gd name="connsiteX90" fmla="*/ 2408033 w 3785642"/>
                <a:gd name="connsiteY90" fmla="*/ 472794 h 479077"/>
                <a:gd name="connsiteX91" fmla="*/ 2391663 w 3785642"/>
                <a:gd name="connsiteY91" fmla="*/ 473290 h 479077"/>
                <a:gd name="connsiteX92" fmla="*/ 2375292 w 3785642"/>
                <a:gd name="connsiteY92" fmla="*/ 473290 h 479077"/>
                <a:gd name="connsiteX93" fmla="*/ 2358922 w 3785642"/>
                <a:gd name="connsiteY93" fmla="*/ 472794 h 479077"/>
                <a:gd name="connsiteX94" fmla="*/ 2342551 w 3785642"/>
                <a:gd name="connsiteY94" fmla="*/ 472298 h 479077"/>
                <a:gd name="connsiteX95" fmla="*/ 2326180 w 3785642"/>
                <a:gd name="connsiteY95" fmla="*/ 473786 h 479077"/>
                <a:gd name="connsiteX96" fmla="*/ 2309810 w 3785642"/>
                <a:gd name="connsiteY96" fmla="*/ 473786 h 479077"/>
                <a:gd name="connsiteX97" fmla="*/ 2293439 w 3785642"/>
                <a:gd name="connsiteY97" fmla="*/ 473786 h 479077"/>
                <a:gd name="connsiteX98" fmla="*/ 2277069 w 3785642"/>
                <a:gd name="connsiteY98" fmla="*/ 472794 h 479077"/>
                <a:gd name="connsiteX99" fmla="*/ 2260698 w 3785642"/>
                <a:gd name="connsiteY99" fmla="*/ 474282 h 479077"/>
                <a:gd name="connsiteX100" fmla="*/ 2244327 w 3785642"/>
                <a:gd name="connsiteY100" fmla="*/ 472298 h 479077"/>
                <a:gd name="connsiteX101" fmla="*/ 2227957 w 3785642"/>
                <a:gd name="connsiteY101" fmla="*/ 474282 h 479077"/>
                <a:gd name="connsiteX102" fmla="*/ 2211586 w 3785642"/>
                <a:gd name="connsiteY102" fmla="*/ 473290 h 479077"/>
                <a:gd name="connsiteX103" fmla="*/ 2195216 w 3785642"/>
                <a:gd name="connsiteY103" fmla="*/ 474282 h 479077"/>
                <a:gd name="connsiteX104" fmla="*/ 2178845 w 3785642"/>
                <a:gd name="connsiteY104" fmla="*/ 472794 h 479077"/>
                <a:gd name="connsiteX105" fmla="*/ 2162474 w 3785642"/>
                <a:gd name="connsiteY105" fmla="*/ 474778 h 479077"/>
                <a:gd name="connsiteX106" fmla="*/ 2146104 w 3785642"/>
                <a:gd name="connsiteY106" fmla="*/ 473290 h 479077"/>
                <a:gd name="connsiteX107" fmla="*/ 2129733 w 3785642"/>
                <a:gd name="connsiteY107" fmla="*/ 474778 h 479077"/>
                <a:gd name="connsiteX108" fmla="*/ 2113363 w 3785642"/>
                <a:gd name="connsiteY108" fmla="*/ 474778 h 479077"/>
                <a:gd name="connsiteX109" fmla="*/ 2096992 w 3785642"/>
                <a:gd name="connsiteY109" fmla="*/ 474778 h 479077"/>
                <a:gd name="connsiteX110" fmla="*/ 2080621 w 3785642"/>
                <a:gd name="connsiteY110" fmla="*/ 474282 h 479077"/>
                <a:gd name="connsiteX111" fmla="*/ 2064251 w 3785642"/>
                <a:gd name="connsiteY111" fmla="*/ 472794 h 479077"/>
                <a:gd name="connsiteX112" fmla="*/ 2047880 w 3785642"/>
                <a:gd name="connsiteY112" fmla="*/ 474778 h 479077"/>
                <a:gd name="connsiteX113" fmla="*/ 2031510 w 3785642"/>
                <a:gd name="connsiteY113" fmla="*/ 474778 h 479077"/>
                <a:gd name="connsiteX114" fmla="*/ 2015139 w 3785642"/>
                <a:gd name="connsiteY114" fmla="*/ 474778 h 479077"/>
                <a:gd name="connsiteX115" fmla="*/ 1998769 w 3785642"/>
                <a:gd name="connsiteY115" fmla="*/ 474282 h 479077"/>
                <a:gd name="connsiteX116" fmla="*/ 1982398 w 3785642"/>
                <a:gd name="connsiteY116" fmla="*/ 473786 h 479077"/>
                <a:gd name="connsiteX117" fmla="*/ 1966028 w 3785642"/>
                <a:gd name="connsiteY117" fmla="*/ 473786 h 479077"/>
                <a:gd name="connsiteX118" fmla="*/ 1949657 w 3785642"/>
                <a:gd name="connsiteY118" fmla="*/ 472794 h 479077"/>
                <a:gd name="connsiteX119" fmla="*/ 1933287 w 3785642"/>
                <a:gd name="connsiteY119" fmla="*/ 473290 h 479077"/>
                <a:gd name="connsiteX120" fmla="*/ 1916916 w 3785642"/>
                <a:gd name="connsiteY120" fmla="*/ 474778 h 479077"/>
                <a:gd name="connsiteX121" fmla="*/ 1900546 w 3785642"/>
                <a:gd name="connsiteY121" fmla="*/ 472794 h 479077"/>
                <a:gd name="connsiteX122" fmla="*/ 1884175 w 3785642"/>
                <a:gd name="connsiteY122" fmla="*/ 473786 h 479077"/>
                <a:gd name="connsiteX123" fmla="*/ 1867804 w 3785642"/>
                <a:gd name="connsiteY123" fmla="*/ 474778 h 479077"/>
                <a:gd name="connsiteX124" fmla="*/ 1851434 w 3785642"/>
                <a:gd name="connsiteY124" fmla="*/ 474778 h 479077"/>
                <a:gd name="connsiteX125" fmla="*/ 1835063 w 3785642"/>
                <a:gd name="connsiteY125" fmla="*/ 474778 h 479077"/>
                <a:gd name="connsiteX126" fmla="*/ 1818693 w 3785642"/>
                <a:gd name="connsiteY126" fmla="*/ 474282 h 479077"/>
                <a:gd name="connsiteX127" fmla="*/ 1802322 w 3785642"/>
                <a:gd name="connsiteY127" fmla="*/ 472794 h 479077"/>
                <a:gd name="connsiteX128" fmla="*/ 1785951 w 3785642"/>
                <a:gd name="connsiteY128" fmla="*/ 473786 h 479077"/>
                <a:gd name="connsiteX129" fmla="*/ 1769581 w 3785642"/>
                <a:gd name="connsiteY129" fmla="*/ 473290 h 479077"/>
                <a:gd name="connsiteX130" fmla="*/ 1753210 w 3785642"/>
                <a:gd name="connsiteY130" fmla="*/ 472298 h 479077"/>
                <a:gd name="connsiteX131" fmla="*/ 1736840 w 3785642"/>
                <a:gd name="connsiteY131" fmla="*/ 473290 h 479077"/>
                <a:gd name="connsiteX132" fmla="*/ 1720469 w 3785642"/>
                <a:gd name="connsiteY132" fmla="*/ 474778 h 479077"/>
                <a:gd name="connsiteX133" fmla="*/ 1704098 w 3785642"/>
                <a:gd name="connsiteY133" fmla="*/ 472794 h 479077"/>
                <a:gd name="connsiteX134" fmla="*/ 1687728 w 3785642"/>
                <a:gd name="connsiteY134" fmla="*/ 474778 h 479077"/>
                <a:gd name="connsiteX135" fmla="*/ 1671357 w 3785642"/>
                <a:gd name="connsiteY135" fmla="*/ 474778 h 479077"/>
                <a:gd name="connsiteX136" fmla="*/ 1654987 w 3785642"/>
                <a:gd name="connsiteY136" fmla="*/ 472298 h 479077"/>
                <a:gd name="connsiteX137" fmla="*/ 1638616 w 3785642"/>
                <a:gd name="connsiteY137" fmla="*/ 472794 h 479077"/>
                <a:gd name="connsiteX138" fmla="*/ 1622246 w 3785642"/>
                <a:gd name="connsiteY138" fmla="*/ 473786 h 479077"/>
                <a:gd name="connsiteX139" fmla="*/ 1605875 w 3785642"/>
                <a:gd name="connsiteY139" fmla="*/ 474778 h 479077"/>
                <a:gd name="connsiteX140" fmla="*/ 1589505 w 3785642"/>
                <a:gd name="connsiteY140" fmla="*/ 473290 h 479077"/>
                <a:gd name="connsiteX141" fmla="*/ 1573134 w 3785642"/>
                <a:gd name="connsiteY141" fmla="*/ 474778 h 479077"/>
                <a:gd name="connsiteX142" fmla="*/ 1556763 w 3785642"/>
                <a:gd name="connsiteY142" fmla="*/ 472794 h 479077"/>
                <a:gd name="connsiteX143" fmla="*/ 1540393 w 3785642"/>
                <a:gd name="connsiteY143" fmla="*/ 472794 h 479077"/>
                <a:gd name="connsiteX144" fmla="*/ 1524022 w 3785642"/>
                <a:gd name="connsiteY144" fmla="*/ 474282 h 479077"/>
                <a:gd name="connsiteX145" fmla="*/ 1507652 w 3785642"/>
                <a:gd name="connsiteY145" fmla="*/ 472794 h 479077"/>
                <a:gd name="connsiteX146" fmla="*/ 1491281 w 3785642"/>
                <a:gd name="connsiteY146" fmla="*/ 474282 h 479077"/>
                <a:gd name="connsiteX147" fmla="*/ 1474910 w 3785642"/>
                <a:gd name="connsiteY147" fmla="*/ 474282 h 479077"/>
                <a:gd name="connsiteX148" fmla="*/ 1458540 w 3785642"/>
                <a:gd name="connsiteY148" fmla="*/ 472794 h 479077"/>
                <a:gd name="connsiteX149" fmla="*/ 1442169 w 3785642"/>
                <a:gd name="connsiteY149" fmla="*/ 471802 h 479077"/>
                <a:gd name="connsiteX150" fmla="*/ 1425799 w 3785642"/>
                <a:gd name="connsiteY150" fmla="*/ 472298 h 479077"/>
                <a:gd name="connsiteX151" fmla="*/ 1409428 w 3785642"/>
                <a:gd name="connsiteY151" fmla="*/ 472794 h 479077"/>
                <a:gd name="connsiteX152" fmla="*/ 1393058 w 3785642"/>
                <a:gd name="connsiteY152" fmla="*/ 473786 h 479077"/>
                <a:gd name="connsiteX153" fmla="*/ 1376687 w 3785642"/>
                <a:gd name="connsiteY153" fmla="*/ 471802 h 479077"/>
                <a:gd name="connsiteX154" fmla="*/ 1360317 w 3785642"/>
                <a:gd name="connsiteY154" fmla="*/ 473786 h 479077"/>
                <a:gd name="connsiteX155" fmla="*/ 1343946 w 3785642"/>
                <a:gd name="connsiteY155" fmla="*/ 473786 h 479077"/>
                <a:gd name="connsiteX156" fmla="*/ 1327576 w 3785642"/>
                <a:gd name="connsiteY156" fmla="*/ 472794 h 479077"/>
                <a:gd name="connsiteX157" fmla="*/ 1311205 w 3785642"/>
                <a:gd name="connsiteY157" fmla="*/ 473786 h 479077"/>
                <a:gd name="connsiteX158" fmla="*/ 1294834 w 3785642"/>
                <a:gd name="connsiteY158" fmla="*/ 473786 h 479077"/>
                <a:gd name="connsiteX159" fmla="*/ 1278464 w 3785642"/>
                <a:gd name="connsiteY159" fmla="*/ 473786 h 479077"/>
                <a:gd name="connsiteX160" fmla="*/ 1262093 w 3785642"/>
                <a:gd name="connsiteY160" fmla="*/ 473786 h 479077"/>
                <a:gd name="connsiteX161" fmla="*/ 1245723 w 3785642"/>
                <a:gd name="connsiteY161" fmla="*/ 473290 h 479077"/>
                <a:gd name="connsiteX162" fmla="*/ 1229352 w 3785642"/>
                <a:gd name="connsiteY162" fmla="*/ 472794 h 479077"/>
                <a:gd name="connsiteX163" fmla="*/ 1212981 w 3785642"/>
                <a:gd name="connsiteY163" fmla="*/ 473786 h 479077"/>
                <a:gd name="connsiteX164" fmla="*/ 1196611 w 3785642"/>
                <a:gd name="connsiteY164" fmla="*/ 472298 h 479077"/>
                <a:gd name="connsiteX165" fmla="*/ 1180240 w 3785642"/>
                <a:gd name="connsiteY165" fmla="*/ 472794 h 479077"/>
                <a:gd name="connsiteX166" fmla="*/ 1163870 w 3785642"/>
                <a:gd name="connsiteY166" fmla="*/ 472794 h 479077"/>
                <a:gd name="connsiteX167" fmla="*/ 1147499 w 3785642"/>
                <a:gd name="connsiteY167" fmla="*/ 473786 h 479077"/>
                <a:gd name="connsiteX168" fmla="*/ 1131128 w 3785642"/>
                <a:gd name="connsiteY168" fmla="*/ 473786 h 479077"/>
                <a:gd name="connsiteX169" fmla="*/ 1114758 w 3785642"/>
                <a:gd name="connsiteY169" fmla="*/ 472794 h 479077"/>
                <a:gd name="connsiteX170" fmla="*/ 1098387 w 3785642"/>
                <a:gd name="connsiteY170" fmla="*/ 473786 h 479077"/>
                <a:gd name="connsiteX171" fmla="*/ 1082017 w 3785642"/>
                <a:gd name="connsiteY171" fmla="*/ 474778 h 479077"/>
                <a:gd name="connsiteX172" fmla="*/ 1065646 w 3785642"/>
                <a:gd name="connsiteY172" fmla="*/ 474778 h 479077"/>
                <a:gd name="connsiteX173" fmla="*/ 1049276 w 3785642"/>
                <a:gd name="connsiteY173" fmla="*/ 474282 h 479077"/>
                <a:gd name="connsiteX174" fmla="*/ 1032905 w 3785642"/>
                <a:gd name="connsiteY174" fmla="*/ 473290 h 479077"/>
                <a:gd name="connsiteX175" fmla="*/ 1016535 w 3785642"/>
                <a:gd name="connsiteY175" fmla="*/ 474282 h 479077"/>
                <a:gd name="connsiteX176" fmla="*/ 1000164 w 3785642"/>
                <a:gd name="connsiteY176" fmla="*/ 474282 h 479077"/>
                <a:gd name="connsiteX177" fmla="*/ 983793 w 3785642"/>
                <a:gd name="connsiteY177" fmla="*/ 472794 h 479077"/>
                <a:gd name="connsiteX178" fmla="*/ 967423 w 3785642"/>
                <a:gd name="connsiteY178" fmla="*/ 472794 h 479077"/>
                <a:gd name="connsiteX179" fmla="*/ 951052 w 3785642"/>
                <a:gd name="connsiteY179" fmla="*/ 473786 h 479077"/>
                <a:gd name="connsiteX180" fmla="*/ 934682 w 3785642"/>
                <a:gd name="connsiteY180" fmla="*/ 474282 h 479077"/>
                <a:gd name="connsiteX181" fmla="*/ 918311 w 3785642"/>
                <a:gd name="connsiteY181" fmla="*/ 474778 h 479077"/>
                <a:gd name="connsiteX182" fmla="*/ 901940 w 3785642"/>
                <a:gd name="connsiteY182" fmla="*/ 473290 h 479077"/>
                <a:gd name="connsiteX183" fmla="*/ 885570 w 3785642"/>
                <a:gd name="connsiteY183" fmla="*/ 474778 h 479077"/>
                <a:gd name="connsiteX184" fmla="*/ 869199 w 3785642"/>
                <a:gd name="connsiteY184" fmla="*/ 474282 h 479077"/>
                <a:gd name="connsiteX185" fmla="*/ 852829 w 3785642"/>
                <a:gd name="connsiteY185" fmla="*/ 473786 h 479077"/>
                <a:gd name="connsiteX186" fmla="*/ 836458 w 3785642"/>
                <a:gd name="connsiteY186" fmla="*/ 474778 h 479077"/>
                <a:gd name="connsiteX187" fmla="*/ 820088 w 3785642"/>
                <a:gd name="connsiteY187" fmla="*/ 475274 h 479077"/>
                <a:gd name="connsiteX188" fmla="*/ 803717 w 3785642"/>
                <a:gd name="connsiteY188" fmla="*/ 473786 h 479077"/>
                <a:gd name="connsiteX189" fmla="*/ 787347 w 3785642"/>
                <a:gd name="connsiteY189" fmla="*/ 475770 h 479077"/>
                <a:gd name="connsiteX190" fmla="*/ 770976 w 3785642"/>
                <a:gd name="connsiteY190" fmla="*/ 474778 h 479077"/>
                <a:gd name="connsiteX191" fmla="*/ 754605 w 3785642"/>
                <a:gd name="connsiteY191" fmla="*/ 475274 h 479077"/>
                <a:gd name="connsiteX192" fmla="*/ 738235 w 3785642"/>
                <a:gd name="connsiteY192" fmla="*/ 473786 h 479077"/>
                <a:gd name="connsiteX193" fmla="*/ 721864 w 3785642"/>
                <a:gd name="connsiteY193" fmla="*/ 475274 h 479077"/>
                <a:gd name="connsiteX194" fmla="*/ 705494 w 3785642"/>
                <a:gd name="connsiteY194" fmla="*/ 475770 h 479077"/>
                <a:gd name="connsiteX195" fmla="*/ 689123 w 3785642"/>
                <a:gd name="connsiteY195" fmla="*/ 474282 h 479077"/>
                <a:gd name="connsiteX196" fmla="*/ 672753 w 3785642"/>
                <a:gd name="connsiteY196" fmla="*/ 475274 h 479077"/>
                <a:gd name="connsiteX197" fmla="*/ 656382 w 3785642"/>
                <a:gd name="connsiteY197" fmla="*/ 474778 h 479077"/>
                <a:gd name="connsiteX198" fmla="*/ 640011 w 3785642"/>
                <a:gd name="connsiteY198" fmla="*/ 475770 h 479077"/>
                <a:gd name="connsiteX199" fmla="*/ 623641 w 3785642"/>
                <a:gd name="connsiteY199" fmla="*/ 473786 h 479077"/>
                <a:gd name="connsiteX200" fmla="*/ 607270 w 3785642"/>
                <a:gd name="connsiteY200" fmla="*/ 474778 h 479077"/>
                <a:gd name="connsiteX201" fmla="*/ 590900 w 3785642"/>
                <a:gd name="connsiteY201" fmla="*/ 475274 h 479077"/>
                <a:gd name="connsiteX202" fmla="*/ 574529 w 3785642"/>
                <a:gd name="connsiteY202" fmla="*/ 474282 h 479077"/>
                <a:gd name="connsiteX203" fmla="*/ 558158 w 3785642"/>
                <a:gd name="connsiteY203" fmla="*/ 475274 h 479077"/>
                <a:gd name="connsiteX204" fmla="*/ 541788 w 3785642"/>
                <a:gd name="connsiteY204" fmla="*/ 475770 h 479077"/>
                <a:gd name="connsiteX205" fmla="*/ 525417 w 3785642"/>
                <a:gd name="connsiteY205" fmla="*/ 474282 h 479077"/>
                <a:gd name="connsiteX206" fmla="*/ 509047 w 3785642"/>
                <a:gd name="connsiteY206" fmla="*/ 473786 h 479077"/>
                <a:gd name="connsiteX207" fmla="*/ 492676 w 3785642"/>
                <a:gd name="connsiteY207" fmla="*/ 473786 h 479077"/>
                <a:gd name="connsiteX208" fmla="*/ 476306 w 3785642"/>
                <a:gd name="connsiteY208" fmla="*/ 474778 h 479077"/>
                <a:gd name="connsiteX209" fmla="*/ 459935 w 3785642"/>
                <a:gd name="connsiteY209" fmla="*/ 473786 h 479077"/>
                <a:gd name="connsiteX210" fmla="*/ 443565 w 3785642"/>
                <a:gd name="connsiteY210" fmla="*/ 474778 h 479077"/>
                <a:gd name="connsiteX211" fmla="*/ 427194 w 3785642"/>
                <a:gd name="connsiteY211" fmla="*/ 474282 h 479077"/>
                <a:gd name="connsiteX212" fmla="*/ 410823 w 3785642"/>
                <a:gd name="connsiteY212" fmla="*/ 473290 h 479077"/>
                <a:gd name="connsiteX213" fmla="*/ 394453 w 3785642"/>
                <a:gd name="connsiteY213" fmla="*/ 475770 h 479077"/>
                <a:gd name="connsiteX214" fmla="*/ 378082 w 3785642"/>
                <a:gd name="connsiteY214" fmla="*/ 475274 h 479077"/>
                <a:gd name="connsiteX215" fmla="*/ 361712 w 3785642"/>
                <a:gd name="connsiteY215" fmla="*/ 474778 h 479077"/>
                <a:gd name="connsiteX216" fmla="*/ 345341 w 3785642"/>
                <a:gd name="connsiteY216" fmla="*/ 476266 h 479077"/>
                <a:gd name="connsiteX217" fmla="*/ 328970 w 3785642"/>
                <a:gd name="connsiteY217" fmla="*/ 474282 h 479077"/>
                <a:gd name="connsiteX218" fmla="*/ 312600 w 3785642"/>
                <a:gd name="connsiteY218" fmla="*/ 475274 h 479077"/>
                <a:gd name="connsiteX219" fmla="*/ 296229 w 3785642"/>
                <a:gd name="connsiteY219" fmla="*/ 474282 h 479077"/>
                <a:gd name="connsiteX220" fmla="*/ 279859 w 3785642"/>
                <a:gd name="connsiteY220" fmla="*/ 475770 h 479077"/>
                <a:gd name="connsiteX221" fmla="*/ 263488 w 3785642"/>
                <a:gd name="connsiteY221" fmla="*/ 476266 h 479077"/>
                <a:gd name="connsiteX222" fmla="*/ 247118 w 3785642"/>
                <a:gd name="connsiteY222" fmla="*/ 476266 h 479077"/>
                <a:gd name="connsiteX223" fmla="*/ 230747 w 3785642"/>
                <a:gd name="connsiteY223" fmla="*/ 474778 h 479077"/>
                <a:gd name="connsiteX224" fmla="*/ 214376 w 3785642"/>
                <a:gd name="connsiteY224" fmla="*/ 474778 h 479077"/>
                <a:gd name="connsiteX225" fmla="*/ 198006 w 3785642"/>
                <a:gd name="connsiteY225" fmla="*/ 476762 h 479077"/>
                <a:gd name="connsiteX226" fmla="*/ 181635 w 3785642"/>
                <a:gd name="connsiteY226" fmla="*/ 476266 h 479077"/>
                <a:gd name="connsiteX227" fmla="*/ 165265 w 3785642"/>
                <a:gd name="connsiteY227" fmla="*/ 474778 h 479077"/>
                <a:gd name="connsiteX228" fmla="*/ 148894 w 3785642"/>
                <a:gd name="connsiteY228" fmla="*/ 476762 h 479077"/>
                <a:gd name="connsiteX229" fmla="*/ 132524 w 3785642"/>
                <a:gd name="connsiteY229" fmla="*/ 476266 h 479077"/>
                <a:gd name="connsiteX230" fmla="*/ 116153 w 3785642"/>
                <a:gd name="connsiteY230" fmla="*/ 475274 h 479077"/>
                <a:gd name="connsiteX231" fmla="*/ 99783 w 3785642"/>
                <a:gd name="connsiteY231" fmla="*/ 475274 h 479077"/>
                <a:gd name="connsiteX232" fmla="*/ 83412 w 3785642"/>
                <a:gd name="connsiteY232" fmla="*/ 475274 h 479077"/>
                <a:gd name="connsiteX233" fmla="*/ 67041 w 3785642"/>
                <a:gd name="connsiteY233" fmla="*/ 474778 h 479077"/>
                <a:gd name="connsiteX234" fmla="*/ 50671 w 3785642"/>
                <a:gd name="connsiteY234" fmla="*/ 475274 h 479077"/>
                <a:gd name="connsiteX235" fmla="*/ 34300 w 3785642"/>
                <a:gd name="connsiteY235" fmla="*/ 475274 h 479077"/>
                <a:gd name="connsiteX236" fmla="*/ 17930 w 3785642"/>
                <a:gd name="connsiteY236" fmla="*/ 475770 h 479077"/>
                <a:gd name="connsiteX237" fmla="*/ 567 w 3785642"/>
                <a:gd name="connsiteY237" fmla="*/ 475770 h 479077"/>
                <a:gd name="connsiteX238" fmla="*/ 12969 w 3785642"/>
                <a:gd name="connsiteY238" fmla="*/ 463368 h 479077"/>
                <a:gd name="connsiteX239" fmla="*/ 24379 w 3785642"/>
                <a:gd name="connsiteY239" fmla="*/ 451958 h 479077"/>
                <a:gd name="connsiteX240" fmla="*/ 35788 w 3785642"/>
                <a:gd name="connsiteY240" fmla="*/ 440053 h 479077"/>
                <a:gd name="connsiteX241" fmla="*/ 48686 w 3785642"/>
                <a:gd name="connsiteY241" fmla="*/ 430131 h 479077"/>
                <a:gd name="connsiteX242" fmla="*/ 59600 w 3785642"/>
                <a:gd name="connsiteY242" fmla="*/ 418225 h 479077"/>
                <a:gd name="connsiteX243" fmla="*/ 70514 w 3785642"/>
                <a:gd name="connsiteY243" fmla="*/ 405823 h 479077"/>
                <a:gd name="connsiteX244" fmla="*/ 83412 w 3785642"/>
                <a:gd name="connsiteY244" fmla="*/ 395406 h 479077"/>
                <a:gd name="connsiteX245" fmla="*/ 94822 w 3785642"/>
                <a:gd name="connsiteY245" fmla="*/ 383500 h 479077"/>
                <a:gd name="connsiteX246" fmla="*/ 106728 w 3785642"/>
                <a:gd name="connsiteY246" fmla="*/ 372090 h 479077"/>
                <a:gd name="connsiteX247" fmla="*/ 117145 w 3785642"/>
                <a:gd name="connsiteY247" fmla="*/ 359688 h 479077"/>
                <a:gd name="connsiteX248" fmla="*/ 128555 w 3785642"/>
                <a:gd name="connsiteY248" fmla="*/ 348278 h 479077"/>
                <a:gd name="connsiteX249" fmla="*/ 140461 w 3785642"/>
                <a:gd name="connsiteY249" fmla="*/ 336868 h 479077"/>
                <a:gd name="connsiteX250" fmla="*/ 152863 w 3785642"/>
                <a:gd name="connsiteY250" fmla="*/ 326451 h 479077"/>
                <a:gd name="connsiteX251" fmla="*/ 164769 w 3785642"/>
                <a:gd name="connsiteY251" fmla="*/ 315041 h 479077"/>
                <a:gd name="connsiteX252" fmla="*/ 176178 w 3785642"/>
                <a:gd name="connsiteY252" fmla="*/ 303135 h 479077"/>
                <a:gd name="connsiteX253" fmla="*/ 188084 w 3785642"/>
                <a:gd name="connsiteY253" fmla="*/ 291725 h 479077"/>
                <a:gd name="connsiteX254" fmla="*/ 199494 w 3785642"/>
                <a:gd name="connsiteY254" fmla="*/ 280315 h 479077"/>
                <a:gd name="connsiteX255" fmla="*/ 210904 w 3785642"/>
                <a:gd name="connsiteY255" fmla="*/ 268906 h 479077"/>
                <a:gd name="connsiteX256" fmla="*/ 221818 w 3785642"/>
                <a:gd name="connsiteY256" fmla="*/ 256504 h 479077"/>
                <a:gd name="connsiteX257" fmla="*/ 233724 w 3785642"/>
                <a:gd name="connsiteY257" fmla="*/ 245094 h 479077"/>
                <a:gd name="connsiteX258" fmla="*/ 244141 w 3785642"/>
                <a:gd name="connsiteY258" fmla="*/ 232692 h 479077"/>
                <a:gd name="connsiteX259" fmla="*/ 257039 w 3785642"/>
                <a:gd name="connsiteY259" fmla="*/ 222770 h 479077"/>
                <a:gd name="connsiteX260" fmla="*/ 266961 w 3785642"/>
                <a:gd name="connsiteY260" fmla="*/ 209376 h 479077"/>
                <a:gd name="connsiteX261" fmla="*/ 278371 w 3785642"/>
                <a:gd name="connsiteY261" fmla="*/ 197966 h 479077"/>
                <a:gd name="connsiteX262" fmla="*/ 291269 w 3785642"/>
                <a:gd name="connsiteY262" fmla="*/ 188045 h 479077"/>
                <a:gd name="connsiteX263" fmla="*/ 301686 w 3785642"/>
                <a:gd name="connsiteY263" fmla="*/ 175147 h 479077"/>
                <a:gd name="connsiteX264" fmla="*/ 313592 w 3785642"/>
                <a:gd name="connsiteY264" fmla="*/ 163737 h 479077"/>
                <a:gd name="connsiteX265" fmla="*/ 325994 w 3785642"/>
                <a:gd name="connsiteY265" fmla="*/ 153319 h 479077"/>
                <a:gd name="connsiteX266" fmla="*/ 337404 w 3785642"/>
                <a:gd name="connsiteY266" fmla="*/ 141910 h 479077"/>
                <a:gd name="connsiteX267" fmla="*/ 347325 w 3785642"/>
                <a:gd name="connsiteY267" fmla="*/ 129012 h 479077"/>
                <a:gd name="connsiteX268" fmla="*/ 360224 w 3785642"/>
                <a:gd name="connsiteY268" fmla="*/ 118594 h 479077"/>
                <a:gd name="connsiteX269" fmla="*/ 371137 w 3785642"/>
                <a:gd name="connsiteY269" fmla="*/ 106192 h 479077"/>
                <a:gd name="connsiteX270" fmla="*/ 382051 w 3785642"/>
                <a:gd name="connsiteY270" fmla="*/ 93790 h 479077"/>
                <a:gd name="connsiteX271" fmla="*/ 393957 w 3785642"/>
                <a:gd name="connsiteY271" fmla="*/ 82380 h 479077"/>
                <a:gd name="connsiteX272" fmla="*/ 405366 w 3785642"/>
                <a:gd name="connsiteY272" fmla="*/ 70475 h 479077"/>
                <a:gd name="connsiteX273" fmla="*/ 417272 w 3785642"/>
                <a:gd name="connsiteY273" fmla="*/ 59561 h 479077"/>
                <a:gd name="connsiteX274" fmla="*/ 429674 w 3785642"/>
                <a:gd name="connsiteY274" fmla="*/ 48647 h 479077"/>
                <a:gd name="connsiteX275" fmla="*/ 440092 w 3785642"/>
                <a:gd name="connsiteY275" fmla="*/ 35749 h 479077"/>
                <a:gd name="connsiteX276" fmla="*/ 452494 w 3785642"/>
                <a:gd name="connsiteY276" fmla="*/ 24835 h 479077"/>
                <a:gd name="connsiteX277" fmla="*/ 463904 w 3785642"/>
                <a:gd name="connsiteY277" fmla="*/ 12929 h 479077"/>
                <a:gd name="connsiteX278" fmla="*/ 475313 w 3785642"/>
                <a:gd name="connsiteY278" fmla="*/ 1024 h 479077"/>
                <a:gd name="connsiteX279" fmla="*/ 491684 w 3785642"/>
                <a:gd name="connsiteY279" fmla="*/ 2512 h 479077"/>
                <a:gd name="connsiteX280" fmla="*/ 508055 w 3785642"/>
                <a:gd name="connsiteY280" fmla="*/ 2512 h 479077"/>
                <a:gd name="connsiteX281" fmla="*/ 524425 w 3785642"/>
                <a:gd name="connsiteY281" fmla="*/ 2512 h 479077"/>
                <a:gd name="connsiteX282" fmla="*/ 540796 w 3785642"/>
                <a:gd name="connsiteY282" fmla="*/ 1024 h 479077"/>
                <a:gd name="connsiteX283" fmla="*/ 557166 w 3785642"/>
                <a:gd name="connsiteY283" fmla="*/ 2512 h 479077"/>
                <a:gd name="connsiteX284" fmla="*/ 573537 w 3785642"/>
                <a:gd name="connsiteY284" fmla="*/ 1024 h 479077"/>
                <a:gd name="connsiteX285" fmla="*/ 589908 w 3785642"/>
                <a:gd name="connsiteY285" fmla="*/ 527 h 479077"/>
                <a:gd name="connsiteX286" fmla="*/ 606278 w 3785642"/>
                <a:gd name="connsiteY286" fmla="*/ 1520 h 479077"/>
                <a:gd name="connsiteX287" fmla="*/ 622649 w 3785642"/>
                <a:gd name="connsiteY287" fmla="*/ 1520 h 479077"/>
                <a:gd name="connsiteX288" fmla="*/ 639019 w 3785642"/>
                <a:gd name="connsiteY288" fmla="*/ 2016 h 479077"/>
                <a:gd name="connsiteX289" fmla="*/ 655390 w 3785642"/>
                <a:gd name="connsiteY289" fmla="*/ 527 h 479077"/>
                <a:gd name="connsiteX290" fmla="*/ 671760 w 3785642"/>
                <a:gd name="connsiteY290" fmla="*/ 1520 h 479077"/>
                <a:gd name="connsiteX291" fmla="*/ 688131 w 3785642"/>
                <a:gd name="connsiteY291" fmla="*/ 2512 h 479077"/>
                <a:gd name="connsiteX292" fmla="*/ 704501 w 3785642"/>
                <a:gd name="connsiteY292" fmla="*/ 1024 h 479077"/>
                <a:gd name="connsiteX293" fmla="*/ 720872 w 3785642"/>
                <a:gd name="connsiteY293" fmla="*/ 1520 h 479077"/>
                <a:gd name="connsiteX294" fmla="*/ 737243 w 3785642"/>
                <a:gd name="connsiteY294" fmla="*/ 2016 h 479077"/>
                <a:gd name="connsiteX295" fmla="*/ 753613 w 3785642"/>
                <a:gd name="connsiteY295" fmla="*/ 1024 h 479077"/>
                <a:gd name="connsiteX296" fmla="*/ 769984 w 3785642"/>
                <a:gd name="connsiteY296" fmla="*/ 527 h 479077"/>
                <a:gd name="connsiteX297" fmla="*/ 786354 w 3785642"/>
                <a:gd name="connsiteY297" fmla="*/ 1520 h 479077"/>
                <a:gd name="connsiteX298" fmla="*/ 802725 w 3785642"/>
                <a:gd name="connsiteY298" fmla="*/ 527 h 479077"/>
                <a:gd name="connsiteX299" fmla="*/ 819096 w 3785642"/>
                <a:gd name="connsiteY299" fmla="*/ 2512 h 479077"/>
                <a:gd name="connsiteX300" fmla="*/ 835466 w 3785642"/>
                <a:gd name="connsiteY300" fmla="*/ 527 h 479077"/>
                <a:gd name="connsiteX301" fmla="*/ 851837 w 3785642"/>
                <a:gd name="connsiteY301" fmla="*/ 1520 h 479077"/>
                <a:gd name="connsiteX302" fmla="*/ 868207 w 3785642"/>
                <a:gd name="connsiteY302" fmla="*/ 2016 h 479077"/>
                <a:gd name="connsiteX303" fmla="*/ 884578 w 3785642"/>
                <a:gd name="connsiteY303" fmla="*/ 2512 h 479077"/>
                <a:gd name="connsiteX304" fmla="*/ 900948 w 3785642"/>
                <a:gd name="connsiteY304" fmla="*/ 1520 h 479077"/>
                <a:gd name="connsiteX305" fmla="*/ 917319 w 3785642"/>
                <a:gd name="connsiteY305" fmla="*/ 1024 h 479077"/>
                <a:gd name="connsiteX306" fmla="*/ 933689 w 3785642"/>
                <a:gd name="connsiteY306" fmla="*/ 2512 h 479077"/>
                <a:gd name="connsiteX307" fmla="*/ 950060 w 3785642"/>
                <a:gd name="connsiteY307" fmla="*/ 1520 h 479077"/>
                <a:gd name="connsiteX308" fmla="*/ 966431 w 3785642"/>
                <a:gd name="connsiteY308" fmla="*/ 2016 h 479077"/>
                <a:gd name="connsiteX309" fmla="*/ 982801 w 3785642"/>
                <a:gd name="connsiteY309" fmla="*/ 2512 h 479077"/>
                <a:gd name="connsiteX310" fmla="*/ 999172 w 3785642"/>
                <a:gd name="connsiteY310" fmla="*/ 1520 h 479077"/>
                <a:gd name="connsiteX311" fmla="*/ 1015542 w 3785642"/>
                <a:gd name="connsiteY311" fmla="*/ 2512 h 479077"/>
                <a:gd name="connsiteX312" fmla="*/ 1031913 w 3785642"/>
                <a:gd name="connsiteY312" fmla="*/ 1520 h 479077"/>
                <a:gd name="connsiteX313" fmla="*/ 1048283 w 3785642"/>
                <a:gd name="connsiteY313" fmla="*/ 2016 h 479077"/>
                <a:gd name="connsiteX314" fmla="*/ 1064654 w 3785642"/>
                <a:gd name="connsiteY314" fmla="*/ 3504 h 479077"/>
                <a:gd name="connsiteX315" fmla="*/ 1081025 w 3785642"/>
                <a:gd name="connsiteY315" fmla="*/ 2016 h 479077"/>
                <a:gd name="connsiteX316" fmla="*/ 1097395 w 3785642"/>
                <a:gd name="connsiteY316" fmla="*/ 2512 h 479077"/>
                <a:gd name="connsiteX317" fmla="*/ 1113766 w 3785642"/>
                <a:gd name="connsiteY317" fmla="*/ 2512 h 479077"/>
                <a:gd name="connsiteX318" fmla="*/ 1130136 w 3785642"/>
                <a:gd name="connsiteY318" fmla="*/ 3504 h 479077"/>
                <a:gd name="connsiteX319" fmla="*/ 1146507 w 3785642"/>
                <a:gd name="connsiteY319" fmla="*/ 1520 h 479077"/>
                <a:gd name="connsiteX320" fmla="*/ 1162878 w 3785642"/>
                <a:gd name="connsiteY320" fmla="*/ 3008 h 479077"/>
                <a:gd name="connsiteX321" fmla="*/ 1179248 w 3785642"/>
                <a:gd name="connsiteY321" fmla="*/ 4000 h 479077"/>
                <a:gd name="connsiteX322" fmla="*/ 1195619 w 3785642"/>
                <a:gd name="connsiteY322" fmla="*/ 3504 h 479077"/>
                <a:gd name="connsiteX323" fmla="*/ 1211989 w 3785642"/>
                <a:gd name="connsiteY323" fmla="*/ 1520 h 479077"/>
                <a:gd name="connsiteX324" fmla="*/ 1228360 w 3785642"/>
                <a:gd name="connsiteY324" fmla="*/ 3504 h 479077"/>
                <a:gd name="connsiteX325" fmla="*/ 1244730 w 3785642"/>
                <a:gd name="connsiteY325" fmla="*/ 1520 h 479077"/>
                <a:gd name="connsiteX326" fmla="*/ 1261101 w 3785642"/>
                <a:gd name="connsiteY326" fmla="*/ 2512 h 479077"/>
                <a:gd name="connsiteX327" fmla="*/ 1277471 w 3785642"/>
                <a:gd name="connsiteY327" fmla="*/ 3504 h 479077"/>
                <a:gd name="connsiteX328" fmla="*/ 1293842 w 3785642"/>
                <a:gd name="connsiteY328" fmla="*/ 4000 h 479077"/>
                <a:gd name="connsiteX329" fmla="*/ 1310213 w 3785642"/>
                <a:gd name="connsiteY329" fmla="*/ 1520 h 479077"/>
                <a:gd name="connsiteX330" fmla="*/ 1326583 w 3785642"/>
                <a:gd name="connsiteY330" fmla="*/ 2016 h 479077"/>
                <a:gd name="connsiteX331" fmla="*/ 1342954 w 3785642"/>
                <a:gd name="connsiteY331" fmla="*/ 3008 h 479077"/>
                <a:gd name="connsiteX332" fmla="*/ 1359324 w 3785642"/>
                <a:gd name="connsiteY332" fmla="*/ 3008 h 479077"/>
                <a:gd name="connsiteX333" fmla="*/ 1375695 w 3785642"/>
                <a:gd name="connsiteY333" fmla="*/ 2512 h 479077"/>
                <a:gd name="connsiteX334" fmla="*/ 1392066 w 3785642"/>
                <a:gd name="connsiteY334" fmla="*/ 2512 h 479077"/>
                <a:gd name="connsiteX335" fmla="*/ 1408436 w 3785642"/>
                <a:gd name="connsiteY335" fmla="*/ 3504 h 479077"/>
                <a:gd name="connsiteX336" fmla="*/ 1424807 w 3785642"/>
                <a:gd name="connsiteY336" fmla="*/ 3504 h 479077"/>
                <a:gd name="connsiteX337" fmla="*/ 1441177 w 3785642"/>
                <a:gd name="connsiteY337" fmla="*/ 1520 h 479077"/>
                <a:gd name="connsiteX338" fmla="*/ 1457548 w 3785642"/>
                <a:gd name="connsiteY338" fmla="*/ 2512 h 479077"/>
                <a:gd name="connsiteX339" fmla="*/ 1473919 w 3785642"/>
                <a:gd name="connsiteY339" fmla="*/ 2016 h 479077"/>
                <a:gd name="connsiteX340" fmla="*/ 1490289 w 3785642"/>
                <a:gd name="connsiteY340" fmla="*/ 2016 h 479077"/>
                <a:gd name="connsiteX341" fmla="*/ 1506660 w 3785642"/>
                <a:gd name="connsiteY341" fmla="*/ 1520 h 479077"/>
                <a:gd name="connsiteX342" fmla="*/ 1523030 w 3785642"/>
                <a:gd name="connsiteY342" fmla="*/ 3504 h 479077"/>
                <a:gd name="connsiteX343" fmla="*/ 1539401 w 3785642"/>
                <a:gd name="connsiteY343" fmla="*/ 3008 h 479077"/>
                <a:gd name="connsiteX344" fmla="*/ 1555771 w 3785642"/>
                <a:gd name="connsiteY344" fmla="*/ 3008 h 479077"/>
                <a:gd name="connsiteX345" fmla="*/ 1572142 w 3785642"/>
                <a:gd name="connsiteY345" fmla="*/ 2512 h 479077"/>
                <a:gd name="connsiteX346" fmla="*/ 1588512 w 3785642"/>
                <a:gd name="connsiteY346" fmla="*/ 2016 h 479077"/>
                <a:gd name="connsiteX347" fmla="*/ 1604883 w 3785642"/>
                <a:gd name="connsiteY347" fmla="*/ 3008 h 479077"/>
                <a:gd name="connsiteX348" fmla="*/ 1621253 w 3785642"/>
                <a:gd name="connsiteY348" fmla="*/ 3008 h 479077"/>
                <a:gd name="connsiteX349" fmla="*/ 1637624 w 3785642"/>
                <a:gd name="connsiteY34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13375 w 3785642"/>
                <a:gd name="connsiteY22" fmla="*/ 10945 h 479077"/>
                <a:gd name="connsiteX23" fmla="*/ 3300973 w 3785642"/>
                <a:gd name="connsiteY23" fmla="*/ 21363 h 479077"/>
                <a:gd name="connsiteX24" fmla="*/ 3289068 w 3785642"/>
                <a:gd name="connsiteY24" fmla="*/ 32276 h 479077"/>
                <a:gd name="connsiteX25" fmla="*/ 3277658 w 3785642"/>
                <a:gd name="connsiteY25" fmla="*/ 43686 h 479077"/>
                <a:gd name="connsiteX26" fmla="*/ 3266248 w 3785642"/>
                <a:gd name="connsiteY26" fmla="*/ 55592 h 479077"/>
                <a:gd name="connsiteX27" fmla="*/ 3255830 w 3785642"/>
                <a:gd name="connsiteY27" fmla="*/ 68490 h 479077"/>
                <a:gd name="connsiteX28" fmla="*/ 3243924 w 3785642"/>
                <a:gd name="connsiteY28" fmla="*/ 79900 h 479077"/>
                <a:gd name="connsiteX29" fmla="*/ 3231522 w 3785642"/>
                <a:gd name="connsiteY29" fmla="*/ 90814 h 479077"/>
                <a:gd name="connsiteX30" fmla="*/ 3220609 w 3785642"/>
                <a:gd name="connsiteY30" fmla="*/ 102720 h 479077"/>
                <a:gd name="connsiteX31" fmla="*/ 3208207 w 3785642"/>
                <a:gd name="connsiteY31" fmla="*/ 113137 h 479077"/>
                <a:gd name="connsiteX32" fmla="*/ 3197293 w 3785642"/>
                <a:gd name="connsiteY32" fmla="*/ 125043 h 479077"/>
                <a:gd name="connsiteX33" fmla="*/ 3185387 w 3785642"/>
                <a:gd name="connsiteY33" fmla="*/ 136453 h 479077"/>
                <a:gd name="connsiteX34" fmla="*/ 3174970 w 3785642"/>
                <a:gd name="connsiteY34" fmla="*/ 148855 h 479077"/>
                <a:gd name="connsiteX35" fmla="*/ 3162071 w 3785642"/>
                <a:gd name="connsiteY35" fmla="*/ 159272 h 479077"/>
                <a:gd name="connsiteX36" fmla="*/ 3151158 w 3785642"/>
                <a:gd name="connsiteY36" fmla="*/ 171674 h 479077"/>
                <a:gd name="connsiteX37" fmla="*/ 3139252 w 3785642"/>
                <a:gd name="connsiteY37" fmla="*/ 182588 h 479077"/>
                <a:gd name="connsiteX38" fmla="*/ 3127843 w 3785642"/>
                <a:gd name="connsiteY38" fmla="*/ 194494 h 479077"/>
                <a:gd name="connsiteX39" fmla="*/ 3116432 w 3785642"/>
                <a:gd name="connsiteY39" fmla="*/ 205904 h 479077"/>
                <a:gd name="connsiteX40" fmla="*/ 3105022 w 3785642"/>
                <a:gd name="connsiteY40" fmla="*/ 217810 h 479077"/>
                <a:gd name="connsiteX41" fmla="*/ 3093117 w 3785642"/>
                <a:gd name="connsiteY41" fmla="*/ 229219 h 479077"/>
                <a:gd name="connsiteX42" fmla="*/ 3081707 w 3785642"/>
                <a:gd name="connsiteY42" fmla="*/ 240629 h 479077"/>
                <a:gd name="connsiteX43" fmla="*/ 3069305 w 3785642"/>
                <a:gd name="connsiteY43" fmla="*/ 251543 h 479077"/>
                <a:gd name="connsiteX44" fmla="*/ 3057895 w 3785642"/>
                <a:gd name="connsiteY44" fmla="*/ 263449 h 479077"/>
                <a:gd name="connsiteX45" fmla="*/ 3046486 w 3785642"/>
                <a:gd name="connsiteY45" fmla="*/ 275355 h 479077"/>
                <a:gd name="connsiteX46" fmla="*/ 3035572 w 3785642"/>
                <a:gd name="connsiteY46" fmla="*/ 287260 h 479077"/>
                <a:gd name="connsiteX47" fmla="*/ 3024658 w 3785642"/>
                <a:gd name="connsiteY47" fmla="*/ 299166 h 479077"/>
                <a:gd name="connsiteX48" fmla="*/ 3013248 w 3785642"/>
                <a:gd name="connsiteY48" fmla="*/ 311072 h 479077"/>
                <a:gd name="connsiteX49" fmla="*/ 3000350 w 3785642"/>
                <a:gd name="connsiteY49" fmla="*/ 321490 h 479077"/>
                <a:gd name="connsiteX50" fmla="*/ 2988941 w 3785642"/>
                <a:gd name="connsiteY50" fmla="*/ 333396 h 479077"/>
                <a:gd name="connsiteX51" fmla="*/ 2976539 w 3785642"/>
                <a:gd name="connsiteY51" fmla="*/ 344309 h 479077"/>
                <a:gd name="connsiteX52" fmla="*/ 2965129 w 3785642"/>
                <a:gd name="connsiteY52" fmla="*/ 356215 h 479077"/>
                <a:gd name="connsiteX53" fmla="*/ 2953223 w 3785642"/>
                <a:gd name="connsiteY53" fmla="*/ 367625 h 479077"/>
                <a:gd name="connsiteX54" fmla="*/ 2941813 w 3785642"/>
                <a:gd name="connsiteY54" fmla="*/ 379531 h 479077"/>
                <a:gd name="connsiteX55" fmla="*/ 2931395 w 3785642"/>
                <a:gd name="connsiteY55" fmla="*/ 392429 h 479077"/>
                <a:gd name="connsiteX56" fmla="*/ 2918497 w 3785642"/>
                <a:gd name="connsiteY56" fmla="*/ 402847 h 479077"/>
                <a:gd name="connsiteX57" fmla="*/ 2907584 w 3785642"/>
                <a:gd name="connsiteY57" fmla="*/ 415249 h 479077"/>
                <a:gd name="connsiteX58" fmla="*/ 2896174 w 3785642"/>
                <a:gd name="connsiteY58" fmla="*/ 426658 h 479077"/>
                <a:gd name="connsiteX59" fmla="*/ 2884268 w 3785642"/>
                <a:gd name="connsiteY59" fmla="*/ 438068 h 479077"/>
                <a:gd name="connsiteX60" fmla="*/ 2873354 w 3785642"/>
                <a:gd name="connsiteY60" fmla="*/ 450470 h 479077"/>
                <a:gd name="connsiteX61" fmla="*/ 2860952 w 3785642"/>
                <a:gd name="connsiteY61" fmla="*/ 461384 h 479077"/>
                <a:gd name="connsiteX62" fmla="*/ 2850039 w 3785642"/>
                <a:gd name="connsiteY62" fmla="*/ 473786 h 479077"/>
                <a:gd name="connsiteX63" fmla="*/ 2833668 w 3785642"/>
                <a:gd name="connsiteY63" fmla="*/ 473786 h 479077"/>
                <a:gd name="connsiteX64" fmla="*/ 2817297 w 3785642"/>
                <a:gd name="connsiteY64" fmla="*/ 473290 h 479077"/>
                <a:gd name="connsiteX65" fmla="*/ 2800927 w 3785642"/>
                <a:gd name="connsiteY65" fmla="*/ 473290 h 479077"/>
                <a:gd name="connsiteX66" fmla="*/ 2784556 w 3785642"/>
                <a:gd name="connsiteY66" fmla="*/ 473786 h 479077"/>
                <a:gd name="connsiteX67" fmla="*/ 2768186 w 3785642"/>
                <a:gd name="connsiteY67" fmla="*/ 474282 h 479077"/>
                <a:gd name="connsiteX68" fmla="*/ 2751815 w 3785642"/>
                <a:gd name="connsiteY68" fmla="*/ 474282 h 479077"/>
                <a:gd name="connsiteX69" fmla="*/ 2735444 w 3785642"/>
                <a:gd name="connsiteY69" fmla="*/ 473290 h 479077"/>
                <a:gd name="connsiteX70" fmla="*/ 2719074 w 3785642"/>
                <a:gd name="connsiteY70" fmla="*/ 474282 h 479077"/>
                <a:gd name="connsiteX71" fmla="*/ 2702703 w 3785642"/>
                <a:gd name="connsiteY71" fmla="*/ 472298 h 479077"/>
                <a:gd name="connsiteX72" fmla="*/ 2686333 w 3785642"/>
                <a:gd name="connsiteY72" fmla="*/ 472794 h 479077"/>
                <a:gd name="connsiteX73" fmla="*/ 2669962 w 3785642"/>
                <a:gd name="connsiteY73" fmla="*/ 474282 h 479077"/>
                <a:gd name="connsiteX74" fmla="*/ 2653592 w 3785642"/>
                <a:gd name="connsiteY74" fmla="*/ 472298 h 479077"/>
                <a:gd name="connsiteX75" fmla="*/ 2637221 w 3785642"/>
                <a:gd name="connsiteY75" fmla="*/ 474282 h 479077"/>
                <a:gd name="connsiteX76" fmla="*/ 2620851 w 3785642"/>
                <a:gd name="connsiteY76" fmla="*/ 474282 h 479077"/>
                <a:gd name="connsiteX77" fmla="*/ 2604480 w 3785642"/>
                <a:gd name="connsiteY77" fmla="*/ 472298 h 479077"/>
                <a:gd name="connsiteX78" fmla="*/ 2588109 w 3785642"/>
                <a:gd name="connsiteY78" fmla="*/ 473786 h 479077"/>
                <a:gd name="connsiteX79" fmla="*/ 2571739 w 3785642"/>
                <a:gd name="connsiteY79" fmla="*/ 472298 h 479077"/>
                <a:gd name="connsiteX80" fmla="*/ 2555368 w 3785642"/>
                <a:gd name="connsiteY80" fmla="*/ 473290 h 479077"/>
                <a:gd name="connsiteX81" fmla="*/ 2538998 w 3785642"/>
                <a:gd name="connsiteY81" fmla="*/ 474282 h 479077"/>
                <a:gd name="connsiteX82" fmla="*/ 2522627 w 3785642"/>
                <a:gd name="connsiteY82" fmla="*/ 473290 h 479077"/>
                <a:gd name="connsiteX83" fmla="*/ 2506257 w 3785642"/>
                <a:gd name="connsiteY83" fmla="*/ 474282 h 479077"/>
                <a:gd name="connsiteX84" fmla="*/ 2489886 w 3785642"/>
                <a:gd name="connsiteY84" fmla="*/ 473786 h 479077"/>
                <a:gd name="connsiteX85" fmla="*/ 2473516 w 3785642"/>
                <a:gd name="connsiteY85" fmla="*/ 474282 h 479077"/>
                <a:gd name="connsiteX86" fmla="*/ 2457145 w 3785642"/>
                <a:gd name="connsiteY86" fmla="*/ 472794 h 479077"/>
                <a:gd name="connsiteX87" fmla="*/ 2440775 w 3785642"/>
                <a:gd name="connsiteY87" fmla="*/ 472298 h 479077"/>
                <a:gd name="connsiteX88" fmla="*/ 2424404 w 3785642"/>
                <a:gd name="connsiteY88" fmla="*/ 473786 h 479077"/>
                <a:gd name="connsiteX89" fmla="*/ 2408033 w 3785642"/>
                <a:gd name="connsiteY89" fmla="*/ 472794 h 479077"/>
                <a:gd name="connsiteX90" fmla="*/ 2391663 w 3785642"/>
                <a:gd name="connsiteY90" fmla="*/ 473290 h 479077"/>
                <a:gd name="connsiteX91" fmla="*/ 2375292 w 3785642"/>
                <a:gd name="connsiteY91" fmla="*/ 473290 h 479077"/>
                <a:gd name="connsiteX92" fmla="*/ 2358922 w 3785642"/>
                <a:gd name="connsiteY92" fmla="*/ 472794 h 479077"/>
                <a:gd name="connsiteX93" fmla="*/ 2342551 w 3785642"/>
                <a:gd name="connsiteY93" fmla="*/ 472298 h 479077"/>
                <a:gd name="connsiteX94" fmla="*/ 2326180 w 3785642"/>
                <a:gd name="connsiteY94" fmla="*/ 473786 h 479077"/>
                <a:gd name="connsiteX95" fmla="*/ 2309810 w 3785642"/>
                <a:gd name="connsiteY95" fmla="*/ 473786 h 479077"/>
                <a:gd name="connsiteX96" fmla="*/ 2293439 w 3785642"/>
                <a:gd name="connsiteY96" fmla="*/ 473786 h 479077"/>
                <a:gd name="connsiteX97" fmla="*/ 2277069 w 3785642"/>
                <a:gd name="connsiteY97" fmla="*/ 472794 h 479077"/>
                <a:gd name="connsiteX98" fmla="*/ 2260698 w 3785642"/>
                <a:gd name="connsiteY98" fmla="*/ 474282 h 479077"/>
                <a:gd name="connsiteX99" fmla="*/ 2244327 w 3785642"/>
                <a:gd name="connsiteY99" fmla="*/ 472298 h 479077"/>
                <a:gd name="connsiteX100" fmla="*/ 2227957 w 3785642"/>
                <a:gd name="connsiteY100" fmla="*/ 474282 h 479077"/>
                <a:gd name="connsiteX101" fmla="*/ 2211586 w 3785642"/>
                <a:gd name="connsiteY101" fmla="*/ 473290 h 479077"/>
                <a:gd name="connsiteX102" fmla="*/ 2195216 w 3785642"/>
                <a:gd name="connsiteY102" fmla="*/ 474282 h 479077"/>
                <a:gd name="connsiteX103" fmla="*/ 2178845 w 3785642"/>
                <a:gd name="connsiteY103" fmla="*/ 472794 h 479077"/>
                <a:gd name="connsiteX104" fmla="*/ 2162474 w 3785642"/>
                <a:gd name="connsiteY104" fmla="*/ 474778 h 479077"/>
                <a:gd name="connsiteX105" fmla="*/ 2146104 w 3785642"/>
                <a:gd name="connsiteY105" fmla="*/ 473290 h 479077"/>
                <a:gd name="connsiteX106" fmla="*/ 2129733 w 3785642"/>
                <a:gd name="connsiteY106" fmla="*/ 474778 h 479077"/>
                <a:gd name="connsiteX107" fmla="*/ 2113363 w 3785642"/>
                <a:gd name="connsiteY107" fmla="*/ 474778 h 479077"/>
                <a:gd name="connsiteX108" fmla="*/ 2096992 w 3785642"/>
                <a:gd name="connsiteY108" fmla="*/ 474778 h 479077"/>
                <a:gd name="connsiteX109" fmla="*/ 2080621 w 3785642"/>
                <a:gd name="connsiteY109" fmla="*/ 474282 h 479077"/>
                <a:gd name="connsiteX110" fmla="*/ 2064251 w 3785642"/>
                <a:gd name="connsiteY110" fmla="*/ 472794 h 479077"/>
                <a:gd name="connsiteX111" fmla="*/ 2047880 w 3785642"/>
                <a:gd name="connsiteY111" fmla="*/ 474778 h 479077"/>
                <a:gd name="connsiteX112" fmla="*/ 2031510 w 3785642"/>
                <a:gd name="connsiteY112" fmla="*/ 474778 h 479077"/>
                <a:gd name="connsiteX113" fmla="*/ 2015139 w 3785642"/>
                <a:gd name="connsiteY113" fmla="*/ 474778 h 479077"/>
                <a:gd name="connsiteX114" fmla="*/ 1998769 w 3785642"/>
                <a:gd name="connsiteY114" fmla="*/ 474282 h 479077"/>
                <a:gd name="connsiteX115" fmla="*/ 1982398 w 3785642"/>
                <a:gd name="connsiteY115" fmla="*/ 473786 h 479077"/>
                <a:gd name="connsiteX116" fmla="*/ 1966028 w 3785642"/>
                <a:gd name="connsiteY116" fmla="*/ 473786 h 479077"/>
                <a:gd name="connsiteX117" fmla="*/ 1949657 w 3785642"/>
                <a:gd name="connsiteY117" fmla="*/ 472794 h 479077"/>
                <a:gd name="connsiteX118" fmla="*/ 1933287 w 3785642"/>
                <a:gd name="connsiteY118" fmla="*/ 473290 h 479077"/>
                <a:gd name="connsiteX119" fmla="*/ 1916916 w 3785642"/>
                <a:gd name="connsiteY119" fmla="*/ 474778 h 479077"/>
                <a:gd name="connsiteX120" fmla="*/ 1900546 w 3785642"/>
                <a:gd name="connsiteY120" fmla="*/ 472794 h 479077"/>
                <a:gd name="connsiteX121" fmla="*/ 1884175 w 3785642"/>
                <a:gd name="connsiteY121" fmla="*/ 473786 h 479077"/>
                <a:gd name="connsiteX122" fmla="*/ 1867804 w 3785642"/>
                <a:gd name="connsiteY122" fmla="*/ 474778 h 479077"/>
                <a:gd name="connsiteX123" fmla="*/ 1851434 w 3785642"/>
                <a:gd name="connsiteY123" fmla="*/ 474778 h 479077"/>
                <a:gd name="connsiteX124" fmla="*/ 1835063 w 3785642"/>
                <a:gd name="connsiteY124" fmla="*/ 474778 h 479077"/>
                <a:gd name="connsiteX125" fmla="*/ 1818693 w 3785642"/>
                <a:gd name="connsiteY125" fmla="*/ 474282 h 479077"/>
                <a:gd name="connsiteX126" fmla="*/ 1802322 w 3785642"/>
                <a:gd name="connsiteY126" fmla="*/ 472794 h 479077"/>
                <a:gd name="connsiteX127" fmla="*/ 1785951 w 3785642"/>
                <a:gd name="connsiteY127" fmla="*/ 473786 h 479077"/>
                <a:gd name="connsiteX128" fmla="*/ 1769581 w 3785642"/>
                <a:gd name="connsiteY128" fmla="*/ 473290 h 479077"/>
                <a:gd name="connsiteX129" fmla="*/ 1753210 w 3785642"/>
                <a:gd name="connsiteY129" fmla="*/ 472298 h 479077"/>
                <a:gd name="connsiteX130" fmla="*/ 1736840 w 3785642"/>
                <a:gd name="connsiteY130" fmla="*/ 473290 h 479077"/>
                <a:gd name="connsiteX131" fmla="*/ 1720469 w 3785642"/>
                <a:gd name="connsiteY131" fmla="*/ 474778 h 479077"/>
                <a:gd name="connsiteX132" fmla="*/ 1704098 w 3785642"/>
                <a:gd name="connsiteY132" fmla="*/ 472794 h 479077"/>
                <a:gd name="connsiteX133" fmla="*/ 1687728 w 3785642"/>
                <a:gd name="connsiteY133" fmla="*/ 474778 h 479077"/>
                <a:gd name="connsiteX134" fmla="*/ 1671357 w 3785642"/>
                <a:gd name="connsiteY134" fmla="*/ 474778 h 479077"/>
                <a:gd name="connsiteX135" fmla="*/ 1654987 w 3785642"/>
                <a:gd name="connsiteY135" fmla="*/ 472298 h 479077"/>
                <a:gd name="connsiteX136" fmla="*/ 1638616 w 3785642"/>
                <a:gd name="connsiteY136" fmla="*/ 472794 h 479077"/>
                <a:gd name="connsiteX137" fmla="*/ 1622246 w 3785642"/>
                <a:gd name="connsiteY137" fmla="*/ 473786 h 479077"/>
                <a:gd name="connsiteX138" fmla="*/ 1605875 w 3785642"/>
                <a:gd name="connsiteY138" fmla="*/ 474778 h 479077"/>
                <a:gd name="connsiteX139" fmla="*/ 1589505 w 3785642"/>
                <a:gd name="connsiteY139" fmla="*/ 473290 h 479077"/>
                <a:gd name="connsiteX140" fmla="*/ 1573134 w 3785642"/>
                <a:gd name="connsiteY140" fmla="*/ 474778 h 479077"/>
                <a:gd name="connsiteX141" fmla="*/ 1556763 w 3785642"/>
                <a:gd name="connsiteY141" fmla="*/ 472794 h 479077"/>
                <a:gd name="connsiteX142" fmla="*/ 1540393 w 3785642"/>
                <a:gd name="connsiteY142" fmla="*/ 472794 h 479077"/>
                <a:gd name="connsiteX143" fmla="*/ 1524022 w 3785642"/>
                <a:gd name="connsiteY143" fmla="*/ 474282 h 479077"/>
                <a:gd name="connsiteX144" fmla="*/ 1507652 w 3785642"/>
                <a:gd name="connsiteY144" fmla="*/ 472794 h 479077"/>
                <a:gd name="connsiteX145" fmla="*/ 1491281 w 3785642"/>
                <a:gd name="connsiteY145" fmla="*/ 474282 h 479077"/>
                <a:gd name="connsiteX146" fmla="*/ 1474910 w 3785642"/>
                <a:gd name="connsiteY146" fmla="*/ 474282 h 479077"/>
                <a:gd name="connsiteX147" fmla="*/ 1458540 w 3785642"/>
                <a:gd name="connsiteY147" fmla="*/ 472794 h 479077"/>
                <a:gd name="connsiteX148" fmla="*/ 1442169 w 3785642"/>
                <a:gd name="connsiteY148" fmla="*/ 471802 h 479077"/>
                <a:gd name="connsiteX149" fmla="*/ 1425799 w 3785642"/>
                <a:gd name="connsiteY149" fmla="*/ 472298 h 479077"/>
                <a:gd name="connsiteX150" fmla="*/ 1409428 w 3785642"/>
                <a:gd name="connsiteY150" fmla="*/ 472794 h 479077"/>
                <a:gd name="connsiteX151" fmla="*/ 1393058 w 3785642"/>
                <a:gd name="connsiteY151" fmla="*/ 473786 h 479077"/>
                <a:gd name="connsiteX152" fmla="*/ 1376687 w 3785642"/>
                <a:gd name="connsiteY152" fmla="*/ 471802 h 479077"/>
                <a:gd name="connsiteX153" fmla="*/ 1360317 w 3785642"/>
                <a:gd name="connsiteY153" fmla="*/ 473786 h 479077"/>
                <a:gd name="connsiteX154" fmla="*/ 1343946 w 3785642"/>
                <a:gd name="connsiteY154" fmla="*/ 473786 h 479077"/>
                <a:gd name="connsiteX155" fmla="*/ 1327576 w 3785642"/>
                <a:gd name="connsiteY155" fmla="*/ 472794 h 479077"/>
                <a:gd name="connsiteX156" fmla="*/ 1311205 w 3785642"/>
                <a:gd name="connsiteY156" fmla="*/ 473786 h 479077"/>
                <a:gd name="connsiteX157" fmla="*/ 1294834 w 3785642"/>
                <a:gd name="connsiteY157" fmla="*/ 473786 h 479077"/>
                <a:gd name="connsiteX158" fmla="*/ 1278464 w 3785642"/>
                <a:gd name="connsiteY158" fmla="*/ 473786 h 479077"/>
                <a:gd name="connsiteX159" fmla="*/ 1262093 w 3785642"/>
                <a:gd name="connsiteY159" fmla="*/ 473786 h 479077"/>
                <a:gd name="connsiteX160" fmla="*/ 1245723 w 3785642"/>
                <a:gd name="connsiteY160" fmla="*/ 473290 h 479077"/>
                <a:gd name="connsiteX161" fmla="*/ 1229352 w 3785642"/>
                <a:gd name="connsiteY161" fmla="*/ 472794 h 479077"/>
                <a:gd name="connsiteX162" fmla="*/ 1212981 w 3785642"/>
                <a:gd name="connsiteY162" fmla="*/ 473786 h 479077"/>
                <a:gd name="connsiteX163" fmla="*/ 1196611 w 3785642"/>
                <a:gd name="connsiteY163" fmla="*/ 472298 h 479077"/>
                <a:gd name="connsiteX164" fmla="*/ 1180240 w 3785642"/>
                <a:gd name="connsiteY164" fmla="*/ 472794 h 479077"/>
                <a:gd name="connsiteX165" fmla="*/ 1163870 w 3785642"/>
                <a:gd name="connsiteY165" fmla="*/ 472794 h 479077"/>
                <a:gd name="connsiteX166" fmla="*/ 1147499 w 3785642"/>
                <a:gd name="connsiteY166" fmla="*/ 473786 h 479077"/>
                <a:gd name="connsiteX167" fmla="*/ 1131128 w 3785642"/>
                <a:gd name="connsiteY167" fmla="*/ 473786 h 479077"/>
                <a:gd name="connsiteX168" fmla="*/ 1114758 w 3785642"/>
                <a:gd name="connsiteY168" fmla="*/ 472794 h 479077"/>
                <a:gd name="connsiteX169" fmla="*/ 1098387 w 3785642"/>
                <a:gd name="connsiteY169" fmla="*/ 473786 h 479077"/>
                <a:gd name="connsiteX170" fmla="*/ 1082017 w 3785642"/>
                <a:gd name="connsiteY170" fmla="*/ 474778 h 479077"/>
                <a:gd name="connsiteX171" fmla="*/ 1065646 w 3785642"/>
                <a:gd name="connsiteY171" fmla="*/ 474778 h 479077"/>
                <a:gd name="connsiteX172" fmla="*/ 1049276 w 3785642"/>
                <a:gd name="connsiteY172" fmla="*/ 474282 h 479077"/>
                <a:gd name="connsiteX173" fmla="*/ 1032905 w 3785642"/>
                <a:gd name="connsiteY173" fmla="*/ 473290 h 479077"/>
                <a:gd name="connsiteX174" fmla="*/ 1016535 w 3785642"/>
                <a:gd name="connsiteY174" fmla="*/ 474282 h 479077"/>
                <a:gd name="connsiteX175" fmla="*/ 1000164 w 3785642"/>
                <a:gd name="connsiteY175" fmla="*/ 474282 h 479077"/>
                <a:gd name="connsiteX176" fmla="*/ 983793 w 3785642"/>
                <a:gd name="connsiteY176" fmla="*/ 472794 h 479077"/>
                <a:gd name="connsiteX177" fmla="*/ 967423 w 3785642"/>
                <a:gd name="connsiteY177" fmla="*/ 472794 h 479077"/>
                <a:gd name="connsiteX178" fmla="*/ 951052 w 3785642"/>
                <a:gd name="connsiteY178" fmla="*/ 473786 h 479077"/>
                <a:gd name="connsiteX179" fmla="*/ 934682 w 3785642"/>
                <a:gd name="connsiteY179" fmla="*/ 474282 h 479077"/>
                <a:gd name="connsiteX180" fmla="*/ 918311 w 3785642"/>
                <a:gd name="connsiteY180" fmla="*/ 474778 h 479077"/>
                <a:gd name="connsiteX181" fmla="*/ 901940 w 3785642"/>
                <a:gd name="connsiteY181" fmla="*/ 473290 h 479077"/>
                <a:gd name="connsiteX182" fmla="*/ 885570 w 3785642"/>
                <a:gd name="connsiteY182" fmla="*/ 474778 h 479077"/>
                <a:gd name="connsiteX183" fmla="*/ 869199 w 3785642"/>
                <a:gd name="connsiteY183" fmla="*/ 474282 h 479077"/>
                <a:gd name="connsiteX184" fmla="*/ 852829 w 3785642"/>
                <a:gd name="connsiteY184" fmla="*/ 473786 h 479077"/>
                <a:gd name="connsiteX185" fmla="*/ 836458 w 3785642"/>
                <a:gd name="connsiteY185" fmla="*/ 474778 h 479077"/>
                <a:gd name="connsiteX186" fmla="*/ 820088 w 3785642"/>
                <a:gd name="connsiteY186" fmla="*/ 475274 h 479077"/>
                <a:gd name="connsiteX187" fmla="*/ 803717 w 3785642"/>
                <a:gd name="connsiteY187" fmla="*/ 473786 h 479077"/>
                <a:gd name="connsiteX188" fmla="*/ 787347 w 3785642"/>
                <a:gd name="connsiteY188" fmla="*/ 475770 h 479077"/>
                <a:gd name="connsiteX189" fmla="*/ 770976 w 3785642"/>
                <a:gd name="connsiteY189" fmla="*/ 474778 h 479077"/>
                <a:gd name="connsiteX190" fmla="*/ 754605 w 3785642"/>
                <a:gd name="connsiteY190" fmla="*/ 475274 h 479077"/>
                <a:gd name="connsiteX191" fmla="*/ 738235 w 3785642"/>
                <a:gd name="connsiteY191" fmla="*/ 473786 h 479077"/>
                <a:gd name="connsiteX192" fmla="*/ 721864 w 3785642"/>
                <a:gd name="connsiteY192" fmla="*/ 475274 h 479077"/>
                <a:gd name="connsiteX193" fmla="*/ 705494 w 3785642"/>
                <a:gd name="connsiteY193" fmla="*/ 475770 h 479077"/>
                <a:gd name="connsiteX194" fmla="*/ 689123 w 3785642"/>
                <a:gd name="connsiteY194" fmla="*/ 474282 h 479077"/>
                <a:gd name="connsiteX195" fmla="*/ 672753 w 3785642"/>
                <a:gd name="connsiteY195" fmla="*/ 475274 h 479077"/>
                <a:gd name="connsiteX196" fmla="*/ 656382 w 3785642"/>
                <a:gd name="connsiteY196" fmla="*/ 474778 h 479077"/>
                <a:gd name="connsiteX197" fmla="*/ 640011 w 3785642"/>
                <a:gd name="connsiteY197" fmla="*/ 475770 h 479077"/>
                <a:gd name="connsiteX198" fmla="*/ 623641 w 3785642"/>
                <a:gd name="connsiteY198" fmla="*/ 473786 h 479077"/>
                <a:gd name="connsiteX199" fmla="*/ 607270 w 3785642"/>
                <a:gd name="connsiteY199" fmla="*/ 474778 h 479077"/>
                <a:gd name="connsiteX200" fmla="*/ 590900 w 3785642"/>
                <a:gd name="connsiteY200" fmla="*/ 475274 h 479077"/>
                <a:gd name="connsiteX201" fmla="*/ 574529 w 3785642"/>
                <a:gd name="connsiteY201" fmla="*/ 474282 h 479077"/>
                <a:gd name="connsiteX202" fmla="*/ 558158 w 3785642"/>
                <a:gd name="connsiteY202" fmla="*/ 475274 h 479077"/>
                <a:gd name="connsiteX203" fmla="*/ 541788 w 3785642"/>
                <a:gd name="connsiteY203" fmla="*/ 475770 h 479077"/>
                <a:gd name="connsiteX204" fmla="*/ 525417 w 3785642"/>
                <a:gd name="connsiteY204" fmla="*/ 474282 h 479077"/>
                <a:gd name="connsiteX205" fmla="*/ 509047 w 3785642"/>
                <a:gd name="connsiteY205" fmla="*/ 473786 h 479077"/>
                <a:gd name="connsiteX206" fmla="*/ 492676 w 3785642"/>
                <a:gd name="connsiteY206" fmla="*/ 473786 h 479077"/>
                <a:gd name="connsiteX207" fmla="*/ 476306 w 3785642"/>
                <a:gd name="connsiteY207" fmla="*/ 474778 h 479077"/>
                <a:gd name="connsiteX208" fmla="*/ 459935 w 3785642"/>
                <a:gd name="connsiteY208" fmla="*/ 473786 h 479077"/>
                <a:gd name="connsiteX209" fmla="*/ 443565 w 3785642"/>
                <a:gd name="connsiteY209" fmla="*/ 474778 h 479077"/>
                <a:gd name="connsiteX210" fmla="*/ 427194 w 3785642"/>
                <a:gd name="connsiteY210" fmla="*/ 474282 h 479077"/>
                <a:gd name="connsiteX211" fmla="*/ 410823 w 3785642"/>
                <a:gd name="connsiteY211" fmla="*/ 473290 h 479077"/>
                <a:gd name="connsiteX212" fmla="*/ 394453 w 3785642"/>
                <a:gd name="connsiteY212" fmla="*/ 475770 h 479077"/>
                <a:gd name="connsiteX213" fmla="*/ 378082 w 3785642"/>
                <a:gd name="connsiteY213" fmla="*/ 475274 h 479077"/>
                <a:gd name="connsiteX214" fmla="*/ 361712 w 3785642"/>
                <a:gd name="connsiteY214" fmla="*/ 474778 h 479077"/>
                <a:gd name="connsiteX215" fmla="*/ 345341 w 3785642"/>
                <a:gd name="connsiteY215" fmla="*/ 476266 h 479077"/>
                <a:gd name="connsiteX216" fmla="*/ 328970 w 3785642"/>
                <a:gd name="connsiteY216" fmla="*/ 474282 h 479077"/>
                <a:gd name="connsiteX217" fmla="*/ 312600 w 3785642"/>
                <a:gd name="connsiteY217" fmla="*/ 475274 h 479077"/>
                <a:gd name="connsiteX218" fmla="*/ 296229 w 3785642"/>
                <a:gd name="connsiteY218" fmla="*/ 474282 h 479077"/>
                <a:gd name="connsiteX219" fmla="*/ 279859 w 3785642"/>
                <a:gd name="connsiteY219" fmla="*/ 475770 h 479077"/>
                <a:gd name="connsiteX220" fmla="*/ 263488 w 3785642"/>
                <a:gd name="connsiteY220" fmla="*/ 476266 h 479077"/>
                <a:gd name="connsiteX221" fmla="*/ 247118 w 3785642"/>
                <a:gd name="connsiteY221" fmla="*/ 476266 h 479077"/>
                <a:gd name="connsiteX222" fmla="*/ 230747 w 3785642"/>
                <a:gd name="connsiteY222" fmla="*/ 474778 h 479077"/>
                <a:gd name="connsiteX223" fmla="*/ 214376 w 3785642"/>
                <a:gd name="connsiteY223" fmla="*/ 474778 h 479077"/>
                <a:gd name="connsiteX224" fmla="*/ 198006 w 3785642"/>
                <a:gd name="connsiteY224" fmla="*/ 476762 h 479077"/>
                <a:gd name="connsiteX225" fmla="*/ 181635 w 3785642"/>
                <a:gd name="connsiteY225" fmla="*/ 476266 h 479077"/>
                <a:gd name="connsiteX226" fmla="*/ 165265 w 3785642"/>
                <a:gd name="connsiteY226" fmla="*/ 474778 h 479077"/>
                <a:gd name="connsiteX227" fmla="*/ 148894 w 3785642"/>
                <a:gd name="connsiteY227" fmla="*/ 476762 h 479077"/>
                <a:gd name="connsiteX228" fmla="*/ 132524 w 3785642"/>
                <a:gd name="connsiteY228" fmla="*/ 476266 h 479077"/>
                <a:gd name="connsiteX229" fmla="*/ 116153 w 3785642"/>
                <a:gd name="connsiteY229" fmla="*/ 475274 h 479077"/>
                <a:gd name="connsiteX230" fmla="*/ 99783 w 3785642"/>
                <a:gd name="connsiteY230" fmla="*/ 475274 h 479077"/>
                <a:gd name="connsiteX231" fmla="*/ 83412 w 3785642"/>
                <a:gd name="connsiteY231" fmla="*/ 475274 h 479077"/>
                <a:gd name="connsiteX232" fmla="*/ 67041 w 3785642"/>
                <a:gd name="connsiteY232" fmla="*/ 474778 h 479077"/>
                <a:gd name="connsiteX233" fmla="*/ 50671 w 3785642"/>
                <a:gd name="connsiteY233" fmla="*/ 475274 h 479077"/>
                <a:gd name="connsiteX234" fmla="*/ 34300 w 3785642"/>
                <a:gd name="connsiteY234" fmla="*/ 475274 h 479077"/>
                <a:gd name="connsiteX235" fmla="*/ 17930 w 3785642"/>
                <a:gd name="connsiteY235" fmla="*/ 475770 h 479077"/>
                <a:gd name="connsiteX236" fmla="*/ 567 w 3785642"/>
                <a:gd name="connsiteY236" fmla="*/ 475770 h 479077"/>
                <a:gd name="connsiteX237" fmla="*/ 12969 w 3785642"/>
                <a:gd name="connsiteY237" fmla="*/ 463368 h 479077"/>
                <a:gd name="connsiteX238" fmla="*/ 24379 w 3785642"/>
                <a:gd name="connsiteY238" fmla="*/ 451958 h 479077"/>
                <a:gd name="connsiteX239" fmla="*/ 35788 w 3785642"/>
                <a:gd name="connsiteY239" fmla="*/ 440053 h 479077"/>
                <a:gd name="connsiteX240" fmla="*/ 48686 w 3785642"/>
                <a:gd name="connsiteY240" fmla="*/ 430131 h 479077"/>
                <a:gd name="connsiteX241" fmla="*/ 59600 w 3785642"/>
                <a:gd name="connsiteY241" fmla="*/ 418225 h 479077"/>
                <a:gd name="connsiteX242" fmla="*/ 70514 w 3785642"/>
                <a:gd name="connsiteY242" fmla="*/ 405823 h 479077"/>
                <a:gd name="connsiteX243" fmla="*/ 83412 w 3785642"/>
                <a:gd name="connsiteY243" fmla="*/ 395406 h 479077"/>
                <a:gd name="connsiteX244" fmla="*/ 94822 w 3785642"/>
                <a:gd name="connsiteY244" fmla="*/ 383500 h 479077"/>
                <a:gd name="connsiteX245" fmla="*/ 106728 w 3785642"/>
                <a:gd name="connsiteY245" fmla="*/ 372090 h 479077"/>
                <a:gd name="connsiteX246" fmla="*/ 117145 w 3785642"/>
                <a:gd name="connsiteY246" fmla="*/ 359688 h 479077"/>
                <a:gd name="connsiteX247" fmla="*/ 128555 w 3785642"/>
                <a:gd name="connsiteY247" fmla="*/ 348278 h 479077"/>
                <a:gd name="connsiteX248" fmla="*/ 140461 w 3785642"/>
                <a:gd name="connsiteY248" fmla="*/ 336868 h 479077"/>
                <a:gd name="connsiteX249" fmla="*/ 152863 w 3785642"/>
                <a:gd name="connsiteY249" fmla="*/ 326451 h 479077"/>
                <a:gd name="connsiteX250" fmla="*/ 164769 w 3785642"/>
                <a:gd name="connsiteY250" fmla="*/ 315041 h 479077"/>
                <a:gd name="connsiteX251" fmla="*/ 176178 w 3785642"/>
                <a:gd name="connsiteY251" fmla="*/ 303135 h 479077"/>
                <a:gd name="connsiteX252" fmla="*/ 188084 w 3785642"/>
                <a:gd name="connsiteY252" fmla="*/ 291725 h 479077"/>
                <a:gd name="connsiteX253" fmla="*/ 199494 w 3785642"/>
                <a:gd name="connsiteY253" fmla="*/ 280315 h 479077"/>
                <a:gd name="connsiteX254" fmla="*/ 210904 w 3785642"/>
                <a:gd name="connsiteY254" fmla="*/ 268906 h 479077"/>
                <a:gd name="connsiteX255" fmla="*/ 221818 w 3785642"/>
                <a:gd name="connsiteY255" fmla="*/ 256504 h 479077"/>
                <a:gd name="connsiteX256" fmla="*/ 233724 w 3785642"/>
                <a:gd name="connsiteY256" fmla="*/ 245094 h 479077"/>
                <a:gd name="connsiteX257" fmla="*/ 244141 w 3785642"/>
                <a:gd name="connsiteY257" fmla="*/ 232692 h 479077"/>
                <a:gd name="connsiteX258" fmla="*/ 257039 w 3785642"/>
                <a:gd name="connsiteY258" fmla="*/ 222770 h 479077"/>
                <a:gd name="connsiteX259" fmla="*/ 266961 w 3785642"/>
                <a:gd name="connsiteY259" fmla="*/ 209376 h 479077"/>
                <a:gd name="connsiteX260" fmla="*/ 278371 w 3785642"/>
                <a:gd name="connsiteY260" fmla="*/ 197966 h 479077"/>
                <a:gd name="connsiteX261" fmla="*/ 291269 w 3785642"/>
                <a:gd name="connsiteY261" fmla="*/ 188045 h 479077"/>
                <a:gd name="connsiteX262" fmla="*/ 301686 w 3785642"/>
                <a:gd name="connsiteY262" fmla="*/ 175147 h 479077"/>
                <a:gd name="connsiteX263" fmla="*/ 313592 w 3785642"/>
                <a:gd name="connsiteY263" fmla="*/ 163737 h 479077"/>
                <a:gd name="connsiteX264" fmla="*/ 325994 w 3785642"/>
                <a:gd name="connsiteY264" fmla="*/ 153319 h 479077"/>
                <a:gd name="connsiteX265" fmla="*/ 337404 w 3785642"/>
                <a:gd name="connsiteY265" fmla="*/ 141910 h 479077"/>
                <a:gd name="connsiteX266" fmla="*/ 347325 w 3785642"/>
                <a:gd name="connsiteY266" fmla="*/ 129012 h 479077"/>
                <a:gd name="connsiteX267" fmla="*/ 360224 w 3785642"/>
                <a:gd name="connsiteY267" fmla="*/ 118594 h 479077"/>
                <a:gd name="connsiteX268" fmla="*/ 371137 w 3785642"/>
                <a:gd name="connsiteY268" fmla="*/ 106192 h 479077"/>
                <a:gd name="connsiteX269" fmla="*/ 382051 w 3785642"/>
                <a:gd name="connsiteY269" fmla="*/ 93790 h 479077"/>
                <a:gd name="connsiteX270" fmla="*/ 393957 w 3785642"/>
                <a:gd name="connsiteY270" fmla="*/ 82380 h 479077"/>
                <a:gd name="connsiteX271" fmla="*/ 405366 w 3785642"/>
                <a:gd name="connsiteY271" fmla="*/ 70475 h 479077"/>
                <a:gd name="connsiteX272" fmla="*/ 417272 w 3785642"/>
                <a:gd name="connsiteY272" fmla="*/ 59561 h 479077"/>
                <a:gd name="connsiteX273" fmla="*/ 429674 w 3785642"/>
                <a:gd name="connsiteY273" fmla="*/ 48647 h 479077"/>
                <a:gd name="connsiteX274" fmla="*/ 440092 w 3785642"/>
                <a:gd name="connsiteY274" fmla="*/ 35749 h 479077"/>
                <a:gd name="connsiteX275" fmla="*/ 452494 w 3785642"/>
                <a:gd name="connsiteY275" fmla="*/ 24835 h 479077"/>
                <a:gd name="connsiteX276" fmla="*/ 463904 w 3785642"/>
                <a:gd name="connsiteY276" fmla="*/ 12929 h 479077"/>
                <a:gd name="connsiteX277" fmla="*/ 475313 w 3785642"/>
                <a:gd name="connsiteY277" fmla="*/ 1024 h 479077"/>
                <a:gd name="connsiteX278" fmla="*/ 491684 w 3785642"/>
                <a:gd name="connsiteY278" fmla="*/ 2512 h 479077"/>
                <a:gd name="connsiteX279" fmla="*/ 508055 w 3785642"/>
                <a:gd name="connsiteY279" fmla="*/ 2512 h 479077"/>
                <a:gd name="connsiteX280" fmla="*/ 524425 w 3785642"/>
                <a:gd name="connsiteY280" fmla="*/ 2512 h 479077"/>
                <a:gd name="connsiteX281" fmla="*/ 540796 w 3785642"/>
                <a:gd name="connsiteY281" fmla="*/ 1024 h 479077"/>
                <a:gd name="connsiteX282" fmla="*/ 557166 w 3785642"/>
                <a:gd name="connsiteY282" fmla="*/ 2512 h 479077"/>
                <a:gd name="connsiteX283" fmla="*/ 573537 w 3785642"/>
                <a:gd name="connsiteY283" fmla="*/ 1024 h 479077"/>
                <a:gd name="connsiteX284" fmla="*/ 589908 w 3785642"/>
                <a:gd name="connsiteY284" fmla="*/ 527 h 479077"/>
                <a:gd name="connsiteX285" fmla="*/ 606278 w 3785642"/>
                <a:gd name="connsiteY285" fmla="*/ 1520 h 479077"/>
                <a:gd name="connsiteX286" fmla="*/ 622649 w 3785642"/>
                <a:gd name="connsiteY286" fmla="*/ 1520 h 479077"/>
                <a:gd name="connsiteX287" fmla="*/ 639019 w 3785642"/>
                <a:gd name="connsiteY287" fmla="*/ 2016 h 479077"/>
                <a:gd name="connsiteX288" fmla="*/ 655390 w 3785642"/>
                <a:gd name="connsiteY288" fmla="*/ 527 h 479077"/>
                <a:gd name="connsiteX289" fmla="*/ 671760 w 3785642"/>
                <a:gd name="connsiteY289" fmla="*/ 1520 h 479077"/>
                <a:gd name="connsiteX290" fmla="*/ 688131 w 3785642"/>
                <a:gd name="connsiteY290" fmla="*/ 2512 h 479077"/>
                <a:gd name="connsiteX291" fmla="*/ 704501 w 3785642"/>
                <a:gd name="connsiteY291" fmla="*/ 1024 h 479077"/>
                <a:gd name="connsiteX292" fmla="*/ 720872 w 3785642"/>
                <a:gd name="connsiteY292" fmla="*/ 1520 h 479077"/>
                <a:gd name="connsiteX293" fmla="*/ 737243 w 3785642"/>
                <a:gd name="connsiteY293" fmla="*/ 2016 h 479077"/>
                <a:gd name="connsiteX294" fmla="*/ 753613 w 3785642"/>
                <a:gd name="connsiteY294" fmla="*/ 1024 h 479077"/>
                <a:gd name="connsiteX295" fmla="*/ 769984 w 3785642"/>
                <a:gd name="connsiteY295" fmla="*/ 527 h 479077"/>
                <a:gd name="connsiteX296" fmla="*/ 786354 w 3785642"/>
                <a:gd name="connsiteY296" fmla="*/ 1520 h 479077"/>
                <a:gd name="connsiteX297" fmla="*/ 802725 w 3785642"/>
                <a:gd name="connsiteY297" fmla="*/ 527 h 479077"/>
                <a:gd name="connsiteX298" fmla="*/ 819096 w 3785642"/>
                <a:gd name="connsiteY298" fmla="*/ 2512 h 479077"/>
                <a:gd name="connsiteX299" fmla="*/ 835466 w 3785642"/>
                <a:gd name="connsiteY299" fmla="*/ 527 h 479077"/>
                <a:gd name="connsiteX300" fmla="*/ 851837 w 3785642"/>
                <a:gd name="connsiteY300" fmla="*/ 1520 h 479077"/>
                <a:gd name="connsiteX301" fmla="*/ 868207 w 3785642"/>
                <a:gd name="connsiteY301" fmla="*/ 2016 h 479077"/>
                <a:gd name="connsiteX302" fmla="*/ 884578 w 3785642"/>
                <a:gd name="connsiteY302" fmla="*/ 2512 h 479077"/>
                <a:gd name="connsiteX303" fmla="*/ 900948 w 3785642"/>
                <a:gd name="connsiteY303" fmla="*/ 1520 h 479077"/>
                <a:gd name="connsiteX304" fmla="*/ 917319 w 3785642"/>
                <a:gd name="connsiteY304" fmla="*/ 1024 h 479077"/>
                <a:gd name="connsiteX305" fmla="*/ 933689 w 3785642"/>
                <a:gd name="connsiteY305" fmla="*/ 2512 h 479077"/>
                <a:gd name="connsiteX306" fmla="*/ 950060 w 3785642"/>
                <a:gd name="connsiteY306" fmla="*/ 1520 h 479077"/>
                <a:gd name="connsiteX307" fmla="*/ 966431 w 3785642"/>
                <a:gd name="connsiteY307" fmla="*/ 2016 h 479077"/>
                <a:gd name="connsiteX308" fmla="*/ 982801 w 3785642"/>
                <a:gd name="connsiteY308" fmla="*/ 2512 h 479077"/>
                <a:gd name="connsiteX309" fmla="*/ 999172 w 3785642"/>
                <a:gd name="connsiteY309" fmla="*/ 1520 h 479077"/>
                <a:gd name="connsiteX310" fmla="*/ 1015542 w 3785642"/>
                <a:gd name="connsiteY310" fmla="*/ 2512 h 479077"/>
                <a:gd name="connsiteX311" fmla="*/ 1031913 w 3785642"/>
                <a:gd name="connsiteY311" fmla="*/ 1520 h 479077"/>
                <a:gd name="connsiteX312" fmla="*/ 1048283 w 3785642"/>
                <a:gd name="connsiteY312" fmla="*/ 2016 h 479077"/>
                <a:gd name="connsiteX313" fmla="*/ 1064654 w 3785642"/>
                <a:gd name="connsiteY313" fmla="*/ 3504 h 479077"/>
                <a:gd name="connsiteX314" fmla="*/ 1081025 w 3785642"/>
                <a:gd name="connsiteY314" fmla="*/ 2016 h 479077"/>
                <a:gd name="connsiteX315" fmla="*/ 1097395 w 3785642"/>
                <a:gd name="connsiteY315" fmla="*/ 2512 h 479077"/>
                <a:gd name="connsiteX316" fmla="*/ 1113766 w 3785642"/>
                <a:gd name="connsiteY316" fmla="*/ 2512 h 479077"/>
                <a:gd name="connsiteX317" fmla="*/ 1130136 w 3785642"/>
                <a:gd name="connsiteY317" fmla="*/ 3504 h 479077"/>
                <a:gd name="connsiteX318" fmla="*/ 1146507 w 3785642"/>
                <a:gd name="connsiteY318" fmla="*/ 1520 h 479077"/>
                <a:gd name="connsiteX319" fmla="*/ 1162878 w 3785642"/>
                <a:gd name="connsiteY319" fmla="*/ 3008 h 479077"/>
                <a:gd name="connsiteX320" fmla="*/ 1179248 w 3785642"/>
                <a:gd name="connsiteY320" fmla="*/ 4000 h 479077"/>
                <a:gd name="connsiteX321" fmla="*/ 1195619 w 3785642"/>
                <a:gd name="connsiteY321" fmla="*/ 3504 h 479077"/>
                <a:gd name="connsiteX322" fmla="*/ 1211989 w 3785642"/>
                <a:gd name="connsiteY322" fmla="*/ 1520 h 479077"/>
                <a:gd name="connsiteX323" fmla="*/ 1228360 w 3785642"/>
                <a:gd name="connsiteY323" fmla="*/ 3504 h 479077"/>
                <a:gd name="connsiteX324" fmla="*/ 1244730 w 3785642"/>
                <a:gd name="connsiteY324" fmla="*/ 1520 h 479077"/>
                <a:gd name="connsiteX325" fmla="*/ 1261101 w 3785642"/>
                <a:gd name="connsiteY325" fmla="*/ 2512 h 479077"/>
                <a:gd name="connsiteX326" fmla="*/ 1277471 w 3785642"/>
                <a:gd name="connsiteY326" fmla="*/ 3504 h 479077"/>
                <a:gd name="connsiteX327" fmla="*/ 1293842 w 3785642"/>
                <a:gd name="connsiteY327" fmla="*/ 4000 h 479077"/>
                <a:gd name="connsiteX328" fmla="*/ 1310213 w 3785642"/>
                <a:gd name="connsiteY328" fmla="*/ 1520 h 479077"/>
                <a:gd name="connsiteX329" fmla="*/ 1326583 w 3785642"/>
                <a:gd name="connsiteY329" fmla="*/ 2016 h 479077"/>
                <a:gd name="connsiteX330" fmla="*/ 1342954 w 3785642"/>
                <a:gd name="connsiteY330" fmla="*/ 3008 h 479077"/>
                <a:gd name="connsiteX331" fmla="*/ 1359324 w 3785642"/>
                <a:gd name="connsiteY331" fmla="*/ 3008 h 479077"/>
                <a:gd name="connsiteX332" fmla="*/ 1375695 w 3785642"/>
                <a:gd name="connsiteY332" fmla="*/ 2512 h 479077"/>
                <a:gd name="connsiteX333" fmla="*/ 1392066 w 3785642"/>
                <a:gd name="connsiteY333" fmla="*/ 2512 h 479077"/>
                <a:gd name="connsiteX334" fmla="*/ 1408436 w 3785642"/>
                <a:gd name="connsiteY334" fmla="*/ 3504 h 479077"/>
                <a:gd name="connsiteX335" fmla="*/ 1424807 w 3785642"/>
                <a:gd name="connsiteY335" fmla="*/ 3504 h 479077"/>
                <a:gd name="connsiteX336" fmla="*/ 1441177 w 3785642"/>
                <a:gd name="connsiteY336" fmla="*/ 1520 h 479077"/>
                <a:gd name="connsiteX337" fmla="*/ 1457548 w 3785642"/>
                <a:gd name="connsiteY337" fmla="*/ 2512 h 479077"/>
                <a:gd name="connsiteX338" fmla="*/ 1473919 w 3785642"/>
                <a:gd name="connsiteY338" fmla="*/ 2016 h 479077"/>
                <a:gd name="connsiteX339" fmla="*/ 1490289 w 3785642"/>
                <a:gd name="connsiteY339" fmla="*/ 2016 h 479077"/>
                <a:gd name="connsiteX340" fmla="*/ 1506660 w 3785642"/>
                <a:gd name="connsiteY340" fmla="*/ 1520 h 479077"/>
                <a:gd name="connsiteX341" fmla="*/ 1523030 w 3785642"/>
                <a:gd name="connsiteY341" fmla="*/ 3504 h 479077"/>
                <a:gd name="connsiteX342" fmla="*/ 1539401 w 3785642"/>
                <a:gd name="connsiteY342" fmla="*/ 3008 h 479077"/>
                <a:gd name="connsiteX343" fmla="*/ 1555771 w 3785642"/>
                <a:gd name="connsiteY343" fmla="*/ 3008 h 479077"/>
                <a:gd name="connsiteX344" fmla="*/ 1572142 w 3785642"/>
                <a:gd name="connsiteY344" fmla="*/ 2512 h 479077"/>
                <a:gd name="connsiteX345" fmla="*/ 1588512 w 3785642"/>
                <a:gd name="connsiteY345" fmla="*/ 2016 h 479077"/>
                <a:gd name="connsiteX346" fmla="*/ 1604883 w 3785642"/>
                <a:gd name="connsiteY346" fmla="*/ 3008 h 479077"/>
                <a:gd name="connsiteX347" fmla="*/ 1621253 w 3785642"/>
                <a:gd name="connsiteY347" fmla="*/ 3008 h 479077"/>
                <a:gd name="connsiteX348" fmla="*/ 1637624 w 3785642"/>
                <a:gd name="connsiteY34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313375 w 3785642"/>
                <a:gd name="connsiteY21" fmla="*/ 10945 h 479077"/>
                <a:gd name="connsiteX22" fmla="*/ 3300973 w 3785642"/>
                <a:gd name="connsiteY22" fmla="*/ 21363 h 479077"/>
                <a:gd name="connsiteX23" fmla="*/ 3289068 w 3785642"/>
                <a:gd name="connsiteY23" fmla="*/ 32276 h 479077"/>
                <a:gd name="connsiteX24" fmla="*/ 3277658 w 3785642"/>
                <a:gd name="connsiteY24" fmla="*/ 43686 h 479077"/>
                <a:gd name="connsiteX25" fmla="*/ 3266248 w 3785642"/>
                <a:gd name="connsiteY25" fmla="*/ 55592 h 479077"/>
                <a:gd name="connsiteX26" fmla="*/ 3255830 w 3785642"/>
                <a:gd name="connsiteY26" fmla="*/ 68490 h 479077"/>
                <a:gd name="connsiteX27" fmla="*/ 3243924 w 3785642"/>
                <a:gd name="connsiteY27" fmla="*/ 79900 h 479077"/>
                <a:gd name="connsiteX28" fmla="*/ 3231522 w 3785642"/>
                <a:gd name="connsiteY28" fmla="*/ 90814 h 479077"/>
                <a:gd name="connsiteX29" fmla="*/ 3220609 w 3785642"/>
                <a:gd name="connsiteY29" fmla="*/ 102720 h 479077"/>
                <a:gd name="connsiteX30" fmla="*/ 3208207 w 3785642"/>
                <a:gd name="connsiteY30" fmla="*/ 113137 h 479077"/>
                <a:gd name="connsiteX31" fmla="*/ 3197293 w 3785642"/>
                <a:gd name="connsiteY31" fmla="*/ 125043 h 479077"/>
                <a:gd name="connsiteX32" fmla="*/ 3185387 w 3785642"/>
                <a:gd name="connsiteY32" fmla="*/ 136453 h 479077"/>
                <a:gd name="connsiteX33" fmla="*/ 3174970 w 3785642"/>
                <a:gd name="connsiteY33" fmla="*/ 148855 h 479077"/>
                <a:gd name="connsiteX34" fmla="*/ 3162071 w 3785642"/>
                <a:gd name="connsiteY34" fmla="*/ 159272 h 479077"/>
                <a:gd name="connsiteX35" fmla="*/ 3151158 w 3785642"/>
                <a:gd name="connsiteY35" fmla="*/ 171674 h 479077"/>
                <a:gd name="connsiteX36" fmla="*/ 3139252 w 3785642"/>
                <a:gd name="connsiteY36" fmla="*/ 182588 h 479077"/>
                <a:gd name="connsiteX37" fmla="*/ 3127843 w 3785642"/>
                <a:gd name="connsiteY37" fmla="*/ 194494 h 479077"/>
                <a:gd name="connsiteX38" fmla="*/ 3116432 w 3785642"/>
                <a:gd name="connsiteY38" fmla="*/ 205904 h 479077"/>
                <a:gd name="connsiteX39" fmla="*/ 3105022 w 3785642"/>
                <a:gd name="connsiteY39" fmla="*/ 217810 h 479077"/>
                <a:gd name="connsiteX40" fmla="*/ 3093117 w 3785642"/>
                <a:gd name="connsiteY40" fmla="*/ 229219 h 479077"/>
                <a:gd name="connsiteX41" fmla="*/ 3081707 w 3785642"/>
                <a:gd name="connsiteY41" fmla="*/ 240629 h 479077"/>
                <a:gd name="connsiteX42" fmla="*/ 3069305 w 3785642"/>
                <a:gd name="connsiteY42" fmla="*/ 251543 h 479077"/>
                <a:gd name="connsiteX43" fmla="*/ 3057895 w 3785642"/>
                <a:gd name="connsiteY43" fmla="*/ 263449 h 479077"/>
                <a:gd name="connsiteX44" fmla="*/ 3046486 w 3785642"/>
                <a:gd name="connsiteY44" fmla="*/ 275355 h 479077"/>
                <a:gd name="connsiteX45" fmla="*/ 3035572 w 3785642"/>
                <a:gd name="connsiteY45" fmla="*/ 287260 h 479077"/>
                <a:gd name="connsiteX46" fmla="*/ 3024658 w 3785642"/>
                <a:gd name="connsiteY46" fmla="*/ 299166 h 479077"/>
                <a:gd name="connsiteX47" fmla="*/ 3013248 w 3785642"/>
                <a:gd name="connsiteY47" fmla="*/ 311072 h 479077"/>
                <a:gd name="connsiteX48" fmla="*/ 3000350 w 3785642"/>
                <a:gd name="connsiteY48" fmla="*/ 321490 h 479077"/>
                <a:gd name="connsiteX49" fmla="*/ 2988941 w 3785642"/>
                <a:gd name="connsiteY49" fmla="*/ 333396 h 479077"/>
                <a:gd name="connsiteX50" fmla="*/ 2976539 w 3785642"/>
                <a:gd name="connsiteY50" fmla="*/ 344309 h 479077"/>
                <a:gd name="connsiteX51" fmla="*/ 2965129 w 3785642"/>
                <a:gd name="connsiteY51" fmla="*/ 356215 h 479077"/>
                <a:gd name="connsiteX52" fmla="*/ 2953223 w 3785642"/>
                <a:gd name="connsiteY52" fmla="*/ 367625 h 479077"/>
                <a:gd name="connsiteX53" fmla="*/ 2941813 w 3785642"/>
                <a:gd name="connsiteY53" fmla="*/ 379531 h 479077"/>
                <a:gd name="connsiteX54" fmla="*/ 2931395 w 3785642"/>
                <a:gd name="connsiteY54" fmla="*/ 392429 h 479077"/>
                <a:gd name="connsiteX55" fmla="*/ 2918497 w 3785642"/>
                <a:gd name="connsiteY55" fmla="*/ 402847 h 479077"/>
                <a:gd name="connsiteX56" fmla="*/ 2907584 w 3785642"/>
                <a:gd name="connsiteY56" fmla="*/ 415249 h 479077"/>
                <a:gd name="connsiteX57" fmla="*/ 2896174 w 3785642"/>
                <a:gd name="connsiteY57" fmla="*/ 426658 h 479077"/>
                <a:gd name="connsiteX58" fmla="*/ 2884268 w 3785642"/>
                <a:gd name="connsiteY58" fmla="*/ 438068 h 479077"/>
                <a:gd name="connsiteX59" fmla="*/ 2873354 w 3785642"/>
                <a:gd name="connsiteY59" fmla="*/ 450470 h 479077"/>
                <a:gd name="connsiteX60" fmla="*/ 2860952 w 3785642"/>
                <a:gd name="connsiteY60" fmla="*/ 461384 h 479077"/>
                <a:gd name="connsiteX61" fmla="*/ 2850039 w 3785642"/>
                <a:gd name="connsiteY61" fmla="*/ 473786 h 479077"/>
                <a:gd name="connsiteX62" fmla="*/ 2833668 w 3785642"/>
                <a:gd name="connsiteY62" fmla="*/ 473786 h 479077"/>
                <a:gd name="connsiteX63" fmla="*/ 2817297 w 3785642"/>
                <a:gd name="connsiteY63" fmla="*/ 473290 h 479077"/>
                <a:gd name="connsiteX64" fmla="*/ 2800927 w 3785642"/>
                <a:gd name="connsiteY64" fmla="*/ 473290 h 479077"/>
                <a:gd name="connsiteX65" fmla="*/ 2784556 w 3785642"/>
                <a:gd name="connsiteY65" fmla="*/ 473786 h 479077"/>
                <a:gd name="connsiteX66" fmla="*/ 2768186 w 3785642"/>
                <a:gd name="connsiteY66" fmla="*/ 474282 h 479077"/>
                <a:gd name="connsiteX67" fmla="*/ 2751815 w 3785642"/>
                <a:gd name="connsiteY67" fmla="*/ 474282 h 479077"/>
                <a:gd name="connsiteX68" fmla="*/ 2735444 w 3785642"/>
                <a:gd name="connsiteY68" fmla="*/ 473290 h 479077"/>
                <a:gd name="connsiteX69" fmla="*/ 2719074 w 3785642"/>
                <a:gd name="connsiteY69" fmla="*/ 474282 h 479077"/>
                <a:gd name="connsiteX70" fmla="*/ 2702703 w 3785642"/>
                <a:gd name="connsiteY70" fmla="*/ 472298 h 479077"/>
                <a:gd name="connsiteX71" fmla="*/ 2686333 w 3785642"/>
                <a:gd name="connsiteY71" fmla="*/ 472794 h 479077"/>
                <a:gd name="connsiteX72" fmla="*/ 2669962 w 3785642"/>
                <a:gd name="connsiteY72" fmla="*/ 474282 h 479077"/>
                <a:gd name="connsiteX73" fmla="*/ 2653592 w 3785642"/>
                <a:gd name="connsiteY73" fmla="*/ 472298 h 479077"/>
                <a:gd name="connsiteX74" fmla="*/ 2637221 w 3785642"/>
                <a:gd name="connsiteY74" fmla="*/ 474282 h 479077"/>
                <a:gd name="connsiteX75" fmla="*/ 2620851 w 3785642"/>
                <a:gd name="connsiteY75" fmla="*/ 474282 h 479077"/>
                <a:gd name="connsiteX76" fmla="*/ 2604480 w 3785642"/>
                <a:gd name="connsiteY76" fmla="*/ 472298 h 479077"/>
                <a:gd name="connsiteX77" fmla="*/ 2588109 w 3785642"/>
                <a:gd name="connsiteY77" fmla="*/ 473786 h 479077"/>
                <a:gd name="connsiteX78" fmla="*/ 2571739 w 3785642"/>
                <a:gd name="connsiteY78" fmla="*/ 472298 h 479077"/>
                <a:gd name="connsiteX79" fmla="*/ 2555368 w 3785642"/>
                <a:gd name="connsiteY79" fmla="*/ 473290 h 479077"/>
                <a:gd name="connsiteX80" fmla="*/ 2538998 w 3785642"/>
                <a:gd name="connsiteY80" fmla="*/ 474282 h 479077"/>
                <a:gd name="connsiteX81" fmla="*/ 2522627 w 3785642"/>
                <a:gd name="connsiteY81" fmla="*/ 473290 h 479077"/>
                <a:gd name="connsiteX82" fmla="*/ 2506257 w 3785642"/>
                <a:gd name="connsiteY82" fmla="*/ 474282 h 479077"/>
                <a:gd name="connsiteX83" fmla="*/ 2489886 w 3785642"/>
                <a:gd name="connsiteY83" fmla="*/ 473786 h 479077"/>
                <a:gd name="connsiteX84" fmla="*/ 2473516 w 3785642"/>
                <a:gd name="connsiteY84" fmla="*/ 474282 h 479077"/>
                <a:gd name="connsiteX85" fmla="*/ 2457145 w 3785642"/>
                <a:gd name="connsiteY85" fmla="*/ 472794 h 479077"/>
                <a:gd name="connsiteX86" fmla="*/ 2440775 w 3785642"/>
                <a:gd name="connsiteY86" fmla="*/ 472298 h 479077"/>
                <a:gd name="connsiteX87" fmla="*/ 2424404 w 3785642"/>
                <a:gd name="connsiteY87" fmla="*/ 473786 h 479077"/>
                <a:gd name="connsiteX88" fmla="*/ 2408033 w 3785642"/>
                <a:gd name="connsiteY88" fmla="*/ 472794 h 479077"/>
                <a:gd name="connsiteX89" fmla="*/ 2391663 w 3785642"/>
                <a:gd name="connsiteY89" fmla="*/ 473290 h 479077"/>
                <a:gd name="connsiteX90" fmla="*/ 2375292 w 3785642"/>
                <a:gd name="connsiteY90" fmla="*/ 473290 h 479077"/>
                <a:gd name="connsiteX91" fmla="*/ 2358922 w 3785642"/>
                <a:gd name="connsiteY91" fmla="*/ 472794 h 479077"/>
                <a:gd name="connsiteX92" fmla="*/ 2342551 w 3785642"/>
                <a:gd name="connsiteY92" fmla="*/ 472298 h 479077"/>
                <a:gd name="connsiteX93" fmla="*/ 2326180 w 3785642"/>
                <a:gd name="connsiteY93" fmla="*/ 473786 h 479077"/>
                <a:gd name="connsiteX94" fmla="*/ 2309810 w 3785642"/>
                <a:gd name="connsiteY94" fmla="*/ 473786 h 479077"/>
                <a:gd name="connsiteX95" fmla="*/ 2293439 w 3785642"/>
                <a:gd name="connsiteY95" fmla="*/ 473786 h 479077"/>
                <a:gd name="connsiteX96" fmla="*/ 2277069 w 3785642"/>
                <a:gd name="connsiteY96" fmla="*/ 472794 h 479077"/>
                <a:gd name="connsiteX97" fmla="*/ 2260698 w 3785642"/>
                <a:gd name="connsiteY97" fmla="*/ 474282 h 479077"/>
                <a:gd name="connsiteX98" fmla="*/ 2244327 w 3785642"/>
                <a:gd name="connsiteY98" fmla="*/ 472298 h 479077"/>
                <a:gd name="connsiteX99" fmla="*/ 2227957 w 3785642"/>
                <a:gd name="connsiteY99" fmla="*/ 474282 h 479077"/>
                <a:gd name="connsiteX100" fmla="*/ 2211586 w 3785642"/>
                <a:gd name="connsiteY100" fmla="*/ 473290 h 479077"/>
                <a:gd name="connsiteX101" fmla="*/ 2195216 w 3785642"/>
                <a:gd name="connsiteY101" fmla="*/ 474282 h 479077"/>
                <a:gd name="connsiteX102" fmla="*/ 2178845 w 3785642"/>
                <a:gd name="connsiteY102" fmla="*/ 472794 h 479077"/>
                <a:gd name="connsiteX103" fmla="*/ 2162474 w 3785642"/>
                <a:gd name="connsiteY103" fmla="*/ 474778 h 479077"/>
                <a:gd name="connsiteX104" fmla="*/ 2146104 w 3785642"/>
                <a:gd name="connsiteY104" fmla="*/ 473290 h 479077"/>
                <a:gd name="connsiteX105" fmla="*/ 2129733 w 3785642"/>
                <a:gd name="connsiteY105" fmla="*/ 474778 h 479077"/>
                <a:gd name="connsiteX106" fmla="*/ 2113363 w 3785642"/>
                <a:gd name="connsiteY106" fmla="*/ 474778 h 479077"/>
                <a:gd name="connsiteX107" fmla="*/ 2096992 w 3785642"/>
                <a:gd name="connsiteY107" fmla="*/ 474778 h 479077"/>
                <a:gd name="connsiteX108" fmla="*/ 2080621 w 3785642"/>
                <a:gd name="connsiteY108" fmla="*/ 474282 h 479077"/>
                <a:gd name="connsiteX109" fmla="*/ 2064251 w 3785642"/>
                <a:gd name="connsiteY109" fmla="*/ 472794 h 479077"/>
                <a:gd name="connsiteX110" fmla="*/ 2047880 w 3785642"/>
                <a:gd name="connsiteY110" fmla="*/ 474778 h 479077"/>
                <a:gd name="connsiteX111" fmla="*/ 2031510 w 3785642"/>
                <a:gd name="connsiteY111" fmla="*/ 474778 h 479077"/>
                <a:gd name="connsiteX112" fmla="*/ 2015139 w 3785642"/>
                <a:gd name="connsiteY112" fmla="*/ 474778 h 479077"/>
                <a:gd name="connsiteX113" fmla="*/ 1998769 w 3785642"/>
                <a:gd name="connsiteY113" fmla="*/ 474282 h 479077"/>
                <a:gd name="connsiteX114" fmla="*/ 1982398 w 3785642"/>
                <a:gd name="connsiteY114" fmla="*/ 473786 h 479077"/>
                <a:gd name="connsiteX115" fmla="*/ 1966028 w 3785642"/>
                <a:gd name="connsiteY115" fmla="*/ 473786 h 479077"/>
                <a:gd name="connsiteX116" fmla="*/ 1949657 w 3785642"/>
                <a:gd name="connsiteY116" fmla="*/ 472794 h 479077"/>
                <a:gd name="connsiteX117" fmla="*/ 1933287 w 3785642"/>
                <a:gd name="connsiteY117" fmla="*/ 473290 h 479077"/>
                <a:gd name="connsiteX118" fmla="*/ 1916916 w 3785642"/>
                <a:gd name="connsiteY118" fmla="*/ 474778 h 479077"/>
                <a:gd name="connsiteX119" fmla="*/ 1900546 w 3785642"/>
                <a:gd name="connsiteY119" fmla="*/ 472794 h 479077"/>
                <a:gd name="connsiteX120" fmla="*/ 1884175 w 3785642"/>
                <a:gd name="connsiteY120" fmla="*/ 473786 h 479077"/>
                <a:gd name="connsiteX121" fmla="*/ 1867804 w 3785642"/>
                <a:gd name="connsiteY121" fmla="*/ 474778 h 479077"/>
                <a:gd name="connsiteX122" fmla="*/ 1851434 w 3785642"/>
                <a:gd name="connsiteY122" fmla="*/ 474778 h 479077"/>
                <a:gd name="connsiteX123" fmla="*/ 1835063 w 3785642"/>
                <a:gd name="connsiteY123" fmla="*/ 474778 h 479077"/>
                <a:gd name="connsiteX124" fmla="*/ 1818693 w 3785642"/>
                <a:gd name="connsiteY124" fmla="*/ 474282 h 479077"/>
                <a:gd name="connsiteX125" fmla="*/ 1802322 w 3785642"/>
                <a:gd name="connsiteY125" fmla="*/ 472794 h 479077"/>
                <a:gd name="connsiteX126" fmla="*/ 1785951 w 3785642"/>
                <a:gd name="connsiteY126" fmla="*/ 473786 h 479077"/>
                <a:gd name="connsiteX127" fmla="*/ 1769581 w 3785642"/>
                <a:gd name="connsiteY127" fmla="*/ 473290 h 479077"/>
                <a:gd name="connsiteX128" fmla="*/ 1753210 w 3785642"/>
                <a:gd name="connsiteY128" fmla="*/ 472298 h 479077"/>
                <a:gd name="connsiteX129" fmla="*/ 1736840 w 3785642"/>
                <a:gd name="connsiteY129" fmla="*/ 473290 h 479077"/>
                <a:gd name="connsiteX130" fmla="*/ 1720469 w 3785642"/>
                <a:gd name="connsiteY130" fmla="*/ 474778 h 479077"/>
                <a:gd name="connsiteX131" fmla="*/ 1704098 w 3785642"/>
                <a:gd name="connsiteY131" fmla="*/ 472794 h 479077"/>
                <a:gd name="connsiteX132" fmla="*/ 1687728 w 3785642"/>
                <a:gd name="connsiteY132" fmla="*/ 474778 h 479077"/>
                <a:gd name="connsiteX133" fmla="*/ 1671357 w 3785642"/>
                <a:gd name="connsiteY133" fmla="*/ 474778 h 479077"/>
                <a:gd name="connsiteX134" fmla="*/ 1654987 w 3785642"/>
                <a:gd name="connsiteY134" fmla="*/ 472298 h 479077"/>
                <a:gd name="connsiteX135" fmla="*/ 1638616 w 3785642"/>
                <a:gd name="connsiteY135" fmla="*/ 472794 h 479077"/>
                <a:gd name="connsiteX136" fmla="*/ 1622246 w 3785642"/>
                <a:gd name="connsiteY136" fmla="*/ 473786 h 479077"/>
                <a:gd name="connsiteX137" fmla="*/ 1605875 w 3785642"/>
                <a:gd name="connsiteY137" fmla="*/ 474778 h 479077"/>
                <a:gd name="connsiteX138" fmla="*/ 1589505 w 3785642"/>
                <a:gd name="connsiteY138" fmla="*/ 473290 h 479077"/>
                <a:gd name="connsiteX139" fmla="*/ 1573134 w 3785642"/>
                <a:gd name="connsiteY139" fmla="*/ 474778 h 479077"/>
                <a:gd name="connsiteX140" fmla="*/ 1556763 w 3785642"/>
                <a:gd name="connsiteY140" fmla="*/ 472794 h 479077"/>
                <a:gd name="connsiteX141" fmla="*/ 1540393 w 3785642"/>
                <a:gd name="connsiteY141" fmla="*/ 472794 h 479077"/>
                <a:gd name="connsiteX142" fmla="*/ 1524022 w 3785642"/>
                <a:gd name="connsiteY142" fmla="*/ 474282 h 479077"/>
                <a:gd name="connsiteX143" fmla="*/ 1507652 w 3785642"/>
                <a:gd name="connsiteY143" fmla="*/ 472794 h 479077"/>
                <a:gd name="connsiteX144" fmla="*/ 1491281 w 3785642"/>
                <a:gd name="connsiteY144" fmla="*/ 474282 h 479077"/>
                <a:gd name="connsiteX145" fmla="*/ 1474910 w 3785642"/>
                <a:gd name="connsiteY145" fmla="*/ 474282 h 479077"/>
                <a:gd name="connsiteX146" fmla="*/ 1458540 w 3785642"/>
                <a:gd name="connsiteY146" fmla="*/ 472794 h 479077"/>
                <a:gd name="connsiteX147" fmla="*/ 1442169 w 3785642"/>
                <a:gd name="connsiteY147" fmla="*/ 471802 h 479077"/>
                <a:gd name="connsiteX148" fmla="*/ 1425799 w 3785642"/>
                <a:gd name="connsiteY148" fmla="*/ 472298 h 479077"/>
                <a:gd name="connsiteX149" fmla="*/ 1409428 w 3785642"/>
                <a:gd name="connsiteY149" fmla="*/ 472794 h 479077"/>
                <a:gd name="connsiteX150" fmla="*/ 1393058 w 3785642"/>
                <a:gd name="connsiteY150" fmla="*/ 473786 h 479077"/>
                <a:gd name="connsiteX151" fmla="*/ 1376687 w 3785642"/>
                <a:gd name="connsiteY151" fmla="*/ 471802 h 479077"/>
                <a:gd name="connsiteX152" fmla="*/ 1360317 w 3785642"/>
                <a:gd name="connsiteY152" fmla="*/ 473786 h 479077"/>
                <a:gd name="connsiteX153" fmla="*/ 1343946 w 3785642"/>
                <a:gd name="connsiteY153" fmla="*/ 473786 h 479077"/>
                <a:gd name="connsiteX154" fmla="*/ 1327576 w 3785642"/>
                <a:gd name="connsiteY154" fmla="*/ 472794 h 479077"/>
                <a:gd name="connsiteX155" fmla="*/ 1311205 w 3785642"/>
                <a:gd name="connsiteY155" fmla="*/ 473786 h 479077"/>
                <a:gd name="connsiteX156" fmla="*/ 1294834 w 3785642"/>
                <a:gd name="connsiteY156" fmla="*/ 473786 h 479077"/>
                <a:gd name="connsiteX157" fmla="*/ 1278464 w 3785642"/>
                <a:gd name="connsiteY157" fmla="*/ 473786 h 479077"/>
                <a:gd name="connsiteX158" fmla="*/ 1262093 w 3785642"/>
                <a:gd name="connsiteY158" fmla="*/ 473786 h 479077"/>
                <a:gd name="connsiteX159" fmla="*/ 1245723 w 3785642"/>
                <a:gd name="connsiteY159" fmla="*/ 473290 h 479077"/>
                <a:gd name="connsiteX160" fmla="*/ 1229352 w 3785642"/>
                <a:gd name="connsiteY160" fmla="*/ 472794 h 479077"/>
                <a:gd name="connsiteX161" fmla="*/ 1212981 w 3785642"/>
                <a:gd name="connsiteY161" fmla="*/ 473786 h 479077"/>
                <a:gd name="connsiteX162" fmla="*/ 1196611 w 3785642"/>
                <a:gd name="connsiteY162" fmla="*/ 472298 h 479077"/>
                <a:gd name="connsiteX163" fmla="*/ 1180240 w 3785642"/>
                <a:gd name="connsiteY163" fmla="*/ 472794 h 479077"/>
                <a:gd name="connsiteX164" fmla="*/ 1163870 w 3785642"/>
                <a:gd name="connsiteY164" fmla="*/ 472794 h 479077"/>
                <a:gd name="connsiteX165" fmla="*/ 1147499 w 3785642"/>
                <a:gd name="connsiteY165" fmla="*/ 473786 h 479077"/>
                <a:gd name="connsiteX166" fmla="*/ 1131128 w 3785642"/>
                <a:gd name="connsiteY166" fmla="*/ 473786 h 479077"/>
                <a:gd name="connsiteX167" fmla="*/ 1114758 w 3785642"/>
                <a:gd name="connsiteY167" fmla="*/ 472794 h 479077"/>
                <a:gd name="connsiteX168" fmla="*/ 1098387 w 3785642"/>
                <a:gd name="connsiteY168" fmla="*/ 473786 h 479077"/>
                <a:gd name="connsiteX169" fmla="*/ 1082017 w 3785642"/>
                <a:gd name="connsiteY169" fmla="*/ 474778 h 479077"/>
                <a:gd name="connsiteX170" fmla="*/ 1065646 w 3785642"/>
                <a:gd name="connsiteY170" fmla="*/ 474778 h 479077"/>
                <a:gd name="connsiteX171" fmla="*/ 1049276 w 3785642"/>
                <a:gd name="connsiteY171" fmla="*/ 474282 h 479077"/>
                <a:gd name="connsiteX172" fmla="*/ 1032905 w 3785642"/>
                <a:gd name="connsiteY172" fmla="*/ 473290 h 479077"/>
                <a:gd name="connsiteX173" fmla="*/ 1016535 w 3785642"/>
                <a:gd name="connsiteY173" fmla="*/ 474282 h 479077"/>
                <a:gd name="connsiteX174" fmla="*/ 1000164 w 3785642"/>
                <a:gd name="connsiteY174" fmla="*/ 474282 h 479077"/>
                <a:gd name="connsiteX175" fmla="*/ 983793 w 3785642"/>
                <a:gd name="connsiteY175" fmla="*/ 472794 h 479077"/>
                <a:gd name="connsiteX176" fmla="*/ 967423 w 3785642"/>
                <a:gd name="connsiteY176" fmla="*/ 472794 h 479077"/>
                <a:gd name="connsiteX177" fmla="*/ 951052 w 3785642"/>
                <a:gd name="connsiteY177" fmla="*/ 473786 h 479077"/>
                <a:gd name="connsiteX178" fmla="*/ 934682 w 3785642"/>
                <a:gd name="connsiteY178" fmla="*/ 474282 h 479077"/>
                <a:gd name="connsiteX179" fmla="*/ 918311 w 3785642"/>
                <a:gd name="connsiteY179" fmla="*/ 474778 h 479077"/>
                <a:gd name="connsiteX180" fmla="*/ 901940 w 3785642"/>
                <a:gd name="connsiteY180" fmla="*/ 473290 h 479077"/>
                <a:gd name="connsiteX181" fmla="*/ 885570 w 3785642"/>
                <a:gd name="connsiteY181" fmla="*/ 474778 h 479077"/>
                <a:gd name="connsiteX182" fmla="*/ 869199 w 3785642"/>
                <a:gd name="connsiteY182" fmla="*/ 474282 h 479077"/>
                <a:gd name="connsiteX183" fmla="*/ 852829 w 3785642"/>
                <a:gd name="connsiteY183" fmla="*/ 473786 h 479077"/>
                <a:gd name="connsiteX184" fmla="*/ 836458 w 3785642"/>
                <a:gd name="connsiteY184" fmla="*/ 474778 h 479077"/>
                <a:gd name="connsiteX185" fmla="*/ 820088 w 3785642"/>
                <a:gd name="connsiteY185" fmla="*/ 475274 h 479077"/>
                <a:gd name="connsiteX186" fmla="*/ 803717 w 3785642"/>
                <a:gd name="connsiteY186" fmla="*/ 473786 h 479077"/>
                <a:gd name="connsiteX187" fmla="*/ 787347 w 3785642"/>
                <a:gd name="connsiteY187" fmla="*/ 475770 h 479077"/>
                <a:gd name="connsiteX188" fmla="*/ 770976 w 3785642"/>
                <a:gd name="connsiteY188" fmla="*/ 474778 h 479077"/>
                <a:gd name="connsiteX189" fmla="*/ 754605 w 3785642"/>
                <a:gd name="connsiteY189" fmla="*/ 475274 h 479077"/>
                <a:gd name="connsiteX190" fmla="*/ 738235 w 3785642"/>
                <a:gd name="connsiteY190" fmla="*/ 473786 h 479077"/>
                <a:gd name="connsiteX191" fmla="*/ 721864 w 3785642"/>
                <a:gd name="connsiteY191" fmla="*/ 475274 h 479077"/>
                <a:gd name="connsiteX192" fmla="*/ 705494 w 3785642"/>
                <a:gd name="connsiteY192" fmla="*/ 475770 h 479077"/>
                <a:gd name="connsiteX193" fmla="*/ 689123 w 3785642"/>
                <a:gd name="connsiteY193" fmla="*/ 474282 h 479077"/>
                <a:gd name="connsiteX194" fmla="*/ 672753 w 3785642"/>
                <a:gd name="connsiteY194" fmla="*/ 475274 h 479077"/>
                <a:gd name="connsiteX195" fmla="*/ 656382 w 3785642"/>
                <a:gd name="connsiteY195" fmla="*/ 474778 h 479077"/>
                <a:gd name="connsiteX196" fmla="*/ 640011 w 3785642"/>
                <a:gd name="connsiteY196" fmla="*/ 475770 h 479077"/>
                <a:gd name="connsiteX197" fmla="*/ 623641 w 3785642"/>
                <a:gd name="connsiteY197" fmla="*/ 473786 h 479077"/>
                <a:gd name="connsiteX198" fmla="*/ 607270 w 3785642"/>
                <a:gd name="connsiteY198" fmla="*/ 474778 h 479077"/>
                <a:gd name="connsiteX199" fmla="*/ 590900 w 3785642"/>
                <a:gd name="connsiteY199" fmla="*/ 475274 h 479077"/>
                <a:gd name="connsiteX200" fmla="*/ 574529 w 3785642"/>
                <a:gd name="connsiteY200" fmla="*/ 474282 h 479077"/>
                <a:gd name="connsiteX201" fmla="*/ 558158 w 3785642"/>
                <a:gd name="connsiteY201" fmla="*/ 475274 h 479077"/>
                <a:gd name="connsiteX202" fmla="*/ 541788 w 3785642"/>
                <a:gd name="connsiteY202" fmla="*/ 475770 h 479077"/>
                <a:gd name="connsiteX203" fmla="*/ 525417 w 3785642"/>
                <a:gd name="connsiteY203" fmla="*/ 474282 h 479077"/>
                <a:gd name="connsiteX204" fmla="*/ 509047 w 3785642"/>
                <a:gd name="connsiteY204" fmla="*/ 473786 h 479077"/>
                <a:gd name="connsiteX205" fmla="*/ 492676 w 3785642"/>
                <a:gd name="connsiteY205" fmla="*/ 473786 h 479077"/>
                <a:gd name="connsiteX206" fmla="*/ 476306 w 3785642"/>
                <a:gd name="connsiteY206" fmla="*/ 474778 h 479077"/>
                <a:gd name="connsiteX207" fmla="*/ 459935 w 3785642"/>
                <a:gd name="connsiteY207" fmla="*/ 473786 h 479077"/>
                <a:gd name="connsiteX208" fmla="*/ 443565 w 3785642"/>
                <a:gd name="connsiteY208" fmla="*/ 474778 h 479077"/>
                <a:gd name="connsiteX209" fmla="*/ 427194 w 3785642"/>
                <a:gd name="connsiteY209" fmla="*/ 474282 h 479077"/>
                <a:gd name="connsiteX210" fmla="*/ 410823 w 3785642"/>
                <a:gd name="connsiteY210" fmla="*/ 473290 h 479077"/>
                <a:gd name="connsiteX211" fmla="*/ 394453 w 3785642"/>
                <a:gd name="connsiteY211" fmla="*/ 475770 h 479077"/>
                <a:gd name="connsiteX212" fmla="*/ 378082 w 3785642"/>
                <a:gd name="connsiteY212" fmla="*/ 475274 h 479077"/>
                <a:gd name="connsiteX213" fmla="*/ 361712 w 3785642"/>
                <a:gd name="connsiteY213" fmla="*/ 474778 h 479077"/>
                <a:gd name="connsiteX214" fmla="*/ 345341 w 3785642"/>
                <a:gd name="connsiteY214" fmla="*/ 476266 h 479077"/>
                <a:gd name="connsiteX215" fmla="*/ 328970 w 3785642"/>
                <a:gd name="connsiteY215" fmla="*/ 474282 h 479077"/>
                <a:gd name="connsiteX216" fmla="*/ 312600 w 3785642"/>
                <a:gd name="connsiteY216" fmla="*/ 475274 h 479077"/>
                <a:gd name="connsiteX217" fmla="*/ 296229 w 3785642"/>
                <a:gd name="connsiteY217" fmla="*/ 474282 h 479077"/>
                <a:gd name="connsiteX218" fmla="*/ 279859 w 3785642"/>
                <a:gd name="connsiteY218" fmla="*/ 475770 h 479077"/>
                <a:gd name="connsiteX219" fmla="*/ 263488 w 3785642"/>
                <a:gd name="connsiteY219" fmla="*/ 476266 h 479077"/>
                <a:gd name="connsiteX220" fmla="*/ 247118 w 3785642"/>
                <a:gd name="connsiteY220" fmla="*/ 476266 h 479077"/>
                <a:gd name="connsiteX221" fmla="*/ 230747 w 3785642"/>
                <a:gd name="connsiteY221" fmla="*/ 474778 h 479077"/>
                <a:gd name="connsiteX222" fmla="*/ 214376 w 3785642"/>
                <a:gd name="connsiteY222" fmla="*/ 474778 h 479077"/>
                <a:gd name="connsiteX223" fmla="*/ 198006 w 3785642"/>
                <a:gd name="connsiteY223" fmla="*/ 476762 h 479077"/>
                <a:gd name="connsiteX224" fmla="*/ 181635 w 3785642"/>
                <a:gd name="connsiteY224" fmla="*/ 476266 h 479077"/>
                <a:gd name="connsiteX225" fmla="*/ 165265 w 3785642"/>
                <a:gd name="connsiteY225" fmla="*/ 474778 h 479077"/>
                <a:gd name="connsiteX226" fmla="*/ 148894 w 3785642"/>
                <a:gd name="connsiteY226" fmla="*/ 476762 h 479077"/>
                <a:gd name="connsiteX227" fmla="*/ 132524 w 3785642"/>
                <a:gd name="connsiteY227" fmla="*/ 476266 h 479077"/>
                <a:gd name="connsiteX228" fmla="*/ 116153 w 3785642"/>
                <a:gd name="connsiteY228" fmla="*/ 475274 h 479077"/>
                <a:gd name="connsiteX229" fmla="*/ 99783 w 3785642"/>
                <a:gd name="connsiteY229" fmla="*/ 475274 h 479077"/>
                <a:gd name="connsiteX230" fmla="*/ 83412 w 3785642"/>
                <a:gd name="connsiteY230" fmla="*/ 475274 h 479077"/>
                <a:gd name="connsiteX231" fmla="*/ 67041 w 3785642"/>
                <a:gd name="connsiteY231" fmla="*/ 474778 h 479077"/>
                <a:gd name="connsiteX232" fmla="*/ 50671 w 3785642"/>
                <a:gd name="connsiteY232" fmla="*/ 475274 h 479077"/>
                <a:gd name="connsiteX233" fmla="*/ 34300 w 3785642"/>
                <a:gd name="connsiteY233" fmla="*/ 475274 h 479077"/>
                <a:gd name="connsiteX234" fmla="*/ 17930 w 3785642"/>
                <a:gd name="connsiteY234" fmla="*/ 475770 h 479077"/>
                <a:gd name="connsiteX235" fmla="*/ 567 w 3785642"/>
                <a:gd name="connsiteY235" fmla="*/ 475770 h 479077"/>
                <a:gd name="connsiteX236" fmla="*/ 12969 w 3785642"/>
                <a:gd name="connsiteY236" fmla="*/ 463368 h 479077"/>
                <a:gd name="connsiteX237" fmla="*/ 24379 w 3785642"/>
                <a:gd name="connsiteY237" fmla="*/ 451958 h 479077"/>
                <a:gd name="connsiteX238" fmla="*/ 35788 w 3785642"/>
                <a:gd name="connsiteY238" fmla="*/ 440053 h 479077"/>
                <a:gd name="connsiteX239" fmla="*/ 48686 w 3785642"/>
                <a:gd name="connsiteY239" fmla="*/ 430131 h 479077"/>
                <a:gd name="connsiteX240" fmla="*/ 59600 w 3785642"/>
                <a:gd name="connsiteY240" fmla="*/ 418225 h 479077"/>
                <a:gd name="connsiteX241" fmla="*/ 70514 w 3785642"/>
                <a:gd name="connsiteY241" fmla="*/ 405823 h 479077"/>
                <a:gd name="connsiteX242" fmla="*/ 83412 w 3785642"/>
                <a:gd name="connsiteY242" fmla="*/ 395406 h 479077"/>
                <a:gd name="connsiteX243" fmla="*/ 94822 w 3785642"/>
                <a:gd name="connsiteY243" fmla="*/ 383500 h 479077"/>
                <a:gd name="connsiteX244" fmla="*/ 106728 w 3785642"/>
                <a:gd name="connsiteY244" fmla="*/ 372090 h 479077"/>
                <a:gd name="connsiteX245" fmla="*/ 117145 w 3785642"/>
                <a:gd name="connsiteY245" fmla="*/ 359688 h 479077"/>
                <a:gd name="connsiteX246" fmla="*/ 128555 w 3785642"/>
                <a:gd name="connsiteY246" fmla="*/ 348278 h 479077"/>
                <a:gd name="connsiteX247" fmla="*/ 140461 w 3785642"/>
                <a:gd name="connsiteY247" fmla="*/ 336868 h 479077"/>
                <a:gd name="connsiteX248" fmla="*/ 152863 w 3785642"/>
                <a:gd name="connsiteY248" fmla="*/ 326451 h 479077"/>
                <a:gd name="connsiteX249" fmla="*/ 164769 w 3785642"/>
                <a:gd name="connsiteY249" fmla="*/ 315041 h 479077"/>
                <a:gd name="connsiteX250" fmla="*/ 176178 w 3785642"/>
                <a:gd name="connsiteY250" fmla="*/ 303135 h 479077"/>
                <a:gd name="connsiteX251" fmla="*/ 188084 w 3785642"/>
                <a:gd name="connsiteY251" fmla="*/ 291725 h 479077"/>
                <a:gd name="connsiteX252" fmla="*/ 199494 w 3785642"/>
                <a:gd name="connsiteY252" fmla="*/ 280315 h 479077"/>
                <a:gd name="connsiteX253" fmla="*/ 210904 w 3785642"/>
                <a:gd name="connsiteY253" fmla="*/ 268906 h 479077"/>
                <a:gd name="connsiteX254" fmla="*/ 221818 w 3785642"/>
                <a:gd name="connsiteY254" fmla="*/ 256504 h 479077"/>
                <a:gd name="connsiteX255" fmla="*/ 233724 w 3785642"/>
                <a:gd name="connsiteY255" fmla="*/ 245094 h 479077"/>
                <a:gd name="connsiteX256" fmla="*/ 244141 w 3785642"/>
                <a:gd name="connsiteY256" fmla="*/ 232692 h 479077"/>
                <a:gd name="connsiteX257" fmla="*/ 257039 w 3785642"/>
                <a:gd name="connsiteY257" fmla="*/ 222770 h 479077"/>
                <a:gd name="connsiteX258" fmla="*/ 266961 w 3785642"/>
                <a:gd name="connsiteY258" fmla="*/ 209376 h 479077"/>
                <a:gd name="connsiteX259" fmla="*/ 278371 w 3785642"/>
                <a:gd name="connsiteY259" fmla="*/ 197966 h 479077"/>
                <a:gd name="connsiteX260" fmla="*/ 291269 w 3785642"/>
                <a:gd name="connsiteY260" fmla="*/ 188045 h 479077"/>
                <a:gd name="connsiteX261" fmla="*/ 301686 w 3785642"/>
                <a:gd name="connsiteY261" fmla="*/ 175147 h 479077"/>
                <a:gd name="connsiteX262" fmla="*/ 313592 w 3785642"/>
                <a:gd name="connsiteY262" fmla="*/ 163737 h 479077"/>
                <a:gd name="connsiteX263" fmla="*/ 325994 w 3785642"/>
                <a:gd name="connsiteY263" fmla="*/ 153319 h 479077"/>
                <a:gd name="connsiteX264" fmla="*/ 337404 w 3785642"/>
                <a:gd name="connsiteY264" fmla="*/ 141910 h 479077"/>
                <a:gd name="connsiteX265" fmla="*/ 347325 w 3785642"/>
                <a:gd name="connsiteY265" fmla="*/ 129012 h 479077"/>
                <a:gd name="connsiteX266" fmla="*/ 360224 w 3785642"/>
                <a:gd name="connsiteY266" fmla="*/ 118594 h 479077"/>
                <a:gd name="connsiteX267" fmla="*/ 371137 w 3785642"/>
                <a:gd name="connsiteY267" fmla="*/ 106192 h 479077"/>
                <a:gd name="connsiteX268" fmla="*/ 382051 w 3785642"/>
                <a:gd name="connsiteY268" fmla="*/ 93790 h 479077"/>
                <a:gd name="connsiteX269" fmla="*/ 393957 w 3785642"/>
                <a:gd name="connsiteY269" fmla="*/ 82380 h 479077"/>
                <a:gd name="connsiteX270" fmla="*/ 405366 w 3785642"/>
                <a:gd name="connsiteY270" fmla="*/ 70475 h 479077"/>
                <a:gd name="connsiteX271" fmla="*/ 417272 w 3785642"/>
                <a:gd name="connsiteY271" fmla="*/ 59561 h 479077"/>
                <a:gd name="connsiteX272" fmla="*/ 429674 w 3785642"/>
                <a:gd name="connsiteY272" fmla="*/ 48647 h 479077"/>
                <a:gd name="connsiteX273" fmla="*/ 440092 w 3785642"/>
                <a:gd name="connsiteY273" fmla="*/ 35749 h 479077"/>
                <a:gd name="connsiteX274" fmla="*/ 452494 w 3785642"/>
                <a:gd name="connsiteY274" fmla="*/ 24835 h 479077"/>
                <a:gd name="connsiteX275" fmla="*/ 463904 w 3785642"/>
                <a:gd name="connsiteY275" fmla="*/ 12929 h 479077"/>
                <a:gd name="connsiteX276" fmla="*/ 475313 w 3785642"/>
                <a:gd name="connsiteY276" fmla="*/ 1024 h 479077"/>
                <a:gd name="connsiteX277" fmla="*/ 491684 w 3785642"/>
                <a:gd name="connsiteY277" fmla="*/ 2512 h 479077"/>
                <a:gd name="connsiteX278" fmla="*/ 508055 w 3785642"/>
                <a:gd name="connsiteY278" fmla="*/ 2512 h 479077"/>
                <a:gd name="connsiteX279" fmla="*/ 524425 w 3785642"/>
                <a:gd name="connsiteY279" fmla="*/ 2512 h 479077"/>
                <a:gd name="connsiteX280" fmla="*/ 540796 w 3785642"/>
                <a:gd name="connsiteY280" fmla="*/ 1024 h 479077"/>
                <a:gd name="connsiteX281" fmla="*/ 557166 w 3785642"/>
                <a:gd name="connsiteY281" fmla="*/ 2512 h 479077"/>
                <a:gd name="connsiteX282" fmla="*/ 573537 w 3785642"/>
                <a:gd name="connsiteY282" fmla="*/ 1024 h 479077"/>
                <a:gd name="connsiteX283" fmla="*/ 589908 w 3785642"/>
                <a:gd name="connsiteY283" fmla="*/ 527 h 479077"/>
                <a:gd name="connsiteX284" fmla="*/ 606278 w 3785642"/>
                <a:gd name="connsiteY284" fmla="*/ 1520 h 479077"/>
                <a:gd name="connsiteX285" fmla="*/ 622649 w 3785642"/>
                <a:gd name="connsiteY285" fmla="*/ 1520 h 479077"/>
                <a:gd name="connsiteX286" fmla="*/ 639019 w 3785642"/>
                <a:gd name="connsiteY286" fmla="*/ 2016 h 479077"/>
                <a:gd name="connsiteX287" fmla="*/ 655390 w 3785642"/>
                <a:gd name="connsiteY287" fmla="*/ 527 h 479077"/>
                <a:gd name="connsiteX288" fmla="*/ 671760 w 3785642"/>
                <a:gd name="connsiteY288" fmla="*/ 1520 h 479077"/>
                <a:gd name="connsiteX289" fmla="*/ 688131 w 3785642"/>
                <a:gd name="connsiteY289" fmla="*/ 2512 h 479077"/>
                <a:gd name="connsiteX290" fmla="*/ 704501 w 3785642"/>
                <a:gd name="connsiteY290" fmla="*/ 1024 h 479077"/>
                <a:gd name="connsiteX291" fmla="*/ 720872 w 3785642"/>
                <a:gd name="connsiteY291" fmla="*/ 1520 h 479077"/>
                <a:gd name="connsiteX292" fmla="*/ 737243 w 3785642"/>
                <a:gd name="connsiteY292" fmla="*/ 2016 h 479077"/>
                <a:gd name="connsiteX293" fmla="*/ 753613 w 3785642"/>
                <a:gd name="connsiteY293" fmla="*/ 1024 h 479077"/>
                <a:gd name="connsiteX294" fmla="*/ 769984 w 3785642"/>
                <a:gd name="connsiteY294" fmla="*/ 527 h 479077"/>
                <a:gd name="connsiteX295" fmla="*/ 786354 w 3785642"/>
                <a:gd name="connsiteY295" fmla="*/ 1520 h 479077"/>
                <a:gd name="connsiteX296" fmla="*/ 802725 w 3785642"/>
                <a:gd name="connsiteY296" fmla="*/ 527 h 479077"/>
                <a:gd name="connsiteX297" fmla="*/ 819096 w 3785642"/>
                <a:gd name="connsiteY297" fmla="*/ 2512 h 479077"/>
                <a:gd name="connsiteX298" fmla="*/ 835466 w 3785642"/>
                <a:gd name="connsiteY298" fmla="*/ 527 h 479077"/>
                <a:gd name="connsiteX299" fmla="*/ 851837 w 3785642"/>
                <a:gd name="connsiteY299" fmla="*/ 1520 h 479077"/>
                <a:gd name="connsiteX300" fmla="*/ 868207 w 3785642"/>
                <a:gd name="connsiteY300" fmla="*/ 2016 h 479077"/>
                <a:gd name="connsiteX301" fmla="*/ 884578 w 3785642"/>
                <a:gd name="connsiteY301" fmla="*/ 2512 h 479077"/>
                <a:gd name="connsiteX302" fmla="*/ 900948 w 3785642"/>
                <a:gd name="connsiteY302" fmla="*/ 1520 h 479077"/>
                <a:gd name="connsiteX303" fmla="*/ 917319 w 3785642"/>
                <a:gd name="connsiteY303" fmla="*/ 1024 h 479077"/>
                <a:gd name="connsiteX304" fmla="*/ 933689 w 3785642"/>
                <a:gd name="connsiteY304" fmla="*/ 2512 h 479077"/>
                <a:gd name="connsiteX305" fmla="*/ 950060 w 3785642"/>
                <a:gd name="connsiteY305" fmla="*/ 1520 h 479077"/>
                <a:gd name="connsiteX306" fmla="*/ 966431 w 3785642"/>
                <a:gd name="connsiteY306" fmla="*/ 2016 h 479077"/>
                <a:gd name="connsiteX307" fmla="*/ 982801 w 3785642"/>
                <a:gd name="connsiteY307" fmla="*/ 2512 h 479077"/>
                <a:gd name="connsiteX308" fmla="*/ 999172 w 3785642"/>
                <a:gd name="connsiteY308" fmla="*/ 1520 h 479077"/>
                <a:gd name="connsiteX309" fmla="*/ 1015542 w 3785642"/>
                <a:gd name="connsiteY309" fmla="*/ 2512 h 479077"/>
                <a:gd name="connsiteX310" fmla="*/ 1031913 w 3785642"/>
                <a:gd name="connsiteY310" fmla="*/ 1520 h 479077"/>
                <a:gd name="connsiteX311" fmla="*/ 1048283 w 3785642"/>
                <a:gd name="connsiteY311" fmla="*/ 2016 h 479077"/>
                <a:gd name="connsiteX312" fmla="*/ 1064654 w 3785642"/>
                <a:gd name="connsiteY312" fmla="*/ 3504 h 479077"/>
                <a:gd name="connsiteX313" fmla="*/ 1081025 w 3785642"/>
                <a:gd name="connsiteY313" fmla="*/ 2016 h 479077"/>
                <a:gd name="connsiteX314" fmla="*/ 1097395 w 3785642"/>
                <a:gd name="connsiteY314" fmla="*/ 2512 h 479077"/>
                <a:gd name="connsiteX315" fmla="*/ 1113766 w 3785642"/>
                <a:gd name="connsiteY315" fmla="*/ 2512 h 479077"/>
                <a:gd name="connsiteX316" fmla="*/ 1130136 w 3785642"/>
                <a:gd name="connsiteY316" fmla="*/ 3504 h 479077"/>
                <a:gd name="connsiteX317" fmla="*/ 1146507 w 3785642"/>
                <a:gd name="connsiteY317" fmla="*/ 1520 h 479077"/>
                <a:gd name="connsiteX318" fmla="*/ 1162878 w 3785642"/>
                <a:gd name="connsiteY318" fmla="*/ 3008 h 479077"/>
                <a:gd name="connsiteX319" fmla="*/ 1179248 w 3785642"/>
                <a:gd name="connsiteY319" fmla="*/ 4000 h 479077"/>
                <a:gd name="connsiteX320" fmla="*/ 1195619 w 3785642"/>
                <a:gd name="connsiteY320" fmla="*/ 3504 h 479077"/>
                <a:gd name="connsiteX321" fmla="*/ 1211989 w 3785642"/>
                <a:gd name="connsiteY321" fmla="*/ 1520 h 479077"/>
                <a:gd name="connsiteX322" fmla="*/ 1228360 w 3785642"/>
                <a:gd name="connsiteY322" fmla="*/ 3504 h 479077"/>
                <a:gd name="connsiteX323" fmla="*/ 1244730 w 3785642"/>
                <a:gd name="connsiteY323" fmla="*/ 1520 h 479077"/>
                <a:gd name="connsiteX324" fmla="*/ 1261101 w 3785642"/>
                <a:gd name="connsiteY324" fmla="*/ 2512 h 479077"/>
                <a:gd name="connsiteX325" fmla="*/ 1277471 w 3785642"/>
                <a:gd name="connsiteY325" fmla="*/ 3504 h 479077"/>
                <a:gd name="connsiteX326" fmla="*/ 1293842 w 3785642"/>
                <a:gd name="connsiteY326" fmla="*/ 4000 h 479077"/>
                <a:gd name="connsiteX327" fmla="*/ 1310213 w 3785642"/>
                <a:gd name="connsiteY327" fmla="*/ 1520 h 479077"/>
                <a:gd name="connsiteX328" fmla="*/ 1326583 w 3785642"/>
                <a:gd name="connsiteY328" fmla="*/ 2016 h 479077"/>
                <a:gd name="connsiteX329" fmla="*/ 1342954 w 3785642"/>
                <a:gd name="connsiteY329" fmla="*/ 3008 h 479077"/>
                <a:gd name="connsiteX330" fmla="*/ 1359324 w 3785642"/>
                <a:gd name="connsiteY330" fmla="*/ 3008 h 479077"/>
                <a:gd name="connsiteX331" fmla="*/ 1375695 w 3785642"/>
                <a:gd name="connsiteY331" fmla="*/ 2512 h 479077"/>
                <a:gd name="connsiteX332" fmla="*/ 1392066 w 3785642"/>
                <a:gd name="connsiteY332" fmla="*/ 2512 h 479077"/>
                <a:gd name="connsiteX333" fmla="*/ 1408436 w 3785642"/>
                <a:gd name="connsiteY333" fmla="*/ 3504 h 479077"/>
                <a:gd name="connsiteX334" fmla="*/ 1424807 w 3785642"/>
                <a:gd name="connsiteY334" fmla="*/ 3504 h 479077"/>
                <a:gd name="connsiteX335" fmla="*/ 1441177 w 3785642"/>
                <a:gd name="connsiteY335" fmla="*/ 1520 h 479077"/>
                <a:gd name="connsiteX336" fmla="*/ 1457548 w 3785642"/>
                <a:gd name="connsiteY336" fmla="*/ 2512 h 479077"/>
                <a:gd name="connsiteX337" fmla="*/ 1473919 w 3785642"/>
                <a:gd name="connsiteY337" fmla="*/ 2016 h 479077"/>
                <a:gd name="connsiteX338" fmla="*/ 1490289 w 3785642"/>
                <a:gd name="connsiteY338" fmla="*/ 2016 h 479077"/>
                <a:gd name="connsiteX339" fmla="*/ 1506660 w 3785642"/>
                <a:gd name="connsiteY339" fmla="*/ 1520 h 479077"/>
                <a:gd name="connsiteX340" fmla="*/ 1523030 w 3785642"/>
                <a:gd name="connsiteY340" fmla="*/ 3504 h 479077"/>
                <a:gd name="connsiteX341" fmla="*/ 1539401 w 3785642"/>
                <a:gd name="connsiteY341" fmla="*/ 3008 h 479077"/>
                <a:gd name="connsiteX342" fmla="*/ 1555771 w 3785642"/>
                <a:gd name="connsiteY342" fmla="*/ 3008 h 479077"/>
                <a:gd name="connsiteX343" fmla="*/ 1572142 w 3785642"/>
                <a:gd name="connsiteY343" fmla="*/ 2512 h 479077"/>
                <a:gd name="connsiteX344" fmla="*/ 1588512 w 3785642"/>
                <a:gd name="connsiteY344" fmla="*/ 2016 h 479077"/>
                <a:gd name="connsiteX345" fmla="*/ 1604883 w 3785642"/>
                <a:gd name="connsiteY345" fmla="*/ 3008 h 479077"/>
                <a:gd name="connsiteX346" fmla="*/ 1621253 w 3785642"/>
                <a:gd name="connsiteY346" fmla="*/ 3008 h 479077"/>
                <a:gd name="connsiteX347" fmla="*/ 1637624 w 3785642"/>
                <a:gd name="connsiteY34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313375 w 3785642"/>
                <a:gd name="connsiteY20" fmla="*/ 10945 h 479077"/>
                <a:gd name="connsiteX21" fmla="*/ 3300973 w 3785642"/>
                <a:gd name="connsiteY21" fmla="*/ 21363 h 479077"/>
                <a:gd name="connsiteX22" fmla="*/ 3289068 w 3785642"/>
                <a:gd name="connsiteY22" fmla="*/ 32276 h 479077"/>
                <a:gd name="connsiteX23" fmla="*/ 3277658 w 3785642"/>
                <a:gd name="connsiteY23" fmla="*/ 43686 h 479077"/>
                <a:gd name="connsiteX24" fmla="*/ 3266248 w 3785642"/>
                <a:gd name="connsiteY24" fmla="*/ 55592 h 479077"/>
                <a:gd name="connsiteX25" fmla="*/ 3255830 w 3785642"/>
                <a:gd name="connsiteY25" fmla="*/ 68490 h 479077"/>
                <a:gd name="connsiteX26" fmla="*/ 3243924 w 3785642"/>
                <a:gd name="connsiteY26" fmla="*/ 79900 h 479077"/>
                <a:gd name="connsiteX27" fmla="*/ 3231522 w 3785642"/>
                <a:gd name="connsiteY27" fmla="*/ 90814 h 479077"/>
                <a:gd name="connsiteX28" fmla="*/ 3220609 w 3785642"/>
                <a:gd name="connsiteY28" fmla="*/ 102720 h 479077"/>
                <a:gd name="connsiteX29" fmla="*/ 3208207 w 3785642"/>
                <a:gd name="connsiteY29" fmla="*/ 113137 h 479077"/>
                <a:gd name="connsiteX30" fmla="*/ 3197293 w 3785642"/>
                <a:gd name="connsiteY30" fmla="*/ 125043 h 479077"/>
                <a:gd name="connsiteX31" fmla="*/ 3185387 w 3785642"/>
                <a:gd name="connsiteY31" fmla="*/ 136453 h 479077"/>
                <a:gd name="connsiteX32" fmla="*/ 3174970 w 3785642"/>
                <a:gd name="connsiteY32" fmla="*/ 148855 h 479077"/>
                <a:gd name="connsiteX33" fmla="*/ 3162071 w 3785642"/>
                <a:gd name="connsiteY33" fmla="*/ 159272 h 479077"/>
                <a:gd name="connsiteX34" fmla="*/ 3151158 w 3785642"/>
                <a:gd name="connsiteY34" fmla="*/ 171674 h 479077"/>
                <a:gd name="connsiteX35" fmla="*/ 3139252 w 3785642"/>
                <a:gd name="connsiteY35" fmla="*/ 182588 h 479077"/>
                <a:gd name="connsiteX36" fmla="*/ 3127843 w 3785642"/>
                <a:gd name="connsiteY36" fmla="*/ 194494 h 479077"/>
                <a:gd name="connsiteX37" fmla="*/ 3116432 w 3785642"/>
                <a:gd name="connsiteY37" fmla="*/ 205904 h 479077"/>
                <a:gd name="connsiteX38" fmla="*/ 3105022 w 3785642"/>
                <a:gd name="connsiteY38" fmla="*/ 217810 h 479077"/>
                <a:gd name="connsiteX39" fmla="*/ 3093117 w 3785642"/>
                <a:gd name="connsiteY39" fmla="*/ 229219 h 479077"/>
                <a:gd name="connsiteX40" fmla="*/ 3081707 w 3785642"/>
                <a:gd name="connsiteY40" fmla="*/ 240629 h 479077"/>
                <a:gd name="connsiteX41" fmla="*/ 3069305 w 3785642"/>
                <a:gd name="connsiteY41" fmla="*/ 251543 h 479077"/>
                <a:gd name="connsiteX42" fmla="*/ 3057895 w 3785642"/>
                <a:gd name="connsiteY42" fmla="*/ 263449 h 479077"/>
                <a:gd name="connsiteX43" fmla="*/ 3046486 w 3785642"/>
                <a:gd name="connsiteY43" fmla="*/ 275355 h 479077"/>
                <a:gd name="connsiteX44" fmla="*/ 3035572 w 3785642"/>
                <a:gd name="connsiteY44" fmla="*/ 287260 h 479077"/>
                <a:gd name="connsiteX45" fmla="*/ 3024658 w 3785642"/>
                <a:gd name="connsiteY45" fmla="*/ 299166 h 479077"/>
                <a:gd name="connsiteX46" fmla="*/ 3013248 w 3785642"/>
                <a:gd name="connsiteY46" fmla="*/ 311072 h 479077"/>
                <a:gd name="connsiteX47" fmla="*/ 3000350 w 3785642"/>
                <a:gd name="connsiteY47" fmla="*/ 321490 h 479077"/>
                <a:gd name="connsiteX48" fmla="*/ 2988941 w 3785642"/>
                <a:gd name="connsiteY48" fmla="*/ 333396 h 479077"/>
                <a:gd name="connsiteX49" fmla="*/ 2976539 w 3785642"/>
                <a:gd name="connsiteY49" fmla="*/ 344309 h 479077"/>
                <a:gd name="connsiteX50" fmla="*/ 2965129 w 3785642"/>
                <a:gd name="connsiteY50" fmla="*/ 356215 h 479077"/>
                <a:gd name="connsiteX51" fmla="*/ 2953223 w 3785642"/>
                <a:gd name="connsiteY51" fmla="*/ 367625 h 479077"/>
                <a:gd name="connsiteX52" fmla="*/ 2941813 w 3785642"/>
                <a:gd name="connsiteY52" fmla="*/ 379531 h 479077"/>
                <a:gd name="connsiteX53" fmla="*/ 2931395 w 3785642"/>
                <a:gd name="connsiteY53" fmla="*/ 392429 h 479077"/>
                <a:gd name="connsiteX54" fmla="*/ 2918497 w 3785642"/>
                <a:gd name="connsiteY54" fmla="*/ 402847 h 479077"/>
                <a:gd name="connsiteX55" fmla="*/ 2907584 w 3785642"/>
                <a:gd name="connsiteY55" fmla="*/ 415249 h 479077"/>
                <a:gd name="connsiteX56" fmla="*/ 2896174 w 3785642"/>
                <a:gd name="connsiteY56" fmla="*/ 426658 h 479077"/>
                <a:gd name="connsiteX57" fmla="*/ 2884268 w 3785642"/>
                <a:gd name="connsiteY57" fmla="*/ 438068 h 479077"/>
                <a:gd name="connsiteX58" fmla="*/ 2873354 w 3785642"/>
                <a:gd name="connsiteY58" fmla="*/ 450470 h 479077"/>
                <a:gd name="connsiteX59" fmla="*/ 2860952 w 3785642"/>
                <a:gd name="connsiteY59" fmla="*/ 461384 h 479077"/>
                <a:gd name="connsiteX60" fmla="*/ 2850039 w 3785642"/>
                <a:gd name="connsiteY60" fmla="*/ 473786 h 479077"/>
                <a:gd name="connsiteX61" fmla="*/ 2833668 w 3785642"/>
                <a:gd name="connsiteY61" fmla="*/ 473786 h 479077"/>
                <a:gd name="connsiteX62" fmla="*/ 2817297 w 3785642"/>
                <a:gd name="connsiteY62" fmla="*/ 473290 h 479077"/>
                <a:gd name="connsiteX63" fmla="*/ 2800927 w 3785642"/>
                <a:gd name="connsiteY63" fmla="*/ 473290 h 479077"/>
                <a:gd name="connsiteX64" fmla="*/ 2784556 w 3785642"/>
                <a:gd name="connsiteY64" fmla="*/ 473786 h 479077"/>
                <a:gd name="connsiteX65" fmla="*/ 2768186 w 3785642"/>
                <a:gd name="connsiteY65" fmla="*/ 474282 h 479077"/>
                <a:gd name="connsiteX66" fmla="*/ 2751815 w 3785642"/>
                <a:gd name="connsiteY66" fmla="*/ 474282 h 479077"/>
                <a:gd name="connsiteX67" fmla="*/ 2735444 w 3785642"/>
                <a:gd name="connsiteY67" fmla="*/ 473290 h 479077"/>
                <a:gd name="connsiteX68" fmla="*/ 2719074 w 3785642"/>
                <a:gd name="connsiteY68" fmla="*/ 474282 h 479077"/>
                <a:gd name="connsiteX69" fmla="*/ 2702703 w 3785642"/>
                <a:gd name="connsiteY69" fmla="*/ 472298 h 479077"/>
                <a:gd name="connsiteX70" fmla="*/ 2686333 w 3785642"/>
                <a:gd name="connsiteY70" fmla="*/ 472794 h 479077"/>
                <a:gd name="connsiteX71" fmla="*/ 2669962 w 3785642"/>
                <a:gd name="connsiteY71" fmla="*/ 474282 h 479077"/>
                <a:gd name="connsiteX72" fmla="*/ 2653592 w 3785642"/>
                <a:gd name="connsiteY72" fmla="*/ 472298 h 479077"/>
                <a:gd name="connsiteX73" fmla="*/ 2637221 w 3785642"/>
                <a:gd name="connsiteY73" fmla="*/ 474282 h 479077"/>
                <a:gd name="connsiteX74" fmla="*/ 2620851 w 3785642"/>
                <a:gd name="connsiteY74" fmla="*/ 474282 h 479077"/>
                <a:gd name="connsiteX75" fmla="*/ 2604480 w 3785642"/>
                <a:gd name="connsiteY75" fmla="*/ 472298 h 479077"/>
                <a:gd name="connsiteX76" fmla="*/ 2588109 w 3785642"/>
                <a:gd name="connsiteY76" fmla="*/ 473786 h 479077"/>
                <a:gd name="connsiteX77" fmla="*/ 2571739 w 3785642"/>
                <a:gd name="connsiteY77" fmla="*/ 472298 h 479077"/>
                <a:gd name="connsiteX78" fmla="*/ 2555368 w 3785642"/>
                <a:gd name="connsiteY78" fmla="*/ 473290 h 479077"/>
                <a:gd name="connsiteX79" fmla="*/ 2538998 w 3785642"/>
                <a:gd name="connsiteY79" fmla="*/ 474282 h 479077"/>
                <a:gd name="connsiteX80" fmla="*/ 2522627 w 3785642"/>
                <a:gd name="connsiteY80" fmla="*/ 473290 h 479077"/>
                <a:gd name="connsiteX81" fmla="*/ 2506257 w 3785642"/>
                <a:gd name="connsiteY81" fmla="*/ 474282 h 479077"/>
                <a:gd name="connsiteX82" fmla="*/ 2489886 w 3785642"/>
                <a:gd name="connsiteY82" fmla="*/ 473786 h 479077"/>
                <a:gd name="connsiteX83" fmla="*/ 2473516 w 3785642"/>
                <a:gd name="connsiteY83" fmla="*/ 474282 h 479077"/>
                <a:gd name="connsiteX84" fmla="*/ 2457145 w 3785642"/>
                <a:gd name="connsiteY84" fmla="*/ 472794 h 479077"/>
                <a:gd name="connsiteX85" fmla="*/ 2440775 w 3785642"/>
                <a:gd name="connsiteY85" fmla="*/ 472298 h 479077"/>
                <a:gd name="connsiteX86" fmla="*/ 2424404 w 3785642"/>
                <a:gd name="connsiteY86" fmla="*/ 473786 h 479077"/>
                <a:gd name="connsiteX87" fmla="*/ 2408033 w 3785642"/>
                <a:gd name="connsiteY87" fmla="*/ 472794 h 479077"/>
                <a:gd name="connsiteX88" fmla="*/ 2391663 w 3785642"/>
                <a:gd name="connsiteY88" fmla="*/ 473290 h 479077"/>
                <a:gd name="connsiteX89" fmla="*/ 2375292 w 3785642"/>
                <a:gd name="connsiteY89" fmla="*/ 473290 h 479077"/>
                <a:gd name="connsiteX90" fmla="*/ 2358922 w 3785642"/>
                <a:gd name="connsiteY90" fmla="*/ 472794 h 479077"/>
                <a:gd name="connsiteX91" fmla="*/ 2342551 w 3785642"/>
                <a:gd name="connsiteY91" fmla="*/ 472298 h 479077"/>
                <a:gd name="connsiteX92" fmla="*/ 2326180 w 3785642"/>
                <a:gd name="connsiteY92" fmla="*/ 473786 h 479077"/>
                <a:gd name="connsiteX93" fmla="*/ 2309810 w 3785642"/>
                <a:gd name="connsiteY93" fmla="*/ 473786 h 479077"/>
                <a:gd name="connsiteX94" fmla="*/ 2293439 w 3785642"/>
                <a:gd name="connsiteY94" fmla="*/ 473786 h 479077"/>
                <a:gd name="connsiteX95" fmla="*/ 2277069 w 3785642"/>
                <a:gd name="connsiteY95" fmla="*/ 472794 h 479077"/>
                <a:gd name="connsiteX96" fmla="*/ 2260698 w 3785642"/>
                <a:gd name="connsiteY96" fmla="*/ 474282 h 479077"/>
                <a:gd name="connsiteX97" fmla="*/ 2244327 w 3785642"/>
                <a:gd name="connsiteY97" fmla="*/ 472298 h 479077"/>
                <a:gd name="connsiteX98" fmla="*/ 2227957 w 3785642"/>
                <a:gd name="connsiteY98" fmla="*/ 474282 h 479077"/>
                <a:gd name="connsiteX99" fmla="*/ 2211586 w 3785642"/>
                <a:gd name="connsiteY99" fmla="*/ 473290 h 479077"/>
                <a:gd name="connsiteX100" fmla="*/ 2195216 w 3785642"/>
                <a:gd name="connsiteY100" fmla="*/ 474282 h 479077"/>
                <a:gd name="connsiteX101" fmla="*/ 2178845 w 3785642"/>
                <a:gd name="connsiteY101" fmla="*/ 472794 h 479077"/>
                <a:gd name="connsiteX102" fmla="*/ 2162474 w 3785642"/>
                <a:gd name="connsiteY102" fmla="*/ 474778 h 479077"/>
                <a:gd name="connsiteX103" fmla="*/ 2146104 w 3785642"/>
                <a:gd name="connsiteY103" fmla="*/ 473290 h 479077"/>
                <a:gd name="connsiteX104" fmla="*/ 2129733 w 3785642"/>
                <a:gd name="connsiteY104" fmla="*/ 474778 h 479077"/>
                <a:gd name="connsiteX105" fmla="*/ 2113363 w 3785642"/>
                <a:gd name="connsiteY105" fmla="*/ 474778 h 479077"/>
                <a:gd name="connsiteX106" fmla="*/ 2096992 w 3785642"/>
                <a:gd name="connsiteY106" fmla="*/ 474778 h 479077"/>
                <a:gd name="connsiteX107" fmla="*/ 2080621 w 3785642"/>
                <a:gd name="connsiteY107" fmla="*/ 474282 h 479077"/>
                <a:gd name="connsiteX108" fmla="*/ 2064251 w 3785642"/>
                <a:gd name="connsiteY108" fmla="*/ 472794 h 479077"/>
                <a:gd name="connsiteX109" fmla="*/ 2047880 w 3785642"/>
                <a:gd name="connsiteY109" fmla="*/ 474778 h 479077"/>
                <a:gd name="connsiteX110" fmla="*/ 2031510 w 3785642"/>
                <a:gd name="connsiteY110" fmla="*/ 474778 h 479077"/>
                <a:gd name="connsiteX111" fmla="*/ 2015139 w 3785642"/>
                <a:gd name="connsiteY111" fmla="*/ 474778 h 479077"/>
                <a:gd name="connsiteX112" fmla="*/ 1998769 w 3785642"/>
                <a:gd name="connsiteY112" fmla="*/ 474282 h 479077"/>
                <a:gd name="connsiteX113" fmla="*/ 1982398 w 3785642"/>
                <a:gd name="connsiteY113" fmla="*/ 473786 h 479077"/>
                <a:gd name="connsiteX114" fmla="*/ 1966028 w 3785642"/>
                <a:gd name="connsiteY114" fmla="*/ 473786 h 479077"/>
                <a:gd name="connsiteX115" fmla="*/ 1949657 w 3785642"/>
                <a:gd name="connsiteY115" fmla="*/ 472794 h 479077"/>
                <a:gd name="connsiteX116" fmla="*/ 1933287 w 3785642"/>
                <a:gd name="connsiteY116" fmla="*/ 473290 h 479077"/>
                <a:gd name="connsiteX117" fmla="*/ 1916916 w 3785642"/>
                <a:gd name="connsiteY117" fmla="*/ 474778 h 479077"/>
                <a:gd name="connsiteX118" fmla="*/ 1900546 w 3785642"/>
                <a:gd name="connsiteY118" fmla="*/ 472794 h 479077"/>
                <a:gd name="connsiteX119" fmla="*/ 1884175 w 3785642"/>
                <a:gd name="connsiteY119" fmla="*/ 473786 h 479077"/>
                <a:gd name="connsiteX120" fmla="*/ 1867804 w 3785642"/>
                <a:gd name="connsiteY120" fmla="*/ 474778 h 479077"/>
                <a:gd name="connsiteX121" fmla="*/ 1851434 w 3785642"/>
                <a:gd name="connsiteY121" fmla="*/ 474778 h 479077"/>
                <a:gd name="connsiteX122" fmla="*/ 1835063 w 3785642"/>
                <a:gd name="connsiteY122" fmla="*/ 474778 h 479077"/>
                <a:gd name="connsiteX123" fmla="*/ 1818693 w 3785642"/>
                <a:gd name="connsiteY123" fmla="*/ 474282 h 479077"/>
                <a:gd name="connsiteX124" fmla="*/ 1802322 w 3785642"/>
                <a:gd name="connsiteY124" fmla="*/ 472794 h 479077"/>
                <a:gd name="connsiteX125" fmla="*/ 1785951 w 3785642"/>
                <a:gd name="connsiteY125" fmla="*/ 473786 h 479077"/>
                <a:gd name="connsiteX126" fmla="*/ 1769581 w 3785642"/>
                <a:gd name="connsiteY126" fmla="*/ 473290 h 479077"/>
                <a:gd name="connsiteX127" fmla="*/ 1753210 w 3785642"/>
                <a:gd name="connsiteY127" fmla="*/ 472298 h 479077"/>
                <a:gd name="connsiteX128" fmla="*/ 1736840 w 3785642"/>
                <a:gd name="connsiteY128" fmla="*/ 473290 h 479077"/>
                <a:gd name="connsiteX129" fmla="*/ 1720469 w 3785642"/>
                <a:gd name="connsiteY129" fmla="*/ 474778 h 479077"/>
                <a:gd name="connsiteX130" fmla="*/ 1704098 w 3785642"/>
                <a:gd name="connsiteY130" fmla="*/ 472794 h 479077"/>
                <a:gd name="connsiteX131" fmla="*/ 1687728 w 3785642"/>
                <a:gd name="connsiteY131" fmla="*/ 474778 h 479077"/>
                <a:gd name="connsiteX132" fmla="*/ 1671357 w 3785642"/>
                <a:gd name="connsiteY132" fmla="*/ 474778 h 479077"/>
                <a:gd name="connsiteX133" fmla="*/ 1654987 w 3785642"/>
                <a:gd name="connsiteY133" fmla="*/ 472298 h 479077"/>
                <a:gd name="connsiteX134" fmla="*/ 1638616 w 3785642"/>
                <a:gd name="connsiteY134" fmla="*/ 472794 h 479077"/>
                <a:gd name="connsiteX135" fmla="*/ 1622246 w 3785642"/>
                <a:gd name="connsiteY135" fmla="*/ 473786 h 479077"/>
                <a:gd name="connsiteX136" fmla="*/ 1605875 w 3785642"/>
                <a:gd name="connsiteY136" fmla="*/ 474778 h 479077"/>
                <a:gd name="connsiteX137" fmla="*/ 1589505 w 3785642"/>
                <a:gd name="connsiteY137" fmla="*/ 473290 h 479077"/>
                <a:gd name="connsiteX138" fmla="*/ 1573134 w 3785642"/>
                <a:gd name="connsiteY138" fmla="*/ 474778 h 479077"/>
                <a:gd name="connsiteX139" fmla="*/ 1556763 w 3785642"/>
                <a:gd name="connsiteY139" fmla="*/ 472794 h 479077"/>
                <a:gd name="connsiteX140" fmla="*/ 1540393 w 3785642"/>
                <a:gd name="connsiteY140" fmla="*/ 472794 h 479077"/>
                <a:gd name="connsiteX141" fmla="*/ 1524022 w 3785642"/>
                <a:gd name="connsiteY141" fmla="*/ 474282 h 479077"/>
                <a:gd name="connsiteX142" fmla="*/ 1507652 w 3785642"/>
                <a:gd name="connsiteY142" fmla="*/ 472794 h 479077"/>
                <a:gd name="connsiteX143" fmla="*/ 1491281 w 3785642"/>
                <a:gd name="connsiteY143" fmla="*/ 474282 h 479077"/>
                <a:gd name="connsiteX144" fmla="*/ 1474910 w 3785642"/>
                <a:gd name="connsiteY144" fmla="*/ 474282 h 479077"/>
                <a:gd name="connsiteX145" fmla="*/ 1458540 w 3785642"/>
                <a:gd name="connsiteY145" fmla="*/ 472794 h 479077"/>
                <a:gd name="connsiteX146" fmla="*/ 1442169 w 3785642"/>
                <a:gd name="connsiteY146" fmla="*/ 471802 h 479077"/>
                <a:gd name="connsiteX147" fmla="*/ 1425799 w 3785642"/>
                <a:gd name="connsiteY147" fmla="*/ 472298 h 479077"/>
                <a:gd name="connsiteX148" fmla="*/ 1409428 w 3785642"/>
                <a:gd name="connsiteY148" fmla="*/ 472794 h 479077"/>
                <a:gd name="connsiteX149" fmla="*/ 1393058 w 3785642"/>
                <a:gd name="connsiteY149" fmla="*/ 473786 h 479077"/>
                <a:gd name="connsiteX150" fmla="*/ 1376687 w 3785642"/>
                <a:gd name="connsiteY150" fmla="*/ 471802 h 479077"/>
                <a:gd name="connsiteX151" fmla="*/ 1360317 w 3785642"/>
                <a:gd name="connsiteY151" fmla="*/ 473786 h 479077"/>
                <a:gd name="connsiteX152" fmla="*/ 1343946 w 3785642"/>
                <a:gd name="connsiteY152" fmla="*/ 473786 h 479077"/>
                <a:gd name="connsiteX153" fmla="*/ 1327576 w 3785642"/>
                <a:gd name="connsiteY153" fmla="*/ 472794 h 479077"/>
                <a:gd name="connsiteX154" fmla="*/ 1311205 w 3785642"/>
                <a:gd name="connsiteY154" fmla="*/ 473786 h 479077"/>
                <a:gd name="connsiteX155" fmla="*/ 1294834 w 3785642"/>
                <a:gd name="connsiteY155" fmla="*/ 473786 h 479077"/>
                <a:gd name="connsiteX156" fmla="*/ 1278464 w 3785642"/>
                <a:gd name="connsiteY156" fmla="*/ 473786 h 479077"/>
                <a:gd name="connsiteX157" fmla="*/ 1262093 w 3785642"/>
                <a:gd name="connsiteY157" fmla="*/ 473786 h 479077"/>
                <a:gd name="connsiteX158" fmla="*/ 1245723 w 3785642"/>
                <a:gd name="connsiteY158" fmla="*/ 473290 h 479077"/>
                <a:gd name="connsiteX159" fmla="*/ 1229352 w 3785642"/>
                <a:gd name="connsiteY159" fmla="*/ 472794 h 479077"/>
                <a:gd name="connsiteX160" fmla="*/ 1212981 w 3785642"/>
                <a:gd name="connsiteY160" fmla="*/ 473786 h 479077"/>
                <a:gd name="connsiteX161" fmla="*/ 1196611 w 3785642"/>
                <a:gd name="connsiteY161" fmla="*/ 472298 h 479077"/>
                <a:gd name="connsiteX162" fmla="*/ 1180240 w 3785642"/>
                <a:gd name="connsiteY162" fmla="*/ 472794 h 479077"/>
                <a:gd name="connsiteX163" fmla="*/ 1163870 w 3785642"/>
                <a:gd name="connsiteY163" fmla="*/ 472794 h 479077"/>
                <a:gd name="connsiteX164" fmla="*/ 1147499 w 3785642"/>
                <a:gd name="connsiteY164" fmla="*/ 473786 h 479077"/>
                <a:gd name="connsiteX165" fmla="*/ 1131128 w 3785642"/>
                <a:gd name="connsiteY165" fmla="*/ 473786 h 479077"/>
                <a:gd name="connsiteX166" fmla="*/ 1114758 w 3785642"/>
                <a:gd name="connsiteY166" fmla="*/ 472794 h 479077"/>
                <a:gd name="connsiteX167" fmla="*/ 1098387 w 3785642"/>
                <a:gd name="connsiteY167" fmla="*/ 473786 h 479077"/>
                <a:gd name="connsiteX168" fmla="*/ 1082017 w 3785642"/>
                <a:gd name="connsiteY168" fmla="*/ 474778 h 479077"/>
                <a:gd name="connsiteX169" fmla="*/ 1065646 w 3785642"/>
                <a:gd name="connsiteY169" fmla="*/ 474778 h 479077"/>
                <a:gd name="connsiteX170" fmla="*/ 1049276 w 3785642"/>
                <a:gd name="connsiteY170" fmla="*/ 474282 h 479077"/>
                <a:gd name="connsiteX171" fmla="*/ 1032905 w 3785642"/>
                <a:gd name="connsiteY171" fmla="*/ 473290 h 479077"/>
                <a:gd name="connsiteX172" fmla="*/ 1016535 w 3785642"/>
                <a:gd name="connsiteY172" fmla="*/ 474282 h 479077"/>
                <a:gd name="connsiteX173" fmla="*/ 1000164 w 3785642"/>
                <a:gd name="connsiteY173" fmla="*/ 474282 h 479077"/>
                <a:gd name="connsiteX174" fmla="*/ 983793 w 3785642"/>
                <a:gd name="connsiteY174" fmla="*/ 472794 h 479077"/>
                <a:gd name="connsiteX175" fmla="*/ 967423 w 3785642"/>
                <a:gd name="connsiteY175" fmla="*/ 472794 h 479077"/>
                <a:gd name="connsiteX176" fmla="*/ 951052 w 3785642"/>
                <a:gd name="connsiteY176" fmla="*/ 473786 h 479077"/>
                <a:gd name="connsiteX177" fmla="*/ 934682 w 3785642"/>
                <a:gd name="connsiteY177" fmla="*/ 474282 h 479077"/>
                <a:gd name="connsiteX178" fmla="*/ 918311 w 3785642"/>
                <a:gd name="connsiteY178" fmla="*/ 474778 h 479077"/>
                <a:gd name="connsiteX179" fmla="*/ 901940 w 3785642"/>
                <a:gd name="connsiteY179" fmla="*/ 473290 h 479077"/>
                <a:gd name="connsiteX180" fmla="*/ 885570 w 3785642"/>
                <a:gd name="connsiteY180" fmla="*/ 474778 h 479077"/>
                <a:gd name="connsiteX181" fmla="*/ 869199 w 3785642"/>
                <a:gd name="connsiteY181" fmla="*/ 474282 h 479077"/>
                <a:gd name="connsiteX182" fmla="*/ 852829 w 3785642"/>
                <a:gd name="connsiteY182" fmla="*/ 473786 h 479077"/>
                <a:gd name="connsiteX183" fmla="*/ 836458 w 3785642"/>
                <a:gd name="connsiteY183" fmla="*/ 474778 h 479077"/>
                <a:gd name="connsiteX184" fmla="*/ 820088 w 3785642"/>
                <a:gd name="connsiteY184" fmla="*/ 475274 h 479077"/>
                <a:gd name="connsiteX185" fmla="*/ 803717 w 3785642"/>
                <a:gd name="connsiteY185" fmla="*/ 473786 h 479077"/>
                <a:gd name="connsiteX186" fmla="*/ 787347 w 3785642"/>
                <a:gd name="connsiteY186" fmla="*/ 475770 h 479077"/>
                <a:gd name="connsiteX187" fmla="*/ 770976 w 3785642"/>
                <a:gd name="connsiteY187" fmla="*/ 474778 h 479077"/>
                <a:gd name="connsiteX188" fmla="*/ 754605 w 3785642"/>
                <a:gd name="connsiteY188" fmla="*/ 475274 h 479077"/>
                <a:gd name="connsiteX189" fmla="*/ 738235 w 3785642"/>
                <a:gd name="connsiteY189" fmla="*/ 473786 h 479077"/>
                <a:gd name="connsiteX190" fmla="*/ 721864 w 3785642"/>
                <a:gd name="connsiteY190" fmla="*/ 475274 h 479077"/>
                <a:gd name="connsiteX191" fmla="*/ 705494 w 3785642"/>
                <a:gd name="connsiteY191" fmla="*/ 475770 h 479077"/>
                <a:gd name="connsiteX192" fmla="*/ 689123 w 3785642"/>
                <a:gd name="connsiteY192" fmla="*/ 474282 h 479077"/>
                <a:gd name="connsiteX193" fmla="*/ 672753 w 3785642"/>
                <a:gd name="connsiteY193" fmla="*/ 475274 h 479077"/>
                <a:gd name="connsiteX194" fmla="*/ 656382 w 3785642"/>
                <a:gd name="connsiteY194" fmla="*/ 474778 h 479077"/>
                <a:gd name="connsiteX195" fmla="*/ 640011 w 3785642"/>
                <a:gd name="connsiteY195" fmla="*/ 475770 h 479077"/>
                <a:gd name="connsiteX196" fmla="*/ 623641 w 3785642"/>
                <a:gd name="connsiteY196" fmla="*/ 473786 h 479077"/>
                <a:gd name="connsiteX197" fmla="*/ 607270 w 3785642"/>
                <a:gd name="connsiteY197" fmla="*/ 474778 h 479077"/>
                <a:gd name="connsiteX198" fmla="*/ 590900 w 3785642"/>
                <a:gd name="connsiteY198" fmla="*/ 475274 h 479077"/>
                <a:gd name="connsiteX199" fmla="*/ 574529 w 3785642"/>
                <a:gd name="connsiteY199" fmla="*/ 474282 h 479077"/>
                <a:gd name="connsiteX200" fmla="*/ 558158 w 3785642"/>
                <a:gd name="connsiteY200" fmla="*/ 475274 h 479077"/>
                <a:gd name="connsiteX201" fmla="*/ 541788 w 3785642"/>
                <a:gd name="connsiteY201" fmla="*/ 475770 h 479077"/>
                <a:gd name="connsiteX202" fmla="*/ 525417 w 3785642"/>
                <a:gd name="connsiteY202" fmla="*/ 474282 h 479077"/>
                <a:gd name="connsiteX203" fmla="*/ 509047 w 3785642"/>
                <a:gd name="connsiteY203" fmla="*/ 473786 h 479077"/>
                <a:gd name="connsiteX204" fmla="*/ 492676 w 3785642"/>
                <a:gd name="connsiteY204" fmla="*/ 473786 h 479077"/>
                <a:gd name="connsiteX205" fmla="*/ 476306 w 3785642"/>
                <a:gd name="connsiteY205" fmla="*/ 474778 h 479077"/>
                <a:gd name="connsiteX206" fmla="*/ 459935 w 3785642"/>
                <a:gd name="connsiteY206" fmla="*/ 473786 h 479077"/>
                <a:gd name="connsiteX207" fmla="*/ 443565 w 3785642"/>
                <a:gd name="connsiteY207" fmla="*/ 474778 h 479077"/>
                <a:gd name="connsiteX208" fmla="*/ 427194 w 3785642"/>
                <a:gd name="connsiteY208" fmla="*/ 474282 h 479077"/>
                <a:gd name="connsiteX209" fmla="*/ 410823 w 3785642"/>
                <a:gd name="connsiteY209" fmla="*/ 473290 h 479077"/>
                <a:gd name="connsiteX210" fmla="*/ 394453 w 3785642"/>
                <a:gd name="connsiteY210" fmla="*/ 475770 h 479077"/>
                <a:gd name="connsiteX211" fmla="*/ 378082 w 3785642"/>
                <a:gd name="connsiteY211" fmla="*/ 475274 h 479077"/>
                <a:gd name="connsiteX212" fmla="*/ 361712 w 3785642"/>
                <a:gd name="connsiteY212" fmla="*/ 474778 h 479077"/>
                <a:gd name="connsiteX213" fmla="*/ 345341 w 3785642"/>
                <a:gd name="connsiteY213" fmla="*/ 476266 h 479077"/>
                <a:gd name="connsiteX214" fmla="*/ 328970 w 3785642"/>
                <a:gd name="connsiteY214" fmla="*/ 474282 h 479077"/>
                <a:gd name="connsiteX215" fmla="*/ 312600 w 3785642"/>
                <a:gd name="connsiteY215" fmla="*/ 475274 h 479077"/>
                <a:gd name="connsiteX216" fmla="*/ 296229 w 3785642"/>
                <a:gd name="connsiteY216" fmla="*/ 474282 h 479077"/>
                <a:gd name="connsiteX217" fmla="*/ 279859 w 3785642"/>
                <a:gd name="connsiteY217" fmla="*/ 475770 h 479077"/>
                <a:gd name="connsiteX218" fmla="*/ 263488 w 3785642"/>
                <a:gd name="connsiteY218" fmla="*/ 476266 h 479077"/>
                <a:gd name="connsiteX219" fmla="*/ 247118 w 3785642"/>
                <a:gd name="connsiteY219" fmla="*/ 476266 h 479077"/>
                <a:gd name="connsiteX220" fmla="*/ 230747 w 3785642"/>
                <a:gd name="connsiteY220" fmla="*/ 474778 h 479077"/>
                <a:gd name="connsiteX221" fmla="*/ 214376 w 3785642"/>
                <a:gd name="connsiteY221" fmla="*/ 474778 h 479077"/>
                <a:gd name="connsiteX222" fmla="*/ 198006 w 3785642"/>
                <a:gd name="connsiteY222" fmla="*/ 476762 h 479077"/>
                <a:gd name="connsiteX223" fmla="*/ 181635 w 3785642"/>
                <a:gd name="connsiteY223" fmla="*/ 476266 h 479077"/>
                <a:gd name="connsiteX224" fmla="*/ 165265 w 3785642"/>
                <a:gd name="connsiteY224" fmla="*/ 474778 h 479077"/>
                <a:gd name="connsiteX225" fmla="*/ 148894 w 3785642"/>
                <a:gd name="connsiteY225" fmla="*/ 476762 h 479077"/>
                <a:gd name="connsiteX226" fmla="*/ 132524 w 3785642"/>
                <a:gd name="connsiteY226" fmla="*/ 476266 h 479077"/>
                <a:gd name="connsiteX227" fmla="*/ 116153 w 3785642"/>
                <a:gd name="connsiteY227" fmla="*/ 475274 h 479077"/>
                <a:gd name="connsiteX228" fmla="*/ 99783 w 3785642"/>
                <a:gd name="connsiteY228" fmla="*/ 475274 h 479077"/>
                <a:gd name="connsiteX229" fmla="*/ 83412 w 3785642"/>
                <a:gd name="connsiteY229" fmla="*/ 475274 h 479077"/>
                <a:gd name="connsiteX230" fmla="*/ 67041 w 3785642"/>
                <a:gd name="connsiteY230" fmla="*/ 474778 h 479077"/>
                <a:gd name="connsiteX231" fmla="*/ 50671 w 3785642"/>
                <a:gd name="connsiteY231" fmla="*/ 475274 h 479077"/>
                <a:gd name="connsiteX232" fmla="*/ 34300 w 3785642"/>
                <a:gd name="connsiteY232" fmla="*/ 475274 h 479077"/>
                <a:gd name="connsiteX233" fmla="*/ 17930 w 3785642"/>
                <a:gd name="connsiteY233" fmla="*/ 475770 h 479077"/>
                <a:gd name="connsiteX234" fmla="*/ 567 w 3785642"/>
                <a:gd name="connsiteY234" fmla="*/ 475770 h 479077"/>
                <a:gd name="connsiteX235" fmla="*/ 12969 w 3785642"/>
                <a:gd name="connsiteY235" fmla="*/ 463368 h 479077"/>
                <a:gd name="connsiteX236" fmla="*/ 24379 w 3785642"/>
                <a:gd name="connsiteY236" fmla="*/ 451958 h 479077"/>
                <a:gd name="connsiteX237" fmla="*/ 35788 w 3785642"/>
                <a:gd name="connsiteY237" fmla="*/ 440053 h 479077"/>
                <a:gd name="connsiteX238" fmla="*/ 48686 w 3785642"/>
                <a:gd name="connsiteY238" fmla="*/ 430131 h 479077"/>
                <a:gd name="connsiteX239" fmla="*/ 59600 w 3785642"/>
                <a:gd name="connsiteY239" fmla="*/ 418225 h 479077"/>
                <a:gd name="connsiteX240" fmla="*/ 70514 w 3785642"/>
                <a:gd name="connsiteY240" fmla="*/ 405823 h 479077"/>
                <a:gd name="connsiteX241" fmla="*/ 83412 w 3785642"/>
                <a:gd name="connsiteY241" fmla="*/ 395406 h 479077"/>
                <a:gd name="connsiteX242" fmla="*/ 94822 w 3785642"/>
                <a:gd name="connsiteY242" fmla="*/ 383500 h 479077"/>
                <a:gd name="connsiteX243" fmla="*/ 106728 w 3785642"/>
                <a:gd name="connsiteY243" fmla="*/ 372090 h 479077"/>
                <a:gd name="connsiteX244" fmla="*/ 117145 w 3785642"/>
                <a:gd name="connsiteY244" fmla="*/ 359688 h 479077"/>
                <a:gd name="connsiteX245" fmla="*/ 128555 w 3785642"/>
                <a:gd name="connsiteY245" fmla="*/ 348278 h 479077"/>
                <a:gd name="connsiteX246" fmla="*/ 140461 w 3785642"/>
                <a:gd name="connsiteY246" fmla="*/ 336868 h 479077"/>
                <a:gd name="connsiteX247" fmla="*/ 152863 w 3785642"/>
                <a:gd name="connsiteY247" fmla="*/ 326451 h 479077"/>
                <a:gd name="connsiteX248" fmla="*/ 164769 w 3785642"/>
                <a:gd name="connsiteY248" fmla="*/ 315041 h 479077"/>
                <a:gd name="connsiteX249" fmla="*/ 176178 w 3785642"/>
                <a:gd name="connsiteY249" fmla="*/ 303135 h 479077"/>
                <a:gd name="connsiteX250" fmla="*/ 188084 w 3785642"/>
                <a:gd name="connsiteY250" fmla="*/ 291725 h 479077"/>
                <a:gd name="connsiteX251" fmla="*/ 199494 w 3785642"/>
                <a:gd name="connsiteY251" fmla="*/ 280315 h 479077"/>
                <a:gd name="connsiteX252" fmla="*/ 210904 w 3785642"/>
                <a:gd name="connsiteY252" fmla="*/ 268906 h 479077"/>
                <a:gd name="connsiteX253" fmla="*/ 221818 w 3785642"/>
                <a:gd name="connsiteY253" fmla="*/ 256504 h 479077"/>
                <a:gd name="connsiteX254" fmla="*/ 233724 w 3785642"/>
                <a:gd name="connsiteY254" fmla="*/ 245094 h 479077"/>
                <a:gd name="connsiteX255" fmla="*/ 244141 w 3785642"/>
                <a:gd name="connsiteY255" fmla="*/ 232692 h 479077"/>
                <a:gd name="connsiteX256" fmla="*/ 257039 w 3785642"/>
                <a:gd name="connsiteY256" fmla="*/ 222770 h 479077"/>
                <a:gd name="connsiteX257" fmla="*/ 266961 w 3785642"/>
                <a:gd name="connsiteY257" fmla="*/ 209376 h 479077"/>
                <a:gd name="connsiteX258" fmla="*/ 278371 w 3785642"/>
                <a:gd name="connsiteY258" fmla="*/ 197966 h 479077"/>
                <a:gd name="connsiteX259" fmla="*/ 291269 w 3785642"/>
                <a:gd name="connsiteY259" fmla="*/ 188045 h 479077"/>
                <a:gd name="connsiteX260" fmla="*/ 301686 w 3785642"/>
                <a:gd name="connsiteY260" fmla="*/ 175147 h 479077"/>
                <a:gd name="connsiteX261" fmla="*/ 313592 w 3785642"/>
                <a:gd name="connsiteY261" fmla="*/ 163737 h 479077"/>
                <a:gd name="connsiteX262" fmla="*/ 325994 w 3785642"/>
                <a:gd name="connsiteY262" fmla="*/ 153319 h 479077"/>
                <a:gd name="connsiteX263" fmla="*/ 337404 w 3785642"/>
                <a:gd name="connsiteY263" fmla="*/ 141910 h 479077"/>
                <a:gd name="connsiteX264" fmla="*/ 347325 w 3785642"/>
                <a:gd name="connsiteY264" fmla="*/ 129012 h 479077"/>
                <a:gd name="connsiteX265" fmla="*/ 360224 w 3785642"/>
                <a:gd name="connsiteY265" fmla="*/ 118594 h 479077"/>
                <a:gd name="connsiteX266" fmla="*/ 371137 w 3785642"/>
                <a:gd name="connsiteY266" fmla="*/ 106192 h 479077"/>
                <a:gd name="connsiteX267" fmla="*/ 382051 w 3785642"/>
                <a:gd name="connsiteY267" fmla="*/ 93790 h 479077"/>
                <a:gd name="connsiteX268" fmla="*/ 393957 w 3785642"/>
                <a:gd name="connsiteY268" fmla="*/ 82380 h 479077"/>
                <a:gd name="connsiteX269" fmla="*/ 405366 w 3785642"/>
                <a:gd name="connsiteY269" fmla="*/ 70475 h 479077"/>
                <a:gd name="connsiteX270" fmla="*/ 417272 w 3785642"/>
                <a:gd name="connsiteY270" fmla="*/ 59561 h 479077"/>
                <a:gd name="connsiteX271" fmla="*/ 429674 w 3785642"/>
                <a:gd name="connsiteY271" fmla="*/ 48647 h 479077"/>
                <a:gd name="connsiteX272" fmla="*/ 440092 w 3785642"/>
                <a:gd name="connsiteY272" fmla="*/ 35749 h 479077"/>
                <a:gd name="connsiteX273" fmla="*/ 452494 w 3785642"/>
                <a:gd name="connsiteY273" fmla="*/ 24835 h 479077"/>
                <a:gd name="connsiteX274" fmla="*/ 463904 w 3785642"/>
                <a:gd name="connsiteY274" fmla="*/ 12929 h 479077"/>
                <a:gd name="connsiteX275" fmla="*/ 475313 w 3785642"/>
                <a:gd name="connsiteY275" fmla="*/ 1024 h 479077"/>
                <a:gd name="connsiteX276" fmla="*/ 491684 w 3785642"/>
                <a:gd name="connsiteY276" fmla="*/ 2512 h 479077"/>
                <a:gd name="connsiteX277" fmla="*/ 508055 w 3785642"/>
                <a:gd name="connsiteY277" fmla="*/ 2512 h 479077"/>
                <a:gd name="connsiteX278" fmla="*/ 524425 w 3785642"/>
                <a:gd name="connsiteY278" fmla="*/ 2512 h 479077"/>
                <a:gd name="connsiteX279" fmla="*/ 540796 w 3785642"/>
                <a:gd name="connsiteY279" fmla="*/ 1024 h 479077"/>
                <a:gd name="connsiteX280" fmla="*/ 557166 w 3785642"/>
                <a:gd name="connsiteY280" fmla="*/ 2512 h 479077"/>
                <a:gd name="connsiteX281" fmla="*/ 573537 w 3785642"/>
                <a:gd name="connsiteY281" fmla="*/ 1024 h 479077"/>
                <a:gd name="connsiteX282" fmla="*/ 589908 w 3785642"/>
                <a:gd name="connsiteY282" fmla="*/ 527 h 479077"/>
                <a:gd name="connsiteX283" fmla="*/ 606278 w 3785642"/>
                <a:gd name="connsiteY283" fmla="*/ 1520 h 479077"/>
                <a:gd name="connsiteX284" fmla="*/ 622649 w 3785642"/>
                <a:gd name="connsiteY284" fmla="*/ 1520 h 479077"/>
                <a:gd name="connsiteX285" fmla="*/ 639019 w 3785642"/>
                <a:gd name="connsiteY285" fmla="*/ 2016 h 479077"/>
                <a:gd name="connsiteX286" fmla="*/ 655390 w 3785642"/>
                <a:gd name="connsiteY286" fmla="*/ 527 h 479077"/>
                <a:gd name="connsiteX287" fmla="*/ 671760 w 3785642"/>
                <a:gd name="connsiteY287" fmla="*/ 1520 h 479077"/>
                <a:gd name="connsiteX288" fmla="*/ 688131 w 3785642"/>
                <a:gd name="connsiteY288" fmla="*/ 2512 h 479077"/>
                <a:gd name="connsiteX289" fmla="*/ 704501 w 3785642"/>
                <a:gd name="connsiteY289" fmla="*/ 1024 h 479077"/>
                <a:gd name="connsiteX290" fmla="*/ 720872 w 3785642"/>
                <a:gd name="connsiteY290" fmla="*/ 1520 h 479077"/>
                <a:gd name="connsiteX291" fmla="*/ 737243 w 3785642"/>
                <a:gd name="connsiteY291" fmla="*/ 2016 h 479077"/>
                <a:gd name="connsiteX292" fmla="*/ 753613 w 3785642"/>
                <a:gd name="connsiteY292" fmla="*/ 1024 h 479077"/>
                <a:gd name="connsiteX293" fmla="*/ 769984 w 3785642"/>
                <a:gd name="connsiteY293" fmla="*/ 527 h 479077"/>
                <a:gd name="connsiteX294" fmla="*/ 786354 w 3785642"/>
                <a:gd name="connsiteY294" fmla="*/ 1520 h 479077"/>
                <a:gd name="connsiteX295" fmla="*/ 802725 w 3785642"/>
                <a:gd name="connsiteY295" fmla="*/ 527 h 479077"/>
                <a:gd name="connsiteX296" fmla="*/ 819096 w 3785642"/>
                <a:gd name="connsiteY296" fmla="*/ 2512 h 479077"/>
                <a:gd name="connsiteX297" fmla="*/ 835466 w 3785642"/>
                <a:gd name="connsiteY297" fmla="*/ 527 h 479077"/>
                <a:gd name="connsiteX298" fmla="*/ 851837 w 3785642"/>
                <a:gd name="connsiteY298" fmla="*/ 1520 h 479077"/>
                <a:gd name="connsiteX299" fmla="*/ 868207 w 3785642"/>
                <a:gd name="connsiteY299" fmla="*/ 2016 h 479077"/>
                <a:gd name="connsiteX300" fmla="*/ 884578 w 3785642"/>
                <a:gd name="connsiteY300" fmla="*/ 2512 h 479077"/>
                <a:gd name="connsiteX301" fmla="*/ 900948 w 3785642"/>
                <a:gd name="connsiteY301" fmla="*/ 1520 h 479077"/>
                <a:gd name="connsiteX302" fmla="*/ 917319 w 3785642"/>
                <a:gd name="connsiteY302" fmla="*/ 1024 h 479077"/>
                <a:gd name="connsiteX303" fmla="*/ 933689 w 3785642"/>
                <a:gd name="connsiteY303" fmla="*/ 2512 h 479077"/>
                <a:gd name="connsiteX304" fmla="*/ 950060 w 3785642"/>
                <a:gd name="connsiteY304" fmla="*/ 1520 h 479077"/>
                <a:gd name="connsiteX305" fmla="*/ 966431 w 3785642"/>
                <a:gd name="connsiteY305" fmla="*/ 2016 h 479077"/>
                <a:gd name="connsiteX306" fmla="*/ 982801 w 3785642"/>
                <a:gd name="connsiteY306" fmla="*/ 2512 h 479077"/>
                <a:gd name="connsiteX307" fmla="*/ 999172 w 3785642"/>
                <a:gd name="connsiteY307" fmla="*/ 1520 h 479077"/>
                <a:gd name="connsiteX308" fmla="*/ 1015542 w 3785642"/>
                <a:gd name="connsiteY308" fmla="*/ 2512 h 479077"/>
                <a:gd name="connsiteX309" fmla="*/ 1031913 w 3785642"/>
                <a:gd name="connsiteY309" fmla="*/ 1520 h 479077"/>
                <a:gd name="connsiteX310" fmla="*/ 1048283 w 3785642"/>
                <a:gd name="connsiteY310" fmla="*/ 2016 h 479077"/>
                <a:gd name="connsiteX311" fmla="*/ 1064654 w 3785642"/>
                <a:gd name="connsiteY311" fmla="*/ 3504 h 479077"/>
                <a:gd name="connsiteX312" fmla="*/ 1081025 w 3785642"/>
                <a:gd name="connsiteY312" fmla="*/ 2016 h 479077"/>
                <a:gd name="connsiteX313" fmla="*/ 1097395 w 3785642"/>
                <a:gd name="connsiteY313" fmla="*/ 2512 h 479077"/>
                <a:gd name="connsiteX314" fmla="*/ 1113766 w 3785642"/>
                <a:gd name="connsiteY314" fmla="*/ 2512 h 479077"/>
                <a:gd name="connsiteX315" fmla="*/ 1130136 w 3785642"/>
                <a:gd name="connsiteY315" fmla="*/ 3504 h 479077"/>
                <a:gd name="connsiteX316" fmla="*/ 1146507 w 3785642"/>
                <a:gd name="connsiteY316" fmla="*/ 1520 h 479077"/>
                <a:gd name="connsiteX317" fmla="*/ 1162878 w 3785642"/>
                <a:gd name="connsiteY317" fmla="*/ 3008 h 479077"/>
                <a:gd name="connsiteX318" fmla="*/ 1179248 w 3785642"/>
                <a:gd name="connsiteY318" fmla="*/ 4000 h 479077"/>
                <a:gd name="connsiteX319" fmla="*/ 1195619 w 3785642"/>
                <a:gd name="connsiteY319" fmla="*/ 3504 h 479077"/>
                <a:gd name="connsiteX320" fmla="*/ 1211989 w 3785642"/>
                <a:gd name="connsiteY320" fmla="*/ 1520 h 479077"/>
                <a:gd name="connsiteX321" fmla="*/ 1228360 w 3785642"/>
                <a:gd name="connsiteY321" fmla="*/ 3504 h 479077"/>
                <a:gd name="connsiteX322" fmla="*/ 1244730 w 3785642"/>
                <a:gd name="connsiteY322" fmla="*/ 1520 h 479077"/>
                <a:gd name="connsiteX323" fmla="*/ 1261101 w 3785642"/>
                <a:gd name="connsiteY323" fmla="*/ 2512 h 479077"/>
                <a:gd name="connsiteX324" fmla="*/ 1277471 w 3785642"/>
                <a:gd name="connsiteY324" fmla="*/ 3504 h 479077"/>
                <a:gd name="connsiteX325" fmla="*/ 1293842 w 3785642"/>
                <a:gd name="connsiteY325" fmla="*/ 4000 h 479077"/>
                <a:gd name="connsiteX326" fmla="*/ 1310213 w 3785642"/>
                <a:gd name="connsiteY326" fmla="*/ 1520 h 479077"/>
                <a:gd name="connsiteX327" fmla="*/ 1326583 w 3785642"/>
                <a:gd name="connsiteY327" fmla="*/ 2016 h 479077"/>
                <a:gd name="connsiteX328" fmla="*/ 1342954 w 3785642"/>
                <a:gd name="connsiteY328" fmla="*/ 3008 h 479077"/>
                <a:gd name="connsiteX329" fmla="*/ 1359324 w 3785642"/>
                <a:gd name="connsiteY329" fmla="*/ 3008 h 479077"/>
                <a:gd name="connsiteX330" fmla="*/ 1375695 w 3785642"/>
                <a:gd name="connsiteY330" fmla="*/ 2512 h 479077"/>
                <a:gd name="connsiteX331" fmla="*/ 1392066 w 3785642"/>
                <a:gd name="connsiteY331" fmla="*/ 2512 h 479077"/>
                <a:gd name="connsiteX332" fmla="*/ 1408436 w 3785642"/>
                <a:gd name="connsiteY332" fmla="*/ 3504 h 479077"/>
                <a:gd name="connsiteX333" fmla="*/ 1424807 w 3785642"/>
                <a:gd name="connsiteY333" fmla="*/ 3504 h 479077"/>
                <a:gd name="connsiteX334" fmla="*/ 1441177 w 3785642"/>
                <a:gd name="connsiteY334" fmla="*/ 1520 h 479077"/>
                <a:gd name="connsiteX335" fmla="*/ 1457548 w 3785642"/>
                <a:gd name="connsiteY335" fmla="*/ 2512 h 479077"/>
                <a:gd name="connsiteX336" fmla="*/ 1473919 w 3785642"/>
                <a:gd name="connsiteY336" fmla="*/ 2016 h 479077"/>
                <a:gd name="connsiteX337" fmla="*/ 1490289 w 3785642"/>
                <a:gd name="connsiteY337" fmla="*/ 2016 h 479077"/>
                <a:gd name="connsiteX338" fmla="*/ 1506660 w 3785642"/>
                <a:gd name="connsiteY338" fmla="*/ 1520 h 479077"/>
                <a:gd name="connsiteX339" fmla="*/ 1523030 w 3785642"/>
                <a:gd name="connsiteY339" fmla="*/ 3504 h 479077"/>
                <a:gd name="connsiteX340" fmla="*/ 1539401 w 3785642"/>
                <a:gd name="connsiteY340" fmla="*/ 3008 h 479077"/>
                <a:gd name="connsiteX341" fmla="*/ 1555771 w 3785642"/>
                <a:gd name="connsiteY341" fmla="*/ 3008 h 479077"/>
                <a:gd name="connsiteX342" fmla="*/ 1572142 w 3785642"/>
                <a:gd name="connsiteY342" fmla="*/ 2512 h 479077"/>
                <a:gd name="connsiteX343" fmla="*/ 1588512 w 3785642"/>
                <a:gd name="connsiteY343" fmla="*/ 2016 h 479077"/>
                <a:gd name="connsiteX344" fmla="*/ 1604883 w 3785642"/>
                <a:gd name="connsiteY344" fmla="*/ 3008 h 479077"/>
                <a:gd name="connsiteX345" fmla="*/ 1621253 w 3785642"/>
                <a:gd name="connsiteY345" fmla="*/ 3008 h 479077"/>
                <a:gd name="connsiteX346" fmla="*/ 1637624 w 3785642"/>
                <a:gd name="connsiteY34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313375 w 3785642"/>
                <a:gd name="connsiteY19" fmla="*/ 10945 h 479077"/>
                <a:gd name="connsiteX20" fmla="*/ 3300973 w 3785642"/>
                <a:gd name="connsiteY20" fmla="*/ 21363 h 479077"/>
                <a:gd name="connsiteX21" fmla="*/ 3289068 w 3785642"/>
                <a:gd name="connsiteY21" fmla="*/ 32276 h 479077"/>
                <a:gd name="connsiteX22" fmla="*/ 3277658 w 3785642"/>
                <a:gd name="connsiteY22" fmla="*/ 43686 h 479077"/>
                <a:gd name="connsiteX23" fmla="*/ 3266248 w 3785642"/>
                <a:gd name="connsiteY23" fmla="*/ 55592 h 479077"/>
                <a:gd name="connsiteX24" fmla="*/ 3255830 w 3785642"/>
                <a:gd name="connsiteY24" fmla="*/ 68490 h 479077"/>
                <a:gd name="connsiteX25" fmla="*/ 3243924 w 3785642"/>
                <a:gd name="connsiteY25" fmla="*/ 79900 h 479077"/>
                <a:gd name="connsiteX26" fmla="*/ 3231522 w 3785642"/>
                <a:gd name="connsiteY26" fmla="*/ 90814 h 479077"/>
                <a:gd name="connsiteX27" fmla="*/ 3220609 w 3785642"/>
                <a:gd name="connsiteY27" fmla="*/ 102720 h 479077"/>
                <a:gd name="connsiteX28" fmla="*/ 3208207 w 3785642"/>
                <a:gd name="connsiteY28" fmla="*/ 113137 h 479077"/>
                <a:gd name="connsiteX29" fmla="*/ 3197293 w 3785642"/>
                <a:gd name="connsiteY29" fmla="*/ 125043 h 479077"/>
                <a:gd name="connsiteX30" fmla="*/ 3185387 w 3785642"/>
                <a:gd name="connsiteY30" fmla="*/ 136453 h 479077"/>
                <a:gd name="connsiteX31" fmla="*/ 3174970 w 3785642"/>
                <a:gd name="connsiteY31" fmla="*/ 148855 h 479077"/>
                <a:gd name="connsiteX32" fmla="*/ 3162071 w 3785642"/>
                <a:gd name="connsiteY32" fmla="*/ 159272 h 479077"/>
                <a:gd name="connsiteX33" fmla="*/ 3151158 w 3785642"/>
                <a:gd name="connsiteY33" fmla="*/ 171674 h 479077"/>
                <a:gd name="connsiteX34" fmla="*/ 3139252 w 3785642"/>
                <a:gd name="connsiteY34" fmla="*/ 182588 h 479077"/>
                <a:gd name="connsiteX35" fmla="*/ 3127843 w 3785642"/>
                <a:gd name="connsiteY35" fmla="*/ 194494 h 479077"/>
                <a:gd name="connsiteX36" fmla="*/ 3116432 w 3785642"/>
                <a:gd name="connsiteY36" fmla="*/ 205904 h 479077"/>
                <a:gd name="connsiteX37" fmla="*/ 3105022 w 3785642"/>
                <a:gd name="connsiteY37" fmla="*/ 217810 h 479077"/>
                <a:gd name="connsiteX38" fmla="*/ 3093117 w 3785642"/>
                <a:gd name="connsiteY38" fmla="*/ 229219 h 479077"/>
                <a:gd name="connsiteX39" fmla="*/ 3081707 w 3785642"/>
                <a:gd name="connsiteY39" fmla="*/ 240629 h 479077"/>
                <a:gd name="connsiteX40" fmla="*/ 3069305 w 3785642"/>
                <a:gd name="connsiteY40" fmla="*/ 251543 h 479077"/>
                <a:gd name="connsiteX41" fmla="*/ 3057895 w 3785642"/>
                <a:gd name="connsiteY41" fmla="*/ 263449 h 479077"/>
                <a:gd name="connsiteX42" fmla="*/ 3046486 w 3785642"/>
                <a:gd name="connsiteY42" fmla="*/ 275355 h 479077"/>
                <a:gd name="connsiteX43" fmla="*/ 3035572 w 3785642"/>
                <a:gd name="connsiteY43" fmla="*/ 287260 h 479077"/>
                <a:gd name="connsiteX44" fmla="*/ 3024658 w 3785642"/>
                <a:gd name="connsiteY44" fmla="*/ 299166 h 479077"/>
                <a:gd name="connsiteX45" fmla="*/ 3013248 w 3785642"/>
                <a:gd name="connsiteY45" fmla="*/ 311072 h 479077"/>
                <a:gd name="connsiteX46" fmla="*/ 3000350 w 3785642"/>
                <a:gd name="connsiteY46" fmla="*/ 321490 h 479077"/>
                <a:gd name="connsiteX47" fmla="*/ 2988941 w 3785642"/>
                <a:gd name="connsiteY47" fmla="*/ 333396 h 479077"/>
                <a:gd name="connsiteX48" fmla="*/ 2976539 w 3785642"/>
                <a:gd name="connsiteY48" fmla="*/ 344309 h 479077"/>
                <a:gd name="connsiteX49" fmla="*/ 2965129 w 3785642"/>
                <a:gd name="connsiteY49" fmla="*/ 356215 h 479077"/>
                <a:gd name="connsiteX50" fmla="*/ 2953223 w 3785642"/>
                <a:gd name="connsiteY50" fmla="*/ 367625 h 479077"/>
                <a:gd name="connsiteX51" fmla="*/ 2941813 w 3785642"/>
                <a:gd name="connsiteY51" fmla="*/ 379531 h 479077"/>
                <a:gd name="connsiteX52" fmla="*/ 2931395 w 3785642"/>
                <a:gd name="connsiteY52" fmla="*/ 392429 h 479077"/>
                <a:gd name="connsiteX53" fmla="*/ 2918497 w 3785642"/>
                <a:gd name="connsiteY53" fmla="*/ 402847 h 479077"/>
                <a:gd name="connsiteX54" fmla="*/ 2907584 w 3785642"/>
                <a:gd name="connsiteY54" fmla="*/ 415249 h 479077"/>
                <a:gd name="connsiteX55" fmla="*/ 2896174 w 3785642"/>
                <a:gd name="connsiteY55" fmla="*/ 426658 h 479077"/>
                <a:gd name="connsiteX56" fmla="*/ 2884268 w 3785642"/>
                <a:gd name="connsiteY56" fmla="*/ 438068 h 479077"/>
                <a:gd name="connsiteX57" fmla="*/ 2873354 w 3785642"/>
                <a:gd name="connsiteY57" fmla="*/ 450470 h 479077"/>
                <a:gd name="connsiteX58" fmla="*/ 2860952 w 3785642"/>
                <a:gd name="connsiteY58" fmla="*/ 461384 h 479077"/>
                <a:gd name="connsiteX59" fmla="*/ 2850039 w 3785642"/>
                <a:gd name="connsiteY59" fmla="*/ 473786 h 479077"/>
                <a:gd name="connsiteX60" fmla="*/ 2833668 w 3785642"/>
                <a:gd name="connsiteY60" fmla="*/ 473786 h 479077"/>
                <a:gd name="connsiteX61" fmla="*/ 2817297 w 3785642"/>
                <a:gd name="connsiteY61" fmla="*/ 473290 h 479077"/>
                <a:gd name="connsiteX62" fmla="*/ 2800927 w 3785642"/>
                <a:gd name="connsiteY62" fmla="*/ 473290 h 479077"/>
                <a:gd name="connsiteX63" fmla="*/ 2784556 w 3785642"/>
                <a:gd name="connsiteY63" fmla="*/ 473786 h 479077"/>
                <a:gd name="connsiteX64" fmla="*/ 2768186 w 3785642"/>
                <a:gd name="connsiteY64" fmla="*/ 474282 h 479077"/>
                <a:gd name="connsiteX65" fmla="*/ 2751815 w 3785642"/>
                <a:gd name="connsiteY65" fmla="*/ 474282 h 479077"/>
                <a:gd name="connsiteX66" fmla="*/ 2735444 w 3785642"/>
                <a:gd name="connsiteY66" fmla="*/ 473290 h 479077"/>
                <a:gd name="connsiteX67" fmla="*/ 2719074 w 3785642"/>
                <a:gd name="connsiteY67" fmla="*/ 474282 h 479077"/>
                <a:gd name="connsiteX68" fmla="*/ 2702703 w 3785642"/>
                <a:gd name="connsiteY68" fmla="*/ 472298 h 479077"/>
                <a:gd name="connsiteX69" fmla="*/ 2686333 w 3785642"/>
                <a:gd name="connsiteY69" fmla="*/ 472794 h 479077"/>
                <a:gd name="connsiteX70" fmla="*/ 2669962 w 3785642"/>
                <a:gd name="connsiteY70" fmla="*/ 474282 h 479077"/>
                <a:gd name="connsiteX71" fmla="*/ 2653592 w 3785642"/>
                <a:gd name="connsiteY71" fmla="*/ 472298 h 479077"/>
                <a:gd name="connsiteX72" fmla="*/ 2637221 w 3785642"/>
                <a:gd name="connsiteY72" fmla="*/ 474282 h 479077"/>
                <a:gd name="connsiteX73" fmla="*/ 2620851 w 3785642"/>
                <a:gd name="connsiteY73" fmla="*/ 474282 h 479077"/>
                <a:gd name="connsiteX74" fmla="*/ 2604480 w 3785642"/>
                <a:gd name="connsiteY74" fmla="*/ 472298 h 479077"/>
                <a:gd name="connsiteX75" fmla="*/ 2588109 w 3785642"/>
                <a:gd name="connsiteY75" fmla="*/ 473786 h 479077"/>
                <a:gd name="connsiteX76" fmla="*/ 2571739 w 3785642"/>
                <a:gd name="connsiteY76" fmla="*/ 472298 h 479077"/>
                <a:gd name="connsiteX77" fmla="*/ 2555368 w 3785642"/>
                <a:gd name="connsiteY77" fmla="*/ 473290 h 479077"/>
                <a:gd name="connsiteX78" fmla="*/ 2538998 w 3785642"/>
                <a:gd name="connsiteY78" fmla="*/ 474282 h 479077"/>
                <a:gd name="connsiteX79" fmla="*/ 2522627 w 3785642"/>
                <a:gd name="connsiteY79" fmla="*/ 473290 h 479077"/>
                <a:gd name="connsiteX80" fmla="*/ 2506257 w 3785642"/>
                <a:gd name="connsiteY80" fmla="*/ 474282 h 479077"/>
                <a:gd name="connsiteX81" fmla="*/ 2489886 w 3785642"/>
                <a:gd name="connsiteY81" fmla="*/ 473786 h 479077"/>
                <a:gd name="connsiteX82" fmla="*/ 2473516 w 3785642"/>
                <a:gd name="connsiteY82" fmla="*/ 474282 h 479077"/>
                <a:gd name="connsiteX83" fmla="*/ 2457145 w 3785642"/>
                <a:gd name="connsiteY83" fmla="*/ 472794 h 479077"/>
                <a:gd name="connsiteX84" fmla="*/ 2440775 w 3785642"/>
                <a:gd name="connsiteY84" fmla="*/ 472298 h 479077"/>
                <a:gd name="connsiteX85" fmla="*/ 2424404 w 3785642"/>
                <a:gd name="connsiteY85" fmla="*/ 473786 h 479077"/>
                <a:gd name="connsiteX86" fmla="*/ 2408033 w 3785642"/>
                <a:gd name="connsiteY86" fmla="*/ 472794 h 479077"/>
                <a:gd name="connsiteX87" fmla="*/ 2391663 w 3785642"/>
                <a:gd name="connsiteY87" fmla="*/ 473290 h 479077"/>
                <a:gd name="connsiteX88" fmla="*/ 2375292 w 3785642"/>
                <a:gd name="connsiteY88" fmla="*/ 473290 h 479077"/>
                <a:gd name="connsiteX89" fmla="*/ 2358922 w 3785642"/>
                <a:gd name="connsiteY89" fmla="*/ 472794 h 479077"/>
                <a:gd name="connsiteX90" fmla="*/ 2342551 w 3785642"/>
                <a:gd name="connsiteY90" fmla="*/ 472298 h 479077"/>
                <a:gd name="connsiteX91" fmla="*/ 2326180 w 3785642"/>
                <a:gd name="connsiteY91" fmla="*/ 473786 h 479077"/>
                <a:gd name="connsiteX92" fmla="*/ 2309810 w 3785642"/>
                <a:gd name="connsiteY92" fmla="*/ 473786 h 479077"/>
                <a:gd name="connsiteX93" fmla="*/ 2293439 w 3785642"/>
                <a:gd name="connsiteY93" fmla="*/ 473786 h 479077"/>
                <a:gd name="connsiteX94" fmla="*/ 2277069 w 3785642"/>
                <a:gd name="connsiteY94" fmla="*/ 472794 h 479077"/>
                <a:gd name="connsiteX95" fmla="*/ 2260698 w 3785642"/>
                <a:gd name="connsiteY95" fmla="*/ 474282 h 479077"/>
                <a:gd name="connsiteX96" fmla="*/ 2244327 w 3785642"/>
                <a:gd name="connsiteY96" fmla="*/ 472298 h 479077"/>
                <a:gd name="connsiteX97" fmla="*/ 2227957 w 3785642"/>
                <a:gd name="connsiteY97" fmla="*/ 474282 h 479077"/>
                <a:gd name="connsiteX98" fmla="*/ 2211586 w 3785642"/>
                <a:gd name="connsiteY98" fmla="*/ 473290 h 479077"/>
                <a:gd name="connsiteX99" fmla="*/ 2195216 w 3785642"/>
                <a:gd name="connsiteY99" fmla="*/ 474282 h 479077"/>
                <a:gd name="connsiteX100" fmla="*/ 2178845 w 3785642"/>
                <a:gd name="connsiteY100" fmla="*/ 472794 h 479077"/>
                <a:gd name="connsiteX101" fmla="*/ 2162474 w 3785642"/>
                <a:gd name="connsiteY101" fmla="*/ 474778 h 479077"/>
                <a:gd name="connsiteX102" fmla="*/ 2146104 w 3785642"/>
                <a:gd name="connsiteY102" fmla="*/ 473290 h 479077"/>
                <a:gd name="connsiteX103" fmla="*/ 2129733 w 3785642"/>
                <a:gd name="connsiteY103" fmla="*/ 474778 h 479077"/>
                <a:gd name="connsiteX104" fmla="*/ 2113363 w 3785642"/>
                <a:gd name="connsiteY104" fmla="*/ 474778 h 479077"/>
                <a:gd name="connsiteX105" fmla="*/ 2096992 w 3785642"/>
                <a:gd name="connsiteY105" fmla="*/ 474778 h 479077"/>
                <a:gd name="connsiteX106" fmla="*/ 2080621 w 3785642"/>
                <a:gd name="connsiteY106" fmla="*/ 474282 h 479077"/>
                <a:gd name="connsiteX107" fmla="*/ 2064251 w 3785642"/>
                <a:gd name="connsiteY107" fmla="*/ 472794 h 479077"/>
                <a:gd name="connsiteX108" fmla="*/ 2047880 w 3785642"/>
                <a:gd name="connsiteY108" fmla="*/ 474778 h 479077"/>
                <a:gd name="connsiteX109" fmla="*/ 2031510 w 3785642"/>
                <a:gd name="connsiteY109" fmla="*/ 474778 h 479077"/>
                <a:gd name="connsiteX110" fmla="*/ 2015139 w 3785642"/>
                <a:gd name="connsiteY110" fmla="*/ 474778 h 479077"/>
                <a:gd name="connsiteX111" fmla="*/ 1998769 w 3785642"/>
                <a:gd name="connsiteY111" fmla="*/ 474282 h 479077"/>
                <a:gd name="connsiteX112" fmla="*/ 1982398 w 3785642"/>
                <a:gd name="connsiteY112" fmla="*/ 473786 h 479077"/>
                <a:gd name="connsiteX113" fmla="*/ 1966028 w 3785642"/>
                <a:gd name="connsiteY113" fmla="*/ 473786 h 479077"/>
                <a:gd name="connsiteX114" fmla="*/ 1949657 w 3785642"/>
                <a:gd name="connsiteY114" fmla="*/ 472794 h 479077"/>
                <a:gd name="connsiteX115" fmla="*/ 1933287 w 3785642"/>
                <a:gd name="connsiteY115" fmla="*/ 473290 h 479077"/>
                <a:gd name="connsiteX116" fmla="*/ 1916916 w 3785642"/>
                <a:gd name="connsiteY116" fmla="*/ 474778 h 479077"/>
                <a:gd name="connsiteX117" fmla="*/ 1900546 w 3785642"/>
                <a:gd name="connsiteY117" fmla="*/ 472794 h 479077"/>
                <a:gd name="connsiteX118" fmla="*/ 1884175 w 3785642"/>
                <a:gd name="connsiteY118" fmla="*/ 473786 h 479077"/>
                <a:gd name="connsiteX119" fmla="*/ 1867804 w 3785642"/>
                <a:gd name="connsiteY119" fmla="*/ 474778 h 479077"/>
                <a:gd name="connsiteX120" fmla="*/ 1851434 w 3785642"/>
                <a:gd name="connsiteY120" fmla="*/ 474778 h 479077"/>
                <a:gd name="connsiteX121" fmla="*/ 1835063 w 3785642"/>
                <a:gd name="connsiteY121" fmla="*/ 474778 h 479077"/>
                <a:gd name="connsiteX122" fmla="*/ 1818693 w 3785642"/>
                <a:gd name="connsiteY122" fmla="*/ 474282 h 479077"/>
                <a:gd name="connsiteX123" fmla="*/ 1802322 w 3785642"/>
                <a:gd name="connsiteY123" fmla="*/ 472794 h 479077"/>
                <a:gd name="connsiteX124" fmla="*/ 1785951 w 3785642"/>
                <a:gd name="connsiteY124" fmla="*/ 473786 h 479077"/>
                <a:gd name="connsiteX125" fmla="*/ 1769581 w 3785642"/>
                <a:gd name="connsiteY125" fmla="*/ 473290 h 479077"/>
                <a:gd name="connsiteX126" fmla="*/ 1753210 w 3785642"/>
                <a:gd name="connsiteY126" fmla="*/ 472298 h 479077"/>
                <a:gd name="connsiteX127" fmla="*/ 1736840 w 3785642"/>
                <a:gd name="connsiteY127" fmla="*/ 473290 h 479077"/>
                <a:gd name="connsiteX128" fmla="*/ 1720469 w 3785642"/>
                <a:gd name="connsiteY128" fmla="*/ 474778 h 479077"/>
                <a:gd name="connsiteX129" fmla="*/ 1704098 w 3785642"/>
                <a:gd name="connsiteY129" fmla="*/ 472794 h 479077"/>
                <a:gd name="connsiteX130" fmla="*/ 1687728 w 3785642"/>
                <a:gd name="connsiteY130" fmla="*/ 474778 h 479077"/>
                <a:gd name="connsiteX131" fmla="*/ 1671357 w 3785642"/>
                <a:gd name="connsiteY131" fmla="*/ 474778 h 479077"/>
                <a:gd name="connsiteX132" fmla="*/ 1654987 w 3785642"/>
                <a:gd name="connsiteY132" fmla="*/ 472298 h 479077"/>
                <a:gd name="connsiteX133" fmla="*/ 1638616 w 3785642"/>
                <a:gd name="connsiteY133" fmla="*/ 472794 h 479077"/>
                <a:gd name="connsiteX134" fmla="*/ 1622246 w 3785642"/>
                <a:gd name="connsiteY134" fmla="*/ 473786 h 479077"/>
                <a:gd name="connsiteX135" fmla="*/ 1605875 w 3785642"/>
                <a:gd name="connsiteY135" fmla="*/ 474778 h 479077"/>
                <a:gd name="connsiteX136" fmla="*/ 1589505 w 3785642"/>
                <a:gd name="connsiteY136" fmla="*/ 473290 h 479077"/>
                <a:gd name="connsiteX137" fmla="*/ 1573134 w 3785642"/>
                <a:gd name="connsiteY137" fmla="*/ 474778 h 479077"/>
                <a:gd name="connsiteX138" fmla="*/ 1556763 w 3785642"/>
                <a:gd name="connsiteY138" fmla="*/ 472794 h 479077"/>
                <a:gd name="connsiteX139" fmla="*/ 1540393 w 3785642"/>
                <a:gd name="connsiteY139" fmla="*/ 472794 h 479077"/>
                <a:gd name="connsiteX140" fmla="*/ 1524022 w 3785642"/>
                <a:gd name="connsiteY140" fmla="*/ 474282 h 479077"/>
                <a:gd name="connsiteX141" fmla="*/ 1507652 w 3785642"/>
                <a:gd name="connsiteY141" fmla="*/ 472794 h 479077"/>
                <a:gd name="connsiteX142" fmla="*/ 1491281 w 3785642"/>
                <a:gd name="connsiteY142" fmla="*/ 474282 h 479077"/>
                <a:gd name="connsiteX143" fmla="*/ 1474910 w 3785642"/>
                <a:gd name="connsiteY143" fmla="*/ 474282 h 479077"/>
                <a:gd name="connsiteX144" fmla="*/ 1458540 w 3785642"/>
                <a:gd name="connsiteY144" fmla="*/ 472794 h 479077"/>
                <a:gd name="connsiteX145" fmla="*/ 1442169 w 3785642"/>
                <a:gd name="connsiteY145" fmla="*/ 471802 h 479077"/>
                <a:gd name="connsiteX146" fmla="*/ 1425799 w 3785642"/>
                <a:gd name="connsiteY146" fmla="*/ 472298 h 479077"/>
                <a:gd name="connsiteX147" fmla="*/ 1409428 w 3785642"/>
                <a:gd name="connsiteY147" fmla="*/ 472794 h 479077"/>
                <a:gd name="connsiteX148" fmla="*/ 1393058 w 3785642"/>
                <a:gd name="connsiteY148" fmla="*/ 473786 h 479077"/>
                <a:gd name="connsiteX149" fmla="*/ 1376687 w 3785642"/>
                <a:gd name="connsiteY149" fmla="*/ 471802 h 479077"/>
                <a:gd name="connsiteX150" fmla="*/ 1360317 w 3785642"/>
                <a:gd name="connsiteY150" fmla="*/ 473786 h 479077"/>
                <a:gd name="connsiteX151" fmla="*/ 1343946 w 3785642"/>
                <a:gd name="connsiteY151" fmla="*/ 473786 h 479077"/>
                <a:gd name="connsiteX152" fmla="*/ 1327576 w 3785642"/>
                <a:gd name="connsiteY152" fmla="*/ 472794 h 479077"/>
                <a:gd name="connsiteX153" fmla="*/ 1311205 w 3785642"/>
                <a:gd name="connsiteY153" fmla="*/ 473786 h 479077"/>
                <a:gd name="connsiteX154" fmla="*/ 1294834 w 3785642"/>
                <a:gd name="connsiteY154" fmla="*/ 473786 h 479077"/>
                <a:gd name="connsiteX155" fmla="*/ 1278464 w 3785642"/>
                <a:gd name="connsiteY155" fmla="*/ 473786 h 479077"/>
                <a:gd name="connsiteX156" fmla="*/ 1262093 w 3785642"/>
                <a:gd name="connsiteY156" fmla="*/ 473786 h 479077"/>
                <a:gd name="connsiteX157" fmla="*/ 1245723 w 3785642"/>
                <a:gd name="connsiteY157" fmla="*/ 473290 h 479077"/>
                <a:gd name="connsiteX158" fmla="*/ 1229352 w 3785642"/>
                <a:gd name="connsiteY158" fmla="*/ 472794 h 479077"/>
                <a:gd name="connsiteX159" fmla="*/ 1212981 w 3785642"/>
                <a:gd name="connsiteY159" fmla="*/ 473786 h 479077"/>
                <a:gd name="connsiteX160" fmla="*/ 1196611 w 3785642"/>
                <a:gd name="connsiteY160" fmla="*/ 472298 h 479077"/>
                <a:gd name="connsiteX161" fmla="*/ 1180240 w 3785642"/>
                <a:gd name="connsiteY161" fmla="*/ 472794 h 479077"/>
                <a:gd name="connsiteX162" fmla="*/ 1163870 w 3785642"/>
                <a:gd name="connsiteY162" fmla="*/ 472794 h 479077"/>
                <a:gd name="connsiteX163" fmla="*/ 1147499 w 3785642"/>
                <a:gd name="connsiteY163" fmla="*/ 473786 h 479077"/>
                <a:gd name="connsiteX164" fmla="*/ 1131128 w 3785642"/>
                <a:gd name="connsiteY164" fmla="*/ 473786 h 479077"/>
                <a:gd name="connsiteX165" fmla="*/ 1114758 w 3785642"/>
                <a:gd name="connsiteY165" fmla="*/ 472794 h 479077"/>
                <a:gd name="connsiteX166" fmla="*/ 1098387 w 3785642"/>
                <a:gd name="connsiteY166" fmla="*/ 473786 h 479077"/>
                <a:gd name="connsiteX167" fmla="*/ 1082017 w 3785642"/>
                <a:gd name="connsiteY167" fmla="*/ 474778 h 479077"/>
                <a:gd name="connsiteX168" fmla="*/ 1065646 w 3785642"/>
                <a:gd name="connsiteY168" fmla="*/ 474778 h 479077"/>
                <a:gd name="connsiteX169" fmla="*/ 1049276 w 3785642"/>
                <a:gd name="connsiteY169" fmla="*/ 474282 h 479077"/>
                <a:gd name="connsiteX170" fmla="*/ 1032905 w 3785642"/>
                <a:gd name="connsiteY170" fmla="*/ 473290 h 479077"/>
                <a:gd name="connsiteX171" fmla="*/ 1016535 w 3785642"/>
                <a:gd name="connsiteY171" fmla="*/ 474282 h 479077"/>
                <a:gd name="connsiteX172" fmla="*/ 1000164 w 3785642"/>
                <a:gd name="connsiteY172" fmla="*/ 474282 h 479077"/>
                <a:gd name="connsiteX173" fmla="*/ 983793 w 3785642"/>
                <a:gd name="connsiteY173" fmla="*/ 472794 h 479077"/>
                <a:gd name="connsiteX174" fmla="*/ 967423 w 3785642"/>
                <a:gd name="connsiteY174" fmla="*/ 472794 h 479077"/>
                <a:gd name="connsiteX175" fmla="*/ 951052 w 3785642"/>
                <a:gd name="connsiteY175" fmla="*/ 473786 h 479077"/>
                <a:gd name="connsiteX176" fmla="*/ 934682 w 3785642"/>
                <a:gd name="connsiteY176" fmla="*/ 474282 h 479077"/>
                <a:gd name="connsiteX177" fmla="*/ 918311 w 3785642"/>
                <a:gd name="connsiteY177" fmla="*/ 474778 h 479077"/>
                <a:gd name="connsiteX178" fmla="*/ 901940 w 3785642"/>
                <a:gd name="connsiteY178" fmla="*/ 473290 h 479077"/>
                <a:gd name="connsiteX179" fmla="*/ 885570 w 3785642"/>
                <a:gd name="connsiteY179" fmla="*/ 474778 h 479077"/>
                <a:gd name="connsiteX180" fmla="*/ 869199 w 3785642"/>
                <a:gd name="connsiteY180" fmla="*/ 474282 h 479077"/>
                <a:gd name="connsiteX181" fmla="*/ 852829 w 3785642"/>
                <a:gd name="connsiteY181" fmla="*/ 473786 h 479077"/>
                <a:gd name="connsiteX182" fmla="*/ 836458 w 3785642"/>
                <a:gd name="connsiteY182" fmla="*/ 474778 h 479077"/>
                <a:gd name="connsiteX183" fmla="*/ 820088 w 3785642"/>
                <a:gd name="connsiteY183" fmla="*/ 475274 h 479077"/>
                <a:gd name="connsiteX184" fmla="*/ 803717 w 3785642"/>
                <a:gd name="connsiteY184" fmla="*/ 473786 h 479077"/>
                <a:gd name="connsiteX185" fmla="*/ 787347 w 3785642"/>
                <a:gd name="connsiteY185" fmla="*/ 475770 h 479077"/>
                <a:gd name="connsiteX186" fmla="*/ 770976 w 3785642"/>
                <a:gd name="connsiteY186" fmla="*/ 474778 h 479077"/>
                <a:gd name="connsiteX187" fmla="*/ 754605 w 3785642"/>
                <a:gd name="connsiteY187" fmla="*/ 475274 h 479077"/>
                <a:gd name="connsiteX188" fmla="*/ 738235 w 3785642"/>
                <a:gd name="connsiteY188" fmla="*/ 473786 h 479077"/>
                <a:gd name="connsiteX189" fmla="*/ 721864 w 3785642"/>
                <a:gd name="connsiteY189" fmla="*/ 475274 h 479077"/>
                <a:gd name="connsiteX190" fmla="*/ 705494 w 3785642"/>
                <a:gd name="connsiteY190" fmla="*/ 475770 h 479077"/>
                <a:gd name="connsiteX191" fmla="*/ 689123 w 3785642"/>
                <a:gd name="connsiteY191" fmla="*/ 474282 h 479077"/>
                <a:gd name="connsiteX192" fmla="*/ 672753 w 3785642"/>
                <a:gd name="connsiteY192" fmla="*/ 475274 h 479077"/>
                <a:gd name="connsiteX193" fmla="*/ 656382 w 3785642"/>
                <a:gd name="connsiteY193" fmla="*/ 474778 h 479077"/>
                <a:gd name="connsiteX194" fmla="*/ 640011 w 3785642"/>
                <a:gd name="connsiteY194" fmla="*/ 475770 h 479077"/>
                <a:gd name="connsiteX195" fmla="*/ 623641 w 3785642"/>
                <a:gd name="connsiteY195" fmla="*/ 473786 h 479077"/>
                <a:gd name="connsiteX196" fmla="*/ 607270 w 3785642"/>
                <a:gd name="connsiteY196" fmla="*/ 474778 h 479077"/>
                <a:gd name="connsiteX197" fmla="*/ 590900 w 3785642"/>
                <a:gd name="connsiteY197" fmla="*/ 475274 h 479077"/>
                <a:gd name="connsiteX198" fmla="*/ 574529 w 3785642"/>
                <a:gd name="connsiteY198" fmla="*/ 474282 h 479077"/>
                <a:gd name="connsiteX199" fmla="*/ 558158 w 3785642"/>
                <a:gd name="connsiteY199" fmla="*/ 475274 h 479077"/>
                <a:gd name="connsiteX200" fmla="*/ 541788 w 3785642"/>
                <a:gd name="connsiteY200" fmla="*/ 475770 h 479077"/>
                <a:gd name="connsiteX201" fmla="*/ 525417 w 3785642"/>
                <a:gd name="connsiteY201" fmla="*/ 474282 h 479077"/>
                <a:gd name="connsiteX202" fmla="*/ 509047 w 3785642"/>
                <a:gd name="connsiteY202" fmla="*/ 473786 h 479077"/>
                <a:gd name="connsiteX203" fmla="*/ 492676 w 3785642"/>
                <a:gd name="connsiteY203" fmla="*/ 473786 h 479077"/>
                <a:gd name="connsiteX204" fmla="*/ 476306 w 3785642"/>
                <a:gd name="connsiteY204" fmla="*/ 474778 h 479077"/>
                <a:gd name="connsiteX205" fmla="*/ 459935 w 3785642"/>
                <a:gd name="connsiteY205" fmla="*/ 473786 h 479077"/>
                <a:gd name="connsiteX206" fmla="*/ 443565 w 3785642"/>
                <a:gd name="connsiteY206" fmla="*/ 474778 h 479077"/>
                <a:gd name="connsiteX207" fmla="*/ 427194 w 3785642"/>
                <a:gd name="connsiteY207" fmla="*/ 474282 h 479077"/>
                <a:gd name="connsiteX208" fmla="*/ 410823 w 3785642"/>
                <a:gd name="connsiteY208" fmla="*/ 473290 h 479077"/>
                <a:gd name="connsiteX209" fmla="*/ 394453 w 3785642"/>
                <a:gd name="connsiteY209" fmla="*/ 475770 h 479077"/>
                <a:gd name="connsiteX210" fmla="*/ 378082 w 3785642"/>
                <a:gd name="connsiteY210" fmla="*/ 475274 h 479077"/>
                <a:gd name="connsiteX211" fmla="*/ 361712 w 3785642"/>
                <a:gd name="connsiteY211" fmla="*/ 474778 h 479077"/>
                <a:gd name="connsiteX212" fmla="*/ 345341 w 3785642"/>
                <a:gd name="connsiteY212" fmla="*/ 476266 h 479077"/>
                <a:gd name="connsiteX213" fmla="*/ 328970 w 3785642"/>
                <a:gd name="connsiteY213" fmla="*/ 474282 h 479077"/>
                <a:gd name="connsiteX214" fmla="*/ 312600 w 3785642"/>
                <a:gd name="connsiteY214" fmla="*/ 475274 h 479077"/>
                <a:gd name="connsiteX215" fmla="*/ 296229 w 3785642"/>
                <a:gd name="connsiteY215" fmla="*/ 474282 h 479077"/>
                <a:gd name="connsiteX216" fmla="*/ 279859 w 3785642"/>
                <a:gd name="connsiteY216" fmla="*/ 475770 h 479077"/>
                <a:gd name="connsiteX217" fmla="*/ 263488 w 3785642"/>
                <a:gd name="connsiteY217" fmla="*/ 476266 h 479077"/>
                <a:gd name="connsiteX218" fmla="*/ 247118 w 3785642"/>
                <a:gd name="connsiteY218" fmla="*/ 476266 h 479077"/>
                <a:gd name="connsiteX219" fmla="*/ 230747 w 3785642"/>
                <a:gd name="connsiteY219" fmla="*/ 474778 h 479077"/>
                <a:gd name="connsiteX220" fmla="*/ 214376 w 3785642"/>
                <a:gd name="connsiteY220" fmla="*/ 474778 h 479077"/>
                <a:gd name="connsiteX221" fmla="*/ 198006 w 3785642"/>
                <a:gd name="connsiteY221" fmla="*/ 476762 h 479077"/>
                <a:gd name="connsiteX222" fmla="*/ 181635 w 3785642"/>
                <a:gd name="connsiteY222" fmla="*/ 476266 h 479077"/>
                <a:gd name="connsiteX223" fmla="*/ 165265 w 3785642"/>
                <a:gd name="connsiteY223" fmla="*/ 474778 h 479077"/>
                <a:gd name="connsiteX224" fmla="*/ 148894 w 3785642"/>
                <a:gd name="connsiteY224" fmla="*/ 476762 h 479077"/>
                <a:gd name="connsiteX225" fmla="*/ 132524 w 3785642"/>
                <a:gd name="connsiteY225" fmla="*/ 476266 h 479077"/>
                <a:gd name="connsiteX226" fmla="*/ 116153 w 3785642"/>
                <a:gd name="connsiteY226" fmla="*/ 475274 h 479077"/>
                <a:gd name="connsiteX227" fmla="*/ 99783 w 3785642"/>
                <a:gd name="connsiteY227" fmla="*/ 475274 h 479077"/>
                <a:gd name="connsiteX228" fmla="*/ 83412 w 3785642"/>
                <a:gd name="connsiteY228" fmla="*/ 475274 h 479077"/>
                <a:gd name="connsiteX229" fmla="*/ 67041 w 3785642"/>
                <a:gd name="connsiteY229" fmla="*/ 474778 h 479077"/>
                <a:gd name="connsiteX230" fmla="*/ 50671 w 3785642"/>
                <a:gd name="connsiteY230" fmla="*/ 475274 h 479077"/>
                <a:gd name="connsiteX231" fmla="*/ 34300 w 3785642"/>
                <a:gd name="connsiteY231" fmla="*/ 475274 h 479077"/>
                <a:gd name="connsiteX232" fmla="*/ 17930 w 3785642"/>
                <a:gd name="connsiteY232" fmla="*/ 475770 h 479077"/>
                <a:gd name="connsiteX233" fmla="*/ 567 w 3785642"/>
                <a:gd name="connsiteY233" fmla="*/ 475770 h 479077"/>
                <a:gd name="connsiteX234" fmla="*/ 12969 w 3785642"/>
                <a:gd name="connsiteY234" fmla="*/ 463368 h 479077"/>
                <a:gd name="connsiteX235" fmla="*/ 24379 w 3785642"/>
                <a:gd name="connsiteY235" fmla="*/ 451958 h 479077"/>
                <a:gd name="connsiteX236" fmla="*/ 35788 w 3785642"/>
                <a:gd name="connsiteY236" fmla="*/ 440053 h 479077"/>
                <a:gd name="connsiteX237" fmla="*/ 48686 w 3785642"/>
                <a:gd name="connsiteY237" fmla="*/ 430131 h 479077"/>
                <a:gd name="connsiteX238" fmla="*/ 59600 w 3785642"/>
                <a:gd name="connsiteY238" fmla="*/ 418225 h 479077"/>
                <a:gd name="connsiteX239" fmla="*/ 70514 w 3785642"/>
                <a:gd name="connsiteY239" fmla="*/ 405823 h 479077"/>
                <a:gd name="connsiteX240" fmla="*/ 83412 w 3785642"/>
                <a:gd name="connsiteY240" fmla="*/ 395406 h 479077"/>
                <a:gd name="connsiteX241" fmla="*/ 94822 w 3785642"/>
                <a:gd name="connsiteY241" fmla="*/ 383500 h 479077"/>
                <a:gd name="connsiteX242" fmla="*/ 106728 w 3785642"/>
                <a:gd name="connsiteY242" fmla="*/ 372090 h 479077"/>
                <a:gd name="connsiteX243" fmla="*/ 117145 w 3785642"/>
                <a:gd name="connsiteY243" fmla="*/ 359688 h 479077"/>
                <a:gd name="connsiteX244" fmla="*/ 128555 w 3785642"/>
                <a:gd name="connsiteY244" fmla="*/ 348278 h 479077"/>
                <a:gd name="connsiteX245" fmla="*/ 140461 w 3785642"/>
                <a:gd name="connsiteY245" fmla="*/ 336868 h 479077"/>
                <a:gd name="connsiteX246" fmla="*/ 152863 w 3785642"/>
                <a:gd name="connsiteY246" fmla="*/ 326451 h 479077"/>
                <a:gd name="connsiteX247" fmla="*/ 164769 w 3785642"/>
                <a:gd name="connsiteY247" fmla="*/ 315041 h 479077"/>
                <a:gd name="connsiteX248" fmla="*/ 176178 w 3785642"/>
                <a:gd name="connsiteY248" fmla="*/ 303135 h 479077"/>
                <a:gd name="connsiteX249" fmla="*/ 188084 w 3785642"/>
                <a:gd name="connsiteY249" fmla="*/ 291725 h 479077"/>
                <a:gd name="connsiteX250" fmla="*/ 199494 w 3785642"/>
                <a:gd name="connsiteY250" fmla="*/ 280315 h 479077"/>
                <a:gd name="connsiteX251" fmla="*/ 210904 w 3785642"/>
                <a:gd name="connsiteY251" fmla="*/ 268906 h 479077"/>
                <a:gd name="connsiteX252" fmla="*/ 221818 w 3785642"/>
                <a:gd name="connsiteY252" fmla="*/ 256504 h 479077"/>
                <a:gd name="connsiteX253" fmla="*/ 233724 w 3785642"/>
                <a:gd name="connsiteY253" fmla="*/ 245094 h 479077"/>
                <a:gd name="connsiteX254" fmla="*/ 244141 w 3785642"/>
                <a:gd name="connsiteY254" fmla="*/ 232692 h 479077"/>
                <a:gd name="connsiteX255" fmla="*/ 257039 w 3785642"/>
                <a:gd name="connsiteY255" fmla="*/ 222770 h 479077"/>
                <a:gd name="connsiteX256" fmla="*/ 266961 w 3785642"/>
                <a:gd name="connsiteY256" fmla="*/ 209376 h 479077"/>
                <a:gd name="connsiteX257" fmla="*/ 278371 w 3785642"/>
                <a:gd name="connsiteY257" fmla="*/ 197966 h 479077"/>
                <a:gd name="connsiteX258" fmla="*/ 291269 w 3785642"/>
                <a:gd name="connsiteY258" fmla="*/ 188045 h 479077"/>
                <a:gd name="connsiteX259" fmla="*/ 301686 w 3785642"/>
                <a:gd name="connsiteY259" fmla="*/ 175147 h 479077"/>
                <a:gd name="connsiteX260" fmla="*/ 313592 w 3785642"/>
                <a:gd name="connsiteY260" fmla="*/ 163737 h 479077"/>
                <a:gd name="connsiteX261" fmla="*/ 325994 w 3785642"/>
                <a:gd name="connsiteY261" fmla="*/ 153319 h 479077"/>
                <a:gd name="connsiteX262" fmla="*/ 337404 w 3785642"/>
                <a:gd name="connsiteY262" fmla="*/ 141910 h 479077"/>
                <a:gd name="connsiteX263" fmla="*/ 347325 w 3785642"/>
                <a:gd name="connsiteY263" fmla="*/ 129012 h 479077"/>
                <a:gd name="connsiteX264" fmla="*/ 360224 w 3785642"/>
                <a:gd name="connsiteY264" fmla="*/ 118594 h 479077"/>
                <a:gd name="connsiteX265" fmla="*/ 371137 w 3785642"/>
                <a:gd name="connsiteY265" fmla="*/ 106192 h 479077"/>
                <a:gd name="connsiteX266" fmla="*/ 382051 w 3785642"/>
                <a:gd name="connsiteY266" fmla="*/ 93790 h 479077"/>
                <a:gd name="connsiteX267" fmla="*/ 393957 w 3785642"/>
                <a:gd name="connsiteY267" fmla="*/ 82380 h 479077"/>
                <a:gd name="connsiteX268" fmla="*/ 405366 w 3785642"/>
                <a:gd name="connsiteY268" fmla="*/ 70475 h 479077"/>
                <a:gd name="connsiteX269" fmla="*/ 417272 w 3785642"/>
                <a:gd name="connsiteY269" fmla="*/ 59561 h 479077"/>
                <a:gd name="connsiteX270" fmla="*/ 429674 w 3785642"/>
                <a:gd name="connsiteY270" fmla="*/ 48647 h 479077"/>
                <a:gd name="connsiteX271" fmla="*/ 440092 w 3785642"/>
                <a:gd name="connsiteY271" fmla="*/ 35749 h 479077"/>
                <a:gd name="connsiteX272" fmla="*/ 452494 w 3785642"/>
                <a:gd name="connsiteY272" fmla="*/ 24835 h 479077"/>
                <a:gd name="connsiteX273" fmla="*/ 463904 w 3785642"/>
                <a:gd name="connsiteY273" fmla="*/ 12929 h 479077"/>
                <a:gd name="connsiteX274" fmla="*/ 475313 w 3785642"/>
                <a:gd name="connsiteY274" fmla="*/ 1024 h 479077"/>
                <a:gd name="connsiteX275" fmla="*/ 491684 w 3785642"/>
                <a:gd name="connsiteY275" fmla="*/ 2512 h 479077"/>
                <a:gd name="connsiteX276" fmla="*/ 508055 w 3785642"/>
                <a:gd name="connsiteY276" fmla="*/ 2512 h 479077"/>
                <a:gd name="connsiteX277" fmla="*/ 524425 w 3785642"/>
                <a:gd name="connsiteY277" fmla="*/ 2512 h 479077"/>
                <a:gd name="connsiteX278" fmla="*/ 540796 w 3785642"/>
                <a:gd name="connsiteY278" fmla="*/ 1024 h 479077"/>
                <a:gd name="connsiteX279" fmla="*/ 557166 w 3785642"/>
                <a:gd name="connsiteY279" fmla="*/ 2512 h 479077"/>
                <a:gd name="connsiteX280" fmla="*/ 573537 w 3785642"/>
                <a:gd name="connsiteY280" fmla="*/ 1024 h 479077"/>
                <a:gd name="connsiteX281" fmla="*/ 589908 w 3785642"/>
                <a:gd name="connsiteY281" fmla="*/ 527 h 479077"/>
                <a:gd name="connsiteX282" fmla="*/ 606278 w 3785642"/>
                <a:gd name="connsiteY282" fmla="*/ 1520 h 479077"/>
                <a:gd name="connsiteX283" fmla="*/ 622649 w 3785642"/>
                <a:gd name="connsiteY283" fmla="*/ 1520 h 479077"/>
                <a:gd name="connsiteX284" fmla="*/ 639019 w 3785642"/>
                <a:gd name="connsiteY284" fmla="*/ 2016 h 479077"/>
                <a:gd name="connsiteX285" fmla="*/ 655390 w 3785642"/>
                <a:gd name="connsiteY285" fmla="*/ 527 h 479077"/>
                <a:gd name="connsiteX286" fmla="*/ 671760 w 3785642"/>
                <a:gd name="connsiteY286" fmla="*/ 1520 h 479077"/>
                <a:gd name="connsiteX287" fmla="*/ 688131 w 3785642"/>
                <a:gd name="connsiteY287" fmla="*/ 2512 h 479077"/>
                <a:gd name="connsiteX288" fmla="*/ 704501 w 3785642"/>
                <a:gd name="connsiteY288" fmla="*/ 1024 h 479077"/>
                <a:gd name="connsiteX289" fmla="*/ 720872 w 3785642"/>
                <a:gd name="connsiteY289" fmla="*/ 1520 h 479077"/>
                <a:gd name="connsiteX290" fmla="*/ 737243 w 3785642"/>
                <a:gd name="connsiteY290" fmla="*/ 2016 h 479077"/>
                <a:gd name="connsiteX291" fmla="*/ 753613 w 3785642"/>
                <a:gd name="connsiteY291" fmla="*/ 1024 h 479077"/>
                <a:gd name="connsiteX292" fmla="*/ 769984 w 3785642"/>
                <a:gd name="connsiteY292" fmla="*/ 527 h 479077"/>
                <a:gd name="connsiteX293" fmla="*/ 786354 w 3785642"/>
                <a:gd name="connsiteY293" fmla="*/ 1520 h 479077"/>
                <a:gd name="connsiteX294" fmla="*/ 802725 w 3785642"/>
                <a:gd name="connsiteY294" fmla="*/ 527 h 479077"/>
                <a:gd name="connsiteX295" fmla="*/ 819096 w 3785642"/>
                <a:gd name="connsiteY295" fmla="*/ 2512 h 479077"/>
                <a:gd name="connsiteX296" fmla="*/ 835466 w 3785642"/>
                <a:gd name="connsiteY296" fmla="*/ 527 h 479077"/>
                <a:gd name="connsiteX297" fmla="*/ 851837 w 3785642"/>
                <a:gd name="connsiteY297" fmla="*/ 1520 h 479077"/>
                <a:gd name="connsiteX298" fmla="*/ 868207 w 3785642"/>
                <a:gd name="connsiteY298" fmla="*/ 2016 h 479077"/>
                <a:gd name="connsiteX299" fmla="*/ 884578 w 3785642"/>
                <a:gd name="connsiteY299" fmla="*/ 2512 h 479077"/>
                <a:gd name="connsiteX300" fmla="*/ 900948 w 3785642"/>
                <a:gd name="connsiteY300" fmla="*/ 1520 h 479077"/>
                <a:gd name="connsiteX301" fmla="*/ 917319 w 3785642"/>
                <a:gd name="connsiteY301" fmla="*/ 1024 h 479077"/>
                <a:gd name="connsiteX302" fmla="*/ 933689 w 3785642"/>
                <a:gd name="connsiteY302" fmla="*/ 2512 h 479077"/>
                <a:gd name="connsiteX303" fmla="*/ 950060 w 3785642"/>
                <a:gd name="connsiteY303" fmla="*/ 1520 h 479077"/>
                <a:gd name="connsiteX304" fmla="*/ 966431 w 3785642"/>
                <a:gd name="connsiteY304" fmla="*/ 2016 h 479077"/>
                <a:gd name="connsiteX305" fmla="*/ 982801 w 3785642"/>
                <a:gd name="connsiteY305" fmla="*/ 2512 h 479077"/>
                <a:gd name="connsiteX306" fmla="*/ 999172 w 3785642"/>
                <a:gd name="connsiteY306" fmla="*/ 1520 h 479077"/>
                <a:gd name="connsiteX307" fmla="*/ 1015542 w 3785642"/>
                <a:gd name="connsiteY307" fmla="*/ 2512 h 479077"/>
                <a:gd name="connsiteX308" fmla="*/ 1031913 w 3785642"/>
                <a:gd name="connsiteY308" fmla="*/ 1520 h 479077"/>
                <a:gd name="connsiteX309" fmla="*/ 1048283 w 3785642"/>
                <a:gd name="connsiteY309" fmla="*/ 2016 h 479077"/>
                <a:gd name="connsiteX310" fmla="*/ 1064654 w 3785642"/>
                <a:gd name="connsiteY310" fmla="*/ 3504 h 479077"/>
                <a:gd name="connsiteX311" fmla="*/ 1081025 w 3785642"/>
                <a:gd name="connsiteY311" fmla="*/ 2016 h 479077"/>
                <a:gd name="connsiteX312" fmla="*/ 1097395 w 3785642"/>
                <a:gd name="connsiteY312" fmla="*/ 2512 h 479077"/>
                <a:gd name="connsiteX313" fmla="*/ 1113766 w 3785642"/>
                <a:gd name="connsiteY313" fmla="*/ 2512 h 479077"/>
                <a:gd name="connsiteX314" fmla="*/ 1130136 w 3785642"/>
                <a:gd name="connsiteY314" fmla="*/ 3504 h 479077"/>
                <a:gd name="connsiteX315" fmla="*/ 1146507 w 3785642"/>
                <a:gd name="connsiteY315" fmla="*/ 1520 h 479077"/>
                <a:gd name="connsiteX316" fmla="*/ 1162878 w 3785642"/>
                <a:gd name="connsiteY316" fmla="*/ 3008 h 479077"/>
                <a:gd name="connsiteX317" fmla="*/ 1179248 w 3785642"/>
                <a:gd name="connsiteY317" fmla="*/ 4000 h 479077"/>
                <a:gd name="connsiteX318" fmla="*/ 1195619 w 3785642"/>
                <a:gd name="connsiteY318" fmla="*/ 3504 h 479077"/>
                <a:gd name="connsiteX319" fmla="*/ 1211989 w 3785642"/>
                <a:gd name="connsiteY319" fmla="*/ 1520 h 479077"/>
                <a:gd name="connsiteX320" fmla="*/ 1228360 w 3785642"/>
                <a:gd name="connsiteY320" fmla="*/ 3504 h 479077"/>
                <a:gd name="connsiteX321" fmla="*/ 1244730 w 3785642"/>
                <a:gd name="connsiteY321" fmla="*/ 1520 h 479077"/>
                <a:gd name="connsiteX322" fmla="*/ 1261101 w 3785642"/>
                <a:gd name="connsiteY322" fmla="*/ 2512 h 479077"/>
                <a:gd name="connsiteX323" fmla="*/ 1277471 w 3785642"/>
                <a:gd name="connsiteY323" fmla="*/ 3504 h 479077"/>
                <a:gd name="connsiteX324" fmla="*/ 1293842 w 3785642"/>
                <a:gd name="connsiteY324" fmla="*/ 4000 h 479077"/>
                <a:gd name="connsiteX325" fmla="*/ 1310213 w 3785642"/>
                <a:gd name="connsiteY325" fmla="*/ 1520 h 479077"/>
                <a:gd name="connsiteX326" fmla="*/ 1326583 w 3785642"/>
                <a:gd name="connsiteY326" fmla="*/ 2016 h 479077"/>
                <a:gd name="connsiteX327" fmla="*/ 1342954 w 3785642"/>
                <a:gd name="connsiteY327" fmla="*/ 3008 h 479077"/>
                <a:gd name="connsiteX328" fmla="*/ 1359324 w 3785642"/>
                <a:gd name="connsiteY328" fmla="*/ 3008 h 479077"/>
                <a:gd name="connsiteX329" fmla="*/ 1375695 w 3785642"/>
                <a:gd name="connsiteY329" fmla="*/ 2512 h 479077"/>
                <a:gd name="connsiteX330" fmla="*/ 1392066 w 3785642"/>
                <a:gd name="connsiteY330" fmla="*/ 2512 h 479077"/>
                <a:gd name="connsiteX331" fmla="*/ 1408436 w 3785642"/>
                <a:gd name="connsiteY331" fmla="*/ 3504 h 479077"/>
                <a:gd name="connsiteX332" fmla="*/ 1424807 w 3785642"/>
                <a:gd name="connsiteY332" fmla="*/ 3504 h 479077"/>
                <a:gd name="connsiteX333" fmla="*/ 1441177 w 3785642"/>
                <a:gd name="connsiteY333" fmla="*/ 1520 h 479077"/>
                <a:gd name="connsiteX334" fmla="*/ 1457548 w 3785642"/>
                <a:gd name="connsiteY334" fmla="*/ 2512 h 479077"/>
                <a:gd name="connsiteX335" fmla="*/ 1473919 w 3785642"/>
                <a:gd name="connsiteY335" fmla="*/ 2016 h 479077"/>
                <a:gd name="connsiteX336" fmla="*/ 1490289 w 3785642"/>
                <a:gd name="connsiteY336" fmla="*/ 2016 h 479077"/>
                <a:gd name="connsiteX337" fmla="*/ 1506660 w 3785642"/>
                <a:gd name="connsiteY337" fmla="*/ 1520 h 479077"/>
                <a:gd name="connsiteX338" fmla="*/ 1523030 w 3785642"/>
                <a:gd name="connsiteY338" fmla="*/ 3504 h 479077"/>
                <a:gd name="connsiteX339" fmla="*/ 1539401 w 3785642"/>
                <a:gd name="connsiteY339" fmla="*/ 3008 h 479077"/>
                <a:gd name="connsiteX340" fmla="*/ 1555771 w 3785642"/>
                <a:gd name="connsiteY340" fmla="*/ 3008 h 479077"/>
                <a:gd name="connsiteX341" fmla="*/ 1572142 w 3785642"/>
                <a:gd name="connsiteY341" fmla="*/ 2512 h 479077"/>
                <a:gd name="connsiteX342" fmla="*/ 1588512 w 3785642"/>
                <a:gd name="connsiteY342" fmla="*/ 2016 h 479077"/>
                <a:gd name="connsiteX343" fmla="*/ 1604883 w 3785642"/>
                <a:gd name="connsiteY343" fmla="*/ 3008 h 479077"/>
                <a:gd name="connsiteX344" fmla="*/ 1621253 w 3785642"/>
                <a:gd name="connsiteY344" fmla="*/ 3008 h 479077"/>
                <a:gd name="connsiteX345" fmla="*/ 1637624 w 3785642"/>
                <a:gd name="connsiteY34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590187 w 3785642"/>
                <a:gd name="connsiteY16" fmla="*/ 264441 h 479077"/>
                <a:gd name="connsiteX17" fmla="*/ 3578281 w 3785642"/>
                <a:gd name="connsiteY17" fmla="*/ 253527 h 479077"/>
                <a:gd name="connsiteX18" fmla="*/ 3313375 w 3785642"/>
                <a:gd name="connsiteY18" fmla="*/ 10945 h 479077"/>
                <a:gd name="connsiteX19" fmla="*/ 3300973 w 3785642"/>
                <a:gd name="connsiteY19" fmla="*/ 21363 h 479077"/>
                <a:gd name="connsiteX20" fmla="*/ 3289068 w 3785642"/>
                <a:gd name="connsiteY20" fmla="*/ 32276 h 479077"/>
                <a:gd name="connsiteX21" fmla="*/ 3277658 w 3785642"/>
                <a:gd name="connsiteY21" fmla="*/ 43686 h 479077"/>
                <a:gd name="connsiteX22" fmla="*/ 3266248 w 3785642"/>
                <a:gd name="connsiteY22" fmla="*/ 55592 h 479077"/>
                <a:gd name="connsiteX23" fmla="*/ 3255830 w 3785642"/>
                <a:gd name="connsiteY23" fmla="*/ 68490 h 479077"/>
                <a:gd name="connsiteX24" fmla="*/ 3243924 w 3785642"/>
                <a:gd name="connsiteY24" fmla="*/ 79900 h 479077"/>
                <a:gd name="connsiteX25" fmla="*/ 3231522 w 3785642"/>
                <a:gd name="connsiteY25" fmla="*/ 90814 h 479077"/>
                <a:gd name="connsiteX26" fmla="*/ 3220609 w 3785642"/>
                <a:gd name="connsiteY26" fmla="*/ 102720 h 479077"/>
                <a:gd name="connsiteX27" fmla="*/ 3208207 w 3785642"/>
                <a:gd name="connsiteY27" fmla="*/ 113137 h 479077"/>
                <a:gd name="connsiteX28" fmla="*/ 3197293 w 3785642"/>
                <a:gd name="connsiteY28" fmla="*/ 125043 h 479077"/>
                <a:gd name="connsiteX29" fmla="*/ 3185387 w 3785642"/>
                <a:gd name="connsiteY29" fmla="*/ 136453 h 479077"/>
                <a:gd name="connsiteX30" fmla="*/ 3174970 w 3785642"/>
                <a:gd name="connsiteY30" fmla="*/ 148855 h 479077"/>
                <a:gd name="connsiteX31" fmla="*/ 3162071 w 3785642"/>
                <a:gd name="connsiteY31" fmla="*/ 159272 h 479077"/>
                <a:gd name="connsiteX32" fmla="*/ 3151158 w 3785642"/>
                <a:gd name="connsiteY32" fmla="*/ 171674 h 479077"/>
                <a:gd name="connsiteX33" fmla="*/ 3139252 w 3785642"/>
                <a:gd name="connsiteY33" fmla="*/ 182588 h 479077"/>
                <a:gd name="connsiteX34" fmla="*/ 3127843 w 3785642"/>
                <a:gd name="connsiteY34" fmla="*/ 194494 h 479077"/>
                <a:gd name="connsiteX35" fmla="*/ 3116432 w 3785642"/>
                <a:gd name="connsiteY35" fmla="*/ 205904 h 479077"/>
                <a:gd name="connsiteX36" fmla="*/ 3105022 w 3785642"/>
                <a:gd name="connsiteY36" fmla="*/ 217810 h 479077"/>
                <a:gd name="connsiteX37" fmla="*/ 3093117 w 3785642"/>
                <a:gd name="connsiteY37" fmla="*/ 229219 h 479077"/>
                <a:gd name="connsiteX38" fmla="*/ 3081707 w 3785642"/>
                <a:gd name="connsiteY38" fmla="*/ 240629 h 479077"/>
                <a:gd name="connsiteX39" fmla="*/ 3069305 w 3785642"/>
                <a:gd name="connsiteY39" fmla="*/ 251543 h 479077"/>
                <a:gd name="connsiteX40" fmla="*/ 3057895 w 3785642"/>
                <a:gd name="connsiteY40" fmla="*/ 263449 h 479077"/>
                <a:gd name="connsiteX41" fmla="*/ 3046486 w 3785642"/>
                <a:gd name="connsiteY41" fmla="*/ 275355 h 479077"/>
                <a:gd name="connsiteX42" fmla="*/ 3035572 w 3785642"/>
                <a:gd name="connsiteY42" fmla="*/ 287260 h 479077"/>
                <a:gd name="connsiteX43" fmla="*/ 3024658 w 3785642"/>
                <a:gd name="connsiteY43" fmla="*/ 299166 h 479077"/>
                <a:gd name="connsiteX44" fmla="*/ 3013248 w 3785642"/>
                <a:gd name="connsiteY44" fmla="*/ 311072 h 479077"/>
                <a:gd name="connsiteX45" fmla="*/ 3000350 w 3785642"/>
                <a:gd name="connsiteY45" fmla="*/ 321490 h 479077"/>
                <a:gd name="connsiteX46" fmla="*/ 2988941 w 3785642"/>
                <a:gd name="connsiteY46" fmla="*/ 333396 h 479077"/>
                <a:gd name="connsiteX47" fmla="*/ 2976539 w 3785642"/>
                <a:gd name="connsiteY47" fmla="*/ 344309 h 479077"/>
                <a:gd name="connsiteX48" fmla="*/ 2965129 w 3785642"/>
                <a:gd name="connsiteY48" fmla="*/ 356215 h 479077"/>
                <a:gd name="connsiteX49" fmla="*/ 2953223 w 3785642"/>
                <a:gd name="connsiteY49" fmla="*/ 367625 h 479077"/>
                <a:gd name="connsiteX50" fmla="*/ 2941813 w 3785642"/>
                <a:gd name="connsiteY50" fmla="*/ 379531 h 479077"/>
                <a:gd name="connsiteX51" fmla="*/ 2931395 w 3785642"/>
                <a:gd name="connsiteY51" fmla="*/ 392429 h 479077"/>
                <a:gd name="connsiteX52" fmla="*/ 2918497 w 3785642"/>
                <a:gd name="connsiteY52" fmla="*/ 402847 h 479077"/>
                <a:gd name="connsiteX53" fmla="*/ 2907584 w 3785642"/>
                <a:gd name="connsiteY53" fmla="*/ 415249 h 479077"/>
                <a:gd name="connsiteX54" fmla="*/ 2896174 w 3785642"/>
                <a:gd name="connsiteY54" fmla="*/ 426658 h 479077"/>
                <a:gd name="connsiteX55" fmla="*/ 2884268 w 3785642"/>
                <a:gd name="connsiteY55" fmla="*/ 438068 h 479077"/>
                <a:gd name="connsiteX56" fmla="*/ 2873354 w 3785642"/>
                <a:gd name="connsiteY56" fmla="*/ 450470 h 479077"/>
                <a:gd name="connsiteX57" fmla="*/ 2860952 w 3785642"/>
                <a:gd name="connsiteY57" fmla="*/ 461384 h 479077"/>
                <a:gd name="connsiteX58" fmla="*/ 2850039 w 3785642"/>
                <a:gd name="connsiteY58" fmla="*/ 473786 h 479077"/>
                <a:gd name="connsiteX59" fmla="*/ 2833668 w 3785642"/>
                <a:gd name="connsiteY59" fmla="*/ 473786 h 479077"/>
                <a:gd name="connsiteX60" fmla="*/ 2817297 w 3785642"/>
                <a:gd name="connsiteY60" fmla="*/ 473290 h 479077"/>
                <a:gd name="connsiteX61" fmla="*/ 2800927 w 3785642"/>
                <a:gd name="connsiteY61" fmla="*/ 473290 h 479077"/>
                <a:gd name="connsiteX62" fmla="*/ 2784556 w 3785642"/>
                <a:gd name="connsiteY62" fmla="*/ 473786 h 479077"/>
                <a:gd name="connsiteX63" fmla="*/ 2768186 w 3785642"/>
                <a:gd name="connsiteY63" fmla="*/ 474282 h 479077"/>
                <a:gd name="connsiteX64" fmla="*/ 2751815 w 3785642"/>
                <a:gd name="connsiteY64" fmla="*/ 474282 h 479077"/>
                <a:gd name="connsiteX65" fmla="*/ 2735444 w 3785642"/>
                <a:gd name="connsiteY65" fmla="*/ 473290 h 479077"/>
                <a:gd name="connsiteX66" fmla="*/ 2719074 w 3785642"/>
                <a:gd name="connsiteY66" fmla="*/ 474282 h 479077"/>
                <a:gd name="connsiteX67" fmla="*/ 2702703 w 3785642"/>
                <a:gd name="connsiteY67" fmla="*/ 472298 h 479077"/>
                <a:gd name="connsiteX68" fmla="*/ 2686333 w 3785642"/>
                <a:gd name="connsiteY68" fmla="*/ 472794 h 479077"/>
                <a:gd name="connsiteX69" fmla="*/ 2669962 w 3785642"/>
                <a:gd name="connsiteY69" fmla="*/ 474282 h 479077"/>
                <a:gd name="connsiteX70" fmla="*/ 2653592 w 3785642"/>
                <a:gd name="connsiteY70" fmla="*/ 472298 h 479077"/>
                <a:gd name="connsiteX71" fmla="*/ 2637221 w 3785642"/>
                <a:gd name="connsiteY71" fmla="*/ 474282 h 479077"/>
                <a:gd name="connsiteX72" fmla="*/ 2620851 w 3785642"/>
                <a:gd name="connsiteY72" fmla="*/ 474282 h 479077"/>
                <a:gd name="connsiteX73" fmla="*/ 2604480 w 3785642"/>
                <a:gd name="connsiteY73" fmla="*/ 472298 h 479077"/>
                <a:gd name="connsiteX74" fmla="*/ 2588109 w 3785642"/>
                <a:gd name="connsiteY74" fmla="*/ 473786 h 479077"/>
                <a:gd name="connsiteX75" fmla="*/ 2571739 w 3785642"/>
                <a:gd name="connsiteY75" fmla="*/ 472298 h 479077"/>
                <a:gd name="connsiteX76" fmla="*/ 2555368 w 3785642"/>
                <a:gd name="connsiteY76" fmla="*/ 473290 h 479077"/>
                <a:gd name="connsiteX77" fmla="*/ 2538998 w 3785642"/>
                <a:gd name="connsiteY77" fmla="*/ 474282 h 479077"/>
                <a:gd name="connsiteX78" fmla="*/ 2522627 w 3785642"/>
                <a:gd name="connsiteY78" fmla="*/ 473290 h 479077"/>
                <a:gd name="connsiteX79" fmla="*/ 2506257 w 3785642"/>
                <a:gd name="connsiteY79" fmla="*/ 474282 h 479077"/>
                <a:gd name="connsiteX80" fmla="*/ 2489886 w 3785642"/>
                <a:gd name="connsiteY80" fmla="*/ 473786 h 479077"/>
                <a:gd name="connsiteX81" fmla="*/ 2473516 w 3785642"/>
                <a:gd name="connsiteY81" fmla="*/ 474282 h 479077"/>
                <a:gd name="connsiteX82" fmla="*/ 2457145 w 3785642"/>
                <a:gd name="connsiteY82" fmla="*/ 472794 h 479077"/>
                <a:gd name="connsiteX83" fmla="*/ 2440775 w 3785642"/>
                <a:gd name="connsiteY83" fmla="*/ 472298 h 479077"/>
                <a:gd name="connsiteX84" fmla="*/ 2424404 w 3785642"/>
                <a:gd name="connsiteY84" fmla="*/ 473786 h 479077"/>
                <a:gd name="connsiteX85" fmla="*/ 2408033 w 3785642"/>
                <a:gd name="connsiteY85" fmla="*/ 472794 h 479077"/>
                <a:gd name="connsiteX86" fmla="*/ 2391663 w 3785642"/>
                <a:gd name="connsiteY86" fmla="*/ 473290 h 479077"/>
                <a:gd name="connsiteX87" fmla="*/ 2375292 w 3785642"/>
                <a:gd name="connsiteY87" fmla="*/ 473290 h 479077"/>
                <a:gd name="connsiteX88" fmla="*/ 2358922 w 3785642"/>
                <a:gd name="connsiteY88" fmla="*/ 472794 h 479077"/>
                <a:gd name="connsiteX89" fmla="*/ 2342551 w 3785642"/>
                <a:gd name="connsiteY89" fmla="*/ 472298 h 479077"/>
                <a:gd name="connsiteX90" fmla="*/ 2326180 w 3785642"/>
                <a:gd name="connsiteY90" fmla="*/ 473786 h 479077"/>
                <a:gd name="connsiteX91" fmla="*/ 2309810 w 3785642"/>
                <a:gd name="connsiteY91" fmla="*/ 473786 h 479077"/>
                <a:gd name="connsiteX92" fmla="*/ 2293439 w 3785642"/>
                <a:gd name="connsiteY92" fmla="*/ 473786 h 479077"/>
                <a:gd name="connsiteX93" fmla="*/ 2277069 w 3785642"/>
                <a:gd name="connsiteY93" fmla="*/ 472794 h 479077"/>
                <a:gd name="connsiteX94" fmla="*/ 2260698 w 3785642"/>
                <a:gd name="connsiteY94" fmla="*/ 474282 h 479077"/>
                <a:gd name="connsiteX95" fmla="*/ 2244327 w 3785642"/>
                <a:gd name="connsiteY95" fmla="*/ 472298 h 479077"/>
                <a:gd name="connsiteX96" fmla="*/ 2227957 w 3785642"/>
                <a:gd name="connsiteY96" fmla="*/ 474282 h 479077"/>
                <a:gd name="connsiteX97" fmla="*/ 2211586 w 3785642"/>
                <a:gd name="connsiteY97" fmla="*/ 473290 h 479077"/>
                <a:gd name="connsiteX98" fmla="*/ 2195216 w 3785642"/>
                <a:gd name="connsiteY98" fmla="*/ 474282 h 479077"/>
                <a:gd name="connsiteX99" fmla="*/ 2178845 w 3785642"/>
                <a:gd name="connsiteY99" fmla="*/ 472794 h 479077"/>
                <a:gd name="connsiteX100" fmla="*/ 2162474 w 3785642"/>
                <a:gd name="connsiteY100" fmla="*/ 474778 h 479077"/>
                <a:gd name="connsiteX101" fmla="*/ 2146104 w 3785642"/>
                <a:gd name="connsiteY101" fmla="*/ 473290 h 479077"/>
                <a:gd name="connsiteX102" fmla="*/ 2129733 w 3785642"/>
                <a:gd name="connsiteY102" fmla="*/ 474778 h 479077"/>
                <a:gd name="connsiteX103" fmla="*/ 2113363 w 3785642"/>
                <a:gd name="connsiteY103" fmla="*/ 474778 h 479077"/>
                <a:gd name="connsiteX104" fmla="*/ 2096992 w 3785642"/>
                <a:gd name="connsiteY104" fmla="*/ 474778 h 479077"/>
                <a:gd name="connsiteX105" fmla="*/ 2080621 w 3785642"/>
                <a:gd name="connsiteY105" fmla="*/ 474282 h 479077"/>
                <a:gd name="connsiteX106" fmla="*/ 2064251 w 3785642"/>
                <a:gd name="connsiteY106" fmla="*/ 472794 h 479077"/>
                <a:gd name="connsiteX107" fmla="*/ 2047880 w 3785642"/>
                <a:gd name="connsiteY107" fmla="*/ 474778 h 479077"/>
                <a:gd name="connsiteX108" fmla="*/ 2031510 w 3785642"/>
                <a:gd name="connsiteY108" fmla="*/ 474778 h 479077"/>
                <a:gd name="connsiteX109" fmla="*/ 2015139 w 3785642"/>
                <a:gd name="connsiteY109" fmla="*/ 474778 h 479077"/>
                <a:gd name="connsiteX110" fmla="*/ 1998769 w 3785642"/>
                <a:gd name="connsiteY110" fmla="*/ 474282 h 479077"/>
                <a:gd name="connsiteX111" fmla="*/ 1982398 w 3785642"/>
                <a:gd name="connsiteY111" fmla="*/ 473786 h 479077"/>
                <a:gd name="connsiteX112" fmla="*/ 1966028 w 3785642"/>
                <a:gd name="connsiteY112" fmla="*/ 473786 h 479077"/>
                <a:gd name="connsiteX113" fmla="*/ 1949657 w 3785642"/>
                <a:gd name="connsiteY113" fmla="*/ 472794 h 479077"/>
                <a:gd name="connsiteX114" fmla="*/ 1933287 w 3785642"/>
                <a:gd name="connsiteY114" fmla="*/ 473290 h 479077"/>
                <a:gd name="connsiteX115" fmla="*/ 1916916 w 3785642"/>
                <a:gd name="connsiteY115" fmla="*/ 474778 h 479077"/>
                <a:gd name="connsiteX116" fmla="*/ 1900546 w 3785642"/>
                <a:gd name="connsiteY116" fmla="*/ 472794 h 479077"/>
                <a:gd name="connsiteX117" fmla="*/ 1884175 w 3785642"/>
                <a:gd name="connsiteY117" fmla="*/ 473786 h 479077"/>
                <a:gd name="connsiteX118" fmla="*/ 1867804 w 3785642"/>
                <a:gd name="connsiteY118" fmla="*/ 474778 h 479077"/>
                <a:gd name="connsiteX119" fmla="*/ 1851434 w 3785642"/>
                <a:gd name="connsiteY119" fmla="*/ 474778 h 479077"/>
                <a:gd name="connsiteX120" fmla="*/ 1835063 w 3785642"/>
                <a:gd name="connsiteY120" fmla="*/ 474778 h 479077"/>
                <a:gd name="connsiteX121" fmla="*/ 1818693 w 3785642"/>
                <a:gd name="connsiteY121" fmla="*/ 474282 h 479077"/>
                <a:gd name="connsiteX122" fmla="*/ 1802322 w 3785642"/>
                <a:gd name="connsiteY122" fmla="*/ 472794 h 479077"/>
                <a:gd name="connsiteX123" fmla="*/ 1785951 w 3785642"/>
                <a:gd name="connsiteY123" fmla="*/ 473786 h 479077"/>
                <a:gd name="connsiteX124" fmla="*/ 1769581 w 3785642"/>
                <a:gd name="connsiteY124" fmla="*/ 473290 h 479077"/>
                <a:gd name="connsiteX125" fmla="*/ 1753210 w 3785642"/>
                <a:gd name="connsiteY125" fmla="*/ 472298 h 479077"/>
                <a:gd name="connsiteX126" fmla="*/ 1736840 w 3785642"/>
                <a:gd name="connsiteY126" fmla="*/ 473290 h 479077"/>
                <a:gd name="connsiteX127" fmla="*/ 1720469 w 3785642"/>
                <a:gd name="connsiteY127" fmla="*/ 474778 h 479077"/>
                <a:gd name="connsiteX128" fmla="*/ 1704098 w 3785642"/>
                <a:gd name="connsiteY128" fmla="*/ 472794 h 479077"/>
                <a:gd name="connsiteX129" fmla="*/ 1687728 w 3785642"/>
                <a:gd name="connsiteY129" fmla="*/ 474778 h 479077"/>
                <a:gd name="connsiteX130" fmla="*/ 1671357 w 3785642"/>
                <a:gd name="connsiteY130" fmla="*/ 474778 h 479077"/>
                <a:gd name="connsiteX131" fmla="*/ 1654987 w 3785642"/>
                <a:gd name="connsiteY131" fmla="*/ 472298 h 479077"/>
                <a:gd name="connsiteX132" fmla="*/ 1638616 w 3785642"/>
                <a:gd name="connsiteY132" fmla="*/ 472794 h 479077"/>
                <a:gd name="connsiteX133" fmla="*/ 1622246 w 3785642"/>
                <a:gd name="connsiteY133" fmla="*/ 473786 h 479077"/>
                <a:gd name="connsiteX134" fmla="*/ 1605875 w 3785642"/>
                <a:gd name="connsiteY134" fmla="*/ 474778 h 479077"/>
                <a:gd name="connsiteX135" fmla="*/ 1589505 w 3785642"/>
                <a:gd name="connsiteY135" fmla="*/ 473290 h 479077"/>
                <a:gd name="connsiteX136" fmla="*/ 1573134 w 3785642"/>
                <a:gd name="connsiteY136" fmla="*/ 474778 h 479077"/>
                <a:gd name="connsiteX137" fmla="*/ 1556763 w 3785642"/>
                <a:gd name="connsiteY137" fmla="*/ 472794 h 479077"/>
                <a:gd name="connsiteX138" fmla="*/ 1540393 w 3785642"/>
                <a:gd name="connsiteY138" fmla="*/ 472794 h 479077"/>
                <a:gd name="connsiteX139" fmla="*/ 1524022 w 3785642"/>
                <a:gd name="connsiteY139" fmla="*/ 474282 h 479077"/>
                <a:gd name="connsiteX140" fmla="*/ 1507652 w 3785642"/>
                <a:gd name="connsiteY140" fmla="*/ 472794 h 479077"/>
                <a:gd name="connsiteX141" fmla="*/ 1491281 w 3785642"/>
                <a:gd name="connsiteY141" fmla="*/ 474282 h 479077"/>
                <a:gd name="connsiteX142" fmla="*/ 1474910 w 3785642"/>
                <a:gd name="connsiteY142" fmla="*/ 474282 h 479077"/>
                <a:gd name="connsiteX143" fmla="*/ 1458540 w 3785642"/>
                <a:gd name="connsiteY143" fmla="*/ 472794 h 479077"/>
                <a:gd name="connsiteX144" fmla="*/ 1442169 w 3785642"/>
                <a:gd name="connsiteY144" fmla="*/ 471802 h 479077"/>
                <a:gd name="connsiteX145" fmla="*/ 1425799 w 3785642"/>
                <a:gd name="connsiteY145" fmla="*/ 472298 h 479077"/>
                <a:gd name="connsiteX146" fmla="*/ 1409428 w 3785642"/>
                <a:gd name="connsiteY146" fmla="*/ 472794 h 479077"/>
                <a:gd name="connsiteX147" fmla="*/ 1393058 w 3785642"/>
                <a:gd name="connsiteY147" fmla="*/ 473786 h 479077"/>
                <a:gd name="connsiteX148" fmla="*/ 1376687 w 3785642"/>
                <a:gd name="connsiteY148" fmla="*/ 471802 h 479077"/>
                <a:gd name="connsiteX149" fmla="*/ 1360317 w 3785642"/>
                <a:gd name="connsiteY149" fmla="*/ 473786 h 479077"/>
                <a:gd name="connsiteX150" fmla="*/ 1343946 w 3785642"/>
                <a:gd name="connsiteY150" fmla="*/ 473786 h 479077"/>
                <a:gd name="connsiteX151" fmla="*/ 1327576 w 3785642"/>
                <a:gd name="connsiteY151" fmla="*/ 472794 h 479077"/>
                <a:gd name="connsiteX152" fmla="*/ 1311205 w 3785642"/>
                <a:gd name="connsiteY152" fmla="*/ 473786 h 479077"/>
                <a:gd name="connsiteX153" fmla="*/ 1294834 w 3785642"/>
                <a:gd name="connsiteY153" fmla="*/ 473786 h 479077"/>
                <a:gd name="connsiteX154" fmla="*/ 1278464 w 3785642"/>
                <a:gd name="connsiteY154" fmla="*/ 473786 h 479077"/>
                <a:gd name="connsiteX155" fmla="*/ 1262093 w 3785642"/>
                <a:gd name="connsiteY155" fmla="*/ 473786 h 479077"/>
                <a:gd name="connsiteX156" fmla="*/ 1245723 w 3785642"/>
                <a:gd name="connsiteY156" fmla="*/ 473290 h 479077"/>
                <a:gd name="connsiteX157" fmla="*/ 1229352 w 3785642"/>
                <a:gd name="connsiteY157" fmla="*/ 472794 h 479077"/>
                <a:gd name="connsiteX158" fmla="*/ 1212981 w 3785642"/>
                <a:gd name="connsiteY158" fmla="*/ 473786 h 479077"/>
                <a:gd name="connsiteX159" fmla="*/ 1196611 w 3785642"/>
                <a:gd name="connsiteY159" fmla="*/ 472298 h 479077"/>
                <a:gd name="connsiteX160" fmla="*/ 1180240 w 3785642"/>
                <a:gd name="connsiteY160" fmla="*/ 472794 h 479077"/>
                <a:gd name="connsiteX161" fmla="*/ 1163870 w 3785642"/>
                <a:gd name="connsiteY161" fmla="*/ 472794 h 479077"/>
                <a:gd name="connsiteX162" fmla="*/ 1147499 w 3785642"/>
                <a:gd name="connsiteY162" fmla="*/ 473786 h 479077"/>
                <a:gd name="connsiteX163" fmla="*/ 1131128 w 3785642"/>
                <a:gd name="connsiteY163" fmla="*/ 473786 h 479077"/>
                <a:gd name="connsiteX164" fmla="*/ 1114758 w 3785642"/>
                <a:gd name="connsiteY164" fmla="*/ 472794 h 479077"/>
                <a:gd name="connsiteX165" fmla="*/ 1098387 w 3785642"/>
                <a:gd name="connsiteY165" fmla="*/ 473786 h 479077"/>
                <a:gd name="connsiteX166" fmla="*/ 1082017 w 3785642"/>
                <a:gd name="connsiteY166" fmla="*/ 474778 h 479077"/>
                <a:gd name="connsiteX167" fmla="*/ 1065646 w 3785642"/>
                <a:gd name="connsiteY167" fmla="*/ 474778 h 479077"/>
                <a:gd name="connsiteX168" fmla="*/ 1049276 w 3785642"/>
                <a:gd name="connsiteY168" fmla="*/ 474282 h 479077"/>
                <a:gd name="connsiteX169" fmla="*/ 1032905 w 3785642"/>
                <a:gd name="connsiteY169" fmla="*/ 473290 h 479077"/>
                <a:gd name="connsiteX170" fmla="*/ 1016535 w 3785642"/>
                <a:gd name="connsiteY170" fmla="*/ 474282 h 479077"/>
                <a:gd name="connsiteX171" fmla="*/ 1000164 w 3785642"/>
                <a:gd name="connsiteY171" fmla="*/ 474282 h 479077"/>
                <a:gd name="connsiteX172" fmla="*/ 983793 w 3785642"/>
                <a:gd name="connsiteY172" fmla="*/ 472794 h 479077"/>
                <a:gd name="connsiteX173" fmla="*/ 967423 w 3785642"/>
                <a:gd name="connsiteY173" fmla="*/ 472794 h 479077"/>
                <a:gd name="connsiteX174" fmla="*/ 951052 w 3785642"/>
                <a:gd name="connsiteY174" fmla="*/ 473786 h 479077"/>
                <a:gd name="connsiteX175" fmla="*/ 934682 w 3785642"/>
                <a:gd name="connsiteY175" fmla="*/ 474282 h 479077"/>
                <a:gd name="connsiteX176" fmla="*/ 918311 w 3785642"/>
                <a:gd name="connsiteY176" fmla="*/ 474778 h 479077"/>
                <a:gd name="connsiteX177" fmla="*/ 901940 w 3785642"/>
                <a:gd name="connsiteY177" fmla="*/ 473290 h 479077"/>
                <a:gd name="connsiteX178" fmla="*/ 885570 w 3785642"/>
                <a:gd name="connsiteY178" fmla="*/ 474778 h 479077"/>
                <a:gd name="connsiteX179" fmla="*/ 869199 w 3785642"/>
                <a:gd name="connsiteY179" fmla="*/ 474282 h 479077"/>
                <a:gd name="connsiteX180" fmla="*/ 852829 w 3785642"/>
                <a:gd name="connsiteY180" fmla="*/ 473786 h 479077"/>
                <a:gd name="connsiteX181" fmla="*/ 836458 w 3785642"/>
                <a:gd name="connsiteY181" fmla="*/ 474778 h 479077"/>
                <a:gd name="connsiteX182" fmla="*/ 820088 w 3785642"/>
                <a:gd name="connsiteY182" fmla="*/ 475274 h 479077"/>
                <a:gd name="connsiteX183" fmla="*/ 803717 w 3785642"/>
                <a:gd name="connsiteY183" fmla="*/ 473786 h 479077"/>
                <a:gd name="connsiteX184" fmla="*/ 787347 w 3785642"/>
                <a:gd name="connsiteY184" fmla="*/ 475770 h 479077"/>
                <a:gd name="connsiteX185" fmla="*/ 770976 w 3785642"/>
                <a:gd name="connsiteY185" fmla="*/ 474778 h 479077"/>
                <a:gd name="connsiteX186" fmla="*/ 754605 w 3785642"/>
                <a:gd name="connsiteY186" fmla="*/ 475274 h 479077"/>
                <a:gd name="connsiteX187" fmla="*/ 738235 w 3785642"/>
                <a:gd name="connsiteY187" fmla="*/ 473786 h 479077"/>
                <a:gd name="connsiteX188" fmla="*/ 721864 w 3785642"/>
                <a:gd name="connsiteY188" fmla="*/ 475274 h 479077"/>
                <a:gd name="connsiteX189" fmla="*/ 705494 w 3785642"/>
                <a:gd name="connsiteY189" fmla="*/ 475770 h 479077"/>
                <a:gd name="connsiteX190" fmla="*/ 689123 w 3785642"/>
                <a:gd name="connsiteY190" fmla="*/ 474282 h 479077"/>
                <a:gd name="connsiteX191" fmla="*/ 672753 w 3785642"/>
                <a:gd name="connsiteY191" fmla="*/ 475274 h 479077"/>
                <a:gd name="connsiteX192" fmla="*/ 656382 w 3785642"/>
                <a:gd name="connsiteY192" fmla="*/ 474778 h 479077"/>
                <a:gd name="connsiteX193" fmla="*/ 640011 w 3785642"/>
                <a:gd name="connsiteY193" fmla="*/ 475770 h 479077"/>
                <a:gd name="connsiteX194" fmla="*/ 623641 w 3785642"/>
                <a:gd name="connsiteY194" fmla="*/ 473786 h 479077"/>
                <a:gd name="connsiteX195" fmla="*/ 607270 w 3785642"/>
                <a:gd name="connsiteY195" fmla="*/ 474778 h 479077"/>
                <a:gd name="connsiteX196" fmla="*/ 590900 w 3785642"/>
                <a:gd name="connsiteY196" fmla="*/ 475274 h 479077"/>
                <a:gd name="connsiteX197" fmla="*/ 574529 w 3785642"/>
                <a:gd name="connsiteY197" fmla="*/ 474282 h 479077"/>
                <a:gd name="connsiteX198" fmla="*/ 558158 w 3785642"/>
                <a:gd name="connsiteY198" fmla="*/ 475274 h 479077"/>
                <a:gd name="connsiteX199" fmla="*/ 541788 w 3785642"/>
                <a:gd name="connsiteY199" fmla="*/ 475770 h 479077"/>
                <a:gd name="connsiteX200" fmla="*/ 525417 w 3785642"/>
                <a:gd name="connsiteY200" fmla="*/ 474282 h 479077"/>
                <a:gd name="connsiteX201" fmla="*/ 509047 w 3785642"/>
                <a:gd name="connsiteY201" fmla="*/ 473786 h 479077"/>
                <a:gd name="connsiteX202" fmla="*/ 492676 w 3785642"/>
                <a:gd name="connsiteY202" fmla="*/ 473786 h 479077"/>
                <a:gd name="connsiteX203" fmla="*/ 476306 w 3785642"/>
                <a:gd name="connsiteY203" fmla="*/ 474778 h 479077"/>
                <a:gd name="connsiteX204" fmla="*/ 459935 w 3785642"/>
                <a:gd name="connsiteY204" fmla="*/ 473786 h 479077"/>
                <a:gd name="connsiteX205" fmla="*/ 443565 w 3785642"/>
                <a:gd name="connsiteY205" fmla="*/ 474778 h 479077"/>
                <a:gd name="connsiteX206" fmla="*/ 427194 w 3785642"/>
                <a:gd name="connsiteY206" fmla="*/ 474282 h 479077"/>
                <a:gd name="connsiteX207" fmla="*/ 410823 w 3785642"/>
                <a:gd name="connsiteY207" fmla="*/ 473290 h 479077"/>
                <a:gd name="connsiteX208" fmla="*/ 394453 w 3785642"/>
                <a:gd name="connsiteY208" fmla="*/ 475770 h 479077"/>
                <a:gd name="connsiteX209" fmla="*/ 378082 w 3785642"/>
                <a:gd name="connsiteY209" fmla="*/ 475274 h 479077"/>
                <a:gd name="connsiteX210" fmla="*/ 361712 w 3785642"/>
                <a:gd name="connsiteY210" fmla="*/ 474778 h 479077"/>
                <a:gd name="connsiteX211" fmla="*/ 345341 w 3785642"/>
                <a:gd name="connsiteY211" fmla="*/ 476266 h 479077"/>
                <a:gd name="connsiteX212" fmla="*/ 328970 w 3785642"/>
                <a:gd name="connsiteY212" fmla="*/ 474282 h 479077"/>
                <a:gd name="connsiteX213" fmla="*/ 312600 w 3785642"/>
                <a:gd name="connsiteY213" fmla="*/ 475274 h 479077"/>
                <a:gd name="connsiteX214" fmla="*/ 296229 w 3785642"/>
                <a:gd name="connsiteY214" fmla="*/ 474282 h 479077"/>
                <a:gd name="connsiteX215" fmla="*/ 279859 w 3785642"/>
                <a:gd name="connsiteY215" fmla="*/ 475770 h 479077"/>
                <a:gd name="connsiteX216" fmla="*/ 263488 w 3785642"/>
                <a:gd name="connsiteY216" fmla="*/ 476266 h 479077"/>
                <a:gd name="connsiteX217" fmla="*/ 247118 w 3785642"/>
                <a:gd name="connsiteY217" fmla="*/ 476266 h 479077"/>
                <a:gd name="connsiteX218" fmla="*/ 230747 w 3785642"/>
                <a:gd name="connsiteY218" fmla="*/ 474778 h 479077"/>
                <a:gd name="connsiteX219" fmla="*/ 214376 w 3785642"/>
                <a:gd name="connsiteY219" fmla="*/ 474778 h 479077"/>
                <a:gd name="connsiteX220" fmla="*/ 198006 w 3785642"/>
                <a:gd name="connsiteY220" fmla="*/ 476762 h 479077"/>
                <a:gd name="connsiteX221" fmla="*/ 181635 w 3785642"/>
                <a:gd name="connsiteY221" fmla="*/ 476266 h 479077"/>
                <a:gd name="connsiteX222" fmla="*/ 165265 w 3785642"/>
                <a:gd name="connsiteY222" fmla="*/ 474778 h 479077"/>
                <a:gd name="connsiteX223" fmla="*/ 148894 w 3785642"/>
                <a:gd name="connsiteY223" fmla="*/ 476762 h 479077"/>
                <a:gd name="connsiteX224" fmla="*/ 132524 w 3785642"/>
                <a:gd name="connsiteY224" fmla="*/ 476266 h 479077"/>
                <a:gd name="connsiteX225" fmla="*/ 116153 w 3785642"/>
                <a:gd name="connsiteY225" fmla="*/ 475274 h 479077"/>
                <a:gd name="connsiteX226" fmla="*/ 99783 w 3785642"/>
                <a:gd name="connsiteY226" fmla="*/ 475274 h 479077"/>
                <a:gd name="connsiteX227" fmla="*/ 83412 w 3785642"/>
                <a:gd name="connsiteY227" fmla="*/ 475274 h 479077"/>
                <a:gd name="connsiteX228" fmla="*/ 67041 w 3785642"/>
                <a:gd name="connsiteY228" fmla="*/ 474778 h 479077"/>
                <a:gd name="connsiteX229" fmla="*/ 50671 w 3785642"/>
                <a:gd name="connsiteY229" fmla="*/ 475274 h 479077"/>
                <a:gd name="connsiteX230" fmla="*/ 34300 w 3785642"/>
                <a:gd name="connsiteY230" fmla="*/ 475274 h 479077"/>
                <a:gd name="connsiteX231" fmla="*/ 17930 w 3785642"/>
                <a:gd name="connsiteY231" fmla="*/ 475770 h 479077"/>
                <a:gd name="connsiteX232" fmla="*/ 567 w 3785642"/>
                <a:gd name="connsiteY232" fmla="*/ 475770 h 479077"/>
                <a:gd name="connsiteX233" fmla="*/ 12969 w 3785642"/>
                <a:gd name="connsiteY233" fmla="*/ 463368 h 479077"/>
                <a:gd name="connsiteX234" fmla="*/ 24379 w 3785642"/>
                <a:gd name="connsiteY234" fmla="*/ 451958 h 479077"/>
                <a:gd name="connsiteX235" fmla="*/ 35788 w 3785642"/>
                <a:gd name="connsiteY235" fmla="*/ 440053 h 479077"/>
                <a:gd name="connsiteX236" fmla="*/ 48686 w 3785642"/>
                <a:gd name="connsiteY236" fmla="*/ 430131 h 479077"/>
                <a:gd name="connsiteX237" fmla="*/ 59600 w 3785642"/>
                <a:gd name="connsiteY237" fmla="*/ 418225 h 479077"/>
                <a:gd name="connsiteX238" fmla="*/ 70514 w 3785642"/>
                <a:gd name="connsiteY238" fmla="*/ 405823 h 479077"/>
                <a:gd name="connsiteX239" fmla="*/ 83412 w 3785642"/>
                <a:gd name="connsiteY239" fmla="*/ 395406 h 479077"/>
                <a:gd name="connsiteX240" fmla="*/ 94822 w 3785642"/>
                <a:gd name="connsiteY240" fmla="*/ 383500 h 479077"/>
                <a:gd name="connsiteX241" fmla="*/ 106728 w 3785642"/>
                <a:gd name="connsiteY241" fmla="*/ 372090 h 479077"/>
                <a:gd name="connsiteX242" fmla="*/ 117145 w 3785642"/>
                <a:gd name="connsiteY242" fmla="*/ 359688 h 479077"/>
                <a:gd name="connsiteX243" fmla="*/ 128555 w 3785642"/>
                <a:gd name="connsiteY243" fmla="*/ 348278 h 479077"/>
                <a:gd name="connsiteX244" fmla="*/ 140461 w 3785642"/>
                <a:gd name="connsiteY244" fmla="*/ 336868 h 479077"/>
                <a:gd name="connsiteX245" fmla="*/ 152863 w 3785642"/>
                <a:gd name="connsiteY245" fmla="*/ 326451 h 479077"/>
                <a:gd name="connsiteX246" fmla="*/ 164769 w 3785642"/>
                <a:gd name="connsiteY246" fmla="*/ 315041 h 479077"/>
                <a:gd name="connsiteX247" fmla="*/ 176178 w 3785642"/>
                <a:gd name="connsiteY247" fmla="*/ 303135 h 479077"/>
                <a:gd name="connsiteX248" fmla="*/ 188084 w 3785642"/>
                <a:gd name="connsiteY248" fmla="*/ 291725 h 479077"/>
                <a:gd name="connsiteX249" fmla="*/ 199494 w 3785642"/>
                <a:gd name="connsiteY249" fmla="*/ 280315 h 479077"/>
                <a:gd name="connsiteX250" fmla="*/ 210904 w 3785642"/>
                <a:gd name="connsiteY250" fmla="*/ 268906 h 479077"/>
                <a:gd name="connsiteX251" fmla="*/ 221818 w 3785642"/>
                <a:gd name="connsiteY251" fmla="*/ 256504 h 479077"/>
                <a:gd name="connsiteX252" fmla="*/ 233724 w 3785642"/>
                <a:gd name="connsiteY252" fmla="*/ 245094 h 479077"/>
                <a:gd name="connsiteX253" fmla="*/ 244141 w 3785642"/>
                <a:gd name="connsiteY253" fmla="*/ 232692 h 479077"/>
                <a:gd name="connsiteX254" fmla="*/ 257039 w 3785642"/>
                <a:gd name="connsiteY254" fmla="*/ 222770 h 479077"/>
                <a:gd name="connsiteX255" fmla="*/ 266961 w 3785642"/>
                <a:gd name="connsiteY255" fmla="*/ 209376 h 479077"/>
                <a:gd name="connsiteX256" fmla="*/ 278371 w 3785642"/>
                <a:gd name="connsiteY256" fmla="*/ 197966 h 479077"/>
                <a:gd name="connsiteX257" fmla="*/ 291269 w 3785642"/>
                <a:gd name="connsiteY257" fmla="*/ 188045 h 479077"/>
                <a:gd name="connsiteX258" fmla="*/ 301686 w 3785642"/>
                <a:gd name="connsiteY258" fmla="*/ 175147 h 479077"/>
                <a:gd name="connsiteX259" fmla="*/ 313592 w 3785642"/>
                <a:gd name="connsiteY259" fmla="*/ 163737 h 479077"/>
                <a:gd name="connsiteX260" fmla="*/ 325994 w 3785642"/>
                <a:gd name="connsiteY260" fmla="*/ 153319 h 479077"/>
                <a:gd name="connsiteX261" fmla="*/ 337404 w 3785642"/>
                <a:gd name="connsiteY261" fmla="*/ 141910 h 479077"/>
                <a:gd name="connsiteX262" fmla="*/ 347325 w 3785642"/>
                <a:gd name="connsiteY262" fmla="*/ 129012 h 479077"/>
                <a:gd name="connsiteX263" fmla="*/ 360224 w 3785642"/>
                <a:gd name="connsiteY263" fmla="*/ 118594 h 479077"/>
                <a:gd name="connsiteX264" fmla="*/ 371137 w 3785642"/>
                <a:gd name="connsiteY264" fmla="*/ 106192 h 479077"/>
                <a:gd name="connsiteX265" fmla="*/ 382051 w 3785642"/>
                <a:gd name="connsiteY265" fmla="*/ 93790 h 479077"/>
                <a:gd name="connsiteX266" fmla="*/ 393957 w 3785642"/>
                <a:gd name="connsiteY266" fmla="*/ 82380 h 479077"/>
                <a:gd name="connsiteX267" fmla="*/ 405366 w 3785642"/>
                <a:gd name="connsiteY267" fmla="*/ 70475 h 479077"/>
                <a:gd name="connsiteX268" fmla="*/ 417272 w 3785642"/>
                <a:gd name="connsiteY268" fmla="*/ 59561 h 479077"/>
                <a:gd name="connsiteX269" fmla="*/ 429674 w 3785642"/>
                <a:gd name="connsiteY269" fmla="*/ 48647 h 479077"/>
                <a:gd name="connsiteX270" fmla="*/ 440092 w 3785642"/>
                <a:gd name="connsiteY270" fmla="*/ 35749 h 479077"/>
                <a:gd name="connsiteX271" fmla="*/ 452494 w 3785642"/>
                <a:gd name="connsiteY271" fmla="*/ 24835 h 479077"/>
                <a:gd name="connsiteX272" fmla="*/ 463904 w 3785642"/>
                <a:gd name="connsiteY272" fmla="*/ 12929 h 479077"/>
                <a:gd name="connsiteX273" fmla="*/ 475313 w 3785642"/>
                <a:gd name="connsiteY273" fmla="*/ 1024 h 479077"/>
                <a:gd name="connsiteX274" fmla="*/ 491684 w 3785642"/>
                <a:gd name="connsiteY274" fmla="*/ 2512 h 479077"/>
                <a:gd name="connsiteX275" fmla="*/ 508055 w 3785642"/>
                <a:gd name="connsiteY275" fmla="*/ 2512 h 479077"/>
                <a:gd name="connsiteX276" fmla="*/ 524425 w 3785642"/>
                <a:gd name="connsiteY276" fmla="*/ 2512 h 479077"/>
                <a:gd name="connsiteX277" fmla="*/ 540796 w 3785642"/>
                <a:gd name="connsiteY277" fmla="*/ 1024 h 479077"/>
                <a:gd name="connsiteX278" fmla="*/ 557166 w 3785642"/>
                <a:gd name="connsiteY278" fmla="*/ 2512 h 479077"/>
                <a:gd name="connsiteX279" fmla="*/ 573537 w 3785642"/>
                <a:gd name="connsiteY279" fmla="*/ 1024 h 479077"/>
                <a:gd name="connsiteX280" fmla="*/ 589908 w 3785642"/>
                <a:gd name="connsiteY280" fmla="*/ 527 h 479077"/>
                <a:gd name="connsiteX281" fmla="*/ 606278 w 3785642"/>
                <a:gd name="connsiteY281" fmla="*/ 1520 h 479077"/>
                <a:gd name="connsiteX282" fmla="*/ 622649 w 3785642"/>
                <a:gd name="connsiteY282" fmla="*/ 1520 h 479077"/>
                <a:gd name="connsiteX283" fmla="*/ 639019 w 3785642"/>
                <a:gd name="connsiteY283" fmla="*/ 2016 h 479077"/>
                <a:gd name="connsiteX284" fmla="*/ 655390 w 3785642"/>
                <a:gd name="connsiteY284" fmla="*/ 527 h 479077"/>
                <a:gd name="connsiteX285" fmla="*/ 671760 w 3785642"/>
                <a:gd name="connsiteY285" fmla="*/ 1520 h 479077"/>
                <a:gd name="connsiteX286" fmla="*/ 688131 w 3785642"/>
                <a:gd name="connsiteY286" fmla="*/ 2512 h 479077"/>
                <a:gd name="connsiteX287" fmla="*/ 704501 w 3785642"/>
                <a:gd name="connsiteY287" fmla="*/ 1024 h 479077"/>
                <a:gd name="connsiteX288" fmla="*/ 720872 w 3785642"/>
                <a:gd name="connsiteY288" fmla="*/ 1520 h 479077"/>
                <a:gd name="connsiteX289" fmla="*/ 737243 w 3785642"/>
                <a:gd name="connsiteY289" fmla="*/ 2016 h 479077"/>
                <a:gd name="connsiteX290" fmla="*/ 753613 w 3785642"/>
                <a:gd name="connsiteY290" fmla="*/ 1024 h 479077"/>
                <a:gd name="connsiteX291" fmla="*/ 769984 w 3785642"/>
                <a:gd name="connsiteY291" fmla="*/ 527 h 479077"/>
                <a:gd name="connsiteX292" fmla="*/ 786354 w 3785642"/>
                <a:gd name="connsiteY292" fmla="*/ 1520 h 479077"/>
                <a:gd name="connsiteX293" fmla="*/ 802725 w 3785642"/>
                <a:gd name="connsiteY293" fmla="*/ 527 h 479077"/>
                <a:gd name="connsiteX294" fmla="*/ 819096 w 3785642"/>
                <a:gd name="connsiteY294" fmla="*/ 2512 h 479077"/>
                <a:gd name="connsiteX295" fmla="*/ 835466 w 3785642"/>
                <a:gd name="connsiteY295" fmla="*/ 527 h 479077"/>
                <a:gd name="connsiteX296" fmla="*/ 851837 w 3785642"/>
                <a:gd name="connsiteY296" fmla="*/ 1520 h 479077"/>
                <a:gd name="connsiteX297" fmla="*/ 868207 w 3785642"/>
                <a:gd name="connsiteY297" fmla="*/ 2016 h 479077"/>
                <a:gd name="connsiteX298" fmla="*/ 884578 w 3785642"/>
                <a:gd name="connsiteY298" fmla="*/ 2512 h 479077"/>
                <a:gd name="connsiteX299" fmla="*/ 900948 w 3785642"/>
                <a:gd name="connsiteY299" fmla="*/ 1520 h 479077"/>
                <a:gd name="connsiteX300" fmla="*/ 917319 w 3785642"/>
                <a:gd name="connsiteY300" fmla="*/ 1024 h 479077"/>
                <a:gd name="connsiteX301" fmla="*/ 933689 w 3785642"/>
                <a:gd name="connsiteY301" fmla="*/ 2512 h 479077"/>
                <a:gd name="connsiteX302" fmla="*/ 950060 w 3785642"/>
                <a:gd name="connsiteY302" fmla="*/ 1520 h 479077"/>
                <a:gd name="connsiteX303" fmla="*/ 966431 w 3785642"/>
                <a:gd name="connsiteY303" fmla="*/ 2016 h 479077"/>
                <a:gd name="connsiteX304" fmla="*/ 982801 w 3785642"/>
                <a:gd name="connsiteY304" fmla="*/ 2512 h 479077"/>
                <a:gd name="connsiteX305" fmla="*/ 999172 w 3785642"/>
                <a:gd name="connsiteY305" fmla="*/ 1520 h 479077"/>
                <a:gd name="connsiteX306" fmla="*/ 1015542 w 3785642"/>
                <a:gd name="connsiteY306" fmla="*/ 2512 h 479077"/>
                <a:gd name="connsiteX307" fmla="*/ 1031913 w 3785642"/>
                <a:gd name="connsiteY307" fmla="*/ 1520 h 479077"/>
                <a:gd name="connsiteX308" fmla="*/ 1048283 w 3785642"/>
                <a:gd name="connsiteY308" fmla="*/ 2016 h 479077"/>
                <a:gd name="connsiteX309" fmla="*/ 1064654 w 3785642"/>
                <a:gd name="connsiteY309" fmla="*/ 3504 h 479077"/>
                <a:gd name="connsiteX310" fmla="*/ 1081025 w 3785642"/>
                <a:gd name="connsiteY310" fmla="*/ 2016 h 479077"/>
                <a:gd name="connsiteX311" fmla="*/ 1097395 w 3785642"/>
                <a:gd name="connsiteY311" fmla="*/ 2512 h 479077"/>
                <a:gd name="connsiteX312" fmla="*/ 1113766 w 3785642"/>
                <a:gd name="connsiteY312" fmla="*/ 2512 h 479077"/>
                <a:gd name="connsiteX313" fmla="*/ 1130136 w 3785642"/>
                <a:gd name="connsiteY313" fmla="*/ 3504 h 479077"/>
                <a:gd name="connsiteX314" fmla="*/ 1146507 w 3785642"/>
                <a:gd name="connsiteY314" fmla="*/ 1520 h 479077"/>
                <a:gd name="connsiteX315" fmla="*/ 1162878 w 3785642"/>
                <a:gd name="connsiteY315" fmla="*/ 3008 h 479077"/>
                <a:gd name="connsiteX316" fmla="*/ 1179248 w 3785642"/>
                <a:gd name="connsiteY316" fmla="*/ 4000 h 479077"/>
                <a:gd name="connsiteX317" fmla="*/ 1195619 w 3785642"/>
                <a:gd name="connsiteY317" fmla="*/ 3504 h 479077"/>
                <a:gd name="connsiteX318" fmla="*/ 1211989 w 3785642"/>
                <a:gd name="connsiteY318" fmla="*/ 1520 h 479077"/>
                <a:gd name="connsiteX319" fmla="*/ 1228360 w 3785642"/>
                <a:gd name="connsiteY319" fmla="*/ 3504 h 479077"/>
                <a:gd name="connsiteX320" fmla="*/ 1244730 w 3785642"/>
                <a:gd name="connsiteY320" fmla="*/ 1520 h 479077"/>
                <a:gd name="connsiteX321" fmla="*/ 1261101 w 3785642"/>
                <a:gd name="connsiteY321" fmla="*/ 2512 h 479077"/>
                <a:gd name="connsiteX322" fmla="*/ 1277471 w 3785642"/>
                <a:gd name="connsiteY322" fmla="*/ 3504 h 479077"/>
                <a:gd name="connsiteX323" fmla="*/ 1293842 w 3785642"/>
                <a:gd name="connsiteY323" fmla="*/ 4000 h 479077"/>
                <a:gd name="connsiteX324" fmla="*/ 1310213 w 3785642"/>
                <a:gd name="connsiteY324" fmla="*/ 1520 h 479077"/>
                <a:gd name="connsiteX325" fmla="*/ 1326583 w 3785642"/>
                <a:gd name="connsiteY325" fmla="*/ 2016 h 479077"/>
                <a:gd name="connsiteX326" fmla="*/ 1342954 w 3785642"/>
                <a:gd name="connsiteY326" fmla="*/ 3008 h 479077"/>
                <a:gd name="connsiteX327" fmla="*/ 1359324 w 3785642"/>
                <a:gd name="connsiteY327" fmla="*/ 3008 h 479077"/>
                <a:gd name="connsiteX328" fmla="*/ 1375695 w 3785642"/>
                <a:gd name="connsiteY328" fmla="*/ 2512 h 479077"/>
                <a:gd name="connsiteX329" fmla="*/ 1392066 w 3785642"/>
                <a:gd name="connsiteY329" fmla="*/ 2512 h 479077"/>
                <a:gd name="connsiteX330" fmla="*/ 1408436 w 3785642"/>
                <a:gd name="connsiteY330" fmla="*/ 3504 h 479077"/>
                <a:gd name="connsiteX331" fmla="*/ 1424807 w 3785642"/>
                <a:gd name="connsiteY331" fmla="*/ 3504 h 479077"/>
                <a:gd name="connsiteX332" fmla="*/ 1441177 w 3785642"/>
                <a:gd name="connsiteY332" fmla="*/ 1520 h 479077"/>
                <a:gd name="connsiteX333" fmla="*/ 1457548 w 3785642"/>
                <a:gd name="connsiteY333" fmla="*/ 2512 h 479077"/>
                <a:gd name="connsiteX334" fmla="*/ 1473919 w 3785642"/>
                <a:gd name="connsiteY334" fmla="*/ 2016 h 479077"/>
                <a:gd name="connsiteX335" fmla="*/ 1490289 w 3785642"/>
                <a:gd name="connsiteY335" fmla="*/ 2016 h 479077"/>
                <a:gd name="connsiteX336" fmla="*/ 1506660 w 3785642"/>
                <a:gd name="connsiteY336" fmla="*/ 1520 h 479077"/>
                <a:gd name="connsiteX337" fmla="*/ 1523030 w 3785642"/>
                <a:gd name="connsiteY337" fmla="*/ 3504 h 479077"/>
                <a:gd name="connsiteX338" fmla="*/ 1539401 w 3785642"/>
                <a:gd name="connsiteY338" fmla="*/ 3008 h 479077"/>
                <a:gd name="connsiteX339" fmla="*/ 1555771 w 3785642"/>
                <a:gd name="connsiteY339" fmla="*/ 3008 h 479077"/>
                <a:gd name="connsiteX340" fmla="*/ 1572142 w 3785642"/>
                <a:gd name="connsiteY340" fmla="*/ 2512 h 479077"/>
                <a:gd name="connsiteX341" fmla="*/ 1588512 w 3785642"/>
                <a:gd name="connsiteY341" fmla="*/ 2016 h 479077"/>
                <a:gd name="connsiteX342" fmla="*/ 1604883 w 3785642"/>
                <a:gd name="connsiteY342" fmla="*/ 3008 h 479077"/>
                <a:gd name="connsiteX343" fmla="*/ 1621253 w 3785642"/>
                <a:gd name="connsiteY343" fmla="*/ 3008 h 479077"/>
                <a:gd name="connsiteX344" fmla="*/ 1637624 w 3785642"/>
                <a:gd name="connsiteY34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590187 w 3785642"/>
                <a:gd name="connsiteY16" fmla="*/ 264441 h 479077"/>
                <a:gd name="connsiteX17" fmla="*/ 3313375 w 3785642"/>
                <a:gd name="connsiteY17" fmla="*/ 10945 h 479077"/>
                <a:gd name="connsiteX18" fmla="*/ 3300973 w 3785642"/>
                <a:gd name="connsiteY18" fmla="*/ 21363 h 479077"/>
                <a:gd name="connsiteX19" fmla="*/ 3289068 w 3785642"/>
                <a:gd name="connsiteY19" fmla="*/ 32276 h 479077"/>
                <a:gd name="connsiteX20" fmla="*/ 3277658 w 3785642"/>
                <a:gd name="connsiteY20" fmla="*/ 43686 h 479077"/>
                <a:gd name="connsiteX21" fmla="*/ 3266248 w 3785642"/>
                <a:gd name="connsiteY21" fmla="*/ 55592 h 479077"/>
                <a:gd name="connsiteX22" fmla="*/ 3255830 w 3785642"/>
                <a:gd name="connsiteY22" fmla="*/ 68490 h 479077"/>
                <a:gd name="connsiteX23" fmla="*/ 3243924 w 3785642"/>
                <a:gd name="connsiteY23" fmla="*/ 79900 h 479077"/>
                <a:gd name="connsiteX24" fmla="*/ 3231522 w 3785642"/>
                <a:gd name="connsiteY24" fmla="*/ 90814 h 479077"/>
                <a:gd name="connsiteX25" fmla="*/ 3220609 w 3785642"/>
                <a:gd name="connsiteY25" fmla="*/ 102720 h 479077"/>
                <a:gd name="connsiteX26" fmla="*/ 3208207 w 3785642"/>
                <a:gd name="connsiteY26" fmla="*/ 113137 h 479077"/>
                <a:gd name="connsiteX27" fmla="*/ 3197293 w 3785642"/>
                <a:gd name="connsiteY27" fmla="*/ 125043 h 479077"/>
                <a:gd name="connsiteX28" fmla="*/ 3185387 w 3785642"/>
                <a:gd name="connsiteY28" fmla="*/ 136453 h 479077"/>
                <a:gd name="connsiteX29" fmla="*/ 3174970 w 3785642"/>
                <a:gd name="connsiteY29" fmla="*/ 148855 h 479077"/>
                <a:gd name="connsiteX30" fmla="*/ 3162071 w 3785642"/>
                <a:gd name="connsiteY30" fmla="*/ 159272 h 479077"/>
                <a:gd name="connsiteX31" fmla="*/ 3151158 w 3785642"/>
                <a:gd name="connsiteY31" fmla="*/ 171674 h 479077"/>
                <a:gd name="connsiteX32" fmla="*/ 3139252 w 3785642"/>
                <a:gd name="connsiteY32" fmla="*/ 182588 h 479077"/>
                <a:gd name="connsiteX33" fmla="*/ 3127843 w 3785642"/>
                <a:gd name="connsiteY33" fmla="*/ 194494 h 479077"/>
                <a:gd name="connsiteX34" fmla="*/ 3116432 w 3785642"/>
                <a:gd name="connsiteY34" fmla="*/ 205904 h 479077"/>
                <a:gd name="connsiteX35" fmla="*/ 3105022 w 3785642"/>
                <a:gd name="connsiteY35" fmla="*/ 217810 h 479077"/>
                <a:gd name="connsiteX36" fmla="*/ 3093117 w 3785642"/>
                <a:gd name="connsiteY36" fmla="*/ 229219 h 479077"/>
                <a:gd name="connsiteX37" fmla="*/ 3081707 w 3785642"/>
                <a:gd name="connsiteY37" fmla="*/ 240629 h 479077"/>
                <a:gd name="connsiteX38" fmla="*/ 3069305 w 3785642"/>
                <a:gd name="connsiteY38" fmla="*/ 251543 h 479077"/>
                <a:gd name="connsiteX39" fmla="*/ 3057895 w 3785642"/>
                <a:gd name="connsiteY39" fmla="*/ 263449 h 479077"/>
                <a:gd name="connsiteX40" fmla="*/ 3046486 w 3785642"/>
                <a:gd name="connsiteY40" fmla="*/ 275355 h 479077"/>
                <a:gd name="connsiteX41" fmla="*/ 3035572 w 3785642"/>
                <a:gd name="connsiteY41" fmla="*/ 287260 h 479077"/>
                <a:gd name="connsiteX42" fmla="*/ 3024658 w 3785642"/>
                <a:gd name="connsiteY42" fmla="*/ 299166 h 479077"/>
                <a:gd name="connsiteX43" fmla="*/ 3013248 w 3785642"/>
                <a:gd name="connsiteY43" fmla="*/ 311072 h 479077"/>
                <a:gd name="connsiteX44" fmla="*/ 3000350 w 3785642"/>
                <a:gd name="connsiteY44" fmla="*/ 321490 h 479077"/>
                <a:gd name="connsiteX45" fmla="*/ 2988941 w 3785642"/>
                <a:gd name="connsiteY45" fmla="*/ 333396 h 479077"/>
                <a:gd name="connsiteX46" fmla="*/ 2976539 w 3785642"/>
                <a:gd name="connsiteY46" fmla="*/ 344309 h 479077"/>
                <a:gd name="connsiteX47" fmla="*/ 2965129 w 3785642"/>
                <a:gd name="connsiteY47" fmla="*/ 356215 h 479077"/>
                <a:gd name="connsiteX48" fmla="*/ 2953223 w 3785642"/>
                <a:gd name="connsiteY48" fmla="*/ 367625 h 479077"/>
                <a:gd name="connsiteX49" fmla="*/ 2941813 w 3785642"/>
                <a:gd name="connsiteY49" fmla="*/ 379531 h 479077"/>
                <a:gd name="connsiteX50" fmla="*/ 2931395 w 3785642"/>
                <a:gd name="connsiteY50" fmla="*/ 392429 h 479077"/>
                <a:gd name="connsiteX51" fmla="*/ 2918497 w 3785642"/>
                <a:gd name="connsiteY51" fmla="*/ 402847 h 479077"/>
                <a:gd name="connsiteX52" fmla="*/ 2907584 w 3785642"/>
                <a:gd name="connsiteY52" fmla="*/ 415249 h 479077"/>
                <a:gd name="connsiteX53" fmla="*/ 2896174 w 3785642"/>
                <a:gd name="connsiteY53" fmla="*/ 426658 h 479077"/>
                <a:gd name="connsiteX54" fmla="*/ 2884268 w 3785642"/>
                <a:gd name="connsiteY54" fmla="*/ 438068 h 479077"/>
                <a:gd name="connsiteX55" fmla="*/ 2873354 w 3785642"/>
                <a:gd name="connsiteY55" fmla="*/ 450470 h 479077"/>
                <a:gd name="connsiteX56" fmla="*/ 2860952 w 3785642"/>
                <a:gd name="connsiteY56" fmla="*/ 461384 h 479077"/>
                <a:gd name="connsiteX57" fmla="*/ 2850039 w 3785642"/>
                <a:gd name="connsiteY57" fmla="*/ 473786 h 479077"/>
                <a:gd name="connsiteX58" fmla="*/ 2833668 w 3785642"/>
                <a:gd name="connsiteY58" fmla="*/ 473786 h 479077"/>
                <a:gd name="connsiteX59" fmla="*/ 2817297 w 3785642"/>
                <a:gd name="connsiteY59" fmla="*/ 473290 h 479077"/>
                <a:gd name="connsiteX60" fmla="*/ 2800927 w 3785642"/>
                <a:gd name="connsiteY60" fmla="*/ 473290 h 479077"/>
                <a:gd name="connsiteX61" fmla="*/ 2784556 w 3785642"/>
                <a:gd name="connsiteY61" fmla="*/ 473786 h 479077"/>
                <a:gd name="connsiteX62" fmla="*/ 2768186 w 3785642"/>
                <a:gd name="connsiteY62" fmla="*/ 474282 h 479077"/>
                <a:gd name="connsiteX63" fmla="*/ 2751815 w 3785642"/>
                <a:gd name="connsiteY63" fmla="*/ 474282 h 479077"/>
                <a:gd name="connsiteX64" fmla="*/ 2735444 w 3785642"/>
                <a:gd name="connsiteY64" fmla="*/ 473290 h 479077"/>
                <a:gd name="connsiteX65" fmla="*/ 2719074 w 3785642"/>
                <a:gd name="connsiteY65" fmla="*/ 474282 h 479077"/>
                <a:gd name="connsiteX66" fmla="*/ 2702703 w 3785642"/>
                <a:gd name="connsiteY66" fmla="*/ 472298 h 479077"/>
                <a:gd name="connsiteX67" fmla="*/ 2686333 w 3785642"/>
                <a:gd name="connsiteY67" fmla="*/ 472794 h 479077"/>
                <a:gd name="connsiteX68" fmla="*/ 2669962 w 3785642"/>
                <a:gd name="connsiteY68" fmla="*/ 474282 h 479077"/>
                <a:gd name="connsiteX69" fmla="*/ 2653592 w 3785642"/>
                <a:gd name="connsiteY69" fmla="*/ 472298 h 479077"/>
                <a:gd name="connsiteX70" fmla="*/ 2637221 w 3785642"/>
                <a:gd name="connsiteY70" fmla="*/ 474282 h 479077"/>
                <a:gd name="connsiteX71" fmla="*/ 2620851 w 3785642"/>
                <a:gd name="connsiteY71" fmla="*/ 474282 h 479077"/>
                <a:gd name="connsiteX72" fmla="*/ 2604480 w 3785642"/>
                <a:gd name="connsiteY72" fmla="*/ 472298 h 479077"/>
                <a:gd name="connsiteX73" fmla="*/ 2588109 w 3785642"/>
                <a:gd name="connsiteY73" fmla="*/ 473786 h 479077"/>
                <a:gd name="connsiteX74" fmla="*/ 2571739 w 3785642"/>
                <a:gd name="connsiteY74" fmla="*/ 472298 h 479077"/>
                <a:gd name="connsiteX75" fmla="*/ 2555368 w 3785642"/>
                <a:gd name="connsiteY75" fmla="*/ 473290 h 479077"/>
                <a:gd name="connsiteX76" fmla="*/ 2538998 w 3785642"/>
                <a:gd name="connsiteY76" fmla="*/ 474282 h 479077"/>
                <a:gd name="connsiteX77" fmla="*/ 2522627 w 3785642"/>
                <a:gd name="connsiteY77" fmla="*/ 473290 h 479077"/>
                <a:gd name="connsiteX78" fmla="*/ 2506257 w 3785642"/>
                <a:gd name="connsiteY78" fmla="*/ 474282 h 479077"/>
                <a:gd name="connsiteX79" fmla="*/ 2489886 w 3785642"/>
                <a:gd name="connsiteY79" fmla="*/ 473786 h 479077"/>
                <a:gd name="connsiteX80" fmla="*/ 2473516 w 3785642"/>
                <a:gd name="connsiteY80" fmla="*/ 474282 h 479077"/>
                <a:gd name="connsiteX81" fmla="*/ 2457145 w 3785642"/>
                <a:gd name="connsiteY81" fmla="*/ 472794 h 479077"/>
                <a:gd name="connsiteX82" fmla="*/ 2440775 w 3785642"/>
                <a:gd name="connsiteY82" fmla="*/ 472298 h 479077"/>
                <a:gd name="connsiteX83" fmla="*/ 2424404 w 3785642"/>
                <a:gd name="connsiteY83" fmla="*/ 473786 h 479077"/>
                <a:gd name="connsiteX84" fmla="*/ 2408033 w 3785642"/>
                <a:gd name="connsiteY84" fmla="*/ 472794 h 479077"/>
                <a:gd name="connsiteX85" fmla="*/ 2391663 w 3785642"/>
                <a:gd name="connsiteY85" fmla="*/ 473290 h 479077"/>
                <a:gd name="connsiteX86" fmla="*/ 2375292 w 3785642"/>
                <a:gd name="connsiteY86" fmla="*/ 473290 h 479077"/>
                <a:gd name="connsiteX87" fmla="*/ 2358922 w 3785642"/>
                <a:gd name="connsiteY87" fmla="*/ 472794 h 479077"/>
                <a:gd name="connsiteX88" fmla="*/ 2342551 w 3785642"/>
                <a:gd name="connsiteY88" fmla="*/ 472298 h 479077"/>
                <a:gd name="connsiteX89" fmla="*/ 2326180 w 3785642"/>
                <a:gd name="connsiteY89" fmla="*/ 473786 h 479077"/>
                <a:gd name="connsiteX90" fmla="*/ 2309810 w 3785642"/>
                <a:gd name="connsiteY90" fmla="*/ 473786 h 479077"/>
                <a:gd name="connsiteX91" fmla="*/ 2293439 w 3785642"/>
                <a:gd name="connsiteY91" fmla="*/ 473786 h 479077"/>
                <a:gd name="connsiteX92" fmla="*/ 2277069 w 3785642"/>
                <a:gd name="connsiteY92" fmla="*/ 472794 h 479077"/>
                <a:gd name="connsiteX93" fmla="*/ 2260698 w 3785642"/>
                <a:gd name="connsiteY93" fmla="*/ 474282 h 479077"/>
                <a:gd name="connsiteX94" fmla="*/ 2244327 w 3785642"/>
                <a:gd name="connsiteY94" fmla="*/ 472298 h 479077"/>
                <a:gd name="connsiteX95" fmla="*/ 2227957 w 3785642"/>
                <a:gd name="connsiteY95" fmla="*/ 474282 h 479077"/>
                <a:gd name="connsiteX96" fmla="*/ 2211586 w 3785642"/>
                <a:gd name="connsiteY96" fmla="*/ 473290 h 479077"/>
                <a:gd name="connsiteX97" fmla="*/ 2195216 w 3785642"/>
                <a:gd name="connsiteY97" fmla="*/ 474282 h 479077"/>
                <a:gd name="connsiteX98" fmla="*/ 2178845 w 3785642"/>
                <a:gd name="connsiteY98" fmla="*/ 472794 h 479077"/>
                <a:gd name="connsiteX99" fmla="*/ 2162474 w 3785642"/>
                <a:gd name="connsiteY99" fmla="*/ 474778 h 479077"/>
                <a:gd name="connsiteX100" fmla="*/ 2146104 w 3785642"/>
                <a:gd name="connsiteY100" fmla="*/ 473290 h 479077"/>
                <a:gd name="connsiteX101" fmla="*/ 2129733 w 3785642"/>
                <a:gd name="connsiteY101" fmla="*/ 474778 h 479077"/>
                <a:gd name="connsiteX102" fmla="*/ 2113363 w 3785642"/>
                <a:gd name="connsiteY102" fmla="*/ 474778 h 479077"/>
                <a:gd name="connsiteX103" fmla="*/ 2096992 w 3785642"/>
                <a:gd name="connsiteY103" fmla="*/ 474778 h 479077"/>
                <a:gd name="connsiteX104" fmla="*/ 2080621 w 3785642"/>
                <a:gd name="connsiteY104" fmla="*/ 474282 h 479077"/>
                <a:gd name="connsiteX105" fmla="*/ 2064251 w 3785642"/>
                <a:gd name="connsiteY105" fmla="*/ 472794 h 479077"/>
                <a:gd name="connsiteX106" fmla="*/ 2047880 w 3785642"/>
                <a:gd name="connsiteY106" fmla="*/ 474778 h 479077"/>
                <a:gd name="connsiteX107" fmla="*/ 2031510 w 3785642"/>
                <a:gd name="connsiteY107" fmla="*/ 474778 h 479077"/>
                <a:gd name="connsiteX108" fmla="*/ 2015139 w 3785642"/>
                <a:gd name="connsiteY108" fmla="*/ 474778 h 479077"/>
                <a:gd name="connsiteX109" fmla="*/ 1998769 w 3785642"/>
                <a:gd name="connsiteY109" fmla="*/ 474282 h 479077"/>
                <a:gd name="connsiteX110" fmla="*/ 1982398 w 3785642"/>
                <a:gd name="connsiteY110" fmla="*/ 473786 h 479077"/>
                <a:gd name="connsiteX111" fmla="*/ 1966028 w 3785642"/>
                <a:gd name="connsiteY111" fmla="*/ 473786 h 479077"/>
                <a:gd name="connsiteX112" fmla="*/ 1949657 w 3785642"/>
                <a:gd name="connsiteY112" fmla="*/ 472794 h 479077"/>
                <a:gd name="connsiteX113" fmla="*/ 1933287 w 3785642"/>
                <a:gd name="connsiteY113" fmla="*/ 473290 h 479077"/>
                <a:gd name="connsiteX114" fmla="*/ 1916916 w 3785642"/>
                <a:gd name="connsiteY114" fmla="*/ 474778 h 479077"/>
                <a:gd name="connsiteX115" fmla="*/ 1900546 w 3785642"/>
                <a:gd name="connsiteY115" fmla="*/ 472794 h 479077"/>
                <a:gd name="connsiteX116" fmla="*/ 1884175 w 3785642"/>
                <a:gd name="connsiteY116" fmla="*/ 473786 h 479077"/>
                <a:gd name="connsiteX117" fmla="*/ 1867804 w 3785642"/>
                <a:gd name="connsiteY117" fmla="*/ 474778 h 479077"/>
                <a:gd name="connsiteX118" fmla="*/ 1851434 w 3785642"/>
                <a:gd name="connsiteY118" fmla="*/ 474778 h 479077"/>
                <a:gd name="connsiteX119" fmla="*/ 1835063 w 3785642"/>
                <a:gd name="connsiteY119" fmla="*/ 474778 h 479077"/>
                <a:gd name="connsiteX120" fmla="*/ 1818693 w 3785642"/>
                <a:gd name="connsiteY120" fmla="*/ 474282 h 479077"/>
                <a:gd name="connsiteX121" fmla="*/ 1802322 w 3785642"/>
                <a:gd name="connsiteY121" fmla="*/ 472794 h 479077"/>
                <a:gd name="connsiteX122" fmla="*/ 1785951 w 3785642"/>
                <a:gd name="connsiteY122" fmla="*/ 473786 h 479077"/>
                <a:gd name="connsiteX123" fmla="*/ 1769581 w 3785642"/>
                <a:gd name="connsiteY123" fmla="*/ 473290 h 479077"/>
                <a:gd name="connsiteX124" fmla="*/ 1753210 w 3785642"/>
                <a:gd name="connsiteY124" fmla="*/ 472298 h 479077"/>
                <a:gd name="connsiteX125" fmla="*/ 1736840 w 3785642"/>
                <a:gd name="connsiteY125" fmla="*/ 473290 h 479077"/>
                <a:gd name="connsiteX126" fmla="*/ 1720469 w 3785642"/>
                <a:gd name="connsiteY126" fmla="*/ 474778 h 479077"/>
                <a:gd name="connsiteX127" fmla="*/ 1704098 w 3785642"/>
                <a:gd name="connsiteY127" fmla="*/ 472794 h 479077"/>
                <a:gd name="connsiteX128" fmla="*/ 1687728 w 3785642"/>
                <a:gd name="connsiteY128" fmla="*/ 474778 h 479077"/>
                <a:gd name="connsiteX129" fmla="*/ 1671357 w 3785642"/>
                <a:gd name="connsiteY129" fmla="*/ 474778 h 479077"/>
                <a:gd name="connsiteX130" fmla="*/ 1654987 w 3785642"/>
                <a:gd name="connsiteY130" fmla="*/ 472298 h 479077"/>
                <a:gd name="connsiteX131" fmla="*/ 1638616 w 3785642"/>
                <a:gd name="connsiteY131" fmla="*/ 472794 h 479077"/>
                <a:gd name="connsiteX132" fmla="*/ 1622246 w 3785642"/>
                <a:gd name="connsiteY132" fmla="*/ 473786 h 479077"/>
                <a:gd name="connsiteX133" fmla="*/ 1605875 w 3785642"/>
                <a:gd name="connsiteY133" fmla="*/ 474778 h 479077"/>
                <a:gd name="connsiteX134" fmla="*/ 1589505 w 3785642"/>
                <a:gd name="connsiteY134" fmla="*/ 473290 h 479077"/>
                <a:gd name="connsiteX135" fmla="*/ 1573134 w 3785642"/>
                <a:gd name="connsiteY135" fmla="*/ 474778 h 479077"/>
                <a:gd name="connsiteX136" fmla="*/ 1556763 w 3785642"/>
                <a:gd name="connsiteY136" fmla="*/ 472794 h 479077"/>
                <a:gd name="connsiteX137" fmla="*/ 1540393 w 3785642"/>
                <a:gd name="connsiteY137" fmla="*/ 472794 h 479077"/>
                <a:gd name="connsiteX138" fmla="*/ 1524022 w 3785642"/>
                <a:gd name="connsiteY138" fmla="*/ 474282 h 479077"/>
                <a:gd name="connsiteX139" fmla="*/ 1507652 w 3785642"/>
                <a:gd name="connsiteY139" fmla="*/ 472794 h 479077"/>
                <a:gd name="connsiteX140" fmla="*/ 1491281 w 3785642"/>
                <a:gd name="connsiteY140" fmla="*/ 474282 h 479077"/>
                <a:gd name="connsiteX141" fmla="*/ 1474910 w 3785642"/>
                <a:gd name="connsiteY141" fmla="*/ 474282 h 479077"/>
                <a:gd name="connsiteX142" fmla="*/ 1458540 w 3785642"/>
                <a:gd name="connsiteY142" fmla="*/ 472794 h 479077"/>
                <a:gd name="connsiteX143" fmla="*/ 1442169 w 3785642"/>
                <a:gd name="connsiteY143" fmla="*/ 471802 h 479077"/>
                <a:gd name="connsiteX144" fmla="*/ 1425799 w 3785642"/>
                <a:gd name="connsiteY144" fmla="*/ 472298 h 479077"/>
                <a:gd name="connsiteX145" fmla="*/ 1409428 w 3785642"/>
                <a:gd name="connsiteY145" fmla="*/ 472794 h 479077"/>
                <a:gd name="connsiteX146" fmla="*/ 1393058 w 3785642"/>
                <a:gd name="connsiteY146" fmla="*/ 473786 h 479077"/>
                <a:gd name="connsiteX147" fmla="*/ 1376687 w 3785642"/>
                <a:gd name="connsiteY147" fmla="*/ 471802 h 479077"/>
                <a:gd name="connsiteX148" fmla="*/ 1360317 w 3785642"/>
                <a:gd name="connsiteY148" fmla="*/ 473786 h 479077"/>
                <a:gd name="connsiteX149" fmla="*/ 1343946 w 3785642"/>
                <a:gd name="connsiteY149" fmla="*/ 473786 h 479077"/>
                <a:gd name="connsiteX150" fmla="*/ 1327576 w 3785642"/>
                <a:gd name="connsiteY150" fmla="*/ 472794 h 479077"/>
                <a:gd name="connsiteX151" fmla="*/ 1311205 w 3785642"/>
                <a:gd name="connsiteY151" fmla="*/ 473786 h 479077"/>
                <a:gd name="connsiteX152" fmla="*/ 1294834 w 3785642"/>
                <a:gd name="connsiteY152" fmla="*/ 473786 h 479077"/>
                <a:gd name="connsiteX153" fmla="*/ 1278464 w 3785642"/>
                <a:gd name="connsiteY153" fmla="*/ 473786 h 479077"/>
                <a:gd name="connsiteX154" fmla="*/ 1262093 w 3785642"/>
                <a:gd name="connsiteY154" fmla="*/ 473786 h 479077"/>
                <a:gd name="connsiteX155" fmla="*/ 1245723 w 3785642"/>
                <a:gd name="connsiteY155" fmla="*/ 473290 h 479077"/>
                <a:gd name="connsiteX156" fmla="*/ 1229352 w 3785642"/>
                <a:gd name="connsiteY156" fmla="*/ 472794 h 479077"/>
                <a:gd name="connsiteX157" fmla="*/ 1212981 w 3785642"/>
                <a:gd name="connsiteY157" fmla="*/ 473786 h 479077"/>
                <a:gd name="connsiteX158" fmla="*/ 1196611 w 3785642"/>
                <a:gd name="connsiteY158" fmla="*/ 472298 h 479077"/>
                <a:gd name="connsiteX159" fmla="*/ 1180240 w 3785642"/>
                <a:gd name="connsiteY159" fmla="*/ 472794 h 479077"/>
                <a:gd name="connsiteX160" fmla="*/ 1163870 w 3785642"/>
                <a:gd name="connsiteY160" fmla="*/ 472794 h 479077"/>
                <a:gd name="connsiteX161" fmla="*/ 1147499 w 3785642"/>
                <a:gd name="connsiteY161" fmla="*/ 473786 h 479077"/>
                <a:gd name="connsiteX162" fmla="*/ 1131128 w 3785642"/>
                <a:gd name="connsiteY162" fmla="*/ 473786 h 479077"/>
                <a:gd name="connsiteX163" fmla="*/ 1114758 w 3785642"/>
                <a:gd name="connsiteY163" fmla="*/ 472794 h 479077"/>
                <a:gd name="connsiteX164" fmla="*/ 1098387 w 3785642"/>
                <a:gd name="connsiteY164" fmla="*/ 473786 h 479077"/>
                <a:gd name="connsiteX165" fmla="*/ 1082017 w 3785642"/>
                <a:gd name="connsiteY165" fmla="*/ 474778 h 479077"/>
                <a:gd name="connsiteX166" fmla="*/ 1065646 w 3785642"/>
                <a:gd name="connsiteY166" fmla="*/ 474778 h 479077"/>
                <a:gd name="connsiteX167" fmla="*/ 1049276 w 3785642"/>
                <a:gd name="connsiteY167" fmla="*/ 474282 h 479077"/>
                <a:gd name="connsiteX168" fmla="*/ 1032905 w 3785642"/>
                <a:gd name="connsiteY168" fmla="*/ 473290 h 479077"/>
                <a:gd name="connsiteX169" fmla="*/ 1016535 w 3785642"/>
                <a:gd name="connsiteY169" fmla="*/ 474282 h 479077"/>
                <a:gd name="connsiteX170" fmla="*/ 1000164 w 3785642"/>
                <a:gd name="connsiteY170" fmla="*/ 474282 h 479077"/>
                <a:gd name="connsiteX171" fmla="*/ 983793 w 3785642"/>
                <a:gd name="connsiteY171" fmla="*/ 472794 h 479077"/>
                <a:gd name="connsiteX172" fmla="*/ 967423 w 3785642"/>
                <a:gd name="connsiteY172" fmla="*/ 472794 h 479077"/>
                <a:gd name="connsiteX173" fmla="*/ 951052 w 3785642"/>
                <a:gd name="connsiteY173" fmla="*/ 473786 h 479077"/>
                <a:gd name="connsiteX174" fmla="*/ 934682 w 3785642"/>
                <a:gd name="connsiteY174" fmla="*/ 474282 h 479077"/>
                <a:gd name="connsiteX175" fmla="*/ 918311 w 3785642"/>
                <a:gd name="connsiteY175" fmla="*/ 474778 h 479077"/>
                <a:gd name="connsiteX176" fmla="*/ 901940 w 3785642"/>
                <a:gd name="connsiteY176" fmla="*/ 473290 h 479077"/>
                <a:gd name="connsiteX177" fmla="*/ 885570 w 3785642"/>
                <a:gd name="connsiteY177" fmla="*/ 474778 h 479077"/>
                <a:gd name="connsiteX178" fmla="*/ 869199 w 3785642"/>
                <a:gd name="connsiteY178" fmla="*/ 474282 h 479077"/>
                <a:gd name="connsiteX179" fmla="*/ 852829 w 3785642"/>
                <a:gd name="connsiteY179" fmla="*/ 473786 h 479077"/>
                <a:gd name="connsiteX180" fmla="*/ 836458 w 3785642"/>
                <a:gd name="connsiteY180" fmla="*/ 474778 h 479077"/>
                <a:gd name="connsiteX181" fmla="*/ 820088 w 3785642"/>
                <a:gd name="connsiteY181" fmla="*/ 475274 h 479077"/>
                <a:gd name="connsiteX182" fmla="*/ 803717 w 3785642"/>
                <a:gd name="connsiteY182" fmla="*/ 473786 h 479077"/>
                <a:gd name="connsiteX183" fmla="*/ 787347 w 3785642"/>
                <a:gd name="connsiteY183" fmla="*/ 475770 h 479077"/>
                <a:gd name="connsiteX184" fmla="*/ 770976 w 3785642"/>
                <a:gd name="connsiteY184" fmla="*/ 474778 h 479077"/>
                <a:gd name="connsiteX185" fmla="*/ 754605 w 3785642"/>
                <a:gd name="connsiteY185" fmla="*/ 475274 h 479077"/>
                <a:gd name="connsiteX186" fmla="*/ 738235 w 3785642"/>
                <a:gd name="connsiteY186" fmla="*/ 473786 h 479077"/>
                <a:gd name="connsiteX187" fmla="*/ 721864 w 3785642"/>
                <a:gd name="connsiteY187" fmla="*/ 475274 h 479077"/>
                <a:gd name="connsiteX188" fmla="*/ 705494 w 3785642"/>
                <a:gd name="connsiteY188" fmla="*/ 475770 h 479077"/>
                <a:gd name="connsiteX189" fmla="*/ 689123 w 3785642"/>
                <a:gd name="connsiteY189" fmla="*/ 474282 h 479077"/>
                <a:gd name="connsiteX190" fmla="*/ 672753 w 3785642"/>
                <a:gd name="connsiteY190" fmla="*/ 475274 h 479077"/>
                <a:gd name="connsiteX191" fmla="*/ 656382 w 3785642"/>
                <a:gd name="connsiteY191" fmla="*/ 474778 h 479077"/>
                <a:gd name="connsiteX192" fmla="*/ 640011 w 3785642"/>
                <a:gd name="connsiteY192" fmla="*/ 475770 h 479077"/>
                <a:gd name="connsiteX193" fmla="*/ 623641 w 3785642"/>
                <a:gd name="connsiteY193" fmla="*/ 473786 h 479077"/>
                <a:gd name="connsiteX194" fmla="*/ 607270 w 3785642"/>
                <a:gd name="connsiteY194" fmla="*/ 474778 h 479077"/>
                <a:gd name="connsiteX195" fmla="*/ 590900 w 3785642"/>
                <a:gd name="connsiteY195" fmla="*/ 475274 h 479077"/>
                <a:gd name="connsiteX196" fmla="*/ 574529 w 3785642"/>
                <a:gd name="connsiteY196" fmla="*/ 474282 h 479077"/>
                <a:gd name="connsiteX197" fmla="*/ 558158 w 3785642"/>
                <a:gd name="connsiteY197" fmla="*/ 475274 h 479077"/>
                <a:gd name="connsiteX198" fmla="*/ 541788 w 3785642"/>
                <a:gd name="connsiteY198" fmla="*/ 475770 h 479077"/>
                <a:gd name="connsiteX199" fmla="*/ 525417 w 3785642"/>
                <a:gd name="connsiteY199" fmla="*/ 474282 h 479077"/>
                <a:gd name="connsiteX200" fmla="*/ 509047 w 3785642"/>
                <a:gd name="connsiteY200" fmla="*/ 473786 h 479077"/>
                <a:gd name="connsiteX201" fmla="*/ 492676 w 3785642"/>
                <a:gd name="connsiteY201" fmla="*/ 473786 h 479077"/>
                <a:gd name="connsiteX202" fmla="*/ 476306 w 3785642"/>
                <a:gd name="connsiteY202" fmla="*/ 474778 h 479077"/>
                <a:gd name="connsiteX203" fmla="*/ 459935 w 3785642"/>
                <a:gd name="connsiteY203" fmla="*/ 473786 h 479077"/>
                <a:gd name="connsiteX204" fmla="*/ 443565 w 3785642"/>
                <a:gd name="connsiteY204" fmla="*/ 474778 h 479077"/>
                <a:gd name="connsiteX205" fmla="*/ 427194 w 3785642"/>
                <a:gd name="connsiteY205" fmla="*/ 474282 h 479077"/>
                <a:gd name="connsiteX206" fmla="*/ 410823 w 3785642"/>
                <a:gd name="connsiteY206" fmla="*/ 473290 h 479077"/>
                <a:gd name="connsiteX207" fmla="*/ 394453 w 3785642"/>
                <a:gd name="connsiteY207" fmla="*/ 475770 h 479077"/>
                <a:gd name="connsiteX208" fmla="*/ 378082 w 3785642"/>
                <a:gd name="connsiteY208" fmla="*/ 475274 h 479077"/>
                <a:gd name="connsiteX209" fmla="*/ 361712 w 3785642"/>
                <a:gd name="connsiteY209" fmla="*/ 474778 h 479077"/>
                <a:gd name="connsiteX210" fmla="*/ 345341 w 3785642"/>
                <a:gd name="connsiteY210" fmla="*/ 476266 h 479077"/>
                <a:gd name="connsiteX211" fmla="*/ 328970 w 3785642"/>
                <a:gd name="connsiteY211" fmla="*/ 474282 h 479077"/>
                <a:gd name="connsiteX212" fmla="*/ 312600 w 3785642"/>
                <a:gd name="connsiteY212" fmla="*/ 475274 h 479077"/>
                <a:gd name="connsiteX213" fmla="*/ 296229 w 3785642"/>
                <a:gd name="connsiteY213" fmla="*/ 474282 h 479077"/>
                <a:gd name="connsiteX214" fmla="*/ 279859 w 3785642"/>
                <a:gd name="connsiteY214" fmla="*/ 475770 h 479077"/>
                <a:gd name="connsiteX215" fmla="*/ 263488 w 3785642"/>
                <a:gd name="connsiteY215" fmla="*/ 476266 h 479077"/>
                <a:gd name="connsiteX216" fmla="*/ 247118 w 3785642"/>
                <a:gd name="connsiteY216" fmla="*/ 476266 h 479077"/>
                <a:gd name="connsiteX217" fmla="*/ 230747 w 3785642"/>
                <a:gd name="connsiteY217" fmla="*/ 474778 h 479077"/>
                <a:gd name="connsiteX218" fmla="*/ 214376 w 3785642"/>
                <a:gd name="connsiteY218" fmla="*/ 474778 h 479077"/>
                <a:gd name="connsiteX219" fmla="*/ 198006 w 3785642"/>
                <a:gd name="connsiteY219" fmla="*/ 476762 h 479077"/>
                <a:gd name="connsiteX220" fmla="*/ 181635 w 3785642"/>
                <a:gd name="connsiteY220" fmla="*/ 476266 h 479077"/>
                <a:gd name="connsiteX221" fmla="*/ 165265 w 3785642"/>
                <a:gd name="connsiteY221" fmla="*/ 474778 h 479077"/>
                <a:gd name="connsiteX222" fmla="*/ 148894 w 3785642"/>
                <a:gd name="connsiteY222" fmla="*/ 476762 h 479077"/>
                <a:gd name="connsiteX223" fmla="*/ 132524 w 3785642"/>
                <a:gd name="connsiteY223" fmla="*/ 476266 h 479077"/>
                <a:gd name="connsiteX224" fmla="*/ 116153 w 3785642"/>
                <a:gd name="connsiteY224" fmla="*/ 475274 h 479077"/>
                <a:gd name="connsiteX225" fmla="*/ 99783 w 3785642"/>
                <a:gd name="connsiteY225" fmla="*/ 475274 h 479077"/>
                <a:gd name="connsiteX226" fmla="*/ 83412 w 3785642"/>
                <a:gd name="connsiteY226" fmla="*/ 475274 h 479077"/>
                <a:gd name="connsiteX227" fmla="*/ 67041 w 3785642"/>
                <a:gd name="connsiteY227" fmla="*/ 474778 h 479077"/>
                <a:gd name="connsiteX228" fmla="*/ 50671 w 3785642"/>
                <a:gd name="connsiteY228" fmla="*/ 475274 h 479077"/>
                <a:gd name="connsiteX229" fmla="*/ 34300 w 3785642"/>
                <a:gd name="connsiteY229" fmla="*/ 475274 h 479077"/>
                <a:gd name="connsiteX230" fmla="*/ 17930 w 3785642"/>
                <a:gd name="connsiteY230" fmla="*/ 475770 h 479077"/>
                <a:gd name="connsiteX231" fmla="*/ 567 w 3785642"/>
                <a:gd name="connsiteY231" fmla="*/ 475770 h 479077"/>
                <a:gd name="connsiteX232" fmla="*/ 12969 w 3785642"/>
                <a:gd name="connsiteY232" fmla="*/ 463368 h 479077"/>
                <a:gd name="connsiteX233" fmla="*/ 24379 w 3785642"/>
                <a:gd name="connsiteY233" fmla="*/ 451958 h 479077"/>
                <a:gd name="connsiteX234" fmla="*/ 35788 w 3785642"/>
                <a:gd name="connsiteY234" fmla="*/ 440053 h 479077"/>
                <a:gd name="connsiteX235" fmla="*/ 48686 w 3785642"/>
                <a:gd name="connsiteY235" fmla="*/ 430131 h 479077"/>
                <a:gd name="connsiteX236" fmla="*/ 59600 w 3785642"/>
                <a:gd name="connsiteY236" fmla="*/ 418225 h 479077"/>
                <a:gd name="connsiteX237" fmla="*/ 70514 w 3785642"/>
                <a:gd name="connsiteY237" fmla="*/ 405823 h 479077"/>
                <a:gd name="connsiteX238" fmla="*/ 83412 w 3785642"/>
                <a:gd name="connsiteY238" fmla="*/ 395406 h 479077"/>
                <a:gd name="connsiteX239" fmla="*/ 94822 w 3785642"/>
                <a:gd name="connsiteY239" fmla="*/ 383500 h 479077"/>
                <a:gd name="connsiteX240" fmla="*/ 106728 w 3785642"/>
                <a:gd name="connsiteY240" fmla="*/ 372090 h 479077"/>
                <a:gd name="connsiteX241" fmla="*/ 117145 w 3785642"/>
                <a:gd name="connsiteY241" fmla="*/ 359688 h 479077"/>
                <a:gd name="connsiteX242" fmla="*/ 128555 w 3785642"/>
                <a:gd name="connsiteY242" fmla="*/ 348278 h 479077"/>
                <a:gd name="connsiteX243" fmla="*/ 140461 w 3785642"/>
                <a:gd name="connsiteY243" fmla="*/ 336868 h 479077"/>
                <a:gd name="connsiteX244" fmla="*/ 152863 w 3785642"/>
                <a:gd name="connsiteY244" fmla="*/ 326451 h 479077"/>
                <a:gd name="connsiteX245" fmla="*/ 164769 w 3785642"/>
                <a:gd name="connsiteY245" fmla="*/ 315041 h 479077"/>
                <a:gd name="connsiteX246" fmla="*/ 176178 w 3785642"/>
                <a:gd name="connsiteY246" fmla="*/ 303135 h 479077"/>
                <a:gd name="connsiteX247" fmla="*/ 188084 w 3785642"/>
                <a:gd name="connsiteY247" fmla="*/ 291725 h 479077"/>
                <a:gd name="connsiteX248" fmla="*/ 199494 w 3785642"/>
                <a:gd name="connsiteY248" fmla="*/ 280315 h 479077"/>
                <a:gd name="connsiteX249" fmla="*/ 210904 w 3785642"/>
                <a:gd name="connsiteY249" fmla="*/ 268906 h 479077"/>
                <a:gd name="connsiteX250" fmla="*/ 221818 w 3785642"/>
                <a:gd name="connsiteY250" fmla="*/ 256504 h 479077"/>
                <a:gd name="connsiteX251" fmla="*/ 233724 w 3785642"/>
                <a:gd name="connsiteY251" fmla="*/ 245094 h 479077"/>
                <a:gd name="connsiteX252" fmla="*/ 244141 w 3785642"/>
                <a:gd name="connsiteY252" fmla="*/ 232692 h 479077"/>
                <a:gd name="connsiteX253" fmla="*/ 257039 w 3785642"/>
                <a:gd name="connsiteY253" fmla="*/ 222770 h 479077"/>
                <a:gd name="connsiteX254" fmla="*/ 266961 w 3785642"/>
                <a:gd name="connsiteY254" fmla="*/ 209376 h 479077"/>
                <a:gd name="connsiteX255" fmla="*/ 278371 w 3785642"/>
                <a:gd name="connsiteY255" fmla="*/ 197966 h 479077"/>
                <a:gd name="connsiteX256" fmla="*/ 291269 w 3785642"/>
                <a:gd name="connsiteY256" fmla="*/ 188045 h 479077"/>
                <a:gd name="connsiteX257" fmla="*/ 301686 w 3785642"/>
                <a:gd name="connsiteY257" fmla="*/ 175147 h 479077"/>
                <a:gd name="connsiteX258" fmla="*/ 313592 w 3785642"/>
                <a:gd name="connsiteY258" fmla="*/ 163737 h 479077"/>
                <a:gd name="connsiteX259" fmla="*/ 325994 w 3785642"/>
                <a:gd name="connsiteY259" fmla="*/ 153319 h 479077"/>
                <a:gd name="connsiteX260" fmla="*/ 337404 w 3785642"/>
                <a:gd name="connsiteY260" fmla="*/ 141910 h 479077"/>
                <a:gd name="connsiteX261" fmla="*/ 347325 w 3785642"/>
                <a:gd name="connsiteY261" fmla="*/ 129012 h 479077"/>
                <a:gd name="connsiteX262" fmla="*/ 360224 w 3785642"/>
                <a:gd name="connsiteY262" fmla="*/ 118594 h 479077"/>
                <a:gd name="connsiteX263" fmla="*/ 371137 w 3785642"/>
                <a:gd name="connsiteY263" fmla="*/ 106192 h 479077"/>
                <a:gd name="connsiteX264" fmla="*/ 382051 w 3785642"/>
                <a:gd name="connsiteY264" fmla="*/ 93790 h 479077"/>
                <a:gd name="connsiteX265" fmla="*/ 393957 w 3785642"/>
                <a:gd name="connsiteY265" fmla="*/ 82380 h 479077"/>
                <a:gd name="connsiteX266" fmla="*/ 405366 w 3785642"/>
                <a:gd name="connsiteY266" fmla="*/ 70475 h 479077"/>
                <a:gd name="connsiteX267" fmla="*/ 417272 w 3785642"/>
                <a:gd name="connsiteY267" fmla="*/ 59561 h 479077"/>
                <a:gd name="connsiteX268" fmla="*/ 429674 w 3785642"/>
                <a:gd name="connsiteY268" fmla="*/ 48647 h 479077"/>
                <a:gd name="connsiteX269" fmla="*/ 440092 w 3785642"/>
                <a:gd name="connsiteY269" fmla="*/ 35749 h 479077"/>
                <a:gd name="connsiteX270" fmla="*/ 452494 w 3785642"/>
                <a:gd name="connsiteY270" fmla="*/ 24835 h 479077"/>
                <a:gd name="connsiteX271" fmla="*/ 463904 w 3785642"/>
                <a:gd name="connsiteY271" fmla="*/ 12929 h 479077"/>
                <a:gd name="connsiteX272" fmla="*/ 475313 w 3785642"/>
                <a:gd name="connsiteY272" fmla="*/ 1024 h 479077"/>
                <a:gd name="connsiteX273" fmla="*/ 491684 w 3785642"/>
                <a:gd name="connsiteY273" fmla="*/ 2512 h 479077"/>
                <a:gd name="connsiteX274" fmla="*/ 508055 w 3785642"/>
                <a:gd name="connsiteY274" fmla="*/ 2512 h 479077"/>
                <a:gd name="connsiteX275" fmla="*/ 524425 w 3785642"/>
                <a:gd name="connsiteY275" fmla="*/ 2512 h 479077"/>
                <a:gd name="connsiteX276" fmla="*/ 540796 w 3785642"/>
                <a:gd name="connsiteY276" fmla="*/ 1024 h 479077"/>
                <a:gd name="connsiteX277" fmla="*/ 557166 w 3785642"/>
                <a:gd name="connsiteY277" fmla="*/ 2512 h 479077"/>
                <a:gd name="connsiteX278" fmla="*/ 573537 w 3785642"/>
                <a:gd name="connsiteY278" fmla="*/ 1024 h 479077"/>
                <a:gd name="connsiteX279" fmla="*/ 589908 w 3785642"/>
                <a:gd name="connsiteY279" fmla="*/ 527 h 479077"/>
                <a:gd name="connsiteX280" fmla="*/ 606278 w 3785642"/>
                <a:gd name="connsiteY280" fmla="*/ 1520 h 479077"/>
                <a:gd name="connsiteX281" fmla="*/ 622649 w 3785642"/>
                <a:gd name="connsiteY281" fmla="*/ 1520 h 479077"/>
                <a:gd name="connsiteX282" fmla="*/ 639019 w 3785642"/>
                <a:gd name="connsiteY282" fmla="*/ 2016 h 479077"/>
                <a:gd name="connsiteX283" fmla="*/ 655390 w 3785642"/>
                <a:gd name="connsiteY283" fmla="*/ 527 h 479077"/>
                <a:gd name="connsiteX284" fmla="*/ 671760 w 3785642"/>
                <a:gd name="connsiteY284" fmla="*/ 1520 h 479077"/>
                <a:gd name="connsiteX285" fmla="*/ 688131 w 3785642"/>
                <a:gd name="connsiteY285" fmla="*/ 2512 h 479077"/>
                <a:gd name="connsiteX286" fmla="*/ 704501 w 3785642"/>
                <a:gd name="connsiteY286" fmla="*/ 1024 h 479077"/>
                <a:gd name="connsiteX287" fmla="*/ 720872 w 3785642"/>
                <a:gd name="connsiteY287" fmla="*/ 1520 h 479077"/>
                <a:gd name="connsiteX288" fmla="*/ 737243 w 3785642"/>
                <a:gd name="connsiteY288" fmla="*/ 2016 h 479077"/>
                <a:gd name="connsiteX289" fmla="*/ 753613 w 3785642"/>
                <a:gd name="connsiteY289" fmla="*/ 1024 h 479077"/>
                <a:gd name="connsiteX290" fmla="*/ 769984 w 3785642"/>
                <a:gd name="connsiteY290" fmla="*/ 527 h 479077"/>
                <a:gd name="connsiteX291" fmla="*/ 786354 w 3785642"/>
                <a:gd name="connsiteY291" fmla="*/ 1520 h 479077"/>
                <a:gd name="connsiteX292" fmla="*/ 802725 w 3785642"/>
                <a:gd name="connsiteY292" fmla="*/ 527 h 479077"/>
                <a:gd name="connsiteX293" fmla="*/ 819096 w 3785642"/>
                <a:gd name="connsiteY293" fmla="*/ 2512 h 479077"/>
                <a:gd name="connsiteX294" fmla="*/ 835466 w 3785642"/>
                <a:gd name="connsiteY294" fmla="*/ 527 h 479077"/>
                <a:gd name="connsiteX295" fmla="*/ 851837 w 3785642"/>
                <a:gd name="connsiteY295" fmla="*/ 1520 h 479077"/>
                <a:gd name="connsiteX296" fmla="*/ 868207 w 3785642"/>
                <a:gd name="connsiteY296" fmla="*/ 2016 h 479077"/>
                <a:gd name="connsiteX297" fmla="*/ 884578 w 3785642"/>
                <a:gd name="connsiteY297" fmla="*/ 2512 h 479077"/>
                <a:gd name="connsiteX298" fmla="*/ 900948 w 3785642"/>
                <a:gd name="connsiteY298" fmla="*/ 1520 h 479077"/>
                <a:gd name="connsiteX299" fmla="*/ 917319 w 3785642"/>
                <a:gd name="connsiteY299" fmla="*/ 1024 h 479077"/>
                <a:gd name="connsiteX300" fmla="*/ 933689 w 3785642"/>
                <a:gd name="connsiteY300" fmla="*/ 2512 h 479077"/>
                <a:gd name="connsiteX301" fmla="*/ 950060 w 3785642"/>
                <a:gd name="connsiteY301" fmla="*/ 1520 h 479077"/>
                <a:gd name="connsiteX302" fmla="*/ 966431 w 3785642"/>
                <a:gd name="connsiteY302" fmla="*/ 2016 h 479077"/>
                <a:gd name="connsiteX303" fmla="*/ 982801 w 3785642"/>
                <a:gd name="connsiteY303" fmla="*/ 2512 h 479077"/>
                <a:gd name="connsiteX304" fmla="*/ 999172 w 3785642"/>
                <a:gd name="connsiteY304" fmla="*/ 1520 h 479077"/>
                <a:gd name="connsiteX305" fmla="*/ 1015542 w 3785642"/>
                <a:gd name="connsiteY305" fmla="*/ 2512 h 479077"/>
                <a:gd name="connsiteX306" fmla="*/ 1031913 w 3785642"/>
                <a:gd name="connsiteY306" fmla="*/ 1520 h 479077"/>
                <a:gd name="connsiteX307" fmla="*/ 1048283 w 3785642"/>
                <a:gd name="connsiteY307" fmla="*/ 2016 h 479077"/>
                <a:gd name="connsiteX308" fmla="*/ 1064654 w 3785642"/>
                <a:gd name="connsiteY308" fmla="*/ 3504 h 479077"/>
                <a:gd name="connsiteX309" fmla="*/ 1081025 w 3785642"/>
                <a:gd name="connsiteY309" fmla="*/ 2016 h 479077"/>
                <a:gd name="connsiteX310" fmla="*/ 1097395 w 3785642"/>
                <a:gd name="connsiteY310" fmla="*/ 2512 h 479077"/>
                <a:gd name="connsiteX311" fmla="*/ 1113766 w 3785642"/>
                <a:gd name="connsiteY311" fmla="*/ 2512 h 479077"/>
                <a:gd name="connsiteX312" fmla="*/ 1130136 w 3785642"/>
                <a:gd name="connsiteY312" fmla="*/ 3504 h 479077"/>
                <a:gd name="connsiteX313" fmla="*/ 1146507 w 3785642"/>
                <a:gd name="connsiteY313" fmla="*/ 1520 h 479077"/>
                <a:gd name="connsiteX314" fmla="*/ 1162878 w 3785642"/>
                <a:gd name="connsiteY314" fmla="*/ 3008 h 479077"/>
                <a:gd name="connsiteX315" fmla="*/ 1179248 w 3785642"/>
                <a:gd name="connsiteY315" fmla="*/ 4000 h 479077"/>
                <a:gd name="connsiteX316" fmla="*/ 1195619 w 3785642"/>
                <a:gd name="connsiteY316" fmla="*/ 3504 h 479077"/>
                <a:gd name="connsiteX317" fmla="*/ 1211989 w 3785642"/>
                <a:gd name="connsiteY317" fmla="*/ 1520 h 479077"/>
                <a:gd name="connsiteX318" fmla="*/ 1228360 w 3785642"/>
                <a:gd name="connsiteY318" fmla="*/ 3504 h 479077"/>
                <a:gd name="connsiteX319" fmla="*/ 1244730 w 3785642"/>
                <a:gd name="connsiteY319" fmla="*/ 1520 h 479077"/>
                <a:gd name="connsiteX320" fmla="*/ 1261101 w 3785642"/>
                <a:gd name="connsiteY320" fmla="*/ 2512 h 479077"/>
                <a:gd name="connsiteX321" fmla="*/ 1277471 w 3785642"/>
                <a:gd name="connsiteY321" fmla="*/ 3504 h 479077"/>
                <a:gd name="connsiteX322" fmla="*/ 1293842 w 3785642"/>
                <a:gd name="connsiteY322" fmla="*/ 4000 h 479077"/>
                <a:gd name="connsiteX323" fmla="*/ 1310213 w 3785642"/>
                <a:gd name="connsiteY323" fmla="*/ 1520 h 479077"/>
                <a:gd name="connsiteX324" fmla="*/ 1326583 w 3785642"/>
                <a:gd name="connsiteY324" fmla="*/ 2016 h 479077"/>
                <a:gd name="connsiteX325" fmla="*/ 1342954 w 3785642"/>
                <a:gd name="connsiteY325" fmla="*/ 3008 h 479077"/>
                <a:gd name="connsiteX326" fmla="*/ 1359324 w 3785642"/>
                <a:gd name="connsiteY326" fmla="*/ 3008 h 479077"/>
                <a:gd name="connsiteX327" fmla="*/ 1375695 w 3785642"/>
                <a:gd name="connsiteY327" fmla="*/ 2512 h 479077"/>
                <a:gd name="connsiteX328" fmla="*/ 1392066 w 3785642"/>
                <a:gd name="connsiteY328" fmla="*/ 2512 h 479077"/>
                <a:gd name="connsiteX329" fmla="*/ 1408436 w 3785642"/>
                <a:gd name="connsiteY329" fmla="*/ 3504 h 479077"/>
                <a:gd name="connsiteX330" fmla="*/ 1424807 w 3785642"/>
                <a:gd name="connsiteY330" fmla="*/ 3504 h 479077"/>
                <a:gd name="connsiteX331" fmla="*/ 1441177 w 3785642"/>
                <a:gd name="connsiteY331" fmla="*/ 1520 h 479077"/>
                <a:gd name="connsiteX332" fmla="*/ 1457548 w 3785642"/>
                <a:gd name="connsiteY332" fmla="*/ 2512 h 479077"/>
                <a:gd name="connsiteX333" fmla="*/ 1473919 w 3785642"/>
                <a:gd name="connsiteY333" fmla="*/ 2016 h 479077"/>
                <a:gd name="connsiteX334" fmla="*/ 1490289 w 3785642"/>
                <a:gd name="connsiteY334" fmla="*/ 2016 h 479077"/>
                <a:gd name="connsiteX335" fmla="*/ 1506660 w 3785642"/>
                <a:gd name="connsiteY335" fmla="*/ 1520 h 479077"/>
                <a:gd name="connsiteX336" fmla="*/ 1523030 w 3785642"/>
                <a:gd name="connsiteY336" fmla="*/ 3504 h 479077"/>
                <a:gd name="connsiteX337" fmla="*/ 1539401 w 3785642"/>
                <a:gd name="connsiteY337" fmla="*/ 3008 h 479077"/>
                <a:gd name="connsiteX338" fmla="*/ 1555771 w 3785642"/>
                <a:gd name="connsiteY338" fmla="*/ 3008 h 479077"/>
                <a:gd name="connsiteX339" fmla="*/ 1572142 w 3785642"/>
                <a:gd name="connsiteY339" fmla="*/ 2512 h 479077"/>
                <a:gd name="connsiteX340" fmla="*/ 1588512 w 3785642"/>
                <a:gd name="connsiteY340" fmla="*/ 2016 h 479077"/>
                <a:gd name="connsiteX341" fmla="*/ 1604883 w 3785642"/>
                <a:gd name="connsiteY341" fmla="*/ 3008 h 479077"/>
                <a:gd name="connsiteX342" fmla="*/ 1621253 w 3785642"/>
                <a:gd name="connsiteY342" fmla="*/ 3008 h 479077"/>
                <a:gd name="connsiteX343" fmla="*/ 1637624 w 3785642"/>
                <a:gd name="connsiteY34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313375 w 3785642"/>
                <a:gd name="connsiteY16" fmla="*/ 10945 h 479077"/>
                <a:gd name="connsiteX17" fmla="*/ 3300973 w 3785642"/>
                <a:gd name="connsiteY17" fmla="*/ 21363 h 479077"/>
                <a:gd name="connsiteX18" fmla="*/ 3289068 w 3785642"/>
                <a:gd name="connsiteY18" fmla="*/ 32276 h 479077"/>
                <a:gd name="connsiteX19" fmla="*/ 3277658 w 3785642"/>
                <a:gd name="connsiteY19" fmla="*/ 43686 h 479077"/>
                <a:gd name="connsiteX20" fmla="*/ 3266248 w 3785642"/>
                <a:gd name="connsiteY20" fmla="*/ 55592 h 479077"/>
                <a:gd name="connsiteX21" fmla="*/ 3255830 w 3785642"/>
                <a:gd name="connsiteY21" fmla="*/ 68490 h 479077"/>
                <a:gd name="connsiteX22" fmla="*/ 3243924 w 3785642"/>
                <a:gd name="connsiteY22" fmla="*/ 79900 h 479077"/>
                <a:gd name="connsiteX23" fmla="*/ 3231522 w 3785642"/>
                <a:gd name="connsiteY23" fmla="*/ 90814 h 479077"/>
                <a:gd name="connsiteX24" fmla="*/ 3220609 w 3785642"/>
                <a:gd name="connsiteY24" fmla="*/ 102720 h 479077"/>
                <a:gd name="connsiteX25" fmla="*/ 3208207 w 3785642"/>
                <a:gd name="connsiteY25" fmla="*/ 113137 h 479077"/>
                <a:gd name="connsiteX26" fmla="*/ 3197293 w 3785642"/>
                <a:gd name="connsiteY26" fmla="*/ 125043 h 479077"/>
                <a:gd name="connsiteX27" fmla="*/ 3185387 w 3785642"/>
                <a:gd name="connsiteY27" fmla="*/ 136453 h 479077"/>
                <a:gd name="connsiteX28" fmla="*/ 3174970 w 3785642"/>
                <a:gd name="connsiteY28" fmla="*/ 148855 h 479077"/>
                <a:gd name="connsiteX29" fmla="*/ 3162071 w 3785642"/>
                <a:gd name="connsiteY29" fmla="*/ 159272 h 479077"/>
                <a:gd name="connsiteX30" fmla="*/ 3151158 w 3785642"/>
                <a:gd name="connsiteY30" fmla="*/ 171674 h 479077"/>
                <a:gd name="connsiteX31" fmla="*/ 3139252 w 3785642"/>
                <a:gd name="connsiteY31" fmla="*/ 182588 h 479077"/>
                <a:gd name="connsiteX32" fmla="*/ 3127843 w 3785642"/>
                <a:gd name="connsiteY32" fmla="*/ 194494 h 479077"/>
                <a:gd name="connsiteX33" fmla="*/ 3116432 w 3785642"/>
                <a:gd name="connsiteY33" fmla="*/ 205904 h 479077"/>
                <a:gd name="connsiteX34" fmla="*/ 3105022 w 3785642"/>
                <a:gd name="connsiteY34" fmla="*/ 217810 h 479077"/>
                <a:gd name="connsiteX35" fmla="*/ 3093117 w 3785642"/>
                <a:gd name="connsiteY35" fmla="*/ 229219 h 479077"/>
                <a:gd name="connsiteX36" fmla="*/ 3081707 w 3785642"/>
                <a:gd name="connsiteY36" fmla="*/ 240629 h 479077"/>
                <a:gd name="connsiteX37" fmla="*/ 3069305 w 3785642"/>
                <a:gd name="connsiteY37" fmla="*/ 251543 h 479077"/>
                <a:gd name="connsiteX38" fmla="*/ 3057895 w 3785642"/>
                <a:gd name="connsiteY38" fmla="*/ 263449 h 479077"/>
                <a:gd name="connsiteX39" fmla="*/ 3046486 w 3785642"/>
                <a:gd name="connsiteY39" fmla="*/ 275355 h 479077"/>
                <a:gd name="connsiteX40" fmla="*/ 3035572 w 3785642"/>
                <a:gd name="connsiteY40" fmla="*/ 287260 h 479077"/>
                <a:gd name="connsiteX41" fmla="*/ 3024658 w 3785642"/>
                <a:gd name="connsiteY41" fmla="*/ 299166 h 479077"/>
                <a:gd name="connsiteX42" fmla="*/ 3013248 w 3785642"/>
                <a:gd name="connsiteY42" fmla="*/ 311072 h 479077"/>
                <a:gd name="connsiteX43" fmla="*/ 3000350 w 3785642"/>
                <a:gd name="connsiteY43" fmla="*/ 321490 h 479077"/>
                <a:gd name="connsiteX44" fmla="*/ 2988941 w 3785642"/>
                <a:gd name="connsiteY44" fmla="*/ 333396 h 479077"/>
                <a:gd name="connsiteX45" fmla="*/ 2976539 w 3785642"/>
                <a:gd name="connsiteY45" fmla="*/ 344309 h 479077"/>
                <a:gd name="connsiteX46" fmla="*/ 2965129 w 3785642"/>
                <a:gd name="connsiteY46" fmla="*/ 356215 h 479077"/>
                <a:gd name="connsiteX47" fmla="*/ 2953223 w 3785642"/>
                <a:gd name="connsiteY47" fmla="*/ 367625 h 479077"/>
                <a:gd name="connsiteX48" fmla="*/ 2941813 w 3785642"/>
                <a:gd name="connsiteY48" fmla="*/ 379531 h 479077"/>
                <a:gd name="connsiteX49" fmla="*/ 2931395 w 3785642"/>
                <a:gd name="connsiteY49" fmla="*/ 392429 h 479077"/>
                <a:gd name="connsiteX50" fmla="*/ 2918497 w 3785642"/>
                <a:gd name="connsiteY50" fmla="*/ 402847 h 479077"/>
                <a:gd name="connsiteX51" fmla="*/ 2907584 w 3785642"/>
                <a:gd name="connsiteY51" fmla="*/ 415249 h 479077"/>
                <a:gd name="connsiteX52" fmla="*/ 2896174 w 3785642"/>
                <a:gd name="connsiteY52" fmla="*/ 426658 h 479077"/>
                <a:gd name="connsiteX53" fmla="*/ 2884268 w 3785642"/>
                <a:gd name="connsiteY53" fmla="*/ 438068 h 479077"/>
                <a:gd name="connsiteX54" fmla="*/ 2873354 w 3785642"/>
                <a:gd name="connsiteY54" fmla="*/ 450470 h 479077"/>
                <a:gd name="connsiteX55" fmla="*/ 2860952 w 3785642"/>
                <a:gd name="connsiteY55" fmla="*/ 461384 h 479077"/>
                <a:gd name="connsiteX56" fmla="*/ 2850039 w 3785642"/>
                <a:gd name="connsiteY56" fmla="*/ 473786 h 479077"/>
                <a:gd name="connsiteX57" fmla="*/ 2833668 w 3785642"/>
                <a:gd name="connsiteY57" fmla="*/ 473786 h 479077"/>
                <a:gd name="connsiteX58" fmla="*/ 2817297 w 3785642"/>
                <a:gd name="connsiteY58" fmla="*/ 473290 h 479077"/>
                <a:gd name="connsiteX59" fmla="*/ 2800927 w 3785642"/>
                <a:gd name="connsiteY59" fmla="*/ 473290 h 479077"/>
                <a:gd name="connsiteX60" fmla="*/ 2784556 w 3785642"/>
                <a:gd name="connsiteY60" fmla="*/ 473786 h 479077"/>
                <a:gd name="connsiteX61" fmla="*/ 2768186 w 3785642"/>
                <a:gd name="connsiteY61" fmla="*/ 474282 h 479077"/>
                <a:gd name="connsiteX62" fmla="*/ 2751815 w 3785642"/>
                <a:gd name="connsiteY62" fmla="*/ 474282 h 479077"/>
                <a:gd name="connsiteX63" fmla="*/ 2735444 w 3785642"/>
                <a:gd name="connsiteY63" fmla="*/ 473290 h 479077"/>
                <a:gd name="connsiteX64" fmla="*/ 2719074 w 3785642"/>
                <a:gd name="connsiteY64" fmla="*/ 474282 h 479077"/>
                <a:gd name="connsiteX65" fmla="*/ 2702703 w 3785642"/>
                <a:gd name="connsiteY65" fmla="*/ 472298 h 479077"/>
                <a:gd name="connsiteX66" fmla="*/ 2686333 w 3785642"/>
                <a:gd name="connsiteY66" fmla="*/ 472794 h 479077"/>
                <a:gd name="connsiteX67" fmla="*/ 2669962 w 3785642"/>
                <a:gd name="connsiteY67" fmla="*/ 474282 h 479077"/>
                <a:gd name="connsiteX68" fmla="*/ 2653592 w 3785642"/>
                <a:gd name="connsiteY68" fmla="*/ 472298 h 479077"/>
                <a:gd name="connsiteX69" fmla="*/ 2637221 w 3785642"/>
                <a:gd name="connsiteY69" fmla="*/ 474282 h 479077"/>
                <a:gd name="connsiteX70" fmla="*/ 2620851 w 3785642"/>
                <a:gd name="connsiteY70" fmla="*/ 474282 h 479077"/>
                <a:gd name="connsiteX71" fmla="*/ 2604480 w 3785642"/>
                <a:gd name="connsiteY71" fmla="*/ 472298 h 479077"/>
                <a:gd name="connsiteX72" fmla="*/ 2588109 w 3785642"/>
                <a:gd name="connsiteY72" fmla="*/ 473786 h 479077"/>
                <a:gd name="connsiteX73" fmla="*/ 2571739 w 3785642"/>
                <a:gd name="connsiteY73" fmla="*/ 472298 h 479077"/>
                <a:gd name="connsiteX74" fmla="*/ 2555368 w 3785642"/>
                <a:gd name="connsiteY74" fmla="*/ 473290 h 479077"/>
                <a:gd name="connsiteX75" fmla="*/ 2538998 w 3785642"/>
                <a:gd name="connsiteY75" fmla="*/ 474282 h 479077"/>
                <a:gd name="connsiteX76" fmla="*/ 2522627 w 3785642"/>
                <a:gd name="connsiteY76" fmla="*/ 473290 h 479077"/>
                <a:gd name="connsiteX77" fmla="*/ 2506257 w 3785642"/>
                <a:gd name="connsiteY77" fmla="*/ 474282 h 479077"/>
                <a:gd name="connsiteX78" fmla="*/ 2489886 w 3785642"/>
                <a:gd name="connsiteY78" fmla="*/ 473786 h 479077"/>
                <a:gd name="connsiteX79" fmla="*/ 2473516 w 3785642"/>
                <a:gd name="connsiteY79" fmla="*/ 474282 h 479077"/>
                <a:gd name="connsiteX80" fmla="*/ 2457145 w 3785642"/>
                <a:gd name="connsiteY80" fmla="*/ 472794 h 479077"/>
                <a:gd name="connsiteX81" fmla="*/ 2440775 w 3785642"/>
                <a:gd name="connsiteY81" fmla="*/ 472298 h 479077"/>
                <a:gd name="connsiteX82" fmla="*/ 2424404 w 3785642"/>
                <a:gd name="connsiteY82" fmla="*/ 473786 h 479077"/>
                <a:gd name="connsiteX83" fmla="*/ 2408033 w 3785642"/>
                <a:gd name="connsiteY83" fmla="*/ 472794 h 479077"/>
                <a:gd name="connsiteX84" fmla="*/ 2391663 w 3785642"/>
                <a:gd name="connsiteY84" fmla="*/ 473290 h 479077"/>
                <a:gd name="connsiteX85" fmla="*/ 2375292 w 3785642"/>
                <a:gd name="connsiteY85" fmla="*/ 473290 h 479077"/>
                <a:gd name="connsiteX86" fmla="*/ 2358922 w 3785642"/>
                <a:gd name="connsiteY86" fmla="*/ 472794 h 479077"/>
                <a:gd name="connsiteX87" fmla="*/ 2342551 w 3785642"/>
                <a:gd name="connsiteY87" fmla="*/ 472298 h 479077"/>
                <a:gd name="connsiteX88" fmla="*/ 2326180 w 3785642"/>
                <a:gd name="connsiteY88" fmla="*/ 473786 h 479077"/>
                <a:gd name="connsiteX89" fmla="*/ 2309810 w 3785642"/>
                <a:gd name="connsiteY89" fmla="*/ 473786 h 479077"/>
                <a:gd name="connsiteX90" fmla="*/ 2293439 w 3785642"/>
                <a:gd name="connsiteY90" fmla="*/ 473786 h 479077"/>
                <a:gd name="connsiteX91" fmla="*/ 2277069 w 3785642"/>
                <a:gd name="connsiteY91" fmla="*/ 472794 h 479077"/>
                <a:gd name="connsiteX92" fmla="*/ 2260698 w 3785642"/>
                <a:gd name="connsiteY92" fmla="*/ 474282 h 479077"/>
                <a:gd name="connsiteX93" fmla="*/ 2244327 w 3785642"/>
                <a:gd name="connsiteY93" fmla="*/ 472298 h 479077"/>
                <a:gd name="connsiteX94" fmla="*/ 2227957 w 3785642"/>
                <a:gd name="connsiteY94" fmla="*/ 474282 h 479077"/>
                <a:gd name="connsiteX95" fmla="*/ 2211586 w 3785642"/>
                <a:gd name="connsiteY95" fmla="*/ 473290 h 479077"/>
                <a:gd name="connsiteX96" fmla="*/ 2195216 w 3785642"/>
                <a:gd name="connsiteY96" fmla="*/ 474282 h 479077"/>
                <a:gd name="connsiteX97" fmla="*/ 2178845 w 3785642"/>
                <a:gd name="connsiteY97" fmla="*/ 472794 h 479077"/>
                <a:gd name="connsiteX98" fmla="*/ 2162474 w 3785642"/>
                <a:gd name="connsiteY98" fmla="*/ 474778 h 479077"/>
                <a:gd name="connsiteX99" fmla="*/ 2146104 w 3785642"/>
                <a:gd name="connsiteY99" fmla="*/ 473290 h 479077"/>
                <a:gd name="connsiteX100" fmla="*/ 2129733 w 3785642"/>
                <a:gd name="connsiteY100" fmla="*/ 474778 h 479077"/>
                <a:gd name="connsiteX101" fmla="*/ 2113363 w 3785642"/>
                <a:gd name="connsiteY101" fmla="*/ 474778 h 479077"/>
                <a:gd name="connsiteX102" fmla="*/ 2096992 w 3785642"/>
                <a:gd name="connsiteY102" fmla="*/ 474778 h 479077"/>
                <a:gd name="connsiteX103" fmla="*/ 2080621 w 3785642"/>
                <a:gd name="connsiteY103" fmla="*/ 474282 h 479077"/>
                <a:gd name="connsiteX104" fmla="*/ 2064251 w 3785642"/>
                <a:gd name="connsiteY104" fmla="*/ 472794 h 479077"/>
                <a:gd name="connsiteX105" fmla="*/ 2047880 w 3785642"/>
                <a:gd name="connsiteY105" fmla="*/ 474778 h 479077"/>
                <a:gd name="connsiteX106" fmla="*/ 2031510 w 3785642"/>
                <a:gd name="connsiteY106" fmla="*/ 474778 h 479077"/>
                <a:gd name="connsiteX107" fmla="*/ 2015139 w 3785642"/>
                <a:gd name="connsiteY107" fmla="*/ 474778 h 479077"/>
                <a:gd name="connsiteX108" fmla="*/ 1998769 w 3785642"/>
                <a:gd name="connsiteY108" fmla="*/ 474282 h 479077"/>
                <a:gd name="connsiteX109" fmla="*/ 1982398 w 3785642"/>
                <a:gd name="connsiteY109" fmla="*/ 473786 h 479077"/>
                <a:gd name="connsiteX110" fmla="*/ 1966028 w 3785642"/>
                <a:gd name="connsiteY110" fmla="*/ 473786 h 479077"/>
                <a:gd name="connsiteX111" fmla="*/ 1949657 w 3785642"/>
                <a:gd name="connsiteY111" fmla="*/ 472794 h 479077"/>
                <a:gd name="connsiteX112" fmla="*/ 1933287 w 3785642"/>
                <a:gd name="connsiteY112" fmla="*/ 473290 h 479077"/>
                <a:gd name="connsiteX113" fmla="*/ 1916916 w 3785642"/>
                <a:gd name="connsiteY113" fmla="*/ 474778 h 479077"/>
                <a:gd name="connsiteX114" fmla="*/ 1900546 w 3785642"/>
                <a:gd name="connsiteY114" fmla="*/ 472794 h 479077"/>
                <a:gd name="connsiteX115" fmla="*/ 1884175 w 3785642"/>
                <a:gd name="connsiteY115" fmla="*/ 473786 h 479077"/>
                <a:gd name="connsiteX116" fmla="*/ 1867804 w 3785642"/>
                <a:gd name="connsiteY116" fmla="*/ 474778 h 479077"/>
                <a:gd name="connsiteX117" fmla="*/ 1851434 w 3785642"/>
                <a:gd name="connsiteY117" fmla="*/ 474778 h 479077"/>
                <a:gd name="connsiteX118" fmla="*/ 1835063 w 3785642"/>
                <a:gd name="connsiteY118" fmla="*/ 474778 h 479077"/>
                <a:gd name="connsiteX119" fmla="*/ 1818693 w 3785642"/>
                <a:gd name="connsiteY119" fmla="*/ 474282 h 479077"/>
                <a:gd name="connsiteX120" fmla="*/ 1802322 w 3785642"/>
                <a:gd name="connsiteY120" fmla="*/ 472794 h 479077"/>
                <a:gd name="connsiteX121" fmla="*/ 1785951 w 3785642"/>
                <a:gd name="connsiteY121" fmla="*/ 473786 h 479077"/>
                <a:gd name="connsiteX122" fmla="*/ 1769581 w 3785642"/>
                <a:gd name="connsiteY122" fmla="*/ 473290 h 479077"/>
                <a:gd name="connsiteX123" fmla="*/ 1753210 w 3785642"/>
                <a:gd name="connsiteY123" fmla="*/ 472298 h 479077"/>
                <a:gd name="connsiteX124" fmla="*/ 1736840 w 3785642"/>
                <a:gd name="connsiteY124" fmla="*/ 473290 h 479077"/>
                <a:gd name="connsiteX125" fmla="*/ 1720469 w 3785642"/>
                <a:gd name="connsiteY125" fmla="*/ 474778 h 479077"/>
                <a:gd name="connsiteX126" fmla="*/ 1704098 w 3785642"/>
                <a:gd name="connsiteY126" fmla="*/ 472794 h 479077"/>
                <a:gd name="connsiteX127" fmla="*/ 1687728 w 3785642"/>
                <a:gd name="connsiteY127" fmla="*/ 474778 h 479077"/>
                <a:gd name="connsiteX128" fmla="*/ 1671357 w 3785642"/>
                <a:gd name="connsiteY128" fmla="*/ 474778 h 479077"/>
                <a:gd name="connsiteX129" fmla="*/ 1654987 w 3785642"/>
                <a:gd name="connsiteY129" fmla="*/ 472298 h 479077"/>
                <a:gd name="connsiteX130" fmla="*/ 1638616 w 3785642"/>
                <a:gd name="connsiteY130" fmla="*/ 472794 h 479077"/>
                <a:gd name="connsiteX131" fmla="*/ 1622246 w 3785642"/>
                <a:gd name="connsiteY131" fmla="*/ 473786 h 479077"/>
                <a:gd name="connsiteX132" fmla="*/ 1605875 w 3785642"/>
                <a:gd name="connsiteY132" fmla="*/ 474778 h 479077"/>
                <a:gd name="connsiteX133" fmla="*/ 1589505 w 3785642"/>
                <a:gd name="connsiteY133" fmla="*/ 473290 h 479077"/>
                <a:gd name="connsiteX134" fmla="*/ 1573134 w 3785642"/>
                <a:gd name="connsiteY134" fmla="*/ 474778 h 479077"/>
                <a:gd name="connsiteX135" fmla="*/ 1556763 w 3785642"/>
                <a:gd name="connsiteY135" fmla="*/ 472794 h 479077"/>
                <a:gd name="connsiteX136" fmla="*/ 1540393 w 3785642"/>
                <a:gd name="connsiteY136" fmla="*/ 472794 h 479077"/>
                <a:gd name="connsiteX137" fmla="*/ 1524022 w 3785642"/>
                <a:gd name="connsiteY137" fmla="*/ 474282 h 479077"/>
                <a:gd name="connsiteX138" fmla="*/ 1507652 w 3785642"/>
                <a:gd name="connsiteY138" fmla="*/ 472794 h 479077"/>
                <a:gd name="connsiteX139" fmla="*/ 1491281 w 3785642"/>
                <a:gd name="connsiteY139" fmla="*/ 474282 h 479077"/>
                <a:gd name="connsiteX140" fmla="*/ 1474910 w 3785642"/>
                <a:gd name="connsiteY140" fmla="*/ 474282 h 479077"/>
                <a:gd name="connsiteX141" fmla="*/ 1458540 w 3785642"/>
                <a:gd name="connsiteY141" fmla="*/ 472794 h 479077"/>
                <a:gd name="connsiteX142" fmla="*/ 1442169 w 3785642"/>
                <a:gd name="connsiteY142" fmla="*/ 471802 h 479077"/>
                <a:gd name="connsiteX143" fmla="*/ 1425799 w 3785642"/>
                <a:gd name="connsiteY143" fmla="*/ 472298 h 479077"/>
                <a:gd name="connsiteX144" fmla="*/ 1409428 w 3785642"/>
                <a:gd name="connsiteY144" fmla="*/ 472794 h 479077"/>
                <a:gd name="connsiteX145" fmla="*/ 1393058 w 3785642"/>
                <a:gd name="connsiteY145" fmla="*/ 473786 h 479077"/>
                <a:gd name="connsiteX146" fmla="*/ 1376687 w 3785642"/>
                <a:gd name="connsiteY146" fmla="*/ 471802 h 479077"/>
                <a:gd name="connsiteX147" fmla="*/ 1360317 w 3785642"/>
                <a:gd name="connsiteY147" fmla="*/ 473786 h 479077"/>
                <a:gd name="connsiteX148" fmla="*/ 1343946 w 3785642"/>
                <a:gd name="connsiteY148" fmla="*/ 473786 h 479077"/>
                <a:gd name="connsiteX149" fmla="*/ 1327576 w 3785642"/>
                <a:gd name="connsiteY149" fmla="*/ 472794 h 479077"/>
                <a:gd name="connsiteX150" fmla="*/ 1311205 w 3785642"/>
                <a:gd name="connsiteY150" fmla="*/ 473786 h 479077"/>
                <a:gd name="connsiteX151" fmla="*/ 1294834 w 3785642"/>
                <a:gd name="connsiteY151" fmla="*/ 473786 h 479077"/>
                <a:gd name="connsiteX152" fmla="*/ 1278464 w 3785642"/>
                <a:gd name="connsiteY152" fmla="*/ 473786 h 479077"/>
                <a:gd name="connsiteX153" fmla="*/ 1262093 w 3785642"/>
                <a:gd name="connsiteY153" fmla="*/ 473786 h 479077"/>
                <a:gd name="connsiteX154" fmla="*/ 1245723 w 3785642"/>
                <a:gd name="connsiteY154" fmla="*/ 473290 h 479077"/>
                <a:gd name="connsiteX155" fmla="*/ 1229352 w 3785642"/>
                <a:gd name="connsiteY155" fmla="*/ 472794 h 479077"/>
                <a:gd name="connsiteX156" fmla="*/ 1212981 w 3785642"/>
                <a:gd name="connsiteY156" fmla="*/ 473786 h 479077"/>
                <a:gd name="connsiteX157" fmla="*/ 1196611 w 3785642"/>
                <a:gd name="connsiteY157" fmla="*/ 472298 h 479077"/>
                <a:gd name="connsiteX158" fmla="*/ 1180240 w 3785642"/>
                <a:gd name="connsiteY158" fmla="*/ 472794 h 479077"/>
                <a:gd name="connsiteX159" fmla="*/ 1163870 w 3785642"/>
                <a:gd name="connsiteY159" fmla="*/ 472794 h 479077"/>
                <a:gd name="connsiteX160" fmla="*/ 1147499 w 3785642"/>
                <a:gd name="connsiteY160" fmla="*/ 473786 h 479077"/>
                <a:gd name="connsiteX161" fmla="*/ 1131128 w 3785642"/>
                <a:gd name="connsiteY161" fmla="*/ 473786 h 479077"/>
                <a:gd name="connsiteX162" fmla="*/ 1114758 w 3785642"/>
                <a:gd name="connsiteY162" fmla="*/ 472794 h 479077"/>
                <a:gd name="connsiteX163" fmla="*/ 1098387 w 3785642"/>
                <a:gd name="connsiteY163" fmla="*/ 473786 h 479077"/>
                <a:gd name="connsiteX164" fmla="*/ 1082017 w 3785642"/>
                <a:gd name="connsiteY164" fmla="*/ 474778 h 479077"/>
                <a:gd name="connsiteX165" fmla="*/ 1065646 w 3785642"/>
                <a:gd name="connsiteY165" fmla="*/ 474778 h 479077"/>
                <a:gd name="connsiteX166" fmla="*/ 1049276 w 3785642"/>
                <a:gd name="connsiteY166" fmla="*/ 474282 h 479077"/>
                <a:gd name="connsiteX167" fmla="*/ 1032905 w 3785642"/>
                <a:gd name="connsiteY167" fmla="*/ 473290 h 479077"/>
                <a:gd name="connsiteX168" fmla="*/ 1016535 w 3785642"/>
                <a:gd name="connsiteY168" fmla="*/ 474282 h 479077"/>
                <a:gd name="connsiteX169" fmla="*/ 1000164 w 3785642"/>
                <a:gd name="connsiteY169" fmla="*/ 474282 h 479077"/>
                <a:gd name="connsiteX170" fmla="*/ 983793 w 3785642"/>
                <a:gd name="connsiteY170" fmla="*/ 472794 h 479077"/>
                <a:gd name="connsiteX171" fmla="*/ 967423 w 3785642"/>
                <a:gd name="connsiteY171" fmla="*/ 472794 h 479077"/>
                <a:gd name="connsiteX172" fmla="*/ 951052 w 3785642"/>
                <a:gd name="connsiteY172" fmla="*/ 473786 h 479077"/>
                <a:gd name="connsiteX173" fmla="*/ 934682 w 3785642"/>
                <a:gd name="connsiteY173" fmla="*/ 474282 h 479077"/>
                <a:gd name="connsiteX174" fmla="*/ 918311 w 3785642"/>
                <a:gd name="connsiteY174" fmla="*/ 474778 h 479077"/>
                <a:gd name="connsiteX175" fmla="*/ 901940 w 3785642"/>
                <a:gd name="connsiteY175" fmla="*/ 473290 h 479077"/>
                <a:gd name="connsiteX176" fmla="*/ 885570 w 3785642"/>
                <a:gd name="connsiteY176" fmla="*/ 474778 h 479077"/>
                <a:gd name="connsiteX177" fmla="*/ 869199 w 3785642"/>
                <a:gd name="connsiteY177" fmla="*/ 474282 h 479077"/>
                <a:gd name="connsiteX178" fmla="*/ 852829 w 3785642"/>
                <a:gd name="connsiteY178" fmla="*/ 473786 h 479077"/>
                <a:gd name="connsiteX179" fmla="*/ 836458 w 3785642"/>
                <a:gd name="connsiteY179" fmla="*/ 474778 h 479077"/>
                <a:gd name="connsiteX180" fmla="*/ 820088 w 3785642"/>
                <a:gd name="connsiteY180" fmla="*/ 475274 h 479077"/>
                <a:gd name="connsiteX181" fmla="*/ 803717 w 3785642"/>
                <a:gd name="connsiteY181" fmla="*/ 473786 h 479077"/>
                <a:gd name="connsiteX182" fmla="*/ 787347 w 3785642"/>
                <a:gd name="connsiteY182" fmla="*/ 475770 h 479077"/>
                <a:gd name="connsiteX183" fmla="*/ 770976 w 3785642"/>
                <a:gd name="connsiteY183" fmla="*/ 474778 h 479077"/>
                <a:gd name="connsiteX184" fmla="*/ 754605 w 3785642"/>
                <a:gd name="connsiteY184" fmla="*/ 475274 h 479077"/>
                <a:gd name="connsiteX185" fmla="*/ 738235 w 3785642"/>
                <a:gd name="connsiteY185" fmla="*/ 473786 h 479077"/>
                <a:gd name="connsiteX186" fmla="*/ 721864 w 3785642"/>
                <a:gd name="connsiteY186" fmla="*/ 475274 h 479077"/>
                <a:gd name="connsiteX187" fmla="*/ 705494 w 3785642"/>
                <a:gd name="connsiteY187" fmla="*/ 475770 h 479077"/>
                <a:gd name="connsiteX188" fmla="*/ 689123 w 3785642"/>
                <a:gd name="connsiteY188" fmla="*/ 474282 h 479077"/>
                <a:gd name="connsiteX189" fmla="*/ 672753 w 3785642"/>
                <a:gd name="connsiteY189" fmla="*/ 475274 h 479077"/>
                <a:gd name="connsiteX190" fmla="*/ 656382 w 3785642"/>
                <a:gd name="connsiteY190" fmla="*/ 474778 h 479077"/>
                <a:gd name="connsiteX191" fmla="*/ 640011 w 3785642"/>
                <a:gd name="connsiteY191" fmla="*/ 475770 h 479077"/>
                <a:gd name="connsiteX192" fmla="*/ 623641 w 3785642"/>
                <a:gd name="connsiteY192" fmla="*/ 473786 h 479077"/>
                <a:gd name="connsiteX193" fmla="*/ 607270 w 3785642"/>
                <a:gd name="connsiteY193" fmla="*/ 474778 h 479077"/>
                <a:gd name="connsiteX194" fmla="*/ 590900 w 3785642"/>
                <a:gd name="connsiteY194" fmla="*/ 475274 h 479077"/>
                <a:gd name="connsiteX195" fmla="*/ 574529 w 3785642"/>
                <a:gd name="connsiteY195" fmla="*/ 474282 h 479077"/>
                <a:gd name="connsiteX196" fmla="*/ 558158 w 3785642"/>
                <a:gd name="connsiteY196" fmla="*/ 475274 h 479077"/>
                <a:gd name="connsiteX197" fmla="*/ 541788 w 3785642"/>
                <a:gd name="connsiteY197" fmla="*/ 475770 h 479077"/>
                <a:gd name="connsiteX198" fmla="*/ 525417 w 3785642"/>
                <a:gd name="connsiteY198" fmla="*/ 474282 h 479077"/>
                <a:gd name="connsiteX199" fmla="*/ 509047 w 3785642"/>
                <a:gd name="connsiteY199" fmla="*/ 473786 h 479077"/>
                <a:gd name="connsiteX200" fmla="*/ 492676 w 3785642"/>
                <a:gd name="connsiteY200" fmla="*/ 473786 h 479077"/>
                <a:gd name="connsiteX201" fmla="*/ 476306 w 3785642"/>
                <a:gd name="connsiteY201" fmla="*/ 474778 h 479077"/>
                <a:gd name="connsiteX202" fmla="*/ 459935 w 3785642"/>
                <a:gd name="connsiteY202" fmla="*/ 473786 h 479077"/>
                <a:gd name="connsiteX203" fmla="*/ 443565 w 3785642"/>
                <a:gd name="connsiteY203" fmla="*/ 474778 h 479077"/>
                <a:gd name="connsiteX204" fmla="*/ 427194 w 3785642"/>
                <a:gd name="connsiteY204" fmla="*/ 474282 h 479077"/>
                <a:gd name="connsiteX205" fmla="*/ 410823 w 3785642"/>
                <a:gd name="connsiteY205" fmla="*/ 473290 h 479077"/>
                <a:gd name="connsiteX206" fmla="*/ 394453 w 3785642"/>
                <a:gd name="connsiteY206" fmla="*/ 475770 h 479077"/>
                <a:gd name="connsiteX207" fmla="*/ 378082 w 3785642"/>
                <a:gd name="connsiteY207" fmla="*/ 475274 h 479077"/>
                <a:gd name="connsiteX208" fmla="*/ 361712 w 3785642"/>
                <a:gd name="connsiteY208" fmla="*/ 474778 h 479077"/>
                <a:gd name="connsiteX209" fmla="*/ 345341 w 3785642"/>
                <a:gd name="connsiteY209" fmla="*/ 476266 h 479077"/>
                <a:gd name="connsiteX210" fmla="*/ 328970 w 3785642"/>
                <a:gd name="connsiteY210" fmla="*/ 474282 h 479077"/>
                <a:gd name="connsiteX211" fmla="*/ 312600 w 3785642"/>
                <a:gd name="connsiteY211" fmla="*/ 475274 h 479077"/>
                <a:gd name="connsiteX212" fmla="*/ 296229 w 3785642"/>
                <a:gd name="connsiteY212" fmla="*/ 474282 h 479077"/>
                <a:gd name="connsiteX213" fmla="*/ 279859 w 3785642"/>
                <a:gd name="connsiteY213" fmla="*/ 475770 h 479077"/>
                <a:gd name="connsiteX214" fmla="*/ 263488 w 3785642"/>
                <a:gd name="connsiteY214" fmla="*/ 476266 h 479077"/>
                <a:gd name="connsiteX215" fmla="*/ 247118 w 3785642"/>
                <a:gd name="connsiteY215" fmla="*/ 476266 h 479077"/>
                <a:gd name="connsiteX216" fmla="*/ 230747 w 3785642"/>
                <a:gd name="connsiteY216" fmla="*/ 474778 h 479077"/>
                <a:gd name="connsiteX217" fmla="*/ 214376 w 3785642"/>
                <a:gd name="connsiteY217" fmla="*/ 474778 h 479077"/>
                <a:gd name="connsiteX218" fmla="*/ 198006 w 3785642"/>
                <a:gd name="connsiteY218" fmla="*/ 476762 h 479077"/>
                <a:gd name="connsiteX219" fmla="*/ 181635 w 3785642"/>
                <a:gd name="connsiteY219" fmla="*/ 476266 h 479077"/>
                <a:gd name="connsiteX220" fmla="*/ 165265 w 3785642"/>
                <a:gd name="connsiteY220" fmla="*/ 474778 h 479077"/>
                <a:gd name="connsiteX221" fmla="*/ 148894 w 3785642"/>
                <a:gd name="connsiteY221" fmla="*/ 476762 h 479077"/>
                <a:gd name="connsiteX222" fmla="*/ 132524 w 3785642"/>
                <a:gd name="connsiteY222" fmla="*/ 476266 h 479077"/>
                <a:gd name="connsiteX223" fmla="*/ 116153 w 3785642"/>
                <a:gd name="connsiteY223" fmla="*/ 475274 h 479077"/>
                <a:gd name="connsiteX224" fmla="*/ 99783 w 3785642"/>
                <a:gd name="connsiteY224" fmla="*/ 475274 h 479077"/>
                <a:gd name="connsiteX225" fmla="*/ 83412 w 3785642"/>
                <a:gd name="connsiteY225" fmla="*/ 475274 h 479077"/>
                <a:gd name="connsiteX226" fmla="*/ 67041 w 3785642"/>
                <a:gd name="connsiteY226" fmla="*/ 474778 h 479077"/>
                <a:gd name="connsiteX227" fmla="*/ 50671 w 3785642"/>
                <a:gd name="connsiteY227" fmla="*/ 475274 h 479077"/>
                <a:gd name="connsiteX228" fmla="*/ 34300 w 3785642"/>
                <a:gd name="connsiteY228" fmla="*/ 475274 h 479077"/>
                <a:gd name="connsiteX229" fmla="*/ 17930 w 3785642"/>
                <a:gd name="connsiteY229" fmla="*/ 475770 h 479077"/>
                <a:gd name="connsiteX230" fmla="*/ 567 w 3785642"/>
                <a:gd name="connsiteY230" fmla="*/ 475770 h 479077"/>
                <a:gd name="connsiteX231" fmla="*/ 12969 w 3785642"/>
                <a:gd name="connsiteY231" fmla="*/ 463368 h 479077"/>
                <a:gd name="connsiteX232" fmla="*/ 24379 w 3785642"/>
                <a:gd name="connsiteY232" fmla="*/ 451958 h 479077"/>
                <a:gd name="connsiteX233" fmla="*/ 35788 w 3785642"/>
                <a:gd name="connsiteY233" fmla="*/ 440053 h 479077"/>
                <a:gd name="connsiteX234" fmla="*/ 48686 w 3785642"/>
                <a:gd name="connsiteY234" fmla="*/ 430131 h 479077"/>
                <a:gd name="connsiteX235" fmla="*/ 59600 w 3785642"/>
                <a:gd name="connsiteY235" fmla="*/ 418225 h 479077"/>
                <a:gd name="connsiteX236" fmla="*/ 70514 w 3785642"/>
                <a:gd name="connsiteY236" fmla="*/ 405823 h 479077"/>
                <a:gd name="connsiteX237" fmla="*/ 83412 w 3785642"/>
                <a:gd name="connsiteY237" fmla="*/ 395406 h 479077"/>
                <a:gd name="connsiteX238" fmla="*/ 94822 w 3785642"/>
                <a:gd name="connsiteY238" fmla="*/ 383500 h 479077"/>
                <a:gd name="connsiteX239" fmla="*/ 106728 w 3785642"/>
                <a:gd name="connsiteY239" fmla="*/ 372090 h 479077"/>
                <a:gd name="connsiteX240" fmla="*/ 117145 w 3785642"/>
                <a:gd name="connsiteY240" fmla="*/ 359688 h 479077"/>
                <a:gd name="connsiteX241" fmla="*/ 128555 w 3785642"/>
                <a:gd name="connsiteY241" fmla="*/ 348278 h 479077"/>
                <a:gd name="connsiteX242" fmla="*/ 140461 w 3785642"/>
                <a:gd name="connsiteY242" fmla="*/ 336868 h 479077"/>
                <a:gd name="connsiteX243" fmla="*/ 152863 w 3785642"/>
                <a:gd name="connsiteY243" fmla="*/ 326451 h 479077"/>
                <a:gd name="connsiteX244" fmla="*/ 164769 w 3785642"/>
                <a:gd name="connsiteY244" fmla="*/ 315041 h 479077"/>
                <a:gd name="connsiteX245" fmla="*/ 176178 w 3785642"/>
                <a:gd name="connsiteY245" fmla="*/ 303135 h 479077"/>
                <a:gd name="connsiteX246" fmla="*/ 188084 w 3785642"/>
                <a:gd name="connsiteY246" fmla="*/ 291725 h 479077"/>
                <a:gd name="connsiteX247" fmla="*/ 199494 w 3785642"/>
                <a:gd name="connsiteY247" fmla="*/ 280315 h 479077"/>
                <a:gd name="connsiteX248" fmla="*/ 210904 w 3785642"/>
                <a:gd name="connsiteY248" fmla="*/ 268906 h 479077"/>
                <a:gd name="connsiteX249" fmla="*/ 221818 w 3785642"/>
                <a:gd name="connsiteY249" fmla="*/ 256504 h 479077"/>
                <a:gd name="connsiteX250" fmla="*/ 233724 w 3785642"/>
                <a:gd name="connsiteY250" fmla="*/ 245094 h 479077"/>
                <a:gd name="connsiteX251" fmla="*/ 244141 w 3785642"/>
                <a:gd name="connsiteY251" fmla="*/ 232692 h 479077"/>
                <a:gd name="connsiteX252" fmla="*/ 257039 w 3785642"/>
                <a:gd name="connsiteY252" fmla="*/ 222770 h 479077"/>
                <a:gd name="connsiteX253" fmla="*/ 266961 w 3785642"/>
                <a:gd name="connsiteY253" fmla="*/ 209376 h 479077"/>
                <a:gd name="connsiteX254" fmla="*/ 278371 w 3785642"/>
                <a:gd name="connsiteY254" fmla="*/ 197966 h 479077"/>
                <a:gd name="connsiteX255" fmla="*/ 291269 w 3785642"/>
                <a:gd name="connsiteY255" fmla="*/ 188045 h 479077"/>
                <a:gd name="connsiteX256" fmla="*/ 301686 w 3785642"/>
                <a:gd name="connsiteY256" fmla="*/ 175147 h 479077"/>
                <a:gd name="connsiteX257" fmla="*/ 313592 w 3785642"/>
                <a:gd name="connsiteY257" fmla="*/ 163737 h 479077"/>
                <a:gd name="connsiteX258" fmla="*/ 325994 w 3785642"/>
                <a:gd name="connsiteY258" fmla="*/ 153319 h 479077"/>
                <a:gd name="connsiteX259" fmla="*/ 337404 w 3785642"/>
                <a:gd name="connsiteY259" fmla="*/ 141910 h 479077"/>
                <a:gd name="connsiteX260" fmla="*/ 347325 w 3785642"/>
                <a:gd name="connsiteY260" fmla="*/ 129012 h 479077"/>
                <a:gd name="connsiteX261" fmla="*/ 360224 w 3785642"/>
                <a:gd name="connsiteY261" fmla="*/ 118594 h 479077"/>
                <a:gd name="connsiteX262" fmla="*/ 371137 w 3785642"/>
                <a:gd name="connsiteY262" fmla="*/ 106192 h 479077"/>
                <a:gd name="connsiteX263" fmla="*/ 382051 w 3785642"/>
                <a:gd name="connsiteY263" fmla="*/ 93790 h 479077"/>
                <a:gd name="connsiteX264" fmla="*/ 393957 w 3785642"/>
                <a:gd name="connsiteY264" fmla="*/ 82380 h 479077"/>
                <a:gd name="connsiteX265" fmla="*/ 405366 w 3785642"/>
                <a:gd name="connsiteY265" fmla="*/ 70475 h 479077"/>
                <a:gd name="connsiteX266" fmla="*/ 417272 w 3785642"/>
                <a:gd name="connsiteY266" fmla="*/ 59561 h 479077"/>
                <a:gd name="connsiteX267" fmla="*/ 429674 w 3785642"/>
                <a:gd name="connsiteY267" fmla="*/ 48647 h 479077"/>
                <a:gd name="connsiteX268" fmla="*/ 440092 w 3785642"/>
                <a:gd name="connsiteY268" fmla="*/ 35749 h 479077"/>
                <a:gd name="connsiteX269" fmla="*/ 452494 w 3785642"/>
                <a:gd name="connsiteY269" fmla="*/ 24835 h 479077"/>
                <a:gd name="connsiteX270" fmla="*/ 463904 w 3785642"/>
                <a:gd name="connsiteY270" fmla="*/ 12929 h 479077"/>
                <a:gd name="connsiteX271" fmla="*/ 475313 w 3785642"/>
                <a:gd name="connsiteY271" fmla="*/ 1024 h 479077"/>
                <a:gd name="connsiteX272" fmla="*/ 491684 w 3785642"/>
                <a:gd name="connsiteY272" fmla="*/ 2512 h 479077"/>
                <a:gd name="connsiteX273" fmla="*/ 508055 w 3785642"/>
                <a:gd name="connsiteY273" fmla="*/ 2512 h 479077"/>
                <a:gd name="connsiteX274" fmla="*/ 524425 w 3785642"/>
                <a:gd name="connsiteY274" fmla="*/ 2512 h 479077"/>
                <a:gd name="connsiteX275" fmla="*/ 540796 w 3785642"/>
                <a:gd name="connsiteY275" fmla="*/ 1024 h 479077"/>
                <a:gd name="connsiteX276" fmla="*/ 557166 w 3785642"/>
                <a:gd name="connsiteY276" fmla="*/ 2512 h 479077"/>
                <a:gd name="connsiteX277" fmla="*/ 573537 w 3785642"/>
                <a:gd name="connsiteY277" fmla="*/ 1024 h 479077"/>
                <a:gd name="connsiteX278" fmla="*/ 589908 w 3785642"/>
                <a:gd name="connsiteY278" fmla="*/ 527 h 479077"/>
                <a:gd name="connsiteX279" fmla="*/ 606278 w 3785642"/>
                <a:gd name="connsiteY279" fmla="*/ 1520 h 479077"/>
                <a:gd name="connsiteX280" fmla="*/ 622649 w 3785642"/>
                <a:gd name="connsiteY280" fmla="*/ 1520 h 479077"/>
                <a:gd name="connsiteX281" fmla="*/ 639019 w 3785642"/>
                <a:gd name="connsiteY281" fmla="*/ 2016 h 479077"/>
                <a:gd name="connsiteX282" fmla="*/ 655390 w 3785642"/>
                <a:gd name="connsiteY282" fmla="*/ 527 h 479077"/>
                <a:gd name="connsiteX283" fmla="*/ 671760 w 3785642"/>
                <a:gd name="connsiteY283" fmla="*/ 1520 h 479077"/>
                <a:gd name="connsiteX284" fmla="*/ 688131 w 3785642"/>
                <a:gd name="connsiteY284" fmla="*/ 2512 h 479077"/>
                <a:gd name="connsiteX285" fmla="*/ 704501 w 3785642"/>
                <a:gd name="connsiteY285" fmla="*/ 1024 h 479077"/>
                <a:gd name="connsiteX286" fmla="*/ 720872 w 3785642"/>
                <a:gd name="connsiteY286" fmla="*/ 1520 h 479077"/>
                <a:gd name="connsiteX287" fmla="*/ 737243 w 3785642"/>
                <a:gd name="connsiteY287" fmla="*/ 2016 h 479077"/>
                <a:gd name="connsiteX288" fmla="*/ 753613 w 3785642"/>
                <a:gd name="connsiteY288" fmla="*/ 1024 h 479077"/>
                <a:gd name="connsiteX289" fmla="*/ 769984 w 3785642"/>
                <a:gd name="connsiteY289" fmla="*/ 527 h 479077"/>
                <a:gd name="connsiteX290" fmla="*/ 786354 w 3785642"/>
                <a:gd name="connsiteY290" fmla="*/ 1520 h 479077"/>
                <a:gd name="connsiteX291" fmla="*/ 802725 w 3785642"/>
                <a:gd name="connsiteY291" fmla="*/ 527 h 479077"/>
                <a:gd name="connsiteX292" fmla="*/ 819096 w 3785642"/>
                <a:gd name="connsiteY292" fmla="*/ 2512 h 479077"/>
                <a:gd name="connsiteX293" fmla="*/ 835466 w 3785642"/>
                <a:gd name="connsiteY293" fmla="*/ 527 h 479077"/>
                <a:gd name="connsiteX294" fmla="*/ 851837 w 3785642"/>
                <a:gd name="connsiteY294" fmla="*/ 1520 h 479077"/>
                <a:gd name="connsiteX295" fmla="*/ 868207 w 3785642"/>
                <a:gd name="connsiteY295" fmla="*/ 2016 h 479077"/>
                <a:gd name="connsiteX296" fmla="*/ 884578 w 3785642"/>
                <a:gd name="connsiteY296" fmla="*/ 2512 h 479077"/>
                <a:gd name="connsiteX297" fmla="*/ 900948 w 3785642"/>
                <a:gd name="connsiteY297" fmla="*/ 1520 h 479077"/>
                <a:gd name="connsiteX298" fmla="*/ 917319 w 3785642"/>
                <a:gd name="connsiteY298" fmla="*/ 1024 h 479077"/>
                <a:gd name="connsiteX299" fmla="*/ 933689 w 3785642"/>
                <a:gd name="connsiteY299" fmla="*/ 2512 h 479077"/>
                <a:gd name="connsiteX300" fmla="*/ 950060 w 3785642"/>
                <a:gd name="connsiteY300" fmla="*/ 1520 h 479077"/>
                <a:gd name="connsiteX301" fmla="*/ 966431 w 3785642"/>
                <a:gd name="connsiteY301" fmla="*/ 2016 h 479077"/>
                <a:gd name="connsiteX302" fmla="*/ 982801 w 3785642"/>
                <a:gd name="connsiteY302" fmla="*/ 2512 h 479077"/>
                <a:gd name="connsiteX303" fmla="*/ 999172 w 3785642"/>
                <a:gd name="connsiteY303" fmla="*/ 1520 h 479077"/>
                <a:gd name="connsiteX304" fmla="*/ 1015542 w 3785642"/>
                <a:gd name="connsiteY304" fmla="*/ 2512 h 479077"/>
                <a:gd name="connsiteX305" fmla="*/ 1031913 w 3785642"/>
                <a:gd name="connsiteY305" fmla="*/ 1520 h 479077"/>
                <a:gd name="connsiteX306" fmla="*/ 1048283 w 3785642"/>
                <a:gd name="connsiteY306" fmla="*/ 2016 h 479077"/>
                <a:gd name="connsiteX307" fmla="*/ 1064654 w 3785642"/>
                <a:gd name="connsiteY307" fmla="*/ 3504 h 479077"/>
                <a:gd name="connsiteX308" fmla="*/ 1081025 w 3785642"/>
                <a:gd name="connsiteY308" fmla="*/ 2016 h 479077"/>
                <a:gd name="connsiteX309" fmla="*/ 1097395 w 3785642"/>
                <a:gd name="connsiteY309" fmla="*/ 2512 h 479077"/>
                <a:gd name="connsiteX310" fmla="*/ 1113766 w 3785642"/>
                <a:gd name="connsiteY310" fmla="*/ 2512 h 479077"/>
                <a:gd name="connsiteX311" fmla="*/ 1130136 w 3785642"/>
                <a:gd name="connsiteY311" fmla="*/ 3504 h 479077"/>
                <a:gd name="connsiteX312" fmla="*/ 1146507 w 3785642"/>
                <a:gd name="connsiteY312" fmla="*/ 1520 h 479077"/>
                <a:gd name="connsiteX313" fmla="*/ 1162878 w 3785642"/>
                <a:gd name="connsiteY313" fmla="*/ 3008 h 479077"/>
                <a:gd name="connsiteX314" fmla="*/ 1179248 w 3785642"/>
                <a:gd name="connsiteY314" fmla="*/ 4000 h 479077"/>
                <a:gd name="connsiteX315" fmla="*/ 1195619 w 3785642"/>
                <a:gd name="connsiteY315" fmla="*/ 3504 h 479077"/>
                <a:gd name="connsiteX316" fmla="*/ 1211989 w 3785642"/>
                <a:gd name="connsiteY316" fmla="*/ 1520 h 479077"/>
                <a:gd name="connsiteX317" fmla="*/ 1228360 w 3785642"/>
                <a:gd name="connsiteY317" fmla="*/ 3504 h 479077"/>
                <a:gd name="connsiteX318" fmla="*/ 1244730 w 3785642"/>
                <a:gd name="connsiteY318" fmla="*/ 1520 h 479077"/>
                <a:gd name="connsiteX319" fmla="*/ 1261101 w 3785642"/>
                <a:gd name="connsiteY319" fmla="*/ 2512 h 479077"/>
                <a:gd name="connsiteX320" fmla="*/ 1277471 w 3785642"/>
                <a:gd name="connsiteY320" fmla="*/ 3504 h 479077"/>
                <a:gd name="connsiteX321" fmla="*/ 1293842 w 3785642"/>
                <a:gd name="connsiteY321" fmla="*/ 4000 h 479077"/>
                <a:gd name="connsiteX322" fmla="*/ 1310213 w 3785642"/>
                <a:gd name="connsiteY322" fmla="*/ 1520 h 479077"/>
                <a:gd name="connsiteX323" fmla="*/ 1326583 w 3785642"/>
                <a:gd name="connsiteY323" fmla="*/ 2016 h 479077"/>
                <a:gd name="connsiteX324" fmla="*/ 1342954 w 3785642"/>
                <a:gd name="connsiteY324" fmla="*/ 3008 h 479077"/>
                <a:gd name="connsiteX325" fmla="*/ 1359324 w 3785642"/>
                <a:gd name="connsiteY325" fmla="*/ 3008 h 479077"/>
                <a:gd name="connsiteX326" fmla="*/ 1375695 w 3785642"/>
                <a:gd name="connsiteY326" fmla="*/ 2512 h 479077"/>
                <a:gd name="connsiteX327" fmla="*/ 1392066 w 3785642"/>
                <a:gd name="connsiteY327" fmla="*/ 2512 h 479077"/>
                <a:gd name="connsiteX328" fmla="*/ 1408436 w 3785642"/>
                <a:gd name="connsiteY328" fmla="*/ 3504 h 479077"/>
                <a:gd name="connsiteX329" fmla="*/ 1424807 w 3785642"/>
                <a:gd name="connsiteY329" fmla="*/ 3504 h 479077"/>
                <a:gd name="connsiteX330" fmla="*/ 1441177 w 3785642"/>
                <a:gd name="connsiteY330" fmla="*/ 1520 h 479077"/>
                <a:gd name="connsiteX331" fmla="*/ 1457548 w 3785642"/>
                <a:gd name="connsiteY331" fmla="*/ 2512 h 479077"/>
                <a:gd name="connsiteX332" fmla="*/ 1473919 w 3785642"/>
                <a:gd name="connsiteY332" fmla="*/ 2016 h 479077"/>
                <a:gd name="connsiteX333" fmla="*/ 1490289 w 3785642"/>
                <a:gd name="connsiteY333" fmla="*/ 2016 h 479077"/>
                <a:gd name="connsiteX334" fmla="*/ 1506660 w 3785642"/>
                <a:gd name="connsiteY334" fmla="*/ 1520 h 479077"/>
                <a:gd name="connsiteX335" fmla="*/ 1523030 w 3785642"/>
                <a:gd name="connsiteY335" fmla="*/ 3504 h 479077"/>
                <a:gd name="connsiteX336" fmla="*/ 1539401 w 3785642"/>
                <a:gd name="connsiteY336" fmla="*/ 3008 h 479077"/>
                <a:gd name="connsiteX337" fmla="*/ 1555771 w 3785642"/>
                <a:gd name="connsiteY337" fmla="*/ 3008 h 479077"/>
                <a:gd name="connsiteX338" fmla="*/ 1572142 w 3785642"/>
                <a:gd name="connsiteY338" fmla="*/ 2512 h 479077"/>
                <a:gd name="connsiteX339" fmla="*/ 1588512 w 3785642"/>
                <a:gd name="connsiteY339" fmla="*/ 2016 h 479077"/>
                <a:gd name="connsiteX340" fmla="*/ 1604883 w 3785642"/>
                <a:gd name="connsiteY340" fmla="*/ 3008 h 479077"/>
                <a:gd name="connsiteX341" fmla="*/ 1621253 w 3785642"/>
                <a:gd name="connsiteY341" fmla="*/ 3008 h 479077"/>
                <a:gd name="connsiteX342" fmla="*/ 1637624 w 3785642"/>
                <a:gd name="connsiteY34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313375 w 3785642"/>
                <a:gd name="connsiteY15" fmla="*/ 10945 h 479077"/>
                <a:gd name="connsiteX16" fmla="*/ 3300973 w 3785642"/>
                <a:gd name="connsiteY16" fmla="*/ 21363 h 479077"/>
                <a:gd name="connsiteX17" fmla="*/ 3289068 w 3785642"/>
                <a:gd name="connsiteY17" fmla="*/ 32276 h 479077"/>
                <a:gd name="connsiteX18" fmla="*/ 3277658 w 3785642"/>
                <a:gd name="connsiteY18" fmla="*/ 43686 h 479077"/>
                <a:gd name="connsiteX19" fmla="*/ 3266248 w 3785642"/>
                <a:gd name="connsiteY19" fmla="*/ 55592 h 479077"/>
                <a:gd name="connsiteX20" fmla="*/ 3255830 w 3785642"/>
                <a:gd name="connsiteY20" fmla="*/ 68490 h 479077"/>
                <a:gd name="connsiteX21" fmla="*/ 3243924 w 3785642"/>
                <a:gd name="connsiteY21" fmla="*/ 79900 h 479077"/>
                <a:gd name="connsiteX22" fmla="*/ 3231522 w 3785642"/>
                <a:gd name="connsiteY22" fmla="*/ 90814 h 479077"/>
                <a:gd name="connsiteX23" fmla="*/ 3220609 w 3785642"/>
                <a:gd name="connsiteY23" fmla="*/ 102720 h 479077"/>
                <a:gd name="connsiteX24" fmla="*/ 3208207 w 3785642"/>
                <a:gd name="connsiteY24" fmla="*/ 113137 h 479077"/>
                <a:gd name="connsiteX25" fmla="*/ 3197293 w 3785642"/>
                <a:gd name="connsiteY25" fmla="*/ 125043 h 479077"/>
                <a:gd name="connsiteX26" fmla="*/ 3185387 w 3785642"/>
                <a:gd name="connsiteY26" fmla="*/ 136453 h 479077"/>
                <a:gd name="connsiteX27" fmla="*/ 3174970 w 3785642"/>
                <a:gd name="connsiteY27" fmla="*/ 148855 h 479077"/>
                <a:gd name="connsiteX28" fmla="*/ 3162071 w 3785642"/>
                <a:gd name="connsiteY28" fmla="*/ 159272 h 479077"/>
                <a:gd name="connsiteX29" fmla="*/ 3151158 w 3785642"/>
                <a:gd name="connsiteY29" fmla="*/ 171674 h 479077"/>
                <a:gd name="connsiteX30" fmla="*/ 3139252 w 3785642"/>
                <a:gd name="connsiteY30" fmla="*/ 182588 h 479077"/>
                <a:gd name="connsiteX31" fmla="*/ 3127843 w 3785642"/>
                <a:gd name="connsiteY31" fmla="*/ 194494 h 479077"/>
                <a:gd name="connsiteX32" fmla="*/ 3116432 w 3785642"/>
                <a:gd name="connsiteY32" fmla="*/ 205904 h 479077"/>
                <a:gd name="connsiteX33" fmla="*/ 3105022 w 3785642"/>
                <a:gd name="connsiteY33" fmla="*/ 217810 h 479077"/>
                <a:gd name="connsiteX34" fmla="*/ 3093117 w 3785642"/>
                <a:gd name="connsiteY34" fmla="*/ 229219 h 479077"/>
                <a:gd name="connsiteX35" fmla="*/ 3081707 w 3785642"/>
                <a:gd name="connsiteY35" fmla="*/ 240629 h 479077"/>
                <a:gd name="connsiteX36" fmla="*/ 3069305 w 3785642"/>
                <a:gd name="connsiteY36" fmla="*/ 251543 h 479077"/>
                <a:gd name="connsiteX37" fmla="*/ 3057895 w 3785642"/>
                <a:gd name="connsiteY37" fmla="*/ 263449 h 479077"/>
                <a:gd name="connsiteX38" fmla="*/ 3046486 w 3785642"/>
                <a:gd name="connsiteY38" fmla="*/ 275355 h 479077"/>
                <a:gd name="connsiteX39" fmla="*/ 3035572 w 3785642"/>
                <a:gd name="connsiteY39" fmla="*/ 287260 h 479077"/>
                <a:gd name="connsiteX40" fmla="*/ 3024658 w 3785642"/>
                <a:gd name="connsiteY40" fmla="*/ 299166 h 479077"/>
                <a:gd name="connsiteX41" fmla="*/ 3013248 w 3785642"/>
                <a:gd name="connsiteY41" fmla="*/ 311072 h 479077"/>
                <a:gd name="connsiteX42" fmla="*/ 3000350 w 3785642"/>
                <a:gd name="connsiteY42" fmla="*/ 321490 h 479077"/>
                <a:gd name="connsiteX43" fmla="*/ 2988941 w 3785642"/>
                <a:gd name="connsiteY43" fmla="*/ 333396 h 479077"/>
                <a:gd name="connsiteX44" fmla="*/ 2976539 w 3785642"/>
                <a:gd name="connsiteY44" fmla="*/ 344309 h 479077"/>
                <a:gd name="connsiteX45" fmla="*/ 2965129 w 3785642"/>
                <a:gd name="connsiteY45" fmla="*/ 356215 h 479077"/>
                <a:gd name="connsiteX46" fmla="*/ 2953223 w 3785642"/>
                <a:gd name="connsiteY46" fmla="*/ 367625 h 479077"/>
                <a:gd name="connsiteX47" fmla="*/ 2941813 w 3785642"/>
                <a:gd name="connsiteY47" fmla="*/ 379531 h 479077"/>
                <a:gd name="connsiteX48" fmla="*/ 2931395 w 3785642"/>
                <a:gd name="connsiteY48" fmla="*/ 392429 h 479077"/>
                <a:gd name="connsiteX49" fmla="*/ 2918497 w 3785642"/>
                <a:gd name="connsiteY49" fmla="*/ 402847 h 479077"/>
                <a:gd name="connsiteX50" fmla="*/ 2907584 w 3785642"/>
                <a:gd name="connsiteY50" fmla="*/ 415249 h 479077"/>
                <a:gd name="connsiteX51" fmla="*/ 2896174 w 3785642"/>
                <a:gd name="connsiteY51" fmla="*/ 426658 h 479077"/>
                <a:gd name="connsiteX52" fmla="*/ 2884268 w 3785642"/>
                <a:gd name="connsiteY52" fmla="*/ 438068 h 479077"/>
                <a:gd name="connsiteX53" fmla="*/ 2873354 w 3785642"/>
                <a:gd name="connsiteY53" fmla="*/ 450470 h 479077"/>
                <a:gd name="connsiteX54" fmla="*/ 2860952 w 3785642"/>
                <a:gd name="connsiteY54" fmla="*/ 461384 h 479077"/>
                <a:gd name="connsiteX55" fmla="*/ 2850039 w 3785642"/>
                <a:gd name="connsiteY55" fmla="*/ 473786 h 479077"/>
                <a:gd name="connsiteX56" fmla="*/ 2833668 w 3785642"/>
                <a:gd name="connsiteY56" fmla="*/ 473786 h 479077"/>
                <a:gd name="connsiteX57" fmla="*/ 2817297 w 3785642"/>
                <a:gd name="connsiteY57" fmla="*/ 473290 h 479077"/>
                <a:gd name="connsiteX58" fmla="*/ 2800927 w 3785642"/>
                <a:gd name="connsiteY58" fmla="*/ 473290 h 479077"/>
                <a:gd name="connsiteX59" fmla="*/ 2784556 w 3785642"/>
                <a:gd name="connsiteY59" fmla="*/ 473786 h 479077"/>
                <a:gd name="connsiteX60" fmla="*/ 2768186 w 3785642"/>
                <a:gd name="connsiteY60" fmla="*/ 474282 h 479077"/>
                <a:gd name="connsiteX61" fmla="*/ 2751815 w 3785642"/>
                <a:gd name="connsiteY61" fmla="*/ 474282 h 479077"/>
                <a:gd name="connsiteX62" fmla="*/ 2735444 w 3785642"/>
                <a:gd name="connsiteY62" fmla="*/ 473290 h 479077"/>
                <a:gd name="connsiteX63" fmla="*/ 2719074 w 3785642"/>
                <a:gd name="connsiteY63" fmla="*/ 474282 h 479077"/>
                <a:gd name="connsiteX64" fmla="*/ 2702703 w 3785642"/>
                <a:gd name="connsiteY64" fmla="*/ 472298 h 479077"/>
                <a:gd name="connsiteX65" fmla="*/ 2686333 w 3785642"/>
                <a:gd name="connsiteY65" fmla="*/ 472794 h 479077"/>
                <a:gd name="connsiteX66" fmla="*/ 2669962 w 3785642"/>
                <a:gd name="connsiteY66" fmla="*/ 474282 h 479077"/>
                <a:gd name="connsiteX67" fmla="*/ 2653592 w 3785642"/>
                <a:gd name="connsiteY67" fmla="*/ 472298 h 479077"/>
                <a:gd name="connsiteX68" fmla="*/ 2637221 w 3785642"/>
                <a:gd name="connsiteY68" fmla="*/ 474282 h 479077"/>
                <a:gd name="connsiteX69" fmla="*/ 2620851 w 3785642"/>
                <a:gd name="connsiteY69" fmla="*/ 474282 h 479077"/>
                <a:gd name="connsiteX70" fmla="*/ 2604480 w 3785642"/>
                <a:gd name="connsiteY70" fmla="*/ 472298 h 479077"/>
                <a:gd name="connsiteX71" fmla="*/ 2588109 w 3785642"/>
                <a:gd name="connsiteY71" fmla="*/ 473786 h 479077"/>
                <a:gd name="connsiteX72" fmla="*/ 2571739 w 3785642"/>
                <a:gd name="connsiteY72" fmla="*/ 472298 h 479077"/>
                <a:gd name="connsiteX73" fmla="*/ 2555368 w 3785642"/>
                <a:gd name="connsiteY73" fmla="*/ 473290 h 479077"/>
                <a:gd name="connsiteX74" fmla="*/ 2538998 w 3785642"/>
                <a:gd name="connsiteY74" fmla="*/ 474282 h 479077"/>
                <a:gd name="connsiteX75" fmla="*/ 2522627 w 3785642"/>
                <a:gd name="connsiteY75" fmla="*/ 473290 h 479077"/>
                <a:gd name="connsiteX76" fmla="*/ 2506257 w 3785642"/>
                <a:gd name="connsiteY76" fmla="*/ 474282 h 479077"/>
                <a:gd name="connsiteX77" fmla="*/ 2489886 w 3785642"/>
                <a:gd name="connsiteY77" fmla="*/ 473786 h 479077"/>
                <a:gd name="connsiteX78" fmla="*/ 2473516 w 3785642"/>
                <a:gd name="connsiteY78" fmla="*/ 474282 h 479077"/>
                <a:gd name="connsiteX79" fmla="*/ 2457145 w 3785642"/>
                <a:gd name="connsiteY79" fmla="*/ 472794 h 479077"/>
                <a:gd name="connsiteX80" fmla="*/ 2440775 w 3785642"/>
                <a:gd name="connsiteY80" fmla="*/ 472298 h 479077"/>
                <a:gd name="connsiteX81" fmla="*/ 2424404 w 3785642"/>
                <a:gd name="connsiteY81" fmla="*/ 473786 h 479077"/>
                <a:gd name="connsiteX82" fmla="*/ 2408033 w 3785642"/>
                <a:gd name="connsiteY82" fmla="*/ 472794 h 479077"/>
                <a:gd name="connsiteX83" fmla="*/ 2391663 w 3785642"/>
                <a:gd name="connsiteY83" fmla="*/ 473290 h 479077"/>
                <a:gd name="connsiteX84" fmla="*/ 2375292 w 3785642"/>
                <a:gd name="connsiteY84" fmla="*/ 473290 h 479077"/>
                <a:gd name="connsiteX85" fmla="*/ 2358922 w 3785642"/>
                <a:gd name="connsiteY85" fmla="*/ 472794 h 479077"/>
                <a:gd name="connsiteX86" fmla="*/ 2342551 w 3785642"/>
                <a:gd name="connsiteY86" fmla="*/ 472298 h 479077"/>
                <a:gd name="connsiteX87" fmla="*/ 2326180 w 3785642"/>
                <a:gd name="connsiteY87" fmla="*/ 473786 h 479077"/>
                <a:gd name="connsiteX88" fmla="*/ 2309810 w 3785642"/>
                <a:gd name="connsiteY88" fmla="*/ 473786 h 479077"/>
                <a:gd name="connsiteX89" fmla="*/ 2293439 w 3785642"/>
                <a:gd name="connsiteY89" fmla="*/ 473786 h 479077"/>
                <a:gd name="connsiteX90" fmla="*/ 2277069 w 3785642"/>
                <a:gd name="connsiteY90" fmla="*/ 472794 h 479077"/>
                <a:gd name="connsiteX91" fmla="*/ 2260698 w 3785642"/>
                <a:gd name="connsiteY91" fmla="*/ 474282 h 479077"/>
                <a:gd name="connsiteX92" fmla="*/ 2244327 w 3785642"/>
                <a:gd name="connsiteY92" fmla="*/ 472298 h 479077"/>
                <a:gd name="connsiteX93" fmla="*/ 2227957 w 3785642"/>
                <a:gd name="connsiteY93" fmla="*/ 474282 h 479077"/>
                <a:gd name="connsiteX94" fmla="*/ 2211586 w 3785642"/>
                <a:gd name="connsiteY94" fmla="*/ 473290 h 479077"/>
                <a:gd name="connsiteX95" fmla="*/ 2195216 w 3785642"/>
                <a:gd name="connsiteY95" fmla="*/ 474282 h 479077"/>
                <a:gd name="connsiteX96" fmla="*/ 2178845 w 3785642"/>
                <a:gd name="connsiteY96" fmla="*/ 472794 h 479077"/>
                <a:gd name="connsiteX97" fmla="*/ 2162474 w 3785642"/>
                <a:gd name="connsiteY97" fmla="*/ 474778 h 479077"/>
                <a:gd name="connsiteX98" fmla="*/ 2146104 w 3785642"/>
                <a:gd name="connsiteY98" fmla="*/ 473290 h 479077"/>
                <a:gd name="connsiteX99" fmla="*/ 2129733 w 3785642"/>
                <a:gd name="connsiteY99" fmla="*/ 474778 h 479077"/>
                <a:gd name="connsiteX100" fmla="*/ 2113363 w 3785642"/>
                <a:gd name="connsiteY100" fmla="*/ 474778 h 479077"/>
                <a:gd name="connsiteX101" fmla="*/ 2096992 w 3785642"/>
                <a:gd name="connsiteY101" fmla="*/ 474778 h 479077"/>
                <a:gd name="connsiteX102" fmla="*/ 2080621 w 3785642"/>
                <a:gd name="connsiteY102" fmla="*/ 474282 h 479077"/>
                <a:gd name="connsiteX103" fmla="*/ 2064251 w 3785642"/>
                <a:gd name="connsiteY103" fmla="*/ 472794 h 479077"/>
                <a:gd name="connsiteX104" fmla="*/ 2047880 w 3785642"/>
                <a:gd name="connsiteY104" fmla="*/ 474778 h 479077"/>
                <a:gd name="connsiteX105" fmla="*/ 2031510 w 3785642"/>
                <a:gd name="connsiteY105" fmla="*/ 474778 h 479077"/>
                <a:gd name="connsiteX106" fmla="*/ 2015139 w 3785642"/>
                <a:gd name="connsiteY106" fmla="*/ 474778 h 479077"/>
                <a:gd name="connsiteX107" fmla="*/ 1998769 w 3785642"/>
                <a:gd name="connsiteY107" fmla="*/ 474282 h 479077"/>
                <a:gd name="connsiteX108" fmla="*/ 1982398 w 3785642"/>
                <a:gd name="connsiteY108" fmla="*/ 473786 h 479077"/>
                <a:gd name="connsiteX109" fmla="*/ 1966028 w 3785642"/>
                <a:gd name="connsiteY109" fmla="*/ 473786 h 479077"/>
                <a:gd name="connsiteX110" fmla="*/ 1949657 w 3785642"/>
                <a:gd name="connsiteY110" fmla="*/ 472794 h 479077"/>
                <a:gd name="connsiteX111" fmla="*/ 1933287 w 3785642"/>
                <a:gd name="connsiteY111" fmla="*/ 473290 h 479077"/>
                <a:gd name="connsiteX112" fmla="*/ 1916916 w 3785642"/>
                <a:gd name="connsiteY112" fmla="*/ 474778 h 479077"/>
                <a:gd name="connsiteX113" fmla="*/ 1900546 w 3785642"/>
                <a:gd name="connsiteY113" fmla="*/ 472794 h 479077"/>
                <a:gd name="connsiteX114" fmla="*/ 1884175 w 3785642"/>
                <a:gd name="connsiteY114" fmla="*/ 473786 h 479077"/>
                <a:gd name="connsiteX115" fmla="*/ 1867804 w 3785642"/>
                <a:gd name="connsiteY115" fmla="*/ 474778 h 479077"/>
                <a:gd name="connsiteX116" fmla="*/ 1851434 w 3785642"/>
                <a:gd name="connsiteY116" fmla="*/ 474778 h 479077"/>
                <a:gd name="connsiteX117" fmla="*/ 1835063 w 3785642"/>
                <a:gd name="connsiteY117" fmla="*/ 474778 h 479077"/>
                <a:gd name="connsiteX118" fmla="*/ 1818693 w 3785642"/>
                <a:gd name="connsiteY118" fmla="*/ 474282 h 479077"/>
                <a:gd name="connsiteX119" fmla="*/ 1802322 w 3785642"/>
                <a:gd name="connsiteY119" fmla="*/ 472794 h 479077"/>
                <a:gd name="connsiteX120" fmla="*/ 1785951 w 3785642"/>
                <a:gd name="connsiteY120" fmla="*/ 473786 h 479077"/>
                <a:gd name="connsiteX121" fmla="*/ 1769581 w 3785642"/>
                <a:gd name="connsiteY121" fmla="*/ 473290 h 479077"/>
                <a:gd name="connsiteX122" fmla="*/ 1753210 w 3785642"/>
                <a:gd name="connsiteY122" fmla="*/ 472298 h 479077"/>
                <a:gd name="connsiteX123" fmla="*/ 1736840 w 3785642"/>
                <a:gd name="connsiteY123" fmla="*/ 473290 h 479077"/>
                <a:gd name="connsiteX124" fmla="*/ 1720469 w 3785642"/>
                <a:gd name="connsiteY124" fmla="*/ 474778 h 479077"/>
                <a:gd name="connsiteX125" fmla="*/ 1704098 w 3785642"/>
                <a:gd name="connsiteY125" fmla="*/ 472794 h 479077"/>
                <a:gd name="connsiteX126" fmla="*/ 1687728 w 3785642"/>
                <a:gd name="connsiteY126" fmla="*/ 474778 h 479077"/>
                <a:gd name="connsiteX127" fmla="*/ 1671357 w 3785642"/>
                <a:gd name="connsiteY127" fmla="*/ 474778 h 479077"/>
                <a:gd name="connsiteX128" fmla="*/ 1654987 w 3785642"/>
                <a:gd name="connsiteY128" fmla="*/ 472298 h 479077"/>
                <a:gd name="connsiteX129" fmla="*/ 1638616 w 3785642"/>
                <a:gd name="connsiteY129" fmla="*/ 472794 h 479077"/>
                <a:gd name="connsiteX130" fmla="*/ 1622246 w 3785642"/>
                <a:gd name="connsiteY130" fmla="*/ 473786 h 479077"/>
                <a:gd name="connsiteX131" fmla="*/ 1605875 w 3785642"/>
                <a:gd name="connsiteY131" fmla="*/ 474778 h 479077"/>
                <a:gd name="connsiteX132" fmla="*/ 1589505 w 3785642"/>
                <a:gd name="connsiteY132" fmla="*/ 473290 h 479077"/>
                <a:gd name="connsiteX133" fmla="*/ 1573134 w 3785642"/>
                <a:gd name="connsiteY133" fmla="*/ 474778 h 479077"/>
                <a:gd name="connsiteX134" fmla="*/ 1556763 w 3785642"/>
                <a:gd name="connsiteY134" fmla="*/ 472794 h 479077"/>
                <a:gd name="connsiteX135" fmla="*/ 1540393 w 3785642"/>
                <a:gd name="connsiteY135" fmla="*/ 472794 h 479077"/>
                <a:gd name="connsiteX136" fmla="*/ 1524022 w 3785642"/>
                <a:gd name="connsiteY136" fmla="*/ 474282 h 479077"/>
                <a:gd name="connsiteX137" fmla="*/ 1507652 w 3785642"/>
                <a:gd name="connsiteY137" fmla="*/ 472794 h 479077"/>
                <a:gd name="connsiteX138" fmla="*/ 1491281 w 3785642"/>
                <a:gd name="connsiteY138" fmla="*/ 474282 h 479077"/>
                <a:gd name="connsiteX139" fmla="*/ 1474910 w 3785642"/>
                <a:gd name="connsiteY139" fmla="*/ 474282 h 479077"/>
                <a:gd name="connsiteX140" fmla="*/ 1458540 w 3785642"/>
                <a:gd name="connsiteY140" fmla="*/ 472794 h 479077"/>
                <a:gd name="connsiteX141" fmla="*/ 1442169 w 3785642"/>
                <a:gd name="connsiteY141" fmla="*/ 471802 h 479077"/>
                <a:gd name="connsiteX142" fmla="*/ 1425799 w 3785642"/>
                <a:gd name="connsiteY142" fmla="*/ 472298 h 479077"/>
                <a:gd name="connsiteX143" fmla="*/ 1409428 w 3785642"/>
                <a:gd name="connsiteY143" fmla="*/ 472794 h 479077"/>
                <a:gd name="connsiteX144" fmla="*/ 1393058 w 3785642"/>
                <a:gd name="connsiteY144" fmla="*/ 473786 h 479077"/>
                <a:gd name="connsiteX145" fmla="*/ 1376687 w 3785642"/>
                <a:gd name="connsiteY145" fmla="*/ 471802 h 479077"/>
                <a:gd name="connsiteX146" fmla="*/ 1360317 w 3785642"/>
                <a:gd name="connsiteY146" fmla="*/ 473786 h 479077"/>
                <a:gd name="connsiteX147" fmla="*/ 1343946 w 3785642"/>
                <a:gd name="connsiteY147" fmla="*/ 473786 h 479077"/>
                <a:gd name="connsiteX148" fmla="*/ 1327576 w 3785642"/>
                <a:gd name="connsiteY148" fmla="*/ 472794 h 479077"/>
                <a:gd name="connsiteX149" fmla="*/ 1311205 w 3785642"/>
                <a:gd name="connsiteY149" fmla="*/ 473786 h 479077"/>
                <a:gd name="connsiteX150" fmla="*/ 1294834 w 3785642"/>
                <a:gd name="connsiteY150" fmla="*/ 473786 h 479077"/>
                <a:gd name="connsiteX151" fmla="*/ 1278464 w 3785642"/>
                <a:gd name="connsiteY151" fmla="*/ 473786 h 479077"/>
                <a:gd name="connsiteX152" fmla="*/ 1262093 w 3785642"/>
                <a:gd name="connsiteY152" fmla="*/ 473786 h 479077"/>
                <a:gd name="connsiteX153" fmla="*/ 1245723 w 3785642"/>
                <a:gd name="connsiteY153" fmla="*/ 473290 h 479077"/>
                <a:gd name="connsiteX154" fmla="*/ 1229352 w 3785642"/>
                <a:gd name="connsiteY154" fmla="*/ 472794 h 479077"/>
                <a:gd name="connsiteX155" fmla="*/ 1212981 w 3785642"/>
                <a:gd name="connsiteY155" fmla="*/ 473786 h 479077"/>
                <a:gd name="connsiteX156" fmla="*/ 1196611 w 3785642"/>
                <a:gd name="connsiteY156" fmla="*/ 472298 h 479077"/>
                <a:gd name="connsiteX157" fmla="*/ 1180240 w 3785642"/>
                <a:gd name="connsiteY157" fmla="*/ 472794 h 479077"/>
                <a:gd name="connsiteX158" fmla="*/ 1163870 w 3785642"/>
                <a:gd name="connsiteY158" fmla="*/ 472794 h 479077"/>
                <a:gd name="connsiteX159" fmla="*/ 1147499 w 3785642"/>
                <a:gd name="connsiteY159" fmla="*/ 473786 h 479077"/>
                <a:gd name="connsiteX160" fmla="*/ 1131128 w 3785642"/>
                <a:gd name="connsiteY160" fmla="*/ 473786 h 479077"/>
                <a:gd name="connsiteX161" fmla="*/ 1114758 w 3785642"/>
                <a:gd name="connsiteY161" fmla="*/ 472794 h 479077"/>
                <a:gd name="connsiteX162" fmla="*/ 1098387 w 3785642"/>
                <a:gd name="connsiteY162" fmla="*/ 473786 h 479077"/>
                <a:gd name="connsiteX163" fmla="*/ 1082017 w 3785642"/>
                <a:gd name="connsiteY163" fmla="*/ 474778 h 479077"/>
                <a:gd name="connsiteX164" fmla="*/ 1065646 w 3785642"/>
                <a:gd name="connsiteY164" fmla="*/ 474778 h 479077"/>
                <a:gd name="connsiteX165" fmla="*/ 1049276 w 3785642"/>
                <a:gd name="connsiteY165" fmla="*/ 474282 h 479077"/>
                <a:gd name="connsiteX166" fmla="*/ 1032905 w 3785642"/>
                <a:gd name="connsiteY166" fmla="*/ 473290 h 479077"/>
                <a:gd name="connsiteX167" fmla="*/ 1016535 w 3785642"/>
                <a:gd name="connsiteY167" fmla="*/ 474282 h 479077"/>
                <a:gd name="connsiteX168" fmla="*/ 1000164 w 3785642"/>
                <a:gd name="connsiteY168" fmla="*/ 474282 h 479077"/>
                <a:gd name="connsiteX169" fmla="*/ 983793 w 3785642"/>
                <a:gd name="connsiteY169" fmla="*/ 472794 h 479077"/>
                <a:gd name="connsiteX170" fmla="*/ 967423 w 3785642"/>
                <a:gd name="connsiteY170" fmla="*/ 472794 h 479077"/>
                <a:gd name="connsiteX171" fmla="*/ 951052 w 3785642"/>
                <a:gd name="connsiteY171" fmla="*/ 473786 h 479077"/>
                <a:gd name="connsiteX172" fmla="*/ 934682 w 3785642"/>
                <a:gd name="connsiteY172" fmla="*/ 474282 h 479077"/>
                <a:gd name="connsiteX173" fmla="*/ 918311 w 3785642"/>
                <a:gd name="connsiteY173" fmla="*/ 474778 h 479077"/>
                <a:gd name="connsiteX174" fmla="*/ 901940 w 3785642"/>
                <a:gd name="connsiteY174" fmla="*/ 473290 h 479077"/>
                <a:gd name="connsiteX175" fmla="*/ 885570 w 3785642"/>
                <a:gd name="connsiteY175" fmla="*/ 474778 h 479077"/>
                <a:gd name="connsiteX176" fmla="*/ 869199 w 3785642"/>
                <a:gd name="connsiteY176" fmla="*/ 474282 h 479077"/>
                <a:gd name="connsiteX177" fmla="*/ 852829 w 3785642"/>
                <a:gd name="connsiteY177" fmla="*/ 473786 h 479077"/>
                <a:gd name="connsiteX178" fmla="*/ 836458 w 3785642"/>
                <a:gd name="connsiteY178" fmla="*/ 474778 h 479077"/>
                <a:gd name="connsiteX179" fmla="*/ 820088 w 3785642"/>
                <a:gd name="connsiteY179" fmla="*/ 475274 h 479077"/>
                <a:gd name="connsiteX180" fmla="*/ 803717 w 3785642"/>
                <a:gd name="connsiteY180" fmla="*/ 473786 h 479077"/>
                <a:gd name="connsiteX181" fmla="*/ 787347 w 3785642"/>
                <a:gd name="connsiteY181" fmla="*/ 475770 h 479077"/>
                <a:gd name="connsiteX182" fmla="*/ 770976 w 3785642"/>
                <a:gd name="connsiteY182" fmla="*/ 474778 h 479077"/>
                <a:gd name="connsiteX183" fmla="*/ 754605 w 3785642"/>
                <a:gd name="connsiteY183" fmla="*/ 475274 h 479077"/>
                <a:gd name="connsiteX184" fmla="*/ 738235 w 3785642"/>
                <a:gd name="connsiteY184" fmla="*/ 473786 h 479077"/>
                <a:gd name="connsiteX185" fmla="*/ 721864 w 3785642"/>
                <a:gd name="connsiteY185" fmla="*/ 475274 h 479077"/>
                <a:gd name="connsiteX186" fmla="*/ 705494 w 3785642"/>
                <a:gd name="connsiteY186" fmla="*/ 475770 h 479077"/>
                <a:gd name="connsiteX187" fmla="*/ 689123 w 3785642"/>
                <a:gd name="connsiteY187" fmla="*/ 474282 h 479077"/>
                <a:gd name="connsiteX188" fmla="*/ 672753 w 3785642"/>
                <a:gd name="connsiteY188" fmla="*/ 475274 h 479077"/>
                <a:gd name="connsiteX189" fmla="*/ 656382 w 3785642"/>
                <a:gd name="connsiteY189" fmla="*/ 474778 h 479077"/>
                <a:gd name="connsiteX190" fmla="*/ 640011 w 3785642"/>
                <a:gd name="connsiteY190" fmla="*/ 475770 h 479077"/>
                <a:gd name="connsiteX191" fmla="*/ 623641 w 3785642"/>
                <a:gd name="connsiteY191" fmla="*/ 473786 h 479077"/>
                <a:gd name="connsiteX192" fmla="*/ 607270 w 3785642"/>
                <a:gd name="connsiteY192" fmla="*/ 474778 h 479077"/>
                <a:gd name="connsiteX193" fmla="*/ 590900 w 3785642"/>
                <a:gd name="connsiteY193" fmla="*/ 475274 h 479077"/>
                <a:gd name="connsiteX194" fmla="*/ 574529 w 3785642"/>
                <a:gd name="connsiteY194" fmla="*/ 474282 h 479077"/>
                <a:gd name="connsiteX195" fmla="*/ 558158 w 3785642"/>
                <a:gd name="connsiteY195" fmla="*/ 475274 h 479077"/>
                <a:gd name="connsiteX196" fmla="*/ 541788 w 3785642"/>
                <a:gd name="connsiteY196" fmla="*/ 475770 h 479077"/>
                <a:gd name="connsiteX197" fmla="*/ 525417 w 3785642"/>
                <a:gd name="connsiteY197" fmla="*/ 474282 h 479077"/>
                <a:gd name="connsiteX198" fmla="*/ 509047 w 3785642"/>
                <a:gd name="connsiteY198" fmla="*/ 473786 h 479077"/>
                <a:gd name="connsiteX199" fmla="*/ 492676 w 3785642"/>
                <a:gd name="connsiteY199" fmla="*/ 473786 h 479077"/>
                <a:gd name="connsiteX200" fmla="*/ 476306 w 3785642"/>
                <a:gd name="connsiteY200" fmla="*/ 474778 h 479077"/>
                <a:gd name="connsiteX201" fmla="*/ 459935 w 3785642"/>
                <a:gd name="connsiteY201" fmla="*/ 473786 h 479077"/>
                <a:gd name="connsiteX202" fmla="*/ 443565 w 3785642"/>
                <a:gd name="connsiteY202" fmla="*/ 474778 h 479077"/>
                <a:gd name="connsiteX203" fmla="*/ 427194 w 3785642"/>
                <a:gd name="connsiteY203" fmla="*/ 474282 h 479077"/>
                <a:gd name="connsiteX204" fmla="*/ 410823 w 3785642"/>
                <a:gd name="connsiteY204" fmla="*/ 473290 h 479077"/>
                <a:gd name="connsiteX205" fmla="*/ 394453 w 3785642"/>
                <a:gd name="connsiteY205" fmla="*/ 475770 h 479077"/>
                <a:gd name="connsiteX206" fmla="*/ 378082 w 3785642"/>
                <a:gd name="connsiteY206" fmla="*/ 475274 h 479077"/>
                <a:gd name="connsiteX207" fmla="*/ 361712 w 3785642"/>
                <a:gd name="connsiteY207" fmla="*/ 474778 h 479077"/>
                <a:gd name="connsiteX208" fmla="*/ 345341 w 3785642"/>
                <a:gd name="connsiteY208" fmla="*/ 476266 h 479077"/>
                <a:gd name="connsiteX209" fmla="*/ 328970 w 3785642"/>
                <a:gd name="connsiteY209" fmla="*/ 474282 h 479077"/>
                <a:gd name="connsiteX210" fmla="*/ 312600 w 3785642"/>
                <a:gd name="connsiteY210" fmla="*/ 475274 h 479077"/>
                <a:gd name="connsiteX211" fmla="*/ 296229 w 3785642"/>
                <a:gd name="connsiteY211" fmla="*/ 474282 h 479077"/>
                <a:gd name="connsiteX212" fmla="*/ 279859 w 3785642"/>
                <a:gd name="connsiteY212" fmla="*/ 475770 h 479077"/>
                <a:gd name="connsiteX213" fmla="*/ 263488 w 3785642"/>
                <a:gd name="connsiteY213" fmla="*/ 476266 h 479077"/>
                <a:gd name="connsiteX214" fmla="*/ 247118 w 3785642"/>
                <a:gd name="connsiteY214" fmla="*/ 476266 h 479077"/>
                <a:gd name="connsiteX215" fmla="*/ 230747 w 3785642"/>
                <a:gd name="connsiteY215" fmla="*/ 474778 h 479077"/>
                <a:gd name="connsiteX216" fmla="*/ 214376 w 3785642"/>
                <a:gd name="connsiteY216" fmla="*/ 474778 h 479077"/>
                <a:gd name="connsiteX217" fmla="*/ 198006 w 3785642"/>
                <a:gd name="connsiteY217" fmla="*/ 476762 h 479077"/>
                <a:gd name="connsiteX218" fmla="*/ 181635 w 3785642"/>
                <a:gd name="connsiteY218" fmla="*/ 476266 h 479077"/>
                <a:gd name="connsiteX219" fmla="*/ 165265 w 3785642"/>
                <a:gd name="connsiteY219" fmla="*/ 474778 h 479077"/>
                <a:gd name="connsiteX220" fmla="*/ 148894 w 3785642"/>
                <a:gd name="connsiteY220" fmla="*/ 476762 h 479077"/>
                <a:gd name="connsiteX221" fmla="*/ 132524 w 3785642"/>
                <a:gd name="connsiteY221" fmla="*/ 476266 h 479077"/>
                <a:gd name="connsiteX222" fmla="*/ 116153 w 3785642"/>
                <a:gd name="connsiteY222" fmla="*/ 475274 h 479077"/>
                <a:gd name="connsiteX223" fmla="*/ 99783 w 3785642"/>
                <a:gd name="connsiteY223" fmla="*/ 475274 h 479077"/>
                <a:gd name="connsiteX224" fmla="*/ 83412 w 3785642"/>
                <a:gd name="connsiteY224" fmla="*/ 475274 h 479077"/>
                <a:gd name="connsiteX225" fmla="*/ 67041 w 3785642"/>
                <a:gd name="connsiteY225" fmla="*/ 474778 h 479077"/>
                <a:gd name="connsiteX226" fmla="*/ 50671 w 3785642"/>
                <a:gd name="connsiteY226" fmla="*/ 475274 h 479077"/>
                <a:gd name="connsiteX227" fmla="*/ 34300 w 3785642"/>
                <a:gd name="connsiteY227" fmla="*/ 475274 h 479077"/>
                <a:gd name="connsiteX228" fmla="*/ 17930 w 3785642"/>
                <a:gd name="connsiteY228" fmla="*/ 475770 h 479077"/>
                <a:gd name="connsiteX229" fmla="*/ 567 w 3785642"/>
                <a:gd name="connsiteY229" fmla="*/ 475770 h 479077"/>
                <a:gd name="connsiteX230" fmla="*/ 12969 w 3785642"/>
                <a:gd name="connsiteY230" fmla="*/ 463368 h 479077"/>
                <a:gd name="connsiteX231" fmla="*/ 24379 w 3785642"/>
                <a:gd name="connsiteY231" fmla="*/ 451958 h 479077"/>
                <a:gd name="connsiteX232" fmla="*/ 35788 w 3785642"/>
                <a:gd name="connsiteY232" fmla="*/ 440053 h 479077"/>
                <a:gd name="connsiteX233" fmla="*/ 48686 w 3785642"/>
                <a:gd name="connsiteY233" fmla="*/ 430131 h 479077"/>
                <a:gd name="connsiteX234" fmla="*/ 59600 w 3785642"/>
                <a:gd name="connsiteY234" fmla="*/ 418225 h 479077"/>
                <a:gd name="connsiteX235" fmla="*/ 70514 w 3785642"/>
                <a:gd name="connsiteY235" fmla="*/ 405823 h 479077"/>
                <a:gd name="connsiteX236" fmla="*/ 83412 w 3785642"/>
                <a:gd name="connsiteY236" fmla="*/ 395406 h 479077"/>
                <a:gd name="connsiteX237" fmla="*/ 94822 w 3785642"/>
                <a:gd name="connsiteY237" fmla="*/ 383500 h 479077"/>
                <a:gd name="connsiteX238" fmla="*/ 106728 w 3785642"/>
                <a:gd name="connsiteY238" fmla="*/ 372090 h 479077"/>
                <a:gd name="connsiteX239" fmla="*/ 117145 w 3785642"/>
                <a:gd name="connsiteY239" fmla="*/ 359688 h 479077"/>
                <a:gd name="connsiteX240" fmla="*/ 128555 w 3785642"/>
                <a:gd name="connsiteY240" fmla="*/ 348278 h 479077"/>
                <a:gd name="connsiteX241" fmla="*/ 140461 w 3785642"/>
                <a:gd name="connsiteY241" fmla="*/ 336868 h 479077"/>
                <a:gd name="connsiteX242" fmla="*/ 152863 w 3785642"/>
                <a:gd name="connsiteY242" fmla="*/ 326451 h 479077"/>
                <a:gd name="connsiteX243" fmla="*/ 164769 w 3785642"/>
                <a:gd name="connsiteY243" fmla="*/ 315041 h 479077"/>
                <a:gd name="connsiteX244" fmla="*/ 176178 w 3785642"/>
                <a:gd name="connsiteY244" fmla="*/ 303135 h 479077"/>
                <a:gd name="connsiteX245" fmla="*/ 188084 w 3785642"/>
                <a:gd name="connsiteY245" fmla="*/ 291725 h 479077"/>
                <a:gd name="connsiteX246" fmla="*/ 199494 w 3785642"/>
                <a:gd name="connsiteY246" fmla="*/ 280315 h 479077"/>
                <a:gd name="connsiteX247" fmla="*/ 210904 w 3785642"/>
                <a:gd name="connsiteY247" fmla="*/ 268906 h 479077"/>
                <a:gd name="connsiteX248" fmla="*/ 221818 w 3785642"/>
                <a:gd name="connsiteY248" fmla="*/ 256504 h 479077"/>
                <a:gd name="connsiteX249" fmla="*/ 233724 w 3785642"/>
                <a:gd name="connsiteY249" fmla="*/ 245094 h 479077"/>
                <a:gd name="connsiteX250" fmla="*/ 244141 w 3785642"/>
                <a:gd name="connsiteY250" fmla="*/ 232692 h 479077"/>
                <a:gd name="connsiteX251" fmla="*/ 257039 w 3785642"/>
                <a:gd name="connsiteY251" fmla="*/ 222770 h 479077"/>
                <a:gd name="connsiteX252" fmla="*/ 266961 w 3785642"/>
                <a:gd name="connsiteY252" fmla="*/ 209376 h 479077"/>
                <a:gd name="connsiteX253" fmla="*/ 278371 w 3785642"/>
                <a:gd name="connsiteY253" fmla="*/ 197966 h 479077"/>
                <a:gd name="connsiteX254" fmla="*/ 291269 w 3785642"/>
                <a:gd name="connsiteY254" fmla="*/ 188045 h 479077"/>
                <a:gd name="connsiteX255" fmla="*/ 301686 w 3785642"/>
                <a:gd name="connsiteY255" fmla="*/ 175147 h 479077"/>
                <a:gd name="connsiteX256" fmla="*/ 313592 w 3785642"/>
                <a:gd name="connsiteY256" fmla="*/ 163737 h 479077"/>
                <a:gd name="connsiteX257" fmla="*/ 325994 w 3785642"/>
                <a:gd name="connsiteY257" fmla="*/ 153319 h 479077"/>
                <a:gd name="connsiteX258" fmla="*/ 337404 w 3785642"/>
                <a:gd name="connsiteY258" fmla="*/ 141910 h 479077"/>
                <a:gd name="connsiteX259" fmla="*/ 347325 w 3785642"/>
                <a:gd name="connsiteY259" fmla="*/ 129012 h 479077"/>
                <a:gd name="connsiteX260" fmla="*/ 360224 w 3785642"/>
                <a:gd name="connsiteY260" fmla="*/ 118594 h 479077"/>
                <a:gd name="connsiteX261" fmla="*/ 371137 w 3785642"/>
                <a:gd name="connsiteY261" fmla="*/ 106192 h 479077"/>
                <a:gd name="connsiteX262" fmla="*/ 382051 w 3785642"/>
                <a:gd name="connsiteY262" fmla="*/ 93790 h 479077"/>
                <a:gd name="connsiteX263" fmla="*/ 393957 w 3785642"/>
                <a:gd name="connsiteY263" fmla="*/ 82380 h 479077"/>
                <a:gd name="connsiteX264" fmla="*/ 405366 w 3785642"/>
                <a:gd name="connsiteY264" fmla="*/ 70475 h 479077"/>
                <a:gd name="connsiteX265" fmla="*/ 417272 w 3785642"/>
                <a:gd name="connsiteY265" fmla="*/ 59561 h 479077"/>
                <a:gd name="connsiteX266" fmla="*/ 429674 w 3785642"/>
                <a:gd name="connsiteY266" fmla="*/ 48647 h 479077"/>
                <a:gd name="connsiteX267" fmla="*/ 440092 w 3785642"/>
                <a:gd name="connsiteY267" fmla="*/ 35749 h 479077"/>
                <a:gd name="connsiteX268" fmla="*/ 452494 w 3785642"/>
                <a:gd name="connsiteY268" fmla="*/ 24835 h 479077"/>
                <a:gd name="connsiteX269" fmla="*/ 463904 w 3785642"/>
                <a:gd name="connsiteY269" fmla="*/ 12929 h 479077"/>
                <a:gd name="connsiteX270" fmla="*/ 475313 w 3785642"/>
                <a:gd name="connsiteY270" fmla="*/ 1024 h 479077"/>
                <a:gd name="connsiteX271" fmla="*/ 491684 w 3785642"/>
                <a:gd name="connsiteY271" fmla="*/ 2512 h 479077"/>
                <a:gd name="connsiteX272" fmla="*/ 508055 w 3785642"/>
                <a:gd name="connsiteY272" fmla="*/ 2512 h 479077"/>
                <a:gd name="connsiteX273" fmla="*/ 524425 w 3785642"/>
                <a:gd name="connsiteY273" fmla="*/ 2512 h 479077"/>
                <a:gd name="connsiteX274" fmla="*/ 540796 w 3785642"/>
                <a:gd name="connsiteY274" fmla="*/ 1024 h 479077"/>
                <a:gd name="connsiteX275" fmla="*/ 557166 w 3785642"/>
                <a:gd name="connsiteY275" fmla="*/ 2512 h 479077"/>
                <a:gd name="connsiteX276" fmla="*/ 573537 w 3785642"/>
                <a:gd name="connsiteY276" fmla="*/ 1024 h 479077"/>
                <a:gd name="connsiteX277" fmla="*/ 589908 w 3785642"/>
                <a:gd name="connsiteY277" fmla="*/ 527 h 479077"/>
                <a:gd name="connsiteX278" fmla="*/ 606278 w 3785642"/>
                <a:gd name="connsiteY278" fmla="*/ 1520 h 479077"/>
                <a:gd name="connsiteX279" fmla="*/ 622649 w 3785642"/>
                <a:gd name="connsiteY279" fmla="*/ 1520 h 479077"/>
                <a:gd name="connsiteX280" fmla="*/ 639019 w 3785642"/>
                <a:gd name="connsiteY280" fmla="*/ 2016 h 479077"/>
                <a:gd name="connsiteX281" fmla="*/ 655390 w 3785642"/>
                <a:gd name="connsiteY281" fmla="*/ 527 h 479077"/>
                <a:gd name="connsiteX282" fmla="*/ 671760 w 3785642"/>
                <a:gd name="connsiteY282" fmla="*/ 1520 h 479077"/>
                <a:gd name="connsiteX283" fmla="*/ 688131 w 3785642"/>
                <a:gd name="connsiteY283" fmla="*/ 2512 h 479077"/>
                <a:gd name="connsiteX284" fmla="*/ 704501 w 3785642"/>
                <a:gd name="connsiteY284" fmla="*/ 1024 h 479077"/>
                <a:gd name="connsiteX285" fmla="*/ 720872 w 3785642"/>
                <a:gd name="connsiteY285" fmla="*/ 1520 h 479077"/>
                <a:gd name="connsiteX286" fmla="*/ 737243 w 3785642"/>
                <a:gd name="connsiteY286" fmla="*/ 2016 h 479077"/>
                <a:gd name="connsiteX287" fmla="*/ 753613 w 3785642"/>
                <a:gd name="connsiteY287" fmla="*/ 1024 h 479077"/>
                <a:gd name="connsiteX288" fmla="*/ 769984 w 3785642"/>
                <a:gd name="connsiteY288" fmla="*/ 527 h 479077"/>
                <a:gd name="connsiteX289" fmla="*/ 786354 w 3785642"/>
                <a:gd name="connsiteY289" fmla="*/ 1520 h 479077"/>
                <a:gd name="connsiteX290" fmla="*/ 802725 w 3785642"/>
                <a:gd name="connsiteY290" fmla="*/ 527 h 479077"/>
                <a:gd name="connsiteX291" fmla="*/ 819096 w 3785642"/>
                <a:gd name="connsiteY291" fmla="*/ 2512 h 479077"/>
                <a:gd name="connsiteX292" fmla="*/ 835466 w 3785642"/>
                <a:gd name="connsiteY292" fmla="*/ 527 h 479077"/>
                <a:gd name="connsiteX293" fmla="*/ 851837 w 3785642"/>
                <a:gd name="connsiteY293" fmla="*/ 1520 h 479077"/>
                <a:gd name="connsiteX294" fmla="*/ 868207 w 3785642"/>
                <a:gd name="connsiteY294" fmla="*/ 2016 h 479077"/>
                <a:gd name="connsiteX295" fmla="*/ 884578 w 3785642"/>
                <a:gd name="connsiteY295" fmla="*/ 2512 h 479077"/>
                <a:gd name="connsiteX296" fmla="*/ 900948 w 3785642"/>
                <a:gd name="connsiteY296" fmla="*/ 1520 h 479077"/>
                <a:gd name="connsiteX297" fmla="*/ 917319 w 3785642"/>
                <a:gd name="connsiteY297" fmla="*/ 1024 h 479077"/>
                <a:gd name="connsiteX298" fmla="*/ 933689 w 3785642"/>
                <a:gd name="connsiteY298" fmla="*/ 2512 h 479077"/>
                <a:gd name="connsiteX299" fmla="*/ 950060 w 3785642"/>
                <a:gd name="connsiteY299" fmla="*/ 1520 h 479077"/>
                <a:gd name="connsiteX300" fmla="*/ 966431 w 3785642"/>
                <a:gd name="connsiteY300" fmla="*/ 2016 h 479077"/>
                <a:gd name="connsiteX301" fmla="*/ 982801 w 3785642"/>
                <a:gd name="connsiteY301" fmla="*/ 2512 h 479077"/>
                <a:gd name="connsiteX302" fmla="*/ 999172 w 3785642"/>
                <a:gd name="connsiteY302" fmla="*/ 1520 h 479077"/>
                <a:gd name="connsiteX303" fmla="*/ 1015542 w 3785642"/>
                <a:gd name="connsiteY303" fmla="*/ 2512 h 479077"/>
                <a:gd name="connsiteX304" fmla="*/ 1031913 w 3785642"/>
                <a:gd name="connsiteY304" fmla="*/ 1520 h 479077"/>
                <a:gd name="connsiteX305" fmla="*/ 1048283 w 3785642"/>
                <a:gd name="connsiteY305" fmla="*/ 2016 h 479077"/>
                <a:gd name="connsiteX306" fmla="*/ 1064654 w 3785642"/>
                <a:gd name="connsiteY306" fmla="*/ 3504 h 479077"/>
                <a:gd name="connsiteX307" fmla="*/ 1081025 w 3785642"/>
                <a:gd name="connsiteY307" fmla="*/ 2016 h 479077"/>
                <a:gd name="connsiteX308" fmla="*/ 1097395 w 3785642"/>
                <a:gd name="connsiteY308" fmla="*/ 2512 h 479077"/>
                <a:gd name="connsiteX309" fmla="*/ 1113766 w 3785642"/>
                <a:gd name="connsiteY309" fmla="*/ 2512 h 479077"/>
                <a:gd name="connsiteX310" fmla="*/ 1130136 w 3785642"/>
                <a:gd name="connsiteY310" fmla="*/ 3504 h 479077"/>
                <a:gd name="connsiteX311" fmla="*/ 1146507 w 3785642"/>
                <a:gd name="connsiteY311" fmla="*/ 1520 h 479077"/>
                <a:gd name="connsiteX312" fmla="*/ 1162878 w 3785642"/>
                <a:gd name="connsiteY312" fmla="*/ 3008 h 479077"/>
                <a:gd name="connsiteX313" fmla="*/ 1179248 w 3785642"/>
                <a:gd name="connsiteY313" fmla="*/ 4000 h 479077"/>
                <a:gd name="connsiteX314" fmla="*/ 1195619 w 3785642"/>
                <a:gd name="connsiteY314" fmla="*/ 3504 h 479077"/>
                <a:gd name="connsiteX315" fmla="*/ 1211989 w 3785642"/>
                <a:gd name="connsiteY315" fmla="*/ 1520 h 479077"/>
                <a:gd name="connsiteX316" fmla="*/ 1228360 w 3785642"/>
                <a:gd name="connsiteY316" fmla="*/ 3504 h 479077"/>
                <a:gd name="connsiteX317" fmla="*/ 1244730 w 3785642"/>
                <a:gd name="connsiteY317" fmla="*/ 1520 h 479077"/>
                <a:gd name="connsiteX318" fmla="*/ 1261101 w 3785642"/>
                <a:gd name="connsiteY318" fmla="*/ 2512 h 479077"/>
                <a:gd name="connsiteX319" fmla="*/ 1277471 w 3785642"/>
                <a:gd name="connsiteY319" fmla="*/ 3504 h 479077"/>
                <a:gd name="connsiteX320" fmla="*/ 1293842 w 3785642"/>
                <a:gd name="connsiteY320" fmla="*/ 4000 h 479077"/>
                <a:gd name="connsiteX321" fmla="*/ 1310213 w 3785642"/>
                <a:gd name="connsiteY321" fmla="*/ 1520 h 479077"/>
                <a:gd name="connsiteX322" fmla="*/ 1326583 w 3785642"/>
                <a:gd name="connsiteY322" fmla="*/ 2016 h 479077"/>
                <a:gd name="connsiteX323" fmla="*/ 1342954 w 3785642"/>
                <a:gd name="connsiteY323" fmla="*/ 3008 h 479077"/>
                <a:gd name="connsiteX324" fmla="*/ 1359324 w 3785642"/>
                <a:gd name="connsiteY324" fmla="*/ 3008 h 479077"/>
                <a:gd name="connsiteX325" fmla="*/ 1375695 w 3785642"/>
                <a:gd name="connsiteY325" fmla="*/ 2512 h 479077"/>
                <a:gd name="connsiteX326" fmla="*/ 1392066 w 3785642"/>
                <a:gd name="connsiteY326" fmla="*/ 2512 h 479077"/>
                <a:gd name="connsiteX327" fmla="*/ 1408436 w 3785642"/>
                <a:gd name="connsiteY327" fmla="*/ 3504 h 479077"/>
                <a:gd name="connsiteX328" fmla="*/ 1424807 w 3785642"/>
                <a:gd name="connsiteY328" fmla="*/ 3504 h 479077"/>
                <a:gd name="connsiteX329" fmla="*/ 1441177 w 3785642"/>
                <a:gd name="connsiteY329" fmla="*/ 1520 h 479077"/>
                <a:gd name="connsiteX330" fmla="*/ 1457548 w 3785642"/>
                <a:gd name="connsiteY330" fmla="*/ 2512 h 479077"/>
                <a:gd name="connsiteX331" fmla="*/ 1473919 w 3785642"/>
                <a:gd name="connsiteY331" fmla="*/ 2016 h 479077"/>
                <a:gd name="connsiteX332" fmla="*/ 1490289 w 3785642"/>
                <a:gd name="connsiteY332" fmla="*/ 2016 h 479077"/>
                <a:gd name="connsiteX333" fmla="*/ 1506660 w 3785642"/>
                <a:gd name="connsiteY333" fmla="*/ 1520 h 479077"/>
                <a:gd name="connsiteX334" fmla="*/ 1523030 w 3785642"/>
                <a:gd name="connsiteY334" fmla="*/ 3504 h 479077"/>
                <a:gd name="connsiteX335" fmla="*/ 1539401 w 3785642"/>
                <a:gd name="connsiteY335" fmla="*/ 3008 h 479077"/>
                <a:gd name="connsiteX336" fmla="*/ 1555771 w 3785642"/>
                <a:gd name="connsiteY336" fmla="*/ 3008 h 479077"/>
                <a:gd name="connsiteX337" fmla="*/ 1572142 w 3785642"/>
                <a:gd name="connsiteY337" fmla="*/ 2512 h 479077"/>
                <a:gd name="connsiteX338" fmla="*/ 1588512 w 3785642"/>
                <a:gd name="connsiteY338" fmla="*/ 2016 h 479077"/>
                <a:gd name="connsiteX339" fmla="*/ 1604883 w 3785642"/>
                <a:gd name="connsiteY339" fmla="*/ 3008 h 479077"/>
                <a:gd name="connsiteX340" fmla="*/ 1621253 w 3785642"/>
                <a:gd name="connsiteY340" fmla="*/ 3008 h 479077"/>
                <a:gd name="connsiteX341" fmla="*/ 1637624 w 3785642"/>
                <a:gd name="connsiteY34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313375 w 3785642"/>
                <a:gd name="connsiteY14" fmla="*/ 10945 h 479077"/>
                <a:gd name="connsiteX15" fmla="*/ 3300973 w 3785642"/>
                <a:gd name="connsiteY15" fmla="*/ 21363 h 479077"/>
                <a:gd name="connsiteX16" fmla="*/ 3289068 w 3785642"/>
                <a:gd name="connsiteY16" fmla="*/ 32276 h 479077"/>
                <a:gd name="connsiteX17" fmla="*/ 3277658 w 3785642"/>
                <a:gd name="connsiteY17" fmla="*/ 43686 h 479077"/>
                <a:gd name="connsiteX18" fmla="*/ 3266248 w 3785642"/>
                <a:gd name="connsiteY18" fmla="*/ 55592 h 479077"/>
                <a:gd name="connsiteX19" fmla="*/ 3255830 w 3785642"/>
                <a:gd name="connsiteY19" fmla="*/ 68490 h 479077"/>
                <a:gd name="connsiteX20" fmla="*/ 3243924 w 3785642"/>
                <a:gd name="connsiteY20" fmla="*/ 79900 h 479077"/>
                <a:gd name="connsiteX21" fmla="*/ 3231522 w 3785642"/>
                <a:gd name="connsiteY21" fmla="*/ 90814 h 479077"/>
                <a:gd name="connsiteX22" fmla="*/ 3220609 w 3785642"/>
                <a:gd name="connsiteY22" fmla="*/ 102720 h 479077"/>
                <a:gd name="connsiteX23" fmla="*/ 3208207 w 3785642"/>
                <a:gd name="connsiteY23" fmla="*/ 113137 h 479077"/>
                <a:gd name="connsiteX24" fmla="*/ 3197293 w 3785642"/>
                <a:gd name="connsiteY24" fmla="*/ 125043 h 479077"/>
                <a:gd name="connsiteX25" fmla="*/ 3185387 w 3785642"/>
                <a:gd name="connsiteY25" fmla="*/ 136453 h 479077"/>
                <a:gd name="connsiteX26" fmla="*/ 3174970 w 3785642"/>
                <a:gd name="connsiteY26" fmla="*/ 148855 h 479077"/>
                <a:gd name="connsiteX27" fmla="*/ 3162071 w 3785642"/>
                <a:gd name="connsiteY27" fmla="*/ 159272 h 479077"/>
                <a:gd name="connsiteX28" fmla="*/ 3151158 w 3785642"/>
                <a:gd name="connsiteY28" fmla="*/ 171674 h 479077"/>
                <a:gd name="connsiteX29" fmla="*/ 3139252 w 3785642"/>
                <a:gd name="connsiteY29" fmla="*/ 182588 h 479077"/>
                <a:gd name="connsiteX30" fmla="*/ 3127843 w 3785642"/>
                <a:gd name="connsiteY30" fmla="*/ 194494 h 479077"/>
                <a:gd name="connsiteX31" fmla="*/ 3116432 w 3785642"/>
                <a:gd name="connsiteY31" fmla="*/ 205904 h 479077"/>
                <a:gd name="connsiteX32" fmla="*/ 3105022 w 3785642"/>
                <a:gd name="connsiteY32" fmla="*/ 217810 h 479077"/>
                <a:gd name="connsiteX33" fmla="*/ 3093117 w 3785642"/>
                <a:gd name="connsiteY33" fmla="*/ 229219 h 479077"/>
                <a:gd name="connsiteX34" fmla="*/ 3081707 w 3785642"/>
                <a:gd name="connsiteY34" fmla="*/ 240629 h 479077"/>
                <a:gd name="connsiteX35" fmla="*/ 3069305 w 3785642"/>
                <a:gd name="connsiteY35" fmla="*/ 251543 h 479077"/>
                <a:gd name="connsiteX36" fmla="*/ 3057895 w 3785642"/>
                <a:gd name="connsiteY36" fmla="*/ 263449 h 479077"/>
                <a:gd name="connsiteX37" fmla="*/ 3046486 w 3785642"/>
                <a:gd name="connsiteY37" fmla="*/ 275355 h 479077"/>
                <a:gd name="connsiteX38" fmla="*/ 3035572 w 3785642"/>
                <a:gd name="connsiteY38" fmla="*/ 287260 h 479077"/>
                <a:gd name="connsiteX39" fmla="*/ 3024658 w 3785642"/>
                <a:gd name="connsiteY39" fmla="*/ 299166 h 479077"/>
                <a:gd name="connsiteX40" fmla="*/ 3013248 w 3785642"/>
                <a:gd name="connsiteY40" fmla="*/ 311072 h 479077"/>
                <a:gd name="connsiteX41" fmla="*/ 3000350 w 3785642"/>
                <a:gd name="connsiteY41" fmla="*/ 321490 h 479077"/>
                <a:gd name="connsiteX42" fmla="*/ 2988941 w 3785642"/>
                <a:gd name="connsiteY42" fmla="*/ 333396 h 479077"/>
                <a:gd name="connsiteX43" fmla="*/ 2976539 w 3785642"/>
                <a:gd name="connsiteY43" fmla="*/ 344309 h 479077"/>
                <a:gd name="connsiteX44" fmla="*/ 2965129 w 3785642"/>
                <a:gd name="connsiteY44" fmla="*/ 356215 h 479077"/>
                <a:gd name="connsiteX45" fmla="*/ 2953223 w 3785642"/>
                <a:gd name="connsiteY45" fmla="*/ 367625 h 479077"/>
                <a:gd name="connsiteX46" fmla="*/ 2941813 w 3785642"/>
                <a:gd name="connsiteY46" fmla="*/ 379531 h 479077"/>
                <a:gd name="connsiteX47" fmla="*/ 2931395 w 3785642"/>
                <a:gd name="connsiteY47" fmla="*/ 392429 h 479077"/>
                <a:gd name="connsiteX48" fmla="*/ 2918497 w 3785642"/>
                <a:gd name="connsiteY48" fmla="*/ 402847 h 479077"/>
                <a:gd name="connsiteX49" fmla="*/ 2907584 w 3785642"/>
                <a:gd name="connsiteY49" fmla="*/ 415249 h 479077"/>
                <a:gd name="connsiteX50" fmla="*/ 2896174 w 3785642"/>
                <a:gd name="connsiteY50" fmla="*/ 426658 h 479077"/>
                <a:gd name="connsiteX51" fmla="*/ 2884268 w 3785642"/>
                <a:gd name="connsiteY51" fmla="*/ 438068 h 479077"/>
                <a:gd name="connsiteX52" fmla="*/ 2873354 w 3785642"/>
                <a:gd name="connsiteY52" fmla="*/ 450470 h 479077"/>
                <a:gd name="connsiteX53" fmla="*/ 2860952 w 3785642"/>
                <a:gd name="connsiteY53" fmla="*/ 461384 h 479077"/>
                <a:gd name="connsiteX54" fmla="*/ 2850039 w 3785642"/>
                <a:gd name="connsiteY54" fmla="*/ 473786 h 479077"/>
                <a:gd name="connsiteX55" fmla="*/ 2833668 w 3785642"/>
                <a:gd name="connsiteY55" fmla="*/ 473786 h 479077"/>
                <a:gd name="connsiteX56" fmla="*/ 2817297 w 3785642"/>
                <a:gd name="connsiteY56" fmla="*/ 473290 h 479077"/>
                <a:gd name="connsiteX57" fmla="*/ 2800927 w 3785642"/>
                <a:gd name="connsiteY57" fmla="*/ 473290 h 479077"/>
                <a:gd name="connsiteX58" fmla="*/ 2784556 w 3785642"/>
                <a:gd name="connsiteY58" fmla="*/ 473786 h 479077"/>
                <a:gd name="connsiteX59" fmla="*/ 2768186 w 3785642"/>
                <a:gd name="connsiteY59" fmla="*/ 474282 h 479077"/>
                <a:gd name="connsiteX60" fmla="*/ 2751815 w 3785642"/>
                <a:gd name="connsiteY60" fmla="*/ 474282 h 479077"/>
                <a:gd name="connsiteX61" fmla="*/ 2735444 w 3785642"/>
                <a:gd name="connsiteY61" fmla="*/ 473290 h 479077"/>
                <a:gd name="connsiteX62" fmla="*/ 2719074 w 3785642"/>
                <a:gd name="connsiteY62" fmla="*/ 474282 h 479077"/>
                <a:gd name="connsiteX63" fmla="*/ 2702703 w 3785642"/>
                <a:gd name="connsiteY63" fmla="*/ 472298 h 479077"/>
                <a:gd name="connsiteX64" fmla="*/ 2686333 w 3785642"/>
                <a:gd name="connsiteY64" fmla="*/ 472794 h 479077"/>
                <a:gd name="connsiteX65" fmla="*/ 2669962 w 3785642"/>
                <a:gd name="connsiteY65" fmla="*/ 474282 h 479077"/>
                <a:gd name="connsiteX66" fmla="*/ 2653592 w 3785642"/>
                <a:gd name="connsiteY66" fmla="*/ 472298 h 479077"/>
                <a:gd name="connsiteX67" fmla="*/ 2637221 w 3785642"/>
                <a:gd name="connsiteY67" fmla="*/ 474282 h 479077"/>
                <a:gd name="connsiteX68" fmla="*/ 2620851 w 3785642"/>
                <a:gd name="connsiteY68" fmla="*/ 474282 h 479077"/>
                <a:gd name="connsiteX69" fmla="*/ 2604480 w 3785642"/>
                <a:gd name="connsiteY69" fmla="*/ 472298 h 479077"/>
                <a:gd name="connsiteX70" fmla="*/ 2588109 w 3785642"/>
                <a:gd name="connsiteY70" fmla="*/ 473786 h 479077"/>
                <a:gd name="connsiteX71" fmla="*/ 2571739 w 3785642"/>
                <a:gd name="connsiteY71" fmla="*/ 472298 h 479077"/>
                <a:gd name="connsiteX72" fmla="*/ 2555368 w 3785642"/>
                <a:gd name="connsiteY72" fmla="*/ 473290 h 479077"/>
                <a:gd name="connsiteX73" fmla="*/ 2538998 w 3785642"/>
                <a:gd name="connsiteY73" fmla="*/ 474282 h 479077"/>
                <a:gd name="connsiteX74" fmla="*/ 2522627 w 3785642"/>
                <a:gd name="connsiteY74" fmla="*/ 473290 h 479077"/>
                <a:gd name="connsiteX75" fmla="*/ 2506257 w 3785642"/>
                <a:gd name="connsiteY75" fmla="*/ 474282 h 479077"/>
                <a:gd name="connsiteX76" fmla="*/ 2489886 w 3785642"/>
                <a:gd name="connsiteY76" fmla="*/ 473786 h 479077"/>
                <a:gd name="connsiteX77" fmla="*/ 2473516 w 3785642"/>
                <a:gd name="connsiteY77" fmla="*/ 474282 h 479077"/>
                <a:gd name="connsiteX78" fmla="*/ 2457145 w 3785642"/>
                <a:gd name="connsiteY78" fmla="*/ 472794 h 479077"/>
                <a:gd name="connsiteX79" fmla="*/ 2440775 w 3785642"/>
                <a:gd name="connsiteY79" fmla="*/ 472298 h 479077"/>
                <a:gd name="connsiteX80" fmla="*/ 2424404 w 3785642"/>
                <a:gd name="connsiteY80" fmla="*/ 473786 h 479077"/>
                <a:gd name="connsiteX81" fmla="*/ 2408033 w 3785642"/>
                <a:gd name="connsiteY81" fmla="*/ 472794 h 479077"/>
                <a:gd name="connsiteX82" fmla="*/ 2391663 w 3785642"/>
                <a:gd name="connsiteY82" fmla="*/ 473290 h 479077"/>
                <a:gd name="connsiteX83" fmla="*/ 2375292 w 3785642"/>
                <a:gd name="connsiteY83" fmla="*/ 473290 h 479077"/>
                <a:gd name="connsiteX84" fmla="*/ 2358922 w 3785642"/>
                <a:gd name="connsiteY84" fmla="*/ 472794 h 479077"/>
                <a:gd name="connsiteX85" fmla="*/ 2342551 w 3785642"/>
                <a:gd name="connsiteY85" fmla="*/ 472298 h 479077"/>
                <a:gd name="connsiteX86" fmla="*/ 2326180 w 3785642"/>
                <a:gd name="connsiteY86" fmla="*/ 473786 h 479077"/>
                <a:gd name="connsiteX87" fmla="*/ 2309810 w 3785642"/>
                <a:gd name="connsiteY87" fmla="*/ 473786 h 479077"/>
                <a:gd name="connsiteX88" fmla="*/ 2293439 w 3785642"/>
                <a:gd name="connsiteY88" fmla="*/ 473786 h 479077"/>
                <a:gd name="connsiteX89" fmla="*/ 2277069 w 3785642"/>
                <a:gd name="connsiteY89" fmla="*/ 472794 h 479077"/>
                <a:gd name="connsiteX90" fmla="*/ 2260698 w 3785642"/>
                <a:gd name="connsiteY90" fmla="*/ 474282 h 479077"/>
                <a:gd name="connsiteX91" fmla="*/ 2244327 w 3785642"/>
                <a:gd name="connsiteY91" fmla="*/ 472298 h 479077"/>
                <a:gd name="connsiteX92" fmla="*/ 2227957 w 3785642"/>
                <a:gd name="connsiteY92" fmla="*/ 474282 h 479077"/>
                <a:gd name="connsiteX93" fmla="*/ 2211586 w 3785642"/>
                <a:gd name="connsiteY93" fmla="*/ 473290 h 479077"/>
                <a:gd name="connsiteX94" fmla="*/ 2195216 w 3785642"/>
                <a:gd name="connsiteY94" fmla="*/ 474282 h 479077"/>
                <a:gd name="connsiteX95" fmla="*/ 2178845 w 3785642"/>
                <a:gd name="connsiteY95" fmla="*/ 472794 h 479077"/>
                <a:gd name="connsiteX96" fmla="*/ 2162474 w 3785642"/>
                <a:gd name="connsiteY96" fmla="*/ 474778 h 479077"/>
                <a:gd name="connsiteX97" fmla="*/ 2146104 w 3785642"/>
                <a:gd name="connsiteY97" fmla="*/ 473290 h 479077"/>
                <a:gd name="connsiteX98" fmla="*/ 2129733 w 3785642"/>
                <a:gd name="connsiteY98" fmla="*/ 474778 h 479077"/>
                <a:gd name="connsiteX99" fmla="*/ 2113363 w 3785642"/>
                <a:gd name="connsiteY99" fmla="*/ 474778 h 479077"/>
                <a:gd name="connsiteX100" fmla="*/ 2096992 w 3785642"/>
                <a:gd name="connsiteY100" fmla="*/ 474778 h 479077"/>
                <a:gd name="connsiteX101" fmla="*/ 2080621 w 3785642"/>
                <a:gd name="connsiteY101" fmla="*/ 474282 h 479077"/>
                <a:gd name="connsiteX102" fmla="*/ 2064251 w 3785642"/>
                <a:gd name="connsiteY102" fmla="*/ 472794 h 479077"/>
                <a:gd name="connsiteX103" fmla="*/ 2047880 w 3785642"/>
                <a:gd name="connsiteY103" fmla="*/ 474778 h 479077"/>
                <a:gd name="connsiteX104" fmla="*/ 2031510 w 3785642"/>
                <a:gd name="connsiteY104" fmla="*/ 474778 h 479077"/>
                <a:gd name="connsiteX105" fmla="*/ 2015139 w 3785642"/>
                <a:gd name="connsiteY105" fmla="*/ 474778 h 479077"/>
                <a:gd name="connsiteX106" fmla="*/ 1998769 w 3785642"/>
                <a:gd name="connsiteY106" fmla="*/ 474282 h 479077"/>
                <a:gd name="connsiteX107" fmla="*/ 1982398 w 3785642"/>
                <a:gd name="connsiteY107" fmla="*/ 473786 h 479077"/>
                <a:gd name="connsiteX108" fmla="*/ 1966028 w 3785642"/>
                <a:gd name="connsiteY108" fmla="*/ 473786 h 479077"/>
                <a:gd name="connsiteX109" fmla="*/ 1949657 w 3785642"/>
                <a:gd name="connsiteY109" fmla="*/ 472794 h 479077"/>
                <a:gd name="connsiteX110" fmla="*/ 1933287 w 3785642"/>
                <a:gd name="connsiteY110" fmla="*/ 473290 h 479077"/>
                <a:gd name="connsiteX111" fmla="*/ 1916916 w 3785642"/>
                <a:gd name="connsiteY111" fmla="*/ 474778 h 479077"/>
                <a:gd name="connsiteX112" fmla="*/ 1900546 w 3785642"/>
                <a:gd name="connsiteY112" fmla="*/ 472794 h 479077"/>
                <a:gd name="connsiteX113" fmla="*/ 1884175 w 3785642"/>
                <a:gd name="connsiteY113" fmla="*/ 473786 h 479077"/>
                <a:gd name="connsiteX114" fmla="*/ 1867804 w 3785642"/>
                <a:gd name="connsiteY114" fmla="*/ 474778 h 479077"/>
                <a:gd name="connsiteX115" fmla="*/ 1851434 w 3785642"/>
                <a:gd name="connsiteY115" fmla="*/ 474778 h 479077"/>
                <a:gd name="connsiteX116" fmla="*/ 1835063 w 3785642"/>
                <a:gd name="connsiteY116" fmla="*/ 474778 h 479077"/>
                <a:gd name="connsiteX117" fmla="*/ 1818693 w 3785642"/>
                <a:gd name="connsiteY117" fmla="*/ 474282 h 479077"/>
                <a:gd name="connsiteX118" fmla="*/ 1802322 w 3785642"/>
                <a:gd name="connsiteY118" fmla="*/ 472794 h 479077"/>
                <a:gd name="connsiteX119" fmla="*/ 1785951 w 3785642"/>
                <a:gd name="connsiteY119" fmla="*/ 473786 h 479077"/>
                <a:gd name="connsiteX120" fmla="*/ 1769581 w 3785642"/>
                <a:gd name="connsiteY120" fmla="*/ 473290 h 479077"/>
                <a:gd name="connsiteX121" fmla="*/ 1753210 w 3785642"/>
                <a:gd name="connsiteY121" fmla="*/ 472298 h 479077"/>
                <a:gd name="connsiteX122" fmla="*/ 1736840 w 3785642"/>
                <a:gd name="connsiteY122" fmla="*/ 473290 h 479077"/>
                <a:gd name="connsiteX123" fmla="*/ 1720469 w 3785642"/>
                <a:gd name="connsiteY123" fmla="*/ 474778 h 479077"/>
                <a:gd name="connsiteX124" fmla="*/ 1704098 w 3785642"/>
                <a:gd name="connsiteY124" fmla="*/ 472794 h 479077"/>
                <a:gd name="connsiteX125" fmla="*/ 1687728 w 3785642"/>
                <a:gd name="connsiteY125" fmla="*/ 474778 h 479077"/>
                <a:gd name="connsiteX126" fmla="*/ 1671357 w 3785642"/>
                <a:gd name="connsiteY126" fmla="*/ 474778 h 479077"/>
                <a:gd name="connsiteX127" fmla="*/ 1654987 w 3785642"/>
                <a:gd name="connsiteY127" fmla="*/ 472298 h 479077"/>
                <a:gd name="connsiteX128" fmla="*/ 1638616 w 3785642"/>
                <a:gd name="connsiteY128" fmla="*/ 472794 h 479077"/>
                <a:gd name="connsiteX129" fmla="*/ 1622246 w 3785642"/>
                <a:gd name="connsiteY129" fmla="*/ 473786 h 479077"/>
                <a:gd name="connsiteX130" fmla="*/ 1605875 w 3785642"/>
                <a:gd name="connsiteY130" fmla="*/ 474778 h 479077"/>
                <a:gd name="connsiteX131" fmla="*/ 1589505 w 3785642"/>
                <a:gd name="connsiteY131" fmla="*/ 473290 h 479077"/>
                <a:gd name="connsiteX132" fmla="*/ 1573134 w 3785642"/>
                <a:gd name="connsiteY132" fmla="*/ 474778 h 479077"/>
                <a:gd name="connsiteX133" fmla="*/ 1556763 w 3785642"/>
                <a:gd name="connsiteY133" fmla="*/ 472794 h 479077"/>
                <a:gd name="connsiteX134" fmla="*/ 1540393 w 3785642"/>
                <a:gd name="connsiteY134" fmla="*/ 472794 h 479077"/>
                <a:gd name="connsiteX135" fmla="*/ 1524022 w 3785642"/>
                <a:gd name="connsiteY135" fmla="*/ 474282 h 479077"/>
                <a:gd name="connsiteX136" fmla="*/ 1507652 w 3785642"/>
                <a:gd name="connsiteY136" fmla="*/ 472794 h 479077"/>
                <a:gd name="connsiteX137" fmla="*/ 1491281 w 3785642"/>
                <a:gd name="connsiteY137" fmla="*/ 474282 h 479077"/>
                <a:gd name="connsiteX138" fmla="*/ 1474910 w 3785642"/>
                <a:gd name="connsiteY138" fmla="*/ 474282 h 479077"/>
                <a:gd name="connsiteX139" fmla="*/ 1458540 w 3785642"/>
                <a:gd name="connsiteY139" fmla="*/ 472794 h 479077"/>
                <a:gd name="connsiteX140" fmla="*/ 1442169 w 3785642"/>
                <a:gd name="connsiteY140" fmla="*/ 471802 h 479077"/>
                <a:gd name="connsiteX141" fmla="*/ 1425799 w 3785642"/>
                <a:gd name="connsiteY141" fmla="*/ 472298 h 479077"/>
                <a:gd name="connsiteX142" fmla="*/ 1409428 w 3785642"/>
                <a:gd name="connsiteY142" fmla="*/ 472794 h 479077"/>
                <a:gd name="connsiteX143" fmla="*/ 1393058 w 3785642"/>
                <a:gd name="connsiteY143" fmla="*/ 473786 h 479077"/>
                <a:gd name="connsiteX144" fmla="*/ 1376687 w 3785642"/>
                <a:gd name="connsiteY144" fmla="*/ 471802 h 479077"/>
                <a:gd name="connsiteX145" fmla="*/ 1360317 w 3785642"/>
                <a:gd name="connsiteY145" fmla="*/ 473786 h 479077"/>
                <a:gd name="connsiteX146" fmla="*/ 1343946 w 3785642"/>
                <a:gd name="connsiteY146" fmla="*/ 473786 h 479077"/>
                <a:gd name="connsiteX147" fmla="*/ 1327576 w 3785642"/>
                <a:gd name="connsiteY147" fmla="*/ 472794 h 479077"/>
                <a:gd name="connsiteX148" fmla="*/ 1311205 w 3785642"/>
                <a:gd name="connsiteY148" fmla="*/ 473786 h 479077"/>
                <a:gd name="connsiteX149" fmla="*/ 1294834 w 3785642"/>
                <a:gd name="connsiteY149" fmla="*/ 473786 h 479077"/>
                <a:gd name="connsiteX150" fmla="*/ 1278464 w 3785642"/>
                <a:gd name="connsiteY150" fmla="*/ 473786 h 479077"/>
                <a:gd name="connsiteX151" fmla="*/ 1262093 w 3785642"/>
                <a:gd name="connsiteY151" fmla="*/ 473786 h 479077"/>
                <a:gd name="connsiteX152" fmla="*/ 1245723 w 3785642"/>
                <a:gd name="connsiteY152" fmla="*/ 473290 h 479077"/>
                <a:gd name="connsiteX153" fmla="*/ 1229352 w 3785642"/>
                <a:gd name="connsiteY153" fmla="*/ 472794 h 479077"/>
                <a:gd name="connsiteX154" fmla="*/ 1212981 w 3785642"/>
                <a:gd name="connsiteY154" fmla="*/ 473786 h 479077"/>
                <a:gd name="connsiteX155" fmla="*/ 1196611 w 3785642"/>
                <a:gd name="connsiteY155" fmla="*/ 472298 h 479077"/>
                <a:gd name="connsiteX156" fmla="*/ 1180240 w 3785642"/>
                <a:gd name="connsiteY156" fmla="*/ 472794 h 479077"/>
                <a:gd name="connsiteX157" fmla="*/ 1163870 w 3785642"/>
                <a:gd name="connsiteY157" fmla="*/ 472794 h 479077"/>
                <a:gd name="connsiteX158" fmla="*/ 1147499 w 3785642"/>
                <a:gd name="connsiteY158" fmla="*/ 473786 h 479077"/>
                <a:gd name="connsiteX159" fmla="*/ 1131128 w 3785642"/>
                <a:gd name="connsiteY159" fmla="*/ 473786 h 479077"/>
                <a:gd name="connsiteX160" fmla="*/ 1114758 w 3785642"/>
                <a:gd name="connsiteY160" fmla="*/ 472794 h 479077"/>
                <a:gd name="connsiteX161" fmla="*/ 1098387 w 3785642"/>
                <a:gd name="connsiteY161" fmla="*/ 473786 h 479077"/>
                <a:gd name="connsiteX162" fmla="*/ 1082017 w 3785642"/>
                <a:gd name="connsiteY162" fmla="*/ 474778 h 479077"/>
                <a:gd name="connsiteX163" fmla="*/ 1065646 w 3785642"/>
                <a:gd name="connsiteY163" fmla="*/ 474778 h 479077"/>
                <a:gd name="connsiteX164" fmla="*/ 1049276 w 3785642"/>
                <a:gd name="connsiteY164" fmla="*/ 474282 h 479077"/>
                <a:gd name="connsiteX165" fmla="*/ 1032905 w 3785642"/>
                <a:gd name="connsiteY165" fmla="*/ 473290 h 479077"/>
                <a:gd name="connsiteX166" fmla="*/ 1016535 w 3785642"/>
                <a:gd name="connsiteY166" fmla="*/ 474282 h 479077"/>
                <a:gd name="connsiteX167" fmla="*/ 1000164 w 3785642"/>
                <a:gd name="connsiteY167" fmla="*/ 474282 h 479077"/>
                <a:gd name="connsiteX168" fmla="*/ 983793 w 3785642"/>
                <a:gd name="connsiteY168" fmla="*/ 472794 h 479077"/>
                <a:gd name="connsiteX169" fmla="*/ 967423 w 3785642"/>
                <a:gd name="connsiteY169" fmla="*/ 472794 h 479077"/>
                <a:gd name="connsiteX170" fmla="*/ 951052 w 3785642"/>
                <a:gd name="connsiteY170" fmla="*/ 473786 h 479077"/>
                <a:gd name="connsiteX171" fmla="*/ 934682 w 3785642"/>
                <a:gd name="connsiteY171" fmla="*/ 474282 h 479077"/>
                <a:gd name="connsiteX172" fmla="*/ 918311 w 3785642"/>
                <a:gd name="connsiteY172" fmla="*/ 474778 h 479077"/>
                <a:gd name="connsiteX173" fmla="*/ 901940 w 3785642"/>
                <a:gd name="connsiteY173" fmla="*/ 473290 h 479077"/>
                <a:gd name="connsiteX174" fmla="*/ 885570 w 3785642"/>
                <a:gd name="connsiteY174" fmla="*/ 474778 h 479077"/>
                <a:gd name="connsiteX175" fmla="*/ 869199 w 3785642"/>
                <a:gd name="connsiteY175" fmla="*/ 474282 h 479077"/>
                <a:gd name="connsiteX176" fmla="*/ 852829 w 3785642"/>
                <a:gd name="connsiteY176" fmla="*/ 473786 h 479077"/>
                <a:gd name="connsiteX177" fmla="*/ 836458 w 3785642"/>
                <a:gd name="connsiteY177" fmla="*/ 474778 h 479077"/>
                <a:gd name="connsiteX178" fmla="*/ 820088 w 3785642"/>
                <a:gd name="connsiteY178" fmla="*/ 475274 h 479077"/>
                <a:gd name="connsiteX179" fmla="*/ 803717 w 3785642"/>
                <a:gd name="connsiteY179" fmla="*/ 473786 h 479077"/>
                <a:gd name="connsiteX180" fmla="*/ 787347 w 3785642"/>
                <a:gd name="connsiteY180" fmla="*/ 475770 h 479077"/>
                <a:gd name="connsiteX181" fmla="*/ 770976 w 3785642"/>
                <a:gd name="connsiteY181" fmla="*/ 474778 h 479077"/>
                <a:gd name="connsiteX182" fmla="*/ 754605 w 3785642"/>
                <a:gd name="connsiteY182" fmla="*/ 475274 h 479077"/>
                <a:gd name="connsiteX183" fmla="*/ 738235 w 3785642"/>
                <a:gd name="connsiteY183" fmla="*/ 473786 h 479077"/>
                <a:gd name="connsiteX184" fmla="*/ 721864 w 3785642"/>
                <a:gd name="connsiteY184" fmla="*/ 475274 h 479077"/>
                <a:gd name="connsiteX185" fmla="*/ 705494 w 3785642"/>
                <a:gd name="connsiteY185" fmla="*/ 475770 h 479077"/>
                <a:gd name="connsiteX186" fmla="*/ 689123 w 3785642"/>
                <a:gd name="connsiteY186" fmla="*/ 474282 h 479077"/>
                <a:gd name="connsiteX187" fmla="*/ 672753 w 3785642"/>
                <a:gd name="connsiteY187" fmla="*/ 475274 h 479077"/>
                <a:gd name="connsiteX188" fmla="*/ 656382 w 3785642"/>
                <a:gd name="connsiteY188" fmla="*/ 474778 h 479077"/>
                <a:gd name="connsiteX189" fmla="*/ 640011 w 3785642"/>
                <a:gd name="connsiteY189" fmla="*/ 475770 h 479077"/>
                <a:gd name="connsiteX190" fmla="*/ 623641 w 3785642"/>
                <a:gd name="connsiteY190" fmla="*/ 473786 h 479077"/>
                <a:gd name="connsiteX191" fmla="*/ 607270 w 3785642"/>
                <a:gd name="connsiteY191" fmla="*/ 474778 h 479077"/>
                <a:gd name="connsiteX192" fmla="*/ 590900 w 3785642"/>
                <a:gd name="connsiteY192" fmla="*/ 475274 h 479077"/>
                <a:gd name="connsiteX193" fmla="*/ 574529 w 3785642"/>
                <a:gd name="connsiteY193" fmla="*/ 474282 h 479077"/>
                <a:gd name="connsiteX194" fmla="*/ 558158 w 3785642"/>
                <a:gd name="connsiteY194" fmla="*/ 475274 h 479077"/>
                <a:gd name="connsiteX195" fmla="*/ 541788 w 3785642"/>
                <a:gd name="connsiteY195" fmla="*/ 475770 h 479077"/>
                <a:gd name="connsiteX196" fmla="*/ 525417 w 3785642"/>
                <a:gd name="connsiteY196" fmla="*/ 474282 h 479077"/>
                <a:gd name="connsiteX197" fmla="*/ 509047 w 3785642"/>
                <a:gd name="connsiteY197" fmla="*/ 473786 h 479077"/>
                <a:gd name="connsiteX198" fmla="*/ 492676 w 3785642"/>
                <a:gd name="connsiteY198" fmla="*/ 473786 h 479077"/>
                <a:gd name="connsiteX199" fmla="*/ 476306 w 3785642"/>
                <a:gd name="connsiteY199" fmla="*/ 474778 h 479077"/>
                <a:gd name="connsiteX200" fmla="*/ 459935 w 3785642"/>
                <a:gd name="connsiteY200" fmla="*/ 473786 h 479077"/>
                <a:gd name="connsiteX201" fmla="*/ 443565 w 3785642"/>
                <a:gd name="connsiteY201" fmla="*/ 474778 h 479077"/>
                <a:gd name="connsiteX202" fmla="*/ 427194 w 3785642"/>
                <a:gd name="connsiteY202" fmla="*/ 474282 h 479077"/>
                <a:gd name="connsiteX203" fmla="*/ 410823 w 3785642"/>
                <a:gd name="connsiteY203" fmla="*/ 473290 h 479077"/>
                <a:gd name="connsiteX204" fmla="*/ 394453 w 3785642"/>
                <a:gd name="connsiteY204" fmla="*/ 475770 h 479077"/>
                <a:gd name="connsiteX205" fmla="*/ 378082 w 3785642"/>
                <a:gd name="connsiteY205" fmla="*/ 475274 h 479077"/>
                <a:gd name="connsiteX206" fmla="*/ 361712 w 3785642"/>
                <a:gd name="connsiteY206" fmla="*/ 474778 h 479077"/>
                <a:gd name="connsiteX207" fmla="*/ 345341 w 3785642"/>
                <a:gd name="connsiteY207" fmla="*/ 476266 h 479077"/>
                <a:gd name="connsiteX208" fmla="*/ 328970 w 3785642"/>
                <a:gd name="connsiteY208" fmla="*/ 474282 h 479077"/>
                <a:gd name="connsiteX209" fmla="*/ 312600 w 3785642"/>
                <a:gd name="connsiteY209" fmla="*/ 475274 h 479077"/>
                <a:gd name="connsiteX210" fmla="*/ 296229 w 3785642"/>
                <a:gd name="connsiteY210" fmla="*/ 474282 h 479077"/>
                <a:gd name="connsiteX211" fmla="*/ 279859 w 3785642"/>
                <a:gd name="connsiteY211" fmla="*/ 475770 h 479077"/>
                <a:gd name="connsiteX212" fmla="*/ 263488 w 3785642"/>
                <a:gd name="connsiteY212" fmla="*/ 476266 h 479077"/>
                <a:gd name="connsiteX213" fmla="*/ 247118 w 3785642"/>
                <a:gd name="connsiteY213" fmla="*/ 476266 h 479077"/>
                <a:gd name="connsiteX214" fmla="*/ 230747 w 3785642"/>
                <a:gd name="connsiteY214" fmla="*/ 474778 h 479077"/>
                <a:gd name="connsiteX215" fmla="*/ 214376 w 3785642"/>
                <a:gd name="connsiteY215" fmla="*/ 474778 h 479077"/>
                <a:gd name="connsiteX216" fmla="*/ 198006 w 3785642"/>
                <a:gd name="connsiteY216" fmla="*/ 476762 h 479077"/>
                <a:gd name="connsiteX217" fmla="*/ 181635 w 3785642"/>
                <a:gd name="connsiteY217" fmla="*/ 476266 h 479077"/>
                <a:gd name="connsiteX218" fmla="*/ 165265 w 3785642"/>
                <a:gd name="connsiteY218" fmla="*/ 474778 h 479077"/>
                <a:gd name="connsiteX219" fmla="*/ 148894 w 3785642"/>
                <a:gd name="connsiteY219" fmla="*/ 476762 h 479077"/>
                <a:gd name="connsiteX220" fmla="*/ 132524 w 3785642"/>
                <a:gd name="connsiteY220" fmla="*/ 476266 h 479077"/>
                <a:gd name="connsiteX221" fmla="*/ 116153 w 3785642"/>
                <a:gd name="connsiteY221" fmla="*/ 475274 h 479077"/>
                <a:gd name="connsiteX222" fmla="*/ 99783 w 3785642"/>
                <a:gd name="connsiteY222" fmla="*/ 475274 h 479077"/>
                <a:gd name="connsiteX223" fmla="*/ 83412 w 3785642"/>
                <a:gd name="connsiteY223" fmla="*/ 475274 h 479077"/>
                <a:gd name="connsiteX224" fmla="*/ 67041 w 3785642"/>
                <a:gd name="connsiteY224" fmla="*/ 474778 h 479077"/>
                <a:gd name="connsiteX225" fmla="*/ 50671 w 3785642"/>
                <a:gd name="connsiteY225" fmla="*/ 475274 h 479077"/>
                <a:gd name="connsiteX226" fmla="*/ 34300 w 3785642"/>
                <a:gd name="connsiteY226" fmla="*/ 475274 h 479077"/>
                <a:gd name="connsiteX227" fmla="*/ 17930 w 3785642"/>
                <a:gd name="connsiteY227" fmla="*/ 475770 h 479077"/>
                <a:gd name="connsiteX228" fmla="*/ 567 w 3785642"/>
                <a:gd name="connsiteY228" fmla="*/ 475770 h 479077"/>
                <a:gd name="connsiteX229" fmla="*/ 12969 w 3785642"/>
                <a:gd name="connsiteY229" fmla="*/ 463368 h 479077"/>
                <a:gd name="connsiteX230" fmla="*/ 24379 w 3785642"/>
                <a:gd name="connsiteY230" fmla="*/ 451958 h 479077"/>
                <a:gd name="connsiteX231" fmla="*/ 35788 w 3785642"/>
                <a:gd name="connsiteY231" fmla="*/ 440053 h 479077"/>
                <a:gd name="connsiteX232" fmla="*/ 48686 w 3785642"/>
                <a:gd name="connsiteY232" fmla="*/ 430131 h 479077"/>
                <a:gd name="connsiteX233" fmla="*/ 59600 w 3785642"/>
                <a:gd name="connsiteY233" fmla="*/ 418225 h 479077"/>
                <a:gd name="connsiteX234" fmla="*/ 70514 w 3785642"/>
                <a:gd name="connsiteY234" fmla="*/ 405823 h 479077"/>
                <a:gd name="connsiteX235" fmla="*/ 83412 w 3785642"/>
                <a:gd name="connsiteY235" fmla="*/ 395406 h 479077"/>
                <a:gd name="connsiteX236" fmla="*/ 94822 w 3785642"/>
                <a:gd name="connsiteY236" fmla="*/ 383500 h 479077"/>
                <a:gd name="connsiteX237" fmla="*/ 106728 w 3785642"/>
                <a:gd name="connsiteY237" fmla="*/ 372090 h 479077"/>
                <a:gd name="connsiteX238" fmla="*/ 117145 w 3785642"/>
                <a:gd name="connsiteY238" fmla="*/ 359688 h 479077"/>
                <a:gd name="connsiteX239" fmla="*/ 128555 w 3785642"/>
                <a:gd name="connsiteY239" fmla="*/ 348278 h 479077"/>
                <a:gd name="connsiteX240" fmla="*/ 140461 w 3785642"/>
                <a:gd name="connsiteY240" fmla="*/ 336868 h 479077"/>
                <a:gd name="connsiteX241" fmla="*/ 152863 w 3785642"/>
                <a:gd name="connsiteY241" fmla="*/ 326451 h 479077"/>
                <a:gd name="connsiteX242" fmla="*/ 164769 w 3785642"/>
                <a:gd name="connsiteY242" fmla="*/ 315041 h 479077"/>
                <a:gd name="connsiteX243" fmla="*/ 176178 w 3785642"/>
                <a:gd name="connsiteY243" fmla="*/ 303135 h 479077"/>
                <a:gd name="connsiteX244" fmla="*/ 188084 w 3785642"/>
                <a:gd name="connsiteY244" fmla="*/ 291725 h 479077"/>
                <a:gd name="connsiteX245" fmla="*/ 199494 w 3785642"/>
                <a:gd name="connsiteY245" fmla="*/ 280315 h 479077"/>
                <a:gd name="connsiteX246" fmla="*/ 210904 w 3785642"/>
                <a:gd name="connsiteY246" fmla="*/ 268906 h 479077"/>
                <a:gd name="connsiteX247" fmla="*/ 221818 w 3785642"/>
                <a:gd name="connsiteY247" fmla="*/ 256504 h 479077"/>
                <a:gd name="connsiteX248" fmla="*/ 233724 w 3785642"/>
                <a:gd name="connsiteY248" fmla="*/ 245094 h 479077"/>
                <a:gd name="connsiteX249" fmla="*/ 244141 w 3785642"/>
                <a:gd name="connsiteY249" fmla="*/ 232692 h 479077"/>
                <a:gd name="connsiteX250" fmla="*/ 257039 w 3785642"/>
                <a:gd name="connsiteY250" fmla="*/ 222770 h 479077"/>
                <a:gd name="connsiteX251" fmla="*/ 266961 w 3785642"/>
                <a:gd name="connsiteY251" fmla="*/ 209376 h 479077"/>
                <a:gd name="connsiteX252" fmla="*/ 278371 w 3785642"/>
                <a:gd name="connsiteY252" fmla="*/ 197966 h 479077"/>
                <a:gd name="connsiteX253" fmla="*/ 291269 w 3785642"/>
                <a:gd name="connsiteY253" fmla="*/ 188045 h 479077"/>
                <a:gd name="connsiteX254" fmla="*/ 301686 w 3785642"/>
                <a:gd name="connsiteY254" fmla="*/ 175147 h 479077"/>
                <a:gd name="connsiteX255" fmla="*/ 313592 w 3785642"/>
                <a:gd name="connsiteY255" fmla="*/ 163737 h 479077"/>
                <a:gd name="connsiteX256" fmla="*/ 325994 w 3785642"/>
                <a:gd name="connsiteY256" fmla="*/ 153319 h 479077"/>
                <a:gd name="connsiteX257" fmla="*/ 337404 w 3785642"/>
                <a:gd name="connsiteY257" fmla="*/ 141910 h 479077"/>
                <a:gd name="connsiteX258" fmla="*/ 347325 w 3785642"/>
                <a:gd name="connsiteY258" fmla="*/ 129012 h 479077"/>
                <a:gd name="connsiteX259" fmla="*/ 360224 w 3785642"/>
                <a:gd name="connsiteY259" fmla="*/ 118594 h 479077"/>
                <a:gd name="connsiteX260" fmla="*/ 371137 w 3785642"/>
                <a:gd name="connsiteY260" fmla="*/ 106192 h 479077"/>
                <a:gd name="connsiteX261" fmla="*/ 382051 w 3785642"/>
                <a:gd name="connsiteY261" fmla="*/ 93790 h 479077"/>
                <a:gd name="connsiteX262" fmla="*/ 393957 w 3785642"/>
                <a:gd name="connsiteY262" fmla="*/ 82380 h 479077"/>
                <a:gd name="connsiteX263" fmla="*/ 405366 w 3785642"/>
                <a:gd name="connsiteY263" fmla="*/ 70475 h 479077"/>
                <a:gd name="connsiteX264" fmla="*/ 417272 w 3785642"/>
                <a:gd name="connsiteY264" fmla="*/ 59561 h 479077"/>
                <a:gd name="connsiteX265" fmla="*/ 429674 w 3785642"/>
                <a:gd name="connsiteY265" fmla="*/ 48647 h 479077"/>
                <a:gd name="connsiteX266" fmla="*/ 440092 w 3785642"/>
                <a:gd name="connsiteY266" fmla="*/ 35749 h 479077"/>
                <a:gd name="connsiteX267" fmla="*/ 452494 w 3785642"/>
                <a:gd name="connsiteY267" fmla="*/ 24835 h 479077"/>
                <a:gd name="connsiteX268" fmla="*/ 463904 w 3785642"/>
                <a:gd name="connsiteY268" fmla="*/ 12929 h 479077"/>
                <a:gd name="connsiteX269" fmla="*/ 475313 w 3785642"/>
                <a:gd name="connsiteY269" fmla="*/ 1024 h 479077"/>
                <a:gd name="connsiteX270" fmla="*/ 491684 w 3785642"/>
                <a:gd name="connsiteY270" fmla="*/ 2512 h 479077"/>
                <a:gd name="connsiteX271" fmla="*/ 508055 w 3785642"/>
                <a:gd name="connsiteY271" fmla="*/ 2512 h 479077"/>
                <a:gd name="connsiteX272" fmla="*/ 524425 w 3785642"/>
                <a:gd name="connsiteY272" fmla="*/ 2512 h 479077"/>
                <a:gd name="connsiteX273" fmla="*/ 540796 w 3785642"/>
                <a:gd name="connsiteY273" fmla="*/ 1024 h 479077"/>
                <a:gd name="connsiteX274" fmla="*/ 557166 w 3785642"/>
                <a:gd name="connsiteY274" fmla="*/ 2512 h 479077"/>
                <a:gd name="connsiteX275" fmla="*/ 573537 w 3785642"/>
                <a:gd name="connsiteY275" fmla="*/ 1024 h 479077"/>
                <a:gd name="connsiteX276" fmla="*/ 589908 w 3785642"/>
                <a:gd name="connsiteY276" fmla="*/ 527 h 479077"/>
                <a:gd name="connsiteX277" fmla="*/ 606278 w 3785642"/>
                <a:gd name="connsiteY277" fmla="*/ 1520 h 479077"/>
                <a:gd name="connsiteX278" fmla="*/ 622649 w 3785642"/>
                <a:gd name="connsiteY278" fmla="*/ 1520 h 479077"/>
                <a:gd name="connsiteX279" fmla="*/ 639019 w 3785642"/>
                <a:gd name="connsiteY279" fmla="*/ 2016 h 479077"/>
                <a:gd name="connsiteX280" fmla="*/ 655390 w 3785642"/>
                <a:gd name="connsiteY280" fmla="*/ 527 h 479077"/>
                <a:gd name="connsiteX281" fmla="*/ 671760 w 3785642"/>
                <a:gd name="connsiteY281" fmla="*/ 1520 h 479077"/>
                <a:gd name="connsiteX282" fmla="*/ 688131 w 3785642"/>
                <a:gd name="connsiteY282" fmla="*/ 2512 h 479077"/>
                <a:gd name="connsiteX283" fmla="*/ 704501 w 3785642"/>
                <a:gd name="connsiteY283" fmla="*/ 1024 h 479077"/>
                <a:gd name="connsiteX284" fmla="*/ 720872 w 3785642"/>
                <a:gd name="connsiteY284" fmla="*/ 1520 h 479077"/>
                <a:gd name="connsiteX285" fmla="*/ 737243 w 3785642"/>
                <a:gd name="connsiteY285" fmla="*/ 2016 h 479077"/>
                <a:gd name="connsiteX286" fmla="*/ 753613 w 3785642"/>
                <a:gd name="connsiteY286" fmla="*/ 1024 h 479077"/>
                <a:gd name="connsiteX287" fmla="*/ 769984 w 3785642"/>
                <a:gd name="connsiteY287" fmla="*/ 527 h 479077"/>
                <a:gd name="connsiteX288" fmla="*/ 786354 w 3785642"/>
                <a:gd name="connsiteY288" fmla="*/ 1520 h 479077"/>
                <a:gd name="connsiteX289" fmla="*/ 802725 w 3785642"/>
                <a:gd name="connsiteY289" fmla="*/ 527 h 479077"/>
                <a:gd name="connsiteX290" fmla="*/ 819096 w 3785642"/>
                <a:gd name="connsiteY290" fmla="*/ 2512 h 479077"/>
                <a:gd name="connsiteX291" fmla="*/ 835466 w 3785642"/>
                <a:gd name="connsiteY291" fmla="*/ 527 h 479077"/>
                <a:gd name="connsiteX292" fmla="*/ 851837 w 3785642"/>
                <a:gd name="connsiteY292" fmla="*/ 1520 h 479077"/>
                <a:gd name="connsiteX293" fmla="*/ 868207 w 3785642"/>
                <a:gd name="connsiteY293" fmla="*/ 2016 h 479077"/>
                <a:gd name="connsiteX294" fmla="*/ 884578 w 3785642"/>
                <a:gd name="connsiteY294" fmla="*/ 2512 h 479077"/>
                <a:gd name="connsiteX295" fmla="*/ 900948 w 3785642"/>
                <a:gd name="connsiteY295" fmla="*/ 1520 h 479077"/>
                <a:gd name="connsiteX296" fmla="*/ 917319 w 3785642"/>
                <a:gd name="connsiteY296" fmla="*/ 1024 h 479077"/>
                <a:gd name="connsiteX297" fmla="*/ 933689 w 3785642"/>
                <a:gd name="connsiteY297" fmla="*/ 2512 h 479077"/>
                <a:gd name="connsiteX298" fmla="*/ 950060 w 3785642"/>
                <a:gd name="connsiteY298" fmla="*/ 1520 h 479077"/>
                <a:gd name="connsiteX299" fmla="*/ 966431 w 3785642"/>
                <a:gd name="connsiteY299" fmla="*/ 2016 h 479077"/>
                <a:gd name="connsiteX300" fmla="*/ 982801 w 3785642"/>
                <a:gd name="connsiteY300" fmla="*/ 2512 h 479077"/>
                <a:gd name="connsiteX301" fmla="*/ 999172 w 3785642"/>
                <a:gd name="connsiteY301" fmla="*/ 1520 h 479077"/>
                <a:gd name="connsiteX302" fmla="*/ 1015542 w 3785642"/>
                <a:gd name="connsiteY302" fmla="*/ 2512 h 479077"/>
                <a:gd name="connsiteX303" fmla="*/ 1031913 w 3785642"/>
                <a:gd name="connsiteY303" fmla="*/ 1520 h 479077"/>
                <a:gd name="connsiteX304" fmla="*/ 1048283 w 3785642"/>
                <a:gd name="connsiteY304" fmla="*/ 2016 h 479077"/>
                <a:gd name="connsiteX305" fmla="*/ 1064654 w 3785642"/>
                <a:gd name="connsiteY305" fmla="*/ 3504 h 479077"/>
                <a:gd name="connsiteX306" fmla="*/ 1081025 w 3785642"/>
                <a:gd name="connsiteY306" fmla="*/ 2016 h 479077"/>
                <a:gd name="connsiteX307" fmla="*/ 1097395 w 3785642"/>
                <a:gd name="connsiteY307" fmla="*/ 2512 h 479077"/>
                <a:gd name="connsiteX308" fmla="*/ 1113766 w 3785642"/>
                <a:gd name="connsiteY308" fmla="*/ 2512 h 479077"/>
                <a:gd name="connsiteX309" fmla="*/ 1130136 w 3785642"/>
                <a:gd name="connsiteY309" fmla="*/ 3504 h 479077"/>
                <a:gd name="connsiteX310" fmla="*/ 1146507 w 3785642"/>
                <a:gd name="connsiteY310" fmla="*/ 1520 h 479077"/>
                <a:gd name="connsiteX311" fmla="*/ 1162878 w 3785642"/>
                <a:gd name="connsiteY311" fmla="*/ 3008 h 479077"/>
                <a:gd name="connsiteX312" fmla="*/ 1179248 w 3785642"/>
                <a:gd name="connsiteY312" fmla="*/ 4000 h 479077"/>
                <a:gd name="connsiteX313" fmla="*/ 1195619 w 3785642"/>
                <a:gd name="connsiteY313" fmla="*/ 3504 h 479077"/>
                <a:gd name="connsiteX314" fmla="*/ 1211989 w 3785642"/>
                <a:gd name="connsiteY314" fmla="*/ 1520 h 479077"/>
                <a:gd name="connsiteX315" fmla="*/ 1228360 w 3785642"/>
                <a:gd name="connsiteY315" fmla="*/ 3504 h 479077"/>
                <a:gd name="connsiteX316" fmla="*/ 1244730 w 3785642"/>
                <a:gd name="connsiteY316" fmla="*/ 1520 h 479077"/>
                <a:gd name="connsiteX317" fmla="*/ 1261101 w 3785642"/>
                <a:gd name="connsiteY317" fmla="*/ 2512 h 479077"/>
                <a:gd name="connsiteX318" fmla="*/ 1277471 w 3785642"/>
                <a:gd name="connsiteY318" fmla="*/ 3504 h 479077"/>
                <a:gd name="connsiteX319" fmla="*/ 1293842 w 3785642"/>
                <a:gd name="connsiteY319" fmla="*/ 4000 h 479077"/>
                <a:gd name="connsiteX320" fmla="*/ 1310213 w 3785642"/>
                <a:gd name="connsiteY320" fmla="*/ 1520 h 479077"/>
                <a:gd name="connsiteX321" fmla="*/ 1326583 w 3785642"/>
                <a:gd name="connsiteY321" fmla="*/ 2016 h 479077"/>
                <a:gd name="connsiteX322" fmla="*/ 1342954 w 3785642"/>
                <a:gd name="connsiteY322" fmla="*/ 3008 h 479077"/>
                <a:gd name="connsiteX323" fmla="*/ 1359324 w 3785642"/>
                <a:gd name="connsiteY323" fmla="*/ 3008 h 479077"/>
                <a:gd name="connsiteX324" fmla="*/ 1375695 w 3785642"/>
                <a:gd name="connsiteY324" fmla="*/ 2512 h 479077"/>
                <a:gd name="connsiteX325" fmla="*/ 1392066 w 3785642"/>
                <a:gd name="connsiteY325" fmla="*/ 2512 h 479077"/>
                <a:gd name="connsiteX326" fmla="*/ 1408436 w 3785642"/>
                <a:gd name="connsiteY326" fmla="*/ 3504 h 479077"/>
                <a:gd name="connsiteX327" fmla="*/ 1424807 w 3785642"/>
                <a:gd name="connsiteY327" fmla="*/ 3504 h 479077"/>
                <a:gd name="connsiteX328" fmla="*/ 1441177 w 3785642"/>
                <a:gd name="connsiteY328" fmla="*/ 1520 h 479077"/>
                <a:gd name="connsiteX329" fmla="*/ 1457548 w 3785642"/>
                <a:gd name="connsiteY329" fmla="*/ 2512 h 479077"/>
                <a:gd name="connsiteX330" fmla="*/ 1473919 w 3785642"/>
                <a:gd name="connsiteY330" fmla="*/ 2016 h 479077"/>
                <a:gd name="connsiteX331" fmla="*/ 1490289 w 3785642"/>
                <a:gd name="connsiteY331" fmla="*/ 2016 h 479077"/>
                <a:gd name="connsiteX332" fmla="*/ 1506660 w 3785642"/>
                <a:gd name="connsiteY332" fmla="*/ 1520 h 479077"/>
                <a:gd name="connsiteX333" fmla="*/ 1523030 w 3785642"/>
                <a:gd name="connsiteY333" fmla="*/ 3504 h 479077"/>
                <a:gd name="connsiteX334" fmla="*/ 1539401 w 3785642"/>
                <a:gd name="connsiteY334" fmla="*/ 3008 h 479077"/>
                <a:gd name="connsiteX335" fmla="*/ 1555771 w 3785642"/>
                <a:gd name="connsiteY335" fmla="*/ 3008 h 479077"/>
                <a:gd name="connsiteX336" fmla="*/ 1572142 w 3785642"/>
                <a:gd name="connsiteY336" fmla="*/ 2512 h 479077"/>
                <a:gd name="connsiteX337" fmla="*/ 1588512 w 3785642"/>
                <a:gd name="connsiteY337" fmla="*/ 2016 h 479077"/>
                <a:gd name="connsiteX338" fmla="*/ 1604883 w 3785642"/>
                <a:gd name="connsiteY338" fmla="*/ 3008 h 479077"/>
                <a:gd name="connsiteX339" fmla="*/ 1621253 w 3785642"/>
                <a:gd name="connsiteY339" fmla="*/ 3008 h 479077"/>
                <a:gd name="connsiteX340" fmla="*/ 1637624 w 3785642"/>
                <a:gd name="connsiteY34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313375 w 3785642"/>
                <a:gd name="connsiteY13" fmla="*/ 10945 h 479077"/>
                <a:gd name="connsiteX14" fmla="*/ 3300973 w 3785642"/>
                <a:gd name="connsiteY14" fmla="*/ 21363 h 479077"/>
                <a:gd name="connsiteX15" fmla="*/ 3289068 w 3785642"/>
                <a:gd name="connsiteY15" fmla="*/ 32276 h 479077"/>
                <a:gd name="connsiteX16" fmla="*/ 3277658 w 3785642"/>
                <a:gd name="connsiteY16" fmla="*/ 43686 h 479077"/>
                <a:gd name="connsiteX17" fmla="*/ 3266248 w 3785642"/>
                <a:gd name="connsiteY17" fmla="*/ 55592 h 479077"/>
                <a:gd name="connsiteX18" fmla="*/ 3255830 w 3785642"/>
                <a:gd name="connsiteY18" fmla="*/ 68490 h 479077"/>
                <a:gd name="connsiteX19" fmla="*/ 3243924 w 3785642"/>
                <a:gd name="connsiteY19" fmla="*/ 79900 h 479077"/>
                <a:gd name="connsiteX20" fmla="*/ 3231522 w 3785642"/>
                <a:gd name="connsiteY20" fmla="*/ 90814 h 479077"/>
                <a:gd name="connsiteX21" fmla="*/ 3220609 w 3785642"/>
                <a:gd name="connsiteY21" fmla="*/ 102720 h 479077"/>
                <a:gd name="connsiteX22" fmla="*/ 3208207 w 3785642"/>
                <a:gd name="connsiteY22" fmla="*/ 113137 h 479077"/>
                <a:gd name="connsiteX23" fmla="*/ 3197293 w 3785642"/>
                <a:gd name="connsiteY23" fmla="*/ 125043 h 479077"/>
                <a:gd name="connsiteX24" fmla="*/ 3185387 w 3785642"/>
                <a:gd name="connsiteY24" fmla="*/ 136453 h 479077"/>
                <a:gd name="connsiteX25" fmla="*/ 3174970 w 3785642"/>
                <a:gd name="connsiteY25" fmla="*/ 148855 h 479077"/>
                <a:gd name="connsiteX26" fmla="*/ 3162071 w 3785642"/>
                <a:gd name="connsiteY26" fmla="*/ 159272 h 479077"/>
                <a:gd name="connsiteX27" fmla="*/ 3151158 w 3785642"/>
                <a:gd name="connsiteY27" fmla="*/ 171674 h 479077"/>
                <a:gd name="connsiteX28" fmla="*/ 3139252 w 3785642"/>
                <a:gd name="connsiteY28" fmla="*/ 182588 h 479077"/>
                <a:gd name="connsiteX29" fmla="*/ 3127843 w 3785642"/>
                <a:gd name="connsiteY29" fmla="*/ 194494 h 479077"/>
                <a:gd name="connsiteX30" fmla="*/ 3116432 w 3785642"/>
                <a:gd name="connsiteY30" fmla="*/ 205904 h 479077"/>
                <a:gd name="connsiteX31" fmla="*/ 3105022 w 3785642"/>
                <a:gd name="connsiteY31" fmla="*/ 217810 h 479077"/>
                <a:gd name="connsiteX32" fmla="*/ 3093117 w 3785642"/>
                <a:gd name="connsiteY32" fmla="*/ 229219 h 479077"/>
                <a:gd name="connsiteX33" fmla="*/ 3081707 w 3785642"/>
                <a:gd name="connsiteY33" fmla="*/ 240629 h 479077"/>
                <a:gd name="connsiteX34" fmla="*/ 3069305 w 3785642"/>
                <a:gd name="connsiteY34" fmla="*/ 251543 h 479077"/>
                <a:gd name="connsiteX35" fmla="*/ 3057895 w 3785642"/>
                <a:gd name="connsiteY35" fmla="*/ 263449 h 479077"/>
                <a:gd name="connsiteX36" fmla="*/ 3046486 w 3785642"/>
                <a:gd name="connsiteY36" fmla="*/ 275355 h 479077"/>
                <a:gd name="connsiteX37" fmla="*/ 3035572 w 3785642"/>
                <a:gd name="connsiteY37" fmla="*/ 287260 h 479077"/>
                <a:gd name="connsiteX38" fmla="*/ 3024658 w 3785642"/>
                <a:gd name="connsiteY38" fmla="*/ 299166 h 479077"/>
                <a:gd name="connsiteX39" fmla="*/ 3013248 w 3785642"/>
                <a:gd name="connsiteY39" fmla="*/ 311072 h 479077"/>
                <a:gd name="connsiteX40" fmla="*/ 3000350 w 3785642"/>
                <a:gd name="connsiteY40" fmla="*/ 321490 h 479077"/>
                <a:gd name="connsiteX41" fmla="*/ 2988941 w 3785642"/>
                <a:gd name="connsiteY41" fmla="*/ 333396 h 479077"/>
                <a:gd name="connsiteX42" fmla="*/ 2976539 w 3785642"/>
                <a:gd name="connsiteY42" fmla="*/ 344309 h 479077"/>
                <a:gd name="connsiteX43" fmla="*/ 2965129 w 3785642"/>
                <a:gd name="connsiteY43" fmla="*/ 356215 h 479077"/>
                <a:gd name="connsiteX44" fmla="*/ 2953223 w 3785642"/>
                <a:gd name="connsiteY44" fmla="*/ 367625 h 479077"/>
                <a:gd name="connsiteX45" fmla="*/ 2941813 w 3785642"/>
                <a:gd name="connsiteY45" fmla="*/ 379531 h 479077"/>
                <a:gd name="connsiteX46" fmla="*/ 2931395 w 3785642"/>
                <a:gd name="connsiteY46" fmla="*/ 392429 h 479077"/>
                <a:gd name="connsiteX47" fmla="*/ 2918497 w 3785642"/>
                <a:gd name="connsiteY47" fmla="*/ 402847 h 479077"/>
                <a:gd name="connsiteX48" fmla="*/ 2907584 w 3785642"/>
                <a:gd name="connsiteY48" fmla="*/ 415249 h 479077"/>
                <a:gd name="connsiteX49" fmla="*/ 2896174 w 3785642"/>
                <a:gd name="connsiteY49" fmla="*/ 426658 h 479077"/>
                <a:gd name="connsiteX50" fmla="*/ 2884268 w 3785642"/>
                <a:gd name="connsiteY50" fmla="*/ 438068 h 479077"/>
                <a:gd name="connsiteX51" fmla="*/ 2873354 w 3785642"/>
                <a:gd name="connsiteY51" fmla="*/ 450470 h 479077"/>
                <a:gd name="connsiteX52" fmla="*/ 2860952 w 3785642"/>
                <a:gd name="connsiteY52" fmla="*/ 461384 h 479077"/>
                <a:gd name="connsiteX53" fmla="*/ 2850039 w 3785642"/>
                <a:gd name="connsiteY53" fmla="*/ 473786 h 479077"/>
                <a:gd name="connsiteX54" fmla="*/ 2833668 w 3785642"/>
                <a:gd name="connsiteY54" fmla="*/ 473786 h 479077"/>
                <a:gd name="connsiteX55" fmla="*/ 2817297 w 3785642"/>
                <a:gd name="connsiteY55" fmla="*/ 473290 h 479077"/>
                <a:gd name="connsiteX56" fmla="*/ 2800927 w 3785642"/>
                <a:gd name="connsiteY56" fmla="*/ 473290 h 479077"/>
                <a:gd name="connsiteX57" fmla="*/ 2784556 w 3785642"/>
                <a:gd name="connsiteY57" fmla="*/ 473786 h 479077"/>
                <a:gd name="connsiteX58" fmla="*/ 2768186 w 3785642"/>
                <a:gd name="connsiteY58" fmla="*/ 474282 h 479077"/>
                <a:gd name="connsiteX59" fmla="*/ 2751815 w 3785642"/>
                <a:gd name="connsiteY59" fmla="*/ 474282 h 479077"/>
                <a:gd name="connsiteX60" fmla="*/ 2735444 w 3785642"/>
                <a:gd name="connsiteY60" fmla="*/ 473290 h 479077"/>
                <a:gd name="connsiteX61" fmla="*/ 2719074 w 3785642"/>
                <a:gd name="connsiteY61" fmla="*/ 474282 h 479077"/>
                <a:gd name="connsiteX62" fmla="*/ 2702703 w 3785642"/>
                <a:gd name="connsiteY62" fmla="*/ 472298 h 479077"/>
                <a:gd name="connsiteX63" fmla="*/ 2686333 w 3785642"/>
                <a:gd name="connsiteY63" fmla="*/ 472794 h 479077"/>
                <a:gd name="connsiteX64" fmla="*/ 2669962 w 3785642"/>
                <a:gd name="connsiteY64" fmla="*/ 474282 h 479077"/>
                <a:gd name="connsiteX65" fmla="*/ 2653592 w 3785642"/>
                <a:gd name="connsiteY65" fmla="*/ 472298 h 479077"/>
                <a:gd name="connsiteX66" fmla="*/ 2637221 w 3785642"/>
                <a:gd name="connsiteY66" fmla="*/ 474282 h 479077"/>
                <a:gd name="connsiteX67" fmla="*/ 2620851 w 3785642"/>
                <a:gd name="connsiteY67" fmla="*/ 474282 h 479077"/>
                <a:gd name="connsiteX68" fmla="*/ 2604480 w 3785642"/>
                <a:gd name="connsiteY68" fmla="*/ 472298 h 479077"/>
                <a:gd name="connsiteX69" fmla="*/ 2588109 w 3785642"/>
                <a:gd name="connsiteY69" fmla="*/ 473786 h 479077"/>
                <a:gd name="connsiteX70" fmla="*/ 2571739 w 3785642"/>
                <a:gd name="connsiteY70" fmla="*/ 472298 h 479077"/>
                <a:gd name="connsiteX71" fmla="*/ 2555368 w 3785642"/>
                <a:gd name="connsiteY71" fmla="*/ 473290 h 479077"/>
                <a:gd name="connsiteX72" fmla="*/ 2538998 w 3785642"/>
                <a:gd name="connsiteY72" fmla="*/ 474282 h 479077"/>
                <a:gd name="connsiteX73" fmla="*/ 2522627 w 3785642"/>
                <a:gd name="connsiteY73" fmla="*/ 473290 h 479077"/>
                <a:gd name="connsiteX74" fmla="*/ 2506257 w 3785642"/>
                <a:gd name="connsiteY74" fmla="*/ 474282 h 479077"/>
                <a:gd name="connsiteX75" fmla="*/ 2489886 w 3785642"/>
                <a:gd name="connsiteY75" fmla="*/ 473786 h 479077"/>
                <a:gd name="connsiteX76" fmla="*/ 2473516 w 3785642"/>
                <a:gd name="connsiteY76" fmla="*/ 474282 h 479077"/>
                <a:gd name="connsiteX77" fmla="*/ 2457145 w 3785642"/>
                <a:gd name="connsiteY77" fmla="*/ 472794 h 479077"/>
                <a:gd name="connsiteX78" fmla="*/ 2440775 w 3785642"/>
                <a:gd name="connsiteY78" fmla="*/ 472298 h 479077"/>
                <a:gd name="connsiteX79" fmla="*/ 2424404 w 3785642"/>
                <a:gd name="connsiteY79" fmla="*/ 473786 h 479077"/>
                <a:gd name="connsiteX80" fmla="*/ 2408033 w 3785642"/>
                <a:gd name="connsiteY80" fmla="*/ 472794 h 479077"/>
                <a:gd name="connsiteX81" fmla="*/ 2391663 w 3785642"/>
                <a:gd name="connsiteY81" fmla="*/ 473290 h 479077"/>
                <a:gd name="connsiteX82" fmla="*/ 2375292 w 3785642"/>
                <a:gd name="connsiteY82" fmla="*/ 473290 h 479077"/>
                <a:gd name="connsiteX83" fmla="*/ 2358922 w 3785642"/>
                <a:gd name="connsiteY83" fmla="*/ 472794 h 479077"/>
                <a:gd name="connsiteX84" fmla="*/ 2342551 w 3785642"/>
                <a:gd name="connsiteY84" fmla="*/ 472298 h 479077"/>
                <a:gd name="connsiteX85" fmla="*/ 2326180 w 3785642"/>
                <a:gd name="connsiteY85" fmla="*/ 473786 h 479077"/>
                <a:gd name="connsiteX86" fmla="*/ 2309810 w 3785642"/>
                <a:gd name="connsiteY86" fmla="*/ 473786 h 479077"/>
                <a:gd name="connsiteX87" fmla="*/ 2293439 w 3785642"/>
                <a:gd name="connsiteY87" fmla="*/ 473786 h 479077"/>
                <a:gd name="connsiteX88" fmla="*/ 2277069 w 3785642"/>
                <a:gd name="connsiteY88" fmla="*/ 472794 h 479077"/>
                <a:gd name="connsiteX89" fmla="*/ 2260698 w 3785642"/>
                <a:gd name="connsiteY89" fmla="*/ 474282 h 479077"/>
                <a:gd name="connsiteX90" fmla="*/ 2244327 w 3785642"/>
                <a:gd name="connsiteY90" fmla="*/ 472298 h 479077"/>
                <a:gd name="connsiteX91" fmla="*/ 2227957 w 3785642"/>
                <a:gd name="connsiteY91" fmla="*/ 474282 h 479077"/>
                <a:gd name="connsiteX92" fmla="*/ 2211586 w 3785642"/>
                <a:gd name="connsiteY92" fmla="*/ 473290 h 479077"/>
                <a:gd name="connsiteX93" fmla="*/ 2195216 w 3785642"/>
                <a:gd name="connsiteY93" fmla="*/ 474282 h 479077"/>
                <a:gd name="connsiteX94" fmla="*/ 2178845 w 3785642"/>
                <a:gd name="connsiteY94" fmla="*/ 472794 h 479077"/>
                <a:gd name="connsiteX95" fmla="*/ 2162474 w 3785642"/>
                <a:gd name="connsiteY95" fmla="*/ 474778 h 479077"/>
                <a:gd name="connsiteX96" fmla="*/ 2146104 w 3785642"/>
                <a:gd name="connsiteY96" fmla="*/ 473290 h 479077"/>
                <a:gd name="connsiteX97" fmla="*/ 2129733 w 3785642"/>
                <a:gd name="connsiteY97" fmla="*/ 474778 h 479077"/>
                <a:gd name="connsiteX98" fmla="*/ 2113363 w 3785642"/>
                <a:gd name="connsiteY98" fmla="*/ 474778 h 479077"/>
                <a:gd name="connsiteX99" fmla="*/ 2096992 w 3785642"/>
                <a:gd name="connsiteY99" fmla="*/ 474778 h 479077"/>
                <a:gd name="connsiteX100" fmla="*/ 2080621 w 3785642"/>
                <a:gd name="connsiteY100" fmla="*/ 474282 h 479077"/>
                <a:gd name="connsiteX101" fmla="*/ 2064251 w 3785642"/>
                <a:gd name="connsiteY101" fmla="*/ 472794 h 479077"/>
                <a:gd name="connsiteX102" fmla="*/ 2047880 w 3785642"/>
                <a:gd name="connsiteY102" fmla="*/ 474778 h 479077"/>
                <a:gd name="connsiteX103" fmla="*/ 2031510 w 3785642"/>
                <a:gd name="connsiteY103" fmla="*/ 474778 h 479077"/>
                <a:gd name="connsiteX104" fmla="*/ 2015139 w 3785642"/>
                <a:gd name="connsiteY104" fmla="*/ 474778 h 479077"/>
                <a:gd name="connsiteX105" fmla="*/ 1998769 w 3785642"/>
                <a:gd name="connsiteY105" fmla="*/ 474282 h 479077"/>
                <a:gd name="connsiteX106" fmla="*/ 1982398 w 3785642"/>
                <a:gd name="connsiteY106" fmla="*/ 473786 h 479077"/>
                <a:gd name="connsiteX107" fmla="*/ 1966028 w 3785642"/>
                <a:gd name="connsiteY107" fmla="*/ 473786 h 479077"/>
                <a:gd name="connsiteX108" fmla="*/ 1949657 w 3785642"/>
                <a:gd name="connsiteY108" fmla="*/ 472794 h 479077"/>
                <a:gd name="connsiteX109" fmla="*/ 1933287 w 3785642"/>
                <a:gd name="connsiteY109" fmla="*/ 473290 h 479077"/>
                <a:gd name="connsiteX110" fmla="*/ 1916916 w 3785642"/>
                <a:gd name="connsiteY110" fmla="*/ 474778 h 479077"/>
                <a:gd name="connsiteX111" fmla="*/ 1900546 w 3785642"/>
                <a:gd name="connsiteY111" fmla="*/ 472794 h 479077"/>
                <a:gd name="connsiteX112" fmla="*/ 1884175 w 3785642"/>
                <a:gd name="connsiteY112" fmla="*/ 473786 h 479077"/>
                <a:gd name="connsiteX113" fmla="*/ 1867804 w 3785642"/>
                <a:gd name="connsiteY113" fmla="*/ 474778 h 479077"/>
                <a:gd name="connsiteX114" fmla="*/ 1851434 w 3785642"/>
                <a:gd name="connsiteY114" fmla="*/ 474778 h 479077"/>
                <a:gd name="connsiteX115" fmla="*/ 1835063 w 3785642"/>
                <a:gd name="connsiteY115" fmla="*/ 474778 h 479077"/>
                <a:gd name="connsiteX116" fmla="*/ 1818693 w 3785642"/>
                <a:gd name="connsiteY116" fmla="*/ 474282 h 479077"/>
                <a:gd name="connsiteX117" fmla="*/ 1802322 w 3785642"/>
                <a:gd name="connsiteY117" fmla="*/ 472794 h 479077"/>
                <a:gd name="connsiteX118" fmla="*/ 1785951 w 3785642"/>
                <a:gd name="connsiteY118" fmla="*/ 473786 h 479077"/>
                <a:gd name="connsiteX119" fmla="*/ 1769581 w 3785642"/>
                <a:gd name="connsiteY119" fmla="*/ 473290 h 479077"/>
                <a:gd name="connsiteX120" fmla="*/ 1753210 w 3785642"/>
                <a:gd name="connsiteY120" fmla="*/ 472298 h 479077"/>
                <a:gd name="connsiteX121" fmla="*/ 1736840 w 3785642"/>
                <a:gd name="connsiteY121" fmla="*/ 473290 h 479077"/>
                <a:gd name="connsiteX122" fmla="*/ 1720469 w 3785642"/>
                <a:gd name="connsiteY122" fmla="*/ 474778 h 479077"/>
                <a:gd name="connsiteX123" fmla="*/ 1704098 w 3785642"/>
                <a:gd name="connsiteY123" fmla="*/ 472794 h 479077"/>
                <a:gd name="connsiteX124" fmla="*/ 1687728 w 3785642"/>
                <a:gd name="connsiteY124" fmla="*/ 474778 h 479077"/>
                <a:gd name="connsiteX125" fmla="*/ 1671357 w 3785642"/>
                <a:gd name="connsiteY125" fmla="*/ 474778 h 479077"/>
                <a:gd name="connsiteX126" fmla="*/ 1654987 w 3785642"/>
                <a:gd name="connsiteY126" fmla="*/ 472298 h 479077"/>
                <a:gd name="connsiteX127" fmla="*/ 1638616 w 3785642"/>
                <a:gd name="connsiteY127" fmla="*/ 472794 h 479077"/>
                <a:gd name="connsiteX128" fmla="*/ 1622246 w 3785642"/>
                <a:gd name="connsiteY128" fmla="*/ 473786 h 479077"/>
                <a:gd name="connsiteX129" fmla="*/ 1605875 w 3785642"/>
                <a:gd name="connsiteY129" fmla="*/ 474778 h 479077"/>
                <a:gd name="connsiteX130" fmla="*/ 1589505 w 3785642"/>
                <a:gd name="connsiteY130" fmla="*/ 473290 h 479077"/>
                <a:gd name="connsiteX131" fmla="*/ 1573134 w 3785642"/>
                <a:gd name="connsiteY131" fmla="*/ 474778 h 479077"/>
                <a:gd name="connsiteX132" fmla="*/ 1556763 w 3785642"/>
                <a:gd name="connsiteY132" fmla="*/ 472794 h 479077"/>
                <a:gd name="connsiteX133" fmla="*/ 1540393 w 3785642"/>
                <a:gd name="connsiteY133" fmla="*/ 472794 h 479077"/>
                <a:gd name="connsiteX134" fmla="*/ 1524022 w 3785642"/>
                <a:gd name="connsiteY134" fmla="*/ 474282 h 479077"/>
                <a:gd name="connsiteX135" fmla="*/ 1507652 w 3785642"/>
                <a:gd name="connsiteY135" fmla="*/ 472794 h 479077"/>
                <a:gd name="connsiteX136" fmla="*/ 1491281 w 3785642"/>
                <a:gd name="connsiteY136" fmla="*/ 474282 h 479077"/>
                <a:gd name="connsiteX137" fmla="*/ 1474910 w 3785642"/>
                <a:gd name="connsiteY137" fmla="*/ 474282 h 479077"/>
                <a:gd name="connsiteX138" fmla="*/ 1458540 w 3785642"/>
                <a:gd name="connsiteY138" fmla="*/ 472794 h 479077"/>
                <a:gd name="connsiteX139" fmla="*/ 1442169 w 3785642"/>
                <a:gd name="connsiteY139" fmla="*/ 471802 h 479077"/>
                <a:gd name="connsiteX140" fmla="*/ 1425799 w 3785642"/>
                <a:gd name="connsiteY140" fmla="*/ 472298 h 479077"/>
                <a:gd name="connsiteX141" fmla="*/ 1409428 w 3785642"/>
                <a:gd name="connsiteY141" fmla="*/ 472794 h 479077"/>
                <a:gd name="connsiteX142" fmla="*/ 1393058 w 3785642"/>
                <a:gd name="connsiteY142" fmla="*/ 473786 h 479077"/>
                <a:gd name="connsiteX143" fmla="*/ 1376687 w 3785642"/>
                <a:gd name="connsiteY143" fmla="*/ 471802 h 479077"/>
                <a:gd name="connsiteX144" fmla="*/ 1360317 w 3785642"/>
                <a:gd name="connsiteY144" fmla="*/ 473786 h 479077"/>
                <a:gd name="connsiteX145" fmla="*/ 1343946 w 3785642"/>
                <a:gd name="connsiteY145" fmla="*/ 473786 h 479077"/>
                <a:gd name="connsiteX146" fmla="*/ 1327576 w 3785642"/>
                <a:gd name="connsiteY146" fmla="*/ 472794 h 479077"/>
                <a:gd name="connsiteX147" fmla="*/ 1311205 w 3785642"/>
                <a:gd name="connsiteY147" fmla="*/ 473786 h 479077"/>
                <a:gd name="connsiteX148" fmla="*/ 1294834 w 3785642"/>
                <a:gd name="connsiteY148" fmla="*/ 473786 h 479077"/>
                <a:gd name="connsiteX149" fmla="*/ 1278464 w 3785642"/>
                <a:gd name="connsiteY149" fmla="*/ 473786 h 479077"/>
                <a:gd name="connsiteX150" fmla="*/ 1262093 w 3785642"/>
                <a:gd name="connsiteY150" fmla="*/ 473786 h 479077"/>
                <a:gd name="connsiteX151" fmla="*/ 1245723 w 3785642"/>
                <a:gd name="connsiteY151" fmla="*/ 473290 h 479077"/>
                <a:gd name="connsiteX152" fmla="*/ 1229352 w 3785642"/>
                <a:gd name="connsiteY152" fmla="*/ 472794 h 479077"/>
                <a:gd name="connsiteX153" fmla="*/ 1212981 w 3785642"/>
                <a:gd name="connsiteY153" fmla="*/ 473786 h 479077"/>
                <a:gd name="connsiteX154" fmla="*/ 1196611 w 3785642"/>
                <a:gd name="connsiteY154" fmla="*/ 472298 h 479077"/>
                <a:gd name="connsiteX155" fmla="*/ 1180240 w 3785642"/>
                <a:gd name="connsiteY155" fmla="*/ 472794 h 479077"/>
                <a:gd name="connsiteX156" fmla="*/ 1163870 w 3785642"/>
                <a:gd name="connsiteY156" fmla="*/ 472794 h 479077"/>
                <a:gd name="connsiteX157" fmla="*/ 1147499 w 3785642"/>
                <a:gd name="connsiteY157" fmla="*/ 473786 h 479077"/>
                <a:gd name="connsiteX158" fmla="*/ 1131128 w 3785642"/>
                <a:gd name="connsiteY158" fmla="*/ 473786 h 479077"/>
                <a:gd name="connsiteX159" fmla="*/ 1114758 w 3785642"/>
                <a:gd name="connsiteY159" fmla="*/ 472794 h 479077"/>
                <a:gd name="connsiteX160" fmla="*/ 1098387 w 3785642"/>
                <a:gd name="connsiteY160" fmla="*/ 473786 h 479077"/>
                <a:gd name="connsiteX161" fmla="*/ 1082017 w 3785642"/>
                <a:gd name="connsiteY161" fmla="*/ 474778 h 479077"/>
                <a:gd name="connsiteX162" fmla="*/ 1065646 w 3785642"/>
                <a:gd name="connsiteY162" fmla="*/ 474778 h 479077"/>
                <a:gd name="connsiteX163" fmla="*/ 1049276 w 3785642"/>
                <a:gd name="connsiteY163" fmla="*/ 474282 h 479077"/>
                <a:gd name="connsiteX164" fmla="*/ 1032905 w 3785642"/>
                <a:gd name="connsiteY164" fmla="*/ 473290 h 479077"/>
                <a:gd name="connsiteX165" fmla="*/ 1016535 w 3785642"/>
                <a:gd name="connsiteY165" fmla="*/ 474282 h 479077"/>
                <a:gd name="connsiteX166" fmla="*/ 1000164 w 3785642"/>
                <a:gd name="connsiteY166" fmla="*/ 474282 h 479077"/>
                <a:gd name="connsiteX167" fmla="*/ 983793 w 3785642"/>
                <a:gd name="connsiteY167" fmla="*/ 472794 h 479077"/>
                <a:gd name="connsiteX168" fmla="*/ 967423 w 3785642"/>
                <a:gd name="connsiteY168" fmla="*/ 472794 h 479077"/>
                <a:gd name="connsiteX169" fmla="*/ 951052 w 3785642"/>
                <a:gd name="connsiteY169" fmla="*/ 473786 h 479077"/>
                <a:gd name="connsiteX170" fmla="*/ 934682 w 3785642"/>
                <a:gd name="connsiteY170" fmla="*/ 474282 h 479077"/>
                <a:gd name="connsiteX171" fmla="*/ 918311 w 3785642"/>
                <a:gd name="connsiteY171" fmla="*/ 474778 h 479077"/>
                <a:gd name="connsiteX172" fmla="*/ 901940 w 3785642"/>
                <a:gd name="connsiteY172" fmla="*/ 473290 h 479077"/>
                <a:gd name="connsiteX173" fmla="*/ 885570 w 3785642"/>
                <a:gd name="connsiteY173" fmla="*/ 474778 h 479077"/>
                <a:gd name="connsiteX174" fmla="*/ 869199 w 3785642"/>
                <a:gd name="connsiteY174" fmla="*/ 474282 h 479077"/>
                <a:gd name="connsiteX175" fmla="*/ 852829 w 3785642"/>
                <a:gd name="connsiteY175" fmla="*/ 473786 h 479077"/>
                <a:gd name="connsiteX176" fmla="*/ 836458 w 3785642"/>
                <a:gd name="connsiteY176" fmla="*/ 474778 h 479077"/>
                <a:gd name="connsiteX177" fmla="*/ 820088 w 3785642"/>
                <a:gd name="connsiteY177" fmla="*/ 475274 h 479077"/>
                <a:gd name="connsiteX178" fmla="*/ 803717 w 3785642"/>
                <a:gd name="connsiteY178" fmla="*/ 473786 h 479077"/>
                <a:gd name="connsiteX179" fmla="*/ 787347 w 3785642"/>
                <a:gd name="connsiteY179" fmla="*/ 475770 h 479077"/>
                <a:gd name="connsiteX180" fmla="*/ 770976 w 3785642"/>
                <a:gd name="connsiteY180" fmla="*/ 474778 h 479077"/>
                <a:gd name="connsiteX181" fmla="*/ 754605 w 3785642"/>
                <a:gd name="connsiteY181" fmla="*/ 475274 h 479077"/>
                <a:gd name="connsiteX182" fmla="*/ 738235 w 3785642"/>
                <a:gd name="connsiteY182" fmla="*/ 473786 h 479077"/>
                <a:gd name="connsiteX183" fmla="*/ 721864 w 3785642"/>
                <a:gd name="connsiteY183" fmla="*/ 475274 h 479077"/>
                <a:gd name="connsiteX184" fmla="*/ 705494 w 3785642"/>
                <a:gd name="connsiteY184" fmla="*/ 475770 h 479077"/>
                <a:gd name="connsiteX185" fmla="*/ 689123 w 3785642"/>
                <a:gd name="connsiteY185" fmla="*/ 474282 h 479077"/>
                <a:gd name="connsiteX186" fmla="*/ 672753 w 3785642"/>
                <a:gd name="connsiteY186" fmla="*/ 475274 h 479077"/>
                <a:gd name="connsiteX187" fmla="*/ 656382 w 3785642"/>
                <a:gd name="connsiteY187" fmla="*/ 474778 h 479077"/>
                <a:gd name="connsiteX188" fmla="*/ 640011 w 3785642"/>
                <a:gd name="connsiteY188" fmla="*/ 475770 h 479077"/>
                <a:gd name="connsiteX189" fmla="*/ 623641 w 3785642"/>
                <a:gd name="connsiteY189" fmla="*/ 473786 h 479077"/>
                <a:gd name="connsiteX190" fmla="*/ 607270 w 3785642"/>
                <a:gd name="connsiteY190" fmla="*/ 474778 h 479077"/>
                <a:gd name="connsiteX191" fmla="*/ 590900 w 3785642"/>
                <a:gd name="connsiteY191" fmla="*/ 475274 h 479077"/>
                <a:gd name="connsiteX192" fmla="*/ 574529 w 3785642"/>
                <a:gd name="connsiteY192" fmla="*/ 474282 h 479077"/>
                <a:gd name="connsiteX193" fmla="*/ 558158 w 3785642"/>
                <a:gd name="connsiteY193" fmla="*/ 475274 h 479077"/>
                <a:gd name="connsiteX194" fmla="*/ 541788 w 3785642"/>
                <a:gd name="connsiteY194" fmla="*/ 475770 h 479077"/>
                <a:gd name="connsiteX195" fmla="*/ 525417 w 3785642"/>
                <a:gd name="connsiteY195" fmla="*/ 474282 h 479077"/>
                <a:gd name="connsiteX196" fmla="*/ 509047 w 3785642"/>
                <a:gd name="connsiteY196" fmla="*/ 473786 h 479077"/>
                <a:gd name="connsiteX197" fmla="*/ 492676 w 3785642"/>
                <a:gd name="connsiteY197" fmla="*/ 473786 h 479077"/>
                <a:gd name="connsiteX198" fmla="*/ 476306 w 3785642"/>
                <a:gd name="connsiteY198" fmla="*/ 474778 h 479077"/>
                <a:gd name="connsiteX199" fmla="*/ 459935 w 3785642"/>
                <a:gd name="connsiteY199" fmla="*/ 473786 h 479077"/>
                <a:gd name="connsiteX200" fmla="*/ 443565 w 3785642"/>
                <a:gd name="connsiteY200" fmla="*/ 474778 h 479077"/>
                <a:gd name="connsiteX201" fmla="*/ 427194 w 3785642"/>
                <a:gd name="connsiteY201" fmla="*/ 474282 h 479077"/>
                <a:gd name="connsiteX202" fmla="*/ 410823 w 3785642"/>
                <a:gd name="connsiteY202" fmla="*/ 473290 h 479077"/>
                <a:gd name="connsiteX203" fmla="*/ 394453 w 3785642"/>
                <a:gd name="connsiteY203" fmla="*/ 475770 h 479077"/>
                <a:gd name="connsiteX204" fmla="*/ 378082 w 3785642"/>
                <a:gd name="connsiteY204" fmla="*/ 475274 h 479077"/>
                <a:gd name="connsiteX205" fmla="*/ 361712 w 3785642"/>
                <a:gd name="connsiteY205" fmla="*/ 474778 h 479077"/>
                <a:gd name="connsiteX206" fmla="*/ 345341 w 3785642"/>
                <a:gd name="connsiteY206" fmla="*/ 476266 h 479077"/>
                <a:gd name="connsiteX207" fmla="*/ 328970 w 3785642"/>
                <a:gd name="connsiteY207" fmla="*/ 474282 h 479077"/>
                <a:gd name="connsiteX208" fmla="*/ 312600 w 3785642"/>
                <a:gd name="connsiteY208" fmla="*/ 475274 h 479077"/>
                <a:gd name="connsiteX209" fmla="*/ 296229 w 3785642"/>
                <a:gd name="connsiteY209" fmla="*/ 474282 h 479077"/>
                <a:gd name="connsiteX210" fmla="*/ 279859 w 3785642"/>
                <a:gd name="connsiteY210" fmla="*/ 475770 h 479077"/>
                <a:gd name="connsiteX211" fmla="*/ 263488 w 3785642"/>
                <a:gd name="connsiteY211" fmla="*/ 476266 h 479077"/>
                <a:gd name="connsiteX212" fmla="*/ 247118 w 3785642"/>
                <a:gd name="connsiteY212" fmla="*/ 476266 h 479077"/>
                <a:gd name="connsiteX213" fmla="*/ 230747 w 3785642"/>
                <a:gd name="connsiteY213" fmla="*/ 474778 h 479077"/>
                <a:gd name="connsiteX214" fmla="*/ 214376 w 3785642"/>
                <a:gd name="connsiteY214" fmla="*/ 474778 h 479077"/>
                <a:gd name="connsiteX215" fmla="*/ 198006 w 3785642"/>
                <a:gd name="connsiteY215" fmla="*/ 476762 h 479077"/>
                <a:gd name="connsiteX216" fmla="*/ 181635 w 3785642"/>
                <a:gd name="connsiteY216" fmla="*/ 476266 h 479077"/>
                <a:gd name="connsiteX217" fmla="*/ 165265 w 3785642"/>
                <a:gd name="connsiteY217" fmla="*/ 474778 h 479077"/>
                <a:gd name="connsiteX218" fmla="*/ 148894 w 3785642"/>
                <a:gd name="connsiteY218" fmla="*/ 476762 h 479077"/>
                <a:gd name="connsiteX219" fmla="*/ 132524 w 3785642"/>
                <a:gd name="connsiteY219" fmla="*/ 476266 h 479077"/>
                <a:gd name="connsiteX220" fmla="*/ 116153 w 3785642"/>
                <a:gd name="connsiteY220" fmla="*/ 475274 h 479077"/>
                <a:gd name="connsiteX221" fmla="*/ 99783 w 3785642"/>
                <a:gd name="connsiteY221" fmla="*/ 475274 h 479077"/>
                <a:gd name="connsiteX222" fmla="*/ 83412 w 3785642"/>
                <a:gd name="connsiteY222" fmla="*/ 475274 h 479077"/>
                <a:gd name="connsiteX223" fmla="*/ 67041 w 3785642"/>
                <a:gd name="connsiteY223" fmla="*/ 474778 h 479077"/>
                <a:gd name="connsiteX224" fmla="*/ 50671 w 3785642"/>
                <a:gd name="connsiteY224" fmla="*/ 475274 h 479077"/>
                <a:gd name="connsiteX225" fmla="*/ 34300 w 3785642"/>
                <a:gd name="connsiteY225" fmla="*/ 475274 h 479077"/>
                <a:gd name="connsiteX226" fmla="*/ 17930 w 3785642"/>
                <a:gd name="connsiteY226" fmla="*/ 475770 h 479077"/>
                <a:gd name="connsiteX227" fmla="*/ 567 w 3785642"/>
                <a:gd name="connsiteY227" fmla="*/ 475770 h 479077"/>
                <a:gd name="connsiteX228" fmla="*/ 12969 w 3785642"/>
                <a:gd name="connsiteY228" fmla="*/ 463368 h 479077"/>
                <a:gd name="connsiteX229" fmla="*/ 24379 w 3785642"/>
                <a:gd name="connsiteY229" fmla="*/ 451958 h 479077"/>
                <a:gd name="connsiteX230" fmla="*/ 35788 w 3785642"/>
                <a:gd name="connsiteY230" fmla="*/ 440053 h 479077"/>
                <a:gd name="connsiteX231" fmla="*/ 48686 w 3785642"/>
                <a:gd name="connsiteY231" fmla="*/ 430131 h 479077"/>
                <a:gd name="connsiteX232" fmla="*/ 59600 w 3785642"/>
                <a:gd name="connsiteY232" fmla="*/ 418225 h 479077"/>
                <a:gd name="connsiteX233" fmla="*/ 70514 w 3785642"/>
                <a:gd name="connsiteY233" fmla="*/ 405823 h 479077"/>
                <a:gd name="connsiteX234" fmla="*/ 83412 w 3785642"/>
                <a:gd name="connsiteY234" fmla="*/ 395406 h 479077"/>
                <a:gd name="connsiteX235" fmla="*/ 94822 w 3785642"/>
                <a:gd name="connsiteY235" fmla="*/ 383500 h 479077"/>
                <a:gd name="connsiteX236" fmla="*/ 106728 w 3785642"/>
                <a:gd name="connsiteY236" fmla="*/ 372090 h 479077"/>
                <a:gd name="connsiteX237" fmla="*/ 117145 w 3785642"/>
                <a:gd name="connsiteY237" fmla="*/ 359688 h 479077"/>
                <a:gd name="connsiteX238" fmla="*/ 128555 w 3785642"/>
                <a:gd name="connsiteY238" fmla="*/ 348278 h 479077"/>
                <a:gd name="connsiteX239" fmla="*/ 140461 w 3785642"/>
                <a:gd name="connsiteY239" fmla="*/ 336868 h 479077"/>
                <a:gd name="connsiteX240" fmla="*/ 152863 w 3785642"/>
                <a:gd name="connsiteY240" fmla="*/ 326451 h 479077"/>
                <a:gd name="connsiteX241" fmla="*/ 164769 w 3785642"/>
                <a:gd name="connsiteY241" fmla="*/ 315041 h 479077"/>
                <a:gd name="connsiteX242" fmla="*/ 176178 w 3785642"/>
                <a:gd name="connsiteY242" fmla="*/ 303135 h 479077"/>
                <a:gd name="connsiteX243" fmla="*/ 188084 w 3785642"/>
                <a:gd name="connsiteY243" fmla="*/ 291725 h 479077"/>
                <a:gd name="connsiteX244" fmla="*/ 199494 w 3785642"/>
                <a:gd name="connsiteY244" fmla="*/ 280315 h 479077"/>
                <a:gd name="connsiteX245" fmla="*/ 210904 w 3785642"/>
                <a:gd name="connsiteY245" fmla="*/ 268906 h 479077"/>
                <a:gd name="connsiteX246" fmla="*/ 221818 w 3785642"/>
                <a:gd name="connsiteY246" fmla="*/ 256504 h 479077"/>
                <a:gd name="connsiteX247" fmla="*/ 233724 w 3785642"/>
                <a:gd name="connsiteY247" fmla="*/ 245094 h 479077"/>
                <a:gd name="connsiteX248" fmla="*/ 244141 w 3785642"/>
                <a:gd name="connsiteY248" fmla="*/ 232692 h 479077"/>
                <a:gd name="connsiteX249" fmla="*/ 257039 w 3785642"/>
                <a:gd name="connsiteY249" fmla="*/ 222770 h 479077"/>
                <a:gd name="connsiteX250" fmla="*/ 266961 w 3785642"/>
                <a:gd name="connsiteY250" fmla="*/ 209376 h 479077"/>
                <a:gd name="connsiteX251" fmla="*/ 278371 w 3785642"/>
                <a:gd name="connsiteY251" fmla="*/ 197966 h 479077"/>
                <a:gd name="connsiteX252" fmla="*/ 291269 w 3785642"/>
                <a:gd name="connsiteY252" fmla="*/ 188045 h 479077"/>
                <a:gd name="connsiteX253" fmla="*/ 301686 w 3785642"/>
                <a:gd name="connsiteY253" fmla="*/ 175147 h 479077"/>
                <a:gd name="connsiteX254" fmla="*/ 313592 w 3785642"/>
                <a:gd name="connsiteY254" fmla="*/ 163737 h 479077"/>
                <a:gd name="connsiteX255" fmla="*/ 325994 w 3785642"/>
                <a:gd name="connsiteY255" fmla="*/ 153319 h 479077"/>
                <a:gd name="connsiteX256" fmla="*/ 337404 w 3785642"/>
                <a:gd name="connsiteY256" fmla="*/ 141910 h 479077"/>
                <a:gd name="connsiteX257" fmla="*/ 347325 w 3785642"/>
                <a:gd name="connsiteY257" fmla="*/ 129012 h 479077"/>
                <a:gd name="connsiteX258" fmla="*/ 360224 w 3785642"/>
                <a:gd name="connsiteY258" fmla="*/ 118594 h 479077"/>
                <a:gd name="connsiteX259" fmla="*/ 371137 w 3785642"/>
                <a:gd name="connsiteY259" fmla="*/ 106192 h 479077"/>
                <a:gd name="connsiteX260" fmla="*/ 382051 w 3785642"/>
                <a:gd name="connsiteY260" fmla="*/ 93790 h 479077"/>
                <a:gd name="connsiteX261" fmla="*/ 393957 w 3785642"/>
                <a:gd name="connsiteY261" fmla="*/ 82380 h 479077"/>
                <a:gd name="connsiteX262" fmla="*/ 405366 w 3785642"/>
                <a:gd name="connsiteY262" fmla="*/ 70475 h 479077"/>
                <a:gd name="connsiteX263" fmla="*/ 417272 w 3785642"/>
                <a:gd name="connsiteY263" fmla="*/ 59561 h 479077"/>
                <a:gd name="connsiteX264" fmla="*/ 429674 w 3785642"/>
                <a:gd name="connsiteY264" fmla="*/ 48647 h 479077"/>
                <a:gd name="connsiteX265" fmla="*/ 440092 w 3785642"/>
                <a:gd name="connsiteY265" fmla="*/ 35749 h 479077"/>
                <a:gd name="connsiteX266" fmla="*/ 452494 w 3785642"/>
                <a:gd name="connsiteY266" fmla="*/ 24835 h 479077"/>
                <a:gd name="connsiteX267" fmla="*/ 463904 w 3785642"/>
                <a:gd name="connsiteY267" fmla="*/ 12929 h 479077"/>
                <a:gd name="connsiteX268" fmla="*/ 475313 w 3785642"/>
                <a:gd name="connsiteY268" fmla="*/ 1024 h 479077"/>
                <a:gd name="connsiteX269" fmla="*/ 491684 w 3785642"/>
                <a:gd name="connsiteY269" fmla="*/ 2512 h 479077"/>
                <a:gd name="connsiteX270" fmla="*/ 508055 w 3785642"/>
                <a:gd name="connsiteY270" fmla="*/ 2512 h 479077"/>
                <a:gd name="connsiteX271" fmla="*/ 524425 w 3785642"/>
                <a:gd name="connsiteY271" fmla="*/ 2512 h 479077"/>
                <a:gd name="connsiteX272" fmla="*/ 540796 w 3785642"/>
                <a:gd name="connsiteY272" fmla="*/ 1024 h 479077"/>
                <a:gd name="connsiteX273" fmla="*/ 557166 w 3785642"/>
                <a:gd name="connsiteY273" fmla="*/ 2512 h 479077"/>
                <a:gd name="connsiteX274" fmla="*/ 573537 w 3785642"/>
                <a:gd name="connsiteY274" fmla="*/ 1024 h 479077"/>
                <a:gd name="connsiteX275" fmla="*/ 589908 w 3785642"/>
                <a:gd name="connsiteY275" fmla="*/ 527 h 479077"/>
                <a:gd name="connsiteX276" fmla="*/ 606278 w 3785642"/>
                <a:gd name="connsiteY276" fmla="*/ 1520 h 479077"/>
                <a:gd name="connsiteX277" fmla="*/ 622649 w 3785642"/>
                <a:gd name="connsiteY277" fmla="*/ 1520 h 479077"/>
                <a:gd name="connsiteX278" fmla="*/ 639019 w 3785642"/>
                <a:gd name="connsiteY278" fmla="*/ 2016 h 479077"/>
                <a:gd name="connsiteX279" fmla="*/ 655390 w 3785642"/>
                <a:gd name="connsiteY279" fmla="*/ 527 h 479077"/>
                <a:gd name="connsiteX280" fmla="*/ 671760 w 3785642"/>
                <a:gd name="connsiteY280" fmla="*/ 1520 h 479077"/>
                <a:gd name="connsiteX281" fmla="*/ 688131 w 3785642"/>
                <a:gd name="connsiteY281" fmla="*/ 2512 h 479077"/>
                <a:gd name="connsiteX282" fmla="*/ 704501 w 3785642"/>
                <a:gd name="connsiteY282" fmla="*/ 1024 h 479077"/>
                <a:gd name="connsiteX283" fmla="*/ 720872 w 3785642"/>
                <a:gd name="connsiteY283" fmla="*/ 1520 h 479077"/>
                <a:gd name="connsiteX284" fmla="*/ 737243 w 3785642"/>
                <a:gd name="connsiteY284" fmla="*/ 2016 h 479077"/>
                <a:gd name="connsiteX285" fmla="*/ 753613 w 3785642"/>
                <a:gd name="connsiteY285" fmla="*/ 1024 h 479077"/>
                <a:gd name="connsiteX286" fmla="*/ 769984 w 3785642"/>
                <a:gd name="connsiteY286" fmla="*/ 527 h 479077"/>
                <a:gd name="connsiteX287" fmla="*/ 786354 w 3785642"/>
                <a:gd name="connsiteY287" fmla="*/ 1520 h 479077"/>
                <a:gd name="connsiteX288" fmla="*/ 802725 w 3785642"/>
                <a:gd name="connsiteY288" fmla="*/ 527 h 479077"/>
                <a:gd name="connsiteX289" fmla="*/ 819096 w 3785642"/>
                <a:gd name="connsiteY289" fmla="*/ 2512 h 479077"/>
                <a:gd name="connsiteX290" fmla="*/ 835466 w 3785642"/>
                <a:gd name="connsiteY290" fmla="*/ 527 h 479077"/>
                <a:gd name="connsiteX291" fmla="*/ 851837 w 3785642"/>
                <a:gd name="connsiteY291" fmla="*/ 1520 h 479077"/>
                <a:gd name="connsiteX292" fmla="*/ 868207 w 3785642"/>
                <a:gd name="connsiteY292" fmla="*/ 2016 h 479077"/>
                <a:gd name="connsiteX293" fmla="*/ 884578 w 3785642"/>
                <a:gd name="connsiteY293" fmla="*/ 2512 h 479077"/>
                <a:gd name="connsiteX294" fmla="*/ 900948 w 3785642"/>
                <a:gd name="connsiteY294" fmla="*/ 1520 h 479077"/>
                <a:gd name="connsiteX295" fmla="*/ 917319 w 3785642"/>
                <a:gd name="connsiteY295" fmla="*/ 1024 h 479077"/>
                <a:gd name="connsiteX296" fmla="*/ 933689 w 3785642"/>
                <a:gd name="connsiteY296" fmla="*/ 2512 h 479077"/>
                <a:gd name="connsiteX297" fmla="*/ 950060 w 3785642"/>
                <a:gd name="connsiteY297" fmla="*/ 1520 h 479077"/>
                <a:gd name="connsiteX298" fmla="*/ 966431 w 3785642"/>
                <a:gd name="connsiteY298" fmla="*/ 2016 h 479077"/>
                <a:gd name="connsiteX299" fmla="*/ 982801 w 3785642"/>
                <a:gd name="connsiteY299" fmla="*/ 2512 h 479077"/>
                <a:gd name="connsiteX300" fmla="*/ 999172 w 3785642"/>
                <a:gd name="connsiteY300" fmla="*/ 1520 h 479077"/>
                <a:gd name="connsiteX301" fmla="*/ 1015542 w 3785642"/>
                <a:gd name="connsiteY301" fmla="*/ 2512 h 479077"/>
                <a:gd name="connsiteX302" fmla="*/ 1031913 w 3785642"/>
                <a:gd name="connsiteY302" fmla="*/ 1520 h 479077"/>
                <a:gd name="connsiteX303" fmla="*/ 1048283 w 3785642"/>
                <a:gd name="connsiteY303" fmla="*/ 2016 h 479077"/>
                <a:gd name="connsiteX304" fmla="*/ 1064654 w 3785642"/>
                <a:gd name="connsiteY304" fmla="*/ 3504 h 479077"/>
                <a:gd name="connsiteX305" fmla="*/ 1081025 w 3785642"/>
                <a:gd name="connsiteY305" fmla="*/ 2016 h 479077"/>
                <a:gd name="connsiteX306" fmla="*/ 1097395 w 3785642"/>
                <a:gd name="connsiteY306" fmla="*/ 2512 h 479077"/>
                <a:gd name="connsiteX307" fmla="*/ 1113766 w 3785642"/>
                <a:gd name="connsiteY307" fmla="*/ 2512 h 479077"/>
                <a:gd name="connsiteX308" fmla="*/ 1130136 w 3785642"/>
                <a:gd name="connsiteY308" fmla="*/ 3504 h 479077"/>
                <a:gd name="connsiteX309" fmla="*/ 1146507 w 3785642"/>
                <a:gd name="connsiteY309" fmla="*/ 1520 h 479077"/>
                <a:gd name="connsiteX310" fmla="*/ 1162878 w 3785642"/>
                <a:gd name="connsiteY310" fmla="*/ 3008 h 479077"/>
                <a:gd name="connsiteX311" fmla="*/ 1179248 w 3785642"/>
                <a:gd name="connsiteY311" fmla="*/ 4000 h 479077"/>
                <a:gd name="connsiteX312" fmla="*/ 1195619 w 3785642"/>
                <a:gd name="connsiteY312" fmla="*/ 3504 h 479077"/>
                <a:gd name="connsiteX313" fmla="*/ 1211989 w 3785642"/>
                <a:gd name="connsiteY313" fmla="*/ 1520 h 479077"/>
                <a:gd name="connsiteX314" fmla="*/ 1228360 w 3785642"/>
                <a:gd name="connsiteY314" fmla="*/ 3504 h 479077"/>
                <a:gd name="connsiteX315" fmla="*/ 1244730 w 3785642"/>
                <a:gd name="connsiteY315" fmla="*/ 1520 h 479077"/>
                <a:gd name="connsiteX316" fmla="*/ 1261101 w 3785642"/>
                <a:gd name="connsiteY316" fmla="*/ 2512 h 479077"/>
                <a:gd name="connsiteX317" fmla="*/ 1277471 w 3785642"/>
                <a:gd name="connsiteY317" fmla="*/ 3504 h 479077"/>
                <a:gd name="connsiteX318" fmla="*/ 1293842 w 3785642"/>
                <a:gd name="connsiteY318" fmla="*/ 4000 h 479077"/>
                <a:gd name="connsiteX319" fmla="*/ 1310213 w 3785642"/>
                <a:gd name="connsiteY319" fmla="*/ 1520 h 479077"/>
                <a:gd name="connsiteX320" fmla="*/ 1326583 w 3785642"/>
                <a:gd name="connsiteY320" fmla="*/ 2016 h 479077"/>
                <a:gd name="connsiteX321" fmla="*/ 1342954 w 3785642"/>
                <a:gd name="connsiteY321" fmla="*/ 3008 h 479077"/>
                <a:gd name="connsiteX322" fmla="*/ 1359324 w 3785642"/>
                <a:gd name="connsiteY322" fmla="*/ 3008 h 479077"/>
                <a:gd name="connsiteX323" fmla="*/ 1375695 w 3785642"/>
                <a:gd name="connsiteY323" fmla="*/ 2512 h 479077"/>
                <a:gd name="connsiteX324" fmla="*/ 1392066 w 3785642"/>
                <a:gd name="connsiteY324" fmla="*/ 2512 h 479077"/>
                <a:gd name="connsiteX325" fmla="*/ 1408436 w 3785642"/>
                <a:gd name="connsiteY325" fmla="*/ 3504 h 479077"/>
                <a:gd name="connsiteX326" fmla="*/ 1424807 w 3785642"/>
                <a:gd name="connsiteY326" fmla="*/ 3504 h 479077"/>
                <a:gd name="connsiteX327" fmla="*/ 1441177 w 3785642"/>
                <a:gd name="connsiteY327" fmla="*/ 1520 h 479077"/>
                <a:gd name="connsiteX328" fmla="*/ 1457548 w 3785642"/>
                <a:gd name="connsiteY328" fmla="*/ 2512 h 479077"/>
                <a:gd name="connsiteX329" fmla="*/ 1473919 w 3785642"/>
                <a:gd name="connsiteY329" fmla="*/ 2016 h 479077"/>
                <a:gd name="connsiteX330" fmla="*/ 1490289 w 3785642"/>
                <a:gd name="connsiteY330" fmla="*/ 2016 h 479077"/>
                <a:gd name="connsiteX331" fmla="*/ 1506660 w 3785642"/>
                <a:gd name="connsiteY331" fmla="*/ 1520 h 479077"/>
                <a:gd name="connsiteX332" fmla="*/ 1523030 w 3785642"/>
                <a:gd name="connsiteY332" fmla="*/ 3504 h 479077"/>
                <a:gd name="connsiteX333" fmla="*/ 1539401 w 3785642"/>
                <a:gd name="connsiteY333" fmla="*/ 3008 h 479077"/>
                <a:gd name="connsiteX334" fmla="*/ 1555771 w 3785642"/>
                <a:gd name="connsiteY334" fmla="*/ 3008 h 479077"/>
                <a:gd name="connsiteX335" fmla="*/ 1572142 w 3785642"/>
                <a:gd name="connsiteY335" fmla="*/ 2512 h 479077"/>
                <a:gd name="connsiteX336" fmla="*/ 1588512 w 3785642"/>
                <a:gd name="connsiteY336" fmla="*/ 2016 h 479077"/>
                <a:gd name="connsiteX337" fmla="*/ 1604883 w 3785642"/>
                <a:gd name="connsiteY337" fmla="*/ 3008 h 479077"/>
                <a:gd name="connsiteX338" fmla="*/ 1621253 w 3785642"/>
                <a:gd name="connsiteY338" fmla="*/ 3008 h 479077"/>
                <a:gd name="connsiteX339" fmla="*/ 1637624 w 3785642"/>
                <a:gd name="connsiteY33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313375 w 3785642"/>
                <a:gd name="connsiteY12" fmla="*/ 10945 h 479077"/>
                <a:gd name="connsiteX13" fmla="*/ 3300973 w 3785642"/>
                <a:gd name="connsiteY13" fmla="*/ 21363 h 479077"/>
                <a:gd name="connsiteX14" fmla="*/ 3289068 w 3785642"/>
                <a:gd name="connsiteY14" fmla="*/ 32276 h 479077"/>
                <a:gd name="connsiteX15" fmla="*/ 3277658 w 3785642"/>
                <a:gd name="connsiteY15" fmla="*/ 43686 h 479077"/>
                <a:gd name="connsiteX16" fmla="*/ 3266248 w 3785642"/>
                <a:gd name="connsiteY16" fmla="*/ 55592 h 479077"/>
                <a:gd name="connsiteX17" fmla="*/ 3255830 w 3785642"/>
                <a:gd name="connsiteY17" fmla="*/ 68490 h 479077"/>
                <a:gd name="connsiteX18" fmla="*/ 3243924 w 3785642"/>
                <a:gd name="connsiteY18" fmla="*/ 79900 h 479077"/>
                <a:gd name="connsiteX19" fmla="*/ 3231522 w 3785642"/>
                <a:gd name="connsiteY19" fmla="*/ 90814 h 479077"/>
                <a:gd name="connsiteX20" fmla="*/ 3220609 w 3785642"/>
                <a:gd name="connsiteY20" fmla="*/ 102720 h 479077"/>
                <a:gd name="connsiteX21" fmla="*/ 3208207 w 3785642"/>
                <a:gd name="connsiteY21" fmla="*/ 113137 h 479077"/>
                <a:gd name="connsiteX22" fmla="*/ 3197293 w 3785642"/>
                <a:gd name="connsiteY22" fmla="*/ 125043 h 479077"/>
                <a:gd name="connsiteX23" fmla="*/ 3185387 w 3785642"/>
                <a:gd name="connsiteY23" fmla="*/ 136453 h 479077"/>
                <a:gd name="connsiteX24" fmla="*/ 3174970 w 3785642"/>
                <a:gd name="connsiteY24" fmla="*/ 148855 h 479077"/>
                <a:gd name="connsiteX25" fmla="*/ 3162071 w 3785642"/>
                <a:gd name="connsiteY25" fmla="*/ 159272 h 479077"/>
                <a:gd name="connsiteX26" fmla="*/ 3151158 w 3785642"/>
                <a:gd name="connsiteY26" fmla="*/ 171674 h 479077"/>
                <a:gd name="connsiteX27" fmla="*/ 3139252 w 3785642"/>
                <a:gd name="connsiteY27" fmla="*/ 182588 h 479077"/>
                <a:gd name="connsiteX28" fmla="*/ 3127843 w 3785642"/>
                <a:gd name="connsiteY28" fmla="*/ 194494 h 479077"/>
                <a:gd name="connsiteX29" fmla="*/ 3116432 w 3785642"/>
                <a:gd name="connsiteY29" fmla="*/ 205904 h 479077"/>
                <a:gd name="connsiteX30" fmla="*/ 3105022 w 3785642"/>
                <a:gd name="connsiteY30" fmla="*/ 217810 h 479077"/>
                <a:gd name="connsiteX31" fmla="*/ 3093117 w 3785642"/>
                <a:gd name="connsiteY31" fmla="*/ 229219 h 479077"/>
                <a:gd name="connsiteX32" fmla="*/ 3081707 w 3785642"/>
                <a:gd name="connsiteY32" fmla="*/ 240629 h 479077"/>
                <a:gd name="connsiteX33" fmla="*/ 3069305 w 3785642"/>
                <a:gd name="connsiteY33" fmla="*/ 251543 h 479077"/>
                <a:gd name="connsiteX34" fmla="*/ 3057895 w 3785642"/>
                <a:gd name="connsiteY34" fmla="*/ 263449 h 479077"/>
                <a:gd name="connsiteX35" fmla="*/ 3046486 w 3785642"/>
                <a:gd name="connsiteY35" fmla="*/ 275355 h 479077"/>
                <a:gd name="connsiteX36" fmla="*/ 3035572 w 3785642"/>
                <a:gd name="connsiteY36" fmla="*/ 287260 h 479077"/>
                <a:gd name="connsiteX37" fmla="*/ 3024658 w 3785642"/>
                <a:gd name="connsiteY37" fmla="*/ 299166 h 479077"/>
                <a:gd name="connsiteX38" fmla="*/ 3013248 w 3785642"/>
                <a:gd name="connsiteY38" fmla="*/ 311072 h 479077"/>
                <a:gd name="connsiteX39" fmla="*/ 3000350 w 3785642"/>
                <a:gd name="connsiteY39" fmla="*/ 321490 h 479077"/>
                <a:gd name="connsiteX40" fmla="*/ 2988941 w 3785642"/>
                <a:gd name="connsiteY40" fmla="*/ 333396 h 479077"/>
                <a:gd name="connsiteX41" fmla="*/ 2976539 w 3785642"/>
                <a:gd name="connsiteY41" fmla="*/ 344309 h 479077"/>
                <a:gd name="connsiteX42" fmla="*/ 2965129 w 3785642"/>
                <a:gd name="connsiteY42" fmla="*/ 356215 h 479077"/>
                <a:gd name="connsiteX43" fmla="*/ 2953223 w 3785642"/>
                <a:gd name="connsiteY43" fmla="*/ 367625 h 479077"/>
                <a:gd name="connsiteX44" fmla="*/ 2941813 w 3785642"/>
                <a:gd name="connsiteY44" fmla="*/ 379531 h 479077"/>
                <a:gd name="connsiteX45" fmla="*/ 2931395 w 3785642"/>
                <a:gd name="connsiteY45" fmla="*/ 392429 h 479077"/>
                <a:gd name="connsiteX46" fmla="*/ 2918497 w 3785642"/>
                <a:gd name="connsiteY46" fmla="*/ 402847 h 479077"/>
                <a:gd name="connsiteX47" fmla="*/ 2907584 w 3785642"/>
                <a:gd name="connsiteY47" fmla="*/ 415249 h 479077"/>
                <a:gd name="connsiteX48" fmla="*/ 2896174 w 3785642"/>
                <a:gd name="connsiteY48" fmla="*/ 426658 h 479077"/>
                <a:gd name="connsiteX49" fmla="*/ 2884268 w 3785642"/>
                <a:gd name="connsiteY49" fmla="*/ 438068 h 479077"/>
                <a:gd name="connsiteX50" fmla="*/ 2873354 w 3785642"/>
                <a:gd name="connsiteY50" fmla="*/ 450470 h 479077"/>
                <a:gd name="connsiteX51" fmla="*/ 2860952 w 3785642"/>
                <a:gd name="connsiteY51" fmla="*/ 461384 h 479077"/>
                <a:gd name="connsiteX52" fmla="*/ 2850039 w 3785642"/>
                <a:gd name="connsiteY52" fmla="*/ 473786 h 479077"/>
                <a:gd name="connsiteX53" fmla="*/ 2833668 w 3785642"/>
                <a:gd name="connsiteY53" fmla="*/ 473786 h 479077"/>
                <a:gd name="connsiteX54" fmla="*/ 2817297 w 3785642"/>
                <a:gd name="connsiteY54" fmla="*/ 473290 h 479077"/>
                <a:gd name="connsiteX55" fmla="*/ 2800927 w 3785642"/>
                <a:gd name="connsiteY55" fmla="*/ 473290 h 479077"/>
                <a:gd name="connsiteX56" fmla="*/ 2784556 w 3785642"/>
                <a:gd name="connsiteY56" fmla="*/ 473786 h 479077"/>
                <a:gd name="connsiteX57" fmla="*/ 2768186 w 3785642"/>
                <a:gd name="connsiteY57" fmla="*/ 474282 h 479077"/>
                <a:gd name="connsiteX58" fmla="*/ 2751815 w 3785642"/>
                <a:gd name="connsiteY58" fmla="*/ 474282 h 479077"/>
                <a:gd name="connsiteX59" fmla="*/ 2735444 w 3785642"/>
                <a:gd name="connsiteY59" fmla="*/ 473290 h 479077"/>
                <a:gd name="connsiteX60" fmla="*/ 2719074 w 3785642"/>
                <a:gd name="connsiteY60" fmla="*/ 474282 h 479077"/>
                <a:gd name="connsiteX61" fmla="*/ 2702703 w 3785642"/>
                <a:gd name="connsiteY61" fmla="*/ 472298 h 479077"/>
                <a:gd name="connsiteX62" fmla="*/ 2686333 w 3785642"/>
                <a:gd name="connsiteY62" fmla="*/ 472794 h 479077"/>
                <a:gd name="connsiteX63" fmla="*/ 2669962 w 3785642"/>
                <a:gd name="connsiteY63" fmla="*/ 474282 h 479077"/>
                <a:gd name="connsiteX64" fmla="*/ 2653592 w 3785642"/>
                <a:gd name="connsiteY64" fmla="*/ 472298 h 479077"/>
                <a:gd name="connsiteX65" fmla="*/ 2637221 w 3785642"/>
                <a:gd name="connsiteY65" fmla="*/ 474282 h 479077"/>
                <a:gd name="connsiteX66" fmla="*/ 2620851 w 3785642"/>
                <a:gd name="connsiteY66" fmla="*/ 474282 h 479077"/>
                <a:gd name="connsiteX67" fmla="*/ 2604480 w 3785642"/>
                <a:gd name="connsiteY67" fmla="*/ 472298 h 479077"/>
                <a:gd name="connsiteX68" fmla="*/ 2588109 w 3785642"/>
                <a:gd name="connsiteY68" fmla="*/ 473786 h 479077"/>
                <a:gd name="connsiteX69" fmla="*/ 2571739 w 3785642"/>
                <a:gd name="connsiteY69" fmla="*/ 472298 h 479077"/>
                <a:gd name="connsiteX70" fmla="*/ 2555368 w 3785642"/>
                <a:gd name="connsiteY70" fmla="*/ 473290 h 479077"/>
                <a:gd name="connsiteX71" fmla="*/ 2538998 w 3785642"/>
                <a:gd name="connsiteY71" fmla="*/ 474282 h 479077"/>
                <a:gd name="connsiteX72" fmla="*/ 2522627 w 3785642"/>
                <a:gd name="connsiteY72" fmla="*/ 473290 h 479077"/>
                <a:gd name="connsiteX73" fmla="*/ 2506257 w 3785642"/>
                <a:gd name="connsiteY73" fmla="*/ 474282 h 479077"/>
                <a:gd name="connsiteX74" fmla="*/ 2489886 w 3785642"/>
                <a:gd name="connsiteY74" fmla="*/ 473786 h 479077"/>
                <a:gd name="connsiteX75" fmla="*/ 2473516 w 3785642"/>
                <a:gd name="connsiteY75" fmla="*/ 474282 h 479077"/>
                <a:gd name="connsiteX76" fmla="*/ 2457145 w 3785642"/>
                <a:gd name="connsiteY76" fmla="*/ 472794 h 479077"/>
                <a:gd name="connsiteX77" fmla="*/ 2440775 w 3785642"/>
                <a:gd name="connsiteY77" fmla="*/ 472298 h 479077"/>
                <a:gd name="connsiteX78" fmla="*/ 2424404 w 3785642"/>
                <a:gd name="connsiteY78" fmla="*/ 473786 h 479077"/>
                <a:gd name="connsiteX79" fmla="*/ 2408033 w 3785642"/>
                <a:gd name="connsiteY79" fmla="*/ 472794 h 479077"/>
                <a:gd name="connsiteX80" fmla="*/ 2391663 w 3785642"/>
                <a:gd name="connsiteY80" fmla="*/ 473290 h 479077"/>
                <a:gd name="connsiteX81" fmla="*/ 2375292 w 3785642"/>
                <a:gd name="connsiteY81" fmla="*/ 473290 h 479077"/>
                <a:gd name="connsiteX82" fmla="*/ 2358922 w 3785642"/>
                <a:gd name="connsiteY82" fmla="*/ 472794 h 479077"/>
                <a:gd name="connsiteX83" fmla="*/ 2342551 w 3785642"/>
                <a:gd name="connsiteY83" fmla="*/ 472298 h 479077"/>
                <a:gd name="connsiteX84" fmla="*/ 2326180 w 3785642"/>
                <a:gd name="connsiteY84" fmla="*/ 473786 h 479077"/>
                <a:gd name="connsiteX85" fmla="*/ 2309810 w 3785642"/>
                <a:gd name="connsiteY85" fmla="*/ 473786 h 479077"/>
                <a:gd name="connsiteX86" fmla="*/ 2293439 w 3785642"/>
                <a:gd name="connsiteY86" fmla="*/ 473786 h 479077"/>
                <a:gd name="connsiteX87" fmla="*/ 2277069 w 3785642"/>
                <a:gd name="connsiteY87" fmla="*/ 472794 h 479077"/>
                <a:gd name="connsiteX88" fmla="*/ 2260698 w 3785642"/>
                <a:gd name="connsiteY88" fmla="*/ 474282 h 479077"/>
                <a:gd name="connsiteX89" fmla="*/ 2244327 w 3785642"/>
                <a:gd name="connsiteY89" fmla="*/ 472298 h 479077"/>
                <a:gd name="connsiteX90" fmla="*/ 2227957 w 3785642"/>
                <a:gd name="connsiteY90" fmla="*/ 474282 h 479077"/>
                <a:gd name="connsiteX91" fmla="*/ 2211586 w 3785642"/>
                <a:gd name="connsiteY91" fmla="*/ 473290 h 479077"/>
                <a:gd name="connsiteX92" fmla="*/ 2195216 w 3785642"/>
                <a:gd name="connsiteY92" fmla="*/ 474282 h 479077"/>
                <a:gd name="connsiteX93" fmla="*/ 2178845 w 3785642"/>
                <a:gd name="connsiteY93" fmla="*/ 472794 h 479077"/>
                <a:gd name="connsiteX94" fmla="*/ 2162474 w 3785642"/>
                <a:gd name="connsiteY94" fmla="*/ 474778 h 479077"/>
                <a:gd name="connsiteX95" fmla="*/ 2146104 w 3785642"/>
                <a:gd name="connsiteY95" fmla="*/ 473290 h 479077"/>
                <a:gd name="connsiteX96" fmla="*/ 2129733 w 3785642"/>
                <a:gd name="connsiteY96" fmla="*/ 474778 h 479077"/>
                <a:gd name="connsiteX97" fmla="*/ 2113363 w 3785642"/>
                <a:gd name="connsiteY97" fmla="*/ 474778 h 479077"/>
                <a:gd name="connsiteX98" fmla="*/ 2096992 w 3785642"/>
                <a:gd name="connsiteY98" fmla="*/ 474778 h 479077"/>
                <a:gd name="connsiteX99" fmla="*/ 2080621 w 3785642"/>
                <a:gd name="connsiteY99" fmla="*/ 474282 h 479077"/>
                <a:gd name="connsiteX100" fmla="*/ 2064251 w 3785642"/>
                <a:gd name="connsiteY100" fmla="*/ 472794 h 479077"/>
                <a:gd name="connsiteX101" fmla="*/ 2047880 w 3785642"/>
                <a:gd name="connsiteY101" fmla="*/ 474778 h 479077"/>
                <a:gd name="connsiteX102" fmla="*/ 2031510 w 3785642"/>
                <a:gd name="connsiteY102" fmla="*/ 474778 h 479077"/>
                <a:gd name="connsiteX103" fmla="*/ 2015139 w 3785642"/>
                <a:gd name="connsiteY103" fmla="*/ 474778 h 479077"/>
                <a:gd name="connsiteX104" fmla="*/ 1998769 w 3785642"/>
                <a:gd name="connsiteY104" fmla="*/ 474282 h 479077"/>
                <a:gd name="connsiteX105" fmla="*/ 1982398 w 3785642"/>
                <a:gd name="connsiteY105" fmla="*/ 473786 h 479077"/>
                <a:gd name="connsiteX106" fmla="*/ 1966028 w 3785642"/>
                <a:gd name="connsiteY106" fmla="*/ 473786 h 479077"/>
                <a:gd name="connsiteX107" fmla="*/ 1949657 w 3785642"/>
                <a:gd name="connsiteY107" fmla="*/ 472794 h 479077"/>
                <a:gd name="connsiteX108" fmla="*/ 1933287 w 3785642"/>
                <a:gd name="connsiteY108" fmla="*/ 473290 h 479077"/>
                <a:gd name="connsiteX109" fmla="*/ 1916916 w 3785642"/>
                <a:gd name="connsiteY109" fmla="*/ 474778 h 479077"/>
                <a:gd name="connsiteX110" fmla="*/ 1900546 w 3785642"/>
                <a:gd name="connsiteY110" fmla="*/ 472794 h 479077"/>
                <a:gd name="connsiteX111" fmla="*/ 1884175 w 3785642"/>
                <a:gd name="connsiteY111" fmla="*/ 473786 h 479077"/>
                <a:gd name="connsiteX112" fmla="*/ 1867804 w 3785642"/>
                <a:gd name="connsiteY112" fmla="*/ 474778 h 479077"/>
                <a:gd name="connsiteX113" fmla="*/ 1851434 w 3785642"/>
                <a:gd name="connsiteY113" fmla="*/ 474778 h 479077"/>
                <a:gd name="connsiteX114" fmla="*/ 1835063 w 3785642"/>
                <a:gd name="connsiteY114" fmla="*/ 474778 h 479077"/>
                <a:gd name="connsiteX115" fmla="*/ 1818693 w 3785642"/>
                <a:gd name="connsiteY115" fmla="*/ 474282 h 479077"/>
                <a:gd name="connsiteX116" fmla="*/ 1802322 w 3785642"/>
                <a:gd name="connsiteY116" fmla="*/ 472794 h 479077"/>
                <a:gd name="connsiteX117" fmla="*/ 1785951 w 3785642"/>
                <a:gd name="connsiteY117" fmla="*/ 473786 h 479077"/>
                <a:gd name="connsiteX118" fmla="*/ 1769581 w 3785642"/>
                <a:gd name="connsiteY118" fmla="*/ 473290 h 479077"/>
                <a:gd name="connsiteX119" fmla="*/ 1753210 w 3785642"/>
                <a:gd name="connsiteY119" fmla="*/ 472298 h 479077"/>
                <a:gd name="connsiteX120" fmla="*/ 1736840 w 3785642"/>
                <a:gd name="connsiteY120" fmla="*/ 473290 h 479077"/>
                <a:gd name="connsiteX121" fmla="*/ 1720469 w 3785642"/>
                <a:gd name="connsiteY121" fmla="*/ 474778 h 479077"/>
                <a:gd name="connsiteX122" fmla="*/ 1704098 w 3785642"/>
                <a:gd name="connsiteY122" fmla="*/ 472794 h 479077"/>
                <a:gd name="connsiteX123" fmla="*/ 1687728 w 3785642"/>
                <a:gd name="connsiteY123" fmla="*/ 474778 h 479077"/>
                <a:gd name="connsiteX124" fmla="*/ 1671357 w 3785642"/>
                <a:gd name="connsiteY124" fmla="*/ 474778 h 479077"/>
                <a:gd name="connsiteX125" fmla="*/ 1654987 w 3785642"/>
                <a:gd name="connsiteY125" fmla="*/ 472298 h 479077"/>
                <a:gd name="connsiteX126" fmla="*/ 1638616 w 3785642"/>
                <a:gd name="connsiteY126" fmla="*/ 472794 h 479077"/>
                <a:gd name="connsiteX127" fmla="*/ 1622246 w 3785642"/>
                <a:gd name="connsiteY127" fmla="*/ 473786 h 479077"/>
                <a:gd name="connsiteX128" fmla="*/ 1605875 w 3785642"/>
                <a:gd name="connsiteY128" fmla="*/ 474778 h 479077"/>
                <a:gd name="connsiteX129" fmla="*/ 1589505 w 3785642"/>
                <a:gd name="connsiteY129" fmla="*/ 473290 h 479077"/>
                <a:gd name="connsiteX130" fmla="*/ 1573134 w 3785642"/>
                <a:gd name="connsiteY130" fmla="*/ 474778 h 479077"/>
                <a:gd name="connsiteX131" fmla="*/ 1556763 w 3785642"/>
                <a:gd name="connsiteY131" fmla="*/ 472794 h 479077"/>
                <a:gd name="connsiteX132" fmla="*/ 1540393 w 3785642"/>
                <a:gd name="connsiteY132" fmla="*/ 472794 h 479077"/>
                <a:gd name="connsiteX133" fmla="*/ 1524022 w 3785642"/>
                <a:gd name="connsiteY133" fmla="*/ 474282 h 479077"/>
                <a:gd name="connsiteX134" fmla="*/ 1507652 w 3785642"/>
                <a:gd name="connsiteY134" fmla="*/ 472794 h 479077"/>
                <a:gd name="connsiteX135" fmla="*/ 1491281 w 3785642"/>
                <a:gd name="connsiteY135" fmla="*/ 474282 h 479077"/>
                <a:gd name="connsiteX136" fmla="*/ 1474910 w 3785642"/>
                <a:gd name="connsiteY136" fmla="*/ 474282 h 479077"/>
                <a:gd name="connsiteX137" fmla="*/ 1458540 w 3785642"/>
                <a:gd name="connsiteY137" fmla="*/ 472794 h 479077"/>
                <a:gd name="connsiteX138" fmla="*/ 1442169 w 3785642"/>
                <a:gd name="connsiteY138" fmla="*/ 471802 h 479077"/>
                <a:gd name="connsiteX139" fmla="*/ 1425799 w 3785642"/>
                <a:gd name="connsiteY139" fmla="*/ 472298 h 479077"/>
                <a:gd name="connsiteX140" fmla="*/ 1409428 w 3785642"/>
                <a:gd name="connsiteY140" fmla="*/ 472794 h 479077"/>
                <a:gd name="connsiteX141" fmla="*/ 1393058 w 3785642"/>
                <a:gd name="connsiteY141" fmla="*/ 473786 h 479077"/>
                <a:gd name="connsiteX142" fmla="*/ 1376687 w 3785642"/>
                <a:gd name="connsiteY142" fmla="*/ 471802 h 479077"/>
                <a:gd name="connsiteX143" fmla="*/ 1360317 w 3785642"/>
                <a:gd name="connsiteY143" fmla="*/ 473786 h 479077"/>
                <a:gd name="connsiteX144" fmla="*/ 1343946 w 3785642"/>
                <a:gd name="connsiteY144" fmla="*/ 473786 h 479077"/>
                <a:gd name="connsiteX145" fmla="*/ 1327576 w 3785642"/>
                <a:gd name="connsiteY145" fmla="*/ 472794 h 479077"/>
                <a:gd name="connsiteX146" fmla="*/ 1311205 w 3785642"/>
                <a:gd name="connsiteY146" fmla="*/ 473786 h 479077"/>
                <a:gd name="connsiteX147" fmla="*/ 1294834 w 3785642"/>
                <a:gd name="connsiteY147" fmla="*/ 473786 h 479077"/>
                <a:gd name="connsiteX148" fmla="*/ 1278464 w 3785642"/>
                <a:gd name="connsiteY148" fmla="*/ 473786 h 479077"/>
                <a:gd name="connsiteX149" fmla="*/ 1262093 w 3785642"/>
                <a:gd name="connsiteY149" fmla="*/ 473786 h 479077"/>
                <a:gd name="connsiteX150" fmla="*/ 1245723 w 3785642"/>
                <a:gd name="connsiteY150" fmla="*/ 473290 h 479077"/>
                <a:gd name="connsiteX151" fmla="*/ 1229352 w 3785642"/>
                <a:gd name="connsiteY151" fmla="*/ 472794 h 479077"/>
                <a:gd name="connsiteX152" fmla="*/ 1212981 w 3785642"/>
                <a:gd name="connsiteY152" fmla="*/ 473786 h 479077"/>
                <a:gd name="connsiteX153" fmla="*/ 1196611 w 3785642"/>
                <a:gd name="connsiteY153" fmla="*/ 472298 h 479077"/>
                <a:gd name="connsiteX154" fmla="*/ 1180240 w 3785642"/>
                <a:gd name="connsiteY154" fmla="*/ 472794 h 479077"/>
                <a:gd name="connsiteX155" fmla="*/ 1163870 w 3785642"/>
                <a:gd name="connsiteY155" fmla="*/ 472794 h 479077"/>
                <a:gd name="connsiteX156" fmla="*/ 1147499 w 3785642"/>
                <a:gd name="connsiteY156" fmla="*/ 473786 h 479077"/>
                <a:gd name="connsiteX157" fmla="*/ 1131128 w 3785642"/>
                <a:gd name="connsiteY157" fmla="*/ 473786 h 479077"/>
                <a:gd name="connsiteX158" fmla="*/ 1114758 w 3785642"/>
                <a:gd name="connsiteY158" fmla="*/ 472794 h 479077"/>
                <a:gd name="connsiteX159" fmla="*/ 1098387 w 3785642"/>
                <a:gd name="connsiteY159" fmla="*/ 473786 h 479077"/>
                <a:gd name="connsiteX160" fmla="*/ 1082017 w 3785642"/>
                <a:gd name="connsiteY160" fmla="*/ 474778 h 479077"/>
                <a:gd name="connsiteX161" fmla="*/ 1065646 w 3785642"/>
                <a:gd name="connsiteY161" fmla="*/ 474778 h 479077"/>
                <a:gd name="connsiteX162" fmla="*/ 1049276 w 3785642"/>
                <a:gd name="connsiteY162" fmla="*/ 474282 h 479077"/>
                <a:gd name="connsiteX163" fmla="*/ 1032905 w 3785642"/>
                <a:gd name="connsiteY163" fmla="*/ 473290 h 479077"/>
                <a:gd name="connsiteX164" fmla="*/ 1016535 w 3785642"/>
                <a:gd name="connsiteY164" fmla="*/ 474282 h 479077"/>
                <a:gd name="connsiteX165" fmla="*/ 1000164 w 3785642"/>
                <a:gd name="connsiteY165" fmla="*/ 474282 h 479077"/>
                <a:gd name="connsiteX166" fmla="*/ 983793 w 3785642"/>
                <a:gd name="connsiteY166" fmla="*/ 472794 h 479077"/>
                <a:gd name="connsiteX167" fmla="*/ 967423 w 3785642"/>
                <a:gd name="connsiteY167" fmla="*/ 472794 h 479077"/>
                <a:gd name="connsiteX168" fmla="*/ 951052 w 3785642"/>
                <a:gd name="connsiteY168" fmla="*/ 473786 h 479077"/>
                <a:gd name="connsiteX169" fmla="*/ 934682 w 3785642"/>
                <a:gd name="connsiteY169" fmla="*/ 474282 h 479077"/>
                <a:gd name="connsiteX170" fmla="*/ 918311 w 3785642"/>
                <a:gd name="connsiteY170" fmla="*/ 474778 h 479077"/>
                <a:gd name="connsiteX171" fmla="*/ 901940 w 3785642"/>
                <a:gd name="connsiteY171" fmla="*/ 473290 h 479077"/>
                <a:gd name="connsiteX172" fmla="*/ 885570 w 3785642"/>
                <a:gd name="connsiteY172" fmla="*/ 474778 h 479077"/>
                <a:gd name="connsiteX173" fmla="*/ 869199 w 3785642"/>
                <a:gd name="connsiteY173" fmla="*/ 474282 h 479077"/>
                <a:gd name="connsiteX174" fmla="*/ 852829 w 3785642"/>
                <a:gd name="connsiteY174" fmla="*/ 473786 h 479077"/>
                <a:gd name="connsiteX175" fmla="*/ 836458 w 3785642"/>
                <a:gd name="connsiteY175" fmla="*/ 474778 h 479077"/>
                <a:gd name="connsiteX176" fmla="*/ 820088 w 3785642"/>
                <a:gd name="connsiteY176" fmla="*/ 475274 h 479077"/>
                <a:gd name="connsiteX177" fmla="*/ 803717 w 3785642"/>
                <a:gd name="connsiteY177" fmla="*/ 473786 h 479077"/>
                <a:gd name="connsiteX178" fmla="*/ 787347 w 3785642"/>
                <a:gd name="connsiteY178" fmla="*/ 475770 h 479077"/>
                <a:gd name="connsiteX179" fmla="*/ 770976 w 3785642"/>
                <a:gd name="connsiteY179" fmla="*/ 474778 h 479077"/>
                <a:gd name="connsiteX180" fmla="*/ 754605 w 3785642"/>
                <a:gd name="connsiteY180" fmla="*/ 475274 h 479077"/>
                <a:gd name="connsiteX181" fmla="*/ 738235 w 3785642"/>
                <a:gd name="connsiteY181" fmla="*/ 473786 h 479077"/>
                <a:gd name="connsiteX182" fmla="*/ 721864 w 3785642"/>
                <a:gd name="connsiteY182" fmla="*/ 475274 h 479077"/>
                <a:gd name="connsiteX183" fmla="*/ 705494 w 3785642"/>
                <a:gd name="connsiteY183" fmla="*/ 475770 h 479077"/>
                <a:gd name="connsiteX184" fmla="*/ 689123 w 3785642"/>
                <a:gd name="connsiteY184" fmla="*/ 474282 h 479077"/>
                <a:gd name="connsiteX185" fmla="*/ 672753 w 3785642"/>
                <a:gd name="connsiteY185" fmla="*/ 475274 h 479077"/>
                <a:gd name="connsiteX186" fmla="*/ 656382 w 3785642"/>
                <a:gd name="connsiteY186" fmla="*/ 474778 h 479077"/>
                <a:gd name="connsiteX187" fmla="*/ 640011 w 3785642"/>
                <a:gd name="connsiteY187" fmla="*/ 475770 h 479077"/>
                <a:gd name="connsiteX188" fmla="*/ 623641 w 3785642"/>
                <a:gd name="connsiteY188" fmla="*/ 473786 h 479077"/>
                <a:gd name="connsiteX189" fmla="*/ 607270 w 3785642"/>
                <a:gd name="connsiteY189" fmla="*/ 474778 h 479077"/>
                <a:gd name="connsiteX190" fmla="*/ 590900 w 3785642"/>
                <a:gd name="connsiteY190" fmla="*/ 475274 h 479077"/>
                <a:gd name="connsiteX191" fmla="*/ 574529 w 3785642"/>
                <a:gd name="connsiteY191" fmla="*/ 474282 h 479077"/>
                <a:gd name="connsiteX192" fmla="*/ 558158 w 3785642"/>
                <a:gd name="connsiteY192" fmla="*/ 475274 h 479077"/>
                <a:gd name="connsiteX193" fmla="*/ 541788 w 3785642"/>
                <a:gd name="connsiteY193" fmla="*/ 475770 h 479077"/>
                <a:gd name="connsiteX194" fmla="*/ 525417 w 3785642"/>
                <a:gd name="connsiteY194" fmla="*/ 474282 h 479077"/>
                <a:gd name="connsiteX195" fmla="*/ 509047 w 3785642"/>
                <a:gd name="connsiteY195" fmla="*/ 473786 h 479077"/>
                <a:gd name="connsiteX196" fmla="*/ 492676 w 3785642"/>
                <a:gd name="connsiteY196" fmla="*/ 473786 h 479077"/>
                <a:gd name="connsiteX197" fmla="*/ 476306 w 3785642"/>
                <a:gd name="connsiteY197" fmla="*/ 474778 h 479077"/>
                <a:gd name="connsiteX198" fmla="*/ 459935 w 3785642"/>
                <a:gd name="connsiteY198" fmla="*/ 473786 h 479077"/>
                <a:gd name="connsiteX199" fmla="*/ 443565 w 3785642"/>
                <a:gd name="connsiteY199" fmla="*/ 474778 h 479077"/>
                <a:gd name="connsiteX200" fmla="*/ 427194 w 3785642"/>
                <a:gd name="connsiteY200" fmla="*/ 474282 h 479077"/>
                <a:gd name="connsiteX201" fmla="*/ 410823 w 3785642"/>
                <a:gd name="connsiteY201" fmla="*/ 473290 h 479077"/>
                <a:gd name="connsiteX202" fmla="*/ 394453 w 3785642"/>
                <a:gd name="connsiteY202" fmla="*/ 475770 h 479077"/>
                <a:gd name="connsiteX203" fmla="*/ 378082 w 3785642"/>
                <a:gd name="connsiteY203" fmla="*/ 475274 h 479077"/>
                <a:gd name="connsiteX204" fmla="*/ 361712 w 3785642"/>
                <a:gd name="connsiteY204" fmla="*/ 474778 h 479077"/>
                <a:gd name="connsiteX205" fmla="*/ 345341 w 3785642"/>
                <a:gd name="connsiteY205" fmla="*/ 476266 h 479077"/>
                <a:gd name="connsiteX206" fmla="*/ 328970 w 3785642"/>
                <a:gd name="connsiteY206" fmla="*/ 474282 h 479077"/>
                <a:gd name="connsiteX207" fmla="*/ 312600 w 3785642"/>
                <a:gd name="connsiteY207" fmla="*/ 475274 h 479077"/>
                <a:gd name="connsiteX208" fmla="*/ 296229 w 3785642"/>
                <a:gd name="connsiteY208" fmla="*/ 474282 h 479077"/>
                <a:gd name="connsiteX209" fmla="*/ 279859 w 3785642"/>
                <a:gd name="connsiteY209" fmla="*/ 475770 h 479077"/>
                <a:gd name="connsiteX210" fmla="*/ 263488 w 3785642"/>
                <a:gd name="connsiteY210" fmla="*/ 476266 h 479077"/>
                <a:gd name="connsiteX211" fmla="*/ 247118 w 3785642"/>
                <a:gd name="connsiteY211" fmla="*/ 476266 h 479077"/>
                <a:gd name="connsiteX212" fmla="*/ 230747 w 3785642"/>
                <a:gd name="connsiteY212" fmla="*/ 474778 h 479077"/>
                <a:gd name="connsiteX213" fmla="*/ 214376 w 3785642"/>
                <a:gd name="connsiteY213" fmla="*/ 474778 h 479077"/>
                <a:gd name="connsiteX214" fmla="*/ 198006 w 3785642"/>
                <a:gd name="connsiteY214" fmla="*/ 476762 h 479077"/>
                <a:gd name="connsiteX215" fmla="*/ 181635 w 3785642"/>
                <a:gd name="connsiteY215" fmla="*/ 476266 h 479077"/>
                <a:gd name="connsiteX216" fmla="*/ 165265 w 3785642"/>
                <a:gd name="connsiteY216" fmla="*/ 474778 h 479077"/>
                <a:gd name="connsiteX217" fmla="*/ 148894 w 3785642"/>
                <a:gd name="connsiteY217" fmla="*/ 476762 h 479077"/>
                <a:gd name="connsiteX218" fmla="*/ 132524 w 3785642"/>
                <a:gd name="connsiteY218" fmla="*/ 476266 h 479077"/>
                <a:gd name="connsiteX219" fmla="*/ 116153 w 3785642"/>
                <a:gd name="connsiteY219" fmla="*/ 475274 h 479077"/>
                <a:gd name="connsiteX220" fmla="*/ 99783 w 3785642"/>
                <a:gd name="connsiteY220" fmla="*/ 475274 h 479077"/>
                <a:gd name="connsiteX221" fmla="*/ 83412 w 3785642"/>
                <a:gd name="connsiteY221" fmla="*/ 475274 h 479077"/>
                <a:gd name="connsiteX222" fmla="*/ 67041 w 3785642"/>
                <a:gd name="connsiteY222" fmla="*/ 474778 h 479077"/>
                <a:gd name="connsiteX223" fmla="*/ 50671 w 3785642"/>
                <a:gd name="connsiteY223" fmla="*/ 475274 h 479077"/>
                <a:gd name="connsiteX224" fmla="*/ 34300 w 3785642"/>
                <a:gd name="connsiteY224" fmla="*/ 475274 h 479077"/>
                <a:gd name="connsiteX225" fmla="*/ 17930 w 3785642"/>
                <a:gd name="connsiteY225" fmla="*/ 475770 h 479077"/>
                <a:gd name="connsiteX226" fmla="*/ 567 w 3785642"/>
                <a:gd name="connsiteY226" fmla="*/ 475770 h 479077"/>
                <a:gd name="connsiteX227" fmla="*/ 12969 w 3785642"/>
                <a:gd name="connsiteY227" fmla="*/ 463368 h 479077"/>
                <a:gd name="connsiteX228" fmla="*/ 24379 w 3785642"/>
                <a:gd name="connsiteY228" fmla="*/ 451958 h 479077"/>
                <a:gd name="connsiteX229" fmla="*/ 35788 w 3785642"/>
                <a:gd name="connsiteY229" fmla="*/ 440053 h 479077"/>
                <a:gd name="connsiteX230" fmla="*/ 48686 w 3785642"/>
                <a:gd name="connsiteY230" fmla="*/ 430131 h 479077"/>
                <a:gd name="connsiteX231" fmla="*/ 59600 w 3785642"/>
                <a:gd name="connsiteY231" fmla="*/ 418225 h 479077"/>
                <a:gd name="connsiteX232" fmla="*/ 70514 w 3785642"/>
                <a:gd name="connsiteY232" fmla="*/ 405823 h 479077"/>
                <a:gd name="connsiteX233" fmla="*/ 83412 w 3785642"/>
                <a:gd name="connsiteY233" fmla="*/ 395406 h 479077"/>
                <a:gd name="connsiteX234" fmla="*/ 94822 w 3785642"/>
                <a:gd name="connsiteY234" fmla="*/ 383500 h 479077"/>
                <a:gd name="connsiteX235" fmla="*/ 106728 w 3785642"/>
                <a:gd name="connsiteY235" fmla="*/ 372090 h 479077"/>
                <a:gd name="connsiteX236" fmla="*/ 117145 w 3785642"/>
                <a:gd name="connsiteY236" fmla="*/ 359688 h 479077"/>
                <a:gd name="connsiteX237" fmla="*/ 128555 w 3785642"/>
                <a:gd name="connsiteY237" fmla="*/ 348278 h 479077"/>
                <a:gd name="connsiteX238" fmla="*/ 140461 w 3785642"/>
                <a:gd name="connsiteY238" fmla="*/ 336868 h 479077"/>
                <a:gd name="connsiteX239" fmla="*/ 152863 w 3785642"/>
                <a:gd name="connsiteY239" fmla="*/ 326451 h 479077"/>
                <a:gd name="connsiteX240" fmla="*/ 164769 w 3785642"/>
                <a:gd name="connsiteY240" fmla="*/ 315041 h 479077"/>
                <a:gd name="connsiteX241" fmla="*/ 176178 w 3785642"/>
                <a:gd name="connsiteY241" fmla="*/ 303135 h 479077"/>
                <a:gd name="connsiteX242" fmla="*/ 188084 w 3785642"/>
                <a:gd name="connsiteY242" fmla="*/ 291725 h 479077"/>
                <a:gd name="connsiteX243" fmla="*/ 199494 w 3785642"/>
                <a:gd name="connsiteY243" fmla="*/ 280315 h 479077"/>
                <a:gd name="connsiteX244" fmla="*/ 210904 w 3785642"/>
                <a:gd name="connsiteY244" fmla="*/ 268906 h 479077"/>
                <a:gd name="connsiteX245" fmla="*/ 221818 w 3785642"/>
                <a:gd name="connsiteY245" fmla="*/ 256504 h 479077"/>
                <a:gd name="connsiteX246" fmla="*/ 233724 w 3785642"/>
                <a:gd name="connsiteY246" fmla="*/ 245094 h 479077"/>
                <a:gd name="connsiteX247" fmla="*/ 244141 w 3785642"/>
                <a:gd name="connsiteY247" fmla="*/ 232692 h 479077"/>
                <a:gd name="connsiteX248" fmla="*/ 257039 w 3785642"/>
                <a:gd name="connsiteY248" fmla="*/ 222770 h 479077"/>
                <a:gd name="connsiteX249" fmla="*/ 266961 w 3785642"/>
                <a:gd name="connsiteY249" fmla="*/ 209376 h 479077"/>
                <a:gd name="connsiteX250" fmla="*/ 278371 w 3785642"/>
                <a:gd name="connsiteY250" fmla="*/ 197966 h 479077"/>
                <a:gd name="connsiteX251" fmla="*/ 291269 w 3785642"/>
                <a:gd name="connsiteY251" fmla="*/ 188045 h 479077"/>
                <a:gd name="connsiteX252" fmla="*/ 301686 w 3785642"/>
                <a:gd name="connsiteY252" fmla="*/ 175147 h 479077"/>
                <a:gd name="connsiteX253" fmla="*/ 313592 w 3785642"/>
                <a:gd name="connsiteY253" fmla="*/ 163737 h 479077"/>
                <a:gd name="connsiteX254" fmla="*/ 325994 w 3785642"/>
                <a:gd name="connsiteY254" fmla="*/ 153319 h 479077"/>
                <a:gd name="connsiteX255" fmla="*/ 337404 w 3785642"/>
                <a:gd name="connsiteY255" fmla="*/ 141910 h 479077"/>
                <a:gd name="connsiteX256" fmla="*/ 347325 w 3785642"/>
                <a:gd name="connsiteY256" fmla="*/ 129012 h 479077"/>
                <a:gd name="connsiteX257" fmla="*/ 360224 w 3785642"/>
                <a:gd name="connsiteY257" fmla="*/ 118594 h 479077"/>
                <a:gd name="connsiteX258" fmla="*/ 371137 w 3785642"/>
                <a:gd name="connsiteY258" fmla="*/ 106192 h 479077"/>
                <a:gd name="connsiteX259" fmla="*/ 382051 w 3785642"/>
                <a:gd name="connsiteY259" fmla="*/ 93790 h 479077"/>
                <a:gd name="connsiteX260" fmla="*/ 393957 w 3785642"/>
                <a:gd name="connsiteY260" fmla="*/ 82380 h 479077"/>
                <a:gd name="connsiteX261" fmla="*/ 405366 w 3785642"/>
                <a:gd name="connsiteY261" fmla="*/ 70475 h 479077"/>
                <a:gd name="connsiteX262" fmla="*/ 417272 w 3785642"/>
                <a:gd name="connsiteY262" fmla="*/ 59561 h 479077"/>
                <a:gd name="connsiteX263" fmla="*/ 429674 w 3785642"/>
                <a:gd name="connsiteY263" fmla="*/ 48647 h 479077"/>
                <a:gd name="connsiteX264" fmla="*/ 440092 w 3785642"/>
                <a:gd name="connsiteY264" fmla="*/ 35749 h 479077"/>
                <a:gd name="connsiteX265" fmla="*/ 452494 w 3785642"/>
                <a:gd name="connsiteY265" fmla="*/ 24835 h 479077"/>
                <a:gd name="connsiteX266" fmla="*/ 463904 w 3785642"/>
                <a:gd name="connsiteY266" fmla="*/ 12929 h 479077"/>
                <a:gd name="connsiteX267" fmla="*/ 475313 w 3785642"/>
                <a:gd name="connsiteY267" fmla="*/ 1024 h 479077"/>
                <a:gd name="connsiteX268" fmla="*/ 491684 w 3785642"/>
                <a:gd name="connsiteY268" fmla="*/ 2512 h 479077"/>
                <a:gd name="connsiteX269" fmla="*/ 508055 w 3785642"/>
                <a:gd name="connsiteY269" fmla="*/ 2512 h 479077"/>
                <a:gd name="connsiteX270" fmla="*/ 524425 w 3785642"/>
                <a:gd name="connsiteY270" fmla="*/ 2512 h 479077"/>
                <a:gd name="connsiteX271" fmla="*/ 540796 w 3785642"/>
                <a:gd name="connsiteY271" fmla="*/ 1024 h 479077"/>
                <a:gd name="connsiteX272" fmla="*/ 557166 w 3785642"/>
                <a:gd name="connsiteY272" fmla="*/ 2512 h 479077"/>
                <a:gd name="connsiteX273" fmla="*/ 573537 w 3785642"/>
                <a:gd name="connsiteY273" fmla="*/ 1024 h 479077"/>
                <a:gd name="connsiteX274" fmla="*/ 589908 w 3785642"/>
                <a:gd name="connsiteY274" fmla="*/ 527 h 479077"/>
                <a:gd name="connsiteX275" fmla="*/ 606278 w 3785642"/>
                <a:gd name="connsiteY275" fmla="*/ 1520 h 479077"/>
                <a:gd name="connsiteX276" fmla="*/ 622649 w 3785642"/>
                <a:gd name="connsiteY276" fmla="*/ 1520 h 479077"/>
                <a:gd name="connsiteX277" fmla="*/ 639019 w 3785642"/>
                <a:gd name="connsiteY277" fmla="*/ 2016 h 479077"/>
                <a:gd name="connsiteX278" fmla="*/ 655390 w 3785642"/>
                <a:gd name="connsiteY278" fmla="*/ 527 h 479077"/>
                <a:gd name="connsiteX279" fmla="*/ 671760 w 3785642"/>
                <a:gd name="connsiteY279" fmla="*/ 1520 h 479077"/>
                <a:gd name="connsiteX280" fmla="*/ 688131 w 3785642"/>
                <a:gd name="connsiteY280" fmla="*/ 2512 h 479077"/>
                <a:gd name="connsiteX281" fmla="*/ 704501 w 3785642"/>
                <a:gd name="connsiteY281" fmla="*/ 1024 h 479077"/>
                <a:gd name="connsiteX282" fmla="*/ 720872 w 3785642"/>
                <a:gd name="connsiteY282" fmla="*/ 1520 h 479077"/>
                <a:gd name="connsiteX283" fmla="*/ 737243 w 3785642"/>
                <a:gd name="connsiteY283" fmla="*/ 2016 h 479077"/>
                <a:gd name="connsiteX284" fmla="*/ 753613 w 3785642"/>
                <a:gd name="connsiteY284" fmla="*/ 1024 h 479077"/>
                <a:gd name="connsiteX285" fmla="*/ 769984 w 3785642"/>
                <a:gd name="connsiteY285" fmla="*/ 527 h 479077"/>
                <a:gd name="connsiteX286" fmla="*/ 786354 w 3785642"/>
                <a:gd name="connsiteY286" fmla="*/ 1520 h 479077"/>
                <a:gd name="connsiteX287" fmla="*/ 802725 w 3785642"/>
                <a:gd name="connsiteY287" fmla="*/ 527 h 479077"/>
                <a:gd name="connsiteX288" fmla="*/ 819096 w 3785642"/>
                <a:gd name="connsiteY288" fmla="*/ 2512 h 479077"/>
                <a:gd name="connsiteX289" fmla="*/ 835466 w 3785642"/>
                <a:gd name="connsiteY289" fmla="*/ 527 h 479077"/>
                <a:gd name="connsiteX290" fmla="*/ 851837 w 3785642"/>
                <a:gd name="connsiteY290" fmla="*/ 1520 h 479077"/>
                <a:gd name="connsiteX291" fmla="*/ 868207 w 3785642"/>
                <a:gd name="connsiteY291" fmla="*/ 2016 h 479077"/>
                <a:gd name="connsiteX292" fmla="*/ 884578 w 3785642"/>
                <a:gd name="connsiteY292" fmla="*/ 2512 h 479077"/>
                <a:gd name="connsiteX293" fmla="*/ 900948 w 3785642"/>
                <a:gd name="connsiteY293" fmla="*/ 1520 h 479077"/>
                <a:gd name="connsiteX294" fmla="*/ 917319 w 3785642"/>
                <a:gd name="connsiteY294" fmla="*/ 1024 h 479077"/>
                <a:gd name="connsiteX295" fmla="*/ 933689 w 3785642"/>
                <a:gd name="connsiteY295" fmla="*/ 2512 h 479077"/>
                <a:gd name="connsiteX296" fmla="*/ 950060 w 3785642"/>
                <a:gd name="connsiteY296" fmla="*/ 1520 h 479077"/>
                <a:gd name="connsiteX297" fmla="*/ 966431 w 3785642"/>
                <a:gd name="connsiteY297" fmla="*/ 2016 h 479077"/>
                <a:gd name="connsiteX298" fmla="*/ 982801 w 3785642"/>
                <a:gd name="connsiteY298" fmla="*/ 2512 h 479077"/>
                <a:gd name="connsiteX299" fmla="*/ 999172 w 3785642"/>
                <a:gd name="connsiteY299" fmla="*/ 1520 h 479077"/>
                <a:gd name="connsiteX300" fmla="*/ 1015542 w 3785642"/>
                <a:gd name="connsiteY300" fmla="*/ 2512 h 479077"/>
                <a:gd name="connsiteX301" fmla="*/ 1031913 w 3785642"/>
                <a:gd name="connsiteY301" fmla="*/ 1520 h 479077"/>
                <a:gd name="connsiteX302" fmla="*/ 1048283 w 3785642"/>
                <a:gd name="connsiteY302" fmla="*/ 2016 h 479077"/>
                <a:gd name="connsiteX303" fmla="*/ 1064654 w 3785642"/>
                <a:gd name="connsiteY303" fmla="*/ 3504 h 479077"/>
                <a:gd name="connsiteX304" fmla="*/ 1081025 w 3785642"/>
                <a:gd name="connsiteY304" fmla="*/ 2016 h 479077"/>
                <a:gd name="connsiteX305" fmla="*/ 1097395 w 3785642"/>
                <a:gd name="connsiteY305" fmla="*/ 2512 h 479077"/>
                <a:gd name="connsiteX306" fmla="*/ 1113766 w 3785642"/>
                <a:gd name="connsiteY306" fmla="*/ 2512 h 479077"/>
                <a:gd name="connsiteX307" fmla="*/ 1130136 w 3785642"/>
                <a:gd name="connsiteY307" fmla="*/ 3504 h 479077"/>
                <a:gd name="connsiteX308" fmla="*/ 1146507 w 3785642"/>
                <a:gd name="connsiteY308" fmla="*/ 1520 h 479077"/>
                <a:gd name="connsiteX309" fmla="*/ 1162878 w 3785642"/>
                <a:gd name="connsiteY309" fmla="*/ 3008 h 479077"/>
                <a:gd name="connsiteX310" fmla="*/ 1179248 w 3785642"/>
                <a:gd name="connsiteY310" fmla="*/ 4000 h 479077"/>
                <a:gd name="connsiteX311" fmla="*/ 1195619 w 3785642"/>
                <a:gd name="connsiteY311" fmla="*/ 3504 h 479077"/>
                <a:gd name="connsiteX312" fmla="*/ 1211989 w 3785642"/>
                <a:gd name="connsiteY312" fmla="*/ 1520 h 479077"/>
                <a:gd name="connsiteX313" fmla="*/ 1228360 w 3785642"/>
                <a:gd name="connsiteY313" fmla="*/ 3504 h 479077"/>
                <a:gd name="connsiteX314" fmla="*/ 1244730 w 3785642"/>
                <a:gd name="connsiteY314" fmla="*/ 1520 h 479077"/>
                <a:gd name="connsiteX315" fmla="*/ 1261101 w 3785642"/>
                <a:gd name="connsiteY315" fmla="*/ 2512 h 479077"/>
                <a:gd name="connsiteX316" fmla="*/ 1277471 w 3785642"/>
                <a:gd name="connsiteY316" fmla="*/ 3504 h 479077"/>
                <a:gd name="connsiteX317" fmla="*/ 1293842 w 3785642"/>
                <a:gd name="connsiteY317" fmla="*/ 4000 h 479077"/>
                <a:gd name="connsiteX318" fmla="*/ 1310213 w 3785642"/>
                <a:gd name="connsiteY318" fmla="*/ 1520 h 479077"/>
                <a:gd name="connsiteX319" fmla="*/ 1326583 w 3785642"/>
                <a:gd name="connsiteY319" fmla="*/ 2016 h 479077"/>
                <a:gd name="connsiteX320" fmla="*/ 1342954 w 3785642"/>
                <a:gd name="connsiteY320" fmla="*/ 3008 h 479077"/>
                <a:gd name="connsiteX321" fmla="*/ 1359324 w 3785642"/>
                <a:gd name="connsiteY321" fmla="*/ 3008 h 479077"/>
                <a:gd name="connsiteX322" fmla="*/ 1375695 w 3785642"/>
                <a:gd name="connsiteY322" fmla="*/ 2512 h 479077"/>
                <a:gd name="connsiteX323" fmla="*/ 1392066 w 3785642"/>
                <a:gd name="connsiteY323" fmla="*/ 2512 h 479077"/>
                <a:gd name="connsiteX324" fmla="*/ 1408436 w 3785642"/>
                <a:gd name="connsiteY324" fmla="*/ 3504 h 479077"/>
                <a:gd name="connsiteX325" fmla="*/ 1424807 w 3785642"/>
                <a:gd name="connsiteY325" fmla="*/ 3504 h 479077"/>
                <a:gd name="connsiteX326" fmla="*/ 1441177 w 3785642"/>
                <a:gd name="connsiteY326" fmla="*/ 1520 h 479077"/>
                <a:gd name="connsiteX327" fmla="*/ 1457548 w 3785642"/>
                <a:gd name="connsiteY327" fmla="*/ 2512 h 479077"/>
                <a:gd name="connsiteX328" fmla="*/ 1473919 w 3785642"/>
                <a:gd name="connsiteY328" fmla="*/ 2016 h 479077"/>
                <a:gd name="connsiteX329" fmla="*/ 1490289 w 3785642"/>
                <a:gd name="connsiteY329" fmla="*/ 2016 h 479077"/>
                <a:gd name="connsiteX330" fmla="*/ 1506660 w 3785642"/>
                <a:gd name="connsiteY330" fmla="*/ 1520 h 479077"/>
                <a:gd name="connsiteX331" fmla="*/ 1523030 w 3785642"/>
                <a:gd name="connsiteY331" fmla="*/ 3504 h 479077"/>
                <a:gd name="connsiteX332" fmla="*/ 1539401 w 3785642"/>
                <a:gd name="connsiteY332" fmla="*/ 3008 h 479077"/>
                <a:gd name="connsiteX333" fmla="*/ 1555771 w 3785642"/>
                <a:gd name="connsiteY333" fmla="*/ 3008 h 479077"/>
                <a:gd name="connsiteX334" fmla="*/ 1572142 w 3785642"/>
                <a:gd name="connsiteY334" fmla="*/ 2512 h 479077"/>
                <a:gd name="connsiteX335" fmla="*/ 1588512 w 3785642"/>
                <a:gd name="connsiteY335" fmla="*/ 2016 h 479077"/>
                <a:gd name="connsiteX336" fmla="*/ 1604883 w 3785642"/>
                <a:gd name="connsiteY336" fmla="*/ 3008 h 479077"/>
                <a:gd name="connsiteX337" fmla="*/ 1621253 w 3785642"/>
                <a:gd name="connsiteY337" fmla="*/ 3008 h 479077"/>
                <a:gd name="connsiteX338" fmla="*/ 1637624 w 3785642"/>
                <a:gd name="connsiteY33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313375 w 3785642"/>
                <a:gd name="connsiteY11" fmla="*/ 10945 h 479077"/>
                <a:gd name="connsiteX12" fmla="*/ 3300973 w 3785642"/>
                <a:gd name="connsiteY12" fmla="*/ 21363 h 479077"/>
                <a:gd name="connsiteX13" fmla="*/ 3289068 w 3785642"/>
                <a:gd name="connsiteY13" fmla="*/ 32276 h 479077"/>
                <a:gd name="connsiteX14" fmla="*/ 3277658 w 3785642"/>
                <a:gd name="connsiteY14" fmla="*/ 43686 h 479077"/>
                <a:gd name="connsiteX15" fmla="*/ 3266248 w 3785642"/>
                <a:gd name="connsiteY15" fmla="*/ 55592 h 479077"/>
                <a:gd name="connsiteX16" fmla="*/ 3255830 w 3785642"/>
                <a:gd name="connsiteY16" fmla="*/ 68490 h 479077"/>
                <a:gd name="connsiteX17" fmla="*/ 3243924 w 3785642"/>
                <a:gd name="connsiteY17" fmla="*/ 79900 h 479077"/>
                <a:gd name="connsiteX18" fmla="*/ 3231522 w 3785642"/>
                <a:gd name="connsiteY18" fmla="*/ 90814 h 479077"/>
                <a:gd name="connsiteX19" fmla="*/ 3220609 w 3785642"/>
                <a:gd name="connsiteY19" fmla="*/ 102720 h 479077"/>
                <a:gd name="connsiteX20" fmla="*/ 3208207 w 3785642"/>
                <a:gd name="connsiteY20" fmla="*/ 113137 h 479077"/>
                <a:gd name="connsiteX21" fmla="*/ 3197293 w 3785642"/>
                <a:gd name="connsiteY21" fmla="*/ 125043 h 479077"/>
                <a:gd name="connsiteX22" fmla="*/ 3185387 w 3785642"/>
                <a:gd name="connsiteY22" fmla="*/ 136453 h 479077"/>
                <a:gd name="connsiteX23" fmla="*/ 3174970 w 3785642"/>
                <a:gd name="connsiteY23" fmla="*/ 148855 h 479077"/>
                <a:gd name="connsiteX24" fmla="*/ 3162071 w 3785642"/>
                <a:gd name="connsiteY24" fmla="*/ 159272 h 479077"/>
                <a:gd name="connsiteX25" fmla="*/ 3151158 w 3785642"/>
                <a:gd name="connsiteY25" fmla="*/ 171674 h 479077"/>
                <a:gd name="connsiteX26" fmla="*/ 3139252 w 3785642"/>
                <a:gd name="connsiteY26" fmla="*/ 182588 h 479077"/>
                <a:gd name="connsiteX27" fmla="*/ 3127843 w 3785642"/>
                <a:gd name="connsiteY27" fmla="*/ 194494 h 479077"/>
                <a:gd name="connsiteX28" fmla="*/ 3116432 w 3785642"/>
                <a:gd name="connsiteY28" fmla="*/ 205904 h 479077"/>
                <a:gd name="connsiteX29" fmla="*/ 3105022 w 3785642"/>
                <a:gd name="connsiteY29" fmla="*/ 217810 h 479077"/>
                <a:gd name="connsiteX30" fmla="*/ 3093117 w 3785642"/>
                <a:gd name="connsiteY30" fmla="*/ 229219 h 479077"/>
                <a:gd name="connsiteX31" fmla="*/ 3081707 w 3785642"/>
                <a:gd name="connsiteY31" fmla="*/ 240629 h 479077"/>
                <a:gd name="connsiteX32" fmla="*/ 3069305 w 3785642"/>
                <a:gd name="connsiteY32" fmla="*/ 251543 h 479077"/>
                <a:gd name="connsiteX33" fmla="*/ 3057895 w 3785642"/>
                <a:gd name="connsiteY33" fmla="*/ 263449 h 479077"/>
                <a:gd name="connsiteX34" fmla="*/ 3046486 w 3785642"/>
                <a:gd name="connsiteY34" fmla="*/ 275355 h 479077"/>
                <a:gd name="connsiteX35" fmla="*/ 3035572 w 3785642"/>
                <a:gd name="connsiteY35" fmla="*/ 287260 h 479077"/>
                <a:gd name="connsiteX36" fmla="*/ 3024658 w 3785642"/>
                <a:gd name="connsiteY36" fmla="*/ 299166 h 479077"/>
                <a:gd name="connsiteX37" fmla="*/ 3013248 w 3785642"/>
                <a:gd name="connsiteY37" fmla="*/ 311072 h 479077"/>
                <a:gd name="connsiteX38" fmla="*/ 3000350 w 3785642"/>
                <a:gd name="connsiteY38" fmla="*/ 321490 h 479077"/>
                <a:gd name="connsiteX39" fmla="*/ 2988941 w 3785642"/>
                <a:gd name="connsiteY39" fmla="*/ 333396 h 479077"/>
                <a:gd name="connsiteX40" fmla="*/ 2976539 w 3785642"/>
                <a:gd name="connsiteY40" fmla="*/ 344309 h 479077"/>
                <a:gd name="connsiteX41" fmla="*/ 2965129 w 3785642"/>
                <a:gd name="connsiteY41" fmla="*/ 356215 h 479077"/>
                <a:gd name="connsiteX42" fmla="*/ 2953223 w 3785642"/>
                <a:gd name="connsiteY42" fmla="*/ 367625 h 479077"/>
                <a:gd name="connsiteX43" fmla="*/ 2941813 w 3785642"/>
                <a:gd name="connsiteY43" fmla="*/ 379531 h 479077"/>
                <a:gd name="connsiteX44" fmla="*/ 2931395 w 3785642"/>
                <a:gd name="connsiteY44" fmla="*/ 392429 h 479077"/>
                <a:gd name="connsiteX45" fmla="*/ 2918497 w 3785642"/>
                <a:gd name="connsiteY45" fmla="*/ 402847 h 479077"/>
                <a:gd name="connsiteX46" fmla="*/ 2907584 w 3785642"/>
                <a:gd name="connsiteY46" fmla="*/ 415249 h 479077"/>
                <a:gd name="connsiteX47" fmla="*/ 2896174 w 3785642"/>
                <a:gd name="connsiteY47" fmla="*/ 426658 h 479077"/>
                <a:gd name="connsiteX48" fmla="*/ 2884268 w 3785642"/>
                <a:gd name="connsiteY48" fmla="*/ 438068 h 479077"/>
                <a:gd name="connsiteX49" fmla="*/ 2873354 w 3785642"/>
                <a:gd name="connsiteY49" fmla="*/ 450470 h 479077"/>
                <a:gd name="connsiteX50" fmla="*/ 2860952 w 3785642"/>
                <a:gd name="connsiteY50" fmla="*/ 461384 h 479077"/>
                <a:gd name="connsiteX51" fmla="*/ 2850039 w 3785642"/>
                <a:gd name="connsiteY51" fmla="*/ 473786 h 479077"/>
                <a:gd name="connsiteX52" fmla="*/ 2833668 w 3785642"/>
                <a:gd name="connsiteY52" fmla="*/ 473786 h 479077"/>
                <a:gd name="connsiteX53" fmla="*/ 2817297 w 3785642"/>
                <a:gd name="connsiteY53" fmla="*/ 473290 h 479077"/>
                <a:gd name="connsiteX54" fmla="*/ 2800927 w 3785642"/>
                <a:gd name="connsiteY54" fmla="*/ 473290 h 479077"/>
                <a:gd name="connsiteX55" fmla="*/ 2784556 w 3785642"/>
                <a:gd name="connsiteY55" fmla="*/ 473786 h 479077"/>
                <a:gd name="connsiteX56" fmla="*/ 2768186 w 3785642"/>
                <a:gd name="connsiteY56" fmla="*/ 474282 h 479077"/>
                <a:gd name="connsiteX57" fmla="*/ 2751815 w 3785642"/>
                <a:gd name="connsiteY57" fmla="*/ 474282 h 479077"/>
                <a:gd name="connsiteX58" fmla="*/ 2735444 w 3785642"/>
                <a:gd name="connsiteY58" fmla="*/ 473290 h 479077"/>
                <a:gd name="connsiteX59" fmla="*/ 2719074 w 3785642"/>
                <a:gd name="connsiteY59" fmla="*/ 474282 h 479077"/>
                <a:gd name="connsiteX60" fmla="*/ 2702703 w 3785642"/>
                <a:gd name="connsiteY60" fmla="*/ 472298 h 479077"/>
                <a:gd name="connsiteX61" fmla="*/ 2686333 w 3785642"/>
                <a:gd name="connsiteY61" fmla="*/ 472794 h 479077"/>
                <a:gd name="connsiteX62" fmla="*/ 2669962 w 3785642"/>
                <a:gd name="connsiteY62" fmla="*/ 474282 h 479077"/>
                <a:gd name="connsiteX63" fmla="*/ 2653592 w 3785642"/>
                <a:gd name="connsiteY63" fmla="*/ 472298 h 479077"/>
                <a:gd name="connsiteX64" fmla="*/ 2637221 w 3785642"/>
                <a:gd name="connsiteY64" fmla="*/ 474282 h 479077"/>
                <a:gd name="connsiteX65" fmla="*/ 2620851 w 3785642"/>
                <a:gd name="connsiteY65" fmla="*/ 474282 h 479077"/>
                <a:gd name="connsiteX66" fmla="*/ 2604480 w 3785642"/>
                <a:gd name="connsiteY66" fmla="*/ 472298 h 479077"/>
                <a:gd name="connsiteX67" fmla="*/ 2588109 w 3785642"/>
                <a:gd name="connsiteY67" fmla="*/ 473786 h 479077"/>
                <a:gd name="connsiteX68" fmla="*/ 2571739 w 3785642"/>
                <a:gd name="connsiteY68" fmla="*/ 472298 h 479077"/>
                <a:gd name="connsiteX69" fmla="*/ 2555368 w 3785642"/>
                <a:gd name="connsiteY69" fmla="*/ 473290 h 479077"/>
                <a:gd name="connsiteX70" fmla="*/ 2538998 w 3785642"/>
                <a:gd name="connsiteY70" fmla="*/ 474282 h 479077"/>
                <a:gd name="connsiteX71" fmla="*/ 2522627 w 3785642"/>
                <a:gd name="connsiteY71" fmla="*/ 473290 h 479077"/>
                <a:gd name="connsiteX72" fmla="*/ 2506257 w 3785642"/>
                <a:gd name="connsiteY72" fmla="*/ 474282 h 479077"/>
                <a:gd name="connsiteX73" fmla="*/ 2489886 w 3785642"/>
                <a:gd name="connsiteY73" fmla="*/ 473786 h 479077"/>
                <a:gd name="connsiteX74" fmla="*/ 2473516 w 3785642"/>
                <a:gd name="connsiteY74" fmla="*/ 474282 h 479077"/>
                <a:gd name="connsiteX75" fmla="*/ 2457145 w 3785642"/>
                <a:gd name="connsiteY75" fmla="*/ 472794 h 479077"/>
                <a:gd name="connsiteX76" fmla="*/ 2440775 w 3785642"/>
                <a:gd name="connsiteY76" fmla="*/ 472298 h 479077"/>
                <a:gd name="connsiteX77" fmla="*/ 2424404 w 3785642"/>
                <a:gd name="connsiteY77" fmla="*/ 473786 h 479077"/>
                <a:gd name="connsiteX78" fmla="*/ 2408033 w 3785642"/>
                <a:gd name="connsiteY78" fmla="*/ 472794 h 479077"/>
                <a:gd name="connsiteX79" fmla="*/ 2391663 w 3785642"/>
                <a:gd name="connsiteY79" fmla="*/ 473290 h 479077"/>
                <a:gd name="connsiteX80" fmla="*/ 2375292 w 3785642"/>
                <a:gd name="connsiteY80" fmla="*/ 473290 h 479077"/>
                <a:gd name="connsiteX81" fmla="*/ 2358922 w 3785642"/>
                <a:gd name="connsiteY81" fmla="*/ 472794 h 479077"/>
                <a:gd name="connsiteX82" fmla="*/ 2342551 w 3785642"/>
                <a:gd name="connsiteY82" fmla="*/ 472298 h 479077"/>
                <a:gd name="connsiteX83" fmla="*/ 2326180 w 3785642"/>
                <a:gd name="connsiteY83" fmla="*/ 473786 h 479077"/>
                <a:gd name="connsiteX84" fmla="*/ 2309810 w 3785642"/>
                <a:gd name="connsiteY84" fmla="*/ 473786 h 479077"/>
                <a:gd name="connsiteX85" fmla="*/ 2293439 w 3785642"/>
                <a:gd name="connsiteY85" fmla="*/ 473786 h 479077"/>
                <a:gd name="connsiteX86" fmla="*/ 2277069 w 3785642"/>
                <a:gd name="connsiteY86" fmla="*/ 472794 h 479077"/>
                <a:gd name="connsiteX87" fmla="*/ 2260698 w 3785642"/>
                <a:gd name="connsiteY87" fmla="*/ 474282 h 479077"/>
                <a:gd name="connsiteX88" fmla="*/ 2244327 w 3785642"/>
                <a:gd name="connsiteY88" fmla="*/ 472298 h 479077"/>
                <a:gd name="connsiteX89" fmla="*/ 2227957 w 3785642"/>
                <a:gd name="connsiteY89" fmla="*/ 474282 h 479077"/>
                <a:gd name="connsiteX90" fmla="*/ 2211586 w 3785642"/>
                <a:gd name="connsiteY90" fmla="*/ 473290 h 479077"/>
                <a:gd name="connsiteX91" fmla="*/ 2195216 w 3785642"/>
                <a:gd name="connsiteY91" fmla="*/ 474282 h 479077"/>
                <a:gd name="connsiteX92" fmla="*/ 2178845 w 3785642"/>
                <a:gd name="connsiteY92" fmla="*/ 472794 h 479077"/>
                <a:gd name="connsiteX93" fmla="*/ 2162474 w 3785642"/>
                <a:gd name="connsiteY93" fmla="*/ 474778 h 479077"/>
                <a:gd name="connsiteX94" fmla="*/ 2146104 w 3785642"/>
                <a:gd name="connsiteY94" fmla="*/ 473290 h 479077"/>
                <a:gd name="connsiteX95" fmla="*/ 2129733 w 3785642"/>
                <a:gd name="connsiteY95" fmla="*/ 474778 h 479077"/>
                <a:gd name="connsiteX96" fmla="*/ 2113363 w 3785642"/>
                <a:gd name="connsiteY96" fmla="*/ 474778 h 479077"/>
                <a:gd name="connsiteX97" fmla="*/ 2096992 w 3785642"/>
                <a:gd name="connsiteY97" fmla="*/ 474778 h 479077"/>
                <a:gd name="connsiteX98" fmla="*/ 2080621 w 3785642"/>
                <a:gd name="connsiteY98" fmla="*/ 474282 h 479077"/>
                <a:gd name="connsiteX99" fmla="*/ 2064251 w 3785642"/>
                <a:gd name="connsiteY99" fmla="*/ 472794 h 479077"/>
                <a:gd name="connsiteX100" fmla="*/ 2047880 w 3785642"/>
                <a:gd name="connsiteY100" fmla="*/ 474778 h 479077"/>
                <a:gd name="connsiteX101" fmla="*/ 2031510 w 3785642"/>
                <a:gd name="connsiteY101" fmla="*/ 474778 h 479077"/>
                <a:gd name="connsiteX102" fmla="*/ 2015139 w 3785642"/>
                <a:gd name="connsiteY102" fmla="*/ 474778 h 479077"/>
                <a:gd name="connsiteX103" fmla="*/ 1998769 w 3785642"/>
                <a:gd name="connsiteY103" fmla="*/ 474282 h 479077"/>
                <a:gd name="connsiteX104" fmla="*/ 1982398 w 3785642"/>
                <a:gd name="connsiteY104" fmla="*/ 473786 h 479077"/>
                <a:gd name="connsiteX105" fmla="*/ 1966028 w 3785642"/>
                <a:gd name="connsiteY105" fmla="*/ 473786 h 479077"/>
                <a:gd name="connsiteX106" fmla="*/ 1949657 w 3785642"/>
                <a:gd name="connsiteY106" fmla="*/ 472794 h 479077"/>
                <a:gd name="connsiteX107" fmla="*/ 1933287 w 3785642"/>
                <a:gd name="connsiteY107" fmla="*/ 473290 h 479077"/>
                <a:gd name="connsiteX108" fmla="*/ 1916916 w 3785642"/>
                <a:gd name="connsiteY108" fmla="*/ 474778 h 479077"/>
                <a:gd name="connsiteX109" fmla="*/ 1900546 w 3785642"/>
                <a:gd name="connsiteY109" fmla="*/ 472794 h 479077"/>
                <a:gd name="connsiteX110" fmla="*/ 1884175 w 3785642"/>
                <a:gd name="connsiteY110" fmla="*/ 473786 h 479077"/>
                <a:gd name="connsiteX111" fmla="*/ 1867804 w 3785642"/>
                <a:gd name="connsiteY111" fmla="*/ 474778 h 479077"/>
                <a:gd name="connsiteX112" fmla="*/ 1851434 w 3785642"/>
                <a:gd name="connsiteY112" fmla="*/ 474778 h 479077"/>
                <a:gd name="connsiteX113" fmla="*/ 1835063 w 3785642"/>
                <a:gd name="connsiteY113" fmla="*/ 474778 h 479077"/>
                <a:gd name="connsiteX114" fmla="*/ 1818693 w 3785642"/>
                <a:gd name="connsiteY114" fmla="*/ 474282 h 479077"/>
                <a:gd name="connsiteX115" fmla="*/ 1802322 w 3785642"/>
                <a:gd name="connsiteY115" fmla="*/ 472794 h 479077"/>
                <a:gd name="connsiteX116" fmla="*/ 1785951 w 3785642"/>
                <a:gd name="connsiteY116" fmla="*/ 473786 h 479077"/>
                <a:gd name="connsiteX117" fmla="*/ 1769581 w 3785642"/>
                <a:gd name="connsiteY117" fmla="*/ 473290 h 479077"/>
                <a:gd name="connsiteX118" fmla="*/ 1753210 w 3785642"/>
                <a:gd name="connsiteY118" fmla="*/ 472298 h 479077"/>
                <a:gd name="connsiteX119" fmla="*/ 1736840 w 3785642"/>
                <a:gd name="connsiteY119" fmla="*/ 473290 h 479077"/>
                <a:gd name="connsiteX120" fmla="*/ 1720469 w 3785642"/>
                <a:gd name="connsiteY120" fmla="*/ 474778 h 479077"/>
                <a:gd name="connsiteX121" fmla="*/ 1704098 w 3785642"/>
                <a:gd name="connsiteY121" fmla="*/ 472794 h 479077"/>
                <a:gd name="connsiteX122" fmla="*/ 1687728 w 3785642"/>
                <a:gd name="connsiteY122" fmla="*/ 474778 h 479077"/>
                <a:gd name="connsiteX123" fmla="*/ 1671357 w 3785642"/>
                <a:gd name="connsiteY123" fmla="*/ 474778 h 479077"/>
                <a:gd name="connsiteX124" fmla="*/ 1654987 w 3785642"/>
                <a:gd name="connsiteY124" fmla="*/ 472298 h 479077"/>
                <a:gd name="connsiteX125" fmla="*/ 1638616 w 3785642"/>
                <a:gd name="connsiteY125" fmla="*/ 472794 h 479077"/>
                <a:gd name="connsiteX126" fmla="*/ 1622246 w 3785642"/>
                <a:gd name="connsiteY126" fmla="*/ 473786 h 479077"/>
                <a:gd name="connsiteX127" fmla="*/ 1605875 w 3785642"/>
                <a:gd name="connsiteY127" fmla="*/ 474778 h 479077"/>
                <a:gd name="connsiteX128" fmla="*/ 1589505 w 3785642"/>
                <a:gd name="connsiteY128" fmla="*/ 473290 h 479077"/>
                <a:gd name="connsiteX129" fmla="*/ 1573134 w 3785642"/>
                <a:gd name="connsiteY129" fmla="*/ 474778 h 479077"/>
                <a:gd name="connsiteX130" fmla="*/ 1556763 w 3785642"/>
                <a:gd name="connsiteY130" fmla="*/ 472794 h 479077"/>
                <a:gd name="connsiteX131" fmla="*/ 1540393 w 3785642"/>
                <a:gd name="connsiteY131" fmla="*/ 472794 h 479077"/>
                <a:gd name="connsiteX132" fmla="*/ 1524022 w 3785642"/>
                <a:gd name="connsiteY132" fmla="*/ 474282 h 479077"/>
                <a:gd name="connsiteX133" fmla="*/ 1507652 w 3785642"/>
                <a:gd name="connsiteY133" fmla="*/ 472794 h 479077"/>
                <a:gd name="connsiteX134" fmla="*/ 1491281 w 3785642"/>
                <a:gd name="connsiteY134" fmla="*/ 474282 h 479077"/>
                <a:gd name="connsiteX135" fmla="*/ 1474910 w 3785642"/>
                <a:gd name="connsiteY135" fmla="*/ 474282 h 479077"/>
                <a:gd name="connsiteX136" fmla="*/ 1458540 w 3785642"/>
                <a:gd name="connsiteY136" fmla="*/ 472794 h 479077"/>
                <a:gd name="connsiteX137" fmla="*/ 1442169 w 3785642"/>
                <a:gd name="connsiteY137" fmla="*/ 471802 h 479077"/>
                <a:gd name="connsiteX138" fmla="*/ 1425799 w 3785642"/>
                <a:gd name="connsiteY138" fmla="*/ 472298 h 479077"/>
                <a:gd name="connsiteX139" fmla="*/ 1409428 w 3785642"/>
                <a:gd name="connsiteY139" fmla="*/ 472794 h 479077"/>
                <a:gd name="connsiteX140" fmla="*/ 1393058 w 3785642"/>
                <a:gd name="connsiteY140" fmla="*/ 473786 h 479077"/>
                <a:gd name="connsiteX141" fmla="*/ 1376687 w 3785642"/>
                <a:gd name="connsiteY141" fmla="*/ 471802 h 479077"/>
                <a:gd name="connsiteX142" fmla="*/ 1360317 w 3785642"/>
                <a:gd name="connsiteY142" fmla="*/ 473786 h 479077"/>
                <a:gd name="connsiteX143" fmla="*/ 1343946 w 3785642"/>
                <a:gd name="connsiteY143" fmla="*/ 473786 h 479077"/>
                <a:gd name="connsiteX144" fmla="*/ 1327576 w 3785642"/>
                <a:gd name="connsiteY144" fmla="*/ 472794 h 479077"/>
                <a:gd name="connsiteX145" fmla="*/ 1311205 w 3785642"/>
                <a:gd name="connsiteY145" fmla="*/ 473786 h 479077"/>
                <a:gd name="connsiteX146" fmla="*/ 1294834 w 3785642"/>
                <a:gd name="connsiteY146" fmla="*/ 473786 h 479077"/>
                <a:gd name="connsiteX147" fmla="*/ 1278464 w 3785642"/>
                <a:gd name="connsiteY147" fmla="*/ 473786 h 479077"/>
                <a:gd name="connsiteX148" fmla="*/ 1262093 w 3785642"/>
                <a:gd name="connsiteY148" fmla="*/ 473786 h 479077"/>
                <a:gd name="connsiteX149" fmla="*/ 1245723 w 3785642"/>
                <a:gd name="connsiteY149" fmla="*/ 473290 h 479077"/>
                <a:gd name="connsiteX150" fmla="*/ 1229352 w 3785642"/>
                <a:gd name="connsiteY150" fmla="*/ 472794 h 479077"/>
                <a:gd name="connsiteX151" fmla="*/ 1212981 w 3785642"/>
                <a:gd name="connsiteY151" fmla="*/ 473786 h 479077"/>
                <a:gd name="connsiteX152" fmla="*/ 1196611 w 3785642"/>
                <a:gd name="connsiteY152" fmla="*/ 472298 h 479077"/>
                <a:gd name="connsiteX153" fmla="*/ 1180240 w 3785642"/>
                <a:gd name="connsiteY153" fmla="*/ 472794 h 479077"/>
                <a:gd name="connsiteX154" fmla="*/ 1163870 w 3785642"/>
                <a:gd name="connsiteY154" fmla="*/ 472794 h 479077"/>
                <a:gd name="connsiteX155" fmla="*/ 1147499 w 3785642"/>
                <a:gd name="connsiteY155" fmla="*/ 473786 h 479077"/>
                <a:gd name="connsiteX156" fmla="*/ 1131128 w 3785642"/>
                <a:gd name="connsiteY156" fmla="*/ 473786 h 479077"/>
                <a:gd name="connsiteX157" fmla="*/ 1114758 w 3785642"/>
                <a:gd name="connsiteY157" fmla="*/ 472794 h 479077"/>
                <a:gd name="connsiteX158" fmla="*/ 1098387 w 3785642"/>
                <a:gd name="connsiteY158" fmla="*/ 473786 h 479077"/>
                <a:gd name="connsiteX159" fmla="*/ 1082017 w 3785642"/>
                <a:gd name="connsiteY159" fmla="*/ 474778 h 479077"/>
                <a:gd name="connsiteX160" fmla="*/ 1065646 w 3785642"/>
                <a:gd name="connsiteY160" fmla="*/ 474778 h 479077"/>
                <a:gd name="connsiteX161" fmla="*/ 1049276 w 3785642"/>
                <a:gd name="connsiteY161" fmla="*/ 474282 h 479077"/>
                <a:gd name="connsiteX162" fmla="*/ 1032905 w 3785642"/>
                <a:gd name="connsiteY162" fmla="*/ 473290 h 479077"/>
                <a:gd name="connsiteX163" fmla="*/ 1016535 w 3785642"/>
                <a:gd name="connsiteY163" fmla="*/ 474282 h 479077"/>
                <a:gd name="connsiteX164" fmla="*/ 1000164 w 3785642"/>
                <a:gd name="connsiteY164" fmla="*/ 474282 h 479077"/>
                <a:gd name="connsiteX165" fmla="*/ 983793 w 3785642"/>
                <a:gd name="connsiteY165" fmla="*/ 472794 h 479077"/>
                <a:gd name="connsiteX166" fmla="*/ 967423 w 3785642"/>
                <a:gd name="connsiteY166" fmla="*/ 472794 h 479077"/>
                <a:gd name="connsiteX167" fmla="*/ 951052 w 3785642"/>
                <a:gd name="connsiteY167" fmla="*/ 473786 h 479077"/>
                <a:gd name="connsiteX168" fmla="*/ 934682 w 3785642"/>
                <a:gd name="connsiteY168" fmla="*/ 474282 h 479077"/>
                <a:gd name="connsiteX169" fmla="*/ 918311 w 3785642"/>
                <a:gd name="connsiteY169" fmla="*/ 474778 h 479077"/>
                <a:gd name="connsiteX170" fmla="*/ 901940 w 3785642"/>
                <a:gd name="connsiteY170" fmla="*/ 473290 h 479077"/>
                <a:gd name="connsiteX171" fmla="*/ 885570 w 3785642"/>
                <a:gd name="connsiteY171" fmla="*/ 474778 h 479077"/>
                <a:gd name="connsiteX172" fmla="*/ 869199 w 3785642"/>
                <a:gd name="connsiteY172" fmla="*/ 474282 h 479077"/>
                <a:gd name="connsiteX173" fmla="*/ 852829 w 3785642"/>
                <a:gd name="connsiteY173" fmla="*/ 473786 h 479077"/>
                <a:gd name="connsiteX174" fmla="*/ 836458 w 3785642"/>
                <a:gd name="connsiteY174" fmla="*/ 474778 h 479077"/>
                <a:gd name="connsiteX175" fmla="*/ 820088 w 3785642"/>
                <a:gd name="connsiteY175" fmla="*/ 475274 h 479077"/>
                <a:gd name="connsiteX176" fmla="*/ 803717 w 3785642"/>
                <a:gd name="connsiteY176" fmla="*/ 473786 h 479077"/>
                <a:gd name="connsiteX177" fmla="*/ 787347 w 3785642"/>
                <a:gd name="connsiteY177" fmla="*/ 475770 h 479077"/>
                <a:gd name="connsiteX178" fmla="*/ 770976 w 3785642"/>
                <a:gd name="connsiteY178" fmla="*/ 474778 h 479077"/>
                <a:gd name="connsiteX179" fmla="*/ 754605 w 3785642"/>
                <a:gd name="connsiteY179" fmla="*/ 475274 h 479077"/>
                <a:gd name="connsiteX180" fmla="*/ 738235 w 3785642"/>
                <a:gd name="connsiteY180" fmla="*/ 473786 h 479077"/>
                <a:gd name="connsiteX181" fmla="*/ 721864 w 3785642"/>
                <a:gd name="connsiteY181" fmla="*/ 475274 h 479077"/>
                <a:gd name="connsiteX182" fmla="*/ 705494 w 3785642"/>
                <a:gd name="connsiteY182" fmla="*/ 475770 h 479077"/>
                <a:gd name="connsiteX183" fmla="*/ 689123 w 3785642"/>
                <a:gd name="connsiteY183" fmla="*/ 474282 h 479077"/>
                <a:gd name="connsiteX184" fmla="*/ 672753 w 3785642"/>
                <a:gd name="connsiteY184" fmla="*/ 475274 h 479077"/>
                <a:gd name="connsiteX185" fmla="*/ 656382 w 3785642"/>
                <a:gd name="connsiteY185" fmla="*/ 474778 h 479077"/>
                <a:gd name="connsiteX186" fmla="*/ 640011 w 3785642"/>
                <a:gd name="connsiteY186" fmla="*/ 475770 h 479077"/>
                <a:gd name="connsiteX187" fmla="*/ 623641 w 3785642"/>
                <a:gd name="connsiteY187" fmla="*/ 473786 h 479077"/>
                <a:gd name="connsiteX188" fmla="*/ 607270 w 3785642"/>
                <a:gd name="connsiteY188" fmla="*/ 474778 h 479077"/>
                <a:gd name="connsiteX189" fmla="*/ 590900 w 3785642"/>
                <a:gd name="connsiteY189" fmla="*/ 475274 h 479077"/>
                <a:gd name="connsiteX190" fmla="*/ 574529 w 3785642"/>
                <a:gd name="connsiteY190" fmla="*/ 474282 h 479077"/>
                <a:gd name="connsiteX191" fmla="*/ 558158 w 3785642"/>
                <a:gd name="connsiteY191" fmla="*/ 475274 h 479077"/>
                <a:gd name="connsiteX192" fmla="*/ 541788 w 3785642"/>
                <a:gd name="connsiteY192" fmla="*/ 475770 h 479077"/>
                <a:gd name="connsiteX193" fmla="*/ 525417 w 3785642"/>
                <a:gd name="connsiteY193" fmla="*/ 474282 h 479077"/>
                <a:gd name="connsiteX194" fmla="*/ 509047 w 3785642"/>
                <a:gd name="connsiteY194" fmla="*/ 473786 h 479077"/>
                <a:gd name="connsiteX195" fmla="*/ 492676 w 3785642"/>
                <a:gd name="connsiteY195" fmla="*/ 473786 h 479077"/>
                <a:gd name="connsiteX196" fmla="*/ 476306 w 3785642"/>
                <a:gd name="connsiteY196" fmla="*/ 474778 h 479077"/>
                <a:gd name="connsiteX197" fmla="*/ 459935 w 3785642"/>
                <a:gd name="connsiteY197" fmla="*/ 473786 h 479077"/>
                <a:gd name="connsiteX198" fmla="*/ 443565 w 3785642"/>
                <a:gd name="connsiteY198" fmla="*/ 474778 h 479077"/>
                <a:gd name="connsiteX199" fmla="*/ 427194 w 3785642"/>
                <a:gd name="connsiteY199" fmla="*/ 474282 h 479077"/>
                <a:gd name="connsiteX200" fmla="*/ 410823 w 3785642"/>
                <a:gd name="connsiteY200" fmla="*/ 473290 h 479077"/>
                <a:gd name="connsiteX201" fmla="*/ 394453 w 3785642"/>
                <a:gd name="connsiteY201" fmla="*/ 475770 h 479077"/>
                <a:gd name="connsiteX202" fmla="*/ 378082 w 3785642"/>
                <a:gd name="connsiteY202" fmla="*/ 475274 h 479077"/>
                <a:gd name="connsiteX203" fmla="*/ 361712 w 3785642"/>
                <a:gd name="connsiteY203" fmla="*/ 474778 h 479077"/>
                <a:gd name="connsiteX204" fmla="*/ 345341 w 3785642"/>
                <a:gd name="connsiteY204" fmla="*/ 476266 h 479077"/>
                <a:gd name="connsiteX205" fmla="*/ 328970 w 3785642"/>
                <a:gd name="connsiteY205" fmla="*/ 474282 h 479077"/>
                <a:gd name="connsiteX206" fmla="*/ 312600 w 3785642"/>
                <a:gd name="connsiteY206" fmla="*/ 475274 h 479077"/>
                <a:gd name="connsiteX207" fmla="*/ 296229 w 3785642"/>
                <a:gd name="connsiteY207" fmla="*/ 474282 h 479077"/>
                <a:gd name="connsiteX208" fmla="*/ 279859 w 3785642"/>
                <a:gd name="connsiteY208" fmla="*/ 475770 h 479077"/>
                <a:gd name="connsiteX209" fmla="*/ 263488 w 3785642"/>
                <a:gd name="connsiteY209" fmla="*/ 476266 h 479077"/>
                <a:gd name="connsiteX210" fmla="*/ 247118 w 3785642"/>
                <a:gd name="connsiteY210" fmla="*/ 476266 h 479077"/>
                <a:gd name="connsiteX211" fmla="*/ 230747 w 3785642"/>
                <a:gd name="connsiteY211" fmla="*/ 474778 h 479077"/>
                <a:gd name="connsiteX212" fmla="*/ 214376 w 3785642"/>
                <a:gd name="connsiteY212" fmla="*/ 474778 h 479077"/>
                <a:gd name="connsiteX213" fmla="*/ 198006 w 3785642"/>
                <a:gd name="connsiteY213" fmla="*/ 476762 h 479077"/>
                <a:gd name="connsiteX214" fmla="*/ 181635 w 3785642"/>
                <a:gd name="connsiteY214" fmla="*/ 476266 h 479077"/>
                <a:gd name="connsiteX215" fmla="*/ 165265 w 3785642"/>
                <a:gd name="connsiteY215" fmla="*/ 474778 h 479077"/>
                <a:gd name="connsiteX216" fmla="*/ 148894 w 3785642"/>
                <a:gd name="connsiteY216" fmla="*/ 476762 h 479077"/>
                <a:gd name="connsiteX217" fmla="*/ 132524 w 3785642"/>
                <a:gd name="connsiteY217" fmla="*/ 476266 h 479077"/>
                <a:gd name="connsiteX218" fmla="*/ 116153 w 3785642"/>
                <a:gd name="connsiteY218" fmla="*/ 475274 h 479077"/>
                <a:gd name="connsiteX219" fmla="*/ 99783 w 3785642"/>
                <a:gd name="connsiteY219" fmla="*/ 475274 h 479077"/>
                <a:gd name="connsiteX220" fmla="*/ 83412 w 3785642"/>
                <a:gd name="connsiteY220" fmla="*/ 475274 h 479077"/>
                <a:gd name="connsiteX221" fmla="*/ 67041 w 3785642"/>
                <a:gd name="connsiteY221" fmla="*/ 474778 h 479077"/>
                <a:gd name="connsiteX222" fmla="*/ 50671 w 3785642"/>
                <a:gd name="connsiteY222" fmla="*/ 475274 h 479077"/>
                <a:gd name="connsiteX223" fmla="*/ 34300 w 3785642"/>
                <a:gd name="connsiteY223" fmla="*/ 475274 h 479077"/>
                <a:gd name="connsiteX224" fmla="*/ 17930 w 3785642"/>
                <a:gd name="connsiteY224" fmla="*/ 475770 h 479077"/>
                <a:gd name="connsiteX225" fmla="*/ 567 w 3785642"/>
                <a:gd name="connsiteY225" fmla="*/ 475770 h 479077"/>
                <a:gd name="connsiteX226" fmla="*/ 12969 w 3785642"/>
                <a:gd name="connsiteY226" fmla="*/ 463368 h 479077"/>
                <a:gd name="connsiteX227" fmla="*/ 24379 w 3785642"/>
                <a:gd name="connsiteY227" fmla="*/ 451958 h 479077"/>
                <a:gd name="connsiteX228" fmla="*/ 35788 w 3785642"/>
                <a:gd name="connsiteY228" fmla="*/ 440053 h 479077"/>
                <a:gd name="connsiteX229" fmla="*/ 48686 w 3785642"/>
                <a:gd name="connsiteY229" fmla="*/ 430131 h 479077"/>
                <a:gd name="connsiteX230" fmla="*/ 59600 w 3785642"/>
                <a:gd name="connsiteY230" fmla="*/ 418225 h 479077"/>
                <a:gd name="connsiteX231" fmla="*/ 70514 w 3785642"/>
                <a:gd name="connsiteY231" fmla="*/ 405823 h 479077"/>
                <a:gd name="connsiteX232" fmla="*/ 83412 w 3785642"/>
                <a:gd name="connsiteY232" fmla="*/ 395406 h 479077"/>
                <a:gd name="connsiteX233" fmla="*/ 94822 w 3785642"/>
                <a:gd name="connsiteY233" fmla="*/ 383500 h 479077"/>
                <a:gd name="connsiteX234" fmla="*/ 106728 w 3785642"/>
                <a:gd name="connsiteY234" fmla="*/ 372090 h 479077"/>
                <a:gd name="connsiteX235" fmla="*/ 117145 w 3785642"/>
                <a:gd name="connsiteY235" fmla="*/ 359688 h 479077"/>
                <a:gd name="connsiteX236" fmla="*/ 128555 w 3785642"/>
                <a:gd name="connsiteY236" fmla="*/ 348278 h 479077"/>
                <a:gd name="connsiteX237" fmla="*/ 140461 w 3785642"/>
                <a:gd name="connsiteY237" fmla="*/ 336868 h 479077"/>
                <a:gd name="connsiteX238" fmla="*/ 152863 w 3785642"/>
                <a:gd name="connsiteY238" fmla="*/ 326451 h 479077"/>
                <a:gd name="connsiteX239" fmla="*/ 164769 w 3785642"/>
                <a:gd name="connsiteY239" fmla="*/ 315041 h 479077"/>
                <a:gd name="connsiteX240" fmla="*/ 176178 w 3785642"/>
                <a:gd name="connsiteY240" fmla="*/ 303135 h 479077"/>
                <a:gd name="connsiteX241" fmla="*/ 188084 w 3785642"/>
                <a:gd name="connsiteY241" fmla="*/ 291725 h 479077"/>
                <a:gd name="connsiteX242" fmla="*/ 199494 w 3785642"/>
                <a:gd name="connsiteY242" fmla="*/ 280315 h 479077"/>
                <a:gd name="connsiteX243" fmla="*/ 210904 w 3785642"/>
                <a:gd name="connsiteY243" fmla="*/ 268906 h 479077"/>
                <a:gd name="connsiteX244" fmla="*/ 221818 w 3785642"/>
                <a:gd name="connsiteY244" fmla="*/ 256504 h 479077"/>
                <a:gd name="connsiteX245" fmla="*/ 233724 w 3785642"/>
                <a:gd name="connsiteY245" fmla="*/ 245094 h 479077"/>
                <a:gd name="connsiteX246" fmla="*/ 244141 w 3785642"/>
                <a:gd name="connsiteY246" fmla="*/ 232692 h 479077"/>
                <a:gd name="connsiteX247" fmla="*/ 257039 w 3785642"/>
                <a:gd name="connsiteY247" fmla="*/ 222770 h 479077"/>
                <a:gd name="connsiteX248" fmla="*/ 266961 w 3785642"/>
                <a:gd name="connsiteY248" fmla="*/ 209376 h 479077"/>
                <a:gd name="connsiteX249" fmla="*/ 278371 w 3785642"/>
                <a:gd name="connsiteY249" fmla="*/ 197966 h 479077"/>
                <a:gd name="connsiteX250" fmla="*/ 291269 w 3785642"/>
                <a:gd name="connsiteY250" fmla="*/ 188045 h 479077"/>
                <a:gd name="connsiteX251" fmla="*/ 301686 w 3785642"/>
                <a:gd name="connsiteY251" fmla="*/ 175147 h 479077"/>
                <a:gd name="connsiteX252" fmla="*/ 313592 w 3785642"/>
                <a:gd name="connsiteY252" fmla="*/ 163737 h 479077"/>
                <a:gd name="connsiteX253" fmla="*/ 325994 w 3785642"/>
                <a:gd name="connsiteY253" fmla="*/ 153319 h 479077"/>
                <a:gd name="connsiteX254" fmla="*/ 337404 w 3785642"/>
                <a:gd name="connsiteY254" fmla="*/ 141910 h 479077"/>
                <a:gd name="connsiteX255" fmla="*/ 347325 w 3785642"/>
                <a:gd name="connsiteY255" fmla="*/ 129012 h 479077"/>
                <a:gd name="connsiteX256" fmla="*/ 360224 w 3785642"/>
                <a:gd name="connsiteY256" fmla="*/ 118594 h 479077"/>
                <a:gd name="connsiteX257" fmla="*/ 371137 w 3785642"/>
                <a:gd name="connsiteY257" fmla="*/ 106192 h 479077"/>
                <a:gd name="connsiteX258" fmla="*/ 382051 w 3785642"/>
                <a:gd name="connsiteY258" fmla="*/ 93790 h 479077"/>
                <a:gd name="connsiteX259" fmla="*/ 393957 w 3785642"/>
                <a:gd name="connsiteY259" fmla="*/ 82380 h 479077"/>
                <a:gd name="connsiteX260" fmla="*/ 405366 w 3785642"/>
                <a:gd name="connsiteY260" fmla="*/ 70475 h 479077"/>
                <a:gd name="connsiteX261" fmla="*/ 417272 w 3785642"/>
                <a:gd name="connsiteY261" fmla="*/ 59561 h 479077"/>
                <a:gd name="connsiteX262" fmla="*/ 429674 w 3785642"/>
                <a:gd name="connsiteY262" fmla="*/ 48647 h 479077"/>
                <a:gd name="connsiteX263" fmla="*/ 440092 w 3785642"/>
                <a:gd name="connsiteY263" fmla="*/ 35749 h 479077"/>
                <a:gd name="connsiteX264" fmla="*/ 452494 w 3785642"/>
                <a:gd name="connsiteY264" fmla="*/ 24835 h 479077"/>
                <a:gd name="connsiteX265" fmla="*/ 463904 w 3785642"/>
                <a:gd name="connsiteY265" fmla="*/ 12929 h 479077"/>
                <a:gd name="connsiteX266" fmla="*/ 475313 w 3785642"/>
                <a:gd name="connsiteY266" fmla="*/ 1024 h 479077"/>
                <a:gd name="connsiteX267" fmla="*/ 491684 w 3785642"/>
                <a:gd name="connsiteY267" fmla="*/ 2512 h 479077"/>
                <a:gd name="connsiteX268" fmla="*/ 508055 w 3785642"/>
                <a:gd name="connsiteY268" fmla="*/ 2512 h 479077"/>
                <a:gd name="connsiteX269" fmla="*/ 524425 w 3785642"/>
                <a:gd name="connsiteY269" fmla="*/ 2512 h 479077"/>
                <a:gd name="connsiteX270" fmla="*/ 540796 w 3785642"/>
                <a:gd name="connsiteY270" fmla="*/ 1024 h 479077"/>
                <a:gd name="connsiteX271" fmla="*/ 557166 w 3785642"/>
                <a:gd name="connsiteY271" fmla="*/ 2512 h 479077"/>
                <a:gd name="connsiteX272" fmla="*/ 573537 w 3785642"/>
                <a:gd name="connsiteY272" fmla="*/ 1024 h 479077"/>
                <a:gd name="connsiteX273" fmla="*/ 589908 w 3785642"/>
                <a:gd name="connsiteY273" fmla="*/ 527 h 479077"/>
                <a:gd name="connsiteX274" fmla="*/ 606278 w 3785642"/>
                <a:gd name="connsiteY274" fmla="*/ 1520 h 479077"/>
                <a:gd name="connsiteX275" fmla="*/ 622649 w 3785642"/>
                <a:gd name="connsiteY275" fmla="*/ 1520 h 479077"/>
                <a:gd name="connsiteX276" fmla="*/ 639019 w 3785642"/>
                <a:gd name="connsiteY276" fmla="*/ 2016 h 479077"/>
                <a:gd name="connsiteX277" fmla="*/ 655390 w 3785642"/>
                <a:gd name="connsiteY277" fmla="*/ 527 h 479077"/>
                <a:gd name="connsiteX278" fmla="*/ 671760 w 3785642"/>
                <a:gd name="connsiteY278" fmla="*/ 1520 h 479077"/>
                <a:gd name="connsiteX279" fmla="*/ 688131 w 3785642"/>
                <a:gd name="connsiteY279" fmla="*/ 2512 h 479077"/>
                <a:gd name="connsiteX280" fmla="*/ 704501 w 3785642"/>
                <a:gd name="connsiteY280" fmla="*/ 1024 h 479077"/>
                <a:gd name="connsiteX281" fmla="*/ 720872 w 3785642"/>
                <a:gd name="connsiteY281" fmla="*/ 1520 h 479077"/>
                <a:gd name="connsiteX282" fmla="*/ 737243 w 3785642"/>
                <a:gd name="connsiteY282" fmla="*/ 2016 h 479077"/>
                <a:gd name="connsiteX283" fmla="*/ 753613 w 3785642"/>
                <a:gd name="connsiteY283" fmla="*/ 1024 h 479077"/>
                <a:gd name="connsiteX284" fmla="*/ 769984 w 3785642"/>
                <a:gd name="connsiteY284" fmla="*/ 527 h 479077"/>
                <a:gd name="connsiteX285" fmla="*/ 786354 w 3785642"/>
                <a:gd name="connsiteY285" fmla="*/ 1520 h 479077"/>
                <a:gd name="connsiteX286" fmla="*/ 802725 w 3785642"/>
                <a:gd name="connsiteY286" fmla="*/ 527 h 479077"/>
                <a:gd name="connsiteX287" fmla="*/ 819096 w 3785642"/>
                <a:gd name="connsiteY287" fmla="*/ 2512 h 479077"/>
                <a:gd name="connsiteX288" fmla="*/ 835466 w 3785642"/>
                <a:gd name="connsiteY288" fmla="*/ 527 h 479077"/>
                <a:gd name="connsiteX289" fmla="*/ 851837 w 3785642"/>
                <a:gd name="connsiteY289" fmla="*/ 1520 h 479077"/>
                <a:gd name="connsiteX290" fmla="*/ 868207 w 3785642"/>
                <a:gd name="connsiteY290" fmla="*/ 2016 h 479077"/>
                <a:gd name="connsiteX291" fmla="*/ 884578 w 3785642"/>
                <a:gd name="connsiteY291" fmla="*/ 2512 h 479077"/>
                <a:gd name="connsiteX292" fmla="*/ 900948 w 3785642"/>
                <a:gd name="connsiteY292" fmla="*/ 1520 h 479077"/>
                <a:gd name="connsiteX293" fmla="*/ 917319 w 3785642"/>
                <a:gd name="connsiteY293" fmla="*/ 1024 h 479077"/>
                <a:gd name="connsiteX294" fmla="*/ 933689 w 3785642"/>
                <a:gd name="connsiteY294" fmla="*/ 2512 h 479077"/>
                <a:gd name="connsiteX295" fmla="*/ 950060 w 3785642"/>
                <a:gd name="connsiteY295" fmla="*/ 1520 h 479077"/>
                <a:gd name="connsiteX296" fmla="*/ 966431 w 3785642"/>
                <a:gd name="connsiteY296" fmla="*/ 2016 h 479077"/>
                <a:gd name="connsiteX297" fmla="*/ 982801 w 3785642"/>
                <a:gd name="connsiteY297" fmla="*/ 2512 h 479077"/>
                <a:gd name="connsiteX298" fmla="*/ 999172 w 3785642"/>
                <a:gd name="connsiteY298" fmla="*/ 1520 h 479077"/>
                <a:gd name="connsiteX299" fmla="*/ 1015542 w 3785642"/>
                <a:gd name="connsiteY299" fmla="*/ 2512 h 479077"/>
                <a:gd name="connsiteX300" fmla="*/ 1031913 w 3785642"/>
                <a:gd name="connsiteY300" fmla="*/ 1520 h 479077"/>
                <a:gd name="connsiteX301" fmla="*/ 1048283 w 3785642"/>
                <a:gd name="connsiteY301" fmla="*/ 2016 h 479077"/>
                <a:gd name="connsiteX302" fmla="*/ 1064654 w 3785642"/>
                <a:gd name="connsiteY302" fmla="*/ 3504 h 479077"/>
                <a:gd name="connsiteX303" fmla="*/ 1081025 w 3785642"/>
                <a:gd name="connsiteY303" fmla="*/ 2016 h 479077"/>
                <a:gd name="connsiteX304" fmla="*/ 1097395 w 3785642"/>
                <a:gd name="connsiteY304" fmla="*/ 2512 h 479077"/>
                <a:gd name="connsiteX305" fmla="*/ 1113766 w 3785642"/>
                <a:gd name="connsiteY305" fmla="*/ 2512 h 479077"/>
                <a:gd name="connsiteX306" fmla="*/ 1130136 w 3785642"/>
                <a:gd name="connsiteY306" fmla="*/ 3504 h 479077"/>
                <a:gd name="connsiteX307" fmla="*/ 1146507 w 3785642"/>
                <a:gd name="connsiteY307" fmla="*/ 1520 h 479077"/>
                <a:gd name="connsiteX308" fmla="*/ 1162878 w 3785642"/>
                <a:gd name="connsiteY308" fmla="*/ 3008 h 479077"/>
                <a:gd name="connsiteX309" fmla="*/ 1179248 w 3785642"/>
                <a:gd name="connsiteY309" fmla="*/ 4000 h 479077"/>
                <a:gd name="connsiteX310" fmla="*/ 1195619 w 3785642"/>
                <a:gd name="connsiteY310" fmla="*/ 3504 h 479077"/>
                <a:gd name="connsiteX311" fmla="*/ 1211989 w 3785642"/>
                <a:gd name="connsiteY311" fmla="*/ 1520 h 479077"/>
                <a:gd name="connsiteX312" fmla="*/ 1228360 w 3785642"/>
                <a:gd name="connsiteY312" fmla="*/ 3504 h 479077"/>
                <a:gd name="connsiteX313" fmla="*/ 1244730 w 3785642"/>
                <a:gd name="connsiteY313" fmla="*/ 1520 h 479077"/>
                <a:gd name="connsiteX314" fmla="*/ 1261101 w 3785642"/>
                <a:gd name="connsiteY314" fmla="*/ 2512 h 479077"/>
                <a:gd name="connsiteX315" fmla="*/ 1277471 w 3785642"/>
                <a:gd name="connsiteY315" fmla="*/ 3504 h 479077"/>
                <a:gd name="connsiteX316" fmla="*/ 1293842 w 3785642"/>
                <a:gd name="connsiteY316" fmla="*/ 4000 h 479077"/>
                <a:gd name="connsiteX317" fmla="*/ 1310213 w 3785642"/>
                <a:gd name="connsiteY317" fmla="*/ 1520 h 479077"/>
                <a:gd name="connsiteX318" fmla="*/ 1326583 w 3785642"/>
                <a:gd name="connsiteY318" fmla="*/ 2016 h 479077"/>
                <a:gd name="connsiteX319" fmla="*/ 1342954 w 3785642"/>
                <a:gd name="connsiteY319" fmla="*/ 3008 h 479077"/>
                <a:gd name="connsiteX320" fmla="*/ 1359324 w 3785642"/>
                <a:gd name="connsiteY320" fmla="*/ 3008 h 479077"/>
                <a:gd name="connsiteX321" fmla="*/ 1375695 w 3785642"/>
                <a:gd name="connsiteY321" fmla="*/ 2512 h 479077"/>
                <a:gd name="connsiteX322" fmla="*/ 1392066 w 3785642"/>
                <a:gd name="connsiteY322" fmla="*/ 2512 h 479077"/>
                <a:gd name="connsiteX323" fmla="*/ 1408436 w 3785642"/>
                <a:gd name="connsiteY323" fmla="*/ 3504 h 479077"/>
                <a:gd name="connsiteX324" fmla="*/ 1424807 w 3785642"/>
                <a:gd name="connsiteY324" fmla="*/ 3504 h 479077"/>
                <a:gd name="connsiteX325" fmla="*/ 1441177 w 3785642"/>
                <a:gd name="connsiteY325" fmla="*/ 1520 h 479077"/>
                <a:gd name="connsiteX326" fmla="*/ 1457548 w 3785642"/>
                <a:gd name="connsiteY326" fmla="*/ 2512 h 479077"/>
                <a:gd name="connsiteX327" fmla="*/ 1473919 w 3785642"/>
                <a:gd name="connsiteY327" fmla="*/ 2016 h 479077"/>
                <a:gd name="connsiteX328" fmla="*/ 1490289 w 3785642"/>
                <a:gd name="connsiteY328" fmla="*/ 2016 h 479077"/>
                <a:gd name="connsiteX329" fmla="*/ 1506660 w 3785642"/>
                <a:gd name="connsiteY329" fmla="*/ 1520 h 479077"/>
                <a:gd name="connsiteX330" fmla="*/ 1523030 w 3785642"/>
                <a:gd name="connsiteY330" fmla="*/ 3504 h 479077"/>
                <a:gd name="connsiteX331" fmla="*/ 1539401 w 3785642"/>
                <a:gd name="connsiteY331" fmla="*/ 3008 h 479077"/>
                <a:gd name="connsiteX332" fmla="*/ 1555771 w 3785642"/>
                <a:gd name="connsiteY332" fmla="*/ 3008 h 479077"/>
                <a:gd name="connsiteX333" fmla="*/ 1572142 w 3785642"/>
                <a:gd name="connsiteY333" fmla="*/ 2512 h 479077"/>
                <a:gd name="connsiteX334" fmla="*/ 1588512 w 3785642"/>
                <a:gd name="connsiteY334" fmla="*/ 2016 h 479077"/>
                <a:gd name="connsiteX335" fmla="*/ 1604883 w 3785642"/>
                <a:gd name="connsiteY335" fmla="*/ 3008 h 479077"/>
                <a:gd name="connsiteX336" fmla="*/ 1621253 w 3785642"/>
                <a:gd name="connsiteY336" fmla="*/ 3008 h 479077"/>
                <a:gd name="connsiteX337" fmla="*/ 1637624 w 3785642"/>
                <a:gd name="connsiteY33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313375 w 3785642"/>
                <a:gd name="connsiteY10" fmla="*/ 10945 h 479077"/>
                <a:gd name="connsiteX11" fmla="*/ 3300973 w 3785642"/>
                <a:gd name="connsiteY11" fmla="*/ 21363 h 479077"/>
                <a:gd name="connsiteX12" fmla="*/ 3289068 w 3785642"/>
                <a:gd name="connsiteY12" fmla="*/ 32276 h 479077"/>
                <a:gd name="connsiteX13" fmla="*/ 3277658 w 3785642"/>
                <a:gd name="connsiteY13" fmla="*/ 43686 h 479077"/>
                <a:gd name="connsiteX14" fmla="*/ 3266248 w 3785642"/>
                <a:gd name="connsiteY14" fmla="*/ 55592 h 479077"/>
                <a:gd name="connsiteX15" fmla="*/ 3255830 w 3785642"/>
                <a:gd name="connsiteY15" fmla="*/ 68490 h 479077"/>
                <a:gd name="connsiteX16" fmla="*/ 3243924 w 3785642"/>
                <a:gd name="connsiteY16" fmla="*/ 79900 h 479077"/>
                <a:gd name="connsiteX17" fmla="*/ 3231522 w 3785642"/>
                <a:gd name="connsiteY17" fmla="*/ 90814 h 479077"/>
                <a:gd name="connsiteX18" fmla="*/ 3220609 w 3785642"/>
                <a:gd name="connsiteY18" fmla="*/ 102720 h 479077"/>
                <a:gd name="connsiteX19" fmla="*/ 3208207 w 3785642"/>
                <a:gd name="connsiteY19" fmla="*/ 113137 h 479077"/>
                <a:gd name="connsiteX20" fmla="*/ 3197293 w 3785642"/>
                <a:gd name="connsiteY20" fmla="*/ 125043 h 479077"/>
                <a:gd name="connsiteX21" fmla="*/ 3185387 w 3785642"/>
                <a:gd name="connsiteY21" fmla="*/ 136453 h 479077"/>
                <a:gd name="connsiteX22" fmla="*/ 3174970 w 3785642"/>
                <a:gd name="connsiteY22" fmla="*/ 148855 h 479077"/>
                <a:gd name="connsiteX23" fmla="*/ 3162071 w 3785642"/>
                <a:gd name="connsiteY23" fmla="*/ 159272 h 479077"/>
                <a:gd name="connsiteX24" fmla="*/ 3151158 w 3785642"/>
                <a:gd name="connsiteY24" fmla="*/ 171674 h 479077"/>
                <a:gd name="connsiteX25" fmla="*/ 3139252 w 3785642"/>
                <a:gd name="connsiteY25" fmla="*/ 182588 h 479077"/>
                <a:gd name="connsiteX26" fmla="*/ 3127843 w 3785642"/>
                <a:gd name="connsiteY26" fmla="*/ 194494 h 479077"/>
                <a:gd name="connsiteX27" fmla="*/ 3116432 w 3785642"/>
                <a:gd name="connsiteY27" fmla="*/ 205904 h 479077"/>
                <a:gd name="connsiteX28" fmla="*/ 3105022 w 3785642"/>
                <a:gd name="connsiteY28" fmla="*/ 217810 h 479077"/>
                <a:gd name="connsiteX29" fmla="*/ 3093117 w 3785642"/>
                <a:gd name="connsiteY29" fmla="*/ 229219 h 479077"/>
                <a:gd name="connsiteX30" fmla="*/ 3081707 w 3785642"/>
                <a:gd name="connsiteY30" fmla="*/ 240629 h 479077"/>
                <a:gd name="connsiteX31" fmla="*/ 3069305 w 3785642"/>
                <a:gd name="connsiteY31" fmla="*/ 251543 h 479077"/>
                <a:gd name="connsiteX32" fmla="*/ 3057895 w 3785642"/>
                <a:gd name="connsiteY32" fmla="*/ 263449 h 479077"/>
                <a:gd name="connsiteX33" fmla="*/ 3046486 w 3785642"/>
                <a:gd name="connsiteY33" fmla="*/ 275355 h 479077"/>
                <a:gd name="connsiteX34" fmla="*/ 3035572 w 3785642"/>
                <a:gd name="connsiteY34" fmla="*/ 287260 h 479077"/>
                <a:gd name="connsiteX35" fmla="*/ 3024658 w 3785642"/>
                <a:gd name="connsiteY35" fmla="*/ 299166 h 479077"/>
                <a:gd name="connsiteX36" fmla="*/ 3013248 w 3785642"/>
                <a:gd name="connsiteY36" fmla="*/ 311072 h 479077"/>
                <a:gd name="connsiteX37" fmla="*/ 3000350 w 3785642"/>
                <a:gd name="connsiteY37" fmla="*/ 321490 h 479077"/>
                <a:gd name="connsiteX38" fmla="*/ 2988941 w 3785642"/>
                <a:gd name="connsiteY38" fmla="*/ 333396 h 479077"/>
                <a:gd name="connsiteX39" fmla="*/ 2976539 w 3785642"/>
                <a:gd name="connsiteY39" fmla="*/ 344309 h 479077"/>
                <a:gd name="connsiteX40" fmla="*/ 2965129 w 3785642"/>
                <a:gd name="connsiteY40" fmla="*/ 356215 h 479077"/>
                <a:gd name="connsiteX41" fmla="*/ 2953223 w 3785642"/>
                <a:gd name="connsiteY41" fmla="*/ 367625 h 479077"/>
                <a:gd name="connsiteX42" fmla="*/ 2941813 w 3785642"/>
                <a:gd name="connsiteY42" fmla="*/ 379531 h 479077"/>
                <a:gd name="connsiteX43" fmla="*/ 2931395 w 3785642"/>
                <a:gd name="connsiteY43" fmla="*/ 392429 h 479077"/>
                <a:gd name="connsiteX44" fmla="*/ 2918497 w 3785642"/>
                <a:gd name="connsiteY44" fmla="*/ 402847 h 479077"/>
                <a:gd name="connsiteX45" fmla="*/ 2907584 w 3785642"/>
                <a:gd name="connsiteY45" fmla="*/ 415249 h 479077"/>
                <a:gd name="connsiteX46" fmla="*/ 2896174 w 3785642"/>
                <a:gd name="connsiteY46" fmla="*/ 426658 h 479077"/>
                <a:gd name="connsiteX47" fmla="*/ 2884268 w 3785642"/>
                <a:gd name="connsiteY47" fmla="*/ 438068 h 479077"/>
                <a:gd name="connsiteX48" fmla="*/ 2873354 w 3785642"/>
                <a:gd name="connsiteY48" fmla="*/ 450470 h 479077"/>
                <a:gd name="connsiteX49" fmla="*/ 2860952 w 3785642"/>
                <a:gd name="connsiteY49" fmla="*/ 461384 h 479077"/>
                <a:gd name="connsiteX50" fmla="*/ 2850039 w 3785642"/>
                <a:gd name="connsiteY50" fmla="*/ 473786 h 479077"/>
                <a:gd name="connsiteX51" fmla="*/ 2833668 w 3785642"/>
                <a:gd name="connsiteY51" fmla="*/ 473786 h 479077"/>
                <a:gd name="connsiteX52" fmla="*/ 2817297 w 3785642"/>
                <a:gd name="connsiteY52" fmla="*/ 473290 h 479077"/>
                <a:gd name="connsiteX53" fmla="*/ 2800927 w 3785642"/>
                <a:gd name="connsiteY53" fmla="*/ 473290 h 479077"/>
                <a:gd name="connsiteX54" fmla="*/ 2784556 w 3785642"/>
                <a:gd name="connsiteY54" fmla="*/ 473786 h 479077"/>
                <a:gd name="connsiteX55" fmla="*/ 2768186 w 3785642"/>
                <a:gd name="connsiteY55" fmla="*/ 474282 h 479077"/>
                <a:gd name="connsiteX56" fmla="*/ 2751815 w 3785642"/>
                <a:gd name="connsiteY56" fmla="*/ 474282 h 479077"/>
                <a:gd name="connsiteX57" fmla="*/ 2735444 w 3785642"/>
                <a:gd name="connsiteY57" fmla="*/ 473290 h 479077"/>
                <a:gd name="connsiteX58" fmla="*/ 2719074 w 3785642"/>
                <a:gd name="connsiteY58" fmla="*/ 474282 h 479077"/>
                <a:gd name="connsiteX59" fmla="*/ 2702703 w 3785642"/>
                <a:gd name="connsiteY59" fmla="*/ 472298 h 479077"/>
                <a:gd name="connsiteX60" fmla="*/ 2686333 w 3785642"/>
                <a:gd name="connsiteY60" fmla="*/ 472794 h 479077"/>
                <a:gd name="connsiteX61" fmla="*/ 2669962 w 3785642"/>
                <a:gd name="connsiteY61" fmla="*/ 474282 h 479077"/>
                <a:gd name="connsiteX62" fmla="*/ 2653592 w 3785642"/>
                <a:gd name="connsiteY62" fmla="*/ 472298 h 479077"/>
                <a:gd name="connsiteX63" fmla="*/ 2637221 w 3785642"/>
                <a:gd name="connsiteY63" fmla="*/ 474282 h 479077"/>
                <a:gd name="connsiteX64" fmla="*/ 2620851 w 3785642"/>
                <a:gd name="connsiteY64" fmla="*/ 474282 h 479077"/>
                <a:gd name="connsiteX65" fmla="*/ 2604480 w 3785642"/>
                <a:gd name="connsiteY65" fmla="*/ 472298 h 479077"/>
                <a:gd name="connsiteX66" fmla="*/ 2588109 w 3785642"/>
                <a:gd name="connsiteY66" fmla="*/ 473786 h 479077"/>
                <a:gd name="connsiteX67" fmla="*/ 2571739 w 3785642"/>
                <a:gd name="connsiteY67" fmla="*/ 472298 h 479077"/>
                <a:gd name="connsiteX68" fmla="*/ 2555368 w 3785642"/>
                <a:gd name="connsiteY68" fmla="*/ 473290 h 479077"/>
                <a:gd name="connsiteX69" fmla="*/ 2538998 w 3785642"/>
                <a:gd name="connsiteY69" fmla="*/ 474282 h 479077"/>
                <a:gd name="connsiteX70" fmla="*/ 2522627 w 3785642"/>
                <a:gd name="connsiteY70" fmla="*/ 473290 h 479077"/>
                <a:gd name="connsiteX71" fmla="*/ 2506257 w 3785642"/>
                <a:gd name="connsiteY71" fmla="*/ 474282 h 479077"/>
                <a:gd name="connsiteX72" fmla="*/ 2489886 w 3785642"/>
                <a:gd name="connsiteY72" fmla="*/ 473786 h 479077"/>
                <a:gd name="connsiteX73" fmla="*/ 2473516 w 3785642"/>
                <a:gd name="connsiteY73" fmla="*/ 474282 h 479077"/>
                <a:gd name="connsiteX74" fmla="*/ 2457145 w 3785642"/>
                <a:gd name="connsiteY74" fmla="*/ 472794 h 479077"/>
                <a:gd name="connsiteX75" fmla="*/ 2440775 w 3785642"/>
                <a:gd name="connsiteY75" fmla="*/ 472298 h 479077"/>
                <a:gd name="connsiteX76" fmla="*/ 2424404 w 3785642"/>
                <a:gd name="connsiteY76" fmla="*/ 473786 h 479077"/>
                <a:gd name="connsiteX77" fmla="*/ 2408033 w 3785642"/>
                <a:gd name="connsiteY77" fmla="*/ 472794 h 479077"/>
                <a:gd name="connsiteX78" fmla="*/ 2391663 w 3785642"/>
                <a:gd name="connsiteY78" fmla="*/ 473290 h 479077"/>
                <a:gd name="connsiteX79" fmla="*/ 2375292 w 3785642"/>
                <a:gd name="connsiteY79" fmla="*/ 473290 h 479077"/>
                <a:gd name="connsiteX80" fmla="*/ 2358922 w 3785642"/>
                <a:gd name="connsiteY80" fmla="*/ 472794 h 479077"/>
                <a:gd name="connsiteX81" fmla="*/ 2342551 w 3785642"/>
                <a:gd name="connsiteY81" fmla="*/ 472298 h 479077"/>
                <a:gd name="connsiteX82" fmla="*/ 2326180 w 3785642"/>
                <a:gd name="connsiteY82" fmla="*/ 473786 h 479077"/>
                <a:gd name="connsiteX83" fmla="*/ 2309810 w 3785642"/>
                <a:gd name="connsiteY83" fmla="*/ 473786 h 479077"/>
                <a:gd name="connsiteX84" fmla="*/ 2293439 w 3785642"/>
                <a:gd name="connsiteY84" fmla="*/ 473786 h 479077"/>
                <a:gd name="connsiteX85" fmla="*/ 2277069 w 3785642"/>
                <a:gd name="connsiteY85" fmla="*/ 472794 h 479077"/>
                <a:gd name="connsiteX86" fmla="*/ 2260698 w 3785642"/>
                <a:gd name="connsiteY86" fmla="*/ 474282 h 479077"/>
                <a:gd name="connsiteX87" fmla="*/ 2244327 w 3785642"/>
                <a:gd name="connsiteY87" fmla="*/ 472298 h 479077"/>
                <a:gd name="connsiteX88" fmla="*/ 2227957 w 3785642"/>
                <a:gd name="connsiteY88" fmla="*/ 474282 h 479077"/>
                <a:gd name="connsiteX89" fmla="*/ 2211586 w 3785642"/>
                <a:gd name="connsiteY89" fmla="*/ 473290 h 479077"/>
                <a:gd name="connsiteX90" fmla="*/ 2195216 w 3785642"/>
                <a:gd name="connsiteY90" fmla="*/ 474282 h 479077"/>
                <a:gd name="connsiteX91" fmla="*/ 2178845 w 3785642"/>
                <a:gd name="connsiteY91" fmla="*/ 472794 h 479077"/>
                <a:gd name="connsiteX92" fmla="*/ 2162474 w 3785642"/>
                <a:gd name="connsiteY92" fmla="*/ 474778 h 479077"/>
                <a:gd name="connsiteX93" fmla="*/ 2146104 w 3785642"/>
                <a:gd name="connsiteY93" fmla="*/ 473290 h 479077"/>
                <a:gd name="connsiteX94" fmla="*/ 2129733 w 3785642"/>
                <a:gd name="connsiteY94" fmla="*/ 474778 h 479077"/>
                <a:gd name="connsiteX95" fmla="*/ 2113363 w 3785642"/>
                <a:gd name="connsiteY95" fmla="*/ 474778 h 479077"/>
                <a:gd name="connsiteX96" fmla="*/ 2096992 w 3785642"/>
                <a:gd name="connsiteY96" fmla="*/ 474778 h 479077"/>
                <a:gd name="connsiteX97" fmla="*/ 2080621 w 3785642"/>
                <a:gd name="connsiteY97" fmla="*/ 474282 h 479077"/>
                <a:gd name="connsiteX98" fmla="*/ 2064251 w 3785642"/>
                <a:gd name="connsiteY98" fmla="*/ 472794 h 479077"/>
                <a:gd name="connsiteX99" fmla="*/ 2047880 w 3785642"/>
                <a:gd name="connsiteY99" fmla="*/ 474778 h 479077"/>
                <a:gd name="connsiteX100" fmla="*/ 2031510 w 3785642"/>
                <a:gd name="connsiteY100" fmla="*/ 474778 h 479077"/>
                <a:gd name="connsiteX101" fmla="*/ 2015139 w 3785642"/>
                <a:gd name="connsiteY101" fmla="*/ 474778 h 479077"/>
                <a:gd name="connsiteX102" fmla="*/ 1998769 w 3785642"/>
                <a:gd name="connsiteY102" fmla="*/ 474282 h 479077"/>
                <a:gd name="connsiteX103" fmla="*/ 1982398 w 3785642"/>
                <a:gd name="connsiteY103" fmla="*/ 473786 h 479077"/>
                <a:gd name="connsiteX104" fmla="*/ 1966028 w 3785642"/>
                <a:gd name="connsiteY104" fmla="*/ 473786 h 479077"/>
                <a:gd name="connsiteX105" fmla="*/ 1949657 w 3785642"/>
                <a:gd name="connsiteY105" fmla="*/ 472794 h 479077"/>
                <a:gd name="connsiteX106" fmla="*/ 1933287 w 3785642"/>
                <a:gd name="connsiteY106" fmla="*/ 473290 h 479077"/>
                <a:gd name="connsiteX107" fmla="*/ 1916916 w 3785642"/>
                <a:gd name="connsiteY107" fmla="*/ 474778 h 479077"/>
                <a:gd name="connsiteX108" fmla="*/ 1900546 w 3785642"/>
                <a:gd name="connsiteY108" fmla="*/ 472794 h 479077"/>
                <a:gd name="connsiteX109" fmla="*/ 1884175 w 3785642"/>
                <a:gd name="connsiteY109" fmla="*/ 473786 h 479077"/>
                <a:gd name="connsiteX110" fmla="*/ 1867804 w 3785642"/>
                <a:gd name="connsiteY110" fmla="*/ 474778 h 479077"/>
                <a:gd name="connsiteX111" fmla="*/ 1851434 w 3785642"/>
                <a:gd name="connsiteY111" fmla="*/ 474778 h 479077"/>
                <a:gd name="connsiteX112" fmla="*/ 1835063 w 3785642"/>
                <a:gd name="connsiteY112" fmla="*/ 474778 h 479077"/>
                <a:gd name="connsiteX113" fmla="*/ 1818693 w 3785642"/>
                <a:gd name="connsiteY113" fmla="*/ 474282 h 479077"/>
                <a:gd name="connsiteX114" fmla="*/ 1802322 w 3785642"/>
                <a:gd name="connsiteY114" fmla="*/ 472794 h 479077"/>
                <a:gd name="connsiteX115" fmla="*/ 1785951 w 3785642"/>
                <a:gd name="connsiteY115" fmla="*/ 473786 h 479077"/>
                <a:gd name="connsiteX116" fmla="*/ 1769581 w 3785642"/>
                <a:gd name="connsiteY116" fmla="*/ 473290 h 479077"/>
                <a:gd name="connsiteX117" fmla="*/ 1753210 w 3785642"/>
                <a:gd name="connsiteY117" fmla="*/ 472298 h 479077"/>
                <a:gd name="connsiteX118" fmla="*/ 1736840 w 3785642"/>
                <a:gd name="connsiteY118" fmla="*/ 473290 h 479077"/>
                <a:gd name="connsiteX119" fmla="*/ 1720469 w 3785642"/>
                <a:gd name="connsiteY119" fmla="*/ 474778 h 479077"/>
                <a:gd name="connsiteX120" fmla="*/ 1704098 w 3785642"/>
                <a:gd name="connsiteY120" fmla="*/ 472794 h 479077"/>
                <a:gd name="connsiteX121" fmla="*/ 1687728 w 3785642"/>
                <a:gd name="connsiteY121" fmla="*/ 474778 h 479077"/>
                <a:gd name="connsiteX122" fmla="*/ 1671357 w 3785642"/>
                <a:gd name="connsiteY122" fmla="*/ 474778 h 479077"/>
                <a:gd name="connsiteX123" fmla="*/ 1654987 w 3785642"/>
                <a:gd name="connsiteY123" fmla="*/ 472298 h 479077"/>
                <a:gd name="connsiteX124" fmla="*/ 1638616 w 3785642"/>
                <a:gd name="connsiteY124" fmla="*/ 472794 h 479077"/>
                <a:gd name="connsiteX125" fmla="*/ 1622246 w 3785642"/>
                <a:gd name="connsiteY125" fmla="*/ 473786 h 479077"/>
                <a:gd name="connsiteX126" fmla="*/ 1605875 w 3785642"/>
                <a:gd name="connsiteY126" fmla="*/ 474778 h 479077"/>
                <a:gd name="connsiteX127" fmla="*/ 1589505 w 3785642"/>
                <a:gd name="connsiteY127" fmla="*/ 473290 h 479077"/>
                <a:gd name="connsiteX128" fmla="*/ 1573134 w 3785642"/>
                <a:gd name="connsiteY128" fmla="*/ 474778 h 479077"/>
                <a:gd name="connsiteX129" fmla="*/ 1556763 w 3785642"/>
                <a:gd name="connsiteY129" fmla="*/ 472794 h 479077"/>
                <a:gd name="connsiteX130" fmla="*/ 1540393 w 3785642"/>
                <a:gd name="connsiteY130" fmla="*/ 472794 h 479077"/>
                <a:gd name="connsiteX131" fmla="*/ 1524022 w 3785642"/>
                <a:gd name="connsiteY131" fmla="*/ 474282 h 479077"/>
                <a:gd name="connsiteX132" fmla="*/ 1507652 w 3785642"/>
                <a:gd name="connsiteY132" fmla="*/ 472794 h 479077"/>
                <a:gd name="connsiteX133" fmla="*/ 1491281 w 3785642"/>
                <a:gd name="connsiteY133" fmla="*/ 474282 h 479077"/>
                <a:gd name="connsiteX134" fmla="*/ 1474910 w 3785642"/>
                <a:gd name="connsiteY134" fmla="*/ 474282 h 479077"/>
                <a:gd name="connsiteX135" fmla="*/ 1458540 w 3785642"/>
                <a:gd name="connsiteY135" fmla="*/ 472794 h 479077"/>
                <a:gd name="connsiteX136" fmla="*/ 1442169 w 3785642"/>
                <a:gd name="connsiteY136" fmla="*/ 471802 h 479077"/>
                <a:gd name="connsiteX137" fmla="*/ 1425799 w 3785642"/>
                <a:gd name="connsiteY137" fmla="*/ 472298 h 479077"/>
                <a:gd name="connsiteX138" fmla="*/ 1409428 w 3785642"/>
                <a:gd name="connsiteY138" fmla="*/ 472794 h 479077"/>
                <a:gd name="connsiteX139" fmla="*/ 1393058 w 3785642"/>
                <a:gd name="connsiteY139" fmla="*/ 473786 h 479077"/>
                <a:gd name="connsiteX140" fmla="*/ 1376687 w 3785642"/>
                <a:gd name="connsiteY140" fmla="*/ 471802 h 479077"/>
                <a:gd name="connsiteX141" fmla="*/ 1360317 w 3785642"/>
                <a:gd name="connsiteY141" fmla="*/ 473786 h 479077"/>
                <a:gd name="connsiteX142" fmla="*/ 1343946 w 3785642"/>
                <a:gd name="connsiteY142" fmla="*/ 473786 h 479077"/>
                <a:gd name="connsiteX143" fmla="*/ 1327576 w 3785642"/>
                <a:gd name="connsiteY143" fmla="*/ 472794 h 479077"/>
                <a:gd name="connsiteX144" fmla="*/ 1311205 w 3785642"/>
                <a:gd name="connsiteY144" fmla="*/ 473786 h 479077"/>
                <a:gd name="connsiteX145" fmla="*/ 1294834 w 3785642"/>
                <a:gd name="connsiteY145" fmla="*/ 473786 h 479077"/>
                <a:gd name="connsiteX146" fmla="*/ 1278464 w 3785642"/>
                <a:gd name="connsiteY146" fmla="*/ 473786 h 479077"/>
                <a:gd name="connsiteX147" fmla="*/ 1262093 w 3785642"/>
                <a:gd name="connsiteY147" fmla="*/ 473786 h 479077"/>
                <a:gd name="connsiteX148" fmla="*/ 1245723 w 3785642"/>
                <a:gd name="connsiteY148" fmla="*/ 473290 h 479077"/>
                <a:gd name="connsiteX149" fmla="*/ 1229352 w 3785642"/>
                <a:gd name="connsiteY149" fmla="*/ 472794 h 479077"/>
                <a:gd name="connsiteX150" fmla="*/ 1212981 w 3785642"/>
                <a:gd name="connsiteY150" fmla="*/ 473786 h 479077"/>
                <a:gd name="connsiteX151" fmla="*/ 1196611 w 3785642"/>
                <a:gd name="connsiteY151" fmla="*/ 472298 h 479077"/>
                <a:gd name="connsiteX152" fmla="*/ 1180240 w 3785642"/>
                <a:gd name="connsiteY152" fmla="*/ 472794 h 479077"/>
                <a:gd name="connsiteX153" fmla="*/ 1163870 w 3785642"/>
                <a:gd name="connsiteY153" fmla="*/ 472794 h 479077"/>
                <a:gd name="connsiteX154" fmla="*/ 1147499 w 3785642"/>
                <a:gd name="connsiteY154" fmla="*/ 473786 h 479077"/>
                <a:gd name="connsiteX155" fmla="*/ 1131128 w 3785642"/>
                <a:gd name="connsiteY155" fmla="*/ 473786 h 479077"/>
                <a:gd name="connsiteX156" fmla="*/ 1114758 w 3785642"/>
                <a:gd name="connsiteY156" fmla="*/ 472794 h 479077"/>
                <a:gd name="connsiteX157" fmla="*/ 1098387 w 3785642"/>
                <a:gd name="connsiteY157" fmla="*/ 473786 h 479077"/>
                <a:gd name="connsiteX158" fmla="*/ 1082017 w 3785642"/>
                <a:gd name="connsiteY158" fmla="*/ 474778 h 479077"/>
                <a:gd name="connsiteX159" fmla="*/ 1065646 w 3785642"/>
                <a:gd name="connsiteY159" fmla="*/ 474778 h 479077"/>
                <a:gd name="connsiteX160" fmla="*/ 1049276 w 3785642"/>
                <a:gd name="connsiteY160" fmla="*/ 474282 h 479077"/>
                <a:gd name="connsiteX161" fmla="*/ 1032905 w 3785642"/>
                <a:gd name="connsiteY161" fmla="*/ 473290 h 479077"/>
                <a:gd name="connsiteX162" fmla="*/ 1016535 w 3785642"/>
                <a:gd name="connsiteY162" fmla="*/ 474282 h 479077"/>
                <a:gd name="connsiteX163" fmla="*/ 1000164 w 3785642"/>
                <a:gd name="connsiteY163" fmla="*/ 474282 h 479077"/>
                <a:gd name="connsiteX164" fmla="*/ 983793 w 3785642"/>
                <a:gd name="connsiteY164" fmla="*/ 472794 h 479077"/>
                <a:gd name="connsiteX165" fmla="*/ 967423 w 3785642"/>
                <a:gd name="connsiteY165" fmla="*/ 472794 h 479077"/>
                <a:gd name="connsiteX166" fmla="*/ 951052 w 3785642"/>
                <a:gd name="connsiteY166" fmla="*/ 473786 h 479077"/>
                <a:gd name="connsiteX167" fmla="*/ 934682 w 3785642"/>
                <a:gd name="connsiteY167" fmla="*/ 474282 h 479077"/>
                <a:gd name="connsiteX168" fmla="*/ 918311 w 3785642"/>
                <a:gd name="connsiteY168" fmla="*/ 474778 h 479077"/>
                <a:gd name="connsiteX169" fmla="*/ 901940 w 3785642"/>
                <a:gd name="connsiteY169" fmla="*/ 473290 h 479077"/>
                <a:gd name="connsiteX170" fmla="*/ 885570 w 3785642"/>
                <a:gd name="connsiteY170" fmla="*/ 474778 h 479077"/>
                <a:gd name="connsiteX171" fmla="*/ 869199 w 3785642"/>
                <a:gd name="connsiteY171" fmla="*/ 474282 h 479077"/>
                <a:gd name="connsiteX172" fmla="*/ 852829 w 3785642"/>
                <a:gd name="connsiteY172" fmla="*/ 473786 h 479077"/>
                <a:gd name="connsiteX173" fmla="*/ 836458 w 3785642"/>
                <a:gd name="connsiteY173" fmla="*/ 474778 h 479077"/>
                <a:gd name="connsiteX174" fmla="*/ 820088 w 3785642"/>
                <a:gd name="connsiteY174" fmla="*/ 475274 h 479077"/>
                <a:gd name="connsiteX175" fmla="*/ 803717 w 3785642"/>
                <a:gd name="connsiteY175" fmla="*/ 473786 h 479077"/>
                <a:gd name="connsiteX176" fmla="*/ 787347 w 3785642"/>
                <a:gd name="connsiteY176" fmla="*/ 475770 h 479077"/>
                <a:gd name="connsiteX177" fmla="*/ 770976 w 3785642"/>
                <a:gd name="connsiteY177" fmla="*/ 474778 h 479077"/>
                <a:gd name="connsiteX178" fmla="*/ 754605 w 3785642"/>
                <a:gd name="connsiteY178" fmla="*/ 475274 h 479077"/>
                <a:gd name="connsiteX179" fmla="*/ 738235 w 3785642"/>
                <a:gd name="connsiteY179" fmla="*/ 473786 h 479077"/>
                <a:gd name="connsiteX180" fmla="*/ 721864 w 3785642"/>
                <a:gd name="connsiteY180" fmla="*/ 475274 h 479077"/>
                <a:gd name="connsiteX181" fmla="*/ 705494 w 3785642"/>
                <a:gd name="connsiteY181" fmla="*/ 475770 h 479077"/>
                <a:gd name="connsiteX182" fmla="*/ 689123 w 3785642"/>
                <a:gd name="connsiteY182" fmla="*/ 474282 h 479077"/>
                <a:gd name="connsiteX183" fmla="*/ 672753 w 3785642"/>
                <a:gd name="connsiteY183" fmla="*/ 475274 h 479077"/>
                <a:gd name="connsiteX184" fmla="*/ 656382 w 3785642"/>
                <a:gd name="connsiteY184" fmla="*/ 474778 h 479077"/>
                <a:gd name="connsiteX185" fmla="*/ 640011 w 3785642"/>
                <a:gd name="connsiteY185" fmla="*/ 475770 h 479077"/>
                <a:gd name="connsiteX186" fmla="*/ 623641 w 3785642"/>
                <a:gd name="connsiteY186" fmla="*/ 473786 h 479077"/>
                <a:gd name="connsiteX187" fmla="*/ 607270 w 3785642"/>
                <a:gd name="connsiteY187" fmla="*/ 474778 h 479077"/>
                <a:gd name="connsiteX188" fmla="*/ 590900 w 3785642"/>
                <a:gd name="connsiteY188" fmla="*/ 475274 h 479077"/>
                <a:gd name="connsiteX189" fmla="*/ 574529 w 3785642"/>
                <a:gd name="connsiteY189" fmla="*/ 474282 h 479077"/>
                <a:gd name="connsiteX190" fmla="*/ 558158 w 3785642"/>
                <a:gd name="connsiteY190" fmla="*/ 475274 h 479077"/>
                <a:gd name="connsiteX191" fmla="*/ 541788 w 3785642"/>
                <a:gd name="connsiteY191" fmla="*/ 475770 h 479077"/>
                <a:gd name="connsiteX192" fmla="*/ 525417 w 3785642"/>
                <a:gd name="connsiteY192" fmla="*/ 474282 h 479077"/>
                <a:gd name="connsiteX193" fmla="*/ 509047 w 3785642"/>
                <a:gd name="connsiteY193" fmla="*/ 473786 h 479077"/>
                <a:gd name="connsiteX194" fmla="*/ 492676 w 3785642"/>
                <a:gd name="connsiteY194" fmla="*/ 473786 h 479077"/>
                <a:gd name="connsiteX195" fmla="*/ 476306 w 3785642"/>
                <a:gd name="connsiteY195" fmla="*/ 474778 h 479077"/>
                <a:gd name="connsiteX196" fmla="*/ 459935 w 3785642"/>
                <a:gd name="connsiteY196" fmla="*/ 473786 h 479077"/>
                <a:gd name="connsiteX197" fmla="*/ 443565 w 3785642"/>
                <a:gd name="connsiteY197" fmla="*/ 474778 h 479077"/>
                <a:gd name="connsiteX198" fmla="*/ 427194 w 3785642"/>
                <a:gd name="connsiteY198" fmla="*/ 474282 h 479077"/>
                <a:gd name="connsiteX199" fmla="*/ 410823 w 3785642"/>
                <a:gd name="connsiteY199" fmla="*/ 473290 h 479077"/>
                <a:gd name="connsiteX200" fmla="*/ 394453 w 3785642"/>
                <a:gd name="connsiteY200" fmla="*/ 475770 h 479077"/>
                <a:gd name="connsiteX201" fmla="*/ 378082 w 3785642"/>
                <a:gd name="connsiteY201" fmla="*/ 475274 h 479077"/>
                <a:gd name="connsiteX202" fmla="*/ 361712 w 3785642"/>
                <a:gd name="connsiteY202" fmla="*/ 474778 h 479077"/>
                <a:gd name="connsiteX203" fmla="*/ 345341 w 3785642"/>
                <a:gd name="connsiteY203" fmla="*/ 476266 h 479077"/>
                <a:gd name="connsiteX204" fmla="*/ 328970 w 3785642"/>
                <a:gd name="connsiteY204" fmla="*/ 474282 h 479077"/>
                <a:gd name="connsiteX205" fmla="*/ 312600 w 3785642"/>
                <a:gd name="connsiteY205" fmla="*/ 475274 h 479077"/>
                <a:gd name="connsiteX206" fmla="*/ 296229 w 3785642"/>
                <a:gd name="connsiteY206" fmla="*/ 474282 h 479077"/>
                <a:gd name="connsiteX207" fmla="*/ 279859 w 3785642"/>
                <a:gd name="connsiteY207" fmla="*/ 475770 h 479077"/>
                <a:gd name="connsiteX208" fmla="*/ 263488 w 3785642"/>
                <a:gd name="connsiteY208" fmla="*/ 476266 h 479077"/>
                <a:gd name="connsiteX209" fmla="*/ 247118 w 3785642"/>
                <a:gd name="connsiteY209" fmla="*/ 476266 h 479077"/>
                <a:gd name="connsiteX210" fmla="*/ 230747 w 3785642"/>
                <a:gd name="connsiteY210" fmla="*/ 474778 h 479077"/>
                <a:gd name="connsiteX211" fmla="*/ 214376 w 3785642"/>
                <a:gd name="connsiteY211" fmla="*/ 474778 h 479077"/>
                <a:gd name="connsiteX212" fmla="*/ 198006 w 3785642"/>
                <a:gd name="connsiteY212" fmla="*/ 476762 h 479077"/>
                <a:gd name="connsiteX213" fmla="*/ 181635 w 3785642"/>
                <a:gd name="connsiteY213" fmla="*/ 476266 h 479077"/>
                <a:gd name="connsiteX214" fmla="*/ 165265 w 3785642"/>
                <a:gd name="connsiteY214" fmla="*/ 474778 h 479077"/>
                <a:gd name="connsiteX215" fmla="*/ 148894 w 3785642"/>
                <a:gd name="connsiteY215" fmla="*/ 476762 h 479077"/>
                <a:gd name="connsiteX216" fmla="*/ 132524 w 3785642"/>
                <a:gd name="connsiteY216" fmla="*/ 476266 h 479077"/>
                <a:gd name="connsiteX217" fmla="*/ 116153 w 3785642"/>
                <a:gd name="connsiteY217" fmla="*/ 475274 h 479077"/>
                <a:gd name="connsiteX218" fmla="*/ 99783 w 3785642"/>
                <a:gd name="connsiteY218" fmla="*/ 475274 h 479077"/>
                <a:gd name="connsiteX219" fmla="*/ 83412 w 3785642"/>
                <a:gd name="connsiteY219" fmla="*/ 475274 h 479077"/>
                <a:gd name="connsiteX220" fmla="*/ 67041 w 3785642"/>
                <a:gd name="connsiteY220" fmla="*/ 474778 h 479077"/>
                <a:gd name="connsiteX221" fmla="*/ 50671 w 3785642"/>
                <a:gd name="connsiteY221" fmla="*/ 475274 h 479077"/>
                <a:gd name="connsiteX222" fmla="*/ 34300 w 3785642"/>
                <a:gd name="connsiteY222" fmla="*/ 475274 h 479077"/>
                <a:gd name="connsiteX223" fmla="*/ 17930 w 3785642"/>
                <a:gd name="connsiteY223" fmla="*/ 475770 h 479077"/>
                <a:gd name="connsiteX224" fmla="*/ 567 w 3785642"/>
                <a:gd name="connsiteY224" fmla="*/ 475770 h 479077"/>
                <a:gd name="connsiteX225" fmla="*/ 12969 w 3785642"/>
                <a:gd name="connsiteY225" fmla="*/ 463368 h 479077"/>
                <a:gd name="connsiteX226" fmla="*/ 24379 w 3785642"/>
                <a:gd name="connsiteY226" fmla="*/ 451958 h 479077"/>
                <a:gd name="connsiteX227" fmla="*/ 35788 w 3785642"/>
                <a:gd name="connsiteY227" fmla="*/ 440053 h 479077"/>
                <a:gd name="connsiteX228" fmla="*/ 48686 w 3785642"/>
                <a:gd name="connsiteY228" fmla="*/ 430131 h 479077"/>
                <a:gd name="connsiteX229" fmla="*/ 59600 w 3785642"/>
                <a:gd name="connsiteY229" fmla="*/ 418225 h 479077"/>
                <a:gd name="connsiteX230" fmla="*/ 70514 w 3785642"/>
                <a:gd name="connsiteY230" fmla="*/ 405823 h 479077"/>
                <a:gd name="connsiteX231" fmla="*/ 83412 w 3785642"/>
                <a:gd name="connsiteY231" fmla="*/ 395406 h 479077"/>
                <a:gd name="connsiteX232" fmla="*/ 94822 w 3785642"/>
                <a:gd name="connsiteY232" fmla="*/ 383500 h 479077"/>
                <a:gd name="connsiteX233" fmla="*/ 106728 w 3785642"/>
                <a:gd name="connsiteY233" fmla="*/ 372090 h 479077"/>
                <a:gd name="connsiteX234" fmla="*/ 117145 w 3785642"/>
                <a:gd name="connsiteY234" fmla="*/ 359688 h 479077"/>
                <a:gd name="connsiteX235" fmla="*/ 128555 w 3785642"/>
                <a:gd name="connsiteY235" fmla="*/ 348278 h 479077"/>
                <a:gd name="connsiteX236" fmla="*/ 140461 w 3785642"/>
                <a:gd name="connsiteY236" fmla="*/ 336868 h 479077"/>
                <a:gd name="connsiteX237" fmla="*/ 152863 w 3785642"/>
                <a:gd name="connsiteY237" fmla="*/ 326451 h 479077"/>
                <a:gd name="connsiteX238" fmla="*/ 164769 w 3785642"/>
                <a:gd name="connsiteY238" fmla="*/ 315041 h 479077"/>
                <a:gd name="connsiteX239" fmla="*/ 176178 w 3785642"/>
                <a:gd name="connsiteY239" fmla="*/ 303135 h 479077"/>
                <a:gd name="connsiteX240" fmla="*/ 188084 w 3785642"/>
                <a:gd name="connsiteY240" fmla="*/ 291725 h 479077"/>
                <a:gd name="connsiteX241" fmla="*/ 199494 w 3785642"/>
                <a:gd name="connsiteY241" fmla="*/ 280315 h 479077"/>
                <a:gd name="connsiteX242" fmla="*/ 210904 w 3785642"/>
                <a:gd name="connsiteY242" fmla="*/ 268906 h 479077"/>
                <a:gd name="connsiteX243" fmla="*/ 221818 w 3785642"/>
                <a:gd name="connsiteY243" fmla="*/ 256504 h 479077"/>
                <a:gd name="connsiteX244" fmla="*/ 233724 w 3785642"/>
                <a:gd name="connsiteY244" fmla="*/ 245094 h 479077"/>
                <a:gd name="connsiteX245" fmla="*/ 244141 w 3785642"/>
                <a:gd name="connsiteY245" fmla="*/ 232692 h 479077"/>
                <a:gd name="connsiteX246" fmla="*/ 257039 w 3785642"/>
                <a:gd name="connsiteY246" fmla="*/ 222770 h 479077"/>
                <a:gd name="connsiteX247" fmla="*/ 266961 w 3785642"/>
                <a:gd name="connsiteY247" fmla="*/ 209376 h 479077"/>
                <a:gd name="connsiteX248" fmla="*/ 278371 w 3785642"/>
                <a:gd name="connsiteY248" fmla="*/ 197966 h 479077"/>
                <a:gd name="connsiteX249" fmla="*/ 291269 w 3785642"/>
                <a:gd name="connsiteY249" fmla="*/ 188045 h 479077"/>
                <a:gd name="connsiteX250" fmla="*/ 301686 w 3785642"/>
                <a:gd name="connsiteY250" fmla="*/ 175147 h 479077"/>
                <a:gd name="connsiteX251" fmla="*/ 313592 w 3785642"/>
                <a:gd name="connsiteY251" fmla="*/ 163737 h 479077"/>
                <a:gd name="connsiteX252" fmla="*/ 325994 w 3785642"/>
                <a:gd name="connsiteY252" fmla="*/ 153319 h 479077"/>
                <a:gd name="connsiteX253" fmla="*/ 337404 w 3785642"/>
                <a:gd name="connsiteY253" fmla="*/ 141910 h 479077"/>
                <a:gd name="connsiteX254" fmla="*/ 347325 w 3785642"/>
                <a:gd name="connsiteY254" fmla="*/ 129012 h 479077"/>
                <a:gd name="connsiteX255" fmla="*/ 360224 w 3785642"/>
                <a:gd name="connsiteY255" fmla="*/ 118594 h 479077"/>
                <a:gd name="connsiteX256" fmla="*/ 371137 w 3785642"/>
                <a:gd name="connsiteY256" fmla="*/ 106192 h 479077"/>
                <a:gd name="connsiteX257" fmla="*/ 382051 w 3785642"/>
                <a:gd name="connsiteY257" fmla="*/ 93790 h 479077"/>
                <a:gd name="connsiteX258" fmla="*/ 393957 w 3785642"/>
                <a:gd name="connsiteY258" fmla="*/ 82380 h 479077"/>
                <a:gd name="connsiteX259" fmla="*/ 405366 w 3785642"/>
                <a:gd name="connsiteY259" fmla="*/ 70475 h 479077"/>
                <a:gd name="connsiteX260" fmla="*/ 417272 w 3785642"/>
                <a:gd name="connsiteY260" fmla="*/ 59561 h 479077"/>
                <a:gd name="connsiteX261" fmla="*/ 429674 w 3785642"/>
                <a:gd name="connsiteY261" fmla="*/ 48647 h 479077"/>
                <a:gd name="connsiteX262" fmla="*/ 440092 w 3785642"/>
                <a:gd name="connsiteY262" fmla="*/ 35749 h 479077"/>
                <a:gd name="connsiteX263" fmla="*/ 452494 w 3785642"/>
                <a:gd name="connsiteY263" fmla="*/ 24835 h 479077"/>
                <a:gd name="connsiteX264" fmla="*/ 463904 w 3785642"/>
                <a:gd name="connsiteY264" fmla="*/ 12929 h 479077"/>
                <a:gd name="connsiteX265" fmla="*/ 475313 w 3785642"/>
                <a:gd name="connsiteY265" fmla="*/ 1024 h 479077"/>
                <a:gd name="connsiteX266" fmla="*/ 491684 w 3785642"/>
                <a:gd name="connsiteY266" fmla="*/ 2512 h 479077"/>
                <a:gd name="connsiteX267" fmla="*/ 508055 w 3785642"/>
                <a:gd name="connsiteY267" fmla="*/ 2512 h 479077"/>
                <a:gd name="connsiteX268" fmla="*/ 524425 w 3785642"/>
                <a:gd name="connsiteY268" fmla="*/ 2512 h 479077"/>
                <a:gd name="connsiteX269" fmla="*/ 540796 w 3785642"/>
                <a:gd name="connsiteY269" fmla="*/ 1024 h 479077"/>
                <a:gd name="connsiteX270" fmla="*/ 557166 w 3785642"/>
                <a:gd name="connsiteY270" fmla="*/ 2512 h 479077"/>
                <a:gd name="connsiteX271" fmla="*/ 573537 w 3785642"/>
                <a:gd name="connsiteY271" fmla="*/ 1024 h 479077"/>
                <a:gd name="connsiteX272" fmla="*/ 589908 w 3785642"/>
                <a:gd name="connsiteY272" fmla="*/ 527 h 479077"/>
                <a:gd name="connsiteX273" fmla="*/ 606278 w 3785642"/>
                <a:gd name="connsiteY273" fmla="*/ 1520 h 479077"/>
                <a:gd name="connsiteX274" fmla="*/ 622649 w 3785642"/>
                <a:gd name="connsiteY274" fmla="*/ 1520 h 479077"/>
                <a:gd name="connsiteX275" fmla="*/ 639019 w 3785642"/>
                <a:gd name="connsiteY275" fmla="*/ 2016 h 479077"/>
                <a:gd name="connsiteX276" fmla="*/ 655390 w 3785642"/>
                <a:gd name="connsiteY276" fmla="*/ 527 h 479077"/>
                <a:gd name="connsiteX277" fmla="*/ 671760 w 3785642"/>
                <a:gd name="connsiteY277" fmla="*/ 1520 h 479077"/>
                <a:gd name="connsiteX278" fmla="*/ 688131 w 3785642"/>
                <a:gd name="connsiteY278" fmla="*/ 2512 h 479077"/>
                <a:gd name="connsiteX279" fmla="*/ 704501 w 3785642"/>
                <a:gd name="connsiteY279" fmla="*/ 1024 h 479077"/>
                <a:gd name="connsiteX280" fmla="*/ 720872 w 3785642"/>
                <a:gd name="connsiteY280" fmla="*/ 1520 h 479077"/>
                <a:gd name="connsiteX281" fmla="*/ 737243 w 3785642"/>
                <a:gd name="connsiteY281" fmla="*/ 2016 h 479077"/>
                <a:gd name="connsiteX282" fmla="*/ 753613 w 3785642"/>
                <a:gd name="connsiteY282" fmla="*/ 1024 h 479077"/>
                <a:gd name="connsiteX283" fmla="*/ 769984 w 3785642"/>
                <a:gd name="connsiteY283" fmla="*/ 527 h 479077"/>
                <a:gd name="connsiteX284" fmla="*/ 786354 w 3785642"/>
                <a:gd name="connsiteY284" fmla="*/ 1520 h 479077"/>
                <a:gd name="connsiteX285" fmla="*/ 802725 w 3785642"/>
                <a:gd name="connsiteY285" fmla="*/ 527 h 479077"/>
                <a:gd name="connsiteX286" fmla="*/ 819096 w 3785642"/>
                <a:gd name="connsiteY286" fmla="*/ 2512 h 479077"/>
                <a:gd name="connsiteX287" fmla="*/ 835466 w 3785642"/>
                <a:gd name="connsiteY287" fmla="*/ 527 h 479077"/>
                <a:gd name="connsiteX288" fmla="*/ 851837 w 3785642"/>
                <a:gd name="connsiteY288" fmla="*/ 1520 h 479077"/>
                <a:gd name="connsiteX289" fmla="*/ 868207 w 3785642"/>
                <a:gd name="connsiteY289" fmla="*/ 2016 h 479077"/>
                <a:gd name="connsiteX290" fmla="*/ 884578 w 3785642"/>
                <a:gd name="connsiteY290" fmla="*/ 2512 h 479077"/>
                <a:gd name="connsiteX291" fmla="*/ 900948 w 3785642"/>
                <a:gd name="connsiteY291" fmla="*/ 1520 h 479077"/>
                <a:gd name="connsiteX292" fmla="*/ 917319 w 3785642"/>
                <a:gd name="connsiteY292" fmla="*/ 1024 h 479077"/>
                <a:gd name="connsiteX293" fmla="*/ 933689 w 3785642"/>
                <a:gd name="connsiteY293" fmla="*/ 2512 h 479077"/>
                <a:gd name="connsiteX294" fmla="*/ 950060 w 3785642"/>
                <a:gd name="connsiteY294" fmla="*/ 1520 h 479077"/>
                <a:gd name="connsiteX295" fmla="*/ 966431 w 3785642"/>
                <a:gd name="connsiteY295" fmla="*/ 2016 h 479077"/>
                <a:gd name="connsiteX296" fmla="*/ 982801 w 3785642"/>
                <a:gd name="connsiteY296" fmla="*/ 2512 h 479077"/>
                <a:gd name="connsiteX297" fmla="*/ 999172 w 3785642"/>
                <a:gd name="connsiteY297" fmla="*/ 1520 h 479077"/>
                <a:gd name="connsiteX298" fmla="*/ 1015542 w 3785642"/>
                <a:gd name="connsiteY298" fmla="*/ 2512 h 479077"/>
                <a:gd name="connsiteX299" fmla="*/ 1031913 w 3785642"/>
                <a:gd name="connsiteY299" fmla="*/ 1520 h 479077"/>
                <a:gd name="connsiteX300" fmla="*/ 1048283 w 3785642"/>
                <a:gd name="connsiteY300" fmla="*/ 2016 h 479077"/>
                <a:gd name="connsiteX301" fmla="*/ 1064654 w 3785642"/>
                <a:gd name="connsiteY301" fmla="*/ 3504 h 479077"/>
                <a:gd name="connsiteX302" fmla="*/ 1081025 w 3785642"/>
                <a:gd name="connsiteY302" fmla="*/ 2016 h 479077"/>
                <a:gd name="connsiteX303" fmla="*/ 1097395 w 3785642"/>
                <a:gd name="connsiteY303" fmla="*/ 2512 h 479077"/>
                <a:gd name="connsiteX304" fmla="*/ 1113766 w 3785642"/>
                <a:gd name="connsiteY304" fmla="*/ 2512 h 479077"/>
                <a:gd name="connsiteX305" fmla="*/ 1130136 w 3785642"/>
                <a:gd name="connsiteY305" fmla="*/ 3504 h 479077"/>
                <a:gd name="connsiteX306" fmla="*/ 1146507 w 3785642"/>
                <a:gd name="connsiteY306" fmla="*/ 1520 h 479077"/>
                <a:gd name="connsiteX307" fmla="*/ 1162878 w 3785642"/>
                <a:gd name="connsiteY307" fmla="*/ 3008 h 479077"/>
                <a:gd name="connsiteX308" fmla="*/ 1179248 w 3785642"/>
                <a:gd name="connsiteY308" fmla="*/ 4000 h 479077"/>
                <a:gd name="connsiteX309" fmla="*/ 1195619 w 3785642"/>
                <a:gd name="connsiteY309" fmla="*/ 3504 h 479077"/>
                <a:gd name="connsiteX310" fmla="*/ 1211989 w 3785642"/>
                <a:gd name="connsiteY310" fmla="*/ 1520 h 479077"/>
                <a:gd name="connsiteX311" fmla="*/ 1228360 w 3785642"/>
                <a:gd name="connsiteY311" fmla="*/ 3504 h 479077"/>
                <a:gd name="connsiteX312" fmla="*/ 1244730 w 3785642"/>
                <a:gd name="connsiteY312" fmla="*/ 1520 h 479077"/>
                <a:gd name="connsiteX313" fmla="*/ 1261101 w 3785642"/>
                <a:gd name="connsiteY313" fmla="*/ 2512 h 479077"/>
                <a:gd name="connsiteX314" fmla="*/ 1277471 w 3785642"/>
                <a:gd name="connsiteY314" fmla="*/ 3504 h 479077"/>
                <a:gd name="connsiteX315" fmla="*/ 1293842 w 3785642"/>
                <a:gd name="connsiteY315" fmla="*/ 4000 h 479077"/>
                <a:gd name="connsiteX316" fmla="*/ 1310213 w 3785642"/>
                <a:gd name="connsiteY316" fmla="*/ 1520 h 479077"/>
                <a:gd name="connsiteX317" fmla="*/ 1326583 w 3785642"/>
                <a:gd name="connsiteY317" fmla="*/ 2016 h 479077"/>
                <a:gd name="connsiteX318" fmla="*/ 1342954 w 3785642"/>
                <a:gd name="connsiteY318" fmla="*/ 3008 h 479077"/>
                <a:gd name="connsiteX319" fmla="*/ 1359324 w 3785642"/>
                <a:gd name="connsiteY319" fmla="*/ 3008 h 479077"/>
                <a:gd name="connsiteX320" fmla="*/ 1375695 w 3785642"/>
                <a:gd name="connsiteY320" fmla="*/ 2512 h 479077"/>
                <a:gd name="connsiteX321" fmla="*/ 1392066 w 3785642"/>
                <a:gd name="connsiteY321" fmla="*/ 2512 h 479077"/>
                <a:gd name="connsiteX322" fmla="*/ 1408436 w 3785642"/>
                <a:gd name="connsiteY322" fmla="*/ 3504 h 479077"/>
                <a:gd name="connsiteX323" fmla="*/ 1424807 w 3785642"/>
                <a:gd name="connsiteY323" fmla="*/ 3504 h 479077"/>
                <a:gd name="connsiteX324" fmla="*/ 1441177 w 3785642"/>
                <a:gd name="connsiteY324" fmla="*/ 1520 h 479077"/>
                <a:gd name="connsiteX325" fmla="*/ 1457548 w 3785642"/>
                <a:gd name="connsiteY325" fmla="*/ 2512 h 479077"/>
                <a:gd name="connsiteX326" fmla="*/ 1473919 w 3785642"/>
                <a:gd name="connsiteY326" fmla="*/ 2016 h 479077"/>
                <a:gd name="connsiteX327" fmla="*/ 1490289 w 3785642"/>
                <a:gd name="connsiteY327" fmla="*/ 2016 h 479077"/>
                <a:gd name="connsiteX328" fmla="*/ 1506660 w 3785642"/>
                <a:gd name="connsiteY328" fmla="*/ 1520 h 479077"/>
                <a:gd name="connsiteX329" fmla="*/ 1523030 w 3785642"/>
                <a:gd name="connsiteY329" fmla="*/ 3504 h 479077"/>
                <a:gd name="connsiteX330" fmla="*/ 1539401 w 3785642"/>
                <a:gd name="connsiteY330" fmla="*/ 3008 h 479077"/>
                <a:gd name="connsiteX331" fmla="*/ 1555771 w 3785642"/>
                <a:gd name="connsiteY331" fmla="*/ 3008 h 479077"/>
                <a:gd name="connsiteX332" fmla="*/ 1572142 w 3785642"/>
                <a:gd name="connsiteY332" fmla="*/ 2512 h 479077"/>
                <a:gd name="connsiteX333" fmla="*/ 1588512 w 3785642"/>
                <a:gd name="connsiteY333" fmla="*/ 2016 h 479077"/>
                <a:gd name="connsiteX334" fmla="*/ 1604883 w 3785642"/>
                <a:gd name="connsiteY334" fmla="*/ 3008 h 479077"/>
                <a:gd name="connsiteX335" fmla="*/ 1621253 w 3785642"/>
                <a:gd name="connsiteY335" fmla="*/ 3008 h 479077"/>
                <a:gd name="connsiteX336" fmla="*/ 1637624 w 3785642"/>
                <a:gd name="connsiteY33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313375 w 3785642"/>
                <a:gd name="connsiteY9" fmla="*/ 10945 h 479077"/>
                <a:gd name="connsiteX10" fmla="*/ 3300973 w 3785642"/>
                <a:gd name="connsiteY10" fmla="*/ 21363 h 479077"/>
                <a:gd name="connsiteX11" fmla="*/ 3289068 w 3785642"/>
                <a:gd name="connsiteY11" fmla="*/ 32276 h 479077"/>
                <a:gd name="connsiteX12" fmla="*/ 3277658 w 3785642"/>
                <a:gd name="connsiteY12" fmla="*/ 43686 h 479077"/>
                <a:gd name="connsiteX13" fmla="*/ 3266248 w 3785642"/>
                <a:gd name="connsiteY13" fmla="*/ 55592 h 479077"/>
                <a:gd name="connsiteX14" fmla="*/ 3255830 w 3785642"/>
                <a:gd name="connsiteY14" fmla="*/ 68490 h 479077"/>
                <a:gd name="connsiteX15" fmla="*/ 3243924 w 3785642"/>
                <a:gd name="connsiteY15" fmla="*/ 79900 h 479077"/>
                <a:gd name="connsiteX16" fmla="*/ 3231522 w 3785642"/>
                <a:gd name="connsiteY16" fmla="*/ 90814 h 479077"/>
                <a:gd name="connsiteX17" fmla="*/ 3220609 w 3785642"/>
                <a:gd name="connsiteY17" fmla="*/ 102720 h 479077"/>
                <a:gd name="connsiteX18" fmla="*/ 3208207 w 3785642"/>
                <a:gd name="connsiteY18" fmla="*/ 113137 h 479077"/>
                <a:gd name="connsiteX19" fmla="*/ 3197293 w 3785642"/>
                <a:gd name="connsiteY19" fmla="*/ 125043 h 479077"/>
                <a:gd name="connsiteX20" fmla="*/ 3185387 w 3785642"/>
                <a:gd name="connsiteY20" fmla="*/ 136453 h 479077"/>
                <a:gd name="connsiteX21" fmla="*/ 3174970 w 3785642"/>
                <a:gd name="connsiteY21" fmla="*/ 148855 h 479077"/>
                <a:gd name="connsiteX22" fmla="*/ 3162071 w 3785642"/>
                <a:gd name="connsiteY22" fmla="*/ 159272 h 479077"/>
                <a:gd name="connsiteX23" fmla="*/ 3151158 w 3785642"/>
                <a:gd name="connsiteY23" fmla="*/ 171674 h 479077"/>
                <a:gd name="connsiteX24" fmla="*/ 3139252 w 3785642"/>
                <a:gd name="connsiteY24" fmla="*/ 182588 h 479077"/>
                <a:gd name="connsiteX25" fmla="*/ 3127843 w 3785642"/>
                <a:gd name="connsiteY25" fmla="*/ 194494 h 479077"/>
                <a:gd name="connsiteX26" fmla="*/ 3116432 w 3785642"/>
                <a:gd name="connsiteY26" fmla="*/ 205904 h 479077"/>
                <a:gd name="connsiteX27" fmla="*/ 3105022 w 3785642"/>
                <a:gd name="connsiteY27" fmla="*/ 217810 h 479077"/>
                <a:gd name="connsiteX28" fmla="*/ 3093117 w 3785642"/>
                <a:gd name="connsiteY28" fmla="*/ 229219 h 479077"/>
                <a:gd name="connsiteX29" fmla="*/ 3081707 w 3785642"/>
                <a:gd name="connsiteY29" fmla="*/ 240629 h 479077"/>
                <a:gd name="connsiteX30" fmla="*/ 3069305 w 3785642"/>
                <a:gd name="connsiteY30" fmla="*/ 251543 h 479077"/>
                <a:gd name="connsiteX31" fmla="*/ 3057895 w 3785642"/>
                <a:gd name="connsiteY31" fmla="*/ 263449 h 479077"/>
                <a:gd name="connsiteX32" fmla="*/ 3046486 w 3785642"/>
                <a:gd name="connsiteY32" fmla="*/ 275355 h 479077"/>
                <a:gd name="connsiteX33" fmla="*/ 3035572 w 3785642"/>
                <a:gd name="connsiteY33" fmla="*/ 287260 h 479077"/>
                <a:gd name="connsiteX34" fmla="*/ 3024658 w 3785642"/>
                <a:gd name="connsiteY34" fmla="*/ 299166 h 479077"/>
                <a:gd name="connsiteX35" fmla="*/ 3013248 w 3785642"/>
                <a:gd name="connsiteY35" fmla="*/ 311072 h 479077"/>
                <a:gd name="connsiteX36" fmla="*/ 3000350 w 3785642"/>
                <a:gd name="connsiteY36" fmla="*/ 321490 h 479077"/>
                <a:gd name="connsiteX37" fmla="*/ 2988941 w 3785642"/>
                <a:gd name="connsiteY37" fmla="*/ 333396 h 479077"/>
                <a:gd name="connsiteX38" fmla="*/ 2976539 w 3785642"/>
                <a:gd name="connsiteY38" fmla="*/ 344309 h 479077"/>
                <a:gd name="connsiteX39" fmla="*/ 2965129 w 3785642"/>
                <a:gd name="connsiteY39" fmla="*/ 356215 h 479077"/>
                <a:gd name="connsiteX40" fmla="*/ 2953223 w 3785642"/>
                <a:gd name="connsiteY40" fmla="*/ 367625 h 479077"/>
                <a:gd name="connsiteX41" fmla="*/ 2941813 w 3785642"/>
                <a:gd name="connsiteY41" fmla="*/ 379531 h 479077"/>
                <a:gd name="connsiteX42" fmla="*/ 2931395 w 3785642"/>
                <a:gd name="connsiteY42" fmla="*/ 392429 h 479077"/>
                <a:gd name="connsiteX43" fmla="*/ 2918497 w 3785642"/>
                <a:gd name="connsiteY43" fmla="*/ 402847 h 479077"/>
                <a:gd name="connsiteX44" fmla="*/ 2907584 w 3785642"/>
                <a:gd name="connsiteY44" fmla="*/ 415249 h 479077"/>
                <a:gd name="connsiteX45" fmla="*/ 2896174 w 3785642"/>
                <a:gd name="connsiteY45" fmla="*/ 426658 h 479077"/>
                <a:gd name="connsiteX46" fmla="*/ 2884268 w 3785642"/>
                <a:gd name="connsiteY46" fmla="*/ 438068 h 479077"/>
                <a:gd name="connsiteX47" fmla="*/ 2873354 w 3785642"/>
                <a:gd name="connsiteY47" fmla="*/ 450470 h 479077"/>
                <a:gd name="connsiteX48" fmla="*/ 2860952 w 3785642"/>
                <a:gd name="connsiteY48" fmla="*/ 461384 h 479077"/>
                <a:gd name="connsiteX49" fmla="*/ 2850039 w 3785642"/>
                <a:gd name="connsiteY49" fmla="*/ 473786 h 479077"/>
                <a:gd name="connsiteX50" fmla="*/ 2833668 w 3785642"/>
                <a:gd name="connsiteY50" fmla="*/ 473786 h 479077"/>
                <a:gd name="connsiteX51" fmla="*/ 2817297 w 3785642"/>
                <a:gd name="connsiteY51" fmla="*/ 473290 h 479077"/>
                <a:gd name="connsiteX52" fmla="*/ 2800927 w 3785642"/>
                <a:gd name="connsiteY52" fmla="*/ 473290 h 479077"/>
                <a:gd name="connsiteX53" fmla="*/ 2784556 w 3785642"/>
                <a:gd name="connsiteY53" fmla="*/ 473786 h 479077"/>
                <a:gd name="connsiteX54" fmla="*/ 2768186 w 3785642"/>
                <a:gd name="connsiteY54" fmla="*/ 474282 h 479077"/>
                <a:gd name="connsiteX55" fmla="*/ 2751815 w 3785642"/>
                <a:gd name="connsiteY55" fmla="*/ 474282 h 479077"/>
                <a:gd name="connsiteX56" fmla="*/ 2735444 w 3785642"/>
                <a:gd name="connsiteY56" fmla="*/ 473290 h 479077"/>
                <a:gd name="connsiteX57" fmla="*/ 2719074 w 3785642"/>
                <a:gd name="connsiteY57" fmla="*/ 474282 h 479077"/>
                <a:gd name="connsiteX58" fmla="*/ 2702703 w 3785642"/>
                <a:gd name="connsiteY58" fmla="*/ 472298 h 479077"/>
                <a:gd name="connsiteX59" fmla="*/ 2686333 w 3785642"/>
                <a:gd name="connsiteY59" fmla="*/ 472794 h 479077"/>
                <a:gd name="connsiteX60" fmla="*/ 2669962 w 3785642"/>
                <a:gd name="connsiteY60" fmla="*/ 474282 h 479077"/>
                <a:gd name="connsiteX61" fmla="*/ 2653592 w 3785642"/>
                <a:gd name="connsiteY61" fmla="*/ 472298 h 479077"/>
                <a:gd name="connsiteX62" fmla="*/ 2637221 w 3785642"/>
                <a:gd name="connsiteY62" fmla="*/ 474282 h 479077"/>
                <a:gd name="connsiteX63" fmla="*/ 2620851 w 3785642"/>
                <a:gd name="connsiteY63" fmla="*/ 474282 h 479077"/>
                <a:gd name="connsiteX64" fmla="*/ 2604480 w 3785642"/>
                <a:gd name="connsiteY64" fmla="*/ 472298 h 479077"/>
                <a:gd name="connsiteX65" fmla="*/ 2588109 w 3785642"/>
                <a:gd name="connsiteY65" fmla="*/ 473786 h 479077"/>
                <a:gd name="connsiteX66" fmla="*/ 2571739 w 3785642"/>
                <a:gd name="connsiteY66" fmla="*/ 472298 h 479077"/>
                <a:gd name="connsiteX67" fmla="*/ 2555368 w 3785642"/>
                <a:gd name="connsiteY67" fmla="*/ 473290 h 479077"/>
                <a:gd name="connsiteX68" fmla="*/ 2538998 w 3785642"/>
                <a:gd name="connsiteY68" fmla="*/ 474282 h 479077"/>
                <a:gd name="connsiteX69" fmla="*/ 2522627 w 3785642"/>
                <a:gd name="connsiteY69" fmla="*/ 473290 h 479077"/>
                <a:gd name="connsiteX70" fmla="*/ 2506257 w 3785642"/>
                <a:gd name="connsiteY70" fmla="*/ 474282 h 479077"/>
                <a:gd name="connsiteX71" fmla="*/ 2489886 w 3785642"/>
                <a:gd name="connsiteY71" fmla="*/ 473786 h 479077"/>
                <a:gd name="connsiteX72" fmla="*/ 2473516 w 3785642"/>
                <a:gd name="connsiteY72" fmla="*/ 474282 h 479077"/>
                <a:gd name="connsiteX73" fmla="*/ 2457145 w 3785642"/>
                <a:gd name="connsiteY73" fmla="*/ 472794 h 479077"/>
                <a:gd name="connsiteX74" fmla="*/ 2440775 w 3785642"/>
                <a:gd name="connsiteY74" fmla="*/ 472298 h 479077"/>
                <a:gd name="connsiteX75" fmla="*/ 2424404 w 3785642"/>
                <a:gd name="connsiteY75" fmla="*/ 473786 h 479077"/>
                <a:gd name="connsiteX76" fmla="*/ 2408033 w 3785642"/>
                <a:gd name="connsiteY76" fmla="*/ 472794 h 479077"/>
                <a:gd name="connsiteX77" fmla="*/ 2391663 w 3785642"/>
                <a:gd name="connsiteY77" fmla="*/ 473290 h 479077"/>
                <a:gd name="connsiteX78" fmla="*/ 2375292 w 3785642"/>
                <a:gd name="connsiteY78" fmla="*/ 473290 h 479077"/>
                <a:gd name="connsiteX79" fmla="*/ 2358922 w 3785642"/>
                <a:gd name="connsiteY79" fmla="*/ 472794 h 479077"/>
                <a:gd name="connsiteX80" fmla="*/ 2342551 w 3785642"/>
                <a:gd name="connsiteY80" fmla="*/ 472298 h 479077"/>
                <a:gd name="connsiteX81" fmla="*/ 2326180 w 3785642"/>
                <a:gd name="connsiteY81" fmla="*/ 473786 h 479077"/>
                <a:gd name="connsiteX82" fmla="*/ 2309810 w 3785642"/>
                <a:gd name="connsiteY82" fmla="*/ 473786 h 479077"/>
                <a:gd name="connsiteX83" fmla="*/ 2293439 w 3785642"/>
                <a:gd name="connsiteY83" fmla="*/ 473786 h 479077"/>
                <a:gd name="connsiteX84" fmla="*/ 2277069 w 3785642"/>
                <a:gd name="connsiteY84" fmla="*/ 472794 h 479077"/>
                <a:gd name="connsiteX85" fmla="*/ 2260698 w 3785642"/>
                <a:gd name="connsiteY85" fmla="*/ 474282 h 479077"/>
                <a:gd name="connsiteX86" fmla="*/ 2244327 w 3785642"/>
                <a:gd name="connsiteY86" fmla="*/ 472298 h 479077"/>
                <a:gd name="connsiteX87" fmla="*/ 2227957 w 3785642"/>
                <a:gd name="connsiteY87" fmla="*/ 474282 h 479077"/>
                <a:gd name="connsiteX88" fmla="*/ 2211586 w 3785642"/>
                <a:gd name="connsiteY88" fmla="*/ 473290 h 479077"/>
                <a:gd name="connsiteX89" fmla="*/ 2195216 w 3785642"/>
                <a:gd name="connsiteY89" fmla="*/ 474282 h 479077"/>
                <a:gd name="connsiteX90" fmla="*/ 2178845 w 3785642"/>
                <a:gd name="connsiteY90" fmla="*/ 472794 h 479077"/>
                <a:gd name="connsiteX91" fmla="*/ 2162474 w 3785642"/>
                <a:gd name="connsiteY91" fmla="*/ 474778 h 479077"/>
                <a:gd name="connsiteX92" fmla="*/ 2146104 w 3785642"/>
                <a:gd name="connsiteY92" fmla="*/ 473290 h 479077"/>
                <a:gd name="connsiteX93" fmla="*/ 2129733 w 3785642"/>
                <a:gd name="connsiteY93" fmla="*/ 474778 h 479077"/>
                <a:gd name="connsiteX94" fmla="*/ 2113363 w 3785642"/>
                <a:gd name="connsiteY94" fmla="*/ 474778 h 479077"/>
                <a:gd name="connsiteX95" fmla="*/ 2096992 w 3785642"/>
                <a:gd name="connsiteY95" fmla="*/ 474778 h 479077"/>
                <a:gd name="connsiteX96" fmla="*/ 2080621 w 3785642"/>
                <a:gd name="connsiteY96" fmla="*/ 474282 h 479077"/>
                <a:gd name="connsiteX97" fmla="*/ 2064251 w 3785642"/>
                <a:gd name="connsiteY97" fmla="*/ 472794 h 479077"/>
                <a:gd name="connsiteX98" fmla="*/ 2047880 w 3785642"/>
                <a:gd name="connsiteY98" fmla="*/ 474778 h 479077"/>
                <a:gd name="connsiteX99" fmla="*/ 2031510 w 3785642"/>
                <a:gd name="connsiteY99" fmla="*/ 474778 h 479077"/>
                <a:gd name="connsiteX100" fmla="*/ 2015139 w 3785642"/>
                <a:gd name="connsiteY100" fmla="*/ 474778 h 479077"/>
                <a:gd name="connsiteX101" fmla="*/ 1998769 w 3785642"/>
                <a:gd name="connsiteY101" fmla="*/ 474282 h 479077"/>
                <a:gd name="connsiteX102" fmla="*/ 1982398 w 3785642"/>
                <a:gd name="connsiteY102" fmla="*/ 473786 h 479077"/>
                <a:gd name="connsiteX103" fmla="*/ 1966028 w 3785642"/>
                <a:gd name="connsiteY103" fmla="*/ 473786 h 479077"/>
                <a:gd name="connsiteX104" fmla="*/ 1949657 w 3785642"/>
                <a:gd name="connsiteY104" fmla="*/ 472794 h 479077"/>
                <a:gd name="connsiteX105" fmla="*/ 1933287 w 3785642"/>
                <a:gd name="connsiteY105" fmla="*/ 473290 h 479077"/>
                <a:gd name="connsiteX106" fmla="*/ 1916916 w 3785642"/>
                <a:gd name="connsiteY106" fmla="*/ 474778 h 479077"/>
                <a:gd name="connsiteX107" fmla="*/ 1900546 w 3785642"/>
                <a:gd name="connsiteY107" fmla="*/ 472794 h 479077"/>
                <a:gd name="connsiteX108" fmla="*/ 1884175 w 3785642"/>
                <a:gd name="connsiteY108" fmla="*/ 473786 h 479077"/>
                <a:gd name="connsiteX109" fmla="*/ 1867804 w 3785642"/>
                <a:gd name="connsiteY109" fmla="*/ 474778 h 479077"/>
                <a:gd name="connsiteX110" fmla="*/ 1851434 w 3785642"/>
                <a:gd name="connsiteY110" fmla="*/ 474778 h 479077"/>
                <a:gd name="connsiteX111" fmla="*/ 1835063 w 3785642"/>
                <a:gd name="connsiteY111" fmla="*/ 474778 h 479077"/>
                <a:gd name="connsiteX112" fmla="*/ 1818693 w 3785642"/>
                <a:gd name="connsiteY112" fmla="*/ 474282 h 479077"/>
                <a:gd name="connsiteX113" fmla="*/ 1802322 w 3785642"/>
                <a:gd name="connsiteY113" fmla="*/ 472794 h 479077"/>
                <a:gd name="connsiteX114" fmla="*/ 1785951 w 3785642"/>
                <a:gd name="connsiteY114" fmla="*/ 473786 h 479077"/>
                <a:gd name="connsiteX115" fmla="*/ 1769581 w 3785642"/>
                <a:gd name="connsiteY115" fmla="*/ 473290 h 479077"/>
                <a:gd name="connsiteX116" fmla="*/ 1753210 w 3785642"/>
                <a:gd name="connsiteY116" fmla="*/ 472298 h 479077"/>
                <a:gd name="connsiteX117" fmla="*/ 1736840 w 3785642"/>
                <a:gd name="connsiteY117" fmla="*/ 473290 h 479077"/>
                <a:gd name="connsiteX118" fmla="*/ 1720469 w 3785642"/>
                <a:gd name="connsiteY118" fmla="*/ 474778 h 479077"/>
                <a:gd name="connsiteX119" fmla="*/ 1704098 w 3785642"/>
                <a:gd name="connsiteY119" fmla="*/ 472794 h 479077"/>
                <a:gd name="connsiteX120" fmla="*/ 1687728 w 3785642"/>
                <a:gd name="connsiteY120" fmla="*/ 474778 h 479077"/>
                <a:gd name="connsiteX121" fmla="*/ 1671357 w 3785642"/>
                <a:gd name="connsiteY121" fmla="*/ 474778 h 479077"/>
                <a:gd name="connsiteX122" fmla="*/ 1654987 w 3785642"/>
                <a:gd name="connsiteY122" fmla="*/ 472298 h 479077"/>
                <a:gd name="connsiteX123" fmla="*/ 1638616 w 3785642"/>
                <a:gd name="connsiteY123" fmla="*/ 472794 h 479077"/>
                <a:gd name="connsiteX124" fmla="*/ 1622246 w 3785642"/>
                <a:gd name="connsiteY124" fmla="*/ 473786 h 479077"/>
                <a:gd name="connsiteX125" fmla="*/ 1605875 w 3785642"/>
                <a:gd name="connsiteY125" fmla="*/ 474778 h 479077"/>
                <a:gd name="connsiteX126" fmla="*/ 1589505 w 3785642"/>
                <a:gd name="connsiteY126" fmla="*/ 473290 h 479077"/>
                <a:gd name="connsiteX127" fmla="*/ 1573134 w 3785642"/>
                <a:gd name="connsiteY127" fmla="*/ 474778 h 479077"/>
                <a:gd name="connsiteX128" fmla="*/ 1556763 w 3785642"/>
                <a:gd name="connsiteY128" fmla="*/ 472794 h 479077"/>
                <a:gd name="connsiteX129" fmla="*/ 1540393 w 3785642"/>
                <a:gd name="connsiteY129" fmla="*/ 472794 h 479077"/>
                <a:gd name="connsiteX130" fmla="*/ 1524022 w 3785642"/>
                <a:gd name="connsiteY130" fmla="*/ 474282 h 479077"/>
                <a:gd name="connsiteX131" fmla="*/ 1507652 w 3785642"/>
                <a:gd name="connsiteY131" fmla="*/ 472794 h 479077"/>
                <a:gd name="connsiteX132" fmla="*/ 1491281 w 3785642"/>
                <a:gd name="connsiteY132" fmla="*/ 474282 h 479077"/>
                <a:gd name="connsiteX133" fmla="*/ 1474910 w 3785642"/>
                <a:gd name="connsiteY133" fmla="*/ 474282 h 479077"/>
                <a:gd name="connsiteX134" fmla="*/ 1458540 w 3785642"/>
                <a:gd name="connsiteY134" fmla="*/ 472794 h 479077"/>
                <a:gd name="connsiteX135" fmla="*/ 1442169 w 3785642"/>
                <a:gd name="connsiteY135" fmla="*/ 471802 h 479077"/>
                <a:gd name="connsiteX136" fmla="*/ 1425799 w 3785642"/>
                <a:gd name="connsiteY136" fmla="*/ 472298 h 479077"/>
                <a:gd name="connsiteX137" fmla="*/ 1409428 w 3785642"/>
                <a:gd name="connsiteY137" fmla="*/ 472794 h 479077"/>
                <a:gd name="connsiteX138" fmla="*/ 1393058 w 3785642"/>
                <a:gd name="connsiteY138" fmla="*/ 473786 h 479077"/>
                <a:gd name="connsiteX139" fmla="*/ 1376687 w 3785642"/>
                <a:gd name="connsiteY139" fmla="*/ 471802 h 479077"/>
                <a:gd name="connsiteX140" fmla="*/ 1360317 w 3785642"/>
                <a:gd name="connsiteY140" fmla="*/ 473786 h 479077"/>
                <a:gd name="connsiteX141" fmla="*/ 1343946 w 3785642"/>
                <a:gd name="connsiteY141" fmla="*/ 473786 h 479077"/>
                <a:gd name="connsiteX142" fmla="*/ 1327576 w 3785642"/>
                <a:gd name="connsiteY142" fmla="*/ 472794 h 479077"/>
                <a:gd name="connsiteX143" fmla="*/ 1311205 w 3785642"/>
                <a:gd name="connsiteY143" fmla="*/ 473786 h 479077"/>
                <a:gd name="connsiteX144" fmla="*/ 1294834 w 3785642"/>
                <a:gd name="connsiteY144" fmla="*/ 473786 h 479077"/>
                <a:gd name="connsiteX145" fmla="*/ 1278464 w 3785642"/>
                <a:gd name="connsiteY145" fmla="*/ 473786 h 479077"/>
                <a:gd name="connsiteX146" fmla="*/ 1262093 w 3785642"/>
                <a:gd name="connsiteY146" fmla="*/ 473786 h 479077"/>
                <a:gd name="connsiteX147" fmla="*/ 1245723 w 3785642"/>
                <a:gd name="connsiteY147" fmla="*/ 473290 h 479077"/>
                <a:gd name="connsiteX148" fmla="*/ 1229352 w 3785642"/>
                <a:gd name="connsiteY148" fmla="*/ 472794 h 479077"/>
                <a:gd name="connsiteX149" fmla="*/ 1212981 w 3785642"/>
                <a:gd name="connsiteY149" fmla="*/ 473786 h 479077"/>
                <a:gd name="connsiteX150" fmla="*/ 1196611 w 3785642"/>
                <a:gd name="connsiteY150" fmla="*/ 472298 h 479077"/>
                <a:gd name="connsiteX151" fmla="*/ 1180240 w 3785642"/>
                <a:gd name="connsiteY151" fmla="*/ 472794 h 479077"/>
                <a:gd name="connsiteX152" fmla="*/ 1163870 w 3785642"/>
                <a:gd name="connsiteY152" fmla="*/ 472794 h 479077"/>
                <a:gd name="connsiteX153" fmla="*/ 1147499 w 3785642"/>
                <a:gd name="connsiteY153" fmla="*/ 473786 h 479077"/>
                <a:gd name="connsiteX154" fmla="*/ 1131128 w 3785642"/>
                <a:gd name="connsiteY154" fmla="*/ 473786 h 479077"/>
                <a:gd name="connsiteX155" fmla="*/ 1114758 w 3785642"/>
                <a:gd name="connsiteY155" fmla="*/ 472794 h 479077"/>
                <a:gd name="connsiteX156" fmla="*/ 1098387 w 3785642"/>
                <a:gd name="connsiteY156" fmla="*/ 473786 h 479077"/>
                <a:gd name="connsiteX157" fmla="*/ 1082017 w 3785642"/>
                <a:gd name="connsiteY157" fmla="*/ 474778 h 479077"/>
                <a:gd name="connsiteX158" fmla="*/ 1065646 w 3785642"/>
                <a:gd name="connsiteY158" fmla="*/ 474778 h 479077"/>
                <a:gd name="connsiteX159" fmla="*/ 1049276 w 3785642"/>
                <a:gd name="connsiteY159" fmla="*/ 474282 h 479077"/>
                <a:gd name="connsiteX160" fmla="*/ 1032905 w 3785642"/>
                <a:gd name="connsiteY160" fmla="*/ 473290 h 479077"/>
                <a:gd name="connsiteX161" fmla="*/ 1016535 w 3785642"/>
                <a:gd name="connsiteY161" fmla="*/ 474282 h 479077"/>
                <a:gd name="connsiteX162" fmla="*/ 1000164 w 3785642"/>
                <a:gd name="connsiteY162" fmla="*/ 474282 h 479077"/>
                <a:gd name="connsiteX163" fmla="*/ 983793 w 3785642"/>
                <a:gd name="connsiteY163" fmla="*/ 472794 h 479077"/>
                <a:gd name="connsiteX164" fmla="*/ 967423 w 3785642"/>
                <a:gd name="connsiteY164" fmla="*/ 472794 h 479077"/>
                <a:gd name="connsiteX165" fmla="*/ 951052 w 3785642"/>
                <a:gd name="connsiteY165" fmla="*/ 473786 h 479077"/>
                <a:gd name="connsiteX166" fmla="*/ 934682 w 3785642"/>
                <a:gd name="connsiteY166" fmla="*/ 474282 h 479077"/>
                <a:gd name="connsiteX167" fmla="*/ 918311 w 3785642"/>
                <a:gd name="connsiteY167" fmla="*/ 474778 h 479077"/>
                <a:gd name="connsiteX168" fmla="*/ 901940 w 3785642"/>
                <a:gd name="connsiteY168" fmla="*/ 473290 h 479077"/>
                <a:gd name="connsiteX169" fmla="*/ 885570 w 3785642"/>
                <a:gd name="connsiteY169" fmla="*/ 474778 h 479077"/>
                <a:gd name="connsiteX170" fmla="*/ 869199 w 3785642"/>
                <a:gd name="connsiteY170" fmla="*/ 474282 h 479077"/>
                <a:gd name="connsiteX171" fmla="*/ 852829 w 3785642"/>
                <a:gd name="connsiteY171" fmla="*/ 473786 h 479077"/>
                <a:gd name="connsiteX172" fmla="*/ 836458 w 3785642"/>
                <a:gd name="connsiteY172" fmla="*/ 474778 h 479077"/>
                <a:gd name="connsiteX173" fmla="*/ 820088 w 3785642"/>
                <a:gd name="connsiteY173" fmla="*/ 475274 h 479077"/>
                <a:gd name="connsiteX174" fmla="*/ 803717 w 3785642"/>
                <a:gd name="connsiteY174" fmla="*/ 473786 h 479077"/>
                <a:gd name="connsiteX175" fmla="*/ 787347 w 3785642"/>
                <a:gd name="connsiteY175" fmla="*/ 475770 h 479077"/>
                <a:gd name="connsiteX176" fmla="*/ 770976 w 3785642"/>
                <a:gd name="connsiteY176" fmla="*/ 474778 h 479077"/>
                <a:gd name="connsiteX177" fmla="*/ 754605 w 3785642"/>
                <a:gd name="connsiteY177" fmla="*/ 475274 h 479077"/>
                <a:gd name="connsiteX178" fmla="*/ 738235 w 3785642"/>
                <a:gd name="connsiteY178" fmla="*/ 473786 h 479077"/>
                <a:gd name="connsiteX179" fmla="*/ 721864 w 3785642"/>
                <a:gd name="connsiteY179" fmla="*/ 475274 h 479077"/>
                <a:gd name="connsiteX180" fmla="*/ 705494 w 3785642"/>
                <a:gd name="connsiteY180" fmla="*/ 475770 h 479077"/>
                <a:gd name="connsiteX181" fmla="*/ 689123 w 3785642"/>
                <a:gd name="connsiteY181" fmla="*/ 474282 h 479077"/>
                <a:gd name="connsiteX182" fmla="*/ 672753 w 3785642"/>
                <a:gd name="connsiteY182" fmla="*/ 475274 h 479077"/>
                <a:gd name="connsiteX183" fmla="*/ 656382 w 3785642"/>
                <a:gd name="connsiteY183" fmla="*/ 474778 h 479077"/>
                <a:gd name="connsiteX184" fmla="*/ 640011 w 3785642"/>
                <a:gd name="connsiteY184" fmla="*/ 475770 h 479077"/>
                <a:gd name="connsiteX185" fmla="*/ 623641 w 3785642"/>
                <a:gd name="connsiteY185" fmla="*/ 473786 h 479077"/>
                <a:gd name="connsiteX186" fmla="*/ 607270 w 3785642"/>
                <a:gd name="connsiteY186" fmla="*/ 474778 h 479077"/>
                <a:gd name="connsiteX187" fmla="*/ 590900 w 3785642"/>
                <a:gd name="connsiteY187" fmla="*/ 475274 h 479077"/>
                <a:gd name="connsiteX188" fmla="*/ 574529 w 3785642"/>
                <a:gd name="connsiteY188" fmla="*/ 474282 h 479077"/>
                <a:gd name="connsiteX189" fmla="*/ 558158 w 3785642"/>
                <a:gd name="connsiteY189" fmla="*/ 475274 h 479077"/>
                <a:gd name="connsiteX190" fmla="*/ 541788 w 3785642"/>
                <a:gd name="connsiteY190" fmla="*/ 475770 h 479077"/>
                <a:gd name="connsiteX191" fmla="*/ 525417 w 3785642"/>
                <a:gd name="connsiteY191" fmla="*/ 474282 h 479077"/>
                <a:gd name="connsiteX192" fmla="*/ 509047 w 3785642"/>
                <a:gd name="connsiteY192" fmla="*/ 473786 h 479077"/>
                <a:gd name="connsiteX193" fmla="*/ 492676 w 3785642"/>
                <a:gd name="connsiteY193" fmla="*/ 473786 h 479077"/>
                <a:gd name="connsiteX194" fmla="*/ 476306 w 3785642"/>
                <a:gd name="connsiteY194" fmla="*/ 474778 h 479077"/>
                <a:gd name="connsiteX195" fmla="*/ 459935 w 3785642"/>
                <a:gd name="connsiteY195" fmla="*/ 473786 h 479077"/>
                <a:gd name="connsiteX196" fmla="*/ 443565 w 3785642"/>
                <a:gd name="connsiteY196" fmla="*/ 474778 h 479077"/>
                <a:gd name="connsiteX197" fmla="*/ 427194 w 3785642"/>
                <a:gd name="connsiteY197" fmla="*/ 474282 h 479077"/>
                <a:gd name="connsiteX198" fmla="*/ 410823 w 3785642"/>
                <a:gd name="connsiteY198" fmla="*/ 473290 h 479077"/>
                <a:gd name="connsiteX199" fmla="*/ 394453 w 3785642"/>
                <a:gd name="connsiteY199" fmla="*/ 475770 h 479077"/>
                <a:gd name="connsiteX200" fmla="*/ 378082 w 3785642"/>
                <a:gd name="connsiteY200" fmla="*/ 475274 h 479077"/>
                <a:gd name="connsiteX201" fmla="*/ 361712 w 3785642"/>
                <a:gd name="connsiteY201" fmla="*/ 474778 h 479077"/>
                <a:gd name="connsiteX202" fmla="*/ 345341 w 3785642"/>
                <a:gd name="connsiteY202" fmla="*/ 476266 h 479077"/>
                <a:gd name="connsiteX203" fmla="*/ 328970 w 3785642"/>
                <a:gd name="connsiteY203" fmla="*/ 474282 h 479077"/>
                <a:gd name="connsiteX204" fmla="*/ 312600 w 3785642"/>
                <a:gd name="connsiteY204" fmla="*/ 475274 h 479077"/>
                <a:gd name="connsiteX205" fmla="*/ 296229 w 3785642"/>
                <a:gd name="connsiteY205" fmla="*/ 474282 h 479077"/>
                <a:gd name="connsiteX206" fmla="*/ 279859 w 3785642"/>
                <a:gd name="connsiteY206" fmla="*/ 475770 h 479077"/>
                <a:gd name="connsiteX207" fmla="*/ 263488 w 3785642"/>
                <a:gd name="connsiteY207" fmla="*/ 476266 h 479077"/>
                <a:gd name="connsiteX208" fmla="*/ 247118 w 3785642"/>
                <a:gd name="connsiteY208" fmla="*/ 476266 h 479077"/>
                <a:gd name="connsiteX209" fmla="*/ 230747 w 3785642"/>
                <a:gd name="connsiteY209" fmla="*/ 474778 h 479077"/>
                <a:gd name="connsiteX210" fmla="*/ 214376 w 3785642"/>
                <a:gd name="connsiteY210" fmla="*/ 474778 h 479077"/>
                <a:gd name="connsiteX211" fmla="*/ 198006 w 3785642"/>
                <a:gd name="connsiteY211" fmla="*/ 476762 h 479077"/>
                <a:gd name="connsiteX212" fmla="*/ 181635 w 3785642"/>
                <a:gd name="connsiteY212" fmla="*/ 476266 h 479077"/>
                <a:gd name="connsiteX213" fmla="*/ 165265 w 3785642"/>
                <a:gd name="connsiteY213" fmla="*/ 474778 h 479077"/>
                <a:gd name="connsiteX214" fmla="*/ 148894 w 3785642"/>
                <a:gd name="connsiteY214" fmla="*/ 476762 h 479077"/>
                <a:gd name="connsiteX215" fmla="*/ 132524 w 3785642"/>
                <a:gd name="connsiteY215" fmla="*/ 476266 h 479077"/>
                <a:gd name="connsiteX216" fmla="*/ 116153 w 3785642"/>
                <a:gd name="connsiteY216" fmla="*/ 475274 h 479077"/>
                <a:gd name="connsiteX217" fmla="*/ 99783 w 3785642"/>
                <a:gd name="connsiteY217" fmla="*/ 475274 h 479077"/>
                <a:gd name="connsiteX218" fmla="*/ 83412 w 3785642"/>
                <a:gd name="connsiteY218" fmla="*/ 475274 h 479077"/>
                <a:gd name="connsiteX219" fmla="*/ 67041 w 3785642"/>
                <a:gd name="connsiteY219" fmla="*/ 474778 h 479077"/>
                <a:gd name="connsiteX220" fmla="*/ 50671 w 3785642"/>
                <a:gd name="connsiteY220" fmla="*/ 475274 h 479077"/>
                <a:gd name="connsiteX221" fmla="*/ 34300 w 3785642"/>
                <a:gd name="connsiteY221" fmla="*/ 475274 h 479077"/>
                <a:gd name="connsiteX222" fmla="*/ 17930 w 3785642"/>
                <a:gd name="connsiteY222" fmla="*/ 475770 h 479077"/>
                <a:gd name="connsiteX223" fmla="*/ 567 w 3785642"/>
                <a:gd name="connsiteY223" fmla="*/ 475770 h 479077"/>
                <a:gd name="connsiteX224" fmla="*/ 12969 w 3785642"/>
                <a:gd name="connsiteY224" fmla="*/ 463368 h 479077"/>
                <a:gd name="connsiteX225" fmla="*/ 24379 w 3785642"/>
                <a:gd name="connsiteY225" fmla="*/ 451958 h 479077"/>
                <a:gd name="connsiteX226" fmla="*/ 35788 w 3785642"/>
                <a:gd name="connsiteY226" fmla="*/ 440053 h 479077"/>
                <a:gd name="connsiteX227" fmla="*/ 48686 w 3785642"/>
                <a:gd name="connsiteY227" fmla="*/ 430131 h 479077"/>
                <a:gd name="connsiteX228" fmla="*/ 59600 w 3785642"/>
                <a:gd name="connsiteY228" fmla="*/ 418225 h 479077"/>
                <a:gd name="connsiteX229" fmla="*/ 70514 w 3785642"/>
                <a:gd name="connsiteY229" fmla="*/ 405823 h 479077"/>
                <a:gd name="connsiteX230" fmla="*/ 83412 w 3785642"/>
                <a:gd name="connsiteY230" fmla="*/ 395406 h 479077"/>
                <a:gd name="connsiteX231" fmla="*/ 94822 w 3785642"/>
                <a:gd name="connsiteY231" fmla="*/ 383500 h 479077"/>
                <a:gd name="connsiteX232" fmla="*/ 106728 w 3785642"/>
                <a:gd name="connsiteY232" fmla="*/ 372090 h 479077"/>
                <a:gd name="connsiteX233" fmla="*/ 117145 w 3785642"/>
                <a:gd name="connsiteY233" fmla="*/ 359688 h 479077"/>
                <a:gd name="connsiteX234" fmla="*/ 128555 w 3785642"/>
                <a:gd name="connsiteY234" fmla="*/ 348278 h 479077"/>
                <a:gd name="connsiteX235" fmla="*/ 140461 w 3785642"/>
                <a:gd name="connsiteY235" fmla="*/ 336868 h 479077"/>
                <a:gd name="connsiteX236" fmla="*/ 152863 w 3785642"/>
                <a:gd name="connsiteY236" fmla="*/ 326451 h 479077"/>
                <a:gd name="connsiteX237" fmla="*/ 164769 w 3785642"/>
                <a:gd name="connsiteY237" fmla="*/ 315041 h 479077"/>
                <a:gd name="connsiteX238" fmla="*/ 176178 w 3785642"/>
                <a:gd name="connsiteY238" fmla="*/ 303135 h 479077"/>
                <a:gd name="connsiteX239" fmla="*/ 188084 w 3785642"/>
                <a:gd name="connsiteY239" fmla="*/ 291725 h 479077"/>
                <a:gd name="connsiteX240" fmla="*/ 199494 w 3785642"/>
                <a:gd name="connsiteY240" fmla="*/ 280315 h 479077"/>
                <a:gd name="connsiteX241" fmla="*/ 210904 w 3785642"/>
                <a:gd name="connsiteY241" fmla="*/ 268906 h 479077"/>
                <a:gd name="connsiteX242" fmla="*/ 221818 w 3785642"/>
                <a:gd name="connsiteY242" fmla="*/ 256504 h 479077"/>
                <a:gd name="connsiteX243" fmla="*/ 233724 w 3785642"/>
                <a:gd name="connsiteY243" fmla="*/ 245094 h 479077"/>
                <a:gd name="connsiteX244" fmla="*/ 244141 w 3785642"/>
                <a:gd name="connsiteY244" fmla="*/ 232692 h 479077"/>
                <a:gd name="connsiteX245" fmla="*/ 257039 w 3785642"/>
                <a:gd name="connsiteY245" fmla="*/ 222770 h 479077"/>
                <a:gd name="connsiteX246" fmla="*/ 266961 w 3785642"/>
                <a:gd name="connsiteY246" fmla="*/ 209376 h 479077"/>
                <a:gd name="connsiteX247" fmla="*/ 278371 w 3785642"/>
                <a:gd name="connsiteY247" fmla="*/ 197966 h 479077"/>
                <a:gd name="connsiteX248" fmla="*/ 291269 w 3785642"/>
                <a:gd name="connsiteY248" fmla="*/ 188045 h 479077"/>
                <a:gd name="connsiteX249" fmla="*/ 301686 w 3785642"/>
                <a:gd name="connsiteY249" fmla="*/ 175147 h 479077"/>
                <a:gd name="connsiteX250" fmla="*/ 313592 w 3785642"/>
                <a:gd name="connsiteY250" fmla="*/ 163737 h 479077"/>
                <a:gd name="connsiteX251" fmla="*/ 325994 w 3785642"/>
                <a:gd name="connsiteY251" fmla="*/ 153319 h 479077"/>
                <a:gd name="connsiteX252" fmla="*/ 337404 w 3785642"/>
                <a:gd name="connsiteY252" fmla="*/ 141910 h 479077"/>
                <a:gd name="connsiteX253" fmla="*/ 347325 w 3785642"/>
                <a:gd name="connsiteY253" fmla="*/ 129012 h 479077"/>
                <a:gd name="connsiteX254" fmla="*/ 360224 w 3785642"/>
                <a:gd name="connsiteY254" fmla="*/ 118594 h 479077"/>
                <a:gd name="connsiteX255" fmla="*/ 371137 w 3785642"/>
                <a:gd name="connsiteY255" fmla="*/ 106192 h 479077"/>
                <a:gd name="connsiteX256" fmla="*/ 382051 w 3785642"/>
                <a:gd name="connsiteY256" fmla="*/ 93790 h 479077"/>
                <a:gd name="connsiteX257" fmla="*/ 393957 w 3785642"/>
                <a:gd name="connsiteY257" fmla="*/ 82380 h 479077"/>
                <a:gd name="connsiteX258" fmla="*/ 405366 w 3785642"/>
                <a:gd name="connsiteY258" fmla="*/ 70475 h 479077"/>
                <a:gd name="connsiteX259" fmla="*/ 417272 w 3785642"/>
                <a:gd name="connsiteY259" fmla="*/ 59561 h 479077"/>
                <a:gd name="connsiteX260" fmla="*/ 429674 w 3785642"/>
                <a:gd name="connsiteY260" fmla="*/ 48647 h 479077"/>
                <a:gd name="connsiteX261" fmla="*/ 440092 w 3785642"/>
                <a:gd name="connsiteY261" fmla="*/ 35749 h 479077"/>
                <a:gd name="connsiteX262" fmla="*/ 452494 w 3785642"/>
                <a:gd name="connsiteY262" fmla="*/ 24835 h 479077"/>
                <a:gd name="connsiteX263" fmla="*/ 463904 w 3785642"/>
                <a:gd name="connsiteY263" fmla="*/ 12929 h 479077"/>
                <a:gd name="connsiteX264" fmla="*/ 475313 w 3785642"/>
                <a:gd name="connsiteY264" fmla="*/ 1024 h 479077"/>
                <a:gd name="connsiteX265" fmla="*/ 491684 w 3785642"/>
                <a:gd name="connsiteY265" fmla="*/ 2512 h 479077"/>
                <a:gd name="connsiteX266" fmla="*/ 508055 w 3785642"/>
                <a:gd name="connsiteY266" fmla="*/ 2512 h 479077"/>
                <a:gd name="connsiteX267" fmla="*/ 524425 w 3785642"/>
                <a:gd name="connsiteY267" fmla="*/ 2512 h 479077"/>
                <a:gd name="connsiteX268" fmla="*/ 540796 w 3785642"/>
                <a:gd name="connsiteY268" fmla="*/ 1024 h 479077"/>
                <a:gd name="connsiteX269" fmla="*/ 557166 w 3785642"/>
                <a:gd name="connsiteY269" fmla="*/ 2512 h 479077"/>
                <a:gd name="connsiteX270" fmla="*/ 573537 w 3785642"/>
                <a:gd name="connsiteY270" fmla="*/ 1024 h 479077"/>
                <a:gd name="connsiteX271" fmla="*/ 589908 w 3785642"/>
                <a:gd name="connsiteY271" fmla="*/ 527 h 479077"/>
                <a:gd name="connsiteX272" fmla="*/ 606278 w 3785642"/>
                <a:gd name="connsiteY272" fmla="*/ 1520 h 479077"/>
                <a:gd name="connsiteX273" fmla="*/ 622649 w 3785642"/>
                <a:gd name="connsiteY273" fmla="*/ 1520 h 479077"/>
                <a:gd name="connsiteX274" fmla="*/ 639019 w 3785642"/>
                <a:gd name="connsiteY274" fmla="*/ 2016 h 479077"/>
                <a:gd name="connsiteX275" fmla="*/ 655390 w 3785642"/>
                <a:gd name="connsiteY275" fmla="*/ 527 h 479077"/>
                <a:gd name="connsiteX276" fmla="*/ 671760 w 3785642"/>
                <a:gd name="connsiteY276" fmla="*/ 1520 h 479077"/>
                <a:gd name="connsiteX277" fmla="*/ 688131 w 3785642"/>
                <a:gd name="connsiteY277" fmla="*/ 2512 h 479077"/>
                <a:gd name="connsiteX278" fmla="*/ 704501 w 3785642"/>
                <a:gd name="connsiteY278" fmla="*/ 1024 h 479077"/>
                <a:gd name="connsiteX279" fmla="*/ 720872 w 3785642"/>
                <a:gd name="connsiteY279" fmla="*/ 1520 h 479077"/>
                <a:gd name="connsiteX280" fmla="*/ 737243 w 3785642"/>
                <a:gd name="connsiteY280" fmla="*/ 2016 h 479077"/>
                <a:gd name="connsiteX281" fmla="*/ 753613 w 3785642"/>
                <a:gd name="connsiteY281" fmla="*/ 1024 h 479077"/>
                <a:gd name="connsiteX282" fmla="*/ 769984 w 3785642"/>
                <a:gd name="connsiteY282" fmla="*/ 527 h 479077"/>
                <a:gd name="connsiteX283" fmla="*/ 786354 w 3785642"/>
                <a:gd name="connsiteY283" fmla="*/ 1520 h 479077"/>
                <a:gd name="connsiteX284" fmla="*/ 802725 w 3785642"/>
                <a:gd name="connsiteY284" fmla="*/ 527 h 479077"/>
                <a:gd name="connsiteX285" fmla="*/ 819096 w 3785642"/>
                <a:gd name="connsiteY285" fmla="*/ 2512 h 479077"/>
                <a:gd name="connsiteX286" fmla="*/ 835466 w 3785642"/>
                <a:gd name="connsiteY286" fmla="*/ 527 h 479077"/>
                <a:gd name="connsiteX287" fmla="*/ 851837 w 3785642"/>
                <a:gd name="connsiteY287" fmla="*/ 1520 h 479077"/>
                <a:gd name="connsiteX288" fmla="*/ 868207 w 3785642"/>
                <a:gd name="connsiteY288" fmla="*/ 2016 h 479077"/>
                <a:gd name="connsiteX289" fmla="*/ 884578 w 3785642"/>
                <a:gd name="connsiteY289" fmla="*/ 2512 h 479077"/>
                <a:gd name="connsiteX290" fmla="*/ 900948 w 3785642"/>
                <a:gd name="connsiteY290" fmla="*/ 1520 h 479077"/>
                <a:gd name="connsiteX291" fmla="*/ 917319 w 3785642"/>
                <a:gd name="connsiteY291" fmla="*/ 1024 h 479077"/>
                <a:gd name="connsiteX292" fmla="*/ 933689 w 3785642"/>
                <a:gd name="connsiteY292" fmla="*/ 2512 h 479077"/>
                <a:gd name="connsiteX293" fmla="*/ 950060 w 3785642"/>
                <a:gd name="connsiteY293" fmla="*/ 1520 h 479077"/>
                <a:gd name="connsiteX294" fmla="*/ 966431 w 3785642"/>
                <a:gd name="connsiteY294" fmla="*/ 2016 h 479077"/>
                <a:gd name="connsiteX295" fmla="*/ 982801 w 3785642"/>
                <a:gd name="connsiteY295" fmla="*/ 2512 h 479077"/>
                <a:gd name="connsiteX296" fmla="*/ 999172 w 3785642"/>
                <a:gd name="connsiteY296" fmla="*/ 1520 h 479077"/>
                <a:gd name="connsiteX297" fmla="*/ 1015542 w 3785642"/>
                <a:gd name="connsiteY297" fmla="*/ 2512 h 479077"/>
                <a:gd name="connsiteX298" fmla="*/ 1031913 w 3785642"/>
                <a:gd name="connsiteY298" fmla="*/ 1520 h 479077"/>
                <a:gd name="connsiteX299" fmla="*/ 1048283 w 3785642"/>
                <a:gd name="connsiteY299" fmla="*/ 2016 h 479077"/>
                <a:gd name="connsiteX300" fmla="*/ 1064654 w 3785642"/>
                <a:gd name="connsiteY300" fmla="*/ 3504 h 479077"/>
                <a:gd name="connsiteX301" fmla="*/ 1081025 w 3785642"/>
                <a:gd name="connsiteY301" fmla="*/ 2016 h 479077"/>
                <a:gd name="connsiteX302" fmla="*/ 1097395 w 3785642"/>
                <a:gd name="connsiteY302" fmla="*/ 2512 h 479077"/>
                <a:gd name="connsiteX303" fmla="*/ 1113766 w 3785642"/>
                <a:gd name="connsiteY303" fmla="*/ 2512 h 479077"/>
                <a:gd name="connsiteX304" fmla="*/ 1130136 w 3785642"/>
                <a:gd name="connsiteY304" fmla="*/ 3504 h 479077"/>
                <a:gd name="connsiteX305" fmla="*/ 1146507 w 3785642"/>
                <a:gd name="connsiteY305" fmla="*/ 1520 h 479077"/>
                <a:gd name="connsiteX306" fmla="*/ 1162878 w 3785642"/>
                <a:gd name="connsiteY306" fmla="*/ 3008 h 479077"/>
                <a:gd name="connsiteX307" fmla="*/ 1179248 w 3785642"/>
                <a:gd name="connsiteY307" fmla="*/ 4000 h 479077"/>
                <a:gd name="connsiteX308" fmla="*/ 1195619 w 3785642"/>
                <a:gd name="connsiteY308" fmla="*/ 3504 h 479077"/>
                <a:gd name="connsiteX309" fmla="*/ 1211989 w 3785642"/>
                <a:gd name="connsiteY309" fmla="*/ 1520 h 479077"/>
                <a:gd name="connsiteX310" fmla="*/ 1228360 w 3785642"/>
                <a:gd name="connsiteY310" fmla="*/ 3504 h 479077"/>
                <a:gd name="connsiteX311" fmla="*/ 1244730 w 3785642"/>
                <a:gd name="connsiteY311" fmla="*/ 1520 h 479077"/>
                <a:gd name="connsiteX312" fmla="*/ 1261101 w 3785642"/>
                <a:gd name="connsiteY312" fmla="*/ 2512 h 479077"/>
                <a:gd name="connsiteX313" fmla="*/ 1277471 w 3785642"/>
                <a:gd name="connsiteY313" fmla="*/ 3504 h 479077"/>
                <a:gd name="connsiteX314" fmla="*/ 1293842 w 3785642"/>
                <a:gd name="connsiteY314" fmla="*/ 4000 h 479077"/>
                <a:gd name="connsiteX315" fmla="*/ 1310213 w 3785642"/>
                <a:gd name="connsiteY315" fmla="*/ 1520 h 479077"/>
                <a:gd name="connsiteX316" fmla="*/ 1326583 w 3785642"/>
                <a:gd name="connsiteY316" fmla="*/ 2016 h 479077"/>
                <a:gd name="connsiteX317" fmla="*/ 1342954 w 3785642"/>
                <a:gd name="connsiteY317" fmla="*/ 3008 h 479077"/>
                <a:gd name="connsiteX318" fmla="*/ 1359324 w 3785642"/>
                <a:gd name="connsiteY318" fmla="*/ 3008 h 479077"/>
                <a:gd name="connsiteX319" fmla="*/ 1375695 w 3785642"/>
                <a:gd name="connsiteY319" fmla="*/ 2512 h 479077"/>
                <a:gd name="connsiteX320" fmla="*/ 1392066 w 3785642"/>
                <a:gd name="connsiteY320" fmla="*/ 2512 h 479077"/>
                <a:gd name="connsiteX321" fmla="*/ 1408436 w 3785642"/>
                <a:gd name="connsiteY321" fmla="*/ 3504 h 479077"/>
                <a:gd name="connsiteX322" fmla="*/ 1424807 w 3785642"/>
                <a:gd name="connsiteY322" fmla="*/ 3504 h 479077"/>
                <a:gd name="connsiteX323" fmla="*/ 1441177 w 3785642"/>
                <a:gd name="connsiteY323" fmla="*/ 1520 h 479077"/>
                <a:gd name="connsiteX324" fmla="*/ 1457548 w 3785642"/>
                <a:gd name="connsiteY324" fmla="*/ 2512 h 479077"/>
                <a:gd name="connsiteX325" fmla="*/ 1473919 w 3785642"/>
                <a:gd name="connsiteY325" fmla="*/ 2016 h 479077"/>
                <a:gd name="connsiteX326" fmla="*/ 1490289 w 3785642"/>
                <a:gd name="connsiteY326" fmla="*/ 2016 h 479077"/>
                <a:gd name="connsiteX327" fmla="*/ 1506660 w 3785642"/>
                <a:gd name="connsiteY327" fmla="*/ 1520 h 479077"/>
                <a:gd name="connsiteX328" fmla="*/ 1523030 w 3785642"/>
                <a:gd name="connsiteY328" fmla="*/ 3504 h 479077"/>
                <a:gd name="connsiteX329" fmla="*/ 1539401 w 3785642"/>
                <a:gd name="connsiteY329" fmla="*/ 3008 h 479077"/>
                <a:gd name="connsiteX330" fmla="*/ 1555771 w 3785642"/>
                <a:gd name="connsiteY330" fmla="*/ 3008 h 479077"/>
                <a:gd name="connsiteX331" fmla="*/ 1572142 w 3785642"/>
                <a:gd name="connsiteY331" fmla="*/ 2512 h 479077"/>
                <a:gd name="connsiteX332" fmla="*/ 1588512 w 3785642"/>
                <a:gd name="connsiteY332" fmla="*/ 2016 h 479077"/>
                <a:gd name="connsiteX333" fmla="*/ 1604883 w 3785642"/>
                <a:gd name="connsiteY333" fmla="*/ 3008 h 479077"/>
                <a:gd name="connsiteX334" fmla="*/ 1621253 w 3785642"/>
                <a:gd name="connsiteY334" fmla="*/ 3008 h 479077"/>
                <a:gd name="connsiteX335" fmla="*/ 1637624 w 3785642"/>
                <a:gd name="connsiteY33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313375 w 3785642"/>
                <a:gd name="connsiteY8" fmla="*/ 10945 h 479077"/>
                <a:gd name="connsiteX9" fmla="*/ 3300973 w 3785642"/>
                <a:gd name="connsiteY9" fmla="*/ 21363 h 479077"/>
                <a:gd name="connsiteX10" fmla="*/ 3289068 w 3785642"/>
                <a:gd name="connsiteY10" fmla="*/ 32276 h 479077"/>
                <a:gd name="connsiteX11" fmla="*/ 3277658 w 3785642"/>
                <a:gd name="connsiteY11" fmla="*/ 43686 h 479077"/>
                <a:gd name="connsiteX12" fmla="*/ 3266248 w 3785642"/>
                <a:gd name="connsiteY12" fmla="*/ 55592 h 479077"/>
                <a:gd name="connsiteX13" fmla="*/ 3255830 w 3785642"/>
                <a:gd name="connsiteY13" fmla="*/ 68490 h 479077"/>
                <a:gd name="connsiteX14" fmla="*/ 3243924 w 3785642"/>
                <a:gd name="connsiteY14" fmla="*/ 79900 h 479077"/>
                <a:gd name="connsiteX15" fmla="*/ 3231522 w 3785642"/>
                <a:gd name="connsiteY15" fmla="*/ 90814 h 479077"/>
                <a:gd name="connsiteX16" fmla="*/ 3220609 w 3785642"/>
                <a:gd name="connsiteY16" fmla="*/ 102720 h 479077"/>
                <a:gd name="connsiteX17" fmla="*/ 3208207 w 3785642"/>
                <a:gd name="connsiteY17" fmla="*/ 113137 h 479077"/>
                <a:gd name="connsiteX18" fmla="*/ 3197293 w 3785642"/>
                <a:gd name="connsiteY18" fmla="*/ 125043 h 479077"/>
                <a:gd name="connsiteX19" fmla="*/ 3185387 w 3785642"/>
                <a:gd name="connsiteY19" fmla="*/ 136453 h 479077"/>
                <a:gd name="connsiteX20" fmla="*/ 3174970 w 3785642"/>
                <a:gd name="connsiteY20" fmla="*/ 148855 h 479077"/>
                <a:gd name="connsiteX21" fmla="*/ 3162071 w 3785642"/>
                <a:gd name="connsiteY21" fmla="*/ 159272 h 479077"/>
                <a:gd name="connsiteX22" fmla="*/ 3151158 w 3785642"/>
                <a:gd name="connsiteY22" fmla="*/ 171674 h 479077"/>
                <a:gd name="connsiteX23" fmla="*/ 3139252 w 3785642"/>
                <a:gd name="connsiteY23" fmla="*/ 182588 h 479077"/>
                <a:gd name="connsiteX24" fmla="*/ 3127843 w 3785642"/>
                <a:gd name="connsiteY24" fmla="*/ 194494 h 479077"/>
                <a:gd name="connsiteX25" fmla="*/ 3116432 w 3785642"/>
                <a:gd name="connsiteY25" fmla="*/ 205904 h 479077"/>
                <a:gd name="connsiteX26" fmla="*/ 3105022 w 3785642"/>
                <a:gd name="connsiteY26" fmla="*/ 217810 h 479077"/>
                <a:gd name="connsiteX27" fmla="*/ 3093117 w 3785642"/>
                <a:gd name="connsiteY27" fmla="*/ 229219 h 479077"/>
                <a:gd name="connsiteX28" fmla="*/ 3081707 w 3785642"/>
                <a:gd name="connsiteY28" fmla="*/ 240629 h 479077"/>
                <a:gd name="connsiteX29" fmla="*/ 3069305 w 3785642"/>
                <a:gd name="connsiteY29" fmla="*/ 251543 h 479077"/>
                <a:gd name="connsiteX30" fmla="*/ 3057895 w 3785642"/>
                <a:gd name="connsiteY30" fmla="*/ 263449 h 479077"/>
                <a:gd name="connsiteX31" fmla="*/ 3046486 w 3785642"/>
                <a:gd name="connsiteY31" fmla="*/ 275355 h 479077"/>
                <a:gd name="connsiteX32" fmla="*/ 3035572 w 3785642"/>
                <a:gd name="connsiteY32" fmla="*/ 287260 h 479077"/>
                <a:gd name="connsiteX33" fmla="*/ 3024658 w 3785642"/>
                <a:gd name="connsiteY33" fmla="*/ 299166 h 479077"/>
                <a:gd name="connsiteX34" fmla="*/ 3013248 w 3785642"/>
                <a:gd name="connsiteY34" fmla="*/ 311072 h 479077"/>
                <a:gd name="connsiteX35" fmla="*/ 3000350 w 3785642"/>
                <a:gd name="connsiteY35" fmla="*/ 321490 h 479077"/>
                <a:gd name="connsiteX36" fmla="*/ 2988941 w 3785642"/>
                <a:gd name="connsiteY36" fmla="*/ 333396 h 479077"/>
                <a:gd name="connsiteX37" fmla="*/ 2976539 w 3785642"/>
                <a:gd name="connsiteY37" fmla="*/ 344309 h 479077"/>
                <a:gd name="connsiteX38" fmla="*/ 2965129 w 3785642"/>
                <a:gd name="connsiteY38" fmla="*/ 356215 h 479077"/>
                <a:gd name="connsiteX39" fmla="*/ 2953223 w 3785642"/>
                <a:gd name="connsiteY39" fmla="*/ 367625 h 479077"/>
                <a:gd name="connsiteX40" fmla="*/ 2941813 w 3785642"/>
                <a:gd name="connsiteY40" fmla="*/ 379531 h 479077"/>
                <a:gd name="connsiteX41" fmla="*/ 2931395 w 3785642"/>
                <a:gd name="connsiteY41" fmla="*/ 392429 h 479077"/>
                <a:gd name="connsiteX42" fmla="*/ 2918497 w 3785642"/>
                <a:gd name="connsiteY42" fmla="*/ 402847 h 479077"/>
                <a:gd name="connsiteX43" fmla="*/ 2907584 w 3785642"/>
                <a:gd name="connsiteY43" fmla="*/ 415249 h 479077"/>
                <a:gd name="connsiteX44" fmla="*/ 2896174 w 3785642"/>
                <a:gd name="connsiteY44" fmla="*/ 426658 h 479077"/>
                <a:gd name="connsiteX45" fmla="*/ 2884268 w 3785642"/>
                <a:gd name="connsiteY45" fmla="*/ 438068 h 479077"/>
                <a:gd name="connsiteX46" fmla="*/ 2873354 w 3785642"/>
                <a:gd name="connsiteY46" fmla="*/ 450470 h 479077"/>
                <a:gd name="connsiteX47" fmla="*/ 2860952 w 3785642"/>
                <a:gd name="connsiteY47" fmla="*/ 461384 h 479077"/>
                <a:gd name="connsiteX48" fmla="*/ 2850039 w 3785642"/>
                <a:gd name="connsiteY48" fmla="*/ 473786 h 479077"/>
                <a:gd name="connsiteX49" fmla="*/ 2833668 w 3785642"/>
                <a:gd name="connsiteY49" fmla="*/ 473786 h 479077"/>
                <a:gd name="connsiteX50" fmla="*/ 2817297 w 3785642"/>
                <a:gd name="connsiteY50" fmla="*/ 473290 h 479077"/>
                <a:gd name="connsiteX51" fmla="*/ 2800927 w 3785642"/>
                <a:gd name="connsiteY51" fmla="*/ 473290 h 479077"/>
                <a:gd name="connsiteX52" fmla="*/ 2784556 w 3785642"/>
                <a:gd name="connsiteY52" fmla="*/ 473786 h 479077"/>
                <a:gd name="connsiteX53" fmla="*/ 2768186 w 3785642"/>
                <a:gd name="connsiteY53" fmla="*/ 474282 h 479077"/>
                <a:gd name="connsiteX54" fmla="*/ 2751815 w 3785642"/>
                <a:gd name="connsiteY54" fmla="*/ 474282 h 479077"/>
                <a:gd name="connsiteX55" fmla="*/ 2735444 w 3785642"/>
                <a:gd name="connsiteY55" fmla="*/ 473290 h 479077"/>
                <a:gd name="connsiteX56" fmla="*/ 2719074 w 3785642"/>
                <a:gd name="connsiteY56" fmla="*/ 474282 h 479077"/>
                <a:gd name="connsiteX57" fmla="*/ 2702703 w 3785642"/>
                <a:gd name="connsiteY57" fmla="*/ 472298 h 479077"/>
                <a:gd name="connsiteX58" fmla="*/ 2686333 w 3785642"/>
                <a:gd name="connsiteY58" fmla="*/ 472794 h 479077"/>
                <a:gd name="connsiteX59" fmla="*/ 2669962 w 3785642"/>
                <a:gd name="connsiteY59" fmla="*/ 474282 h 479077"/>
                <a:gd name="connsiteX60" fmla="*/ 2653592 w 3785642"/>
                <a:gd name="connsiteY60" fmla="*/ 472298 h 479077"/>
                <a:gd name="connsiteX61" fmla="*/ 2637221 w 3785642"/>
                <a:gd name="connsiteY61" fmla="*/ 474282 h 479077"/>
                <a:gd name="connsiteX62" fmla="*/ 2620851 w 3785642"/>
                <a:gd name="connsiteY62" fmla="*/ 474282 h 479077"/>
                <a:gd name="connsiteX63" fmla="*/ 2604480 w 3785642"/>
                <a:gd name="connsiteY63" fmla="*/ 472298 h 479077"/>
                <a:gd name="connsiteX64" fmla="*/ 2588109 w 3785642"/>
                <a:gd name="connsiteY64" fmla="*/ 473786 h 479077"/>
                <a:gd name="connsiteX65" fmla="*/ 2571739 w 3785642"/>
                <a:gd name="connsiteY65" fmla="*/ 472298 h 479077"/>
                <a:gd name="connsiteX66" fmla="*/ 2555368 w 3785642"/>
                <a:gd name="connsiteY66" fmla="*/ 473290 h 479077"/>
                <a:gd name="connsiteX67" fmla="*/ 2538998 w 3785642"/>
                <a:gd name="connsiteY67" fmla="*/ 474282 h 479077"/>
                <a:gd name="connsiteX68" fmla="*/ 2522627 w 3785642"/>
                <a:gd name="connsiteY68" fmla="*/ 473290 h 479077"/>
                <a:gd name="connsiteX69" fmla="*/ 2506257 w 3785642"/>
                <a:gd name="connsiteY69" fmla="*/ 474282 h 479077"/>
                <a:gd name="connsiteX70" fmla="*/ 2489886 w 3785642"/>
                <a:gd name="connsiteY70" fmla="*/ 473786 h 479077"/>
                <a:gd name="connsiteX71" fmla="*/ 2473516 w 3785642"/>
                <a:gd name="connsiteY71" fmla="*/ 474282 h 479077"/>
                <a:gd name="connsiteX72" fmla="*/ 2457145 w 3785642"/>
                <a:gd name="connsiteY72" fmla="*/ 472794 h 479077"/>
                <a:gd name="connsiteX73" fmla="*/ 2440775 w 3785642"/>
                <a:gd name="connsiteY73" fmla="*/ 472298 h 479077"/>
                <a:gd name="connsiteX74" fmla="*/ 2424404 w 3785642"/>
                <a:gd name="connsiteY74" fmla="*/ 473786 h 479077"/>
                <a:gd name="connsiteX75" fmla="*/ 2408033 w 3785642"/>
                <a:gd name="connsiteY75" fmla="*/ 472794 h 479077"/>
                <a:gd name="connsiteX76" fmla="*/ 2391663 w 3785642"/>
                <a:gd name="connsiteY76" fmla="*/ 473290 h 479077"/>
                <a:gd name="connsiteX77" fmla="*/ 2375292 w 3785642"/>
                <a:gd name="connsiteY77" fmla="*/ 473290 h 479077"/>
                <a:gd name="connsiteX78" fmla="*/ 2358922 w 3785642"/>
                <a:gd name="connsiteY78" fmla="*/ 472794 h 479077"/>
                <a:gd name="connsiteX79" fmla="*/ 2342551 w 3785642"/>
                <a:gd name="connsiteY79" fmla="*/ 472298 h 479077"/>
                <a:gd name="connsiteX80" fmla="*/ 2326180 w 3785642"/>
                <a:gd name="connsiteY80" fmla="*/ 473786 h 479077"/>
                <a:gd name="connsiteX81" fmla="*/ 2309810 w 3785642"/>
                <a:gd name="connsiteY81" fmla="*/ 473786 h 479077"/>
                <a:gd name="connsiteX82" fmla="*/ 2293439 w 3785642"/>
                <a:gd name="connsiteY82" fmla="*/ 473786 h 479077"/>
                <a:gd name="connsiteX83" fmla="*/ 2277069 w 3785642"/>
                <a:gd name="connsiteY83" fmla="*/ 472794 h 479077"/>
                <a:gd name="connsiteX84" fmla="*/ 2260698 w 3785642"/>
                <a:gd name="connsiteY84" fmla="*/ 474282 h 479077"/>
                <a:gd name="connsiteX85" fmla="*/ 2244327 w 3785642"/>
                <a:gd name="connsiteY85" fmla="*/ 472298 h 479077"/>
                <a:gd name="connsiteX86" fmla="*/ 2227957 w 3785642"/>
                <a:gd name="connsiteY86" fmla="*/ 474282 h 479077"/>
                <a:gd name="connsiteX87" fmla="*/ 2211586 w 3785642"/>
                <a:gd name="connsiteY87" fmla="*/ 473290 h 479077"/>
                <a:gd name="connsiteX88" fmla="*/ 2195216 w 3785642"/>
                <a:gd name="connsiteY88" fmla="*/ 474282 h 479077"/>
                <a:gd name="connsiteX89" fmla="*/ 2178845 w 3785642"/>
                <a:gd name="connsiteY89" fmla="*/ 472794 h 479077"/>
                <a:gd name="connsiteX90" fmla="*/ 2162474 w 3785642"/>
                <a:gd name="connsiteY90" fmla="*/ 474778 h 479077"/>
                <a:gd name="connsiteX91" fmla="*/ 2146104 w 3785642"/>
                <a:gd name="connsiteY91" fmla="*/ 473290 h 479077"/>
                <a:gd name="connsiteX92" fmla="*/ 2129733 w 3785642"/>
                <a:gd name="connsiteY92" fmla="*/ 474778 h 479077"/>
                <a:gd name="connsiteX93" fmla="*/ 2113363 w 3785642"/>
                <a:gd name="connsiteY93" fmla="*/ 474778 h 479077"/>
                <a:gd name="connsiteX94" fmla="*/ 2096992 w 3785642"/>
                <a:gd name="connsiteY94" fmla="*/ 474778 h 479077"/>
                <a:gd name="connsiteX95" fmla="*/ 2080621 w 3785642"/>
                <a:gd name="connsiteY95" fmla="*/ 474282 h 479077"/>
                <a:gd name="connsiteX96" fmla="*/ 2064251 w 3785642"/>
                <a:gd name="connsiteY96" fmla="*/ 472794 h 479077"/>
                <a:gd name="connsiteX97" fmla="*/ 2047880 w 3785642"/>
                <a:gd name="connsiteY97" fmla="*/ 474778 h 479077"/>
                <a:gd name="connsiteX98" fmla="*/ 2031510 w 3785642"/>
                <a:gd name="connsiteY98" fmla="*/ 474778 h 479077"/>
                <a:gd name="connsiteX99" fmla="*/ 2015139 w 3785642"/>
                <a:gd name="connsiteY99" fmla="*/ 474778 h 479077"/>
                <a:gd name="connsiteX100" fmla="*/ 1998769 w 3785642"/>
                <a:gd name="connsiteY100" fmla="*/ 474282 h 479077"/>
                <a:gd name="connsiteX101" fmla="*/ 1982398 w 3785642"/>
                <a:gd name="connsiteY101" fmla="*/ 473786 h 479077"/>
                <a:gd name="connsiteX102" fmla="*/ 1966028 w 3785642"/>
                <a:gd name="connsiteY102" fmla="*/ 473786 h 479077"/>
                <a:gd name="connsiteX103" fmla="*/ 1949657 w 3785642"/>
                <a:gd name="connsiteY103" fmla="*/ 472794 h 479077"/>
                <a:gd name="connsiteX104" fmla="*/ 1933287 w 3785642"/>
                <a:gd name="connsiteY104" fmla="*/ 473290 h 479077"/>
                <a:gd name="connsiteX105" fmla="*/ 1916916 w 3785642"/>
                <a:gd name="connsiteY105" fmla="*/ 474778 h 479077"/>
                <a:gd name="connsiteX106" fmla="*/ 1900546 w 3785642"/>
                <a:gd name="connsiteY106" fmla="*/ 472794 h 479077"/>
                <a:gd name="connsiteX107" fmla="*/ 1884175 w 3785642"/>
                <a:gd name="connsiteY107" fmla="*/ 473786 h 479077"/>
                <a:gd name="connsiteX108" fmla="*/ 1867804 w 3785642"/>
                <a:gd name="connsiteY108" fmla="*/ 474778 h 479077"/>
                <a:gd name="connsiteX109" fmla="*/ 1851434 w 3785642"/>
                <a:gd name="connsiteY109" fmla="*/ 474778 h 479077"/>
                <a:gd name="connsiteX110" fmla="*/ 1835063 w 3785642"/>
                <a:gd name="connsiteY110" fmla="*/ 474778 h 479077"/>
                <a:gd name="connsiteX111" fmla="*/ 1818693 w 3785642"/>
                <a:gd name="connsiteY111" fmla="*/ 474282 h 479077"/>
                <a:gd name="connsiteX112" fmla="*/ 1802322 w 3785642"/>
                <a:gd name="connsiteY112" fmla="*/ 472794 h 479077"/>
                <a:gd name="connsiteX113" fmla="*/ 1785951 w 3785642"/>
                <a:gd name="connsiteY113" fmla="*/ 473786 h 479077"/>
                <a:gd name="connsiteX114" fmla="*/ 1769581 w 3785642"/>
                <a:gd name="connsiteY114" fmla="*/ 473290 h 479077"/>
                <a:gd name="connsiteX115" fmla="*/ 1753210 w 3785642"/>
                <a:gd name="connsiteY115" fmla="*/ 472298 h 479077"/>
                <a:gd name="connsiteX116" fmla="*/ 1736840 w 3785642"/>
                <a:gd name="connsiteY116" fmla="*/ 473290 h 479077"/>
                <a:gd name="connsiteX117" fmla="*/ 1720469 w 3785642"/>
                <a:gd name="connsiteY117" fmla="*/ 474778 h 479077"/>
                <a:gd name="connsiteX118" fmla="*/ 1704098 w 3785642"/>
                <a:gd name="connsiteY118" fmla="*/ 472794 h 479077"/>
                <a:gd name="connsiteX119" fmla="*/ 1687728 w 3785642"/>
                <a:gd name="connsiteY119" fmla="*/ 474778 h 479077"/>
                <a:gd name="connsiteX120" fmla="*/ 1671357 w 3785642"/>
                <a:gd name="connsiteY120" fmla="*/ 474778 h 479077"/>
                <a:gd name="connsiteX121" fmla="*/ 1654987 w 3785642"/>
                <a:gd name="connsiteY121" fmla="*/ 472298 h 479077"/>
                <a:gd name="connsiteX122" fmla="*/ 1638616 w 3785642"/>
                <a:gd name="connsiteY122" fmla="*/ 472794 h 479077"/>
                <a:gd name="connsiteX123" fmla="*/ 1622246 w 3785642"/>
                <a:gd name="connsiteY123" fmla="*/ 473786 h 479077"/>
                <a:gd name="connsiteX124" fmla="*/ 1605875 w 3785642"/>
                <a:gd name="connsiteY124" fmla="*/ 474778 h 479077"/>
                <a:gd name="connsiteX125" fmla="*/ 1589505 w 3785642"/>
                <a:gd name="connsiteY125" fmla="*/ 473290 h 479077"/>
                <a:gd name="connsiteX126" fmla="*/ 1573134 w 3785642"/>
                <a:gd name="connsiteY126" fmla="*/ 474778 h 479077"/>
                <a:gd name="connsiteX127" fmla="*/ 1556763 w 3785642"/>
                <a:gd name="connsiteY127" fmla="*/ 472794 h 479077"/>
                <a:gd name="connsiteX128" fmla="*/ 1540393 w 3785642"/>
                <a:gd name="connsiteY128" fmla="*/ 472794 h 479077"/>
                <a:gd name="connsiteX129" fmla="*/ 1524022 w 3785642"/>
                <a:gd name="connsiteY129" fmla="*/ 474282 h 479077"/>
                <a:gd name="connsiteX130" fmla="*/ 1507652 w 3785642"/>
                <a:gd name="connsiteY130" fmla="*/ 472794 h 479077"/>
                <a:gd name="connsiteX131" fmla="*/ 1491281 w 3785642"/>
                <a:gd name="connsiteY131" fmla="*/ 474282 h 479077"/>
                <a:gd name="connsiteX132" fmla="*/ 1474910 w 3785642"/>
                <a:gd name="connsiteY132" fmla="*/ 474282 h 479077"/>
                <a:gd name="connsiteX133" fmla="*/ 1458540 w 3785642"/>
                <a:gd name="connsiteY133" fmla="*/ 472794 h 479077"/>
                <a:gd name="connsiteX134" fmla="*/ 1442169 w 3785642"/>
                <a:gd name="connsiteY134" fmla="*/ 471802 h 479077"/>
                <a:gd name="connsiteX135" fmla="*/ 1425799 w 3785642"/>
                <a:gd name="connsiteY135" fmla="*/ 472298 h 479077"/>
                <a:gd name="connsiteX136" fmla="*/ 1409428 w 3785642"/>
                <a:gd name="connsiteY136" fmla="*/ 472794 h 479077"/>
                <a:gd name="connsiteX137" fmla="*/ 1393058 w 3785642"/>
                <a:gd name="connsiteY137" fmla="*/ 473786 h 479077"/>
                <a:gd name="connsiteX138" fmla="*/ 1376687 w 3785642"/>
                <a:gd name="connsiteY138" fmla="*/ 471802 h 479077"/>
                <a:gd name="connsiteX139" fmla="*/ 1360317 w 3785642"/>
                <a:gd name="connsiteY139" fmla="*/ 473786 h 479077"/>
                <a:gd name="connsiteX140" fmla="*/ 1343946 w 3785642"/>
                <a:gd name="connsiteY140" fmla="*/ 473786 h 479077"/>
                <a:gd name="connsiteX141" fmla="*/ 1327576 w 3785642"/>
                <a:gd name="connsiteY141" fmla="*/ 472794 h 479077"/>
                <a:gd name="connsiteX142" fmla="*/ 1311205 w 3785642"/>
                <a:gd name="connsiteY142" fmla="*/ 473786 h 479077"/>
                <a:gd name="connsiteX143" fmla="*/ 1294834 w 3785642"/>
                <a:gd name="connsiteY143" fmla="*/ 473786 h 479077"/>
                <a:gd name="connsiteX144" fmla="*/ 1278464 w 3785642"/>
                <a:gd name="connsiteY144" fmla="*/ 473786 h 479077"/>
                <a:gd name="connsiteX145" fmla="*/ 1262093 w 3785642"/>
                <a:gd name="connsiteY145" fmla="*/ 473786 h 479077"/>
                <a:gd name="connsiteX146" fmla="*/ 1245723 w 3785642"/>
                <a:gd name="connsiteY146" fmla="*/ 473290 h 479077"/>
                <a:gd name="connsiteX147" fmla="*/ 1229352 w 3785642"/>
                <a:gd name="connsiteY147" fmla="*/ 472794 h 479077"/>
                <a:gd name="connsiteX148" fmla="*/ 1212981 w 3785642"/>
                <a:gd name="connsiteY148" fmla="*/ 473786 h 479077"/>
                <a:gd name="connsiteX149" fmla="*/ 1196611 w 3785642"/>
                <a:gd name="connsiteY149" fmla="*/ 472298 h 479077"/>
                <a:gd name="connsiteX150" fmla="*/ 1180240 w 3785642"/>
                <a:gd name="connsiteY150" fmla="*/ 472794 h 479077"/>
                <a:gd name="connsiteX151" fmla="*/ 1163870 w 3785642"/>
                <a:gd name="connsiteY151" fmla="*/ 472794 h 479077"/>
                <a:gd name="connsiteX152" fmla="*/ 1147499 w 3785642"/>
                <a:gd name="connsiteY152" fmla="*/ 473786 h 479077"/>
                <a:gd name="connsiteX153" fmla="*/ 1131128 w 3785642"/>
                <a:gd name="connsiteY153" fmla="*/ 473786 h 479077"/>
                <a:gd name="connsiteX154" fmla="*/ 1114758 w 3785642"/>
                <a:gd name="connsiteY154" fmla="*/ 472794 h 479077"/>
                <a:gd name="connsiteX155" fmla="*/ 1098387 w 3785642"/>
                <a:gd name="connsiteY155" fmla="*/ 473786 h 479077"/>
                <a:gd name="connsiteX156" fmla="*/ 1082017 w 3785642"/>
                <a:gd name="connsiteY156" fmla="*/ 474778 h 479077"/>
                <a:gd name="connsiteX157" fmla="*/ 1065646 w 3785642"/>
                <a:gd name="connsiteY157" fmla="*/ 474778 h 479077"/>
                <a:gd name="connsiteX158" fmla="*/ 1049276 w 3785642"/>
                <a:gd name="connsiteY158" fmla="*/ 474282 h 479077"/>
                <a:gd name="connsiteX159" fmla="*/ 1032905 w 3785642"/>
                <a:gd name="connsiteY159" fmla="*/ 473290 h 479077"/>
                <a:gd name="connsiteX160" fmla="*/ 1016535 w 3785642"/>
                <a:gd name="connsiteY160" fmla="*/ 474282 h 479077"/>
                <a:gd name="connsiteX161" fmla="*/ 1000164 w 3785642"/>
                <a:gd name="connsiteY161" fmla="*/ 474282 h 479077"/>
                <a:gd name="connsiteX162" fmla="*/ 983793 w 3785642"/>
                <a:gd name="connsiteY162" fmla="*/ 472794 h 479077"/>
                <a:gd name="connsiteX163" fmla="*/ 967423 w 3785642"/>
                <a:gd name="connsiteY163" fmla="*/ 472794 h 479077"/>
                <a:gd name="connsiteX164" fmla="*/ 951052 w 3785642"/>
                <a:gd name="connsiteY164" fmla="*/ 473786 h 479077"/>
                <a:gd name="connsiteX165" fmla="*/ 934682 w 3785642"/>
                <a:gd name="connsiteY165" fmla="*/ 474282 h 479077"/>
                <a:gd name="connsiteX166" fmla="*/ 918311 w 3785642"/>
                <a:gd name="connsiteY166" fmla="*/ 474778 h 479077"/>
                <a:gd name="connsiteX167" fmla="*/ 901940 w 3785642"/>
                <a:gd name="connsiteY167" fmla="*/ 473290 h 479077"/>
                <a:gd name="connsiteX168" fmla="*/ 885570 w 3785642"/>
                <a:gd name="connsiteY168" fmla="*/ 474778 h 479077"/>
                <a:gd name="connsiteX169" fmla="*/ 869199 w 3785642"/>
                <a:gd name="connsiteY169" fmla="*/ 474282 h 479077"/>
                <a:gd name="connsiteX170" fmla="*/ 852829 w 3785642"/>
                <a:gd name="connsiteY170" fmla="*/ 473786 h 479077"/>
                <a:gd name="connsiteX171" fmla="*/ 836458 w 3785642"/>
                <a:gd name="connsiteY171" fmla="*/ 474778 h 479077"/>
                <a:gd name="connsiteX172" fmla="*/ 820088 w 3785642"/>
                <a:gd name="connsiteY172" fmla="*/ 475274 h 479077"/>
                <a:gd name="connsiteX173" fmla="*/ 803717 w 3785642"/>
                <a:gd name="connsiteY173" fmla="*/ 473786 h 479077"/>
                <a:gd name="connsiteX174" fmla="*/ 787347 w 3785642"/>
                <a:gd name="connsiteY174" fmla="*/ 475770 h 479077"/>
                <a:gd name="connsiteX175" fmla="*/ 770976 w 3785642"/>
                <a:gd name="connsiteY175" fmla="*/ 474778 h 479077"/>
                <a:gd name="connsiteX176" fmla="*/ 754605 w 3785642"/>
                <a:gd name="connsiteY176" fmla="*/ 475274 h 479077"/>
                <a:gd name="connsiteX177" fmla="*/ 738235 w 3785642"/>
                <a:gd name="connsiteY177" fmla="*/ 473786 h 479077"/>
                <a:gd name="connsiteX178" fmla="*/ 721864 w 3785642"/>
                <a:gd name="connsiteY178" fmla="*/ 475274 h 479077"/>
                <a:gd name="connsiteX179" fmla="*/ 705494 w 3785642"/>
                <a:gd name="connsiteY179" fmla="*/ 475770 h 479077"/>
                <a:gd name="connsiteX180" fmla="*/ 689123 w 3785642"/>
                <a:gd name="connsiteY180" fmla="*/ 474282 h 479077"/>
                <a:gd name="connsiteX181" fmla="*/ 672753 w 3785642"/>
                <a:gd name="connsiteY181" fmla="*/ 475274 h 479077"/>
                <a:gd name="connsiteX182" fmla="*/ 656382 w 3785642"/>
                <a:gd name="connsiteY182" fmla="*/ 474778 h 479077"/>
                <a:gd name="connsiteX183" fmla="*/ 640011 w 3785642"/>
                <a:gd name="connsiteY183" fmla="*/ 475770 h 479077"/>
                <a:gd name="connsiteX184" fmla="*/ 623641 w 3785642"/>
                <a:gd name="connsiteY184" fmla="*/ 473786 h 479077"/>
                <a:gd name="connsiteX185" fmla="*/ 607270 w 3785642"/>
                <a:gd name="connsiteY185" fmla="*/ 474778 h 479077"/>
                <a:gd name="connsiteX186" fmla="*/ 590900 w 3785642"/>
                <a:gd name="connsiteY186" fmla="*/ 475274 h 479077"/>
                <a:gd name="connsiteX187" fmla="*/ 574529 w 3785642"/>
                <a:gd name="connsiteY187" fmla="*/ 474282 h 479077"/>
                <a:gd name="connsiteX188" fmla="*/ 558158 w 3785642"/>
                <a:gd name="connsiteY188" fmla="*/ 475274 h 479077"/>
                <a:gd name="connsiteX189" fmla="*/ 541788 w 3785642"/>
                <a:gd name="connsiteY189" fmla="*/ 475770 h 479077"/>
                <a:gd name="connsiteX190" fmla="*/ 525417 w 3785642"/>
                <a:gd name="connsiteY190" fmla="*/ 474282 h 479077"/>
                <a:gd name="connsiteX191" fmla="*/ 509047 w 3785642"/>
                <a:gd name="connsiteY191" fmla="*/ 473786 h 479077"/>
                <a:gd name="connsiteX192" fmla="*/ 492676 w 3785642"/>
                <a:gd name="connsiteY192" fmla="*/ 473786 h 479077"/>
                <a:gd name="connsiteX193" fmla="*/ 476306 w 3785642"/>
                <a:gd name="connsiteY193" fmla="*/ 474778 h 479077"/>
                <a:gd name="connsiteX194" fmla="*/ 459935 w 3785642"/>
                <a:gd name="connsiteY194" fmla="*/ 473786 h 479077"/>
                <a:gd name="connsiteX195" fmla="*/ 443565 w 3785642"/>
                <a:gd name="connsiteY195" fmla="*/ 474778 h 479077"/>
                <a:gd name="connsiteX196" fmla="*/ 427194 w 3785642"/>
                <a:gd name="connsiteY196" fmla="*/ 474282 h 479077"/>
                <a:gd name="connsiteX197" fmla="*/ 410823 w 3785642"/>
                <a:gd name="connsiteY197" fmla="*/ 473290 h 479077"/>
                <a:gd name="connsiteX198" fmla="*/ 394453 w 3785642"/>
                <a:gd name="connsiteY198" fmla="*/ 475770 h 479077"/>
                <a:gd name="connsiteX199" fmla="*/ 378082 w 3785642"/>
                <a:gd name="connsiteY199" fmla="*/ 475274 h 479077"/>
                <a:gd name="connsiteX200" fmla="*/ 361712 w 3785642"/>
                <a:gd name="connsiteY200" fmla="*/ 474778 h 479077"/>
                <a:gd name="connsiteX201" fmla="*/ 345341 w 3785642"/>
                <a:gd name="connsiteY201" fmla="*/ 476266 h 479077"/>
                <a:gd name="connsiteX202" fmla="*/ 328970 w 3785642"/>
                <a:gd name="connsiteY202" fmla="*/ 474282 h 479077"/>
                <a:gd name="connsiteX203" fmla="*/ 312600 w 3785642"/>
                <a:gd name="connsiteY203" fmla="*/ 475274 h 479077"/>
                <a:gd name="connsiteX204" fmla="*/ 296229 w 3785642"/>
                <a:gd name="connsiteY204" fmla="*/ 474282 h 479077"/>
                <a:gd name="connsiteX205" fmla="*/ 279859 w 3785642"/>
                <a:gd name="connsiteY205" fmla="*/ 475770 h 479077"/>
                <a:gd name="connsiteX206" fmla="*/ 263488 w 3785642"/>
                <a:gd name="connsiteY206" fmla="*/ 476266 h 479077"/>
                <a:gd name="connsiteX207" fmla="*/ 247118 w 3785642"/>
                <a:gd name="connsiteY207" fmla="*/ 476266 h 479077"/>
                <a:gd name="connsiteX208" fmla="*/ 230747 w 3785642"/>
                <a:gd name="connsiteY208" fmla="*/ 474778 h 479077"/>
                <a:gd name="connsiteX209" fmla="*/ 214376 w 3785642"/>
                <a:gd name="connsiteY209" fmla="*/ 474778 h 479077"/>
                <a:gd name="connsiteX210" fmla="*/ 198006 w 3785642"/>
                <a:gd name="connsiteY210" fmla="*/ 476762 h 479077"/>
                <a:gd name="connsiteX211" fmla="*/ 181635 w 3785642"/>
                <a:gd name="connsiteY211" fmla="*/ 476266 h 479077"/>
                <a:gd name="connsiteX212" fmla="*/ 165265 w 3785642"/>
                <a:gd name="connsiteY212" fmla="*/ 474778 h 479077"/>
                <a:gd name="connsiteX213" fmla="*/ 148894 w 3785642"/>
                <a:gd name="connsiteY213" fmla="*/ 476762 h 479077"/>
                <a:gd name="connsiteX214" fmla="*/ 132524 w 3785642"/>
                <a:gd name="connsiteY214" fmla="*/ 476266 h 479077"/>
                <a:gd name="connsiteX215" fmla="*/ 116153 w 3785642"/>
                <a:gd name="connsiteY215" fmla="*/ 475274 h 479077"/>
                <a:gd name="connsiteX216" fmla="*/ 99783 w 3785642"/>
                <a:gd name="connsiteY216" fmla="*/ 475274 h 479077"/>
                <a:gd name="connsiteX217" fmla="*/ 83412 w 3785642"/>
                <a:gd name="connsiteY217" fmla="*/ 475274 h 479077"/>
                <a:gd name="connsiteX218" fmla="*/ 67041 w 3785642"/>
                <a:gd name="connsiteY218" fmla="*/ 474778 h 479077"/>
                <a:gd name="connsiteX219" fmla="*/ 50671 w 3785642"/>
                <a:gd name="connsiteY219" fmla="*/ 475274 h 479077"/>
                <a:gd name="connsiteX220" fmla="*/ 34300 w 3785642"/>
                <a:gd name="connsiteY220" fmla="*/ 475274 h 479077"/>
                <a:gd name="connsiteX221" fmla="*/ 17930 w 3785642"/>
                <a:gd name="connsiteY221" fmla="*/ 475770 h 479077"/>
                <a:gd name="connsiteX222" fmla="*/ 567 w 3785642"/>
                <a:gd name="connsiteY222" fmla="*/ 475770 h 479077"/>
                <a:gd name="connsiteX223" fmla="*/ 12969 w 3785642"/>
                <a:gd name="connsiteY223" fmla="*/ 463368 h 479077"/>
                <a:gd name="connsiteX224" fmla="*/ 24379 w 3785642"/>
                <a:gd name="connsiteY224" fmla="*/ 451958 h 479077"/>
                <a:gd name="connsiteX225" fmla="*/ 35788 w 3785642"/>
                <a:gd name="connsiteY225" fmla="*/ 440053 h 479077"/>
                <a:gd name="connsiteX226" fmla="*/ 48686 w 3785642"/>
                <a:gd name="connsiteY226" fmla="*/ 430131 h 479077"/>
                <a:gd name="connsiteX227" fmla="*/ 59600 w 3785642"/>
                <a:gd name="connsiteY227" fmla="*/ 418225 h 479077"/>
                <a:gd name="connsiteX228" fmla="*/ 70514 w 3785642"/>
                <a:gd name="connsiteY228" fmla="*/ 405823 h 479077"/>
                <a:gd name="connsiteX229" fmla="*/ 83412 w 3785642"/>
                <a:gd name="connsiteY229" fmla="*/ 395406 h 479077"/>
                <a:gd name="connsiteX230" fmla="*/ 94822 w 3785642"/>
                <a:gd name="connsiteY230" fmla="*/ 383500 h 479077"/>
                <a:gd name="connsiteX231" fmla="*/ 106728 w 3785642"/>
                <a:gd name="connsiteY231" fmla="*/ 372090 h 479077"/>
                <a:gd name="connsiteX232" fmla="*/ 117145 w 3785642"/>
                <a:gd name="connsiteY232" fmla="*/ 359688 h 479077"/>
                <a:gd name="connsiteX233" fmla="*/ 128555 w 3785642"/>
                <a:gd name="connsiteY233" fmla="*/ 348278 h 479077"/>
                <a:gd name="connsiteX234" fmla="*/ 140461 w 3785642"/>
                <a:gd name="connsiteY234" fmla="*/ 336868 h 479077"/>
                <a:gd name="connsiteX235" fmla="*/ 152863 w 3785642"/>
                <a:gd name="connsiteY235" fmla="*/ 326451 h 479077"/>
                <a:gd name="connsiteX236" fmla="*/ 164769 w 3785642"/>
                <a:gd name="connsiteY236" fmla="*/ 315041 h 479077"/>
                <a:gd name="connsiteX237" fmla="*/ 176178 w 3785642"/>
                <a:gd name="connsiteY237" fmla="*/ 303135 h 479077"/>
                <a:gd name="connsiteX238" fmla="*/ 188084 w 3785642"/>
                <a:gd name="connsiteY238" fmla="*/ 291725 h 479077"/>
                <a:gd name="connsiteX239" fmla="*/ 199494 w 3785642"/>
                <a:gd name="connsiteY239" fmla="*/ 280315 h 479077"/>
                <a:gd name="connsiteX240" fmla="*/ 210904 w 3785642"/>
                <a:gd name="connsiteY240" fmla="*/ 268906 h 479077"/>
                <a:gd name="connsiteX241" fmla="*/ 221818 w 3785642"/>
                <a:gd name="connsiteY241" fmla="*/ 256504 h 479077"/>
                <a:gd name="connsiteX242" fmla="*/ 233724 w 3785642"/>
                <a:gd name="connsiteY242" fmla="*/ 245094 h 479077"/>
                <a:gd name="connsiteX243" fmla="*/ 244141 w 3785642"/>
                <a:gd name="connsiteY243" fmla="*/ 232692 h 479077"/>
                <a:gd name="connsiteX244" fmla="*/ 257039 w 3785642"/>
                <a:gd name="connsiteY244" fmla="*/ 222770 h 479077"/>
                <a:gd name="connsiteX245" fmla="*/ 266961 w 3785642"/>
                <a:gd name="connsiteY245" fmla="*/ 209376 h 479077"/>
                <a:gd name="connsiteX246" fmla="*/ 278371 w 3785642"/>
                <a:gd name="connsiteY246" fmla="*/ 197966 h 479077"/>
                <a:gd name="connsiteX247" fmla="*/ 291269 w 3785642"/>
                <a:gd name="connsiteY247" fmla="*/ 188045 h 479077"/>
                <a:gd name="connsiteX248" fmla="*/ 301686 w 3785642"/>
                <a:gd name="connsiteY248" fmla="*/ 175147 h 479077"/>
                <a:gd name="connsiteX249" fmla="*/ 313592 w 3785642"/>
                <a:gd name="connsiteY249" fmla="*/ 163737 h 479077"/>
                <a:gd name="connsiteX250" fmla="*/ 325994 w 3785642"/>
                <a:gd name="connsiteY250" fmla="*/ 153319 h 479077"/>
                <a:gd name="connsiteX251" fmla="*/ 337404 w 3785642"/>
                <a:gd name="connsiteY251" fmla="*/ 141910 h 479077"/>
                <a:gd name="connsiteX252" fmla="*/ 347325 w 3785642"/>
                <a:gd name="connsiteY252" fmla="*/ 129012 h 479077"/>
                <a:gd name="connsiteX253" fmla="*/ 360224 w 3785642"/>
                <a:gd name="connsiteY253" fmla="*/ 118594 h 479077"/>
                <a:gd name="connsiteX254" fmla="*/ 371137 w 3785642"/>
                <a:gd name="connsiteY254" fmla="*/ 106192 h 479077"/>
                <a:gd name="connsiteX255" fmla="*/ 382051 w 3785642"/>
                <a:gd name="connsiteY255" fmla="*/ 93790 h 479077"/>
                <a:gd name="connsiteX256" fmla="*/ 393957 w 3785642"/>
                <a:gd name="connsiteY256" fmla="*/ 82380 h 479077"/>
                <a:gd name="connsiteX257" fmla="*/ 405366 w 3785642"/>
                <a:gd name="connsiteY257" fmla="*/ 70475 h 479077"/>
                <a:gd name="connsiteX258" fmla="*/ 417272 w 3785642"/>
                <a:gd name="connsiteY258" fmla="*/ 59561 h 479077"/>
                <a:gd name="connsiteX259" fmla="*/ 429674 w 3785642"/>
                <a:gd name="connsiteY259" fmla="*/ 48647 h 479077"/>
                <a:gd name="connsiteX260" fmla="*/ 440092 w 3785642"/>
                <a:gd name="connsiteY260" fmla="*/ 35749 h 479077"/>
                <a:gd name="connsiteX261" fmla="*/ 452494 w 3785642"/>
                <a:gd name="connsiteY261" fmla="*/ 24835 h 479077"/>
                <a:gd name="connsiteX262" fmla="*/ 463904 w 3785642"/>
                <a:gd name="connsiteY262" fmla="*/ 12929 h 479077"/>
                <a:gd name="connsiteX263" fmla="*/ 475313 w 3785642"/>
                <a:gd name="connsiteY263" fmla="*/ 1024 h 479077"/>
                <a:gd name="connsiteX264" fmla="*/ 491684 w 3785642"/>
                <a:gd name="connsiteY264" fmla="*/ 2512 h 479077"/>
                <a:gd name="connsiteX265" fmla="*/ 508055 w 3785642"/>
                <a:gd name="connsiteY265" fmla="*/ 2512 h 479077"/>
                <a:gd name="connsiteX266" fmla="*/ 524425 w 3785642"/>
                <a:gd name="connsiteY266" fmla="*/ 2512 h 479077"/>
                <a:gd name="connsiteX267" fmla="*/ 540796 w 3785642"/>
                <a:gd name="connsiteY267" fmla="*/ 1024 h 479077"/>
                <a:gd name="connsiteX268" fmla="*/ 557166 w 3785642"/>
                <a:gd name="connsiteY268" fmla="*/ 2512 h 479077"/>
                <a:gd name="connsiteX269" fmla="*/ 573537 w 3785642"/>
                <a:gd name="connsiteY269" fmla="*/ 1024 h 479077"/>
                <a:gd name="connsiteX270" fmla="*/ 589908 w 3785642"/>
                <a:gd name="connsiteY270" fmla="*/ 527 h 479077"/>
                <a:gd name="connsiteX271" fmla="*/ 606278 w 3785642"/>
                <a:gd name="connsiteY271" fmla="*/ 1520 h 479077"/>
                <a:gd name="connsiteX272" fmla="*/ 622649 w 3785642"/>
                <a:gd name="connsiteY272" fmla="*/ 1520 h 479077"/>
                <a:gd name="connsiteX273" fmla="*/ 639019 w 3785642"/>
                <a:gd name="connsiteY273" fmla="*/ 2016 h 479077"/>
                <a:gd name="connsiteX274" fmla="*/ 655390 w 3785642"/>
                <a:gd name="connsiteY274" fmla="*/ 527 h 479077"/>
                <a:gd name="connsiteX275" fmla="*/ 671760 w 3785642"/>
                <a:gd name="connsiteY275" fmla="*/ 1520 h 479077"/>
                <a:gd name="connsiteX276" fmla="*/ 688131 w 3785642"/>
                <a:gd name="connsiteY276" fmla="*/ 2512 h 479077"/>
                <a:gd name="connsiteX277" fmla="*/ 704501 w 3785642"/>
                <a:gd name="connsiteY277" fmla="*/ 1024 h 479077"/>
                <a:gd name="connsiteX278" fmla="*/ 720872 w 3785642"/>
                <a:gd name="connsiteY278" fmla="*/ 1520 h 479077"/>
                <a:gd name="connsiteX279" fmla="*/ 737243 w 3785642"/>
                <a:gd name="connsiteY279" fmla="*/ 2016 h 479077"/>
                <a:gd name="connsiteX280" fmla="*/ 753613 w 3785642"/>
                <a:gd name="connsiteY280" fmla="*/ 1024 h 479077"/>
                <a:gd name="connsiteX281" fmla="*/ 769984 w 3785642"/>
                <a:gd name="connsiteY281" fmla="*/ 527 h 479077"/>
                <a:gd name="connsiteX282" fmla="*/ 786354 w 3785642"/>
                <a:gd name="connsiteY282" fmla="*/ 1520 h 479077"/>
                <a:gd name="connsiteX283" fmla="*/ 802725 w 3785642"/>
                <a:gd name="connsiteY283" fmla="*/ 527 h 479077"/>
                <a:gd name="connsiteX284" fmla="*/ 819096 w 3785642"/>
                <a:gd name="connsiteY284" fmla="*/ 2512 h 479077"/>
                <a:gd name="connsiteX285" fmla="*/ 835466 w 3785642"/>
                <a:gd name="connsiteY285" fmla="*/ 527 h 479077"/>
                <a:gd name="connsiteX286" fmla="*/ 851837 w 3785642"/>
                <a:gd name="connsiteY286" fmla="*/ 1520 h 479077"/>
                <a:gd name="connsiteX287" fmla="*/ 868207 w 3785642"/>
                <a:gd name="connsiteY287" fmla="*/ 2016 h 479077"/>
                <a:gd name="connsiteX288" fmla="*/ 884578 w 3785642"/>
                <a:gd name="connsiteY288" fmla="*/ 2512 h 479077"/>
                <a:gd name="connsiteX289" fmla="*/ 900948 w 3785642"/>
                <a:gd name="connsiteY289" fmla="*/ 1520 h 479077"/>
                <a:gd name="connsiteX290" fmla="*/ 917319 w 3785642"/>
                <a:gd name="connsiteY290" fmla="*/ 1024 h 479077"/>
                <a:gd name="connsiteX291" fmla="*/ 933689 w 3785642"/>
                <a:gd name="connsiteY291" fmla="*/ 2512 h 479077"/>
                <a:gd name="connsiteX292" fmla="*/ 950060 w 3785642"/>
                <a:gd name="connsiteY292" fmla="*/ 1520 h 479077"/>
                <a:gd name="connsiteX293" fmla="*/ 966431 w 3785642"/>
                <a:gd name="connsiteY293" fmla="*/ 2016 h 479077"/>
                <a:gd name="connsiteX294" fmla="*/ 982801 w 3785642"/>
                <a:gd name="connsiteY294" fmla="*/ 2512 h 479077"/>
                <a:gd name="connsiteX295" fmla="*/ 999172 w 3785642"/>
                <a:gd name="connsiteY295" fmla="*/ 1520 h 479077"/>
                <a:gd name="connsiteX296" fmla="*/ 1015542 w 3785642"/>
                <a:gd name="connsiteY296" fmla="*/ 2512 h 479077"/>
                <a:gd name="connsiteX297" fmla="*/ 1031913 w 3785642"/>
                <a:gd name="connsiteY297" fmla="*/ 1520 h 479077"/>
                <a:gd name="connsiteX298" fmla="*/ 1048283 w 3785642"/>
                <a:gd name="connsiteY298" fmla="*/ 2016 h 479077"/>
                <a:gd name="connsiteX299" fmla="*/ 1064654 w 3785642"/>
                <a:gd name="connsiteY299" fmla="*/ 3504 h 479077"/>
                <a:gd name="connsiteX300" fmla="*/ 1081025 w 3785642"/>
                <a:gd name="connsiteY300" fmla="*/ 2016 h 479077"/>
                <a:gd name="connsiteX301" fmla="*/ 1097395 w 3785642"/>
                <a:gd name="connsiteY301" fmla="*/ 2512 h 479077"/>
                <a:gd name="connsiteX302" fmla="*/ 1113766 w 3785642"/>
                <a:gd name="connsiteY302" fmla="*/ 2512 h 479077"/>
                <a:gd name="connsiteX303" fmla="*/ 1130136 w 3785642"/>
                <a:gd name="connsiteY303" fmla="*/ 3504 h 479077"/>
                <a:gd name="connsiteX304" fmla="*/ 1146507 w 3785642"/>
                <a:gd name="connsiteY304" fmla="*/ 1520 h 479077"/>
                <a:gd name="connsiteX305" fmla="*/ 1162878 w 3785642"/>
                <a:gd name="connsiteY305" fmla="*/ 3008 h 479077"/>
                <a:gd name="connsiteX306" fmla="*/ 1179248 w 3785642"/>
                <a:gd name="connsiteY306" fmla="*/ 4000 h 479077"/>
                <a:gd name="connsiteX307" fmla="*/ 1195619 w 3785642"/>
                <a:gd name="connsiteY307" fmla="*/ 3504 h 479077"/>
                <a:gd name="connsiteX308" fmla="*/ 1211989 w 3785642"/>
                <a:gd name="connsiteY308" fmla="*/ 1520 h 479077"/>
                <a:gd name="connsiteX309" fmla="*/ 1228360 w 3785642"/>
                <a:gd name="connsiteY309" fmla="*/ 3504 h 479077"/>
                <a:gd name="connsiteX310" fmla="*/ 1244730 w 3785642"/>
                <a:gd name="connsiteY310" fmla="*/ 1520 h 479077"/>
                <a:gd name="connsiteX311" fmla="*/ 1261101 w 3785642"/>
                <a:gd name="connsiteY311" fmla="*/ 2512 h 479077"/>
                <a:gd name="connsiteX312" fmla="*/ 1277471 w 3785642"/>
                <a:gd name="connsiteY312" fmla="*/ 3504 h 479077"/>
                <a:gd name="connsiteX313" fmla="*/ 1293842 w 3785642"/>
                <a:gd name="connsiteY313" fmla="*/ 4000 h 479077"/>
                <a:gd name="connsiteX314" fmla="*/ 1310213 w 3785642"/>
                <a:gd name="connsiteY314" fmla="*/ 1520 h 479077"/>
                <a:gd name="connsiteX315" fmla="*/ 1326583 w 3785642"/>
                <a:gd name="connsiteY315" fmla="*/ 2016 h 479077"/>
                <a:gd name="connsiteX316" fmla="*/ 1342954 w 3785642"/>
                <a:gd name="connsiteY316" fmla="*/ 3008 h 479077"/>
                <a:gd name="connsiteX317" fmla="*/ 1359324 w 3785642"/>
                <a:gd name="connsiteY317" fmla="*/ 3008 h 479077"/>
                <a:gd name="connsiteX318" fmla="*/ 1375695 w 3785642"/>
                <a:gd name="connsiteY318" fmla="*/ 2512 h 479077"/>
                <a:gd name="connsiteX319" fmla="*/ 1392066 w 3785642"/>
                <a:gd name="connsiteY319" fmla="*/ 2512 h 479077"/>
                <a:gd name="connsiteX320" fmla="*/ 1408436 w 3785642"/>
                <a:gd name="connsiteY320" fmla="*/ 3504 h 479077"/>
                <a:gd name="connsiteX321" fmla="*/ 1424807 w 3785642"/>
                <a:gd name="connsiteY321" fmla="*/ 3504 h 479077"/>
                <a:gd name="connsiteX322" fmla="*/ 1441177 w 3785642"/>
                <a:gd name="connsiteY322" fmla="*/ 1520 h 479077"/>
                <a:gd name="connsiteX323" fmla="*/ 1457548 w 3785642"/>
                <a:gd name="connsiteY323" fmla="*/ 2512 h 479077"/>
                <a:gd name="connsiteX324" fmla="*/ 1473919 w 3785642"/>
                <a:gd name="connsiteY324" fmla="*/ 2016 h 479077"/>
                <a:gd name="connsiteX325" fmla="*/ 1490289 w 3785642"/>
                <a:gd name="connsiteY325" fmla="*/ 2016 h 479077"/>
                <a:gd name="connsiteX326" fmla="*/ 1506660 w 3785642"/>
                <a:gd name="connsiteY326" fmla="*/ 1520 h 479077"/>
                <a:gd name="connsiteX327" fmla="*/ 1523030 w 3785642"/>
                <a:gd name="connsiteY327" fmla="*/ 3504 h 479077"/>
                <a:gd name="connsiteX328" fmla="*/ 1539401 w 3785642"/>
                <a:gd name="connsiteY328" fmla="*/ 3008 h 479077"/>
                <a:gd name="connsiteX329" fmla="*/ 1555771 w 3785642"/>
                <a:gd name="connsiteY329" fmla="*/ 3008 h 479077"/>
                <a:gd name="connsiteX330" fmla="*/ 1572142 w 3785642"/>
                <a:gd name="connsiteY330" fmla="*/ 2512 h 479077"/>
                <a:gd name="connsiteX331" fmla="*/ 1588512 w 3785642"/>
                <a:gd name="connsiteY331" fmla="*/ 2016 h 479077"/>
                <a:gd name="connsiteX332" fmla="*/ 1604883 w 3785642"/>
                <a:gd name="connsiteY332" fmla="*/ 3008 h 479077"/>
                <a:gd name="connsiteX333" fmla="*/ 1621253 w 3785642"/>
                <a:gd name="connsiteY333" fmla="*/ 3008 h 479077"/>
                <a:gd name="connsiteX334" fmla="*/ 1637624 w 3785642"/>
                <a:gd name="connsiteY33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313375 w 3785642"/>
                <a:gd name="connsiteY7" fmla="*/ 10945 h 479077"/>
                <a:gd name="connsiteX8" fmla="*/ 3300973 w 3785642"/>
                <a:gd name="connsiteY8" fmla="*/ 21363 h 479077"/>
                <a:gd name="connsiteX9" fmla="*/ 3289068 w 3785642"/>
                <a:gd name="connsiteY9" fmla="*/ 32276 h 479077"/>
                <a:gd name="connsiteX10" fmla="*/ 3277658 w 3785642"/>
                <a:gd name="connsiteY10" fmla="*/ 43686 h 479077"/>
                <a:gd name="connsiteX11" fmla="*/ 3266248 w 3785642"/>
                <a:gd name="connsiteY11" fmla="*/ 55592 h 479077"/>
                <a:gd name="connsiteX12" fmla="*/ 3255830 w 3785642"/>
                <a:gd name="connsiteY12" fmla="*/ 68490 h 479077"/>
                <a:gd name="connsiteX13" fmla="*/ 3243924 w 3785642"/>
                <a:gd name="connsiteY13" fmla="*/ 79900 h 479077"/>
                <a:gd name="connsiteX14" fmla="*/ 3231522 w 3785642"/>
                <a:gd name="connsiteY14" fmla="*/ 90814 h 479077"/>
                <a:gd name="connsiteX15" fmla="*/ 3220609 w 3785642"/>
                <a:gd name="connsiteY15" fmla="*/ 102720 h 479077"/>
                <a:gd name="connsiteX16" fmla="*/ 3208207 w 3785642"/>
                <a:gd name="connsiteY16" fmla="*/ 113137 h 479077"/>
                <a:gd name="connsiteX17" fmla="*/ 3197293 w 3785642"/>
                <a:gd name="connsiteY17" fmla="*/ 125043 h 479077"/>
                <a:gd name="connsiteX18" fmla="*/ 3185387 w 3785642"/>
                <a:gd name="connsiteY18" fmla="*/ 136453 h 479077"/>
                <a:gd name="connsiteX19" fmla="*/ 3174970 w 3785642"/>
                <a:gd name="connsiteY19" fmla="*/ 148855 h 479077"/>
                <a:gd name="connsiteX20" fmla="*/ 3162071 w 3785642"/>
                <a:gd name="connsiteY20" fmla="*/ 159272 h 479077"/>
                <a:gd name="connsiteX21" fmla="*/ 3151158 w 3785642"/>
                <a:gd name="connsiteY21" fmla="*/ 171674 h 479077"/>
                <a:gd name="connsiteX22" fmla="*/ 3139252 w 3785642"/>
                <a:gd name="connsiteY22" fmla="*/ 182588 h 479077"/>
                <a:gd name="connsiteX23" fmla="*/ 3127843 w 3785642"/>
                <a:gd name="connsiteY23" fmla="*/ 194494 h 479077"/>
                <a:gd name="connsiteX24" fmla="*/ 3116432 w 3785642"/>
                <a:gd name="connsiteY24" fmla="*/ 205904 h 479077"/>
                <a:gd name="connsiteX25" fmla="*/ 3105022 w 3785642"/>
                <a:gd name="connsiteY25" fmla="*/ 217810 h 479077"/>
                <a:gd name="connsiteX26" fmla="*/ 3093117 w 3785642"/>
                <a:gd name="connsiteY26" fmla="*/ 229219 h 479077"/>
                <a:gd name="connsiteX27" fmla="*/ 3081707 w 3785642"/>
                <a:gd name="connsiteY27" fmla="*/ 240629 h 479077"/>
                <a:gd name="connsiteX28" fmla="*/ 3069305 w 3785642"/>
                <a:gd name="connsiteY28" fmla="*/ 251543 h 479077"/>
                <a:gd name="connsiteX29" fmla="*/ 3057895 w 3785642"/>
                <a:gd name="connsiteY29" fmla="*/ 263449 h 479077"/>
                <a:gd name="connsiteX30" fmla="*/ 3046486 w 3785642"/>
                <a:gd name="connsiteY30" fmla="*/ 275355 h 479077"/>
                <a:gd name="connsiteX31" fmla="*/ 3035572 w 3785642"/>
                <a:gd name="connsiteY31" fmla="*/ 287260 h 479077"/>
                <a:gd name="connsiteX32" fmla="*/ 3024658 w 3785642"/>
                <a:gd name="connsiteY32" fmla="*/ 299166 h 479077"/>
                <a:gd name="connsiteX33" fmla="*/ 3013248 w 3785642"/>
                <a:gd name="connsiteY33" fmla="*/ 311072 h 479077"/>
                <a:gd name="connsiteX34" fmla="*/ 3000350 w 3785642"/>
                <a:gd name="connsiteY34" fmla="*/ 321490 h 479077"/>
                <a:gd name="connsiteX35" fmla="*/ 2988941 w 3785642"/>
                <a:gd name="connsiteY35" fmla="*/ 333396 h 479077"/>
                <a:gd name="connsiteX36" fmla="*/ 2976539 w 3785642"/>
                <a:gd name="connsiteY36" fmla="*/ 344309 h 479077"/>
                <a:gd name="connsiteX37" fmla="*/ 2965129 w 3785642"/>
                <a:gd name="connsiteY37" fmla="*/ 356215 h 479077"/>
                <a:gd name="connsiteX38" fmla="*/ 2953223 w 3785642"/>
                <a:gd name="connsiteY38" fmla="*/ 367625 h 479077"/>
                <a:gd name="connsiteX39" fmla="*/ 2941813 w 3785642"/>
                <a:gd name="connsiteY39" fmla="*/ 379531 h 479077"/>
                <a:gd name="connsiteX40" fmla="*/ 2931395 w 3785642"/>
                <a:gd name="connsiteY40" fmla="*/ 392429 h 479077"/>
                <a:gd name="connsiteX41" fmla="*/ 2918497 w 3785642"/>
                <a:gd name="connsiteY41" fmla="*/ 402847 h 479077"/>
                <a:gd name="connsiteX42" fmla="*/ 2907584 w 3785642"/>
                <a:gd name="connsiteY42" fmla="*/ 415249 h 479077"/>
                <a:gd name="connsiteX43" fmla="*/ 2896174 w 3785642"/>
                <a:gd name="connsiteY43" fmla="*/ 426658 h 479077"/>
                <a:gd name="connsiteX44" fmla="*/ 2884268 w 3785642"/>
                <a:gd name="connsiteY44" fmla="*/ 438068 h 479077"/>
                <a:gd name="connsiteX45" fmla="*/ 2873354 w 3785642"/>
                <a:gd name="connsiteY45" fmla="*/ 450470 h 479077"/>
                <a:gd name="connsiteX46" fmla="*/ 2860952 w 3785642"/>
                <a:gd name="connsiteY46" fmla="*/ 461384 h 479077"/>
                <a:gd name="connsiteX47" fmla="*/ 2850039 w 3785642"/>
                <a:gd name="connsiteY47" fmla="*/ 473786 h 479077"/>
                <a:gd name="connsiteX48" fmla="*/ 2833668 w 3785642"/>
                <a:gd name="connsiteY48" fmla="*/ 473786 h 479077"/>
                <a:gd name="connsiteX49" fmla="*/ 2817297 w 3785642"/>
                <a:gd name="connsiteY49" fmla="*/ 473290 h 479077"/>
                <a:gd name="connsiteX50" fmla="*/ 2800927 w 3785642"/>
                <a:gd name="connsiteY50" fmla="*/ 473290 h 479077"/>
                <a:gd name="connsiteX51" fmla="*/ 2784556 w 3785642"/>
                <a:gd name="connsiteY51" fmla="*/ 473786 h 479077"/>
                <a:gd name="connsiteX52" fmla="*/ 2768186 w 3785642"/>
                <a:gd name="connsiteY52" fmla="*/ 474282 h 479077"/>
                <a:gd name="connsiteX53" fmla="*/ 2751815 w 3785642"/>
                <a:gd name="connsiteY53" fmla="*/ 474282 h 479077"/>
                <a:gd name="connsiteX54" fmla="*/ 2735444 w 3785642"/>
                <a:gd name="connsiteY54" fmla="*/ 473290 h 479077"/>
                <a:gd name="connsiteX55" fmla="*/ 2719074 w 3785642"/>
                <a:gd name="connsiteY55" fmla="*/ 474282 h 479077"/>
                <a:gd name="connsiteX56" fmla="*/ 2702703 w 3785642"/>
                <a:gd name="connsiteY56" fmla="*/ 472298 h 479077"/>
                <a:gd name="connsiteX57" fmla="*/ 2686333 w 3785642"/>
                <a:gd name="connsiteY57" fmla="*/ 472794 h 479077"/>
                <a:gd name="connsiteX58" fmla="*/ 2669962 w 3785642"/>
                <a:gd name="connsiteY58" fmla="*/ 474282 h 479077"/>
                <a:gd name="connsiteX59" fmla="*/ 2653592 w 3785642"/>
                <a:gd name="connsiteY59" fmla="*/ 472298 h 479077"/>
                <a:gd name="connsiteX60" fmla="*/ 2637221 w 3785642"/>
                <a:gd name="connsiteY60" fmla="*/ 474282 h 479077"/>
                <a:gd name="connsiteX61" fmla="*/ 2620851 w 3785642"/>
                <a:gd name="connsiteY61" fmla="*/ 474282 h 479077"/>
                <a:gd name="connsiteX62" fmla="*/ 2604480 w 3785642"/>
                <a:gd name="connsiteY62" fmla="*/ 472298 h 479077"/>
                <a:gd name="connsiteX63" fmla="*/ 2588109 w 3785642"/>
                <a:gd name="connsiteY63" fmla="*/ 473786 h 479077"/>
                <a:gd name="connsiteX64" fmla="*/ 2571739 w 3785642"/>
                <a:gd name="connsiteY64" fmla="*/ 472298 h 479077"/>
                <a:gd name="connsiteX65" fmla="*/ 2555368 w 3785642"/>
                <a:gd name="connsiteY65" fmla="*/ 473290 h 479077"/>
                <a:gd name="connsiteX66" fmla="*/ 2538998 w 3785642"/>
                <a:gd name="connsiteY66" fmla="*/ 474282 h 479077"/>
                <a:gd name="connsiteX67" fmla="*/ 2522627 w 3785642"/>
                <a:gd name="connsiteY67" fmla="*/ 473290 h 479077"/>
                <a:gd name="connsiteX68" fmla="*/ 2506257 w 3785642"/>
                <a:gd name="connsiteY68" fmla="*/ 474282 h 479077"/>
                <a:gd name="connsiteX69" fmla="*/ 2489886 w 3785642"/>
                <a:gd name="connsiteY69" fmla="*/ 473786 h 479077"/>
                <a:gd name="connsiteX70" fmla="*/ 2473516 w 3785642"/>
                <a:gd name="connsiteY70" fmla="*/ 474282 h 479077"/>
                <a:gd name="connsiteX71" fmla="*/ 2457145 w 3785642"/>
                <a:gd name="connsiteY71" fmla="*/ 472794 h 479077"/>
                <a:gd name="connsiteX72" fmla="*/ 2440775 w 3785642"/>
                <a:gd name="connsiteY72" fmla="*/ 472298 h 479077"/>
                <a:gd name="connsiteX73" fmla="*/ 2424404 w 3785642"/>
                <a:gd name="connsiteY73" fmla="*/ 473786 h 479077"/>
                <a:gd name="connsiteX74" fmla="*/ 2408033 w 3785642"/>
                <a:gd name="connsiteY74" fmla="*/ 472794 h 479077"/>
                <a:gd name="connsiteX75" fmla="*/ 2391663 w 3785642"/>
                <a:gd name="connsiteY75" fmla="*/ 473290 h 479077"/>
                <a:gd name="connsiteX76" fmla="*/ 2375292 w 3785642"/>
                <a:gd name="connsiteY76" fmla="*/ 473290 h 479077"/>
                <a:gd name="connsiteX77" fmla="*/ 2358922 w 3785642"/>
                <a:gd name="connsiteY77" fmla="*/ 472794 h 479077"/>
                <a:gd name="connsiteX78" fmla="*/ 2342551 w 3785642"/>
                <a:gd name="connsiteY78" fmla="*/ 472298 h 479077"/>
                <a:gd name="connsiteX79" fmla="*/ 2326180 w 3785642"/>
                <a:gd name="connsiteY79" fmla="*/ 473786 h 479077"/>
                <a:gd name="connsiteX80" fmla="*/ 2309810 w 3785642"/>
                <a:gd name="connsiteY80" fmla="*/ 473786 h 479077"/>
                <a:gd name="connsiteX81" fmla="*/ 2293439 w 3785642"/>
                <a:gd name="connsiteY81" fmla="*/ 473786 h 479077"/>
                <a:gd name="connsiteX82" fmla="*/ 2277069 w 3785642"/>
                <a:gd name="connsiteY82" fmla="*/ 472794 h 479077"/>
                <a:gd name="connsiteX83" fmla="*/ 2260698 w 3785642"/>
                <a:gd name="connsiteY83" fmla="*/ 474282 h 479077"/>
                <a:gd name="connsiteX84" fmla="*/ 2244327 w 3785642"/>
                <a:gd name="connsiteY84" fmla="*/ 472298 h 479077"/>
                <a:gd name="connsiteX85" fmla="*/ 2227957 w 3785642"/>
                <a:gd name="connsiteY85" fmla="*/ 474282 h 479077"/>
                <a:gd name="connsiteX86" fmla="*/ 2211586 w 3785642"/>
                <a:gd name="connsiteY86" fmla="*/ 473290 h 479077"/>
                <a:gd name="connsiteX87" fmla="*/ 2195216 w 3785642"/>
                <a:gd name="connsiteY87" fmla="*/ 474282 h 479077"/>
                <a:gd name="connsiteX88" fmla="*/ 2178845 w 3785642"/>
                <a:gd name="connsiteY88" fmla="*/ 472794 h 479077"/>
                <a:gd name="connsiteX89" fmla="*/ 2162474 w 3785642"/>
                <a:gd name="connsiteY89" fmla="*/ 474778 h 479077"/>
                <a:gd name="connsiteX90" fmla="*/ 2146104 w 3785642"/>
                <a:gd name="connsiteY90" fmla="*/ 473290 h 479077"/>
                <a:gd name="connsiteX91" fmla="*/ 2129733 w 3785642"/>
                <a:gd name="connsiteY91" fmla="*/ 474778 h 479077"/>
                <a:gd name="connsiteX92" fmla="*/ 2113363 w 3785642"/>
                <a:gd name="connsiteY92" fmla="*/ 474778 h 479077"/>
                <a:gd name="connsiteX93" fmla="*/ 2096992 w 3785642"/>
                <a:gd name="connsiteY93" fmla="*/ 474778 h 479077"/>
                <a:gd name="connsiteX94" fmla="*/ 2080621 w 3785642"/>
                <a:gd name="connsiteY94" fmla="*/ 474282 h 479077"/>
                <a:gd name="connsiteX95" fmla="*/ 2064251 w 3785642"/>
                <a:gd name="connsiteY95" fmla="*/ 472794 h 479077"/>
                <a:gd name="connsiteX96" fmla="*/ 2047880 w 3785642"/>
                <a:gd name="connsiteY96" fmla="*/ 474778 h 479077"/>
                <a:gd name="connsiteX97" fmla="*/ 2031510 w 3785642"/>
                <a:gd name="connsiteY97" fmla="*/ 474778 h 479077"/>
                <a:gd name="connsiteX98" fmla="*/ 2015139 w 3785642"/>
                <a:gd name="connsiteY98" fmla="*/ 474778 h 479077"/>
                <a:gd name="connsiteX99" fmla="*/ 1998769 w 3785642"/>
                <a:gd name="connsiteY99" fmla="*/ 474282 h 479077"/>
                <a:gd name="connsiteX100" fmla="*/ 1982398 w 3785642"/>
                <a:gd name="connsiteY100" fmla="*/ 473786 h 479077"/>
                <a:gd name="connsiteX101" fmla="*/ 1966028 w 3785642"/>
                <a:gd name="connsiteY101" fmla="*/ 473786 h 479077"/>
                <a:gd name="connsiteX102" fmla="*/ 1949657 w 3785642"/>
                <a:gd name="connsiteY102" fmla="*/ 472794 h 479077"/>
                <a:gd name="connsiteX103" fmla="*/ 1933287 w 3785642"/>
                <a:gd name="connsiteY103" fmla="*/ 473290 h 479077"/>
                <a:gd name="connsiteX104" fmla="*/ 1916916 w 3785642"/>
                <a:gd name="connsiteY104" fmla="*/ 474778 h 479077"/>
                <a:gd name="connsiteX105" fmla="*/ 1900546 w 3785642"/>
                <a:gd name="connsiteY105" fmla="*/ 472794 h 479077"/>
                <a:gd name="connsiteX106" fmla="*/ 1884175 w 3785642"/>
                <a:gd name="connsiteY106" fmla="*/ 473786 h 479077"/>
                <a:gd name="connsiteX107" fmla="*/ 1867804 w 3785642"/>
                <a:gd name="connsiteY107" fmla="*/ 474778 h 479077"/>
                <a:gd name="connsiteX108" fmla="*/ 1851434 w 3785642"/>
                <a:gd name="connsiteY108" fmla="*/ 474778 h 479077"/>
                <a:gd name="connsiteX109" fmla="*/ 1835063 w 3785642"/>
                <a:gd name="connsiteY109" fmla="*/ 474778 h 479077"/>
                <a:gd name="connsiteX110" fmla="*/ 1818693 w 3785642"/>
                <a:gd name="connsiteY110" fmla="*/ 474282 h 479077"/>
                <a:gd name="connsiteX111" fmla="*/ 1802322 w 3785642"/>
                <a:gd name="connsiteY111" fmla="*/ 472794 h 479077"/>
                <a:gd name="connsiteX112" fmla="*/ 1785951 w 3785642"/>
                <a:gd name="connsiteY112" fmla="*/ 473786 h 479077"/>
                <a:gd name="connsiteX113" fmla="*/ 1769581 w 3785642"/>
                <a:gd name="connsiteY113" fmla="*/ 473290 h 479077"/>
                <a:gd name="connsiteX114" fmla="*/ 1753210 w 3785642"/>
                <a:gd name="connsiteY114" fmla="*/ 472298 h 479077"/>
                <a:gd name="connsiteX115" fmla="*/ 1736840 w 3785642"/>
                <a:gd name="connsiteY115" fmla="*/ 473290 h 479077"/>
                <a:gd name="connsiteX116" fmla="*/ 1720469 w 3785642"/>
                <a:gd name="connsiteY116" fmla="*/ 474778 h 479077"/>
                <a:gd name="connsiteX117" fmla="*/ 1704098 w 3785642"/>
                <a:gd name="connsiteY117" fmla="*/ 472794 h 479077"/>
                <a:gd name="connsiteX118" fmla="*/ 1687728 w 3785642"/>
                <a:gd name="connsiteY118" fmla="*/ 474778 h 479077"/>
                <a:gd name="connsiteX119" fmla="*/ 1671357 w 3785642"/>
                <a:gd name="connsiteY119" fmla="*/ 474778 h 479077"/>
                <a:gd name="connsiteX120" fmla="*/ 1654987 w 3785642"/>
                <a:gd name="connsiteY120" fmla="*/ 472298 h 479077"/>
                <a:gd name="connsiteX121" fmla="*/ 1638616 w 3785642"/>
                <a:gd name="connsiteY121" fmla="*/ 472794 h 479077"/>
                <a:gd name="connsiteX122" fmla="*/ 1622246 w 3785642"/>
                <a:gd name="connsiteY122" fmla="*/ 473786 h 479077"/>
                <a:gd name="connsiteX123" fmla="*/ 1605875 w 3785642"/>
                <a:gd name="connsiteY123" fmla="*/ 474778 h 479077"/>
                <a:gd name="connsiteX124" fmla="*/ 1589505 w 3785642"/>
                <a:gd name="connsiteY124" fmla="*/ 473290 h 479077"/>
                <a:gd name="connsiteX125" fmla="*/ 1573134 w 3785642"/>
                <a:gd name="connsiteY125" fmla="*/ 474778 h 479077"/>
                <a:gd name="connsiteX126" fmla="*/ 1556763 w 3785642"/>
                <a:gd name="connsiteY126" fmla="*/ 472794 h 479077"/>
                <a:gd name="connsiteX127" fmla="*/ 1540393 w 3785642"/>
                <a:gd name="connsiteY127" fmla="*/ 472794 h 479077"/>
                <a:gd name="connsiteX128" fmla="*/ 1524022 w 3785642"/>
                <a:gd name="connsiteY128" fmla="*/ 474282 h 479077"/>
                <a:gd name="connsiteX129" fmla="*/ 1507652 w 3785642"/>
                <a:gd name="connsiteY129" fmla="*/ 472794 h 479077"/>
                <a:gd name="connsiteX130" fmla="*/ 1491281 w 3785642"/>
                <a:gd name="connsiteY130" fmla="*/ 474282 h 479077"/>
                <a:gd name="connsiteX131" fmla="*/ 1474910 w 3785642"/>
                <a:gd name="connsiteY131" fmla="*/ 474282 h 479077"/>
                <a:gd name="connsiteX132" fmla="*/ 1458540 w 3785642"/>
                <a:gd name="connsiteY132" fmla="*/ 472794 h 479077"/>
                <a:gd name="connsiteX133" fmla="*/ 1442169 w 3785642"/>
                <a:gd name="connsiteY133" fmla="*/ 471802 h 479077"/>
                <a:gd name="connsiteX134" fmla="*/ 1425799 w 3785642"/>
                <a:gd name="connsiteY134" fmla="*/ 472298 h 479077"/>
                <a:gd name="connsiteX135" fmla="*/ 1409428 w 3785642"/>
                <a:gd name="connsiteY135" fmla="*/ 472794 h 479077"/>
                <a:gd name="connsiteX136" fmla="*/ 1393058 w 3785642"/>
                <a:gd name="connsiteY136" fmla="*/ 473786 h 479077"/>
                <a:gd name="connsiteX137" fmla="*/ 1376687 w 3785642"/>
                <a:gd name="connsiteY137" fmla="*/ 471802 h 479077"/>
                <a:gd name="connsiteX138" fmla="*/ 1360317 w 3785642"/>
                <a:gd name="connsiteY138" fmla="*/ 473786 h 479077"/>
                <a:gd name="connsiteX139" fmla="*/ 1343946 w 3785642"/>
                <a:gd name="connsiteY139" fmla="*/ 473786 h 479077"/>
                <a:gd name="connsiteX140" fmla="*/ 1327576 w 3785642"/>
                <a:gd name="connsiteY140" fmla="*/ 472794 h 479077"/>
                <a:gd name="connsiteX141" fmla="*/ 1311205 w 3785642"/>
                <a:gd name="connsiteY141" fmla="*/ 473786 h 479077"/>
                <a:gd name="connsiteX142" fmla="*/ 1294834 w 3785642"/>
                <a:gd name="connsiteY142" fmla="*/ 473786 h 479077"/>
                <a:gd name="connsiteX143" fmla="*/ 1278464 w 3785642"/>
                <a:gd name="connsiteY143" fmla="*/ 473786 h 479077"/>
                <a:gd name="connsiteX144" fmla="*/ 1262093 w 3785642"/>
                <a:gd name="connsiteY144" fmla="*/ 473786 h 479077"/>
                <a:gd name="connsiteX145" fmla="*/ 1245723 w 3785642"/>
                <a:gd name="connsiteY145" fmla="*/ 473290 h 479077"/>
                <a:gd name="connsiteX146" fmla="*/ 1229352 w 3785642"/>
                <a:gd name="connsiteY146" fmla="*/ 472794 h 479077"/>
                <a:gd name="connsiteX147" fmla="*/ 1212981 w 3785642"/>
                <a:gd name="connsiteY147" fmla="*/ 473786 h 479077"/>
                <a:gd name="connsiteX148" fmla="*/ 1196611 w 3785642"/>
                <a:gd name="connsiteY148" fmla="*/ 472298 h 479077"/>
                <a:gd name="connsiteX149" fmla="*/ 1180240 w 3785642"/>
                <a:gd name="connsiteY149" fmla="*/ 472794 h 479077"/>
                <a:gd name="connsiteX150" fmla="*/ 1163870 w 3785642"/>
                <a:gd name="connsiteY150" fmla="*/ 472794 h 479077"/>
                <a:gd name="connsiteX151" fmla="*/ 1147499 w 3785642"/>
                <a:gd name="connsiteY151" fmla="*/ 473786 h 479077"/>
                <a:gd name="connsiteX152" fmla="*/ 1131128 w 3785642"/>
                <a:gd name="connsiteY152" fmla="*/ 473786 h 479077"/>
                <a:gd name="connsiteX153" fmla="*/ 1114758 w 3785642"/>
                <a:gd name="connsiteY153" fmla="*/ 472794 h 479077"/>
                <a:gd name="connsiteX154" fmla="*/ 1098387 w 3785642"/>
                <a:gd name="connsiteY154" fmla="*/ 473786 h 479077"/>
                <a:gd name="connsiteX155" fmla="*/ 1082017 w 3785642"/>
                <a:gd name="connsiteY155" fmla="*/ 474778 h 479077"/>
                <a:gd name="connsiteX156" fmla="*/ 1065646 w 3785642"/>
                <a:gd name="connsiteY156" fmla="*/ 474778 h 479077"/>
                <a:gd name="connsiteX157" fmla="*/ 1049276 w 3785642"/>
                <a:gd name="connsiteY157" fmla="*/ 474282 h 479077"/>
                <a:gd name="connsiteX158" fmla="*/ 1032905 w 3785642"/>
                <a:gd name="connsiteY158" fmla="*/ 473290 h 479077"/>
                <a:gd name="connsiteX159" fmla="*/ 1016535 w 3785642"/>
                <a:gd name="connsiteY159" fmla="*/ 474282 h 479077"/>
                <a:gd name="connsiteX160" fmla="*/ 1000164 w 3785642"/>
                <a:gd name="connsiteY160" fmla="*/ 474282 h 479077"/>
                <a:gd name="connsiteX161" fmla="*/ 983793 w 3785642"/>
                <a:gd name="connsiteY161" fmla="*/ 472794 h 479077"/>
                <a:gd name="connsiteX162" fmla="*/ 967423 w 3785642"/>
                <a:gd name="connsiteY162" fmla="*/ 472794 h 479077"/>
                <a:gd name="connsiteX163" fmla="*/ 951052 w 3785642"/>
                <a:gd name="connsiteY163" fmla="*/ 473786 h 479077"/>
                <a:gd name="connsiteX164" fmla="*/ 934682 w 3785642"/>
                <a:gd name="connsiteY164" fmla="*/ 474282 h 479077"/>
                <a:gd name="connsiteX165" fmla="*/ 918311 w 3785642"/>
                <a:gd name="connsiteY165" fmla="*/ 474778 h 479077"/>
                <a:gd name="connsiteX166" fmla="*/ 901940 w 3785642"/>
                <a:gd name="connsiteY166" fmla="*/ 473290 h 479077"/>
                <a:gd name="connsiteX167" fmla="*/ 885570 w 3785642"/>
                <a:gd name="connsiteY167" fmla="*/ 474778 h 479077"/>
                <a:gd name="connsiteX168" fmla="*/ 869199 w 3785642"/>
                <a:gd name="connsiteY168" fmla="*/ 474282 h 479077"/>
                <a:gd name="connsiteX169" fmla="*/ 852829 w 3785642"/>
                <a:gd name="connsiteY169" fmla="*/ 473786 h 479077"/>
                <a:gd name="connsiteX170" fmla="*/ 836458 w 3785642"/>
                <a:gd name="connsiteY170" fmla="*/ 474778 h 479077"/>
                <a:gd name="connsiteX171" fmla="*/ 820088 w 3785642"/>
                <a:gd name="connsiteY171" fmla="*/ 475274 h 479077"/>
                <a:gd name="connsiteX172" fmla="*/ 803717 w 3785642"/>
                <a:gd name="connsiteY172" fmla="*/ 473786 h 479077"/>
                <a:gd name="connsiteX173" fmla="*/ 787347 w 3785642"/>
                <a:gd name="connsiteY173" fmla="*/ 475770 h 479077"/>
                <a:gd name="connsiteX174" fmla="*/ 770976 w 3785642"/>
                <a:gd name="connsiteY174" fmla="*/ 474778 h 479077"/>
                <a:gd name="connsiteX175" fmla="*/ 754605 w 3785642"/>
                <a:gd name="connsiteY175" fmla="*/ 475274 h 479077"/>
                <a:gd name="connsiteX176" fmla="*/ 738235 w 3785642"/>
                <a:gd name="connsiteY176" fmla="*/ 473786 h 479077"/>
                <a:gd name="connsiteX177" fmla="*/ 721864 w 3785642"/>
                <a:gd name="connsiteY177" fmla="*/ 475274 h 479077"/>
                <a:gd name="connsiteX178" fmla="*/ 705494 w 3785642"/>
                <a:gd name="connsiteY178" fmla="*/ 475770 h 479077"/>
                <a:gd name="connsiteX179" fmla="*/ 689123 w 3785642"/>
                <a:gd name="connsiteY179" fmla="*/ 474282 h 479077"/>
                <a:gd name="connsiteX180" fmla="*/ 672753 w 3785642"/>
                <a:gd name="connsiteY180" fmla="*/ 475274 h 479077"/>
                <a:gd name="connsiteX181" fmla="*/ 656382 w 3785642"/>
                <a:gd name="connsiteY181" fmla="*/ 474778 h 479077"/>
                <a:gd name="connsiteX182" fmla="*/ 640011 w 3785642"/>
                <a:gd name="connsiteY182" fmla="*/ 475770 h 479077"/>
                <a:gd name="connsiteX183" fmla="*/ 623641 w 3785642"/>
                <a:gd name="connsiteY183" fmla="*/ 473786 h 479077"/>
                <a:gd name="connsiteX184" fmla="*/ 607270 w 3785642"/>
                <a:gd name="connsiteY184" fmla="*/ 474778 h 479077"/>
                <a:gd name="connsiteX185" fmla="*/ 590900 w 3785642"/>
                <a:gd name="connsiteY185" fmla="*/ 475274 h 479077"/>
                <a:gd name="connsiteX186" fmla="*/ 574529 w 3785642"/>
                <a:gd name="connsiteY186" fmla="*/ 474282 h 479077"/>
                <a:gd name="connsiteX187" fmla="*/ 558158 w 3785642"/>
                <a:gd name="connsiteY187" fmla="*/ 475274 h 479077"/>
                <a:gd name="connsiteX188" fmla="*/ 541788 w 3785642"/>
                <a:gd name="connsiteY188" fmla="*/ 475770 h 479077"/>
                <a:gd name="connsiteX189" fmla="*/ 525417 w 3785642"/>
                <a:gd name="connsiteY189" fmla="*/ 474282 h 479077"/>
                <a:gd name="connsiteX190" fmla="*/ 509047 w 3785642"/>
                <a:gd name="connsiteY190" fmla="*/ 473786 h 479077"/>
                <a:gd name="connsiteX191" fmla="*/ 492676 w 3785642"/>
                <a:gd name="connsiteY191" fmla="*/ 473786 h 479077"/>
                <a:gd name="connsiteX192" fmla="*/ 476306 w 3785642"/>
                <a:gd name="connsiteY192" fmla="*/ 474778 h 479077"/>
                <a:gd name="connsiteX193" fmla="*/ 459935 w 3785642"/>
                <a:gd name="connsiteY193" fmla="*/ 473786 h 479077"/>
                <a:gd name="connsiteX194" fmla="*/ 443565 w 3785642"/>
                <a:gd name="connsiteY194" fmla="*/ 474778 h 479077"/>
                <a:gd name="connsiteX195" fmla="*/ 427194 w 3785642"/>
                <a:gd name="connsiteY195" fmla="*/ 474282 h 479077"/>
                <a:gd name="connsiteX196" fmla="*/ 410823 w 3785642"/>
                <a:gd name="connsiteY196" fmla="*/ 473290 h 479077"/>
                <a:gd name="connsiteX197" fmla="*/ 394453 w 3785642"/>
                <a:gd name="connsiteY197" fmla="*/ 475770 h 479077"/>
                <a:gd name="connsiteX198" fmla="*/ 378082 w 3785642"/>
                <a:gd name="connsiteY198" fmla="*/ 475274 h 479077"/>
                <a:gd name="connsiteX199" fmla="*/ 361712 w 3785642"/>
                <a:gd name="connsiteY199" fmla="*/ 474778 h 479077"/>
                <a:gd name="connsiteX200" fmla="*/ 345341 w 3785642"/>
                <a:gd name="connsiteY200" fmla="*/ 476266 h 479077"/>
                <a:gd name="connsiteX201" fmla="*/ 328970 w 3785642"/>
                <a:gd name="connsiteY201" fmla="*/ 474282 h 479077"/>
                <a:gd name="connsiteX202" fmla="*/ 312600 w 3785642"/>
                <a:gd name="connsiteY202" fmla="*/ 475274 h 479077"/>
                <a:gd name="connsiteX203" fmla="*/ 296229 w 3785642"/>
                <a:gd name="connsiteY203" fmla="*/ 474282 h 479077"/>
                <a:gd name="connsiteX204" fmla="*/ 279859 w 3785642"/>
                <a:gd name="connsiteY204" fmla="*/ 475770 h 479077"/>
                <a:gd name="connsiteX205" fmla="*/ 263488 w 3785642"/>
                <a:gd name="connsiteY205" fmla="*/ 476266 h 479077"/>
                <a:gd name="connsiteX206" fmla="*/ 247118 w 3785642"/>
                <a:gd name="connsiteY206" fmla="*/ 476266 h 479077"/>
                <a:gd name="connsiteX207" fmla="*/ 230747 w 3785642"/>
                <a:gd name="connsiteY207" fmla="*/ 474778 h 479077"/>
                <a:gd name="connsiteX208" fmla="*/ 214376 w 3785642"/>
                <a:gd name="connsiteY208" fmla="*/ 474778 h 479077"/>
                <a:gd name="connsiteX209" fmla="*/ 198006 w 3785642"/>
                <a:gd name="connsiteY209" fmla="*/ 476762 h 479077"/>
                <a:gd name="connsiteX210" fmla="*/ 181635 w 3785642"/>
                <a:gd name="connsiteY210" fmla="*/ 476266 h 479077"/>
                <a:gd name="connsiteX211" fmla="*/ 165265 w 3785642"/>
                <a:gd name="connsiteY211" fmla="*/ 474778 h 479077"/>
                <a:gd name="connsiteX212" fmla="*/ 148894 w 3785642"/>
                <a:gd name="connsiteY212" fmla="*/ 476762 h 479077"/>
                <a:gd name="connsiteX213" fmla="*/ 132524 w 3785642"/>
                <a:gd name="connsiteY213" fmla="*/ 476266 h 479077"/>
                <a:gd name="connsiteX214" fmla="*/ 116153 w 3785642"/>
                <a:gd name="connsiteY214" fmla="*/ 475274 h 479077"/>
                <a:gd name="connsiteX215" fmla="*/ 99783 w 3785642"/>
                <a:gd name="connsiteY215" fmla="*/ 475274 h 479077"/>
                <a:gd name="connsiteX216" fmla="*/ 83412 w 3785642"/>
                <a:gd name="connsiteY216" fmla="*/ 475274 h 479077"/>
                <a:gd name="connsiteX217" fmla="*/ 67041 w 3785642"/>
                <a:gd name="connsiteY217" fmla="*/ 474778 h 479077"/>
                <a:gd name="connsiteX218" fmla="*/ 50671 w 3785642"/>
                <a:gd name="connsiteY218" fmla="*/ 475274 h 479077"/>
                <a:gd name="connsiteX219" fmla="*/ 34300 w 3785642"/>
                <a:gd name="connsiteY219" fmla="*/ 475274 h 479077"/>
                <a:gd name="connsiteX220" fmla="*/ 17930 w 3785642"/>
                <a:gd name="connsiteY220" fmla="*/ 475770 h 479077"/>
                <a:gd name="connsiteX221" fmla="*/ 567 w 3785642"/>
                <a:gd name="connsiteY221" fmla="*/ 475770 h 479077"/>
                <a:gd name="connsiteX222" fmla="*/ 12969 w 3785642"/>
                <a:gd name="connsiteY222" fmla="*/ 463368 h 479077"/>
                <a:gd name="connsiteX223" fmla="*/ 24379 w 3785642"/>
                <a:gd name="connsiteY223" fmla="*/ 451958 h 479077"/>
                <a:gd name="connsiteX224" fmla="*/ 35788 w 3785642"/>
                <a:gd name="connsiteY224" fmla="*/ 440053 h 479077"/>
                <a:gd name="connsiteX225" fmla="*/ 48686 w 3785642"/>
                <a:gd name="connsiteY225" fmla="*/ 430131 h 479077"/>
                <a:gd name="connsiteX226" fmla="*/ 59600 w 3785642"/>
                <a:gd name="connsiteY226" fmla="*/ 418225 h 479077"/>
                <a:gd name="connsiteX227" fmla="*/ 70514 w 3785642"/>
                <a:gd name="connsiteY227" fmla="*/ 405823 h 479077"/>
                <a:gd name="connsiteX228" fmla="*/ 83412 w 3785642"/>
                <a:gd name="connsiteY228" fmla="*/ 395406 h 479077"/>
                <a:gd name="connsiteX229" fmla="*/ 94822 w 3785642"/>
                <a:gd name="connsiteY229" fmla="*/ 383500 h 479077"/>
                <a:gd name="connsiteX230" fmla="*/ 106728 w 3785642"/>
                <a:gd name="connsiteY230" fmla="*/ 372090 h 479077"/>
                <a:gd name="connsiteX231" fmla="*/ 117145 w 3785642"/>
                <a:gd name="connsiteY231" fmla="*/ 359688 h 479077"/>
                <a:gd name="connsiteX232" fmla="*/ 128555 w 3785642"/>
                <a:gd name="connsiteY232" fmla="*/ 348278 h 479077"/>
                <a:gd name="connsiteX233" fmla="*/ 140461 w 3785642"/>
                <a:gd name="connsiteY233" fmla="*/ 336868 h 479077"/>
                <a:gd name="connsiteX234" fmla="*/ 152863 w 3785642"/>
                <a:gd name="connsiteY234" fmla="*/ 326451 h 479077"/>
                <a:gd name="connsiteX235" fmla="*/ 164769 w 3785642"/>
                <a:gd name="connsiteY235" fmla="*/ 315041 h 479077"/>
                <a:gd name="connsiteX236" fmla="*/ 176178 w 3785642"/>
                <a:gd name="connsiteY236" fmla="*/ 303135 h 479077"/>
                <a:gd name="connsiteX237" fmla="*/ 188084 w 3785642"/>
                <a:gd name="connsiteY237" fmla="*/ 291725 h 479077"/>
                <a:gd name="connsiteX238" fmla="*/ 199494 w 3785642"/>
                <a:gd name="connsiteY238" fmla="*/ 280315 h 479077"/>
                <a:gd name="connsiteX239" fmla="*/ 210904 w 3785642"/>
                <a:gd name="connsiteY239" fmla="*/ 268906 h 479077"/>
                <a:gd name="connsiteX240" fmla="*/ 221818 w 3785642"/>
                <a:gd name="connsiteY240" fmla="*/ 256504 h 479077"/>
                <a:gd name="connsiteX241" fmla="*/ 233724 w 3785642"/>
                <a:gd name="connsiteY241" fmla="*/ 245094 h 479077"/>
                <a:gd name="connsiteX242" fmla="*/ 244141 w 3785642"/>
                <a:gd name="connsiteY242" fmla="*/ 232692 h 479077"/>
                <a:gd name="connsiteX243" fmla="*/ 257039 w 3785642"/>
                <a:gd name="connsiteY243" fmla="*/ 222770 h 479077"/>
                <a:gd name="connsiteX244" fmla="*/ 266961 w 3785642"/>
                <a:gd name="connsiteY244" fmla="*/ 209376 h 479077"/>
                <a:gd name="connsiteX245" fmla="*/ 278371 w 3785642"/>
                <a:gd name="connsiteY245" fmla="*/ 197966 h 479077"/>
                <a:gd name="connsiteX246" fmla="*/ 291269 w 3785642"/>
                <a:gd name="connsiteY246" fmla="*/ 188045 h 479077"/>
                <a:gd name="connsiteX247" fmla="*/ 301686 w 3785642"/>
                <a:gd name="connsiteY247" fmla="*/ 175147 h 479077"/>
                <a:gd name="connsiteX248" fmla="*/ 313592 w 3785642"/>
                <a:gd name="connsiteY248" fmla="*/ 163737 h 479077"/>
                <a:gd name="connsiteX249" fmla="*/ 325994 w 3785642"/>
                <a:gd name="connsiteY249" fmla="*/ 153319 h 479077"/>
                <a:gd name="connsiteX250" fmla="*/ 337404 w 3785642"/>
                <a:gd name="connsiteY250" fmla="*/ 141910 h 479077"/>
                <a:gd name="connsiteX251" fmla="*/ 347325 w 3785642"/>
                <a:gd name="connsiteY251" fmla="*/ 129012 h 479077"/>
                <a:gd name="connsiteX252" fmla="*/ 360224 w 3785642"/>
                <a:gd name="connsiteY252" fmla="*/ 118594 h 479077"/>
                <a:gd name="connsiteX253" fmla="*/ 371137 w 3785642"/>
                <a:gd name="connsiteY253" fmla="*/ 106192 h 479077"/>
                <a:gd name="connsiteX254" fmla="*/ 382051 w 3785642"/>
                <a:gd name="connsiteY254" fmla="*/ 93790 h 479077"/>
                <a:gd name="connsiteX255" fmla="*/ 393957 w 3785642"/>
                <a:gd name="connsiteY255" fmla="*/ 82380 h 479077"/>
                <a:gd name="connsiteX256" fmla="*/ 405366 w 3785642"/>
                <a:gd name="connsiteY256" fmla="*/ 70475 h 479077"/>
                <a:gd name="connsiteX257" fmla="*/ 417272 w 3785642"/>
                <a:gd name="connsiteY257" fmla="*/ 59561 h 479077"/>
                <a:gd name="connsiteX258" fmla="*/ 429674 w 3785642"/>
                <a:gd name="connsiteY258" fmla="*/ 48647 h 479077"/>
                <a:gd name="connsiteX259" fmla="*/ 440092 w 3785642"/>
                <a:gd name="connsiteY259" fmla="*/ 35749 h 479077"/>
                <a:gd name="connsiteX260" fmla="*/ 452494 w 3785642"/>
                <a:gd name="connsiteY260" fmla="*/ 24835 h 479077"/>
                <a:gd name="connsiteX261" fmla="*/ 463904 w 3785642"/>
                <a:gd name="connsiteY261" fmla="*/ 12929 h 479077"/>
                <a:gd name="connsiteX262" fmla="*/ 475313 w 3785642"/>
                <a:gd name="connsiteY262" fmla="*/ 1024 h 479077"/>
                <a:gd name="connsiteX263" fmla="*/ 491684 w 3785642"/>
                <a:gd name="connsiteY263" fmla="*/ 2512 h 479077"/>
                <a:gd name="connsiteX264" fmla="*/ 508055 w 3785642"/>
                <a:gd name="connsiteY264" fmla="*/ 2512 h 479077"/>
                <a:gd name="connsiteX265" fmla="*/ 524425 w 3785642"/>
                <a:gd name="connsiteY265" fmla="*/ 2512 h 479077"/>
                <a:gd name="connsiteX266" fmla="*/ 540796 w 3785642"/>
                <a:gd name="connsiteY266" fmla="*/ 1024 h 479077"/>
                <a:gd name="connsiteX267" fmla="*/ 557166 w 3785642"/>
                <a:gd name="connsiteY267" fmla="*/ 2512 h 479077"/>
                <a:gd name="connsiteX268" fmla="*/ 573537 w 3785642"/>
                <a:gd name="connsiteY268" fmla="*/ 1024 h 479077"/>
                <a:gd name="connsiteX269" fmla="*/ 589908 w 3785642"/>
                <a:gd name="connsiteY269" fmla="*/ 527 h 479077"/>
                <a:gd name="connsiteX270" fmla="*/ 606278 w 3785642"/>
                <a:gd name="connsiteY270" fmla="*/ 1520 h 479077"/>
                <a:gd name="connsiteX271" fmla="*/ 622649 w 3785642"/>
                <a:gd name="connsiteY271" fmla="*/ 1520 h 479077"/>
                <a:gd name="connsiteX272" fmla="*/ 639019 w 3785642"/>
                <a:gd name="connsiteY272" fmla="*/ 2016 h 479077"/>
                <a:gd name="connsiteX273" fmla="*/ 655390 w 3785642"/>
                <a:gd name="connsiteY273" fmla="*/ 527 h 479077"/>
                <a:gd name="connsiteX274" fmla="*/ 671760 w 3785642"/>
                <a:gd name="connsiteY274" fmla="*/ 1520 h 479077"/>
                <a:gd name="connsiteX275" fmla="*/ 688131 w 3785642"/>
                <a:gd name="connsiteY275" fmla="*/ 2512 h 479077"/>
                <a:gd name="connsiteX276" fmla="*/ 704501 w 3785642"/>
                <a:gd name="connsiteY276" fmla="*/ 1024 h 479077"/>
                <a:gd name="connsiteX277" fmla="*/ 720872 w 3785642"/>
                <a:gd name="connsiteY277" fmla="*/ 1520 h 479077"/>
                <a:gd name="connsiteX278" fmla="*/ 737243 w 3785642"/>
                <a:gd name="connsiteY278" fmla="*/ 2016 h 479077"/>
                <a:gd name="connsiteX279" fmla="*/ 753613 w 3785642"/>
                <a:gd name="connsiteY279" fmla="*/ 1024 h 479077"/>
                <a:gd name="connsiteX280" fmla="*/ 769984 w 3785642"/>
                <a:gd name="connsiteY280" fmla="*/ 527 h 479077"/>
                <a:gd name="connsiteX281" fmla="*/ 786354 w 3785642"/>
                <a:gd name="connsiteY281" fmla="*/ 1520 h 479077"/>
                <a:gd name="connsiteX282" fmla="*/ 802725 w 3785642"/>
                <a:gd name="connsiteY282" fmla="*/ 527 h 479077"/>
                <a:gd name="connsiteX283" fmla="*/ 819096 w 3785642"/>
                <a:gd name="connsiteY283" fmla="*/ 2512 h 479077"/>
                <a:gd name="connsiteX284" fmla="*/ 835466 w 3785642"/>
                <a:gd name="connsiteY284" fmla="*/ 527 h 479077"/>
                <a:gd name="connsiteX285" fmla="*/ 851837 w 3785642"/>
                <a:gd name="connsiteY285" fmla="*/ 1520 h 479077"/>
                <a:gd name="connsiteX286" fmla="*/ 868207 w 3785642"/>
                <a:gd name="connsiteY286" fmla="*/ 2016 h 479077"/>
                <a:gd name="connsiteX287" fmla="*/ 884578 w 3785642"/>
                <a:gd name="connsiteY287" fmla="*/ 2512 h 479077"/>
                <a:gd name="connsiteX288" fmla="*/ 900948 w 3785642"/>
                <a:gd name="connsiteY288" fmla="*/ 1520 h 479077"/>
                <a:gd name="connsiteX289" fmla="*/ 917319 w 3785642"/>
                <a:gd name="connsiteY289" fmla="*/ 1024 h 479077"/>
                <a:gd name="connsiteX290" fmla="*/ 933689 w 3785642"/>
                <a:gd name="connsiteY290" fmla="*/ 2512 h 479077"/>
                <a:gd name="connsiteX291" fmla="*/ 950060 w 3785642"/>
                <a:gd name="connsiteY291" fmla="*/ 1520 h 479077"/>
                <a:gd name="connsiteX292" fmla="*/ 966431 w 3785642"/>
                <a:gd name="connsiteY292" fmla="*/ 2016 h 479077"/>
                <a:gd name="connsiteX293" fmla="*/ 982801 w 3785642"/>
                <a:gd name="connsiteY293" fmla="*/ 2512 h 479077"/>
                <a:gd name="connsiteX294" fmla="*/ 999172 w 3785642"/>
                <a:gd name="connsiteY294" fmla="*/ 1520 h 479077"/>
                <a:gd name="connsiteX295" fmla="*/ 1015542 w 3785642"/>
                <a:gd name="connsiteY295" fmla="*/ 2512 h 479077"/>
                <a:gd name="connsiteX296" fmla="*/ 1031913 w 3785642"/>
                <a:gd name="connsiteY296" fmla="*/ 1520 h 479077"/>
                <a:gd name="connsiteX297" fmla="*/ 1048283 w 3785642"/>
                <a:gd name="connsiteY297" fmla="*/ 2016 h 479077"/>
                <a:gd name="connsiteX298" fmla="*/ 1064654 w 3785642"/>
                <a:gd name="connsiteY298" fmla="*/ 3504 h 479077"/>
                <a:gd name="connsiteX299" fmla="*/ 1081025 w 3785642"/>
                <a:gd name="connsiteY299" fmla="*/ 2016 h 479077"/>
                <a:gd name="connsiteX300" fmla="*/ 1097395 w 3785642"/>
                <a:gd name="connsiteY300" fmla="*/ 2512 h 479077"/>
                <a:gd name="connsiteX301" fmla="*/ 1113766 w 3785642"/>
                <a:gd name="connsiteY301" fmla="*/ 2512 h 479077"/>
                <a:gd name="connsiteX302" fmla="*/ 1130136 w 3785642"/>
                <a:gd name="connsiteY302" fmla="*/ 3504 h 479077"/>
                <a:gd name="connsiteX303" fmla="*/ 1146507 w 3785642"/>
                <a:gd name="connsiteY303" fmla="*/ 1520 h 479077"/>
                <a:gd name="connsiteX304" fmla="*/ 1162878 w 3785642"/>
                <a:gd name="connsiteY304" fmla="*/ 3008 h 479077"/>
                <a:gd name="connsiteX305" fmla="*/ 1179248 w 3785642"/>
                <a:gd name="connsiteY305" fmla="*/ 4000 h 479077"/>
                <a:gd name="connsiteX306" fmla="*/ 1195619 w 3785642"/>
                <a:gd name="connsiteY306" fmla="*/ 3504 h 479077"/>
                <a:gd name="connsiteX307" fmla="*/ 1211989 w 3785642"/>
                <a:gd name="connsiteY307" fmla="*/ 1520 h 479077"/>
                <a:gd name="connsiteX308" fmla="*/ 1228360 w 3785642"/>
                <a:gd name="connsiteY308" fmla="*/ 3504 h 479077"/>
                <a:gd name="connsiteX309" fmla="*/ 1244730 w 3785642"/>
                <a:gd name="connsiteY309" fmla="*/ 1520 h 479077"/>
                <a:gd name="connsiteX310" fmla="*/ 1261101 w 3785642"/>
                <a:gd name="connsiteY310" fmla="*/ 2512 h 479077"/>
                <a:gd name="connsiteX311" fmla="*/ 1277471 w 3785642"/>
                <a:gd name="connsiteY311" fmla="*/ 3504 h 479077"/>
                <a:gd name="connsiteX312" fmla="*/ 1293842 w 3785642"/>
                <a:gd name="connsiteY312" fmla="*/ 4000 h 479077"/>
                <a:gd name="connsiteX313" fmla="*/ 1310213 w 3785642"/>
                <a:gd name="connsiteY313" fmla="*/ 1520 h 479077"/>
                <a:gd name="connsiteX314" fmla="*/ 1326583 w 3785642"/>
                <a:gd name="connsiteY314" fmla="*/ 2016 h 479077"/>
                <a:gd name="connsiteX315" fmla="*/ 1342954 w 3785642"/>
                <a:gd name="connsiteY315" fmla="*/ 3008 h 479077"/>
                <a:gd name="connsiteX316" fmla="*/ 1359324 w 3785642"/>
                <a:gd name="connsiteY316" fmla="*/ 3008 h 479077"/>
                <a:gd name="connsiteX317" fmla="*/ 1375695 w 3785642"/>
                <a:gd name="connsiteY317" fmla="*/ 2512 h 479077"/>
                <a:gd name="connsiteX318" fmla="*/ 1392066 w 3785642"/>
                <a:gd name="connsiteY318" fmla="*/ 2512 h 479077"/>
                <a:gd name="connsiteX319" fmla="*/ 1408436 w 3785642"/>
                <a:gd name="connsiteY319" fmla="*/ 3504 h 479077"/>
                <a:gd name="connsiteX320" fmla="*/ 1424807 w 3785642"/>
                <a:gd name="connsiteY320" fmla="*/ 3504 h 479077"/>
                <a:gd name="connsiteX321" fmla="*/ 1441177 w 3785642"/>
                <a:gd name="connsiteY321" fmla="*/ 1520 h 479077"/>
                <a:gd name="connsiteX322" fmla="*/ 1457548 w 3785642"/>
                <a:gd name="connsiteY322" fmla="*/ 2512 h 479077"/>
                <a:gd name="connsiteX323" fmla="*/ 1473919 w 3785642"/>
                <a:gd name="connsiteY323" fmla="*/ 2016 h 479077"/>
                <a:gd name="connsiteX324" fmla="*/ 1490289 w 3785642"/>
                <a:gd name="connsiteY324" fmla="*/ 2016 h 479077"/>
                <a:gd name="connsiteX325" fmla="*/ 1506660 w 3785642"/>
                <a:gd name="connsiteY325" fmla="*/ 1520 h 479077"/>
                <a:gd name="connsiteX326" fmla="*/ 1523030 w 3785642"/>
                <a:gd name="connsiteY326" fmla="*/ 3504 h 479077"/>
                <a:gd name="connsiteX327" fmla="*/ 1539401 w 3785642"/>
                <a:gd name="connsiteY327" fmla="*/ 3008 h 479077"/>
                <a:gd name="connsiteX328" fmla="*/ 1555771 w 3785642"/>
                <a:gd name="connsiteY328" fmla="*/ 3008 h 479077"/>
                <a:gd name="connsiteX329" fmla="*/ 1572142 w 3785642"/>
                <a:gd name="connsiteY329" fmla="*/ 2512 h 479077"/>
                <a:gd name="connsiteX330" fmla="*/ 1588512 w 3785642"/>
                <a:gd name="connsiteY330" fmla="*/ 2016 h 479077"/>
                <a:gd name="connsiteX331" fmla="*/ 1604883 w 3785642"/>
                <a:gd name="connsiteY331" fmla="*/ 3008 h 479077"/>
                <a:gd name="connsiteX332" fmla="*/ 1621253 w 3785642"/>
                <a:gd name="connsiteY332" fmla="*/ 3008 h 479077"/>
                <a:gd name="connsiteX333" fmla="*/ 1637624 w 3785642"/>
                <a:gd name="connsiteY33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313375 w 3785642"/>
                <a:gd name="connsiteY6" fmla="*/ 10945 h 479077"/>
                <a:gd name="connsiteX7" fmla="*/ 3300973 w 3785642"/>
                <a:gd name="connsiteY7" fmla="*/ 21363 h 479077"/>
                <a:gd name="connsiteX8" fmla="*/ 3289068 w 3785642"/>
                <a:gd name="connsiteY8" fmla="*/ 32276 h 479077"/>
                <a:gd name="connsiteX9" fmla="*/ 3277658 w 3785642"/>
                <a:gd name="connsiteY9" fmla="*/ 43686 h 479077"/>
                <a:gd name="connsiteX10" fmla="*/ 3266248 w 3785642"/>
                <a:gd name="connsiteY10" fmla="*/ 55592 h 479077"/>
                <a:gd name="connsiteX11" fmla="*/ 3255830 w 3785642"/>
                <a:gd name="connsiteY11" fmla="*/ 68490 h 479077"/>
                <a:gd name="connsiteX12" fmla="*/ 3243924 w 3785642"/>
                <a:gd name="connsiteY12" fmla="*/ 79900 h 479077"/>
                <a:gd name="connsiteX13" fmla="*/ 3231522 w 3785642"/>
                <a:gd name="connsiteY13" fmla="*/ 90814 h 479077"/>
                <a:gd name="connsiteX14" fmla="*/ 3220609 w 3785642"/>
                <a:gd name="connsiteY14" fmla="*/ 102720 h 479077"/>
                <a:gd name="connsiteX15" fmla="*/ 3208207 w 3785642"/>
                <a:gd name="connsiteY15" fmla="*/ 113137 h 479077"/>
                <a:gd name="connsiteX16" fmla="*/ 3197293 w 3785642"/>
                <a:gd name="connsiteY16" fmla="*/ 125043 h 479077"/>
                <a:gd name="connsiteX17" fmla="*/ 3185387 w 3785642"/>
                <a:gd name="connsiteY17" fmla="*/ 136453 h 479077"/>
                <a:gd name="connsiteX18" fmla="*/ 3174970 w 3785642"/>
                <a:gd name="connsiteY18" fmla="*/ 148855 h 479077"/>
                <a:gd name="connsiteX19" fmla="*/ 3162071 w 3785642"/>
                <a:gd name="connsiteY19" fmla="*/ 159272 h 479077"/>
                <a:gd name="connsiteX20" fmla="*/ 3151158 w 3785642"/>
                <a:gd name="connsiteY20" fmla="*/ 171674 h 479077"/>
                <a:gd name="connsiteX21" fmla="*/ 3139252 w 3785642"/>
                <a:gd name="connsiteY21" fmla="*/ 182588 h 479077"/>
                <a:gd name="connsiteX22" fmla="*/ 3127843 w 3785642"/>
                <a:gd name="connsiteY22" fmla="*/ 194494 h 479077"/>
                <a:gd name="connsiteX23" fmla="*/ 3116432 w 3785642"/>
                <a:gd name="connsiteY23" fmla="*/ 205904 h 479077"/>
                <a:gd name="connsiteX24" fmla="*/ 3105022 w 3785642"/>
                <a:gd name="connsiteY24" fmla="*/ 217810 h 479077"/>
                <a:gd name="connsiteX25" fmla="*/ 3093117 w 3785642"/>
                <a:gd name="connsiteY25" fmla="*/ 229219 h 479077"/>
                <a:gd name="connsiteX26" fmla="*/ 3081707 w 3785642"/>
                <a:gd name="connsiteY26" fmla="*/ 240629 h 479077"/>
                <a:gd name="connsiteX27" fmla="*/ 3069305 w 3785642"/>
                <a:gd name="connsiteY27" fmla="*/ 251543 h 479077"/>
                <a:gd name="connsiteX28" fmla="*/ 3057895 w 3785642"/>
                <a:gd name="connsiteY28" fmla="*/ 263449 h 479077"/>
                <a:gd name="connsiteX29" fmla="*/ 3046486 w 3785642"/>
                <a:gd name="connsiteY29" fmla="*/ 275355 h 479077"/>
                <a:gd name="connsiteX30" fmla="*/ 3035572 w 3785642"/>
                <a:gd name="connsiteY30" fmla="*/ 287260 h 479077"/>
                <a:gd name="connsiteX31" fmla="*/ 3024658 w 3785642"/>
                <a:gd name="connsiteY31" fmla="*/ 299166 h 479077"/>
                <a:gd name="connsiteX32" fmla="*/ 3013248 w 3785642"/>
                <a:gd name="connsiteY32" fmla="*/ 311072 h 479077"/>
                <a:gd name="connsiteX33" fmla="*/ 3000350 w 3785642"/>
                <a:gd name="connsiteY33" fmla="*/ 321490 h 479077"/>
                <a:gd name="connsiteX34" fmla="*/ 2988941 w 3785642"/>
                <a:gd name="connsiteY34" fmla="*/ 333396 h 479077"/>
                <a:gd name="connsiteX35" fmla="*/ 2976539 w 3785642"/>
                <a:gd name="connsiteY35" fmla="*/ 344309 h 479077"/>
                <a:gd name="connsiteX36" fmla="*/ 2965129 w 3785642"/>
                <a:gd name="connsiteY36" fmla="*/ 356215 h 479077"/>
                <a:gd name="connsiteX37" fmla="*/ 2953223 w 3785642"/>
                <a:gd name="connsiteY37" fmla="*/ 367625 h 479077"/>
                <a:gd name="connsiteX38" fmla="*/ 2941813 w 3785642"/>
                <a:gd name="connsiteY38" fmla="*/ 379531 h 479077"/>
                <a:gd name="connsiteX39" fmla="*/ 2931395 w 3785642"/>
                <a:gd name="connsiteY39" fmla="*/ 392429 h 479077"/>
                <a:gd name="connsiteX40" fmla="*/ 2918497 w 3785642"/>
                <a:gd name="connsiteY40" fmla="*/ 402847 h 479077"/>
                <a:gd name="connsiteX41" fmla="*/ 2907584 w 3785642"/>
                <a:gd name="connsiteY41" fmla="*/ 415249 h 479077"/>
                <a:gd name="connsiteX42" fmla="*/ 2896174 w 3785642"/>
                <a:gd name="connsiteY42" fmla="*/ 426658 h 479077"/>
                <a:gd name="connsiteX43" fmla="*/ 2884268 w 3785642"/>
                <a:gd name="connsiteY43" fmla="*/ 438068 h 479077"/>
                <a:gd name="connsiteX44" fmla="*/ 2873354 w 3785642"/>
                <a:gd name="connsiteY44" fmla="*/ 450470 h 479077"/>
                <a:gd name="connsiteX45" fmla="*/ 2860952 w 3785642"/>
                <a:gd name="connsiteY45" fmla="*/ 461384 h 479077"/>
                <a:gd name="connsiteX46" fmla="*/ 2850039 w 3785642"/>
                <a:gd name="connsiteY46" fmla="*/ 473786 h 479077"/>
                <a:gd name="connsiteX47" fmla="*/ 2833668 w 3785642"/>
                <a:gd name="connsiteY47" fmla="*/ 473786 h 479077"/>
                <a:gd name="connsiteX48" fmla="*/ 2817297 w 3785642"/>
                <a:gd name="connsiteY48" fmla="*/ 473290 h 479077"/>
                <a:gd name="connsiteX49" fmla="*/ 2800927 w 3785642"/>
                <a:gd name="connsiteY49" fmla="*/ 473290 h 479077"/>
                <a:gd name="connsiteX50" fmla="*/ 2784556 w 3785642"/>
                <a:gd name="connsiteY50" fmla="*/ 473786 h 479077"/>
                <a:gd name="connsiteX51" fmla="*/ 2768186 w 3785642"/>
                <a:gd name="connsiteY51" fmla="*/ 474282 h 479077"/>
                <a:gd name="connsiteX52" fmla="*/ 2751815 w 3785642"/>
                <a:gd name="connsiteY52" fmla="*/ 474282 h 479077"/>
                <a:gd name="connsiteX53" fmla="*/ 2735444 w 3785642"/>
                <a:gd name="connsiteY53" fmla="*/ 473290 h 479077"/>
                <a:gd name="connsiteX54" fmla="*/ 2719074 w 3785642"/>
                <a:gd name="connsiteY54" fmla="*/ 474282 h 479077"/>
                <a:gd name="connsiteX55" fmla="*/ 2702703 w 3785642"/>
                <a:gd name="connsiteY55" fmla="*/ 472298 h 479077"/>
                <a:gd name="connsiteX56" fmla="*/ 2686333 w 3785642"/>
                <a:gd name="connsiteY56" fmla="*/ 472794 h 479077"/>
                <a:gd name="connsiteX57" fmla="*/ 2669962 w 3785642"/>
                <a:gd name="connsiteY57" fmla="*/ 474282 h 479077"/>
                <a:gd name="connsiteX58" fmla="*/ 2653592 w 3785642"/>
                <a:gd name="connsiteY58" fmla="*/ 472298 h 479077"/>
                <a:gd name="connsiteX59" fmla="*/ 2637221 w 3785642"/>
                <a:gd name="connsiteY59" fmla="*/ 474282 h 479077"/>
                <a:gd name="connsiteX60" fmla="*/ 2620851 w 3785642"/>
                <a:gd name="connsiteY60" fmla="*/ 474282 h 479077"/>
                <a:gd name="connsiteX61" fmla="*/ 2604480 w 3785642"/>
                <a:gd name="connsiteY61" fmla="*/ 472298 h 479077"/>
                <a:gd name="connsiteX62" fmla="*/ 2588109 w 3785642"/>
                <a:gd name="connsiteY62" fmla="*/ 473786 h 479077"/>
                <a:gd name="connsiteX63" fmla="*/ 2571739 w 3785642"/>
                <a:gd name="connsiteY63" fmla="*/ 472298 h 479077"/>
                <a:gd name="connsiteX64" fmla="*/ 2555368 w 3785642"/>
                <a:gd name="connsiteY64" fmla="*/ 473290 h 479077"/>
                <a:gd name="connsiteX65" fmla="*/ 2538998 w 3785642"/>
                <a:gd name="connsiteY65" fmla="*/ 474282 h 479077"/>
                <a:gd name="connsiteX66" fmla="*/ 2522627 w 3785642"/>
                <a:gd name="connsiteY66" fmla="*/ 473290 h 479077"/>
                <a:gd name="connsiteX67" fmla="*/ 2506257 w 3785642"/>
                <a:gd name="connsiteY67" fmla="*/ 474282 h 479077"/>
                <a:gd name="connsiteX68" fmla="*/ 2489886 w 3785642"/>
                <a:gd name="connsiteY68" fmla="*/ 473786 h 479077"/>
                <a:gd name="connsiteX69" fmla="*/ 2473516 w 3785642"/>
                <a:gd name="connsiteY69" fmla="*/ 474282 h 479077"/>
                <a:gd name="connsiteX70" fmla="*/ 2457145 w 3785642"/>
                <a:gd name="connsiteY70" fmla="*/ 472794 h 479077"/>
                <a:gd name="connsiteX71" fmla="*/ 2440775 w 3785642"/>
                <a:gd name="connsiteY71" fmla="*/ 472298 h 479077"/>
                <a:gd name="connsiteX72" fmla="*/ 2424404 w 3785642"/>
                <a:gd name="connsiteY72" fmla="*/ 473786 h 479077"/>
                <a:gd name="connsiteX73" fmla="*/ 2408033 w 3785642"/>
                <a:gd name="connsiteY73" fmla="*/ 472794 h 479077"/>
                <a:gd name="connsiteX74" fmla="*/ 2391663 w 3785642"/>
                <a:gd name="connsiteY74" fmla="*/ 473290 h 479077"/>
                <a:gd name="connsiteX75" fmla="*/ 2375292 w 3785642"/>
                <a:gd name="connsiteY75" fmla="*/ 473290 h 479077"/>
                <a:gd name="connsiteX76" fmla="*/ 2358922 w 3785642"/>
                <a:gd name="connsiteY76" fmla="*/ 472794 h 479077"/>
                <a:gd name="connsiteX77" fmla="*/ 2342551 w 3785642"/>
                <a:gd name="connsiteY77" fmla="*/ 472298 h 479077"/>
                <a:gd name="connsiteX78" fmla="*/ 2326180 w 3785642"/>
                <a:gd name="connsiteY78" fmla="*/ 473786 h 479077"/>
                <a:gd name="connsiteX79" fmla="*/ 2309810 w 3785642"/>
                <a:gd name="connsiteY79" fmla="*/ 473786 h 479077"/>
                <a:gd name="connsiteX80" fmla="*/ 2293439 w 3785642"/>
                <a:gd name="connsiteY80" fmla="*/ 473786 h 479077"/>
                <a:gd name="connsiteX81" fmla="*/ 2277069 w 3785642"/>
                <a:gd name="connsiteY81" fmla="*/ 472794 h 479077"/>
                <a:gd name="connsiteX82" fmla="*/ 2260698 w 3785642"/>
                <a:gd name="connsiteY82" fmla="*/ 474282 h 479077"/>
                <a:gd name="connsiteX83" fmla="*/ 2244327 w 3785642"/>
                <a:gd name="connsiteY83" fmla="*/ 472298 h 479077"/>
                <a:gd name="connsiteX84" fmla="*/ 2227957 w 3785642"/>
                <a:gd name="connsiteY84" fmla="*/ 474282 h 479077"/>
                <a:gd name="connsiteX85" fmla="*/ 2211586 w 3785642"/>
                <a:gd name="connsiteY85" fmla="*/ 473290 h 479077"/>
                <a:gd name="connsiteX86" fmla="*/ 2195216 w 3785642"/>
                <a:gd name="connsiteY86" fmla="*/ 474282 h 479077"/>
                <a:gd name="connsiteX87" fmla="*/ 2178845 w 3785642"/>
                <a:gd name="connsiteY87" fmla="*/ 472794 h 479077"/>
                <a:gd name="connsiteX88" fmla="*/ 2162474 w 3785642"/>
                <a:gd name="connsiteY88" fmla="*/ 474778 h 479077"/>
                <a:gd name="connsiteX89" fmla="*/ 2146104 w 3785642"/>
                <a:gd name="connsiteY89" fmla="*/ 473290 h 479077"/>
                <a:gd name="connsiteX90" fmla="*/ 2129733 w 3785642"/>
                <a:gd name="connsiteY90" fmla="*/ 474778 h 479077"/>
                <a:gd name="connsiteX91" fmla="*/ 2113363 w 3785642"/>
                <a:gd name="connsiteY91" fmla="*/ 474778 h 479077"/>
                <a:gd name="connsiteX92" fmla="*/ 2096992 w 3785642"/>
                <a:gd name="connsiteY92" fmla="*/ 474778 h 479077"/>
                <a:gd name="connsiteX93" fmla="*/ 2080621 w 3785642"/>
                <a:gd name="connsiteY93" fmla="*/ 474282 h 479077"/>
                <a:gd name="connsiteX94" fmla="*/ 2064251 w 3785642"/>
                <a:gd name="connsiteY94" fmla="*/ 472794 h 479077"/>
                <a:gd name="connsiteX95" fmla="*/ 2047880 w 3785642"/>
                <a:gd name="connsiteY95" fmla="*/ 474778 h 479077"/>
                <a:gd name="connsiteX96" fmla="*/ 2031510 w 3785642"/>
                <a:gd name="connsiteY96" fmla="*/ 474778 h 479077"/>
                <a:gd name="connsiteX97" fmla="*/ 2015139 w 3785642"/>
                <a:gd name="connsiteY97" fmla="*/ 474778 h 479077"/>
                <a:gd name="connsiteX98" fmla="*/ 1998769 w 3785642"/>
                <a:gd name="connsiteY98" fmla="*/ 474282 h 479077"/>
                <a:gd name="connsiteX99" fmla="*/ 1982398 w 3785642"/>
                <a:gd name="connsiteY99" fmla="*/ 473786 h 479077"/>
                <a:gd name="connsiteX100" fmla="*/ 1966028 w 3785642"/>
                <a:gd name="connsiteY100" fmla="*/ 473786 h 479077"/>
                <a:gd name="connsiteX101" fmla="*/ 1949657 w 3785642"/>
                <a:gd name="connsiteY101" fmla="*/ 472794 h 479077"/>
                <a:gd name="connsiteX102" fmla="*/ 1933287 w 3785642"/>
                <a:gd name="connsiteY102" fmla="*/ 473290 h 479077"/>
                <a:gd name="connsiteX103" fmla="*/ 1916916 w 3785642"/>
                <a:gd name="connsiteY103" fmla="*/ 474778 h 479077"/>
                <a:gd name="connsiteX104" fmla="*/ 1900546 w 3785642"/>
                <a:gd name="connsiteY104" fmla="*/ 472794 h 479077"/>
                <a:gd name="connsiteX105" fmla="*/ 1884175 w 3785642"/>
                <a:gd name="connsiteY105" fmla="*/ 473786 h 479077"/>
                <a:gd name="connsiteX106" fmla="*/ 1867804 w 3785642"/>
                <a:gd name="connsiteY106" fmla="*/ 474778 h 479077"/>
                <a:gd name="connsiteX107" fmla="*/ 1851434 w 3785642"/>
                <a:gd name="connsiteY107" fmla="*/ 474778 h 479077"/>
                <a:gd name="connsiteX108" fmla="*/ 1835063 w 3785642"/>
                <a:gd name="connsiteY108" fmla="*/ 474778 h 479077"/>
                <a:gd name="connsiteX109" fmla="*/ 1818693 w 3785642"/>
                <a:gd name="connsiteY109" fmla="*/ 474282 h 479077"/>
                <a:gd name="connsiteX110" fmla="*/ 1802322 w 3785642"/>
                <a:gd name="connsiteY110" fmla="*/ 472794 h 479077"/>
                <a:gd name="connsiteX111" fmla="*/ 1785951 w 3785642"/>
                <a:gd name="connsiteY111" fmla="*/ 473786 h 479077"/>
                <a:gd name="connsiteX112" fmla="*/ 1769581 w 3785642"/>
                <a:gd name="connsiteY112" fmla="*/ 473290 h 479077"/>
                <a:gd name="connsiteX113" fmla="*/ 1753210 w 3785642"/>
                <a:gd name="connsiteY113" fmla="*/ 472298 h 479077"/>
                <a:gd name="connsiteX114" fmla="*/ 1736840 w 3785642"/>
                <a:gd name="connsiteY114" fmla="*/ 473290 h 479077"/>
                <a:gd name="connsiteX115" fmla="*/ 1720469 w 3785642"/>
                <a:gd name="connsiteY115" fmla="*/ 474778 h 479077"/>
                <a:gd name="connsiteX116" fmla="*/ 1704098 w 3785642"/>
                <a:gd name="connsiteY116" fmla="*/ 472794 h 479077"/>
                <a:gd name="connsiteX117" fmla="*/ 1687728 w 3785642"/>
                <a:gd name="connsiteY117" fmla="*/ 474778 h 479077"/>
                <a:gd name="connsiteX118" fmla="*/ 1671357 w 3785642"/>
                <a:gd name="connsiteY118" fmla="*/ 474778 h 479077"/>
                <a:gd name="connsiteX119" fmla="*/ 1654987 w 3785642"/>
                <a:gd name="connsiteY119" fmla="*/ 472298 h 479077"/>
                <a:gd name="connsiteX120" fmla="*/ 1638616 w 3785642"/>
                <a:gd name="connsiteY120" fmla="*/ 472794 h 479077"/>
                <a:gd name="connsiteX121" fmla="*/ 1622246 w 3785642"/>
                <a:gd name="connsiteY121" fmla="*/ 473786 h 479077"/>
                <a:gd name="connsiteX122" fmla="*/ 1605875 w 3785642"/>
                <a:gd name="connsiteY122" fmla="*/ 474778 h 479077"/>
                <a:gd name="connsiteX123" fmla="*/ 1589505 w 3785642"/>
                <a:gd name="connsiteY123" fmla="*/ 473290 h 479077"/>
                <a:gd name="connsiteX124" fmla="*/ 1573134 w 3785642"/>
                <a:gd name="connsiteY124" fmla="*/ 474778 h 479077"/>
                <a:gd name="connsiteX125" fmla="*/ 1556763 w 3785642"/>
                <a:gd name="connsiteY125" fmla="*/ 472794 h 479077"/>
                <a:gd name="connsiteX126" fmla="*/ 1540393 w 3785642"/>
                <a:gd name="connsiteY126" fmla="*/ 472794 h 479077"/>
                <a:gd name="connsiteX127" fmla="*/ 1524022 w 3785642"/>
                <a:gd name="connsiteY127" fmla="*/ 474282 h 479077"/>
                <a:gd name="connsiteX128" fmla="*/ 1507652 w 3785642"/>
                <a:gd name="connsiteY128" fmla="*/ 472794 h 479077"/>
                <a:gd name="connsiteX129" fmla="*/ 1491281 w 3785642"/>
                <a:gd name="connsiteY129" fmla="*/ 474282 h 479077"/>
                <a:gd name="connsiteX130" fmla="*/ 1474910 w 3785642"/>
                <a:gd name="connsiteY130" fmla="*/ 474282 h 479077"/>
                <a:gd name="connsiteX131" fmla="*/ 1458540 w 3785642"/>
                <a:gd name="connsiteY131" fmla="*/ 472794 h 479077"/>
                <a:gd name="connsiteX132" fmla="*/ 1442169 w 3785642"/>
                <a:gd name="connsiteY132" fmla="*/ 471802 h 479077"/>
                <a:gd name="connsiteX133" fmla="*/ 1425799 w 3785642"/>
                <a:gd name="connsiteY133" fmla="*/ 472298 h 479077"/>
                <a:gd name="connsiteX134" fmla="*/ 1409428 w 3785642"/>
                <a:gd name="connsiteY134" fmla="*/ 472794 h 479077"/>
                <a:gd name="connsiteX135" fmla="*/ 1393058 w 3785642"/>
                <a:gd name="connsiteY135" fmla="*/ 473786 h 479077"/>
                <a:gd name="connsiteX136" fmla="*/ 1376687 w 3785642"/>
                <a:gd name="connsiteY136" fmla="*/ 471802 h 479077"/>
                <a:gd name="connsiteX137" fmla="*/ 1360317 w 3785642"/>
                <a:gd name="connsiteY137" fmla="*/ 473786 h 479077"/>
                <a:gd name="connsiteX138" fmla="*/ 1343946 w 3785642"/>
                <a:gd name="connsiteY138" fmla="*/ 473786 h 479077"/>
                <a:gd name="connsiteX139" fmla="*/ 1327576 w 3785642"/>
                <a:gd name="connsiteY139" fmla="*/ 472794 h 479077"/>
                <a:gd name="connsiteX140" fmla="*/ 1311205 w 3785642"/>
                <a:gd name="connsiteY140" fmla="*/ 473786 h 479077"/>
                <a:gd name="connsiteX141" fmla="*/ 1294834 w 3785642"/>
                <a:gd name="connsiteY141" fmla="*/ 473786 h 479077"/>
                <a:gd name="connsiteX142" fmla="*/ 1278464 w 3785642"/>
                <a:gd name="connsiteY142" fmla="*/ 473786 h 479077"/>
                <a:gd name="connsiteX143" fmla="*/ 1262093 w 3785642"/>
                <a:gd name="connsiteY143" fmla="*/ 473786 h 479077"/>
                <a:gd name="connsiteX144" fmla="*/ 1245723 w 3785642"/>
                <a:gd name="connsiteY144" fmla="*/ 473290 h 479077"/>
                <a:gd name="connsiteX145" fmla="*/ 1229352 w 3785642"/>
                <a:gd name="connsiteY145" fmla="*/ 472794 h 479077"/>
                <a:gd name="connsiteX146" fmla="*/ 1212981 w 3785642"/>
                <a:gd name="connsiteY146" fmla="*/ 473786 h 479077"/>
                <a:gd name="connsiteX147" fmla="*/ 1196611 w 3785642"/>
                <a:gd name="connsiteY147" fmla="*/ 472298 h 479077"/>
                <a:gd name="connsiteX148" fmla="*/ 1180240 w 3785642"/>
                <a:gd name="connsiteY148" fmla="*/ 472794 h 479077"/>
                <a:gd name="connsiteX149" fmla="*/ 1163870 w 3785642"/>
                <a:gd name="connsiteY149" fmla="*/ 472794 h 479077"/>
                <a:gd name="connsiteX150" fmla="*/ 1147499 w 3785642"/>
                <a:gd name="connsiteY150" fmla="*/ 473786 h 479077"/>
                <a:gd name="connsiteX151" fmla="*/ 1131128 w 3785642"/>
                <a:gd name="connsiteY151" fmla="*/ 473786 h 479077"/>
                <a:gd name="connsiteX152" fmla="*/ 1114758 w 3785642"/>
                <a:gd name="connsiteY152" fmla="*/ 472794 h 479077"/>
                <a:gd name="connsiteX153" fmla="*/ 1098387 w 3785642"/>
                <a:gd name="connsiteY153" fmla="*/ 473786 h 479077"/>
                <a:gd name="connsiteX154" fmla="*/ 1082017 w 3785642"/>
                <a:gd name="connsiteY154" fmla="*/ 474778 h 479077"/>
                <a:gd name="connsiteX155" fmla="*/ 1065646 w 3785642"/>
                <a:gd name="connsiteY155" fmla="*/ 474778 h 479077"/>
                <a:gd name="connsiteX156" fmla="*/ 1049276 w 3785642"/>
                <a:gd name="connsiteY156" fmla="*/ 474282 h 479077"/>
                <a:gd name="connsiteX157" fmla="*/ 1032905 w 3785642"/>
                <a:gd name="connsiteY157" fmla="*/ 473290 h 479077"/>
                <a:gd name="connsiteX158" fmla="*/ 1016535 w 3785642"/>
                <a:gd name="connsiteY158" fmla="*/ 474282 h 479077"/>
                <a:gd name="connsiteX159" fmla="*/ 1000164 w 3785642"/>
                <a:gd name="connsiteY159" fmla="*/ 474282 h 479077"/>
                <a:gd name="connsiteX160" fmla="*/ 983793 w 3785642"/>
                <a:gd name="connsiteY160" fmla="*/ 472794 h 479077"/>
                <a:gd name="connsiteX161" fmla="*/ 967423 w 3785642"/>
                <a:gd name="connsiteY161" fmla="*/ 472794 h 479077"/>
                <a:gd name="connsiteX162" fmla="*/ 951052 w 3785642"/>
                <a:gd name="connsiteY162" fmla="*/ 473786 h 479077"/>
                <a:gd name="connsiteX163" fmla="*/ 934682 w 3785642"/>
                <a:gd name="connsiteY163" fmla="*/ 474282 h 479077"/>
                <a:gd name="connsiteX164" fmla="*/ 918311 w 3785642"/>
                <a:gd name="connsiteY164" fmla="*/ 474778 h 479077"/>
                <a:gd name="connsiteX165" fmla="*/ 901940 w 3785642"/>
                <a:gd name="connsiteY165" fmla="*/ 473290 h 479077"/>
                <a:gd name="connsiteX166" fmla="*/ 885570 w 3785642"/>
                <a:gd name="connsiteY166" fmla="*/ 474778 h 479077"/>
                <a:gd name="connsiteX167" fmla="*/ 869199 w 3785642"/>
                <a:gd name="connsiteY167" fmla="*/ 474282 h 479077"/>
                <a:gd name="connsiteX168" fmla="*/ 852829 w 3785642"/>
                <a:gd name="connsiteY168" fmla="*/ 473786 h 479077"/>
                <a:gd name="connsiteX169" fmla="*/ 836458 w 3785642"/>
                <a:gd name="connsiteY169" fmla="*/ 474778 h 479077"/>
                <a:gd name="connsiteX170" fmla="*/ 820088 w 3785642"/>
                <a:gd name="connsiteY170" fmla="*/ 475274 h 479077"/>
                <a:gd name="connsiteX171" fmla="*/ 803717 w 3785642"/>
                <a:gd name="connsiteY171" fmla="*/ 473786 h 479077"/>
                <a:gd name="connsiteX172" fmla="*/ 787347 w 3785642"/>
                <a:gd name="connsiteY172" fmla="*/ 475770 h 479077"/>
                <a:gd name="connsiteX173" fmla="*/ 770976 w 3785642"/>
                <a:gd name="connsiteY173" fmla="*/ 474778 h 479077"/>
                <a:gd name="connsiteX174" fmla="*/ 754605 w 3785642"/>
                <a:gd name="connsiteY174" fmla="*/ 475274 h 479077"/>
                <a:gd name="connsiteX175" fmla="*/ 738235 w 3785642"/>
                <a:gd name="connsiteY175" fmla="*/ 473786 h 479077"/>
                <a:gd name="connsiteX176" fmla="*/ 721864 w 3785642"/>
                <a:gd name="connsiteY176" fmla="*/ 475274 h 479077"/>
                <a:gd name="connsiteX177" fmla="*/ 705494 w 3785642"/>
                <a:gd name="connsiteY177" fmla="*/ 475770 h 479077"/>
                <a:gd name="connsiteX178" fmla="*/ 689123 w 3785642"/>
                <a:gd name="connsiteY178" fmla="*/ 474282 h 479077"/>
                <a:gd name="connsiteX179" fmla="*/ 672753 w 3785642"/>
                <a:gd name="connsiteY179" fmla="*/ 475274 h 479077"/>
                <a:gd name="connsiteX180" fmla="*/ 656382 w 3785642"/>
                <a:gd name="connsiteY180" fmla="*/ 474778 h 479077"/>
                <a:gd name="connsiteX181" fmla="*/ 640011 w 3785642"/>
                <a:gd name="connsiteY181" fmla="*/ 475770 h 479077"/>
                <a:gd name="connsiteX182" fmla="*/ 623641 w 3785642"/>
                <a:gd name="connsiteY182" fmla="*/ 473786 h 479077"/>
                <a:gd name="connsiteX183" fmla="*/ 607270 w 3785642"/>
                <a:gd name="connsiteY183" fmla="*/ 474778 h 479077"/>
                <a:gd name="connsiteX184" fmla="*/ 590900 w 3785642"/>
                <a:gd name="connsiteY184" fmla="*/ 475274 h 479077"/>
                <a:gd name="connsiteX185" fmla="*/ 574529 w 3785642"/>
                <a:gd name="connsiteY185" fmla="*/ 474282 h 479077"/>
                <a:gd name="connsiteX186" fmla="*/ 558158 w 3785642"/>
                <a:gd name="connsiteY186" fmla="*/ 475274 h 479077"/>
                <a:gd name="connsiteX187" fmla="*/ 541788 w 3785642"/>
                <a:gd name="connsiteY187" fmla="*/ 475770 h 479077"/>
                <a:gd name="connsiteX188" fmla="*/ 525417 w 3785642"/>
                <a:gd name="connsiteY188" fmla="*/ 474282 h 479077"/>
                <a:gd name="connsiteX189" fmla="*/ 509047 w 3785642"/>
                <a:gd name="connsiteY189" fmla="*/ 473786 h 479077"/>
                <a:gd name="connsiteX190" fmla="*/ 492676 w 3785642"/>
                <a:gd name="connsiteY190" fmla="*/ 473786 h 479077"/>
                <a:gd name="connsiteX191" fmla="*/ 476306 w 3785642"/>
                <a:gd name="connsiteY191" fmla="*/ 474778 h 479077"/>
                <a:gd name="connsiteX192" fmla="*/ 459935 w 3785642"/>
                <a:gd name="connsiteY192" fmla="*/ 473786 h 479077"/>
                <a:gd name="connsiteX193" fmla="*/ 443565 w 3785642"/>
                <a:gd name="connsiteY193" fmla="*/ 474778 h 479077"/>
                <a:gd name="connsiteX194" fmla="*/ 427194 w 3785642"/>
                <a:gd name="connsiteY194" fmla="*/ 474282 h 479077"/>
                <a:gd name="connsiteX195" fmla="*/ 410823 w 3785642"/>
                <a:gd name="connsiteY195" fmla="*/ 473290 h 479077"/>
                <a:gd name="connsiteX196" fmla="*/ 394453 w 3785642"/>
                <a:gd name="connsiteY196" fmla="*/ 475770 h 479077"/>
                <a:gd name="connsiteX197" fmla="*/ 378082 w 3785642"/>
                <a:gd name="connsiteY197" fmla="*/ 475274 h 479077"/>
                <a:gd name="connsiteX198" fmla="*/ 361712 w 3785642"/>
                <a:gd name="connsiteY198" fmla="*/ 474778 h 479077"/>
                <a:gd name="connsiteX199" fmla="*/ 345341 w 3785642"/>
                <a:gd name="connsiteY199" fmla="*/ 476266 h 479077"/>
                <a:gd name="connsiteX200" fmla="*/ 328970 w 3785642"/>
                <a:gd name="connsiteY200" fmla="*/ 474282 h 479077"/>
                <a:gd name="connsiteX201" fmla="*/ 312600 w 3785642"/>
                <a:gd name="connsiteY201" fmla="*/ 475274 h 479077"/>
                <a:gd name="connsiteX202" fmla="*/ 296229 w 3785642"/>
                <a:gd name="connsiteY202" fmla="*/ 474282 h 479077"/>
                <a:gd name="connsiteX203" fmla="*/ 279859 w 3785642"/>
                <a:gd name="connsiteY203" fmla="*/ 475770 h 479077"/>
                <a:gd name="connsiteX204" fmla="*/ 263488 w 3785642"/>
                <a:gd name="connsiteY204" fmla="*/ 476266 h 479077"/>
                <a:gd name="connsiteX205" fmla="*/ 247118 w 3785642"/>
                <a:gd name="connsiteY205" fmla="*/ 476266 h 479077"/>
                <a:gd name="connsiteX206" fmla="*/ 230747 w 3785642"/>
                <a:gd name="connsiteY206" fmla="*/ 474778 h 479077"/>
                <a:gd name="connsiteX207" fmla="*/ 214376 w 3785642"/>
                <a:gd name="connsiteY207" fmla="*/ 474778 h 479077"/>
                <a:gd name="connsiteX208" fmla="*/ 198006 w 3785642"/>
                <a:gd name="connsiteY208" fmla="*/ 476762 h 479077"/>
                <a:gd name="connsiteX209" fmla="*/ 181635 w 3785642"/>
                <a:gd name="connsiteY209" fmla="*/ 476266 h 479077"/>
                <a:gd name="connsiteX210" fmla="*/ 165265 w 3785642"/>
                <a:gd name="connsiteY210" fmla="*/ 474778 h 479077"/>
                <a:gd name="connsiteX211" fmla="*/ 148894 w 3785642"/>
                <a:gd name="connsiteY211" fmla="*/ 476762 h 479077"/>
                <a:gd name="connsiteX212" fmla="*/ 132524 w 3785642"/>
                <a:gd name="connsiteY212" fmla="*/ 476266 h 479077"/>
                <a:gd name="connsiteX213" fmla="*/ 116153 w 3785642"/>
                <a:gd name="connsiteY213" fmla="*/ 475274 h 479077"/>
                <a:gd name="connsiteX214" fmla="*/ 99783 w 3785642"/>
                <a:gd name="connsiteY214" fmla="*/ 475274 h 479077"/>
                <a:gd name="connsiteX215" fmla="*/ 83412 w 3785642"/>
                <a:gd name="connsiteY215" fmla="*/ 475274 h 479077"/>
                <a:gd name="connsiteX216" fmla="*/ 67041 w 3785642"/>
                <a:gd name="connsiteY216" fmla="*/ 474778 h 479077"/>
                <a:gd name="connsiteX217" fmla="*/ 50671 w 3785642"/>
                <a:gd name="connsiteY217" fmla="*/ 475274 h 479077"/>
                <a:gd name="connsiteX218" fmla="*/ 34300 w 3785642"/>
                <a:gd name="connsiteY218" fmla="*/ 475274 h 479077"/>
                <a:gd name="connsiteX219" fmla="*/ 17930 w 3785642"/>
                <a:gd name="connsiteY219" fmla="*/ 475770 h 479077"/>
                <a:gd name="connsiteX220" fmla="*/ 567 w 3785642"/>
                <a:gd name="connsiteY220" fmla="*/ 475770 h 479077"/>
                <a:gd name="connsiteX221" fmla="*/ 12969 w 3785642"/>
                <a:gd name="connsiteY221" fmla="*/ 463368 h 479077"/>
                <a:gd name="connsiteX222" fmla="*/ 24379 w 3785642"/>
                <a:gd name="connsiteY222" fmla="*/ 451958 h 479077"/>
                <a:gd name="connsiteX223" fmla="*/ 35788 w 3785642"/>
                <a:gd name="connsiteY223" fmla="*/ 440053 h 479077"/>
                <a:gd name="connsiteX224" fmla="*/ 48686 w 3785642"/>
                <a:gd name="connsiteY224" fmla="*/ 430131 h 479077"/>
                <a:gd name="connsiteX225" fmla="*/ 59600 w 3785642"/>
                <a:gd name="connsiteY225" fmla="*/ 418225 h 479077"/>
                <a:gd name="connsiteX226" fmla="*/ 70514 w 3785642"/>
                <a:gd name="connsiteY226" fmla="*/ 405823 h 479077"/>
                <a:gd name="connsiteX227" fmla="*/ 83412 w 3785642"/>
                <a:gd name="connsiteY227" fmla="*/ 395406 h 479077"/>
                <a:gd name="connsiteX228" fmla="*/ 94822 w 3785642"/>
                <a:gd name="connsiteY228" fmla="*/ 383500 h 479077"/>
                <a:gd name="connsiteX229" fmla="*/ 106728 w 3785642"/>
                <a:gd name="connsiteY229" fmla="*/ 372090 h 479077"/>
                <a:gd name="connsiteX230" fmla="*/ 117145 w 3785642"/>
                <a:gd name="connsiteY230" fmla="*/ 359688 h 479077"/>
                <a:gd name="connsiteX231" fmla="*/ 128555 w 3785642"/>
                <a:gd name="connsiteY231" fmla="*/ 348278 h 479077"/>
                <a:gd name="connsiteX232" fmla="*/ 140461 w 3785642"/>
                <a:gd name="connsiteY232" fmla="*/ 336868 h 479077"/>
                <a:gd name="connsiteX233" fmla="*/ 152863 w 3785642"/>
                <a:gd name="connsiteY233" fmla="*/ 326451 h 479077"/>
                <a:gd name="connsiteX234" fmla="*/ 164769 w 3785642"/>
                <a:gd name="connsiteY234" fmla="*/ 315041 h 479077"/>
                <a:gd name="connsiteX235" fmla="*/ 176178 w 3785642"/>
                <a:gd name="connsiteY235" fmla="*/ 303135 h 479077"/>
                <a:gd name="connsiteX236" fmla="*/ 188084 w 3785642"/>
                <a:gd name="connsiteY236" fmla="*/ 291725 h 479077"/>
                <a:gd name="connsiteX237" fmla="*/ 199494 w 3785642"/>
                <a:gd name="connsiteY237" fmla="*/ 280315 h 479077"/>
                <a:gd name="connsiteX238" fmla="*/ 210904 w 3785642"/>
                <a:gd name="connsiteY238" fmla="*/ 268906 h 479077"/>
                <a:gd name="connsiteX239" fmla="*/ 221818 w 3785642"/>
                <a:gd name="connsiteY239" fmla="*/ 256504 h 479077"/>
                <a:gd name="connsiteX240" fmla="*/ 233724 w 3785642"/>
                <a:gd name="connsiteY240" fmla="*/ 245094 h 479077"/>
                <a:gd name="connsiteX241" fmla="*/ 244141 w 3785642"/>
                <a:gd name="connsiteY241" fmla="*/ 232692 h 479077"/>
                <a:gd name="connsiteX242" fmla="*/ 257039 w 3785642"/>
                <a:gd name="connsiteY242" fmla="*/ 222770 h 479077"/>
                <a:gd name="connsiteX243" fmla="*/ 266961 w 3785642"/>
                <a:gd name="connsiteY243" fmla="*/ 209376 h 479077"/>
                <a:gd name="connsiteX244" fmla="*/ 278371 w 3785642"/>
                <a:gd name="connsiteY244" fmla="*/ 197966 h 479077"/>
                <a:gd name="connsiteX245" fmla="*/ 291269 w 3785642"/>
                <a:gd name="connsiteY245" fmla="*/ 188045 h 479077"/>
                <a:gd name="connsiteX246" fmla="*/ 301686 w 3785642"/>
                <a:gd name="connsiteY246" fmla="*/ 175147 h 479077"/>
                <a:gd name="connsiteX247" fmla="*/ 313592 w 3785642"/>
                <a:gd name="connsiteY247" fmla="*/ 163737 h 479077"/>
                <a:gd name="connsiteX248" fmla="*/ 325994 w 3785642"/>
                <a:gd name="connsiteY248" fmla="*/ 153319 h 479077"/>
                <a:gd name="connsiteX249" fmla="*/ 337404 w 3785642"/>
                <a:gd name="connsiteY249" fmla="*/ 141910 h 479077"/>
                <a:gd name="connsiteX250" fmla="*/ 347325 w 3785642"/>
                <a:gd name="connsiteY250" fmla="*/ 129012 h 479077"/>
                <a:gd name="connsiteX251" fmla="*/ 360224 w 3785642"/>
                <a:gd name="connsiteY251" fmla="*/ 118594 h 479077"/>
                <a:gd name="connsiteX252" fmla="*/ 371137 w 3785642"/>
                <a:gd name="connsiteY252" fmla="*/ 106192 h 479077"/>
                <a:gd name="connsiteX253" fmla="*/ 382051 w 3785642"/>
                <a:gd name="connsiteY253" fmla="*/ 93790 h 479077"/>
                <a:gd name="connsiteX254" fmla="*/ 393957 w 3785642"/>
                <a:gd name="connsiteY254" fmla="*/ 82380 h 479077"/>
                <a:gd name="connsiteX255" fmla="*/ 405366 w 3785642"/>
                <a:gd name="connsiteY255" fmla="*/ 70475 h 479077"/>
                <a:gd name="connsiteX256" fmla="*/ 417272 w 3785642"/>
                <a:gd name="connsiteY256" fmla="*/ 59561 h 479077"/>
                <a:gd name="connsiteX257" fmla="*/ 429674 w 3785642"/>
                <a:gd name="connsiteY257" fmla="*/ 48647 h 479077"/>
                <a:gd name="connsiteX258" fmla="*/ 440092 w 3785642"/>
                <a:gd name="connsiteY258" fmla="*/ 35749 h 479077"/>
                <a:gd name="connsiteX259" fmla="*/ 452494 w 3785642"/>
                <a:gd name="connsiteY259" fmla="*/ 24835 h 479077"/>
                <a:gd name="connsiteX260" fmla="*/ 463904 w 3785642"/>
                <a:gd name="connsiteY260" fmla="*/ 12929 h 479077"/>
                <a:gd name="connsiteX261" fmla="*/ 475313 w 3785642"/>
                <a:gd name="connsiteY261" fmla="*/ 1024 h 479077"/>
                <a:gd name="connsiteX262" fmla="*/ 491684 w 3785642"/>
                <a:gd name="connsiteY262" fmla="*/ 2512 h 479077"/>
                <a:gd name="connsiteX263" fmla="*/ 508055 w 3785642"/>
                <a:gd name="connsiteY263" fmla="*/ 2512 h 479077"/>
                <a:gd name="connsiteX264" fmla="*/ 524425 w 3785642"/>
                <a:gd name="connsiteY264" fmla="*/ 2512 h 479077"/>
                <a:gd name="connsiteX265" fmla="*/ 540796 w 3785642"/>
                <a:gd name="connsiteY265" fmla="*/ 1024 h 479077"/>
                <a:gd name="connsiteX266" fmla="*/ 557166 w 3785642"/>
                <a:gd name="connsiteY266" fmla="*/ 2512 h 479077"/>
                <a:gd name="connsiteX267" fmla="*/ 573537 w 3785642"/>
                <a:gd name="connsiteY267" fmla="*/ 1024 h 479077"/>
                <a:gd name="connsiteX268" fmla="*/ 589908 w 3785642"/>
                <a:gd name="connsiteY268" fmla="*/ 527 h 479077"/>
                <a:gd name="connsiteX269" fmla="*/ 606278 w 3785642"/>
                <a:gd name="connsiteY269" fmla="*/ 1520 h 479077"/>
                <a:gd name="connsiteX270" fmla="*/ 622649 w 3785642"/>
                <a:gd name="connsiteY270" fmla="*/ 1520 h 479077"/>
                <a:gd name="connsiteX271" fmla="*/ 639019 w 3785642"/>
                <a:gd name="connsiteY271" fmla="*/ 2016 h 479077"/>
                <a:gd name="connsiteX272" fmla="*/ 655390 w 3785642"/>
                <a:gd name="connsiteY272" fmla="*/ 527 h 479077"/>
                <a:gd name="connsiteX273" fmla="*/ 671760 w 3785642"/>
                <a:gd name="connsiteY273" fmla="*/ 1520 h 479077"/>
                <a:gd name="connsiteX274" fmla="*/ 688131 w 3785642"/>
                <a:gd name="connsiteY274" fmla="*/ 2512 h 479077"/>
                <a:gd name="connsiteX275" fmla="*/ 704501 w 3785642"/>
                <a:gd name="connsiteY275" fmla="*/ 1024 h 479077"/>
                <a:gd name="connsiteX276" fmla="*/ 720872 w 3785642"/>
                <a:gd name="connsiteY276" fmla="*/ 1520 h 479077"/>
                <a:gd name="connsiteX277" fmla="*/ 737243 w 3785642"/>
                <a:gd name="connsiteY277" fmla="*/ 2016 h 479077"/>
                <a:gd name="connsiteX278" fmla="*/ 753613 w 3785642"/>
                <a:gd name="connsiteY278" fmla="*/ 1024 h 479077"/>
                <a:gd name="connsiteX279" fmla="*/ 769984 w 3785642"/>
                <a:gd name="connsiteY279" fmla="*/ 527 h 479077"/>
                <a:gd name="connsiteX280" fmla="*/ 786354 w 3785642"/>
                <a:gd name="connsiteY280" fmla="*/ 1520 h 479077"/>
                <a:gd name="connsiteX281" fmla="*/ 802725 w 3785642"/>
                <a:gd name="connsiteY281" fmla="*/ 527 h 479077"/>
                <a:gd name="connsiteX282" fmla="*/ 819096 w 3785642"/>
                <a:gd name="connsiteY282" fmla="*/ 2512 h 479077"/>
                <a:gd name="connsiteX283" fmla="*/ 835466 w 3785642"/>
                <a:gd name="connsiteY283" fmla="*/ 527 h 479077"/>
                <a:gd name="connsiteX284" fmla="*/ 851837 w 3785642"/>
                <a:gd name="connsiteY284" fmla="*/ 1520 h 479077"/>
                <a:gd name="connsiteX285" fmla="*/ 868207 w 3785642"/>
                <a:gd name="connsiteY285" fmla="*/ 2016 h 479077"/>
                <a:gd name="connsiteX286" fmla="*/ 884578 w 3785642"/>
                <a:gd name="connsiteY286" fmla="*/ 2512 h 479077"/>
                <a:gd name="connsiteX287" fmla="*/ 900948 w 3785642"/>
                <a:gd name="connsiteY287" fmla="*/ 1520 h 479077"/>
                <a:gd name="connsiteX288" fmla="*/ 917319 w 3785642"/>
                <a:gd name="connsiteY288" fmla="*/ 1024 h 479077"/>
                <a:gd name="connsiteX289" fmla="*/ 933689 w 3785642"/>
                <a:gd name="connsiteY289" fmla="*/ 2512 h 479077"/>
                <a:gd name="connsiteX290" fmla="*/ 950060 w 3785642"/>
                <a:gd name="connsiteY290" fmla="*/ 1520 h 479077"/>
                <a:gd name="connsiteX291" fmla="*/ 966431 w 3785642"/>
                <a:gd name="connsiteY291" fmla="*/ 2016 h 479077"/>
                <a:gd name="connsiteX292" fmla="*/ 982801 w 3785642"/>
                <a:gd name="connsiteY292" fmla="*/ 2512 h 479077"/>
                <a:gd name="connsiteX293" fmla="*/ 999172 w 3785642"/>
                <a:gd name="connsiteY293" fmla="*/ 1520 h 479077"/>
                <a:gd name="connsiteX294" fmla="*/ 1015542 w 3785642"/>
                <a:gd name="connsiteY294" fmla="*/ 2512 h 479077"/>
                <a:gd name="connsiteX295" fmla="*/ 1031913 w 3785642"/>
                <a:gd name="connsiteY295" fmla="*/ 1520 h 479077"/>
                <a:gd name="connsiteX296" fmla="*/ 1048283 w 3785642"/>
                <a:gd name="connsiteY296" fmla="*/ 2016 h 479077"/>
                <a:gd name="connsiteX297" fmla="*/ 1064654 w 3785642"/>
                <a:gd name="connsiteY297" fmla="*/ 3504 h 479077"/>
                <a:gd name="connsiteX298" fmla="*/ 1081025 w 3785642"/>
                <a:gd name="connsiteY298" fmla="*/ 2016 h 479077"/>
                <a:gd name="connsiteX299" fmla="*/ 1097395 w 3785642"/>
                <a:gd name="connsiteY299" fmla="*/ 2512 h 479077"/>
                <a:gd name="connsiteX300" fmla="*/ 1113766 w 3785642"/>
                <a:gd name="connsiteY300" fmla="*/ 2512 h 479077"/>
                <a:gd name="connsiteX301" fmla="*/ 1130136 w 3785642"/>
                <a:gd name="connsiteY301" fmla="*/ 3504 h 479077"/>
                <a:gd name="connsiteX302" fmla="*/ 1146507 w 3785642"/>
                <a:gd name="connsiteY302" fmla="*/ 1520 h 479077"/>
                <a:gd name="connsiteX303" fmla="*/ 1162878 w 3785642"/>
                <a:gd name="connsiteY303" fmla="*/ 3008 h 479077"/>
                <a:gd name="connsiteX304" fmla="*/ 1179248 w 3785642"/>
                <a:gd name="connsiteY304" fmla="*/ 4000 h 479077"/>
                <a:gd name="connsiteX305" fmla="*/ 1195619 w 3785642"/>
                <a:gd name="connsiteY305" fmla="*/ 3504 h 479077"/>
                <a:gd name="connsiteX306" fmla="*/ 1211989 w 3785642"/>
                <a:gd name="connsiteY306" fmla="*/ 1520 h 479077"/>
                <a:gd name="connsiteX307" fmla="*/ 1228360 w 3785642"/>
                <a:gd name="connsiteY307" fmla="*/ 3504 h 479077"/>
                <a:gd name="connsiteX308" fmla="*/ 1244730 w 3785642"/>
                <a:gd name="connsiteY308" fmla="*/ 1520 h 479077"/>
                <a:gd name="connsiteX309" fmla="*/ 1261101 w 3785642"/>
                <a:gd name="connsiteY309" fmla="*/ 2512 h 479077"/>
                <a:gd name="connsiteX310" fmla="*/ 1277471 w 3785642"/>
                <a:gd name="connsiteY310" fmla="*/ 3504 h 479077"/>
                <a:gd name="connsiteX311" fmla="*/ 1293842 w 3785642"/>
                <a:gd name="connsiteY311" fmla="*/ 4000 h 479077"/>
                <a:gd name="connsiteX312" fmla="*/ 1310213 w 3785642"/>
                <a:gd name="connsiteY312" fmla="*/ 1520 h 479077"/>
                <a:gd name="connsiteX313" fmla="*/ 1326583 w 3785642"/>
                <a:gd name="connsiteY313" fmla="*/ 2016 h 479077"/>
                <a:gd name="connsiteX314" fmla="*/ 1342954 w 3785642"/>
                <a:gd name="connsiteY314" fmla="*/ 3008 h 479077"/>
                <a:gd name="connsiteX315" fmla="*/ 1359324 w 3785642"/>
                <a:gd name="connsiteY315" fmla="*/ 3008 h 479077"/>
                <a:gd name="connsiteX316" fmla="*/ 1375695 w 3785642"/>
                <a:gd name="connsiteY316" fmla="*/ 2512 h 479077"/>
                <a:gd name="connsiteX317" fmla="*/ 1392066 w 3785642"/>
                <a:gd name="connsiteY317" fmla="*/ 2512 h 479077"/>
                <a:gd name="connsiteX318" fmla="*/ 1408436 w 3785642"/>
                <a:gd name="connsiteY318" fmla="*/ 3504 h 479077"/>
                <a:gd name="connsiteX319" fmla="*/ 1424807 w 3785642"/>
                <a:gd name="connsiteY319" fmla="*/ 3504 h 479077"/>
                <a:gd name="connsiteX320" fmla="*/ 1441177 w 3785642"/>
                <a:gd name="connsiteY320" fmla="*/ 1520 h 479077"/>
                <a:gd name="connsiteX321" fmla="*/ 1457548 w 3785642"/>
                <a:gd name="connsiteY321" fmla="*/ 2512 h 479077"/>
                <a:gd name="connsiteX322" fmla="*/ 1473919 w 3785642"/>
                <a:gd name="connsiteY322" fmla="*/ 2016 h 479077"/>
                <a:gd name="connsiteX323" fmla="*/ 1490289 w 3785642"/>
                <a:gd name="connsiteY323" fmla="*/ 2016 h 479077"/>
                <a:gd name="connsiteX324" fmla="*/ 1506660 w 3785642"/>
                <a:gd name="connsiteY324" fmla="*/ 1520 h 479077"/>
                <a:gd name="connsiteX325" fmla="*/ 1523030 w 3785642"/>
                <a:gd name="connsiteY325" fmla="*/ 3504 h 479077"/>
                <a:gd name="connsiteX326" fmla="*/ 1539401 w 3785642"/>
                <a:gd name="connsiteY326" fmla="*/ 3008 h 479077"/>
                <a:gd name="connsiteX327" fmla="*/ 1555771 w 3785642"/>
                <a:gd name="connsiteY327" fmla="*/ 3008 h 479077"/>
                <a:gd name="connsiteX328" fmla="*/ 1572142 w 3785642"/>
                <a:gd name="connsiteY328" fmla="*/ 2512 h 479077"/>
                <a:gd name="connsiteX329" fmla="*/ 1588512 w 3785642"/>
                <a:gd name="connsiteY329" fmla="*/ 2016 h 479077"/>
                <a:gd name="connsiteX330" fmla="*/ 1604883 w 3785642"/>
                <a:gd name="connsiteY330" fmla="*/ 3008 h 479077"/>
                <a:gd name="connsiteX331" fmla="*/ 1621253 w 3785642"/>
                <a:gd name="connsiteY331" fmla="*/ 3008 h 479077"/>
                <a:gd name="connsiteX332" fmla="*/ 1637624 w 3785642"/>
                <a:gd name="connsiteY33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313375 w 3785642"/>
                <a:gd name="connsiteY5" fmla="*/ 10945 h 479077"/>
                <a:gd name="connsiteX6" fmla="*/ 3300973 w 3785642"/>
                <a:gd name="connsiteY6" fmla="*/ 21363 h 479077"/>
                <a:gd name="connsiteX7" fmla="*/ 3289068 w 3785642"/>
                <a:gd name="connsiteY7" fmla="*/ 32276 h 479077"/>
                <a:gd name="connsiteX8" fmla="*/ 3277658 w 3785642"/>
                <a:gd name="connsiteY8" fmla="*/ 43686 h 479077"/>
                <a:gd name="connsiteX9" fmla="*/ 3266248 w 3785642"/>
                <a:gd name="connsiteY9" fmla="*/ 55592 h 479077"/>
                <a:gd name="connsiteX10" fmla="*/ 3255830 w 3785642"/>
                <a:gd name="connsiteY10" fmla="*/ 68490 h 479077"/>
                <a:gd name="connsiteX11" fmla="*/ 3243924 w 3785642"/>
                <a:gd name="connsiteY11" fmla="*/ 79900 h 479077"/>
                <a:gd name="connsiteX12" fmla="*/ 3231522 w 3785642"/>
                <a:gd name="connsiteY12" fmla="*/ 90814 h 479077"/>
                <a:gd name="connsiteX13" fmla="*/ 3220609 w 3785642"/>
                <a:gd name="connsiteY13" fmla="*/ 102720 h 479077"/>
                <a:gd name="connsiteX14" fmla="*/ 3208207 w 3785642"/>
                <a:gd name="connsiteY14" fmla="*/ 113137 h 479077"/>
                <a:gd name="connsiteX15" fmla="*/ 3197293 w 3785642"/>
                <a:gd name="connsiteY15" fmla="*/ 125043 h 479077"/>
                <a:gd name="connsiteX16" fmla="*/ 3185387 w 3785642"/>
                <a:gd name="connsiteY16" fmla="*/ 136453 h 479077"/>
                <a:gd name="connsiteX17" fmla="*/ 3174970 w 3785642"/>
                <a:gd name="connsiteY17" fmla="*/ 148855 h 479077"/>
                <a:gd name="connsiteX18" fmla="*/ 3162071 w 3785642"/>
                <a:gd name="connsiteY18" fmla="*/ 159272 h 479077"/>
                <a:gd name="connsiteX19" fmla="*/ 3151158 w 3785642"/>
                <a:gd name="connsiteY19" fmla="*/ 171674 h 479077"/>
                <a:gd name="connsiteX20" fmla="*/ 3139252 w 3785642"/>
                <a:gd name="connsiteY20" fmla="*/ 182588 h 479077"/>
                <a:gd name="connsiteX21" fmla="*/ 3127843 w 3785642"/>
                <a:gd name="connsiteY21" fmla="*/ 194494 h 479077"/>
                <a:gd name="connsiteX22" fmla="*/ 3116432 w 3785642"/>
                <a:gd name="connsiteY22" fmla="*/ 205904 h 479077"/>
                <a:gd name="connsiteX23" fmla="*/ 3105022 w 3785642"/>
                <a:gd name="connsiteY23" fmla="*/ 217810 h 479077"/>
                <a:gd name="connsiteX24" fmla="*/ 3093117 w 3785642"/>
                <a:gd name="connsiteY24" fmla="*/ 229219 h 479077"/>
                <a:gd name="connsiteX25" fmla="*/ 3081707 w 3785642"/>
                <a:gd name="connsiteY25" fmla="*/ 240629 h 479077"/>
                <a:gd name="connsiteX26" fmla="*/ 3069305 w 3785642"/>
                <a:gd name="connsiteY26" fmla="*/ 251543 h 479077"/>
                <a:gd name="connsiteX27" fmla="*/ 3057895 w 3785642"/>
                <a:gd name="connsiteY27" fmla="*/ 263449 h 479077"/>
                <a:gd name="connsiteX28" fmla="*/ 3046486 w 3785642"/>
                <a:gd name="connsiteY28" fmla="*/ 275355 h 479077"/>
                <a:gd name="connsiteX29" fmla="*/ 3035572 w 3785642"/>
                <a:gd name="connsiteY29" fmla="*/ 287260 h 479077"/>
                <a:gd name="connsiteX30" fmla="*/ 3024658 w 3785642"/>
                <a:gd name="connsiteY30" fmla="*/ 299166 h 479077"/>
                <a:gd name="connsiteX31" fmla="*/ 3013248 w 3785642"/>
                <a:gd name="connsiteY31" fmla="*/ 311072 h 479077"/>
                <a:gd name="connsiteX32" fmla="*/ 3000350 w 3785642"/>
                <a:gd name="connsiteY32" fmla="*/ 321490 h 479077"/>
                <a:gd name="connsiteX33" fmla="*/ 2988941 w 3785642"/>
                <a:gd name="connsiteY33" fmla="*/ 333396 h 479077"/>
                <a:gd name="connsiteX34" fmla="*/ 2976539 w 3785642"/>
                <a:gd name="connsiteY34" fmla="*/ 344309 h 479077"/>
                <a:gd name="connsiteX35" fmla="*/ 2965129 w 3785642"/>
                <a:gd name="connsiteY35" fmla="*/ 356215 h 479077"/>
                <a:gd name="connsiteX36" fmla="*/ 2953223 w 3785642"/>
                <a:gd name="connsiteY36" fmla="*/ 367625 h 479077"/>
                <a:gd name="connsiteX37" fmla="*/ 2941813 w 3785642"/>
                <a:gd name="connsiteY37" fmla="*/ 379531 h 479077"/>
                <a:gd name="connsiteX38" fmla="*/ 2931395 w 3785642"/>
                <a:gd name="connsiteY38" fmla="*/ 392429 h 479077"/>
                <a:gd name="connsiteX39" fmla="*/ 2918497 w 3785642"/>
                <a:gd name="connsiteY39" fmla="*/ 402847 h 479077"/>
                <a:gd name="connsiteX40" fmla="*/ 2907584 w 3785642"/>
                <a:gd name="connsiteY40" fmla="*/ 415249 h 479077"/>
                <a:gd name="connsiteX41" fmla="*/ 2896174 w 3785642"/>
                <a:gd name="connsiteY41" fmla="*/ 426658 h 479077"/>
                <a:gd name="connsiteX42" fmla="*/ 2884268 w 3785642"/>
                <a:gd name="connsiteY42" fmla="*/ 438068 h 479077"/>
                <a:gd name="connsiteX43" fmla="*/ 2873354 w 3785642"/>
                <a:gd name="connsiteY43" fmla="*/ 450470 h 479077"/>
                <a:gd name="connsiteX44" fmla="*/ 2860952 w 3785642"/>
                <a:gd name="connsiteY44" fmla="*/ 461384 h 479077"/>
                <a:gd name="connsiteX45" fmla="*/ 2850039 w 3785642"/>
                <a:gd name="connsiteY45" fmla="*/ 473786 h 479077"/>
                <a:gd name="connsiteX46" fmla="*/ 2833668 w 3785642"/>
                <a:gd name="connsiteY46" fmla="*/ 473786 h 479077"/>
                <a:gd name="connsiteX47" fmla="*/ 2817297 w 3785642"/>
                <a:gd name="connsiteY47" fmla="*/ 473290 h 479077"/>
                <a:gd name="connsiteX48" fmla="*/ 2800927 w 3785642"/>
                <a:gd name="connsiteY48" fmla="*/ 473290 h 479077"/>
                <a:gd name="connsiteX49" fmla="*/ 2784556 w 3785642"/>
                <a:gd name="connsiteY49" fmla="*/ 473786 h 479077"/>
                <a:gd name="connsiteX50" fmla="*/ 2768186 w 3785642"/>
                <a:gd name="connsiteY50" fmla="*/ 474282 h 479077"/>
                <a:gd name="connsiteX51" fmla="*/ 2751815 w 3785642"/>
                <a:gd name="connsiteY51" fmla="*/ 474282 h 479077"/>
                <a:gd name="connsiteX52" fmla="*/ 2735444 w 3785642"/>
                <a:gd name="connsiteY52" fmla="*/ 473290 h 479077"/>
                <a:gd name="connsiteX53" fmla="*/ 2719074 w 3785642"/>
                <a:gd name="connsiteY53" fmla="*/ 474282 h 479077"/>
                <a:gd name="connsiteX54" fmla="*/ 2702703 w 3785642"/>
                <a:gd name="connsiteY54" fmla="*/ 472298 h 479077"/>
                <a:gd name="connsiteX55" fmla="*/ 2686333 w 3785642"/>
                <a:gd name="connsiteY55" fmla="*/ 472794 h 479077"/>
                <a:gd name="connsiteX56" fmla="*/ 2669962 w 3785642"/>
                <a:gd name="connsiteY56" fmla="*/ 474282 h 479077"/>
                <a:gd name="connsiteX57" fmla="*/ 2653592 w 3785642"/>
                <a:gd name="connsiteY57" fmla="*/ 472298 h 479077"/>
                <a:gd name="connsiteX58" fmla="*/ 2637221 w 3785642"/>
                <a:gd name="connsiteY58" fmla="*/ 474282 h 479077"/>
                <a:gd name="connsiteX59" fmla="*/ 2620851 w 3785642"/>
                <a:gd name="connsiteY59" fmla="*/ 474282 h 479077"/>
                <a:gd name="connsiteX60" fmla="*/ 2604480 w 3785642"/>
                <a:gd name="connsiteY60" fmla="*/ 472298 h 479077"/>
                <a:gd name="connsiteX61" fmla="*/ 2588109 w 3785642"/>
                <a:gd name="connsiteY61" fmla="*/ 473786 h 479077"/>
                <a:gd name="connsiteX62" fmla="*/ 2571739 w 3785642"/>
                <a:gd name="connsiteY62" fmla="*/ 472298 h 479077"/>
                <a:gd name="connsiteX63" fmla="*/ 2555368 w 3785642"/>
                <a:gd name="connsiteY63" fmla="*/ 473290 h 479077"/>
                <a:gd name="connsiteX64" fmla="*/ 2538998 w 3785642"/>
                <a:gd name="connsiteY64" fmla="*/ 474282 h 479077"/>
                <a:gd name="connsiteX65" fmla="*/ 2522627 w 3785642"/>
                <a:gd name="connsiteY65" fmla="*/ 473290 h 479077"/>
                <a:gd name="connsiteX66" fmla="*/ 2506257 w 3785642"/>
                <a:gd name="connsiteY66" fmla="*/ 474282 h 479077"/>
                <a:gd name="connsiteX67" fmla="*/ 2489886 w 3785642"/>
                <a:gd name="connsiteY67" fmla="*/ 473786 h 479077"/>
                <a:gd name="connsiteX68" fmla="*/ 2473516 w 3785642"/>
                <a:gd name="connsiteY68" fmla="*/ 474282 h 479077"/>
                <a:gd name="connsiteX69" fmla="*/ 2457145 w 3785642"/>
                <a:gd name="connsiteY69" fmla="*/ 472794 h 479077"/>
                <a:gd name="connsiteX70" fmla="*/ 2440775 w 3785642"/>
                <a:gd name="connsiteY70" fmla="*/ 472298 h 479077"/>
                <a:gd name="connsiteX71" fmla="*/ 2424404 w 3785642"/>
                <a:gd name="connsiteY71" fmla="*/ 473786 h 479077"/>
                <a:gd name="connsiteX72" fmla="*/ 2408033 w 3785642"/>
                <a:gd name="connsiteY72" fmla="*/ 472794 h 479077"/>
                <a:gd name="connsiteX73" fmla="*/ 2391663 w 3785642"/>
                <a:gd name="connsiteY73" fmla="*/ 473290 h 479077"/>
                <a:gd name="connsiteX74" fmla="*/ 2375292 w 3785642"/>
                <a:gd name="connsiteY74" fmla="*/ 473290 h 479077"/>
                <a:gd name="connsiteX75" fmla="*/ 2358922 w 3785642"/>
                <a:gd name="connsiteY75" fmla="*/ 472794 h 479077"/>
                <a:gd name="connsiteX76" fmla="*/ 2342551 w 3785642"/>
                <a:gd name="connsiteY76" fmla="*/ 472298 h 479077"/>
                <a:gd name="connsiteX77" fmla="*/ 2326180 w 3785642"/>
                <a:gd name="connsiteY77" fmla="*/ 473786 h 479077"/>
                <a:gd name="connsiteX78" fmla="*/ 2309810 w 3785642"/>
                <a:gd name="connsiteY78" fmla="*/ 473786 h 479077"/>
                <a:gd name="connsiteX79" fmla="*/ 2293439 w 3785642"/>
                <a:gd name="connsiteY79" fmla="*/ 473786 h 479077"/>
                <a:gd name="connsiteX80" fmla="*/ 2277069 w 3785642"/>
                <a:gd name="connsiteY80" fmla="*/ 472794 h 479077"/>
                <a:gd name="connsiteX81" fmla="*/ 2260698 w 3785642"/>
                <a:gd name="connsiteY81" fmla="*/ 474282 h 479077"/>
                <a:gd name="connsiteX82" fmla="*/ 2244327 w 3785642"/>
                <a:gd name="connsiteY82" fmla="*/ 472298 h 479077"/>
                <a:gd name="connsiteX83" fmla="*/ 2227957 w 3785642"/>
                <a:gd name="connsiteY83" fmla="*/ 474282 h 479077"/>
                <a:gd name="connsiteX84" fmla="*/ 2211586 w 3785642"/>
                <a:gd name="connsiteY84" fmla="*/ 473290 h 479077"/>
                <a:gd name="connsiteX85" fmla="*/ 2195216 w 3785642"/>
                <a:gd name="connsiteY85" fmla="*/ 474282 h 479077"/>
                <a:gd name="connsiteX86" fmla="*/ 2178845 w 3785642"/>
                <a:gd name="connsiteY86" fmla="*/ 472794 h 479077"/>
                <a:gd name="connsiteX87" fmla="*/ 2162474 w 3785642"/>
                <a:gd name="connsiteY87" fmla="*/ 474778 h 479077"/>
                <a:gd name="connsiteX88" fmla="*/ 2146104 w 3785642"/>
                <a:gd name="connsiteY88" fmla="*/ 473290 h 479077"/>
                <a:gd name="connsiteX89" fmla="*/ 2129733 w 3785642"/>
                <a:gd name="connsiteY89" fmla="*/ 474778 h 479077"/>
                <a:gd name="connsiteX90" fmla="*/ 2113363 w 3785642"/>
                <a:gd name="connsiteY90" fmla="*/ 474778 h 479077"/>
                <a:gd name="connsiteX91" fmla="*/ 2096992 w 3785642"/>
                <a:gd name="connsiteY91" fmla="*/ 474778 h 479077"/>
                <a:gd name="connsiteX92" fmla="*/ 2080621 w 3785642"/>
                <a:gd name="connsiteY92" fmla="*/ 474282 h 479077"/>
                <a:gd name="connsiteX93" fmla="*/ 2064251 w 3785642"/>
                <a:gd name="connsiteY93" fmla="*/ 472794 h 479077"/>
                <a:gd name="connsiteX94" fmla="*/ 2047880 w 3785642"/>
                <a:gd name="connsiteY94" fmla="*/ 474778 h 479077"/>
                <a:gd name="connsiteX95" fmla="*/ 2031510 w 3785642"/>
                <a:gd name="connsiteY95" fmla="*/ 474778 h 479077"/>
                <a:gd name="connsiteX96" fmla="*/ 2015139 w 3785642"/>
                <a:gd name="connsiteY96" fmla="*/ 474778 h 479077"/>
                <a:gd name="connsiteX97" fmla="*/ 1998769 w 3785642"/>
                <a:gd name="connsiteY97" fmla="*/ 474282 h 479077"/>
                <a:gd name="connsiteX98" fmla="*/ 1982398 w 3785642"/>
                <a:gd name="connsiteY98" fmla="*/ 473786 h 479077"/>
                <a:gd name="connsiteX99" fmla="*/ 1966028 w 3785642"/>
                <a:gd name="connsiteY99" fmla="*/ 473786 h 479077"/>
                <a:gd name="connsiteX100" fmla="*/ 1949657 w 3785642"/>
                <a:gd name="connsiteY100" fmla="*/ 472794 h 479077"/>
                <a:gd name="connsiteX101" fmla="*/ 1933287 w 3785642"/>
                <a:gd name="connsiteY101" fmla="*/ 473290 h 479077"/>
                <a:gd name="connsiteX102" fmla="*/ 1916916 w 3785642"/>
                <a:gd name="connsiteY102" fmla="*/ 474778 h 479077"/>
                <a:gd name="connsiteX103" fmla="*/ 1900546 w 3785642"/>
                <a:gd name="connsiteY103" fmla="*/ 472794 h 479077"/>
                <a:gd name="connsiteX104" fmla="*/ 1884175 w 3785642"/>
                <a:gd name="connsiteY104" fmla="*/ 473786 h 479077"/>
                <a:gd name="connsiteX105" fmla="*/ 1867804 w 3785642"/>
                <a:gd name="connsiteY105" fmla="*/ 474778 h 479077"/>
                <a:gd name="connsiteX106" fmla="*/ 1851434 w 3785642"/>
                <a:gd name="connsiteY106" fmla="*/ 474778 h 479077"/>
                <a:gd name="connsiteX107" fmla="*/ 1835063 w 3785642"/>
                <a:gd name="connsiteY107" fmla="*/ 474778 h 479077"/>
                <a:gd name="connsiteX108" fmla="*/ 1818693 w 3785642"/>
                <a:gd name="connsiteY108" fmla="*/ 474282 h 479077"/>
                <a:gd name="connsiteX109" fmla="*/ 1802322 w 3785642"/>
                <a:gd name="connsiteY109" fmla="*/ 472794 h 479077"/>
                <a:gd name="connsiteX110" fmla="*/ 1785951 w 3785642"/>
                <a:gd name="connsiteY110" fmla="*/ 473786 h 479077"/>
                <a:gd name="connsiteX111" fmla="*/ 1769581 w 3785642"/>
                <a:gd name="connsiteY111" fmla="*/ 473290 h 479077"/>
                <a:gd name="connsiteX112" fmla="*/ 1753210 w 3785642"/>
                <a:gd name="connsiteY112" fmla="*/ 472298 h 479077"/>
                <a:gd name="connsiteX113" fmla="*/ 1736840 w 3785642"/>
                <a:gd name="connsiteY113" fmla="*/ 473290 h 479077"/>
                <a:gd name="connsiteX114" fmla="*/ 1720469 w 3785642"/>
                <a:gd name="connsiteY114" fmla="*/ 474778 h 479077"/>
                <a:gd name="connsiteX115" fmla="*/ 1704098 w 3785642"/>
                <a:gd name="connsiteY115" fmla="*/ 472794 h 479077"/>
                <a:gd name="connsiteX116" fmla="*/ 1687728 w 3785642"/>
                <a:gd name="connsiteY116" fmla="*/ 474778 h 479077"/>
                <a:gd name="connsiteX117" fmla="*/ 1671357 w 3785642"/>
                <a:gd name="connsiteY117" fmla="*/ 474778 h 479077"/>
                <a:gd name="connsiteX118" fmla="*/ 1654987 w 3785642"/>
                <a:gd name="connsiteY118" fmla="*/ 472298 h 479077"/>
                <a:gd name="connsiteX119" fmla="*/ 1638616 w 3785642"/>
                <a:gd name="connsiteY119" fmla="*/ 472794 h 479077"/>
                <a:gd name="connsiteX120" fmla="*/ 1622246 w 3785642"/>
                <a:gd name="connsiteY120" fmla="*/ 473786 h 479077"/>
                <a:gd name="connsiteX121" fmla="*/ 1605875 w 3785642"/>
                <a:gd name="connsiteY121" fmla="*/ 474778 h 479077"/>
                <a:gd name="connsiteX122" fmla="*/ 1589505 w 3785642"/>
                <a:gd name="connsiteY122" fmla="*/ 473290 h 479077"/>
                <a:gd name="connsiteX123" fmla="*/ 1573134 w 3785642"/>
                <a:gd name="connsiteY123" fmla="*/ 474778 h 479077"/>
                <a:gd name="connsiteX124" fmla="*/ 1556763 w 3785642"/>
                <a:gd name="connsiteY124" fmla="*/ 472794 h 479077"/>
                <a:gd name="connsiteX125" fmla="*/ 1540393 w 3785642"/>
                <a:gd name="connsiteY125" fmla="*/ 472794 h 479077"/>
                <a:gd name="connsiteX126" fmla="*/ 1524022 w 3785642"/>
                <a:gd name="connsiteY126" fmla="*/ 474282 h 479077"/>
                <a:gd name="connsiteX127" fmla="*/ 1507652 w 3785642"/>
                <a:gd name="connsiteY127" fmla="*/ 472794 h 479077"/>
                <a:gd name="connsiteX128" fmla="*/ 1491281 w 3785642"/>
                <a:gd name="connsiteY128" fmla="*/ 474282 h 479077"/>
                <a:gd name="connsiteX129" fmla="*/ 1474910 w 3785642"/>
                <a:gd name="connsiteY129" fmla="*/ 474282 h 479077"/>
                <a:gd name="connsiteX130" fmla="*/ 1458540 w 3785642"/>
                <a:gd name="connsiteY130" fmla="*/ 472794 h 479077"/>
                <a:gd name="connsiteX131" fmla="*/ 1442169 w 3785642"/>
                <a:gd name="connsiteY131" fmla="*/ 471802 h 479077"/>
                <a:gd name="connsiteX132" fmla="*/ 1425799 w 3785642"/>
                <a:gd name="connsiteY132" fmla="*/ 472298 h 479077"/>
                <a:gd name="connsiteX133" fmla="*/ 1409428 w 3785642"/>
                <a:gd name="connsiteY133" fmla="*/ 472794 h 479077"/>
                <a:gd name="connsiteX134" fmla="*/ 1393058 w 3785642"/>
                <a:gd name="connsiteY134" fmla="*/ 473786 h 479077"/>
                <a:gd name="connsiteX135" fmla="*/ 1376687 w 3785642"/>
                <a:gd name="connsiteY135" fmla="*/ 471802 h 479077"/>
                <a:gd name="connsiteX136" fmla="*/ 1360317 w 3785642"/>
                <a:gd name="connsiteY136" fmla="*/ 473786 h 479077"/>
                <a:gd name="connsiteX137" fmla="*/ 1343946 w 3785642"/>
                <a:gd name="connsiteY137" fmla="*/ 473786 h 479077"/>
                <a:gd name="connsiteX138" fmla="*/ 1327576 w 3785642"/>
                <a:gd name="connsiteY138" fmla="*/ 472794 h 479077"/>
                <a:gd name="connsiteX139" fmla="*/ 1311205 w 3785642"/>
                <a:gd name="connsiteY139" fmla="*/ 473786 h 479077"/>
                <a:gd name="connsiteX140" fmla="*/ 1294834 w 3785642"/>
                <a:gd name="connsiteY140" fmla="*/ 473786 h 479077"/>
                <a:gd name="connsiteX141" fmla="*/ 1278464 w 3785642"/>
                <a:gd name="connsiteY141" fmla="*/ 473786 h 479077"/>
                <a:gd name="connsiteX142" fmla="*/ 1262093 w 3785642"/>
                <a:gd name="connsiteY142" fmla="*/ 473786 h 479077"/>
                <a:gd name="connsiteX143" fmla="*/ 1245723 w 3785642"/>
                <a:gd name="connsiteY143" fmla="*/ 473290 h 479077"/>
                <a:gd name="connsiteX144" fmla="*/ 1229352 w 3785642"/>
                <a:gd name="connsiteY144" fmla="*/ 472794 h 479077"/>
                <a:gd name="connsiteX145" fmla="*/ 1212981 w 3785642"/>
                <a:gd name="connsiteY145" fmla="*/ 473786 h 479077"/>
                <a:gd name="connsiteX146" fmla="*/ 1196611 w 3785642"/>
                <a:gd name="connsiteY146" fmla="*/ 472298 h 479077"/>
                <a:gd name="connsiteX147" fmla="*/ 1180240 w 3785642"/>
                <a:gd name="connsiteY147" fmla="*/ 472794 h 479077"/>
                <a:gd name="connsiteX148" fmla="*/ 1163870 w 3785642"/>
                <a:gd name="connsiteY148" fmla="*/ 472794 h 479077"/>
                <a:gd name="connsiteX149" fmla="*/ 1147499 w 3785642"/>
                <a:gd name="connsiteY149" fmla="*/ 473786 h 479077"/>
                <a:gd name="connsiteX150" fmla="*/ 1131128 w 3785642"/>
                <a:gd name="connsiteY150" fmla="*/ 473786 h 479077"/>
                <a:gd name="connsiteX151" fmla="*/ 1114758 w 3785642"/>
                <a:gd name="connsiteY151" fmla="*/ 472794 h 479077"/>
                <a:gd name="connsiteX152" fmla="*/ 1098387 w 3785642"/>
                <a:gd name="connsiteY152" fmla="*/ 473786 h 479077"/>
                <a:gd name="connsiteX153" fmla="*/ 1082017 w 3785642"/>
                <a:gd name="connsiteY153" fmla="*/ 474778 h 479077"/>
                <a:gd name="connsiteX154" fmla="*/ 1065646 w 3785642"/>
                <a:gd name="connsiteY154" fmla="*/ 474778 h 479077"/>
                <a:gd name="connsiteX155" fmla="*/ 1049276 w 3785642"/>
                <a:gd name="connsiteY155" fmla="*/ 474282 h 479077"/>
                <a:gd name="connsiteX156" fmla="*/ 1032905 w 3785642"/>
                <a:gd name="connsiteY156" fmla="*/ 473290 h 479077"/>
                <a:gd name="connsiteX157" fmla="*/ 1016535 w 3785642"/>
                <a:gd name="connsiteY157" fmla="*/ 474282 h 479077"/>
                <a:gd name="connsiteX158" fmla="*/ 1000164 w 3785642"/>
                <a:gd name="connsiteY158" fmla="*/ 474282 h 479077"/>
                <a:gd name="connsiteX159" fmla="*/ 983793 w 3785642"/>
                <a:gd name="connsiteY159" fmla="*/ 472794 h 479077"/>
                <a:gd name="connsiteX160" fmla="*/ 967423 w 3785642"/>
                <a:gd name="connsiteY160" fmla="*/ 472794 h 479077"/>
                <a:gd name="connsiteX161" fmla="*/ 951052 w 3785642"/>
                <a:gd name="connsiteY161" fmla="*/ 473786 h 479077"/>
                <a:gd name="connsiteX162" fmla="*/ 934682 w 3785642"/>
                <a:gd name="connsiteY162" fmla="*/ 474282 h 479077"/>
                <a:gd name="connsiteX163" fmla="*/ 918311 w 3785642"/>
                <a:gd name="connsiteY163" fmla="*/ 474778 h 479077"/>
                <a:gd name="connsiteX164" fmla="*/ 901940 w 3785642"/>
                <a:gd name="connsiteY164" fmla="*/ 473290 h 479077"/>
                <a:gd name="connsiteX165" fmla="*/ 885570 w 3785642"/>
                <a:gd name="connsiteY165" fmla="*/ 474778 h 479077"/>
                <a:gd name="connsiteX166" fmla="*/ 869199 w 3785642"/>
                <a:gd name="connsiteY166" fmla="*/ 474282 h 479077"/>
                <a:gd name="connsiteX167" fmla="*/ 852829 w 3785642"/>
                <a:gd name="connsiteY167" fmla="*/ 473786 h 479077"/>
                <a:gd name="connsiteX168" fmla="*/ 836458 w 3785642"/>
                <a:gd name="connsiteY168" fmla="*/ 474778 h 479077"/>
                <a:gd name="connsiteX169" fmla="*/ 820088 w 3785642"/>
                <a:gd name="connsiteY169" fmla="*/ 475274 h 479077"/>
                <a:gd name="connsiteX170" fmla="*/ 803717 w 3785642"/>
                <a:gd name="connsiteY170" fmla="*/ 473786 h 479077"/>
                <a:gd name="connsiteX171" fmla="*/ 787347 w 3785642"/>
                <a:gd name="connsiteY171" fmla="*/ 475770 h 479077"/>
                <a:gd name="connsiteX172" fmla="*/ 770976 w 3785642"/>
                <a:gd name="connsiteY172" fmla="*/ 474778 h 479077"/>
                <a:gd name="connsiteX173" fmla="*/ 754605 w 3785642"/>
                <a:gd name="connsiteY173" fmla="*/ 475274 h 479077"/>
                <a:gd name="connsiteX174" fmla="*/ 738235 w 3785642"/>
                <a:gd name="connsiteY174" fmla="*/ 473786 h 479077"/>
                <a:gd name="connsiteX175" fmla="*/ 721864 w 3785642"/>
                <a:gd name="connsiteY175" fmla="*/ 475274 h 479077"/>
                <a:gd name="connsiteX176" fmla="*/ 705494 w 3785642"/>
                <a:gd name="connsiteY176" fmla="*/ 475770 h 479077"/>
                <a:gd name="connsiteX177" fmla="*/ 689123 w 3785642"/>
                <a:gd name="connsiteY177" fmla="*/ 474282 h 479077"/>
                <a:gd name="connsiteX178" fmla="*/ 672753 w 3785642"/>
                <a:gd name="connsiteY178" fmla="*/ 475274 h 479077"/>
                <a:gd name="connsiteX179" fmla="*/ 656382 w 3785642"/>
                <a:gd name="connsiteY179" fmla="*/ 474778 h 479077"/>
                <a:gd name="connsiteX180" fmla="*/ 640011 w 3785642"/>
                <a:gd name="connsiteY180" fmla="*/ 475770 h 479077"/>
                <a:gd name="connsiteX181" fmla="*/ 623641 w 3785642"/>
                <a:gd name="connsiteY181" fmla="*/ 473786 h 479077"/>
                <a:gd name="connsiteX182" fmla="*/ 607270 w 3785642"/>
                <a:gd name="connsiteY182" fmla="*/ 474778 h 479077"/>
                <a:gd name="connsiteX183" fmla="*/ 590900 w 3785642"/>
                <a:gd name="connsiteY183" fmla="*/ 475274 h 479077"/>
                <a:gd name="connsiteX184" fmla="*/ 574529 w 3785642"/>
                <a:gd name="connsiteY184" fmla="*/ 474282 h 479077"/>
                <a:gd name="connsiteX185" fmla="*/ 558158 w 3785642"/>
                <a:gd name="connsiteY185" fmla="*/ 475274 h 479077"/>
                <a:gd name="connsiteX186" fmla="*/ 541788 w 3785642"/>
                <a:gd name="connsiteY186" fmla="*/ 475770 h 479077"/>
                <a:gd name="connsiteX187" fmla="*/ 525417 w 3785642"/>
                <a:gd name="connsiteY187" fmla="*/ 474282 h 479077"/>
                <a:gd name="connsiteX188" fmla="*/ 509047 w 3785642"/>
                <a:gd name="connsiteY188" fmla="*/ 473786 h 479077"/>
                <a:gd name="connsiteX189" fmla="*/ 492676 w 3785642"/>
                <a:gd name="connsiteY189" fmla="*/ 473786 h 479077"/>
                <a:gd name="connsiteX190" fmla="*/ 476306 w 3785642"/>
                <a:gd name="connsiteY190" fmla="*/ 474778 h 479077"/>
                <a:gd name="connsiteX191" fmla="*/ 459935 w 3785642"/>
                <a:gd name="connsiteY191" fmla="*/ 473786 h 479077"/>
                <a:gd name="connsiteX192" fmla="*/ 443565 w 3785642"/>
                <a:gd name="connsiteY192" fmla="*/ 474778 h 479077"/>
                <a:gd name="connsiteX193" fmla="*/ 427194 w 3785642"/>
                <a:gd name="connsiteY193" fmla="*/ 474282 h 479077"/>
                <a:gd name="connsiteX194" fmla="*/ 410823 w 3785642"/>
                <a:gd name="connsiteY194" fmla="*/ 473290 h 479077"/>
                <a:gd name="connsiteX195" fmla="*/ 394453 w 3785642"/>
                <a:gd name="connsiteY195" fmla="*/ 475770 h 479077"/>
                <a:gd name="connsiteX196" fmla="*/ 378082 w 3785642"/>
                <a:gd name="connsiteY196" fmla="*/ 475274 h 479077"/>
                <a:gd name="connsiteX197" fmla="*/ 361712 w 3785642"/>
                <a:gd name="connsiteY197" fmla="*/ 474778 h 479077"/>
                <a:gd name="connsiteX198" fmla="*/ 345341 w 3785642"/>
                <a:gd name="connsiteY198" fmla="*/ 476266 h 479077"/>
                <a:gd name="connsiteX199" fmla="*/ 328970 w 3785642"/>
                <a:gd name="connsiteY199" fmla="*/ 474282 h 479077"/>
                <a:gd name="connsiteX200" fmla="*/ 312600 w 3785642"/>
                <a:gd name="connsiteY200" fmla="*/ 475274 h 479077"/>
                <a:gd name="connsiteX201" fmla="*/ 296229 w 3785642"/>
                <a:gd name="connsiteY201" fmla="*/ 474282 h 479077"/>
                <a:gd name="connsiteX202" fmla="*/ 279859 w 3785642"/>
                <a:gd name="connsiteY202" fmla="*/ 475770 h 479077"/>
                <a:gd name="connsiteX203" fmla="*/ 263488 w 3785642"/>
                <a:gd name="connsiteY203" fmla="*/ 476266 h 479077"/>
                <a:gd name="connsiteX204" fmla="*/ 247118 w 3785642"/>
                <a:gd name="connsiteY204" fmla="*/ 476266 h 479077"/>
                <a:gd name="connsiteX205" fmla="*/ 230747 w 3785642"/>
                <a:gd name="connsiteY205" fmla="*/ 474778 h 479077"/>
                <a:gd name="connsiteX206" fmla="*/ 214376 w 3785642"/>
                <a:gd name="connsiteY206" fmla="*/ 474778 h 479077"/>
                <a:gd name="connsiteX207" fmla="*/ 198006 w 3785642"/>
                <a:gd name="connsiteY207" fmla="*/ 476762 h 479077"/>
                <a:gd name="connsiteX208" fmla="*/ 181635 w 3785642"/>
                <a:gd name="connsiteY208" fmla="*/ 476266 h 479077"/>
                <a:gd name="connsiteX209" fmla="*/ 165265 w 3785642"/>
                <a:gd name="connsiteY209" fmla="*/ 474778 h 479077"/>
                <a:gd name="connsiteX210" fmla="*/ 148894 w 3785642"/>
                <a:gd name="connsiteY210" fmla="*/ 476762 h 479077"/>
                <a:gd name="connsiteX211" fmla="*/ 132524 w 3785642"/>
                <a:gd name="connsiteY211" fmla="*/ 476266 h 479077"/>
                <a:gd name="connsiteX212" fmla="*/ 116153 w 3785642"/>
                <a:gd name="connsiteY212" fmla="*/ 475274 h 479077"/>
                <a:gd name="connsiteX213" fmla="*/ 99783 w 3785642"/>
                <a:gd name="connsiteY213" fmla="*/ 475274 h 479077"/>
                <a:gd name="connsiteX214" fmla="*/ 83412 w 3785642"/>
                <a:gd name="connsiteY214" fmla="*/ 475274 h 479077"/>
                <a:gd name="connsiteX215" fmla="*/ 67041 w 3785642"/>
                <a:gd name="connsiteY215" fmla="*/ 474778 h 479077"/>
                <a:gd name="connsiteX216" fmla="*/ 50671 w 3785642"/>
                <a:gd name="connsiteY216" fmla="*/ 475274 h 479077"/>
                <a:gd name="connsiteX217" fmla="*/ 34300 w 3785642"/>
                <a:gd name="connsiteY217" fmla="*/ 475274 h 479077"/>
                <a:gd name="connsiteX218" fmla="*/ 17930 w 3785642"/>
                <a:gd name="connsiteY218" fmla="*/ 475770 h 479077"/>
                <a:gd name="connsiteX219" fmla="*/ 567 w 3785642"/>
                <a:gd name="connsiteY219" fmla="*/ 475770 h 479077"/>
                <a:gd name="connsiteX220" fmla="*/ 12969 w 3785642"/>
                <a:gd name="connsiteY220" fmla="*/ 463368 h 479077"/>
                <a:gd name="connsiteX221" fmla="*/ 24379 w 3785642"/>
                <a:gd name="connsiteY221" fmla="*/ 451958 h 479077"/>
                <a:gd name="connsiteX222" fmla="*/ 35788 w 3785642"/>
                <a:gd name="connsiteY222" fmla="*/ 440053 h 479077"/>
                <a:gd name="connsiteX223" fmla="*/ 48686 w 3785642"/>
                <a:gd name="connsiteY223" fmla="*/ 430131 h 479077"/>
                <a:gd name="connsiteX224" fmla="*/ 59600 w 3785642"/>
                <a:gd name="connsiteY224" fmla="*/ 418225 h 479077"/>
                <a:gd name="connsiteX225" fmla="*/ 70514 w 3785642"/>
                <a:gd name="connsiteY225" fmla="*/ 405823 h 479077"/>
                <a:gd name="connsiteX226" fmla="*/ 83412 w 3785642"/>
                <a:gd name="connsiteY226" fmla="*/ 395406 h 479077"/>
                <a:gd name="connsiteX227" fmla="*/ 94822 w 3785642"/>
                <a:gd name="connsiteY227" fmla="*/ 383500 h 479077"/>
                <a:gd name="connsiteX228" fmla="*/ 106728 w 3785642"/>
                <a:gd name="connsiteY228" fmla="*/ 372090 h 479077"/>
                <a:gd name="connsiteX229" fmla="*/ 117145 w 3785642"/>
                <a:gd name="connsiteY229" fmla="*/ 359688 h 479077"/>
                <a:gd name="connsiteX230" fmla="*/ 128555 w 3785642"/>
                <a:gd name="connsiteY230" fmla="*/ 348278 h 479077"/>
                <a:gd name="connsiteX231" fmla="*/ 140461 w 3785642"/>
                <a:gd name="connsiteY231" fmla="*/ 336868 h 479077"/>
                <a:gd name="connsiteX232" fmla="*/ 152863 w 3785642"/>
                <a:gd name="connsiteY232" fmla="*/ 326451 h 479077"/>
                <a:gd name="connsiteX233" fmla="*/ 164769 w 3785642"/>
                <a:gd name="connsiteY233" fmla="*/ 315041 h 479077"/>
                <a:gd name="connsiteX234" fmla="*/ 176178 w 3785642"/>
                <a:gd name="connsiteY234" fmla="*/ 303135 h 479077"/>
                <a:gd name="connsiteX235" fmla="*/ 188084 w 3785642"/>
                <a:gd name="connsiteY235" fmla="*/ 291725 h 479077"/>
                <a:gd name="connsiteX236" fmla="*/ 199494 w 3785642"/>
                <a:gd name="connsiteY236" fmla="*/ 280315 h 479077"/>
                <a:gd name="connsiteX237" fmla="*/ 210904 w 3785642"/>
                <a:gd name="connsiteY237" fmla="*/ 268906 h 479077"/>
                <a:gd name="connsiteX238" fmla="*/ 221818 w 3785642"/>
                <a:gd name="connsiteY238" fmla="*/ 256504 h 479077"/>
                <a:gd name="connsiteX239" fmla="*/ 233724 w 3785642"/>
                <a:gd name="connsiteY239" fmla="*/ 245094 h 479077"/>
                <a:gd name="connsiteX240" fmla="*/ 244141 w 3785642"/>
                <a:gd name="connsiteY240" fmla="*/ 232692 h 479077"/>
                <a:gd name="connsiteX241" fmla="*/ 257039 w 3785642"/>
                <a:gd name="connsiteY241" fmla="*/ 222770 h 479077"/>
                <a:gd name="connsiteX242" fmla="*/ 266961 w 3785642"/>
                <a:gd name="connsiteY242" fmla="*/ 209376 h 479077"/>
                <a:gd name="connsiteX243" fmla="*/ 278371 w 3785642"/>
                <a:gd name="connsiteY243" fmla="*/ 197966 h 479077"/>
                <a:gd name="connsiteX244" fmla="*/ 291269 w 3785642"/>
                <a:gd name="connsiteY244" fmla="*/ 188045 h 479077"/>
                <a:gd name="connsiteX245" fmla="*/ 301686 w 3785642"/>
                <a:gd name="connsiteY245" fmla="*/ 175147 h 479077"/>
                <a:gd name="connsiteX246" fmla="*/ 313592 w 3785642"/>
                <a:gd name="connsiteY246" fmla="*/ 163737 h 479077"/>
                <a:gd name="connsiteX247" fmla="*/ 325994 w 3785642"/>
                <a:gd name="connsiteY247" fmla="*/ 153319 h 479077"/>
                <a:gd name="connsiteX248" fmla="*/ 337404 w 3785642"/>
                <a:gd name="connsiteY248" fmla="*/ 141910 h 479077"/>
                <a:gd name="connsiteX249" fmla="*/ 347325 w 3785642"/>
                <a:gd name="connsiteY249" fmla="*/ 129012 h 479077"/>
                <a:gd name="connsiteX250" fmla="*/ 360224 w 3785642"/>
                <a:gd name="connsiteY250" fmla="*/ 118594 h 479077"/>
                <a:gd name="connsiteX251" fmla="*/ 371137 w 3785642"/>
                <a:gd name="connsiteY251" fmla="*/ 106192 h 479077"/>
                <a:gd name="connsiteX252" fmla="*/ 382051 w 3785642"/>
                <a:gd name="connsiteY252" fmla="*/ 93790 h 479077"/>
                <a:gd name="connsiteX253" fmla="*/ 393957 w 3785642"/>
                <a:gd name="connsiteY253" fmla="*/ 82380 h 479077"/>
                <a:gd name="connsiteX254" fmla="*/ 405366 w 3785642"/>
                <a:gd name="connsiteY254" fmla="*/ 70475 h 479077"/>
                <a:gd name="connsiteX255" fmla="*/ 417272 w 3785642"/>
                <a:gd name="connsiteY255" fmla="*/ 59561 h 479077"/>
                <a:gd name="connsiteX256" fmla="*/ 429674 w 3785642"/>
                <a:gd name="connsiteY256" fmla="*/ 48647 h 479077"/>
                <a:gd name="connsiteX257" fmla="*/ 440092 w 3785642"/>
                <a:gd name="connsiteY257" fmla="*/ 35749 h 479077"/>
                <a:gd name="connsiteX258" fmla="*/ 452494 w 3785642"/>
                <a:gd name="connsiteY258" fmla="*/ 24835 h 479077"/>
                <a:gd name="connsiteX259" fmla="*/ 463904 w 3785642"/>
                <a:gd name="connsiteY259" fmla="*/ 12929 h 479077"/>
                <a:gd name="connsiteX260" fmla="*/ 475313 w 3785642"/>
                <a:gd name="connsiteY260" fmla="*/ 1024 h 479077"/>
                <a:gd name="connsiteX261" fmla="*/ 491684 w 3785642"/>
                <a:gd name="connsiteY261" fmla="*/ 2512 h 479077"/>
                <a:gd name="connsiteX262" fmla="*/ 508055 w 3785642"/>
                <a:gd name="connsiteY262" fmla="*/ 2512 h 479077"/>
                <a:gd name="connsiteX263" fmla="*/ 524425 w 3785642"/>
                <a:gd name="connsiteY263" fmla="*/ 2512 h 479077"/>
                <a:gd name="connsiteX264" fmla="*/ 540796 w 3785642"/>
                <a:gd name="connsiteY264" fmla="*/ 1024 h 479077"/>
                <a:gd name="connsiteX265" fmla="*/ 557166 w 3785642"/>
                <a:gd name="connsiteY265" fmla="*/ 2512 h 479077"/>
                <a:gd name="connsiteX266" fmla="*/ 573537 w 3785642"/>
                <a:gd name="connsiteY266" fmla="*/ 1024 h 479077"/>
                <a:gd name="connsiteX267" fmla="*/ 589908 w 3785642"/>
                <a:gd name="connsiteY267" fmla="*/ 527 h 479077"/>
                <a:gd name="connsiteX268" fmla="*/ 606278 w 3785642"/>
                <a:gd name="connsiteY268" fmla="*/ 1520 h 479077"/>
                <a:gd name="connsiteX269" fmla="*/ 622649 w 3785642"/>
                <a:gd name="connsiteY269" fmla="*/ 1520 h 479077"/>
                <a:gd name="connsiteX270" fmla="*/ 639019 w 3785642"/>
                <a:gd name="connsiteY270" fmla="*/ 2016 h 479077"/>
                <a:gd name="connsiteX271" fmla="*/ 655390 w 3785642"/>
                <a:gd name="connsiteY271" fmla="*/ 527 h 479077"/>
                <a:gd name="connsiteX272" fmla="*/ 671760 w 3785642"/>
                <a:gd name="connsiteY272" fmla="*/ 1520 h 479077"/>
                <a:gd name="connsiteX273" fmla="*/ 688131 w 3785642"/>
                <a:gd name="connsiteY273" fmla="*/ 2512 h 479077"/>
                <a:gd name="connsiteX274" fmla="*/ 704501 w 3785642"/>
                <a:gd name="connsiteY274" fmla="*/ 1024 h 479077"/>
                <a:gd name="connsiteX275" fmla="*/ 720872 w 3785642"/>
                <a:gd name="connsiteY275" fmla="*/ 1520 h 479077"/>
                <a:gd name="connsiteX276" fmla="*/ 737243 w 3785642"/>
                <a:gd name="connsiteY276" fmla="*/ 2016 h 479077"/>
                <a:gd name="connsiteX277" fmla="*/ 753613 w 3785642"/>
                <a:gd name="connsiteY277" fmla="*/ 1024 h 479077"/>
                <a:gd name="connsiteX278" fmla="*/ 769984 w 3785642"/>
                <a:gd name="connsiteY278" fmla="*/ 527 h 479077"/>
                <a:gd name="connsiteX279" fmla="*/ 786354 w 3785642"/>
                <a:gd name="connsiteY279" fmla="*/ 1520 h 479077"/>
                <a:gd name="connsiteX280" fmla="*/ 802725 w 3785642"/>
                <a:gd name="connsiteY280" fmla="*/ 527 h 479077"/>
                <a:gd name="connsiteX281" fmla="*/ 819096 w 3785642"/>
                <a:gd name="connsiteY281" fmla="*/ 2512 h 479077"/>
                <a:gd name="connsiteX282" fmla="*/ 835466 w 3785642"/>
                <a:gd name="connsiteY282" fmla="*/ 527 h 479077"/>
                <a:gd name="connsiteX283" fmla="*/ 851837 w 3785642"/>
                <a:gd name="connsiteY283" fmla="*/ 1520 h 479077"/>
                <a:gd name="connsiteX284" fmla="*/ 868207 w 3785642"/>
                <a:gd name="connsiteY284" fmla="*/ 2016 h 479077"/>
                <a:gd name="connsiteX285" fmla="*/ 884578 w 3785642"/>
                <a:gd name="connsiteY285" fmla="*/ 2512 h 479077"/>
                <a:gd name="connsiteX286" fmla="*/ 900948 w 3785642"/>
                <a:gd name="connsiteY286" fmla="*/ 1520 h 479077"/>
                <a:gd name="connsiteX287" fmla="*/ 917319 w 3785642"/>
                <a:gd name="connsiteY287" fmla="*/ 1024 h 479077"/>
                <a:gd name="connsiteX288" fmla="*/ 933689 w 3785642"/>
                <a:gd name="connsiteY288" fmla="*/ 2512 h 479077"/>
                <a:gd name="connsiteX289" fmla="*/ 950060 w 3785642"/>
                <a:gd name="connsiteY289" fmla="*/ 1520 h 479077"/>
                <a:gd name="connsiteX290" fmla="*/ 966431 w 3785642"/>
                <a:gd name="connsiteY290" fmla="*/ 2016 h 479077"/>
                <a:gd name="connsiteX291" fmla="*/ 982801 w 3785642"/>
                <a:gd name="connsiteY291" fmla="*/ 2512 h 479077"/>
                <a:gd name="connsiteX292" fmla="*/ 999172 w 3785642"/>
                <a:gd name="connsiteY292" fmla="*/ 1520 h 479077"/>
                <a:gd name="connsiteX293" fmla="*/ 1015542 w 3785642"/>
                <a:gd name="connsiteY293" fmla="*/ 2512 h 479077"/>
                <a:gd name="connsiteX294" fmla="*/ 1031913 w 3785642"/>
                <a:gd name="connsiteY294" fmla="*/ 1520 h 479077"/>
                <a:gd name="connsiteX295" fmla="*/ 1048283 w 3785642"/>
                <a:gd name="connsiteY295" fmla="*/ 2016 h 479077"/>
                <a:gd name="connsiteX296" fmla="*/ 1064654 w 3785642"/>
                <a:gd name="connsiteY296" fmla="*/ 3504 h 479077"/>
                <a:gd name="connsiteX297" fmla="*/ 1081025 w 3785642"/>
                <a:gd name="connsiteY297" fmla="*/ 2016 h 479077"/>
                <a:gd name="connsiteX298" fmla="*/ 1097395 w 3785642"/>
                <a:gd name="connsiteY298" fmla="*/ 2512 h 479077"/>
                <a:gd name="connsiteX299" fmla="*/ 1113766 w 3785642"/>
                <a:gd name="connsiteY299" fmla="*/ 2512 h 479077"/>
                <a:gd name="connsiteX300" fmla="*/ 1130136 w 3785642"/>
                <a:gd name="connsiteY300" fmla="*/ 3504 h 479077"/>
                <a:gd name="connsiteX301" fmla="*/ 1146507 w 3785642"/>
                <a:gd name="connsiteY301" fmla="*/ 1520 h 479077"/>
                <a:gd name="connsiteX302" fmla="*/ 1162878 w 3785642"/>
                <a:gd name="connsiteY302" fmla="*/ 3008 h 479077"/>
                <a:gd name="connsiteX303" fmla="*/ 1179248 w 3785642"/>
                <a:gd name="connsiteY303" fmla="*/ 4000 h 479077"/>
                <a:gd name="connsiteX304" fmla="*/ 1195619 w 3785642"/>
                <a:gd name="connsiteY304" fmla="*/ 3504 h 479077"/>
                <a:gd name="connsiteX305" fmla="*/ 1211989 w 3785642"/>
                <a:gd name="connsiteY305" fmla="*/ 1520 h 479077"/>
                <a:gd name="connsiteX306" fmla="*/ 1228360 w 3785642"/>
                <a:gd name="connsiteY306" fmla="*/ 3504 h 479077"/>
                <a:gd name="connsiteX307" fmla="*/ 1244730 w 3785642"/>
                <a:gd name="connsiteY307" fmla="*/ 1520 h 479077"/>
                <a:gd name="connsiteX308" fmla="*/ 1261101 w 3785642"/>
                <a:gd name="connsiteY308" fmla="*/ 2512 h 479077"/>
                <a:gd name="connsiteX309" fmla="*/ 1277471 w 3785642"/>
                <a:gd name="connsiteY309" fmla="*/ 3504 h 479077"/>
                <a:gd name="connsiteX310" fmla="*/ 1293842 w 3785642"/>
                <a:gd name="connsiteY310" fmla="*/ 4000 h 479077"/>
                <a:gd name="connsiteX311" fmla="*/ 1310213 w 3785642"/>
                <a:gd name="connsiteY311" fmla="*/ 1520 h 479077"/>
                <a:gd name="connsiteX312" fmla="*/ 1326583 w 3785642"/>
                <a:gd name="connsiteY312" fmla="*/ 2016 h 479077"/>
                <a:gd name="connsiteX313" fmla="*/ 1342954 w 3785642"/>
                <a:gd name="connsiteY313" fmla="*/ 3008 h 479077"/>
                <a:gd name="connsiteX314" fmla="*/ 1359324 w 3785642"/>
                <a:gd name="connsiteY314" fmla="*/ 3008 h 479077"/>
                <a:gd name="connsiteX315" fmla="*/ 1375695 w 3785642"/>
                <a:gd name="connsiteY315" fmla="*/ 2512 h 479077"/>
                <a:gd name="connsiteX316" fmla="*/ 1392066 w 3785642"/>
                <a:gd name="connsiteY316" fmla="*/ 2512 h 479077"/>
                <a:gd name="connsiteX317" fmla="*/ 1408436 w 3785642"/>
                <a:gd name="connsiteY317" fmla="*/ 3504 h 479077"/>
                <a:gd name="connsiteX318" fmla="*/ 1424807 w 3785642"/>
                <a:gd name="connsiteY318" fmla="*/ 3504 h 479077"/>
                <a:gd name="connsiteX319" fmla="*/ 1441177 w 3785642"/>
                <a:gd name="connsiteY319" fmla="*/ 1520 h 479077"/>
                <a:gd name="connsiteX320" fmla="*/ 1457548 w 3785642"/>
                <a:gd name="connsiteY320" fmla="*/ 2512 h 479077"/>
                <a:gd name="connsiteX321" fmla="*/ 1473919 w 3785642"/>
                <a:gd name="connsiteY321" fmla="*/ 2016 h 479077"/>
                <a:gd name="connsiteX322" fmla="*/ 1490289 w 3785642"/>
                <a:gd name="connsiteY322" fmla="*/ 2016 h 479077"/>
                <a:gd name="connsiteX323" fmla="*/ 1506660 w 3785642"/>
                <a:gd name="connsiteY323" fmla="*/ 1520 h 479077"/>
                <a:gd name="connsiteX324" fmla="*/ 1523030 w 3785642"/>
                <a:gd name="connsiteY324" fmla="*/ 3504 h 479077"/>
                <a:gd name="connsiteX325" fmla="*/ 1539401 w 3785642"/>
                <a:gd name="connsiteY325" fmla="*/ 3008 h 479077"/>
                <a:gd name="connsiteX326" fmla="*/ 1555771 w 3785642"/>
                <a:gd name="connsiteY326" fmla="*/ 3008 h 479077"/>
                <a:gd name="connsiteX327" fmla="*/ 1572142 w 3785642"/>
                <a:gd name="connsiteY327" fmla="*/ 2512 h 479077"/>
                <a:gd name="connsiteX328" fmla="*/ 1588512 w 3785642"/>
                <a:gd name="connsiteY328" fmla="*/ 2016 h 479077"/>
                <a:gd name="connsiteX329" fmla="*/ 1604883 w 3785642"/>
                <a:gd name="connsiteY329" fmla="*/ 3008 h 479077"/>
                <a:gd name="connsiteX330" fmla="*/ 1621253 w 3785642"/>
                <a:gd name="connsiteY330" fmla="*/ 3008 h 479077"/>
                <a:gd name="connsiteX331" fmla="*/ 1637624 w 3785642"/>
                <a:gd name="connsiteY331" fmla="*/ 2512 h 479077"/>
                <a:gd name="connsiteX0" fmla="*/ 3785642 w 3787506"/>
                <a:gd name="connsiteY0" fmla="*/ 462376 h 479077"/>
                <a:gd name="connsiteX1" fmla="*/ 3775224 w 3787506"/>
                <a:gd name="connsiteY1" fmla="*/ 449974 h 479077"/>
                <a:gd name="connsiteX2" fmla="*/ 3763318 w 3787506"/>
                <a:gd name="connsiteY2" fmla="*/ 438564 h 479077"/>
                <a:gd name="connsiteX3" fmla="*/ 3751908 w 3787506"/>
                <a:gd name="connsiteY3" fmla="*/ 427155 h 479077"/>
                <a:gd name="connsiteX4" fmla="*/ 3313375 w 3787506"/>
                <a:gd name="connsiteY4" fmla="*/ 10945 h 479077"/>
                <a:gd name="connsiteX5" fmla="*/ 3300973 w 3787506"/>
                <a:gd name="connsiteY5" fmla="*/ 21363 h 479077"/>
                <a:gd name="connsiteX6" fmla="*/ 3289068 w 3787506"/>
                <a:gd name="connsiteY6" fmla="*/ 32276 h 479077"/>
                <a:gd name="connsiteX7" fmla="*/ 3277658 w 3787506"/>
                <a:gd name="connsiteY7" fmla="*/ 43686 h 479077"/>
                <a:gd name="connsiteX8" fmla="*/ 3266248 w 3787506"/>
                <a:gd name="connsiteY8" fmla="*/ 55592 h 479077"/>
                <a:gd name="connsiteX9" fmla="*/ 3255830 w 3787506"/>
                <a:gd name="connsiteY9" fmla="*/ 68490 h 479077"/>
                <a:gd name="connsiteX10" fmla="*/ 3243924 w 3787506"/>
                <a:gd name="connsiteY10" fmla="*/ 79900 h 479077"/>
                <a:gd name="connsiteX11" fmla="*/ 3231522 w 3787506"/>
                <a:gd name="connsiteY11" fmla="*/ 90814 h 479077"/>
                <a:gd name="connsiteX12" fmla="*/ 3220609 w 3787506"/>
                <a:gd name="connsiteY12" fmla="*/ 102720 h 479077"/>
                <a:gd name="connsiteX13" fmla="*/ 3208207 w 3787506"/>
                <a:gd name="connsiteY13" fmla="*/ 113137 h 479077"/>
                <a:gd name="connsiteX14" fmla="*/ 3197293 w 3787506"/>
                <a:gd name="connsiteY14" fmla="*/ 125043 h 479077"/>
                <a:gd name="connsiteX15" fmla="*/ 3185387 w 3787506"/>
                <a:gd name="connsiteY15" fmla="*/ 136453 h 479077"/>
                <a:gd name="connsiteX16" fmla="*/ 3174970 w 3787506"/>
                <a:gd name="connsiteY16" fmla="*/ 148855 h 479077"/>
                <a:gd name="connsiteX17" fmla="*/ 3162071 w 3787506"/>
                <a:gd name="connsiteY17" fmla="*/ 159272 h 479077"/>
                <a:gd name="connsiteX18" fmla="*/ 3151158 w 3787506"/>
                <a:gd name="connsiteY18" fmla="*/ 171674 h 479077"/>
                <a:gd name="connsiteX19" fmla="*/ 3139252 w 3787506"/>
                <a:gd name="connsiteY19" fmla="*/ 182588 h 479077"/>
                <a:gd name="connsiteX20" fmla="*/ 3127843 w 3787506"/>
                <a:gd name="connsiteY20" fmla="*/ 194494 h 479077"/>
                <a:gd name="connsiteX21" fmla="*/ 3116432 w 3787506"/>
                <a:gd name="connsiteY21" fmla="*/ 205904 h 479077"/>
                <a:gd name="connsiteX22" fmla="*/ 3105022 w 3787506"/>
                <a:gd name="connsiteY22" fmla="*/ 217810 h 479077"/>
                <a:gd name="connsiteX23" fmla="*/ 3093117 w 3787506"/>
                <a:gd name="connsiteY23" fmla="*/ 229219 h 479077"/>
                <a:gd name="connsiteX24" fmla="*/ 3081707 w 3787506"/>
                <a:gd name="connsiteY24" fmla="*/ 240629 h 479077"/>
                <a:gd name="connsiteX25" fmla="*/ 3069305 w 3787506"/>
                <a:gd name="connsiteY25" fmla="*/ 251543 h 479077"/>
                <a:gd name="connsiteX26" fmla="*/ 3057895 w 3787506"/>
                <a:gd name="connsiteY26" fmla="*/ 263449 h 479077"/>
                <a:gd name="connsiteX27" fmla="*/ 3046486 w 3787506"/>
                <a:gd name="connsiteY27" fmla="*/ 275355 h 479077"/>
                <a:gd name="connsiteX28" fmla="*/ 3035572 w 3787506"/>
                <a:gd name="connsiteY28" fmla="*/ 287260 h 479077"/>
                <a:gd name="connsiteX29" fmla="*/ 3024658 w 3787506"/>
                <a:gd name="connsiteY29" fmla="*/ 299166 h 479077"/>
                <a:gd name="connsiteX30" fmla="*/ 3013248 w 3787506"/>
                <a:gd name="connsiteY30" fmla="*/ 311072 h 479077"/>
                <a:gd name="connsiteX31" fmla="*/ 3000350 w 3787506"/>
                <a:gd name="connsiteY31" fmla="*/ 321490 h 479077"/>
                <a:gd name="connsiteX32" fmla="*/ 2988941 w 3787506"/>
                <a:gd name="connsiteY32" fmla="*/ 333396 h 479077"/>
                <a:gd name="connsiteX33" fmla="*/ 2976539 w 3787506"/>
                <a:gd name="connsiteY33" fmla="*/ 344309 h 479077"/>
                <a:gd name="connsiteX34" fmla="*/ 2965129 w 3787506"/>
                <a:gd name="connsiteY34" fmla="*/ 356215 h 479077"/>
                <a:gd name="connsiteX35" fmla="*/ 2953223 w 3787506"/>
                <a:gd name="connsiteY35" fmla="*/ 367625 h 479077"/>
                <a:gd name="connsiteX36" fmla="*/ 2941813 w 3787506"/>
                <a:gd name="connsiteY36" fmla="*/ 379531 h 479077"/>
                <a:gd name="connsiteX37" fmla="*/ 2931395 w 3787506"/>
                <a:gd name="connsiteY37" fmla="*/ 392429 h 479077"/>
                <a:gd name="connsiteX38" fmla="*/ 2918497 w 3787506"/>
                <a:gd name="connsiteY38" fmla="*/ 402847 h 479077"/>
                <a:gd name="connsiteX39" fmla="*/ 2907584 w 3787506"/>
                <a:gd name="connsiteY39" fmla="*/ 415249 h 479077"/>
                <a:gd name="connsiteX40" fmla="*/ 2896174 w 3787506"/>
                <a:gd name="connsiteY40" fmla="*/ 426658 h 479077"/>
                <a:gd name="connsiteX41" fmla="*/ 2884268 w 3787506"/>
                <a:gd name="connsiteY41" fmla="*/ 438068 h 479077"/>
                <a:gd name="connsiteX42" fmla="*/ 2873354 w 3787506"/>
                <a:gd name="connsiteY42" fmla="*/ 450470 h 479077"/>
                <a:gd name="connsiteX43" fmla="*/ 2860952 w 3787506"/>
                <a:gd name="connsiteY43" fmla="*/ 461384 h 479077"/>
                <a:gd name="connsiteX44" fmla="*/ 2850039 w 3787506"/>
                <a:gd name="connsiteY44" fmla="*/ 473786 h 479077"/>
                <a:gd name="connsiteX45" fmla="*/ 2833668 w 3787506"/>
                <a:gd name="connsiteY45" fmla="*/ 473786 h 479077"/>
                <a:gd name="connsiteX46" fmla="*/ 2817297 w 3787506"/>
                <a:gd name="connsiteY46" fmla="*/ 473290 h 479077"/>
                <a:gd name="connsiteX47" fmla="*/ 2800927 w 3787506"/>
                <a:gd name="connsiteY47" fmla="*/ 473290 h 479077"/>
                <a:gd name="connsiteX48" fmla="*/ 2784556 w 3787506"/>
                <a:gd name="connsiteY48" fmla="*/ 473786 h 479077"/>
                <a:gd name="connsiteX49" fmla="*/ 2768186 w 3787506"/>
                <a:gd name="connsiteY49" fmla="*/ 474282 h 479077"/>
                <a:gd name="connsiteX50" fmla="*/ 2751815 w 3787506"/>
                <a:gd name="connsiteY50" fmla="*/ 474282 h 479077"/>
                <a:gd name="connsiteX51" fmla="*/ 2735444 w 3787506"/>
                <a:gd name="connsiteY51" fmla="*/ 473290 h 479077"/>
                <a:gd name="connsiteX52" fmla="*/ 2719074 w 3787506"/>
                <a:gd name="connsiteY52" fmla="*/ 474282 h 479077"/>
                <a:gd name="connsiteX53" fmla="*/ 2702703 w 3787506"/>
                <a:gd name="connsiteY53" fmla="*/ 472298 h 479077"/>
                <a:gd name="connsiteX54" fmla="*/ 2686333 w 3787506"/>
                <a:gd name="connsiteY54" fmla="*/ 472794 h 479077"/>
                <a:gd name="connsiteX55" fmla="*/ 2669962 w 3787506"/>
                <a:gd name="connsiteY55" fmla="*/ 474282 h 479077"/>
                <a:gd name="connsiteX56" fmla="*/ 2653592 w 3787506"/>
                <a:gd name="connsiteY56" fmla="*/ 472298 h 479077"/>
                <a:gd name="connsiteX57" fmla="*/ 2637221 w 3787506"/>
                <a:gd name="connsiteY57" fmla="*/ 474282 h 479077"/>
                <a:gd name="connsiteX58" fmla="*/ 2620851 w 3787506"/>
                <a:gd name="connsiteY58" fmla="*/ 474282 h 479077"/>
                <a:gd name="connsiteX59" fmla="*/ 2604480 w 3787506"/>
                <a:gd name="connsiteY59" fmla="*/ 472298 h 479077"/>
                <a:gd name="connsiteX60" fmla="*/ 2588109 w 3787506"/>
                <a:gd name="connsiteY60" fmla="*/ 473786 h 479077"/>
                <a:gd name="connsiteX61" fmla="*/ 2571739 w 3787506"/>
                <a:gd name="connsiteY61" fmla="*/ 472298 h 479077"/>
                <a:gd name="connsiteX62" fmla="*/ 2555368 w 3787506"/>
                <a:gd name="connsiteY62" fmla="*/ 473290 h 479077"/>
                <a:gd name="connsiteX63" fmla="*/ 2538998 w 3787506"/>
                <a:gd name="connsiteY63" fmla="*/ 474282 h 479077"/>
                <a:gd name="connsiteX64" fmla="*/ 2522627 w 3787506"/>
                <a:gd name="connsiteY64" fmla="*/ 473290 h 479077"/>
                <a:gd name="connsiteX65" fmla="*/ 2506257 w 3787506"/>
                <a:gd name="connsiteY65" fmla="*/ 474282 h 479077"/>
                <a:gd name="connsiteX66" fmla="*/ 2489886 w 3787506"/>
                <a:gd name="connsiteY66" fmla="*/ 473786 h 479077"/>
                <a:gd name="connsiteX67" fmla="*/ 2473516 w 3787506"/>
                <a:gd name="connsiteY67" fmla="*/ 474282 h 479077"/>
                <a:gd name="connsiteX68" fmla="*/ 2457145 w 3787506"/>
                <a:gd name="connsiteY68" fmla="*/ 472794 h 479077"/>
                <a:gd name="connsiteX69" fmla="*/ 2440775 w 3787506"/>
                <a:gd name="connsiteY69" fmla="*/ 472298 h 479077"/>
                <a:gd name="connsiteX70" fmla="*/ 2424404 w 3787506"/>
                <a:gd name="connsiteY70" fmla="*/ 473786 h 479077"/>
                <a:gd name="connsiteX71" fmla="*/ 2408033 w 3787506"/>
                <a:gd name="connsiteY71" fmla="*/ 472794 h 479077"/>
                <a:gd name="connsiteX72" fmla="*/ 2391663 w 3787506"/>
                <a:gd name="connsiteY72" fmla="*/ 473290 h 479077"/>
                <a:gd name="connsiteX73" fmla="*/ 2375292 w 3787506"/>
                <a:gd name="connsiteY73" fmla="*/ 473290 h 479077"/>
                <a:gd name="connsiteX74" fmla="*/ 2358922 w 3787506"/>
                <a:gd name="connsiteY74" fmla="*/ 472794 h 479077"/>
                <a:gd name="connsiteX75" fmla="*/ 2342551 w 3787506"/>
                <a:gd name="connsiteY75" fmla="*/ 472298 h 479077"/>
                <a:gd name="connsiteX76" fmla="*/ 2326180 w 3787506"/>
                <a:gd name="connsiteY76" fmla="*/ 473786 h 479077"/>
                <a:gd name="connsiteX77" fmla="*/ 2309810 w 3787506"/>
                <a:gd name="connsiteY77" fmla="*/ 473786 h 479077"/>
                <a:gd name="connsiteX78" fmla="*/ 2293439 w 3787506"/>
                <a:gd name="connsiteY78" fmla="*/ 473786 h 479077"/>
                <a:gd name="connsiteX79" fmla="*/ 2277069 w 3787506"/>
                <a:gd name="connsiteY79" fmla="*/ 472794 h 479077"/>
                <a:gd name="connsiteX80" fmla="*/ 2260698 w 3787506"/>
                <a:gd name="connsiteY80" fmla="*/ 474282 h 479077"/>
                <a:gd name="connsiteX81" fmla="*/ 2244327 w 3787506"/>
                <a:gd name="connsiteY81" fmla="*/ 472298 h 479077"/>
                <a:gd name="connsiteX82" fmla="*/ 2227957 w 3787506"/>
                <a:gd name="connsiteY82" fmla="*/ 474282 h 479077"/>
                <a:gd name="connsiteX83" fmla="*/ 2211586 w 3787506"/>
                <a:gd name="connsiteY83" fmla="*/ 473290 h 479077"/>
                <a:gd name="connsiteX84" fmla="*/ 2195216 w 3787506"/>
                <a:gd name="connsiteY84" fmla="*/ 474282 h 479077"/>
                <a:gd name="connsiteX85" fmla="*/ 2178845 w 3787506"/>
                <a:gd name="connsiteY85" fmla="*/ 472794 h 479077"/>
                <a:gd name="connsiteX86" fmla="*/ 2162474 w 3787506"/>
                <a:gd name="connsiteY86" fmla="*/ 474778 h 479077"/>
                <a:gd name="connsiteX87" fmla="*/ 2146104 w 3787506"/>
                <a:gd name="connsiteY87" fmla="*/ 473290 h 479077"/>
                <a:gd name="connsiteX88" fmla="*/ 2129733 w 3787506"/>
                <a:gd name="connsiteY88" fmla="*/ 474778 h 479077"/>
                <a:gd name="connsiteX89" fmla="*/ 2113363 w 3787506"/>
                <a:gd name="connsiteY89" fmla="*/ 474778 h 479077"/>
                <a:gd name="connsiteX90" fmla="*/ 2096992 w 3787506"/>
                <a:gd name="connsiteY90" fmla="*/ 474778 h 479077"/>
                <a:gd name="connsiteX91" fmla="*/ 2080621 w 3787506"/>
                <a:gd name="connsiteY91" fmla="*/ 474282 h 479077"/>
                <a:gd name="connsiteX92" fmla="*/ 2064251 w 3787506"/>
                <a:gd name="connsiteY92" fmla="*/ 472794 h 479077"/>
                <a:gd name="connsiteX93" fmla="*/ 2047880 w 3787506"/>
                <a:gd name="connsiteY93" fmla="*/ 474778 h 479077"/>
                <a:gd name="connsiteX94" fmla="*/ 2031510 w 3787506"/>
                <a:gd name="connsiteY94" fmla="*/ 474778 h 479077"/>
                <a:gd name="connsiteX95" fmla="*/ 2015139 w 3787506"/>
                <a:gd name="connsiteY95" fmla="*/ 474778 h 479077"/>
                <a:gd name="connsiteX96" fmla="*/ 1998769 w 3787506"/>
                <a:gd name="connsiteY96" fmla="*/ 474282 h 479077"/>
                <a:gd name="connsiteX97" fmla="*/ 1982398 w 3787506"/>
                <a:gd name="connsiteY97" fmla="*/ 473786 h 479077"/>
                <a:gd name="connsiteX98" fmla="*/ 1966028 w 3787506"/>
                <a:gd name="connsiteY98" fmla="*/ 473786 h 479077"/>
                <a:gd name="connsiteX99" fmla="*/ 1949657 w 3787506"/>
                <a:gd name="connsiteY99" fmla="*/ 472794 h 479077"/>
                <a:gd name="connsiteX100" fmla="*/ 1933287 w 3787506"/>
                <a:gd name="connsiteY100" fmla="*/ 473290 h 479077"/>
                <a:gd name="connsiteX101" fmla="*/ 1916916 w 3787506"/>
                <a:gd name="connsiteY101" fmla="*/ 474778 h 479077"/>
                <a:gd name="connsiteX102" fmla="*/ 1900546 w 3787506"/>
                <a:gd name="connsiteY102" fmla="*/ 472794 h 479077"/>
                <a:gd name="connsiteX103" fmla="*/ 1884175 w 3787506"/>
                <a:gd name="connsiteY103" fmla="*/ 473786 h 479077"/>
                <a:gd name="connsiteX104" fmla="*/ 1867804 w 3787506"/>
                <a:gd name="connsiteY104" fmla="*/ 474778 h 479077"/>
                <a:gd name="connsiteX105" fmla="*/ 1851434 w 3787506"/>
                <a:gd name="connsiteY105" fmla="*/ 474778 h 479077"/>
                <a:gd name="connsiteX106" fmla="*/ 1835063 w 3787506"/>
                <a:gd name="connsiteY106" fmla="*/ 474778 h 479077"/>
                <a:gd name="connsiteX107" fmla="*/ 1818693 w 3787506"/>
                <a:gd name="connsiteY107" fmla="*/ 474282 h 479077"/>
                <a:gd name="connsiteX108" fmla="*/ 1802322 w 3787506"/>
                <a:gd name="connsiteY108" fmla="*/ 472794 h 479077"/>
                <a:gd name="connsiteX109" fmla="*/ 1785951 w 3787506"/>
                <a:gd name="connsiteY109" fmla="*/ 473786 h 479077"/>
                <a:gd name="connsiteX110" fmla="*/ 1769581 w 3787506"/>
                <a:gd name="connsiteY110" fmla="*/ 473290 h 479077"/>
                <a:gd name="connsiteX111" fmla="*/ 1753210 w 3787506"/>
                <a:gd name="connsiteY111" fmla="*/ 472298 h 479077"/>
                <a:gd name="connsiteX112" fmla="*/ 1736840 w 3787506"/>
                <a:gd name="connsiteY112" fmla="*/ 473290 h 479077"/>
                <a:gd name="connsiteX113" fmla="*/ 1720469 w 3787506"/>
                <a:gd name="connsiteY113" fmla="*/ 474778 h 479077"/>
                <a:gd name="connsiteX114" fmla="*/ 1704098 w 3787506"/>
                <a:gd name="connsiteY114" fmla="*/ 472794 h 479077"/>
                <a:gd name="connsiteX115" fmla="*/ 1687728 w 3787506"/>
                <a:gd name="connsiteY115" fmla="*/ 474778 h 479077"/>
                <a:gd name="connsiteX116" fmla="*/ 1671357 w 3787506"/>
                <a:gd name="connsiteY116" fmla="*/ 474778 h 479077"/>
                <a:gd name="connsiteX117" fmla="*/ 1654987 w 3787506"/>
                <a:gd name="connsiteY117" fmla="*/ 472298 h 479077"/>
                <a:gd name="connsiteX118" fmla="*/ 1638616 w 3787506"/>
                <a:gd name="connsiteY118" fmla="*/ 472794 h 479077"/>
                <a:gd name="connsiteX119" fmla="*/ 1622246 w 3787506"/>
                <a:gd name="connsiteY119" fmla="*/ 473786 h 479077"/>
                <a:gd name="connsiteX120" fmla="*/ 1605875 w 3787506"/>
                <a:gd name="connsiteY120" fmla="*/ 474778 h 479077"/>
                <a:gd name="connsiteX121" fmla="*/ 1589505 w 3787506"/>
                <a:gd name="connsiteY121" fmla="*/ 473290 h 479077"/>
                <a:gd name="connsiteX122" fmla="*/ 1573134 w 3787506"/>
                <a:gd name="connsiteY122" fmla="*/ 474778 h 479077"/>
                <a:gd name="connsiteX123" fmla="*/ 1556763 w 3787506"/>
                <a:gd name="connsiteY123" fmla="*/ 472794 h 479077"/>
                <a:gd name="connsiteX124" fmla="*/ 1540393 w 3787506"/>
                <a:gd name="connsiteY124" fmla="*/ 472794 h 479077"/>
                <a:gd name="connsiteX125" fmla="*/ 1524022 w 3787506"/>
                <a:gd name="connsiteY125" fmla="*/ 474282 h 479077"/>
                <a:gd name="connsiteX126" fmla="*/ 1507652 w 3787506"/>
                <a:gd name="connsiteY126" fmla="*/ 472794 h 479077"/>
                <a:gd name="connsiteX127" fmla="*/ 1491281 w 3787506"/>
                <a:gd name="connsiteY127" fmla="*/ 474282 h 479077"/>
                <a:gd name="connsiteX128" fmla="*/ 1474910 w 3787506"/>
                <a:gd name="connsiteY128" fmla="*/ 474282 h 479077"/>
                <a:gd name="connsiteX129" fmla="*/ 1458540 w 3787506"/>
                <a:gd name="connsiteY129" fmla="*/ 472794 h 479077"/>
                <a:gd name="connsiteX130" fmla="*/ 1442169 w 3787506"/>
                <a:gd name="connsiteY130" fmla="*/ 471802 h 479077"/>
                <a:gd name="connsiteX131" fmla="*/ 1425799 w 3787506"/>
                <a:gd name="connsiteY131" fmla="*/ 472298 h 479077"/>
                <a:gd name="connsiteX132" fmla="*/ 1409428 w 3787506"/>
                <a:gd name="connsiteY132" fmla="*/ 472794 h 479077"/>
                <a:gd name="connsiteX133" fmla="*/ 1393058 w 3787506"/>
                <a:gd name="connsiteY133" fmla="*/ 473786 h 479077"/>
                <a:gd name="connsiteX134" fmla="*/ 1376687 w 3787506"/>
                <a:gd name="connsiteY134" fmla="*/ 471802 h 479077"/>
                <a:gd name="connsiteX135" fmla="*/ 1360317 w 3787506"/>
                <a:gd name="connsiteY135" fmla="*/ 473786 h 479077"/>
                <a:gd name="connsiteX136" fmla="*/ 1343946 w 3787506"/>
                <a:gd name="connsiteY136" fmla="*/ 473786 h 479077"/>
                <a:gd name="connsiteX137" fmla="*/ 1327576 w 3787506"/>
                <a:gd name="connsiteY137" fmla="*/ 472794 h 479077"/>
                <a:gd name="connsiteX138" fmla="*/ 1311205 w 3787506"/>
                <a:gd name="connsiteY138" fmla="*/ 473786 h 479077"/>
                <a:gd name="connsiteX139" fmla="*/ 1294834 w 3787506"/>
                <a:gd name="connsiteY139" fmla="*/ 473786 h 479077"/>
                <a:gd name="connsiteX140" fmla="*/ 1278464 w 3787506"/>
                <a:gd name="connsiteY140" fmla="*/ 473786 h 479077"/>
                <a:gd name="connsiteX141" fmla="*/ 1262093 w 3787506"/>
                <a:gd name="connsiteY141" fmla="*/ 473786 h 479077"/>
                <a:gd name="connsiteX142" fmla="*/ 1245723 w 3787506"/>
                <a:gd name="connsiteY142" fmla="*/ 473290 h 479077"/>
                <a:gd name="connsiteX143" fmla="*/ 1229352 w 3787506"/>
                <a:gd name="connsiteY143" fmla="*/ 472794 h 479077"/>
                <a:gd name="connsiteX144" fmla="*/ 1212981 w 3787506"/>
                <a:gd name="connsiteY144" fmla="*/ 473786 h 479077"/>
                <a:gd name="connsiteX145" fmla="*/ 1196611 w 3787506"/>
                <a:gd name="connsiteY145" fmla="*/ 472298 h 479077"/>
                <a:gd name="connsiteX146" fmla="*/ 1180240 w 3787506"/>
                <a:gd name="connsiteY146" fmla="*/ 472794 h 479077"/>
                <a:gd name="connsiteX147" fmla="*/ 1163870 w 3787506"/>
                <a:gd name="connsiteY147" fmla="*/ 472794 h 479077"/>
                <a:gd name="connsiteX148" fmla="*/ 1147499 w 3787506"/>
                <a:gd name="connsiteY148" fmla="*/ 473786 h 479077"/>
                <a:gd name="connsiteX149" fmla="*/ 1131128 w 3787506"/>
                <a:gd name="connsiteY149" fmla="*/ 473786 h 479077"/>
                <a:gd name="connsiteX150" fmla="*/ 1114758 w 3787506"/>
                <a:gd name="connsiteY150" fmla="*/ 472794 h 479077"/>
                <a:gd name="connsiteX151" fmla="*/ 1098387 w 3787506"/>
                <a:gd name="connsiteY151" fmla="*/ 473786 h 479077"/>
                <a:gd name="connsiteX152" fmla="*/ 1082017 w 3787506"/>
                <a:gd name="connsiteY152" fmla="*/ 474778 h 479077"/>
                <a:gd name="connsiteX153" fmla="*/ 1065646 w 3787506"/>
                <a:gd name="connsiteY153" fmla="*/ 474778 h 479077"/>
                <a:gd name="connsiteX154" fmla="*/ 1049276 w 3787506"/>
                <a:gd name="connsiteY154" fmla="*/ 474282 h 479077"/>
                <a:gd name="connsiteX155" fmla="*/ 1032905 w 3787506"/>
                <a:gd name="connsiteY155" fmla="*/ 473290 h 479077"/>
                <a:gd name="connsiteX156" fmla="*/ 1016535 w 3787506"/>
                <a:gd name="connsiteY156" fmla="*/ 474282 h 479077"/>
                <a:gd name="connsiteX157" fmla="*/ 1000164 w 3787506"/>
                <a:gd name="connsiteY157" fmla="*/ 474282 h 479077"/>
                <a:gd name="connsiteX158" fmla="*/ 983793 w 3787506"/>
                <a:gd name="connsiteY158" fmla="*/ 472794 h 479077"/>
                <a:gd name="connsiteX159" fmla="*/ 967423 w 3787506"/>
                <a:gd name="connsiteY159" fmla="*/ 472794 h 479077"/>
                <a:gd name="connsiteX160" fmla="*/ 951052 w 3787506"/>
                <a:gd name="connsiteY160" fmla="*/ 473786 h 479077"/>
                <a:gd name="connsiteX161" fmla="*/ 934682 w 3787506"/>
                <a:gd name="connsiteY161" fmla="*/ 474282 h 479077"/>
                <a:gd name="connsiteX162" fmla="*/ 918311 w 3787506"/>
                <a:gd name="connsiteY162" fmla="*/ 474778 h 479077"/>
                <a:gd name="connsiteX163" fmla="*/ 901940 w 3787506"/>
                <a:gd name="connsiteY163" fmla="*/ 473290 h 479077"/>
                <a:gd name="connsiteX164" fmla="*/ 885570 w 3787506"/>
                <a:gd name="connsiteY164" fmla="*/ 474778 h 479077"/>
                <a:gd name="connsiteX165" fmla="*/ 869199 w 3787506"/>
                <a:gd name="connsiteY165" fmla="*/ 474282 h 479077"/>
                <a:gd name="connsiteX166" fmla="*/ 852829 w 3787506"/>
                <a:gd name="connsiteY166" fmla="*/ 473786 h 479077"/>
                <a:gd name="connsiteX167" fmla="*/ 836458 w 3787506"/>
                <a:gd name="connsiteY167" fmla="*/ 474778 h 479077"/>
                <a:gd name="connsiteX168" fmla="*/ 820088 w 3787506"/>
                <a:gd name="connsiteY168" fmla="*/ 475274 h 479077"/>
                <a:gd name="connsiteX169" fmla="*/ 803717 w 3787506"/>
                <a:gd name="connsiteY169" fmla="*/ 473786 h 479077"/>
                <a:gd name="connsiteX170" fmla="*/ 787347 w 3787506"/>
                <a:gd name="connsiteY170" fmla="*/ 475770 h 479077"/>
                <a:gd name="connsiteX171" fmla="*/ 770976 w 3787506"/>
                <a:gd name="connsiteY171" fmla="*/ 474778 h 479077"/>
                <a:gd name="connsiteX172" fmla="*/ 754605 w 3787506"/>
                <a:gd name="connsiteY172" fmla="*/ 475274 h 479077"/>
                <a:gd name="connsiteX173" fmla="*/ 738235 w 3787506"/>
                <a:gd name="connsiteY173" fmla="*/ 473786 h 479077"/>
                <a:gd name="connsiteX174" fmla="*/ 721864 w 3787506"/>
                <a:gd name="connsiteY174" fmla="*/ 475274 h 479077"/>
                <a:gd name="connsiteX175" fmla="*/ 705494 w 3787506"/>
                <a:gd name="connsiteY175" fmla="*/ 475770 h 479077"/>
                <a:gd name="connsiteX176" fmla="*/ 689123 w 3787506"/>
                <a:gd name="connsiteY176" fmla="*/ 474282 h 479077"/>
                <a:gd name="connsiteX177" fmla="*/ 672753 w 3787506"/>
                <a:gd name="connsiteY177" fmla="*/ 475274 h 479077"/>
                <a:gd name="connsiteX178" fmla="*/ 656382 w 3787506"/>
                <a:gd name="connsiteY178" fmla="*/ 474778 h 479077"/>
                <a:gd name="connsiteX179" fmla="*/ 640011 w 3787506"/>
                <a:gd name="connsiteY179" fmla="*/ 475770 h 479077"/>
                <a:gd name="connsiteX180" fmla="*/ 623641 w 3787506"/>
                <a:gd name="connsiteY180" fmla="*/ 473786 h 479077"/>
                <a:gd name="connsiteX181" fmla="*/ 607270 w 3787506"/>
                <a:gd name="connsiteY181" fmla="*/ 474778 h 479077"/>
                <a:gd name="connsiteX182" fmla="*/ 590900 w 3787506"/>
                <a:gd name="connsiteY182" fmla="*/ 475274 h 479077"/>
                <a:gd name="connsiteX183" fmla="*/ 574529 w 3787506"/>
                <a:gd name="connsiteY183" fmla="*/ 474282 h 479077"/>
                <a:gd name="connsiteX184" fmla="*/ 558158 w 3787506"/>
                <a:gd name="connsiteY184" fmla="*/ 475274 h 479077"/>
                <a:gd name="connsiteX185" fmla="*/ 541788 w 3787506"/>
                <a:gd name="connsiteY185" fmla="*/ 475770 h 479077"/>
                <a:gd name="connsiteX186" fmla="*/ 525417 w 3787506"/>
                <a:gd name="connsiteY186" fmla="*/ 474282 h 479077"/>
                <a:gd name="connsiteX187" fmla="*/ 509047 w 3787506"/>
                <a:gd name="connsiteY187" fmla="*/ 473786 h 479077"/>
                <a:gd name="connsiteX188" fmla="*/ 492676 w 3787506"/>
                <a:gd name="connsiteY188" fmla="*/ 473786 h 479077"/>
                <a:gd name="connsiteX189" fmla="*/ 476306 w 3787506"/>
                <a:gd name="connsiteY189" fmla="*/ 474778 h 479077"/>
                <a:gd name="connsiteX190" fmla="*/ 459935 w 3787506"/>
                <a:gd name="connsiteY190" fmla="*/ 473786 h 479077"/>
                <a:gd name="connsiteX191" fmla="*/ 443565 w 3787506"/>
                <a:gd name="connsiteY191" fmla="*/ 474778 h 479077"/>
                <a:gd name="connsiteX192" fmla="*/ 427194 w 3787506"/>
                <a:gd name="connsiteY192" fmla="*/ 474282 h 479077"/>
                <a:gd name="connsiteX193" fmla="*/ 410823 w 3787506"/>
                <a:gd name="connsiteY193" fmla="*/ 473290 h 479077"/>
                <a:gd name="connsiteX194" fmla="*/ 394453 w 3787506"/>
                <a:gd name="connsiteY194" fmla="*/ 475770 h 479077"/>
                <a:gd name="connsiteX195" fmla="*/ 378082 w 3787506"/>
                <a:gd name="connsiteY195" fmla="*/ 475274 h 479077"/>
                <a:gd name="connsiteX196" fmla="*/ 361712 w 3787506"/>
                <a:gd name="connsiteY196" fmla="*/ 474778 h 479077"/>
                <a:gd name="connsiteX197" fmla="*/ 345341 w 3787506"/>
                <a:gd name="connsiteY197" fmla="*/ 476266 h 479077"/>
                <a:gd name="connsiteX198" fmla="*/ 328970 w 3787506"/>
                <a:gd name="connsiteY198" fmla="*/ 474282 h 479077"/>
                <a:gd name="connsiteX199" fmla="*/ 312600 w 3787506"/>
                <a:gd name="connsiteY199" fmla="*/ 475274 h 479077"/>
                <a:gd name="connsiteX200" fmla="*/ 296229 w 3787506"/>
                <a:gd name="connsiteY200" fmla="*/ 474282 h 479077"/>
                <a:gd name="connsiteX201" fmla="*/ 279859 w 3787506"/>
                <a:gd name="connsiteY201" fmla="*/ 475770 h 479077"/>
                <a:gd name="connsiteX202" fmla="*/ 263488 w 3787506"/>
                <a:gd name="connsiteY202" fmla="*/ 476266 h 479077"/>
                <a:gd name="connsiteX203" fmla="*/ 247118 w 3787506"/>
                <a:gd name="connsiteY203" fmla="*/ 476266 h 479077"/>
                <a:gd name="connsiteX204" fmla="*/ 230747 w 3787506"/>
                <a:gd name="connsiteY204" fmla="*/ 474778 h 479077"/>
                <a:gd name="connsiteX205" fmla="*/ 214376 w 3787506"/>
                <a:gd name="connsiteY205" fmla="*/ 474778 h 479077"/>
                <a:gd name="connsiteX206" fmla="*/ 198006 w 3787506"/>
                <a:gd name="connsiteY206" fmla="*/ 476762 h 479077"/>
                <a:gd name="connsiteX207" fmla="*/ 181635 w 3787506"/>
                <a:gd name="connsiteY207" fmla="*/ 476266 h 479077"/>
                <a:gd name="connsiteX208" fmla="*/ 165265 w 3787506"/>
                <a:gd name="connsiteY208" fmla="*/ 474778 h 479077"/>
                <a:gd name="connsiteX209" fmla="*/ 148894 w 3787506"/>
                <a:gd name="connsiteY209" fmla="*/ 476762 h 479077"/>
                <a:gd name="connsiteX210" fmla="*/ 132524 w 3787506"/>
                <a:gd name="connsiteY210" fmla="*/ 476266 h 479077"/>
                <a:gd name="connsiteX211" fmla="*/ 116153 w 3787506"/>
                <a:gd name="connsiteY211" fmla="*/ 475274 h 479077"/>
                <a:gd name="connsiteX212" fmla="*/ 99783 w 3787506"/>
                <a:gd name="connsiteY212" fmla="*/ 475274 h 479077"/>
                <a:gd name="connsiteX213" fmla="*/ 83412 w 3787506"/>
                <a:gd name="connsiteY213" fmla="*/ 475274 h 479077"/>
                <a:gd name="connsiteX214" fmla="*/ 67041 w 3787506"/>
                <a:gd name="connsiteY214" fmla="*/ 474778 h 479077"/>
                <a:gd name="connsiteX215" fmla="*/ 50671 w 3787506"/>
                <a:gd name="connsiteY215" fmla="*/ 475274 h 479077"/>
                <a:gd name="connsiteX216" fmla="*/ 34300 w 3787506"/>
                <a:gd name="connsiteY216" fmla="*/ 475274 h 479077"/>
                <a:gd name="connsiteX217" fmla="*/ 17930 w 3787506"/>
                <a:gd name="connsiteY217" fmla="*/ 475770 h 479077"/>
                <a:gd name="connsiteX218" fmla="*/ 567 w 3787506"/>
                <a:gd name="connsiteY218" fmla="*/ 475770 h 479077"/>
                <a:gd name="connsiteX219" fmla="*/ 12969 w 3787506"/>
                <a:gd name="connsiteY219" fmla="*/ 463368 h 479077"/>
                <a:gd name="connsiteX220" fmla="*/ 24379 w 3787506"/>
                <a:gd name="connsiteY220" fmla="*/ 451958 h 479077"/>
                <a:gd name="connsiteX221" fmla="*/ 35788 w 3787506"/>
                <a:gd name="connsiteY221" fmla="*/ 440053 h 479077"/>
                <a:gd name="connsiteX222" fmla="*/ 48686 w 3787506"/>
                <a:gd name="connsiteY222" fmla="*/ 430131 h 479077"/>
                <a:gd name="connsiteX223" fmla="*/ 59600 w 3787506"/>
                <a:gd name="connsiteY223" fmla="*/ 418225 h 479077"/>
                <a:gd name="connsiteX224" fmla="*/ 70514 w 3787506"/>
                <a:gd name="connsiteY224" fmla="*/ 405823 h 479077"/>
                <a:gd name="connsiteX225" fmla="*/ 83412 w 3787506"/>
                <a:gd name="connsiteY225" fmla="*/ 395406 h 479077"/>
                <a:gd name="connsiteX226" fmla="*/ 94822 w 3787506"/>
                <a:gd name="connsiteY226" fmla="*/ 383500 h 479077"/>
                <a:gd name="connsiteX227" fmla="*/ 106728 w 3787506"/>
                <a:gd name="connsiteY227" fmla="*/ 372090 h 479077"/>
                <a:gd name="connsiteX228" fmla="*/ 117145 w 3787506"/>
                <a:gd name="connsiteY228" fmla="*/ 359688 h 479077"/>
                <a:gd name="connsiteX229" fmla="*/ 128555 w 3787506"/>
                <a:gd name="connsiteY229" fmla="*/ 348278 h 479077"/>
                <a:gd name="connsiteX230" fmla="*/ 140461 w 3787506"/>
                <a:gd name="connsiteY230" fmla="*/ 336868 h 479077"/>
                <a:gd name="connsiteX231" fmla="*/ 152863 w 3787506"/>
                <a:gd name="connsiteY231" fmla="*/ 326451 h 479077"/>
                <a:gd name="connsiteX232" fmla="*/ 164769 w 3787506"/>
                <a:gd name="connsiteY232" fmla="*/ 315041 h 479077"/>
                <a:gd name="connsiteX233" fmla="*/ 176178 w 3787506"/>
                <a:gd name="connsiteY233" fmla="*/ 303135 h 479077"/>
                <a:gd name="connsiteX234" fmla="*/ 188084 w 3787506"/>
                <a:gd name="connsiteY234" fmla="*/ 291725 h 479077"/>
                <a:gd name="connsiteX235" fmla="*/ 199494 w 3787506"/>
                <a:gd name="connsiteY235" fmla="*/ 280315 h 479077"/>
                <a:gd name="connsiteX236" fmla="*/ 210904 w 3787506"/>
                <a:gd name="connsiteY236" fmla="*/ 268906 h 479077"/>
                <a:gd name="connsiteX237" fmla="*/ 221818 w 3787506"/>
                <a:gd name="connsiteY237" fmla="*/ 256504 h 479077"/>
                <a:gd name="connsiteX238" fmla="*/ 233724 w 3787506"/>
                <a:gd name="connsiteY238" fmla="*/ 245094 h 479077"/>
                <a:gd name="connsiteX239" fmla="*/ 244141 w 3787506"/>
                <a:gd name="connsiteY239" fmla="*/ 232692 h 479077"/>
                <a:gd name="connsiteX240" fmla="*/ 257039 w 3787506"/>
                <a:gd name="connsiteY240" fmla="*/ 222770 h 479077"/>
                <a:gd name="connsiteX241" fmla="*/ 266961 w 3787506"/>
                <a:gd name="connsiteY241" fmla="*/ 209376 h 479077"/>
                <a:gd name="connsiteX242" fmla="*/ 278371 w 3787506"/>
                <a:gd name="connsiteY242" fmla="*/ 197966 h 479077"/>
                <a:gd name="connsiteX243" fmla="*/ 291269 w 3787506"/>
                <a:gd name="connsiteY243" fmla="*/ 188045 h 479077"/>
                <a:gd name="connsiteX244" fmla="*/ 301686 w 3787506"/>
                <a:gd name="connsiteY244" fmla="*/ 175147 h 479077"/>
                <a:gd name="connsiteX245" fmla="*/ 313592 w 3787506"/>
                <a:gd name="connsiteY245" fmla="*/ 163737 h 479077"/>
                <a:gd name="connsiteX246" fmla="*/ 325994 w 3787506"/>
                <a:gd name="connsiteY246" fmla="*/ 153319 h 479077"/>
                <a:gd name="connsiteX247" fmla="*/ 337404 w 3787506"/>
                <a:gd name="connsiteY247" fmla="*/ 141910 h 479077"/>
                <a:gd name="connsiteX248" fmla="*/ 347325 w 3787506"/>
                <a:gd name="connsiteY248" fmla="*/ 129012 h 479077"/>
                <a:gd name="connsiteX249" fmla="*/ 360224 w 3787506"/>
                <a:gd name="connsiteY249" fmla="*/ 118594 h 479077"/>
                <a:gd name="connsiteX250" fmla="*/ 371137 w 3787506"/>
                <a:gd name="connsiteY250" fmla="*/ 106192 h 479077"/>
                <a:gd name="connsiteX251" fmla="*/ 382051 w 3787506"/>
                <a:gd name="connsiteY251" fmla="*/ 93790 h 479077"/>
                <a:gd name="connsiteX252" fmla="*/ 393957 w 3787506"/>
                <a:gd name="connsiteY252" fmla="*/ 82380 h 479077"/>
                <a:gd name="connsiteX253" fmla="*/ 405366 w 3787506"/>
                <a:gd name="connsiteY253" fmla="*/ 70475 h 479077"/>
                <a:gd name="connsiteX254" fmla="*/ 417272 w 3787506"/>
                <a:gd name="connsiteY254" fmla="*/ 59561 h 479077"/>
                <a:gd name="connsiteX255" fmla="*/ 429674 w 3787506"/>
                <a:gd name="connsiteY255" fmla="*/ 48647 h 479077"/>
                <a:gd name="connsiteX256" fmla="*/ 440092 w 3787506"/>
                <a:gd name="connsiteY256" fmla="*/ 35749 h 479077"/>
                <a:gd name="connsiteX257" fmla="*/ 452494 w 3787506"/>
                <a:gd name="connsiteY257" fmla="*/ 24835 h 479077"/>
                <a:gd name="connsiteX258" fmla="*/ 463904 w 3787506"/>
                <a:gd name="connsiteY258" fmla="*/ 12929 h 479077"/>
                <a:gd name="connsiteX259" fmla="*/ 475313 w 3787506"/>
                <a:gd name="connsiteY259" fmla="*/ 1024 h 479077"/>
                <a:gd name="connsiteX260" fmla="*/ 491684 w 3787506"/>
                <a:gd name="connsiteY260" fmla="*/ 2512 h 479077"/>
                <a:gd name="connsiteX261" fmla="*/ 508055 w 3787506"/>
                <a:gd name="connsiteY261" fmla="*/ 2512 h 479077"/>
                <a:gd name="connsiteX262" fmla="*/ 524425 w 3787506"/>
                <a:gd name="connsiteY262" fmla="*/ 2512 h 479077"/>
                <a:gd name="connsiteX263" fmla="*/ 540796 w 3787506"/>
                <a:gd name="connsiteY263" fmla="*/ 1024 h 479077"/>
                <a:gd name="connsiteX264" fmla="*/ 557166 w 3787506"/>
                <a:gd name="connsiteY264" fmla="*/ 2512 h 479077"/>
                <a:gd name="connsiteX265" fmla="*/ 573537 w 3787506"/>
                <a:gd name="connsiteY265" fmla="*/ 1024 h 479077"/>
                <a:gd name="connsiteX266" fmla="*/ 589908 w 3787506"/>
                <a:gd name="connsiteY266" fmla="*/ 527 h 479077"/>
                <a:gd name="connsiteX267" fmla="*/ 606278 w 3787506"/>
                <a:gd name="connsiteY267" fmla="*/ 1520 h 479077"/>
                <a:gd name="connsiteX268" fmla="*/ 622649 w 3787506"/>
                <a:gd name="connsiteY268" fmla="*/ 1520 h 479077"/>
                <a:gd name="connsiteX269" fmla="*/ 639019 w 3787506"/>
                <a:gd name="connsiteY269" fmla="*/ 2016 h 479077"/>
                <a:gd name="connsiteX270" fmla="*/ 655390 w 3787506"/>
                <a:gd name="connsiteY270" fmla="*/ 527 h 479077"/>
                <a:gd name="connsiteX271" fmla="*/ 671760 w 3787506"/>
                <a:gd name="connsiteY271" fmla="*/ 1520 h 479077"/>
                <a:gd name="connsiteX272" fmla="*/ 688131 w 3787506"/>
                <a:gd name="connsiteY272" fmla="*/ 2512 h 479077"/>
                <a:gd name="connsiteX273" fmla="*/ 704501 w 3787506"/>
                <a:gd name="connsiteY273" fmla="*/ 1024 h 479077"/>
                <a:gd name="connsiteX274" fmla="*/ 720872 w 3787506"/>
                <a:gd name="connsiteY274" fmla="*/ 1520 h 479077"/>
                <a:gd name="connsiteX275" fmla="*/ 737243 w 3787506"/>
                <a:gd name="connsiteY275" fmla="*/ 2016 h 479077"/>
                <a:gd name="connsiteX276" fmla="*/ 753613 w 3787506"/>
                <a:gd name="connsiteY276" fmla="*/ 1024 h 479077"/>
                <a:gd name="connsiteX277" fmla="*/ 769984 w 3787506"/>
                <a:gd name="connsiteY277" fmla="*/ 527 h 479077"/>
                <a:gd name="connsiteX278" fmla="*/ 786354 w 3787506"/>
                <a:gd name="connsiteY278" fmla="*/ 1520 h 479077"/>
                <a:gd name="connsiteX279" fmla="*/ 802725 w 3787506"/>
                <a:gd name="connsiteY279" fmla="*/ 527 h 479077"/>
                <a:gd name="connsiteX280" fmla="*/ 819096 w 3787506"/>
                <a:gd name="connsiteY280" fmla="*/ 2512 h 479077"/>
                <a:gd name="connsiteX281" fmla="*/ 835466 w 3787506"/>
                <a:gd name="connsiteY281" fmla="*/ 527 h 479077"/>
                <a:gd name="connsiteX282" fmla="*/ 851837 w 3787506"/>
                <a:gd name="connsiteY282" fmla="*/ 1520 h 479077"/>
                <a:gd name="connsiteX283" fmla="*/ 868207 w 3787506"/>
                <a:gd name="connsiteY283" fmla="*/ 2016 h 479077"/>
                <a:gd name="connsiteX284" fmla="*/ 884578 w 3787506"/>
                <a:gd name="connsiteY284" fmla="*/ 2512 h 479077"/>
                <a:gd name="connsiteX285" fmla="*/ 900948 w 3787506"/>
                <a:gd name="connsiteY285" fmla="*/ 1520 h 479077"/>
                <a:gd name="connsiteX286" fmla="*/ 917319 w 3787506"/>
                <a:gd name="connsiteY286" fmla="*/ 1024 h 479077"/>
                <a:gd name="connsiteX287" fmla="*/ 933689 w 3787506"/>
                <a:gd name="connsiteY287" fmla="*/ 2512 h 479077"/>
                <a:gd name="connsiteX288" fmla="*/ 950060 w 3787506"/>
                <a:gd name="connsiteY288" fmla="*/ 1520 h 479077"/>
                <a:gd name="connsiteX289" fmla="*/ 966431 w 3787506"/>
                <a:gd name="connsiteY289" fmla="*/ 2016 h 479077"/>
                <a:gd name="connsiteX290" fmla="*/ 982801 w 3787506"/>
                <a:gd name="connsiteY290" fmla="*/ 2512 h 479077"/>
                <a:gd name="connsiteX291" fmla="*/ 999172 w 3787506"/>
                <a:gd name="connsiteY291" fmla="*/ 1520 h 479077"/>
                <a:gd name="connsiteX292" fmla="*/ 1015542 w 3787506"/>
                <a:gd name="connsiteY292" fmla="*/ 2512 h 479077"/>
                <a:gd name="connsiteX293" fmla="*/ 1031913 w 3787506"/>
                <a:gd name="connsiteY293" fmla="*/ 1520 h 479077"/>
                <a:gd name="connsiteX294" fmla="*/ 1048283 w 3787506"/>
                <a:gd name="connsiteY294" fmla="*/ 2016 h 479077"/>
                <a:gd name="connsiteX295" fmla="*/ 1064654 w 3787506"/>
                <a:gd name="connsiteY295" fmla="*/ 3504 h 479077"/>
                <a:gd name="connsiteX296" fmla="*/ 1081025 w 3787506"/>
                <a:gd name="connsiteY296" fmla="*/ 2016 h 479077"/>
                <a:gd name="connsiteX297" fmla="*/ 1097395 w 3787506"/>
                <a:gd name="connsiteY297" fmla="*/ 2512 h 479077"/>
                <a:gd name="connsiteX298" fmla="*/ 1113766 w 3787506"/>
                <a:gd name="connsiteY298" fmla="*/ 2512 h 479077"/>
                <a:gd name="connsiteX299" fmla="*/ 1130136 w 3787506"/>
                <a:gd name="connsiteY299" fmla="*/ 3504 h 479077"/>
                <a:gd name="connsiteX300" fmla="*/ 1146507 w 3787506"/>
                <a:gd name="connsiteY300" fmla="*/ 1520 h 479077"/>
                <a:gd name="connsiteX301" fmla="*/ 1162878 w 3787506"/>
                <a:gd name="connsiteY301" fmla="*/ 3008 h 479077"/>
                <a:gd name="connsiteX302" fmla="*/ 1179248 w 3787506"/>
                <a:gd name="connsiteY302" fmla="*/ 4000 h 479077"/>
                <a:gd name="connsiteX303" fmla="*/ 1195619 w 3787506"/>
                <a:gd name="connsiteY303" fmla="*/ 3504 h 479077"/>
                <a:gd name="connsiteX304" fmla="*/ 1211989 w 3787506"/>
                <a:gd name="connsiteY304" fmla="*/ 1520 h 479077"/>
                <a:gd name="connsiteX305" fmla="*/ 1228360 w 3787506"/>
                <a:gd name="connsiteY305" fmla="*/ 3504 h 479077"/>
                <a:gd name="connsiteX306" fmla="*/ 1244730 w 3787506"/>
                <a:gd name="connsiteY306" fmla="*/ 1520 h 479077"/>
                <a:gd name="connsiteX307" fmla="*/ 1261101 w 3787506"/>
                <a:gd name="connsiteY307" fmla="*/ 2512 h 479077"/>
                <a:gd name="connsiteX308" fmla="*/ 1277471 w 3787506"/>
                <a:gd name="connsiteY308" fmla="*/ 3504 h 479077"/>
                <a:gd name="connsiteX309" fmla="*/ 1293842 w 3787506"/>
                <a:gd name="connsiteY309" fmla="*/ 4000 h 479077"/>
                <a:gd name="connsiteX310" fmla="*/ 1310213 w 3787506"/>
                <a:gd name="connsiteY310" fmla="*/ 1520 h 479077"/>
                <a:gd name="connsiteX311" fmla="*/ 1326583 w 3787506"/>
                <a:gd name="connsiteY311" fmla="*/ 2016 h 479077"/>
                <a:gd name="connsiteX312" fmla="*/ 1342954 w 3787506"/>
                <a:gd name="connsiteY312" fmla="*/ 3008 h 479077"/>
                <a:gd name="connsiteX313" fmla="*/ 1359324 w 3787506"/>
                <a:gd name="connsiteY313" fmla="*/ 3008 h 479077"/>
                <a:gd name="connsiteX314" fmla="*/ 1375695 w 3787506"/>
                <a:gd name="connsiteY314" fmla="*/ 2512 h 479077"/>
                <a:gd name="connsiteX315" fmla="*/ 1392066 w 3787506"/>
                <a:gd name="connsiteY315" fmla="*/ 2512 h 479077"/>
                <a:gd name="connsiteX316" fmla="*/ 1408436 w 3787506"/>
                <a:gd name="connsiteY316" fmla="*/ 3504 h 479077"/>
                <a:gd name="connsiteX317" fmla="*/ 1424807 w 3787506"/>
                <a:gd name="connsiteY317" fmla="*/ 3504 h 479077"/>
                <a:gd name="connsiteX318" fmla="*/ 1441177 w 3787506"/>
                <a:gd name="connsiteY318" fmla="*/ 1520 h 479077"/>
                <a:gd name="connsiteX319" fmla="*/ 1457548 w 3787506"/>
                <a:gd name="connsiteY319" fmla="*/ 2512 h 479077"/>
                <a:gd name="connsiteX320" fmla="*/ 1473919 w 3787506"/>
                <a:gd name="connsiteY320" fmla="*/ 2016 h 479077"/>
                <a:gd name="connsiteX321" fmla="*/ 1490289 w 3787506"/>
                <a:gd name="connsiteY321" fmla="*/ 2016 h 479077"/>
                <a:gd name="connsiteX322" fmla="*/ 1506660 w 3787506"/>
                <a:gd name="connsiteY322" fmla="*/ 1520 h 479077"/>
                <a:gd name="connsiteX323" fmla="*/ 1523030 w 3787506"/>
                <a:gd name="connsiteY323" fmla="*/ 3504 h 479077"/>
                <a:gd name="connsiteX324" fmla="*/ 1539401 w 3787506"/>
                <a:gd name="connsiteY324" fmla="*/ 3008 h 479077"/>
                <a:gd name="connsiteX325" fmla="*/ 1555771 w 3787506"/>
                <a:gd name="connsiteY325" fmla="*/ 3008 h 479077"/>
                <a:gd name="connsiteX326" fmla="*/ 1572142 w 3787506"/>
                <a:gd name="connsiteY326" fmla="*/ 2512 h 479077"/>
                <a:gd name="connsiteX327" fmla="*/ 1588512 w 3787506"/>
                <a:gd name="connsiteY327" fmla="*/ 2016 h 479077"/>
                <a:gd name="connsiteX328" fmla="*/ 1604883 w 3787506"/>
                <a:gd name="connsiteY328" fmla="*/ 3008 h 479077"/>
                <a:gd name="connsiteX329" fmla="*/ 1621253 w 3787506"/>
                <a:gd name="connsiteY329" fmla="*/ 3008 h 479077"/>
                <a:gd name="connsiteX330" fmla="*/ 1637624 w 3787506"/>
                <a:gd name="connsiteY33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313375 w 3785642"/>
                <a:gd name="connsiteY3" fmla="*/ 10945 h 479077"/>
                <a:gd name="connsiteX4" fmla="*/ 3300973 w 3785642"/>
                <a:gd name="connsiteY4" fmla="*/ 21363 h 479077"/>
                <a:gd name="connsiteX5" fmla="*/ 3289068 w 3785642"/>
                <a:gd name="connsiteY5" fmla="*/ 32276 h 479077"/>
                <a:gd name="connsiteX6" fmla="*/ 3277658 w 3785642"/>
                <a:gd name="connsiteY6" fmla="*/ 43686 h 479077"/>
                <a:gd name="connsiteX7" fmla="*/ 3266248 w 3785642"/>
                <a:gd name="connsiteY7" fmla="*/ 55592 h 479077"/>
                <a:gd name="connsiteX8" fmla="*/ 3255830 w 3785642"/>
                <a:gd name="connsiteY8" fmla="*/ 68490 h 479077"/>
                <a:gd name="connsiteX9" fmla="*/ 3243924 w 3785642"/>
                <a:gd name="connsiteY9" fmla="*/ 79900 h 479077"/>
                <a:gd name="connsiteX10" fmla="*/ 3231522 w 3785642"/>
                <a:gd name="connsiteY10" fmla="*/ 90814 h 479077"/>
                <a:gd name="connsiteX11" fmla="*/ 3220609 w 3785642"/>
                <a:gd name="connsiteY11" fmla="*/ 102720 h 479077"/>
                <a:gd name="connsiteX12" fmla="*/ 3208207 w 3785642"/>
                <a:gd name="connsiteY12" fmla="*/ 113137 h 479077"/>
                <a:gd name="connsiteX13" fmla="*/ 3197293 w 3785642"/>
                <a:gd name="connsiteY13" fmla="*/ 125043 h 479077"/>
                <a:gd name="connsiteX14" fmla="*/ 3185387 w 3785642"/>
                <a:gd name="connsiteY14" fmla="*/ 136453 h 479077"/>
                <a:gd name="connsiteX15" fmla="*/ 3174970 w 3785642"/>
                <a:gd name="connsiteY15" fmla="*/ 148855 h 479077"/>
                <a:gd name="connsiteX16" fmla="*/ 3162071 w 3785642"/>
                <a:gd name="connsiteY16" fmla="*/ 159272 h 479077"/>
                <a:gd name="connsiteX17" fmla="*/ 3151158 w 3785642"/>
                <a:gd name="connsiteY17" fmla="*/ 171674 h 479077"/>
                <a:gd name="connsiteX18" fmla="*/ 3139252 w 3785642"/>
                <a:gd name="connsiteY18" fmla="*/ 182588 h 479077"/>
                <a:gd name="connsiteX19" fmla="*/ 3127843 w 3785642"/>
                <a:gd name="connsiteY19" fmla="*/ 194494 h 479077"/>
                <a:gd name="connsiteX20" fmla="*/ 3116432 w 3785642"/>
                <a:gd name="connsiteY20" fmla="*/ 205904 h 479077"/>
                <a:gd name="connsiteX21" fmla="*/ 3105022 w 3785642"/>
                <a:gd name="connsiteY21" fmla="*/ 217810 h 479077"/>
                <a:gd name="connsiteX22" fmla="*/ 3093117 w 3785642"/>
                <a:gd name="connsiteY22" fmla="*/ 229219 h 479077"/>
                <a:gd name="connsiteX23" fmla="*/ 3081707 w 3785642"/>
                <a:gd name="connsiteY23" fmla="*/ 240629 h 479077"/>
                <a:gd name="connsiteX24" fmla="*/ 3069305 w 3785642"/>
                <a:gd name="connsiteY24" fmla="*/ 251543 h 479077"/>
                <a:gd name="connsiteX25" fmla="*/ 3057895 w 3785642"/>
                <a:gd name="connsiteY25" fmla="*/ 263449 h 479077"/>
                <a:gd name="connsiteX26" fmla="*/ 3046486 w 3785642"/>
                <a:gd name="connsiteY26" fmla="*/ 275355 h 479077"/>
                <a:gd name="connsiteX27" fmla="*/ 3035572 w 3785642"/>
                <a:gd name="connsiteY27" fmla="*/ 287260 h 479077"/>
                <a:gd name="connsiteX28" fmla="*/ 3024658 w 3785642"/>
                <a:gd name="connsiteY28" fmla="*/ 299166 h 479077"/>
                <a:gd name="connsiteX29" fmla="*/ 3013248 w 3785642"/>
                <a:gd name="connsiteY29" fmla="*/ 311072 h 479077"/>
                <a:gd name="connsiteX30" fmla="*/ 3000350 w 3785642"/>
                <a:gd name="connsiteY30" fmla="*/ 321490 h 479077"/>
                <a:gd name="connsiteX31" fmla="*/ 2988941 w 3785642"/>
                <a:gd name="connsiteY31" fmla="*/ 333396 h 479077"/>
                <a:gd name="connsiteX32" fmla="*/ 2976539 w 3785642"/>
                <a:gd name="connsiteY32" fmla="*/ 344309 h 479077"/>
                <a:gd name="connsiteX33" fmla="*/ 2965129 w 3785642"/>
                <a:gd name="connsiteY33" fmla="*/ 356215 h 479077"/>
                <a:gd name="connsiteX34" fmla="*/ 2953223 w 3785642"/>
                <a:gd name="connsiteY34" fmla="*/ 367625 h 479077"/>
                <a:gd name="connsiteX35" fmla="*/ 2941813 w 3785642"/>
                <a:gd name="connsiteY35" fmla="*/ 379531 h 479077"/>
                <a:gd name="connsiteX36" fmla="*/ 2931395 w 3785642"/>
                <a:gd name="connsiteY36" fmla="*/ 392429 h 479077"/>
                <a:gd name="connsiteX37" fmla="*/ 2918497 w 3785642"/>
                <a:gd name="connsiteY37" fmla="*/ 402847 h 479077"/>
                <a:gd name="connsiteX38" fmla="*/ 2907584 w 3785642"/>
                <a:gd name="connsiteY38" fmla="*/ 415249 h 479077"/>
                <a:gd name="connsiteX39" fmla="*/ 2896174 w 3785642"/>
                <a:gd name="connsiteY39" fmla="*/ 426658 h 479077"/>
                <a:gd name="connsiteX40" fmla="*/ 2884268 w 3785642"/>
                <a:gd name="connsiteY40" fmla="*/ 438068 h 479077"/>
                <a:gd name="connsiteX41" fmla="*/ 2873354 w 3785642"/>
                <a:gd name="connsiteY41" fmla="*/ 450470 h 479077"/>
                <a:gd name="connsiteX42" fmla="*/ 2860952 w 3785642"/>
                <a:gd name="connsiteY42" fmla="*/ 461384 h 479077"/>
                <a:gd name="connsiteX43" fmla="*/ 2850039 w 3785642"/>
                <a:gd name="connsiteY43" fmla="*/ 473786 h 479077"/>
                <a:gd name="connsiteX44" fmla="*/ 2833668 w 3785642"/>
                <a:gd name="connsiteY44" fmla="*/ 473786 h 479077"/>
                <a:gd name="connsiteX45" fmla="*/ 2817297 w 3785642"/>
                <a:gd name="connsiteY45" fmla="*/ 473290 h 479077"/>
                <a:gd name="connsiteX46" fmla="*/ 2800927 w 3785642"/>
                <a:gd name="connsiteY46" fmla="*/ 473290 h 479077"/>
                <a:gd name="connsiteX47" fmla="*/ 2784556 w 3785642"/>
                <a:gd name="connsiteY47" fmla="*/ 473786 h 479077"/>
                <a:gd name="connsiteX48" fmla="*/ 2768186 w 3785642"/>
                <a:gd name="connsiteY48" fmla="*/ 474282 h 479077"/>
                <a:gd name="connsiteX49" fmla="*/ 2751815 w 3785642"/>
                <a:gd name="connsiteY49" fmla="*/ 474282 h 479077"/>
                <a:gd name="connsiteX50" fmla="*/ 2735444 w 3785642"/>
                <a:gd name="connsiteY50" fmla="*/ 473290 h 479077"/>
                <a:gd name="connsiteX51" fmla="*/ 2719074 w 3785642"/>
                <a:gd name="connsiteY51" fmla="*/ 474282 h 479077"/>
                <a:gd name="connsiteX52" fmla="*/ 2702703 w 3785642"/>
                <a:gd name="connsiteY52" fmla="*/ 472298 h 479077"/>
                <a:gd name="connsiteX53" fmla="*/ 2686333 w 3785642"/>
                <a:gd name="connsiteY53" fmla="*/ 472794 h 479077"/>
                <a:gd name="connsiteX54" fmla="*/ 2669962 w 3785642"/>
                <a:gd name="connsiteY54" fmla="*/ 474282 h 479077"/>
                <a:gd name="connsiteX55" fmla="*/ 2653592 w 3785642"/>
                <a:gd name="connsiteY55" fmla="*/ 472298 h 479077"/>
                <a:gd name="connsiteX56" fmla="*/ 2637221 w 3785642"/>
                <a:gd name="connsiteY56" fmla="*/ 474282 h 479077"/>
                <a:gd name="connsiteX57" fmla="*/ 2620851 w 3785642"/>
                <a:gd name="connsiteY57" fmla="*/ 474282 h 479077"/>
                <a:gd name="connsiteX58" fmla="*/ 2604480 w 3785642"/>
                <a:gd name="connsiteY58" fmla="*/ 472298 h 479077"/>
                <a:gd name="connsiteX59" fmla="*/ 2588109 w 3785642"/>
                <a:gd name="connsiteY59" fmla="*/ 473786 h 479077"/>
                <a:gd name="connsiteX60" fmla="*/ 2571739 w 3785642"/>
                <a:gd name="connsiteY60" fmla="*/ 472298 h 479077"/>
                <a:gd name="connsiteX61" fmla="*/ 2555368 w 3785642"/>
                <a:gd name="connsiteY61" fmla="*/ 473290 h 479077"/>
                <a:gd name="connsiteX62" fmla="*/ 2538998 w 3785642"/>
                <a:gd name="connsiteY62" fmla="*/ 474282 h 479077"/>
                <a:gd name="connsiteX63" fmla="*/ 2522627 w 3785642"/>
                <a:gd name="connsiteY63" fmla="*/ 473290 h 479077"/>
                <a:gd name="connsiteX64" fmla="*/ 2506257 w 3785642"/>
                <a:gd name="connsiteY64" fmla="*/ 474282 h 479077"/>
                <a:gd name="connsiteX65" fmla="*/ 2489886 w 3785642"/>
                <a:gd name="connsiteY65" fmla="*/ 473786 h 479077"/>
                <a:gd name="connsiteX66" fmla="*/ 2473516 w 3785642"/>
                <a:gd name="connsiteY66" fmla="*/ 474282 h 479077"/>
                <a:gd name="connsiteX67" fmla="*/ 2457145 w 3785642"/>
                <a:gd name="connsiteY67" fmla="*/ 472794 h 479077"/>
                <a:gd name="connsiteX68" fmla="*/ 2440775 w 3785642"/>
                <a:gd name="connsiteY68" fmla="*/ 472298 h 479077"/>
                <a:gd name="connsiteX69" fmla="*/ 2424404 w 3785642"/>
                <a:gd name="connsiteY69" fmla="*/ 473786 h 479077"/>
                <a:gd name="connsiteX70" fmla="*/ 2408033 w 3785642"/>
                <a:gd name="connsiteY70" fmla="*/ 472794 h 479077"/>
                <a:gd name="connsiteX71" fmla="*/ 2391663 w 3785642"/>
                <a:gd name="connsiteY71" fmla="*/ 473290 h 479077"/>
                <a:gd name="connsiteX72" fmla="*/ 2375292 w 3785642"/>
                <a:gd name="connsiteY72" fmla="*/ 473290 h 479077"/>
                <a:gd name="connsiteX73" fmla="*/ 2358922 w 3785642"/>
                <a:gd name="connsiteY73" fmla="*/ 472794 h 479077"/>
                <a:gd name="connsiteX74" fmla="*/ 2342551 w 3785642"/>
                <a:gd name="connsiteY74" fmla="*/ 472298 h 479077"/>
                <a:gd name="connsiteX75" fmla="*/ 2326180 w 3785642"/>
                <a:gd name="connsiteY75" fmla="*/ 473786 h 479077"/>
                <a:gd name="connsiteX76" fmla="*/ 2309810 w 3785642"/>
                <a:gd name="connsiteY76" fmla="*/ 473786 h 479077"/>
                <a:gd name="connsiteX77" fmla="*/ 2293439 w 3785642"/>
                <a:gd name="connsiteY77" fmla="*/ 473786 h 479077"/>
                <a:gd name="connsiteX78" fmla="*/ 2277069 w 3785642"/>
                <a:gd name="connsiteY78" fmla="*/ 472794 h 479077"/>
                <a:gd name="connsiteX79" fmla="*/ 2260698 w 3785642"/>
                <a:gd name="connsiteY79" fmla="*/ 474282 h 479077"/>
                <a:gd name="connsiteX80" fmla="*/ 2244327 w 3785642"/>
                <a:gd name="connsiteY80" fmla="*/ 472298 h 479077"/>
                <a:gd name="connsiteX81" fmla="*/ 2227957 w 3785642"/>
                <a:gd name="connsiteY81" fmla="*/ 474282 h 479077"/>
                <a:gd name="connsiteX82" fmla="*/ 2211586 w 3785642"/>
                <a:gd name="connsiteY82" fmla="*/ 473290 h 479077"/>
                <a:gd name="connsiteX83" fmla="*/ 2195216 w 3785642"/>
                <a:gd name="connsiteY83" fmla="*/ 474282 h 479077"/>
                <a:gd name="connsiteX84" fmla="*/ 2178845 w 3785642"/>
                <a:gd name="connsiteY84" fmla="*/ 472794 h 479077"/>
                <a:gd name="connsiteX85" fmla="*/ 2162474 w 3785642"/>
                <a:gd name="connsiteY85" fmla="*/ 474778 h 479077"/>
                <a:gd name="connsiteX86" fmla="*/ 2146104 w 3785642"/>
                <a:gd name="connsiteY86" fmla="*/ 473290 h 479077"/>
                <a:gd name="connsiteX87" fmla="*/ 2129733 w 3785642"/>
                <a:gd name="connsiteY87" fmla="*/ 474778 h 479077"/>
                <a:gd name="connsiteX88" fmla="*/ 2113363 w 3785642"/>
                <a:gd name="connsiteY88" fmla="*/ 474778 h 479077"/>
                <a:gd name="connsiteX89" fmla="*/ 2096992 w 3785642"/>
                <a:gd name="connsiteY89" fmla="*/ 474778 h 479077"/>
                <a:gd name="connsiteX90" fmla="*/ 2080621 w 3785642"/>
                <a:gd name="connsiteY90" fmla="*/ 474282 h 479077"/>
                <a:gd name="connsiteX91" fmla="*/ 2064251 w 3785642"/>
                <a:gd name="connsiteY91" fmla="*/ 472794 h 479077"/>
                <a:gd name="connsiteX92" fmla="*/ 2047880 w 3785642"/>
                <a:gd name="connsiteY92" fmla="*/ 474778 h 479077"/>
                <a:gd name="connsiteX93" fmla="*/ 2031510 w 3785642"/>
                <a:gd name="connsiteY93" fmla="*/ 474778 h 479077"/>
                <a:gd name="connsiteX94" fmla="*/ 2015139 w 3785642"/>
                <a:gd name="connsiteY94" fmla="*/ 474778 h 479077"/>
                <a:gd name="connsiteX95" fmla="*/ 1998769 w 3785642"/>
                <a:gd name="connsiteY95" fmla="*/ 474282 h 479077"/>
                <a:gd name="connsiteX96" fmla="*/ 1982398 w 3785642"/>
                <a:gd name="connsiteY96" fmla="*/ 473786 h 479077"/>
                <a:gd name="connsiteX97" fmla="*/ 1966028 w 3785642"/>
                <a:gd name="connsiteY97" fmla="*/ 473786 h 479077"/>
                <a:gd name="connsiteX98" fmla="*/ 1949657 w 3785642"/>
                <a:gd name="connsiteY98" fmla="*/ 472794 h 479077"/>
                <a:gd name="connsiteX99" fmla="*/ 1933287 w 3785642"/>
                <a:gd name="connsiteY99" fmla="*/ 473290 h 479077"/>
                <a:gd name="connsiteX100" fmla="*/ 1916916 w 3785642"/>
                <a:gd name="connsiteY100" fmla="*/ 474778 h 479077"/>
                <a:gd name="connsiteX101" fmla="*/ 1900546 w 3785642"/>
                <a:gd name="connsiteY101" fmla="*/ 472794 h 479077"/>
                <a:gd name="connsiteX102" fmla="*/ 1884175 w 3785642"/>
                <a:gd name="connsiteY102" fmla="*/ 473786 h 479077"/>
                <a:gd name="connsiteX103" fmla="*/ 1867804 w 3785642"/>
                <a:gd name="connsiteY103" fmla="*/ 474778 h 479077"/>
                <a:gd name="connsiteX104" fmla="*/ 1851434 w 3785642"/>
                <a:gd name="connsiteY104" fmla="*/ 474778 h 479077"/>
                <a:gd name="connsiteX105" fmla="*/ 1835063 w 3785642"/>
                <a:gd name="connsiteY105" fmla="*/ 474778 h 479077"/>
                <a:gd name="connsiteX106" fmla="*/ 1818693 w 3785642"/>
                <a:gd name="connsiteY106" fmla="*/ 474282 h 479077"/>
                <a:gd name="connsiteX107" fmla="*/ 1802322 w 3785642"/>
                <a:gd name="connsiteY107" fmla="*/ 472794 h 479077"/>
                <a:gd name="connsiteX108" fmla="*/ 1785951 w 3785642"/>
                <a:gd name="connsiteY108" fmla="*/ 473786 h 479077"/>
                <a:gd name="connsiteX109" fmla="*/ 1769581 w 3785642"/>
                <a:gd name="connsiteY109" fmla="*/ 473290 h 479077"/>
                <a:gd name="connsiteX110" fmla="*/ 1753210 w 3785642"/>
                <a:gd name="connsiteY110" fmla="*/ 472298 h 479077"/>
                <a:gd name="connsiteX111" fmla="*/ 1736840 w 3785642"/>
                <a:gd name="connsiteY111" fmla="*/ 473290 h 479077"/>
                <a:gd name="connsiteX112" fmla="*/ 1720469 w 3785642"/>
                <a:gd name="connsiteY112" fmla="*/ 474778 h 479077"/>
                <a:gd name="connsiteX113" fmla="*/ 1704098 w 3785642"/>
                <a:gd name="connsiteY113" fmla="*/ 472794 h 479077"/>
                <a:gd name="connsiteX114" fmla="*/ 1687728 w 3785642"/>
                <a:gd name="connsiteY114" fmla="*/ 474778 h 479077"/>
                <a:gd name="connsiteX115" fmla="*/ 1671357 w 3785642"/>
                <a:gd name="connsiteY115" fmla="*/ 474778 h 479077"/>
                <a:gd name="connsiteX116" fmla="*/ 1654987 w 3785642"/>
                <a:gd name="connsiteY116" fmla="*/ 472298 h 479077"/>
                <a:gd name="connsiteX117" fmla="*/ 1638616 w 3785642"/>
                <a:gd name="connsiteY117" fmla="*/ 472794 h 479077"/>
                <a:gd name="connsiteX118" fmla="*/ 1622246 w 3785642"/>
                <a:gd name="connsiteY118" fmla="*/ 473786 h 479077"/>
                <a:gd name="connsiteX119" fmla="*/ 1605875 w 3785642"/>
                <a:gd name="connsiteY119" fmla="*/ 474778 h 479077"/>
                <a:gd name="connsiteX120" fmla="*/ 1589505 w 3785642"/>
                <a:gd name="connsiteY120" fmla="*/ 473290 h 479077"/>
                <a:gd name="connsiteX121" fmla="*/ 1573134 w 3785642"/>
                <a:gd name="connsiteY121" fmla="*/ 474778 h 479077"/>
                <a:gd name="connsiteX122" fmla="*/ 1556763 w 3785642"/>
                <a:gd name="connsiteY122" fmla="*/ 472794 h 479077"/>
                <a:gd name="connsiteX123" fmla="*/ 1540393 w 3785642"/>
                <a:gd name="connsiteY123" fmla="*/ 472794 h 479077"/>
                <a:gd name="connsiteX124" fmla="*/ 1524022 w 3785642"/>
                <a:gd name="connsiteY124" fmla="*/ 474282 h 479077"/>
                <a:gd name="connsiteX125" fmla="*/ 1507652 w 3785642"/>
                <a:gd name="connsiteY125" fmla="*/ 472794 h 479077"/>
                <a:gd name="connsiteX126" fmla="*/ 1491281 w 3785642"/>
                <a:gd name="connsiteY126" fmla="*/ 474282 h 479077"/>
                <a:gd name="connsiteX127" fmla="*/ 1474910 w 3785642"/>
                <a:gd name="connsiteY127" fmla="*/ 474282 h 479077"/>
                <a:gd name="connsiteX128" fmla="*/ 1458540 w 3785642"/>
                <a:gd name="connsiteY128" fmla="*/ 472794 h 479077"/>
                <a:gd name="connsiteX129" fmla="*/ 1442169 w 3785642"/>
                <a:gd name="connsiteY129" fmla="*/ 471802 h 479077"/>
                <a:gd name="connsiteX130" fmla="*/ 1425799 w 3785642"/>
                <a:gd name="connsiteY130" fmla="*/ 472298 h 479077"/>
                <a:gd name="connsiteX131" fmla="*/ 1409428 w 3785642"/>
                <a:gd name="connsiteY131" fmla="*/ 472794 h 479077"/>
                <a:gd name="connsiteX132" fmla="*/ 1393058 w 3785642"/>
                <a:gd name="connsiteY132" fmla="*/ 473786 h 479077"/>
                <a:gd name="connsiteX133" fmla="*/ 1376687 w 3785642"/>
                <a:gd name="connsiteY133" fmla="*/ 471802 h 479077"/>
                <a:gd name="connsiteX134" fmla="*/ 1360317 w 3785642"/>
                <a:gd name="connsiteY134" fmla="*/ 473786 h 479077"/>
                <a:gd name="connsiteX135" fmla="*/ 1343946 w 3785642"/>
                <a:gd name="connsiteY135" fmla="*/ 473786 h 479077"/>
                <a:gd name="connsiteX136" fmla="*/ 1327576 w 3785642"/>
                <a:gd name="connsiteY136" fmla="*/ 472794 h 479077"/>
                <a:gd name="connsiteX137" fmla="*/ 1311205 w 3785642"/>
                <a:gd name="connsiteY137" fmla="*/ 473786 h 479077"/>
                <a:gd name="connsiteX138" fmla="*/ 1294834 w 3785642"/>
                <a:gd name="connsiteY138" fmla="*/ 473786 h 479077"/>
                <a:gd name="connsiteX139" fmla="*/ 1278464 w 3785642"/>
                <a:gd name="connsiteY139" fmla="*/ 473786 h 479077"/>
                <a:gd name="connsiteX140" fmla="*/ 1262093 w 3785642"/>
                <a:gd name="connsiteY140" fmla="*/ 473786 h 479077"/>
                <a:gd name="connsiteX141" fmla="*/ 1245723 w 3785642"/>
                <a:gd name="connsiteY141" fmla="*/ 473290 h 479077"/>
                <a:gd name="connsiteX142" fmla="*/ 1229352 w 3785642"/>
                <a:gd name="connsiteY142" fmla="*/ 472794 h 479077"/>
                <a:gd name="connsiteX143" fmla="*/ 1212981 w 3785642"/>
                <a:gd name="connsiteY143" fmla="*/ 473786 h 479077"/>
                <a:gd name="connsiteX144" fmla="*/ 1196611 w 3785642"/>
                <a:gd name="connsiteY144" fmla="*/ 472298 h 479077"/>
                <a:gd name="connsiteX145" fmla="*/ 1180240 w 3785642"/>
                <a:gd name="connsiteY145" fmla="*/ 472794 h 479077"/>
                <a:gd name="connsiteX146" fmla="*/ 1163870 w 3785642"/>
                <a:gd name="connsiteY146" fmla="*/ 472794 h 479077"/>
                <a:gd name="connsiteX147" fmla="*/ 1147499 w 3785642"/>
                <a:gd name="connsiteY147" fmla="*/ 473786 h 479077"/>
                <a:gd name="connsiteX148" fmla="*/ 1131128 w 3785642"/>
                <a:gd name="connsiteY148" fmla="*/ 473786 h 479077"/>
                <a:gd name="connsiteX149" fmla="*/ 1114758 w 3785642"/>
                <a:gd name="connsiteY149" fmla="*/ 472794 h 479077"/>
                <a:gd name="connsiteX150" fmla="*/ 1098387 w 3785642"/>
                <a:gd name="connsiteY150" fmla="*/ 473786 h 479077"/>
                <a:gd name="connsiteX151" fmla="*/ 1082017 w 3785642"/>
                <a:gd name="connsiteY151" fmla="*/ 474778 h 479077"/>
                <a:gd name="connsiteX152" fmla="*/ 1065646 w 3785642"/>
                <a:gd name="connsiteY152" fmla="*/ 474778 h 479077"/>
                <a:gd name="connsiteX153" fmla="*/ 1049276 w 3785642"/>
                <a:gd name="connsiteY153" fmla="*/ 474282 h 479077"/>
                <a:gd name="connsiteX154" fmla="*/ 1032905 w 3785642"/>
                <a:gd name="connsiteY154" fmla="*/ 473290 h 479077"/>
                <a:gd name="connsiteX155" fmla="*/ 1016535 w 3785642"/>
                <a:gd name="connsiteY155" fmla="*/ 474282 h 479077"/>
                <a:gd name="connsiteX156" fmla="*/ 1000164 w 3785642"/>
                <a:gd name="connsiteY156" fmla="*/ 474282 h 479077"/>
                <a:gd name="connsiteX157" fmla="*/ 983793 w 3785642"/>
                <a:gd name="connsiteY157" fmla="*/ 472794 h 479077"/>
                <a:gd name="connsiteX158" fmla="*/ 967423 w 3785642"/>
                <a:gd name="connsiteY158" fmla="*/ 472794 h 479077"/>
                <a:gd name="connsiteX159" fmla="*/ 951052 w 3785642"/>
                <a:gd name="connsiteY159" fmla="*/ 473786 h 479077"/>
                <a:gd name="connsiteX160" fmla="*/ 934682 w 3785642"/>
                <a:gd name="connsiteY160" fmla="*/ 474282 h 479077"/>
                <a:gd name="connsiteX161" fmla="*/ 918311 w 3785642"/>
                <a:gd name="connsiteY161" fmla="*/ 474778 h 479077"/>
                <a:gd name="connsiteX162" fmla="*/ 901940 w 3785642"/>
                <a:gd name="connsiteY162" fmla="*/ 473290 h 479077"/>
                <a:gd name="connsiteX163" fmla="*/ 885570 w 3785642"/>
                <a:gd name="connsiteY163" fmla="*/ 474778 h 479077"/>
                <a:gd name="connsiteX164" fmla="*/ 869199 w 3785642"/>
                <a:gd name="connsiteY164" fmla="*/ 474282 h 479077"/>
                <a:gd name="connsiteX165" fmla="*/ 852829 w 3785642"/>
                <a:gd name="connsiteY165" fmla="*/ 473786 h 479077"/>
                <a:gd name="connsiteX166" fmla="*/ 836458 w 3785642"/>
                <a:gd name="connsiteY166" fmla="*/ 474778 h 479077"/>
                <a:gd name="connsiteX167" fmla="*/ 820088 w 3785642"/>
                <a:gd name="connsiteY167" fmla="*/ 475274 h 479077"/>
                <a:gd name="connsiteX168" fmla="*/ 803717 w 3785642"/>
                <a:gd name="connsiteY168" fmla="*/ 473786 h 479077"/>
                <a:gd name="connsiteX169" fmla="*/ 787347 w 3785642"/>
                <a:gd name="connsiteY169" fmla="*/ 475770 h 479077"/>
                <a:gd name="connsiteX170" fmla="*/ 770976 w 3785642"/>
                <a:gd name="connsiteY170" fmla="*/ 474778 h 479077"/>
                <a:gd name="connsiteX171" fmla="*/ 754605 w 3785642"/>
                <a:gd name="connsiteY171" fmla="*/ 475274 h 479077"/>
                <a:gd name="connsiteX172" fmla="*/ 738235 w 3785642"/>
                <a:gd name="connsiteY172" fmla="*/ 473786 h 479077"/>
                <a:gd name="connsiteX173" fmla="*/ 721864 w 3785642"/>
                <a:gd name="connsiteY173" fmla="*/ 475274 h 479077"/>
                <a:gd name="connsiteX174" fmla="*/ 705494 w 3785642"/>
                <a:gd name="connsiteY174" fmla="*/ 475770 h 479077"/>
                <a:gd name="connsiteX175" fmla="*/ 689123 w 3785642"/>
                <a:gd name="connsiteY175" fmla="*/ 474282 h 479077"/>
                <a:gd name="connsiteX176" fmla="*/ 672753 w 3785642"/>
                <a:gd name="connsiteY176" fmla="*/ 475274 h 479077"/>
                <a:gd name="connsiteX177" fmla="*/ 656382 w 3785642"/>
                <a:gd name="connsiteY177" fmla="*/ 474778 h 479077"/>
                <a:gd name="connsiteX178" fmla="*/ 640011 w 3785642"/>
                <a:gd name="connsiteY178" fmla="*/ 475770 h 479077"/>
                <a:gd name="connsiteX179" fmla="*/ 623641 w 3785642"/>
                <a:gd name="connsiteY179" fmla="*/ 473786 h 479077"/>
                <a:gd name="connsiteX180" fmla="*/ 607270 w 3785642"/>
                <a:gd name="connsiteY180" fmla="*/ 474778 h 479077"/>
                <a:gd name="connsiteX181" fmla="*/ 590900 w 3785642"/>
                <a:gd name="connsiteY181" fmla="*/ 475274 h 479077"/>
                <a:gd name="connsiteX182" fmla="*/ 574529 w 3785642"/>
                <a:gd name="connsiteY182" fmla="*/ 474282 h 479077"/>
                <a:gd name="connsiteX183" fmla="*/ 558158 w 3785642"/>
                <a:gd name="connsiteY183" fmla="*/ 475274 h 479077"/>
                <a:gd name="connsiteX184" fmla="*/ 541788 w 3785642"/>
                <a:gd name="connsiteY184" fmla="*/ 475770 h 479077"/>
                <a:gd name="connsiteX185" fmla="*/ 525417 w 3785642"/>
                <a:gd name="connsiteY185" fmla="*/ 474282 h 479077"/>
                <a:gd name="connsiteX186" fmla="*/ 509047 w 3785642"/>
                <a:gd name="connsiteY186" fmla="*/ 473786 h 479077"/>
                <a:gd name="connsiteX187" fmla="*/ 492676 w 3785642"/>
                <a:gd name="connsiteY187" fmla="*/ 473786 h 479077"/>
                <a:gd name="connsiteX188" fmla="*/ 476306 w 3785642"/>
                <a:gd name="connsiteY188" fmla="*/ 474778 h 479077"/>
                <a:gd name="connsiteX189" fmla="*/ 459935 w 3785642"/>
                <a:gd name="connsiteY189" fmla="*/ 473786 h 479077"/>
                <a:gd name="connsiteX190" fmla="*/ 443565 w 3785642"/>
                <a:gd name="connsiteY190" fmla="*/ 474778 h 479077"/>
                <a:gd name="connsiteX191" fmla="*/ 427194 w 3785642"/>
                <a:gd name="connsiteY191" fmla="*/ 474282 h 479077"/>
                <a:gd name="connsiteX192" fmla="*/ 410823 w 3785642"/>
                <a:gd name="connsiteY192" fmla="*/ 473290 h 479077"/>
                <a:gd name="connsiteX193" fmla="*/ 394453 w 3785642"/>
                <a:gd name="connsiteY193" fmla="*/ 475770 h 479077"/>
                <a:gd name="connsiteX194" fmla="*/ 378082 w 3785642"/>
                <a:gd name="connsiteY194" fmla="*/ 475274 h 479077"/>
                <a:gd name="connsiteX195" fmla="*/ 361712 w 3785642"/>
                <a:gd name="connsiteY195" fmla="*/ 474778 h 479077"/>
                <a:gd name="connsiteX196" fmla="*/ 345341 w 3785642"/>
                <a:gd name="connsiteY196" fmla="*/ 476266 h 479077"/>
                <a:gd name="connsiteX197" fmla="*/ 328970 w 3785642"/>
                <a:gd name="connsiteY197" fmla="*/ 474282 h 479077"/>
                <a:gd name="connsiteX198" fmla="*/ 312600 w 3785642"/>
                <a:gd name="connsiteY198" fmla="*/ 475274 h 479077"/>
                <a:gd name="connsiteX199" fmla="*/ 296229 w 3785642"/>
                <a:gd name="connsiteY199" fmla="*/ 474282 h 479077"/>
                <a:gd name="connsiteX200" fmla="*/ 279859 w 3785642"/>
                <a:gd name="connsiteY200" fmla="*/ 475770 h 479077"/>
                <a:gd name="connsiteX201" fmla="*/ 263488 w 3785642"/>
                <a:gd name="connsiteY201" fmla="*/ 476266 h 479077"/>
                <a:gd name="connsiteX202" fmla="*/ 247118 w 3785642"/>
                <a:gd name="connsiteY202" fmla="*/ 476266 h 479077"/>
                <a:gd name="connsiteX203" fmla="*/ 230747 w 3785642"/>
                <a:gd name="connsiteY203" fmla="*/ 474778 h 479077"/>
                <a:gd name="connsiteX204" fmla="*/ 214376 w 3785642"/>
                <a:gd name="connsiteY204" fmla="*/ 474778 h 479077"/>
                <a:gd name="connsiteX205" fmla="*/ 198006 w 3785642"/>
                <a:gd name="connsiteY205" fmla="*/ 476762 h 479077"/>
                <a:gd name="connsiteX206" fmla="*/ 181635 w 3785642"/>
                <a:gd name="connsiteY206" fmla="*/ 476266 h 479077"/>
                <a:gd name="connsiteX207" fmla="*/ 165265 w 3785642"/>
                <a:gd name="connsiteY207" fmla="*/ 474778 h 479077"/>
                <a:gd name="connsiteX208" fmla="*/ 148894 w 3785642"/>
                <a:gd name="connsiteY208" fmla="*/ 476762 h 479077"/>
                <a:gd name="connsiteX209" fmla="*/ 132524 w 3785642"/>
                <a:gd name="connsiteY209" fmla="*/ 476266 h 479077"/>
                <a:gd name="connsiteX210" fmla="*/ 116153 w 3785642"/>
                <a:gd name="connsiteY210" fmla="*/ 475274 h 479077"/>
                <a:gd name="connsiteX211" fmla="*/ 99783 w 3785642"/>
                <a:gd name="connsiteY211" fmla="*/ 475274 h 479077"/>
                <a:gd name="connsiteX212" fmla="*/ 83412 w 3785642"/>
                <a:gd name="connsiteY212" fmla="*/ 475274 h 479077"/>
                <a:gd name="connsiteX213" fmla="*/ 67041 w 3785642"/>
                <a:gd name="connsiteY213" fmla="*/ 474778 h 479077"/>
                <a:gd name="connsiteX214" fmla="*/ 50671 w 3785642"/>
                <a:gd name="connsiteY214" fmla="*/ 475274 h 479077"/>
                <a:gd name="connsiteX215" fmla="*/ 34300 w 3785642"/>
                <a:gd name="connsiteY215" fmla="*/ 475274 h 479077"/>
                <a:gd name="connsiteX216" fmla="*/ 17930 w 3785642"/>
                <a:gd name="connsiteY216" fmla="*/ 475770 h 479077"/>
                <a:gd name="connsiteX217" fmla="*/ 567 w 3785642"/>
                <a:gd name="connsiteY217" fmla="*/ 475770 h 479077"/>
                <a:gd name="connsiteX218" fmla="*/ 12969 w 3785642"/>
                <a:gd name="connsiteY218" fmla="*/ 463368 h 479077"/>
                <a:gd name="connsiteX219" fmla="*/ 24379 w 3785642"/>
                <a:gd name="connsiteY219" fmla="*/ 451958 h 479077"/>
                <a:gd name="connsiteX220" fmla="*/ 35788 w 3785642"/>
                <a:gd name="connsiteY220" fmla="*/ 440053 h 479077"/>
                <a:gd name="connsiteX221" fmla="*/ 48686 w 3785642"/>
                <a:gd name="connsiteY221" fmla="*/ 430131 h 479077"/>
                <a:gd name="connsiteX222" fmla="*/ 59600 w 3785642"/>
                <a:gd name="connsiteY222" fmla="*/ 418225 h 479077"/>
                <a:gd name="connsiteX223" fmla="*/ 70514 w 3785642"/>
                <a:gd name="connsiteY223" fmla="*/ 405823 h 479077"/>
                <a:gd name="connsiteX224" fmla="*/ 83412 w 3785642"/>
                <a:gd name="connsiteY224" fmla="*/ 395406 h 479077"/>
                <a:gd name="connsiteX225" fmla="*/ 94822 w 3785642"/>
                <a:gd name="connsiteY225" fmla="*/ 383500 h 479077"/>
                <a:gd name="connsiteX226" fmla="*/ 106728 w 3785642"/>
                <a:gd name="connsiteY226" fmla="*/ 372090 h 479077"/>
                <a:gd name="connsiteX227" fmla="*/ 117145 w 3785642"/>
                <a:gd name="connsiteY227" fmla="*/ 359688 h 479077"/>
                <a:gd name="connsiteX228" fmla="*/ 128555 w 3785642"/>
                <a:gd name="connsiteY228" fmla="*/ 348278 h 479077"/>
                <a:gd name="connsiteX229" fmla="*/ 140461 w 3785642"/>
                <a:gd name="connsiteY229" fmla="*/ 336868 h 479077"/>
                <a:gd name="connsiteX230" fmla="*/ 152863 w 3785642"/>
                <a:gd name="connsiteY230" fmla="*/ 326451 h 479077"/>
                <a:gd name="connsiteX231" fmla="*/ 164769 w 3785642"/>
                <a:gd name="connsiteY231" fmla="*/ 315041 h 479077"/>
                <a:gd name="connsiteX232" fmla="*/ 176178 w 3785642"/>
                <a:gd name="connsiteY232" fmla="*/ 303135 h 479077"/>
                <a:gd name="connsiteX233" fmla="*/ 188084 w 3785642"/>
                <a:gd name="connsiteY233" fmla="*/ 291725 h 479077"/>
                <a:gd name="connsiteX234" fmla="*/ 199494 w 3785642"/>
                <a:gd name="connsiteY234" fmla="*/ 280315 h 479077"/>
                <a:gd name="connsiteX235" fmla="*/ 210904 w 3785642"/>
                <a:gd name="connsiteY235" fmla="*/ 268906 h 479077"/>
                <a:gd name="connsiteX236" fmla="*/ 221818 w 3785642"/>
                <a:gd name="connsiteY236" fmla="*/ 256504 h 479077"/>
                <a:gd name="connsiteX237" fmla="*/ 233724 w 3785642"/>
                <a:gd name="connsiteY237" fmla="*/ 245094 h 479077"/>
                <a:gd name="connsiteX238" fmla="*/ 244141 w 3785642"/>
                <a:gd name="connsiteY238" fmla="*/ 232692 h 479077"/>
                <a:gd name="connsiteX239" fmla="*/ 257039 w 3785642"/>
                <a:gd name="connsiteY239" fmla="*/ 222770 h 479077"/>
                <a:gd name="connsiteX240" fmla="*/ 266961 w 3785642"/>
                <a:gd name="connsiteY240" fmla="*/ 209376 h 479077"/>
                <a:gd name="connsiteX241" fmla="*/ 278371 w 3785642"/>
                <a:gd name="connsiteY241" fmla="*/ 197966 h 479077"/>
                <a:gd name="connsiteX242" fmla="*/ 291269 w 3785642"/>
                <a:gd name="connsiteY242" fmla="*/ 188045 h 479077"/>
                <a:gd name="connsiteX243" fmla="*/ 301686 w 3785642"/>
                <a:gd name="connsiteY243" fmla="*/ 175147 h 479077"/>
                <a:gd name="connsiteX244" fmla="*/ 313592 w 3785642"/>
                <a:gd name="connsiteY244" fmla="*/ 163737 h 479077"/>
                <a:gd name="connsiteX245" fmla="*/ 325994 w 3785642"/>
                <a:gd name="connsiteY245" fmla="*/ 153319 h 479077"/>
                <a:gd name="connsiteX246" fmla="*/ 337404 w 3785642"/>
                <a:gd name="connsiteY246" fmla="*/ 141910 h 479077"/>
                <a:gd name="connsiteX247" fmla="*/ 347325 w 3785642"/>
                <a:gd name="connsiteY247" fmla="*/ 129012 h 479077"/>
                <a:gd name="connsiteX248" fmla="*/ 360224 w 3785642"/>
                <a:gd name="connsiteY248" fmla="*/ 118594 h 479077"/>
                <a:gd name="connsiteX249" fmla="*/ 371137 w 3785642"/>
                <a:gd name="connsiteY249" fmla="*/ 106192 h 479077"/>
                <a:gd name="connsiteX250" fmla="*/ 382051 w 3785642"/>
                <a:gd name="connsiteY250" fmla="*/ 93790 h 479077"/>
                <a:gd name="connsiteX251" fmla="*/ 393957 w 3785642"/>
                <a:gd name="connsiteY251" fmla="*/ 82380 h 479077"/>
                <a:gd name="connsiteX252" fmla="*/ 405366 w 3785642"/>
                <a:gd name="connsiteY252" fmla="*/ 70475 h 479077"/>
                <a:gd name="connsiteX253" fmla="*/ 417272 w 3785642"/>
                <a:gd name="connsiteY253" fmla="*/ 59561 h 479077"/>
                <a:gd name="connsiteX254" fmla="*/ 429674 w 3785642"/>
                <a:gd name="connsiteY254" fmla="*/ 48647 h 479077"/>
                <a:gd name="connsiteX255" fmla="*/ 440092 w 3785642"/>
                <a:gd name="connsiteY255" fmla="*/ 35749 h 479077"/>
                <a:gd name="connsiteX256" fmla="*/ 452494 w 3785642"/>
                <a:gd name="connsiteY256" fmla="*/ 24835 h 479077"/>
                <a:gd name="connsiteX257" fmla="*/ 463904 w 3785642"/>
                <a:gd name="connsiteY257" fmla="*/ 12929 h 479077"/>
                <a:gd name="connsiteX258" fmla="*/ 475313 w 3785642"/>
                <a:gd name="connsiteY258" fmla="*/ 1024 h 479077"/>
                <a:gd name="connsiteX259" fmla="*/ 491684 w 3785642"/>
                <a:gd name="connsiteY259" fmla="*/ 2512 h 479077"/>
                <a:gd name="connsiteX260" fmla="*/ 508055 w 3785642"/>
                <a:gd name="connsiteY260" fmla="*/ 2512 h 479077"/>
                <a:gd name="connsiteX261" fmla="*/ 524425 w 3785642"/>
                <a:gd name="connsiteY261" fmla="*/ 2512 h 479077"/>
                <a:gd name="connsiteX262" fmla="*/ 540796 w 3785642"/>
                <a:gd name="connsiteY262" fmla="*/ 1024 h 479077"/>
                <a:gd name="connsiteX263" fmla="*/ 557166 w 3785642"/>
                <a:gd name="connsiteY263" fmla="*/ 2512 h 479077"/>
                <a:gd name="connsiteX264" fmla="*/ 573537 w 3785642"/>
                <a:gd name="connsiteY264" fmla="*/ 1024 h 479077"/>
                <a:gd name="connsiteX265" fmla="*/ 589908 w 3785642"/>
                <a:gd name="connsiteY265" fmla="*/ 527 h 479077"/>
                <a:gd name="connsiteX266" fmla="*/ 606278 w 3785642"/>
                <a:gd name="connsiteY266" fmla="*/ 1520 h 479077"/>
                <a:gd name="connsiteX267" fmla="*/ 622649 w 3785642"/>
                <a:gd name="connsiteY267" fmla="*/ 1520 h 479077"/>
                <a:gd name="connsiteX268" fmla="*/ 639019 w 3785642"/>
                <a:gd name="connsiteY268" fmla="*/ 2016 h 479077"/>
                <a:gd name="connsiteX269" fmla="*/ 655390 w 3785642"/>
                <a:gd name="connsiteY269" fmla="*/ 527 h 479077"/>
                <a:gd name="connsiteX270" fmla="*/ 671760 w 3785642"/>
                <a:gd name="connsiteY270" fmla="*/ 1520 h 479077"/>
                <a:gd name="connsiteX271" fmla="*/ 688131 w 3785642"/>
                <a:gd name="connsiteY271" fmla="*/ 2512 h 479077"/>
                <a:gd name="connsiteX272" fmla="*/ 704501 w 3785642"/>
                <a:gd name="connsiteY272" fmla="*/ 1024 h 479077"/>
                <a:gd name="connsiteX273" fmla="*/ 720872 w 3785642"/>
                <a:gd name="connsiteY273" fmla="*/ 1520 h 479077"/>
                <a:gd name="connsiteX274" fmla="*/ 737243 w 3785642"/>
                <a:gd name="connsiteY274" fmla="*/ 2016 h 479077"/>
                <a:gd name="connsiteX275" fmla="*/ 753613 w 3785642"/>
                <a:gd name="connsiteY275" fmla="*/ 1024 h 479077"/>
                <a:gd name="connsiteX276" fmla="*/ 769984 w 3785642"/>
                <a:gd name="connsiteY276" fmla="*/ 527 h 479077"/>
                <a:gd name="connsiteX277" fmla="*/ 786354 w 3785642"/>
                <a:gd name="connsiteY277" fmla="*/ 1520 h 479077"/>
                <a:gd name="connsiteX278" fmla="*/ 802725 w 3785642"/>
                <a:gd name="connsiteY278" fmla="*/ 527 h 479077"/>
                <a:gd name="connsiteX279" fmla="*/ 819096 w 3785642"/>
                <a:gd name="connsiteY279" fmla="*/ 2512 h 479077"/>
                <a:gd name="connsiteX280" fmla="*/ 835466 w 3785642"/>
                <a:gd name="connsiteY280" fmla="*/ 527 h 479077"/>
                <a:gd name="connsiteX281" fmla="*/ 851837 w 3785642"/>
                <a:gd name="connsiteY281" fmla="*/ 1520 h 479077"/>
                <a:gd name="connsiteX282" fmla="*/ 868207 w 3785642"/>
                <a:gd name="connsiteY282" fmla="*/ 2016 h 479077"/>
                <a:gd name="connsiteX283" fmla="*/ 884578 w 3785642"/>
                <a:gd name="connsiteY283" fmla="*/ 2512 h 479077"/>
                <a:gd name="connsiteX284" fmla="*/ 900948 w 3785642"/>
                <a:gd name="connsiteY284" fmla="*/ 1520 h 479077"/>
                <a:gd name="connsiteX285" fmla="*/ 917319 w 3785642"/>
                <a:gd name="connsiteY285" fmla="*/ 1024 h 479077"/>
                <a:gd name="connsiteX286" fmla="*/ 933689 w 3785642"/>
                <a:gd name="connsiteY286" fmla="*/ 2512 h 479077"/>
                <a:gd name="connsiteX287" fmla="*/ 950060 w 3785642"/>
                <a:gd name="connsiteY287" fmla="*/ 1520 h 479077"/>
                <a:gd name="connsiteX288" fmla="*/ 966431 w 3785642"/>
                <a:gd name="connsiteY288" fmla="*/ 2016 h 479077"/>
                <a:gd name="connsiteX289" fmla="*/ 982801 w 3785642"/>
                <a:gd name="connsiteY289" fmla="*/ 2512 h 479077"/>
                <a:gd name="connsiteX290" fmla="*/ 999172 w 3785642"/>
                <a:gd name="connsiteY290" fmla="*/ 1520 h 479077"/>
                <a:gd name="connsiteX291" fmla="*/ 1015542 w 3785642"/>
                <a:gd name="connsiteY291" fmla="*/ 2512 h 479077"/>
                <a:gd name="connsiteX292" fmla="*/ 1031913 w 3785642"/>
                <a:gd name="connsiteY292" fmla="*/ 1520 h 479077"/>
                <a:gd name="connsiteX293" fmla="*/ 1048283 w 3785642"/>
                <a:gd name="connsiteY293" fmla="*/ 2016 h 479077"/>
                <a:gd name="connsiteX294" fmla="*/ 1064654 w 3785642"/>
                <a:gd name="connsiteY294" fmla="*/ 3504 h 479077"/>
                <a:gd name="connsiteX295" fmla="*/ 1081025 w 3785642"/>
                <a:gd name="connsiteY295" fmla="*/ 2016 h 479077"/>
                <a:gd name="connsiteX296" fmla="*/ 1097395 w 3785642"/>
                <a:gd name="connsiteY296" fmla="*/ 2512 h 479077"/>
                <a:gd name="connsiteX297" fmla="*/ 1113766 w 3785642"/>
                <a:gd name="connsiteY297" fmla="*/ 2512 h 479077"/>
                <a:gd name="connsiteX298" fmla="*/ 1130136 w 3785642"/>
                <a:gd name="connsiteY298" fmla="*/ 3504 h 479077"/>
                <a:gd name="connsiteX299" fmla="*/ 1146507 w 3785642"/>
                <a:gd name="connsiteY299" fmla="*/ 1520 h 479077"/>
                <a:gd name="connsiteX300" fmla="*/ 1162878 w 3785642"/>
                <a:gd name="connsiteY300" fmla="*/ 3008 h 479077"/>
                <a:gd name="connsiteX301" fmla="*/ 1179248 w 3785642"/>
                <a:gd name="connsiteY301" fmla="*/ 4000 h 479077"/>
                <a:gd name="connsiteX302" fmla="*/ 1195619 w 3785642"/>
                <a:gd name="connsiteY302" fmla="*/ 3504 h 479077"/>
                <a:gd name="connsiteX303" fmla="*/ 1211989 w 3785642"/>
                <a:gd name="connsiteY303" fmla="*/ 1520 h 479077"/>
                <a:gd name="connsiteX304" fmla="*/ 1228360 w 3785642"/>
                <a:gd name="connsiteY304" fmla="*/ 3504 h 479077"/>
                <a:gd name="connsiteX305" fmla="*/ 1244730 w 3785642"/>
                <a:gd name="connsiteY305" fmla="*/ 1520 h 479077"/>
                <a:gd name="connsiteX306" fmla="*/ 1261101 w 3785642"/>
                <a:gd name="connsiteY306" fmla="*/ 2512 h 479077"/>
                <a:gd name="connsiteX307" fmla="*/ 1277471 w 3785642"/>
                <a:gd name="connsiteY307" fmla="*/ 3504 h 479077"/>
                <a:gd name="connsiteX308" fmla="*/ 1293842 w 3785642"/>
                <a:gd name="connsiteY308" fmla="*/ 4000 h 479077"/>
                <a:gd name="connsiteX309" fmla="*/ 1310213 w 3785642"/>
                <a:gd name="connsiteY309" fmla="*/ 1520 h 479077"/>
                <a:gd name="connsiteX310" fmla="*/ 1326583 w 3785642"/>
                <a:gd name="connsiteY310" fmla="*/ 2016 h 479077"/>
                <a:gd name="connsiteX311" fmla="*/ 1342954 w 3785642"/>
                <a:gd name="connsiteY311" fmla="*/ 3008 h 479077"/>
                <a:gd name="connsiteX312" fmla="*/ 1359324 w 3785642"/>
                <a:gd name="connsiteY312" fmla="*/ 3008 h 479077"/>
                <a:gd name="connsiteX313" fmla="*/ 1375695 w 3785642"/>
                <a:gd name="connsiteY313" fmla="*/ 2512 h 479077"/>
                <a:gd name="connsiteX314" fmla="*/ 1392066 w 3785642"/>
                <a:gd name="connsiteY314" fmla="*/ 2512 h 479077"/>
                <a:gd name="connsiteX315" fmla="*/ 1408436 w 3785642"/>
                <a:gd name="connsiteY315" fmla="*/ 3504 h 479077"/>
                <a:gd name="connsiteX316" fmla="*/ 1424807 w 3785642"/>
                <a:gd name="connsiteY316" fmla="*/ 3504 h 479077"/>
                <a:gd name="connsiteX317" fmla="*/ 1441177 w 3785642"/>
                <a:gd name="connsiteY317" fmla="*/ 1520 h 479077"/>
                <a:gd name="connsiteX318" fmla="*/ 1457548 w 3785642"/>
                <a:gd name="connsiteY318" fmla="*/ 2512 h 479077"/>
                <a:gd name="connsiteX319" fmla="*/ 1473919 w 3785642"/>
                <a:gd name="connsiteY319" fmla="*/ 2016 h 479077"/>
                <a:gd name="connsiteX320" fmla="*/ 1490289 w 3785642"/>
                <a:gd name="connsiteY320" fmla="*/ 2016 h 479077"/>
                <a:gd name="connsiteX321" fmla="*/ 1506660 w 3785642"/>
                <a:gd name="connsiteY321" fmla="*/ 1520 h 479077"/>
                <a:gd name="connsiteX322" fmla="*/ 1523030 w 3785642"/>
                <a:gd name="connsiteY322" fmla="*/ 3504 h 479077"/>
                <a:gd name="connsiteX323" fmla="*/ 1539401 w 3785642"/>
                <a:gd name="connsiteY323" fmla="*/ 3008 h 479077"/>
                <a:gd name="connsiteX324" fmla="*/ 1555771 w 3785642"/>
                <a:gd name="connsiteY324" fmla="*/ 3008 h 479077"/>
                <a:gd name="connsiteX325" fmla="*/ 1572142 w 3785642"/>
                <a:gd name="connsiteY325" fmla="*/ 2512 h 479077"/>
                <a:gd name="connsiteX326" fmla="*/ 1588512 w 3785642"/>
                <a:gd name="connsiteY326" fmla="*/ 2016 h 479077"/>
                <a:gd name="connsiteX327" fmla="*/ 1604883 w 3785642"/>
                <a:gd name="connsiteY327" fmla="*/ 3008 h 479077"/>
                <a:gd name="connsiteX328" fmla="*/ 1621253 w 3785642"/>
                <a:gd name="connsiteY328" fmla="*/ 3008 h 479077"/>
                <a:gd name="connsiteX329" fmla="*/ 1637624 w 3785642"/>
                <a:gd name="connsiteY329" fmla="*/ 2512 h 479077"/>
                <a:gd name="connsiteX0" fmla="*/ 3785642 w 3811655"/>
                <a:gd name="connsiteY0" fmla="*/ 462376 h 485440"/>
                <a:gd name="connsiteX1" fmla="*/ 3775224 w 3811655"/>
                <a:gd name="connsiteY1" fmla="*/ 449974 h 485440"/>
                <a:gd name="connsiteX2" fmla="*/ 3313375 w 3811655"/>
                <a:gd name="connsiteY2" fmla="*/ 10945 h 485440"/>
                <a:gd name="connsiteX3" fmla="*/ 3300973 w 3811655"/>
                <a:gd name="connsiteY3" fmla="*/ 21363 h 485440"/>
                <a:gd name="connsiteX4" fmla="*/ 3289068 w 3811655"/>
                <a:gd name="connsiteY4" fmla="*/ 32276 h 485440"/>
                <a:gd name="connsiteX5" fmla="*/ 3277658 w 3811655"/>
                <a:gd name="connsiteY5" fmla="*/ 43686 h 485440"/>
                <a:gd name="connsiteX6" fmla="*/ 3266248 w 3811655"/>
                <a:gd name="connsiteY6" fmla="*/ 55592 h 485440"/>
                <a:gd name="connsiteX7" fmla="*/ 3255830 w 3811655"/>
                <a:gd name="connsiteY7" fmla="*/ 68490 h 485440"/>
                <a:gd name="connsiteX8" fmla="*/ 3243924 w 3811655"/>
                <a:gd name="connsiteY8" fmla="*/ 79900 h 485440"/>
                <a:gd name="connsiteX9" fmla="*/ 3231522 w 3811655"/>
                <a:gd name="connsiteY9" fmla="*/ 90814 h 485440"/>
                <a:gd name="connsiteX10" fmla="*/ 3220609 w 3811655"/>
                <a:gd name="connsiteY10" fmla="*/ 102720 h 485440"/>
                <a:gd name="connsiteX11" fmla="*/ 3208207 w 3811655"/>
                <a:gd name="connsiteY11" fmla="*/ 113137 h 485440"/>
                <a:gd name="connsiteX12" fmla="*/ 3197293 w 3811655"/>
                <a:gd name="connsiteY12" fmla="*/ 125043 h 485440"/>
                <a:gd name="connsiteX13" fmla="*/ 3185387 w 3811655"/>
                <a:gd name="connsiteY13" fmla="*/ 136453 h 485440"/>
                <a:gd name="connsiteX14" fmla="*/ 3174970 w 3811655"/>
                <a:gd name="connsiteY14" fmla="*/ 148855 h 485440"/>
                <a:gd name="connsiteX15" fmla="*/ 3162071 w 3811655"/>
                <a:gd name="connsiteY15" fmla="*/ 159272 h 485440"/>
                <a:gd name="connsiteX16" fmla="*/ 3151158 w 3811655"/>
                <a:gd name="connsiteY16" fmla="*/ 171674 h 485440"/>
                <a:gd name="connsiteX17" fmla="*/ 3139252 w 3811655"/>
                <a:gd name="connsiteY17" fmla="*/ 182588 h 485440"/>
                <a:gd name="connsiteX18" fmla="*/ 3127843 w 3811655"/>
                <a:gd name="connsiteY18" fmla="*/ 194494 h 485440"/>
                <a:gd name="connsiteX19" fmla="*/ 3116432 w 3811655"/>
                <a:gd name="connsiteY19" fmla="*/ 205904 h 485440"/>
                <a:gd name="connsiteX20" fmla="*/ 3105022 w 3811655"/>
                <a:gd name="connsiteY20" fmla="*/ 217810 h 485440"/>
                <a:gd name="connsiteX21" fmla="*/ 3093117 w 3811655"/>
                <a:gd name="connsiteY21" fmla="*/ 229219 h 485440"/>
                <a:gd name="connsiteX22" fmla="*/ 3081707 w 3811655"/>
                <a:gd name="connsiteY22" fmla="*/ 240629 h 485440"/>
                <a:gd name="connsiteX23" fmla="*/ 3069305 w 3811655"/>
                <a:gd name="connsiteY23" fmla="*/ 251543 h 485440"/>
                <a:gd name="connsiteX24" fmla="*/ 3057895 w 3811655"/>
                <a:gd name="connsiteY24" fmla="*/ 263449 h 485440"/>
                <a:gd name="connsiteX25" fmla="*/ 3046486 w 3811655"/>
                <a:gd name="connsiteY25" fmla="*/ 275355 h 485440"/>
                <a:gd name="connsiteX26" fmla="*/ 3035572 w 3811655"/>
                <a:gd name="connsiteY26" fmla="*/ 287260 h 485440"/>
                <a:gd name="connsiteX27" fmla="*/ 3024658 w 3811655"/>
                <a:gd name="connsiteY27" fmla="*/ 299166 h 485440"/>
                <a:gd name="connsiteX28" fmla="*/ 3013248 w 3811655"/>
                <a:gd name="connsiteY28" fmla="*/ 311072 h 485440"/>
                <a:gd name="connsiteX29" fmla="*/ 3000350 w 3811655"/>
                <a:gd name="connsiteY29" fmla="*/ 321490 h 485440"/>
                <a:gd name="connsiteX30" fmla="*/ 2988941 w 3811655"/>
                <a:gd name="connsiteY30" fmla="*/ 333396 h 485440"/>
                <a:gd name="connsiteX31" fmla="*/ 2976539 w 3811655"/>
                <a:gd name="connsiteY31" fmla="*/ 344309 h 485440"/>
                <a:gd name="connsiteX32" fmla="*/ 2965129 w 3811655"/>
                <a:gd name="connsiteY32" fmla="*/ 356215 h 485440"/>
                <a:gd name="connsiteX33" fmla="*/ 2953223 w 3811655"/>
                <a:gd name="connsiteY33" fmla="*/ 367625 h 485440"/>
                <a:gd name="connsiteX34" fmla="*/ 2941813 w 3811655"/>
                <a:gd name="connsiteY34" fmla="*/ 379531 h 485440"/>
                <a:gd name="connsiteX35" fmla="*/ 2931395 w 3811655"/>
                <a:gd name="connsiteY35" fmla="*/ 392429 h 485440"/>
                <a:gd name="connsiteX36" fmla="*/ 2918497 w 3811655"/>
                <a:gd name="connsiteY36" fmla="*/ 402847 h 485440"/>
                <a:gd name="connsiteX37" fmla="*/ 2907584 w 3811655"/>
                <a:gd name="connsiteY37" fmla="*/ 415249 h 485440"/>
                <a:gd name="connsiteX38" fmla="*/ 2896174 w 3811655"/>
                <a:gd name="connsiteY38" fmla="*/ 426658 h 485440"/>
                <a:gd name="connsiteX39" fmla="*/ 2884268 w 3811655"/>
                <a:gd name="connsiteY39" fmla="*/ 438068 h 485440"/>
                <a:gd name="connsiteX40" fmla="*/ 2873354 w 3811655"/>
                <a:gd name="connsiteY40" fmla="*/ 450470 h 485440"/>
                <a:gd name="connsiteX41" fmla="*/ 2860952 w 3811655"/>
                <a:gd name="connsiteY41" fmla="*/ 461384 h 485440"/>
                <a:gd name="connsiteX42" fmla="*/ 2850039 w 3811655"/>
                <a:gd name="connsiteY42" fmla="*/ 473786 h 485440"/>
                <a:gd name="connsiteX43" fmla="*/ 2833668 w 3811655"/>
                <a:gd name="connsiteY43" fmla="*/ 473786 h 485440"/>
                <a:gd name="connsiteX44" fmla="*/ 2817297 w 3811655"/>
                <a:gd name="connsiteY44" fmla="*/ 473290 h 485440"/>
                <a:gd name="connsiteX45" fmla="*/ 2800927 w 3811655"/>
                <a:gd name="connsiteY45" fmla="*/ 473290 h 485440"/>
                <a:gd name="connsiteX46" fmla="*/ 2784556 w 3811655"/>
                <a:gd name="connsiteY46" fmla="*/ 473786 h 485440"/>
                <a:gd name="connsiteX47" fmla="*/ 2768186 w 3811655"/>
                <a:gd name="connsiteY47" fmla="*/ 474282 h 485440"/>
                <a:gd name="connsiteX48" fmla="*/ 2751815 w 3811655"/>
                <a:gd name="connsiteY48" fmla="*/ 474282 h 485440"/>
                <a:gd name="connsiteX49" fmla="*/ 2735444 w 3811655"/>
                <a:gd name="connsiteY49" fmla="*/ 473290 h 485440"/>
                <a:gd name="connsiteX50" fmla="*/ 2719074 w 3811655"/>
                <a:gd name="connsiteY50" fmla="*/ 474282 h 485440"/>
                <a:gd name="connsiteX51" fmla="*/ 2702703 w 3811655"/>
                <a:gd name="connsiteY51" fmla="*/ 472298 h 485440"/>
                <a:gd name="connsiteX52" fmla="*/ 2686333 w 3811655"/>
                <a:gd name="connsiteY52" fmla="*/ 472794 h 485440"/>
                <a:gd name="connsiteX53" fmla="*/ 2669962 w 3811655"/>
                <a:gd name="connsiteY53" fmla="*/ 474282 h 485440"/>
                <a:gd name="connsiteX54" fmla="*/ 2653592 w 3811655"/>
                <a:gd name="connsiteY54" fmla="*/ 472298 h 485440"/>
                <a:gd name="connsiteX55" fmla="*/ 2637221 w 3811655"/>
                <a:gd name="connsiteY55" fmla="*/ 474282 h 485440"/>
                <a:gd name="connsiteX56" fmla="*/ 2620851 w 3811655"/>
                <a:gd name="connsiteY56" fmla="*/ 474282 h 485440"/>
                <a:gd name="connsiteX57" fmla="*/ 2604480 w 3811655"/>
                <a:gd name="connsiteY57" fmla="*/ 472298 h 485440"/>
                <a:gd name="connsiteX58" fmla="*/ 2588109 w 3811655"/>
                <a:gd name="connsiteY58" fmla="*/ 473786 h 485440"/>
                <a:gd name="connsiteX59" fmla="*/ 2571739 w 3811655"/>
                <a:gd name="connsiteY59" fmla="*/ 472298 h 485440"/>
                <a:gd name="connsiteX60" fmla="*/ 2555368 w 3811655"/>
                <a:gd name="connsiteY60" fmla="*/ 473290 h 485440"/>
                <a:gd name="connsiteX61" fmla="*/ 2538998 w 3811655"/>
                <a:gd name="connsiteY61" fmla="*/ 474282 h 485440"/>
                <a:gd name="connsiteX62" fmla="*/ 2522627 w 3811655"/>
                <a:gd name="connsiteY62" fmla="*/ 473290 h 485440"/>
                <a:gd name="connsiteX63" fmla="*/ 2506257 w 3811655"/>
                <a:gd name="connsiteY63" fmla="*/ 474282 h 485440"/>
                <a:gd name="connsiteX64" fmla="*/ 2489886 w 3811655"/>
                <a:gd name="connsiteY64" fmla="*/ 473786 h 485440"/>
                <a:gd name="connsiteX65" fmla="*/ 2473516 w 3811655"/>
                <a:gd name="connsiteY65" fmla="*/ 474282 h 485440"/>
                <a:gd name="connsiteX66" fmla="*/ 2457145 w 3811655"/>
                <a:gd name="connsiteY66" fmla="*/ 472794 h 485440"/>
                <a:gd name="connsiteX67" fmla="*/ 2440775 w 3811655"/>
                <a:gd name="connsiteY67" fmla="*/ 472298 h 485440"/>
                <a:gd name="connsiteX68" fmla="*/ 2424404 w 3811655"/>
                <a:gd name="connsiteY68" fmla="*/ 473786 h 485440"/>
                <a:gd name="connsiteX69" fmla="*/ 2408033 w 3811655"/>
                <a:gd name="connsiteY69" fmla="*/ 472794 h 485440"/>
                <a:gd name="connsiteX70" fmla="*/ 2391663 w 3811655"/>
                <a:gd name="connsiteY70" fmla="*/ 473290 h 485440"/>
                <a:gd name="connsiteX71" fmla="*/ 2375292 w 3811655"/>
                <a:gd name="connsiteY71" fmla="*/ 473290 h 485440"/>
                <a:gd name="connsiteX72" fmla="*/ 2358922 w 3811655"/>
                <a:gd name="connsiteY72" fmla="*/ 472794 h 485440"/>
                <a:gd name="connsiteX73" fmla="*/ 2342551 w 3811655"/>
                <a:gd name="connsiteY73" fmla="*/ 472298 h 485440"/>
                <a:gd name="connsiteX74" fmla="*/ 2326180 w 3811655"/>
                <a:gd name="connsiteY74" fmla="*/ 473786 h 485440"/>
                <a:gd name="connsiteX75" fmla="*/ 2309810 w 3811655"/>
                <a:gd name="connsiteY75" fmla="*/ 473786 h 485440"/>
                <a:gd name="connsiteX76" fmla="*/ 2293439 w 3811655"/>
                <a:gd name="connsiteY76" fmla="*/ 473786 h 485440"/>
                <a:gd name="connsiteX77" fmla="*/ 2277069 w 3811655"/>
                <a:gd name="connsiteY77" fmla="*/ 472794 h 485440"/>
                <a:gd name="connsiteX78" fmla="*/ 2260698 w 3811655"/>
                <a:gd name="connsiteY78" fmla="*/ 474282 h 485440"/>
                <a:gd name="connsiteX79" fmla="*/ 2244327 w 3811655"/>
                <a:gd name="connsiteY79" fmla="*/ 472298 h 485440"/>
                <a:gd name="connsiteX80" fmla="*/ 2227957 w 3811655"/>
                <a:gd name="connsiteY80" fmla="*/ 474282 h 485440"/>
                <a:gd name="connsiteX81" fmla="*/ 2211586 w 3811655"/>
                <a:gd name="connsiteY81" fmla="*/ 473290 h 485440"/>
                <a:gd name="connsiteX82" fmla="*/ 2195216 w 3811655"/>
                <a:gd name="connsiteY82" fmla="*/ 474282 h 485440"/>
                <a:gd name="connsiteX83" fmla="*/ 2178845 w 3811655"/>
                <a:gd name="connsiteY83" fmla="*/ 472794 h 485440"/>
                <a:gd name="connsiteX84" fmla="*/ 2162474 w 3811655"/>
                <a:gd name="connsiteY84" fmla="*/ 474778 h 485440"/>
                <a:gd name="connsiteX85" fmla="*/ 2146104 w 3811655"/>
                <a:gd name="connsiteY85" fmla="*/ 473290 h 485440"/>
                <a:gd name="connsiteX86" fmla="*/ 2129733 w 3811655"/>
                <a:gd name="connsiteY86" fmla="*/ 474778 h 485440"/>
                <a:gd name="connsiteX87" fmla="*/ 2113363 w 3811655"/>
                <a:gd name="connsiteY87" fmla="*/ 474778 h 485440"/>
                <a:gd name="connsiteX88" fmla="*/ 2096992 w 3811655"/>
                <a:gd name="connsiteY88" fmla="*/ 474778 h 485440"/>
                <a:gd name="connsiteX89" fmla="*/ 2080621 w 3811655"/>
                <a:gd name="connsiteY89" fmla="*/ 474282 h 485440"/>
                <a:gd name="connsiteX90" fmla="*/ 2064251 w 3811655"/>
                <a:gd name="connsiteY90" fmla="*/ 472794 h 485440"/>
                <a:gd name="connsiteX91" fmla="*/ 2047880 w 3811655"/>
                <a:gd name="connsiteY91" fmla="*/ 474778 h 485440"/>
                <a:gd name="connsiteX92" fmla="*/ 2031510 w 3811655"/>
                <a:gd name="connsiteY92" fmla="*/ 474778 h 485440"/>
                <a:gd name="connsiteX93" fmla="*/ 2015139 w 3811655"/>
                <a:gd name="connsiteY93" fmla="*/ 474778 h 485440"/>
                <a:gd name="connsiteX94" fmla="*/ 1998769 w 3811655"/>
                <a:gd name="connsiteY94" fmla="*/ 474282 h 485440"/>
                <a:gd name="connsiteX95" fmla="*/ 1982398 w 3811655"/>
                <a:gd name="connsiteY95" fmla="*/ 473786 h 485440"/>
                <a:gd name="connsiteX96" fmla="*/ 1966028 w 3811655"/>
                <a:gd name="connsiteY96" fmla="*/ 473786 h 485440"/>
                <a:gd name="connsiteX97" fmla="*/ 1949657 w 3811655"/>
                <a:gd name="connsiteY97" fmla="*/ 472794 h 485440"/>
                <a:gd name="connsiteX98" fmla="*/ 1933287 w 3811655"/>
                <a:gd name="connsiteY98" fmla="*/ 473290 h 485440"/>
                <a:gd name="connsiteX99" fmla="*/ 1916916 w 3811655"/>
                <a:gd name="connsiteY99" fmla="*/ 474778 h 485440"/>
                <a:gd name="connsiteX100" fmla="*/ 1900546 w 3811655"/>
                <a:gd name="connsiteY100" fmla="*/ 472794 h 485440"/>
                <a:gd name="connsiteX101" fmla="*/ 1884175 w 3811655"/>
                <a:gd name="connsiteY101" fmla="*/ 473786 h 485440"/>
                <a:gd name="connsiteX102" fmla="*/ 1867804 w 3811655"/>
                <a:gd name="connsiteY102" fmla="*/ 474778 h 485440"/>
                <a:gd name="connsiteX103" fmla="*/ 1851434 w 3811655"/>
                <a:gd name="connsiteY103" fmla="*/ 474778 h 485440"/>
                <a:gd name="connsiteX104" fmla="*/ 1835063 w 3811655"/>
                <a:gd name="connsiteY104" fmla="*/ 474778 h 485440"/>
                <a:gd name="connsiteX105" fmla="*/ 1818693 w 3811655"/>
                <a:gd name="connsiteY105" fmla="*/ 474282 h 485440"/>
                <a:gd name="connsiteX106" fmla="*/ 1802322 w 3811655"/>
                <a:gd name="connsiteY106" fmla="*/ 472794 h 485440"/>
                <a:gd name="connsiteX107" fmla="*/ 1785951 w 3811655"/>
                <a:gd name="connsiteY107" fmla="*/ 473786 h 485440"/>
                <a:gd name="connsiteX108" fmla="*/ 1769581 w 3811655"/>
                <a:gd name="connsiteY108" fmla="*/ 473290 h 485440"/>
                <a:gd name="connsiteX109" fmla="*/ 1753210 w 3811655"/>
                <a:gd name="connsiteY109" fmla="*/ 472298 h 485440"/>
                <a:gd name="connsiteX110" fmla="*/ 1736840 w 3811655"/>
                <a:gd name="connsiteY110" fmla="*/ 473290 h 485440"/>
                <a:gd name="connsiteX111" fmla="*/ 1720469 w 3811655"/>
                <a:gd name="connsiteY111" fmla="*/ 474778 h 485440"/>
                <a:gd name="connsiteX112" fmla="*/ 1704098 w 3811655"/>
                <a:gd name="connsiteY112" fmla="*/ 472794 h 485440"/>
                <a:gd name="connsiteX113" fmla="*/ 1687728 w 3811655"/>
                <a:gd name="connsiteY113" fmla="*/ 474778 h 485440"/>
                <a:gd name="connsiteX114" fmla="*/ 1671357 w 3811655"/>
                <a:gd name="connsiteY114" fmla="*/ 474778 h 485440"/>
                <a:gd name="connsiteX115" fmla="*/ 1654987 w 3811655"/>
                <a:gd name="connsiteY115" fmla="*/ 472298 h 485440"/>
                <a:gd name="connsiteX116" fmla="*/ 1638616 w 3811655"/>
                <a:gd name="connsiteY116" fmla="*/ 472794 h 485440"/>
                <a:gd name="connsiteX117" fmla="*/ 1622246 w 3811655"/>
                <a:gd name="connsiteY117" fmla="*/ 473786 h 485440"/>
                <a:gd name="connsiteX118" fmla="*/ 1605875 w 3811655"/>
                <a:gd name="connsiteY118" fmla="*/ 474778 h 485440"/>
                <a:gd name="connsiteX119" fmla="*/ 1589505 w 3811655"/>
                <a:gd name="connsiteY119" fmla="*/ 473290 h 485440"/>
                <a:gd name="connsiteX120" fmla="*/ 1573134 w 3811655"/>
                <a:gd name="connsiteY120" fmla="*/ 474778 h 485440"/>
                <a:gd name="connsiteX121" fmla="*/ 1556763 w 3811655"/>
                <a:gd name="connsiteY121" fmla="*/ 472794 h 485440"/>
                <a:gd name="connsiteX122" fmla="*/ 1540393 w 3811655"/>
                <a:gd name="connsiteY122" fmla="*/ 472794 h 485440"/>
                <a:gd name="connsiteX123" fmla="*/ 1524022 w 3811655"/>
                <a:gd name="connsiteY123" fmla="*/ 474282 h 485440"/>
                <a:gd name="connsiteX124" fmla="*/ 1507652 w 3811655"/>
                <a:gd name="connsiteY124" fmla="*/ 472794 h 485440"/>
                <a:gd name="connsiteX125" fmla="*/ 1491281 w 3811655"/>
                <a:gd name="connsiteY125" fmla="*/ 474282 h 485440"/>
                <a:gd name="connsiteX126" fmla="*/ 1474910 w 3811655"/>
                <a:gd name="connsiteY126" fmla="*/ 474282 h 485440"/>
                <a:gd name="connsiteX127" fmla="*/ 1458540 w 3811655"/>
                <a:gd name="connsiteY127" fmla="*/ 472794 h 485440"/>
                <a:gd name="connsiteX128" fmla="*/ 1442169 w 3811655"/>
                <a:gd name="connsiteY128" fmla="*/ 471802 h 485440"/>
                <a:gd name="connsiteX129" fmla="*/ 1425799 w 3811655"/>
                <a:gd name="connsiteY129" fmla="*/ 472298 h 485440"/>
                <a:gd name="connsiteX130" fmla="*/ 1409428 w 3811655"/>
                <a:gd name="connsiteY130" fmla="*/ 472794 h 485440"/>
                <a:gd name="connsiteX131" fmla="*/ 1393058 w 3811655"/>
                <a:gd name="connsiteY131" fmla="*/ 473786 h 485440"/>
                <a:gd name="connsiteX132" fmla="*/ 1376687 w 3811655"/>
                <a:gd name="connsiteY132" fmla="*/ 471802 h 485440"/>
                <a:gd name="connsiteX133" fmla="*/ 1360317 w 3811655"/>
                <a:gd name="connsiteY133" fmla="*/ 473786 h 485440"/>
                <a:gd name="connsiteX134" fmla="*/ 1343946 w 3811655"/>
                <a:gd name="connsiteY134" fmla="*/ 473786 h 485440"/>
                <a:gd name="connsiteX135" fmla="*/ 1327576 w 3811655"/>
                <a:gd name="connsiteY135" fmla="*/ 472794 h 485440"/>
                <a:gd name="connsiteX136" fmla="*/ 1311205 w 3811655"/>
                <a:gd name="connsiteY136" fmla="*/ 473786 h 485440"/>
                <a:gd name="connsiteX137" fmla="*/ 1294834 w 3811655"/>
                <a:gd name="connsiteY137" fmla="*/ 473786 h 485440"/>
                <a:gd name="connsiteX138" fmla="*/ 1278464 w 3811655"/>
                <a:gd name="connsiteY138" fmla="*/ 473786 h 485440"/>
                <a:gd name="connsiteX139" fmla="*/ 1262093 w 3811655"/>
                <a:gd name="connsiteY139" fmla="*/ 473786 h 485440"/>
                <a:gd name="connsiteX140" fmla="*/ 1245723 w 3811655"/>
                <a:gd name="connsiteY140" fmla="*/ 473290 h 485440"/>
                <a:gd name="connsiteX141" fmla="*/ 1229352 w 3811655"/>
                <a:gd name="connsiteY141" fmla="*/ 472794 h 485440"/>
                <a:gd name="connsiteX142" fmla="*/ 1212981 w 3811655"/>
                <a:gd name="connsiteY142" fmla="*/ 473786 h 485440"/>
                <a:gd name="connsiteX143" fmla="*/ 1196611 w 3811655"/>
                <a:gd name="connsiteY143" fmla="*/ 472298 h 485440"/>
                <a:gd name="connsiteX144" fmla="*/ 1180240 w 3811655"/>
                <a:gd name="connsiteY144" fmla="*/ 472794 h 485440"/>
                <a:gd name="connsiteX145" fmla="*/ 1163870 w 3811655"/>
                <a:gd name="connsiteY145" fmla="*/ 472794 h 485440"/>
                <a:gd name="connsiteX146" fmla="*/ 1147499 w 3811655"/>
                <a:gd name="connsiteY146" fmla="*/ 473786 h 485440"/>
                <a:gd name="connsiteX147" fmla="*/ 1131128 w 3811655"/>
                <a:gd name="connsiteY147" fmla="*/ 473786 h 485440"/>
                <a:gd name="connsiteX148" fmla="*/ 1114758 w 3811655"/>
                <a:gd name="connsiteY148" fmla="*/ 472794 h 485440"/>
                <a:gd name="connsiteX149" fmla="*/ 1098387 w 3811655"/>
                <a:gd name="connsiteY149" fmla="*/ 473786 h 485440"/>
                <a:gd name="connsiteX150" fmla="*/ 1082017 w 3811655"/>
                <a:gd name="connsiteY150" fmla="*/ 474778 h 485440"/>
                <a:gd name="connsiteX151" fmla="*/ 1065646 w 3811655"/>
                <a:gd name="connsiteY151" fmla="*/ 474778 h 485440"/>
                <a:gd name="connsiteX152" fmla="*/ 1049276 w 3811655"/>
                <a:gd name="connsiteY152" fmla="*/ 474282 h 485440"/>
                <a:gd name="connsiteX153" fmla="*/ 1032905 w 3811655"/>
                <a:gd name="connsiteY153" fmla="*/ 473290 h 485440"/>
                <a:gd name="connsiteX154" fmla="*/ 1016535 w 3811655"/>
                <a:gd name="connsiteY154" fmla="*/ 474282 h 485440"/>
                <a:gd name="connsiteX155" fmla="*/ 1000164 w 3811655"/>
                <a:gd name="connsiteY155" fmla="*/ 474282 h 485440"/>
                <a:gd name="connsiteX156" fmla="*/ 983793 w 3811655"/>
                <a:gd name="connsiteY156" fmla="*/ 472794 h 485440"/>
                <a:gd name="connsiteX157" fmla="*/ 967423 w 3811655"/>
                <a:gd name="connsiteY157" fmla="*/ 472794 h 485440"/>
                <a:gd name="connsiteX158" fmla="*/ 951052 w 3811655"/>
                <a:gd name="connsiteY158" fmla="*/ 473786 h 485440"/>
                <a:gd name="connsiteX159" fmla="*/ 934682 w 3811655"/>
                <a:gd name="connsiteY159" fmla="*/ 474282 h 485440"/>
                <a:gd name="connsiteX160" fmla="*/ 918311 w 3811655"/>
                <a:gd name="connsiteY160" fmla="*/ 474778 h 485440"/>
                <a:gd name="connsiteX161" fmla="*/ 901940 w 3811655"/>
                <a:gd name="connsiteY161" fmla="*/ 473290 h 485440"/>
                <a:gd name="connsiteX162" fmla="*/ 885570 w 3811655"/>
                <a:gd name="connsiteY162" fmla="*/ 474778 h 485440"/>
                <a:gd name="connsiteX163" fmla="*/ 869199 w 3811655"/>
                <a:gd name="connsiteY163" fmla="*/ 474282 h 485440"/>
                <a:gd name="connsiteX164" fmla="*/ 852829 w 3811655"/>
                <a:gd name="connsiteY164" fmla="*/ 473786 h 485440"/>
                <a:gd name="connsiteX165" fmla="*/ 836458 w 3811655"/>
                <a:gd name="connsiteY165" fmla="*/ 474778 h 485440"/>
                <a:gd name="connsiteX166" fmla="*/ 820088 w 3811655"/>
                <a:gd name="connsiteY166" fmla="*/ 475274 h 485440"/>
                <a:gd name="connsiteX167" fmla="*/ 803717 w 3811655"/>
                <a:gd name="connsiteY167" fmla="*/ 473786 h 485440"/>
                <a:gd name="connsiteX168" fmla="*/ 787347 w 3811655"/>
                <a:gd name="connsiteY168" fmla="*/ 475770 h 485440"/>
                <a:gd name="connsiteX169" fmla="*/ 770976 w 3811655"/>
                <a:gd name="connsiteY169" fmla="*/ 474778 h 485440"/>
                <a:gd name="connsiteX170" fmla="*/ 754605 w 3811655"/>
                <a:gd name="connsiteY170" fmla="*/ 475274 h 485440"/>
                <a:gd name="connsiteX171" fmla="*/ 738235 w 3811655"/>
                <a:gd name="connsiteY171" fmla="*/ 473786 h 485440"/>
                <a:gd name="connsiteX172" fmla="*/ 721864 w 3811655"/>
                <a:gd name="connsiteY172" fmla="*/ 475274 h 485440"/>
                <a:gd name="connsiteX173" fmla="*/ 705494 w 3811655"/>
                <a:gd name="connsiteY173" fmla="*/ 475770 h 485440"/>
                <a:gd name="connsiteX174" fmla="*/ 689123 w 3811655"/>
                <a:gd name="connsiteY174" fmla="*/ 474282 h 485440"/>
                <a:gd name="connsiteX175" fmla="*/ 672753 w 3811655"/>
                <a:gd name="connsiteY175" fmla="*/ 475274 h 485440"/>
                <a:gd name="connsiteX176" fmla="*/ 656382 w 3811655"/>
                <a:gd name="connsiteY176" fmla="*/ 474778 h 485440"/>
                <a:gd name="connsiteX177" fmla="*/ 640011 w 3811655"/>
                <a:gd name="connsiteY177" fmla="*/ 475770 h 485440"/>
                <a:gd name="connsiteX178" fmla="*/ 623641 w 3811655"/>
                <a:gd name="connsiteY178" fmla="*/ 473786 h 485440"/>
                <a:gd name="connsiteX179" fmla="*/ 607270 w 3811655"/>
                <a:gd name="connsiteY179" fmla="*/ 474778 h 485440"/>
                <a:gd name="connsiteX180" fmla="*/ 590900 w 3811655"/>
                <a:gd name="connsiteY180" fmla="*/ 475274 h 485440"/>
                <a:gd name="connsiteX181" fmla="*/ 574529 w 3811655"/>
                <a:gd name="connsiteY181" fmla="*/ 474282 h 485440"/>
                <a:gd name="connsiteX182" fmla="*/ 558158 w 3811655"/>
                <a:gd name="connsiteY182" fmla="*/ 475274 h 485440"/>
                <a:gd name="connsiteX183" fmla="*/ 541788 w 3811655"/>
                <a:gd name="connsiteY183" fmla="*/ 475770 h 485440"/>
                <a:gd name="connsiteX184" fmla="*/ 525417 w 3811655"/>
                <a:gd name="connsiteY184" fmla="*/ 474282 h 485440"/>
                <a:gd name="connsiteX185" fmla="*/ 509047 w 3811655"/>
                <a:gd name="connsiteY185" fmla="*/ 473786 h 485440"/>
                <a:gd name="connsiteX186" fmla="*/ 492676 w 3811655"/>
                <a:gd name="connsiteY186" fmla="*/ 473786 h 485440"/>
                <a:gd name="connsiteX187" fmla="*/ 476306 w 3811655"/>
                <a:gd name="connsiteY187" fmla="*/ 474778 h 485440"/>
                <a:gd name="connsiteX188" fmla="*/ 459935 w 3811655"/>
                <a:gd name="connsiteY188" fmla="*/ 473786 h 485440"/>
                <a:gd name="connsiteX189" fmla="*/ 443565 w 3811655"/>
                <a:gd name="connsiteY189" fmla="*/ 474778 h 485440"/>
                <a:gd name="connsiteX190" fmla="*/ 427194 w 3811655"/>
                <a:gd name="connsiteY190" fmla="*/ 474282 h 485440"/>
                <a:gd name="connsiteX191" fmla="*/ 410823 w 3811655"/>
                <a:gd name="connsiteY191" fmla="*/ 473290 h 485440"/>
                <a:gd name="connsiteX192" fmla="*/ 394453 w 3811655"/>
                <a:gd name="connsiteY192" fmla="*/ 475770 h 485440"/>
                <a:gd name="connsiteX193" fmla="*/ 378082 w 3811655"/>
                <a:gd name="connsiteY193" fmla="*/ 475274 h 485440"/>
                <a:gd name="connsiteX194" fmla="*/ 361712 w 3811655"/>
                <a:gd name="connsiteY194" fmla="*/ 474778 h 485440"/>
                <a:gd name="connsiteX195" fmla="*/ 345341 w 3811655"/>
                <a:gd name="connsiteY195" fmla="*/ 476266 h 485440"/>
                <a:gd name="connsiteX196" fmla="*/ 328970 w 3811655"/>
                <a:gd name="connsiteY196" fmla="*/ 474282 h 485440"/>
                <a:gd name="connsiteX197" fmla="*/ 312600 w 3811655"/>
                <a:gd name="connsiteY197" fmla="*/ 475274 h 485440"/>
                <a:gd name="connsiteX198" fmla="*/ 296229 w 3811655"/>
                <a:gd name="connsiteY198" fmla="*/ 474282 h 485440"/>
                <a:gd name="connsiteX199" fmla="*/ 279859 w 3811655"/>
                <a:gd name="connsiteY199" fmla="*/ 475770 h 485440"/>
                <a:gd name="connsiteX200" fmla="*/ 263488 w 3811655"/>
                <a:gd name="connsiteY200" fmla="*/ 476266 h 485440"/>
                <a:gd name="connsiteX201" fmla="*/ 247118 w 3811655"/>
                <a:gd name="connsiteY201" fmla="*/ 476266 h 485440"/>
                <a:gd name="connsiteX202" fmla="*/ 230747 w 3811655"/>
                <a:gd name="connsiteY202" fmla="*/ 474778 h 485440"/>
                <a:gd name="connsiteX203" fmla="*/ 214376 w 3811655"/>
                <a:gd name="connsiteY203" fmla="*/ 474778 h 485440"/>
                <a:gd name="connsiteX204" fmla="*/ 198006 w 3811655"/>
                <a:gd name="connsiteY204" fmla="*/ 476762 h 485440"/>
                <a:gd name="connsiteX205" fmla="*/ 181635 w 3811655"/>
                <a:gd name="connsiteY205" fmla="*/ 476266 h 485440"/>
                <a:gd name="connsiteX206" fmla="*/ 165265 w 3811655"/>
                <a:gd name="connsiteY206" fmla="*/ 474778 h 485440"/>
                <a:gd name="connsiteX207" fmla="*/ 148894 w 3811655"/>
                <a:gd name="connsiteY207" fmla="*/ 476762 h 485440"/>
                <a:gd name="connsiteX208" fmla="*/ 132524 w 3811655"/>
                <a:gd name="connsiteY208" fmla="*/ 476266 h 485440"/>
                <a:gd name="connsiteX209" fmla="*/ 116153 w 3811655"/>
                <a:gd name="connsiteY209" fmla="*/ 475274 h 485440"/>
                <a:gd name="connsiteX210" fmla="*/ 99783 w 3811655"/>
                <a:gd name="connsiteY210" fmla="*/ 475274 h 485440"/>
                <a:gd name="connsiteX211" fmla="*/ 83412 w 3811655"/>
                <a:gd name="connsiteY211" fmla="*/ 475274 h 485440"/>
                <a:gd name="connsiteX212" fmla="*/ 67041 w 3811655"/>
                <a:gd name="connsiteY212" fmla="*/ 474778 h 485440"/>
                <a:gd name="connsiteX213" fmla="*/ 50671 w 3811655"/>
                <a:gd name="connsiteY213" fmla="*/ 475274 h 485440"/>
                <a:gd name="connsiteX214" fmla="*/ 34300 w 3811655"/>
                <a:gd name="connsiteY214" fmla="*/ 475274 h 485440"/>
                <a:gd name="connsiteX215" fmla="*/ 17930 w 3811655"/>
                <a:gd name="connsiteY215" fmla="*/ 475770 h 485440"/>
                <a:gd name="connsiteX216" fmla="*/ 567 w 3811655"/>
                <a:gd name="connsiteY216" fmla="*/ 475770 h 485440"/>
                <a:gd name="connsiteX217" fmla="*/ 12969 w 3811655"/>
                <a:gd name="connsiteY217" fmla="*/ 463368 h 485440"/>
                <a:gd name="connsiteX218" fmla="*/ 24379 w 3811655"/>
                <a:gd name="connsiteY218" fmla="*/ 451958 h 485440"/>
                <a:gd name="connsiteX219" fmla="*/ 35788 w 3811655"/>
                <a:gd name="connsiteY219" fmla="*/ 440053 h 485440"/>
                <a:gd name="connsiteX220" fmla="*/ 48686 w 3811655"/>
                <a:gd name="connsiteY220" fmla="*/ 430131 h 485440"/>
                <a:gd name="connsiteX221" fmla="*/ 59600 w 3811655"/>
                <a:gd name="connsiteY221" fmla="*/ 418225 h 485440"/>
                <a:gd name="connsiteX222" fmla="*/ 70514 w 3811655"/>
                <a:gd name="connsiteY222" fmla="*/ 405823 h 485440"/>
                <a:gd name="connsiteX223" fmla="*/ 83412 w 3811655"/>
                <a:gd name="connsiteY223" fmla="*/ 395406 h 485440"/>
                <a:gd name="connsiteX224" fmla="*/ 94822 w 3811655"/>
                <a:gd name="connsiteY224" fmla="*/ 383500 h 485440"/>
                <a:gd name="connsiteX225" fmla="*/ 106728 w 3811655"/>
                <a:gd name="connsiteY225" fmla="*/ 372090 h 485440"/>
                <a:gd name="connsiteX226" fmla="*/ 117145 w 3811655"/>
                <a:gd name="connsiteY226" fmla="*/ 359688 h 485440"/>
                <a:gd name="connsiteX227" fmla="*/ 128555 w 3811655"/>
                <a:gd name="connsiteY227" fmla="*/ 348278 h 485440"/>
                <a:gd name="connsiteX228" fmla="*/ 140461 w 3811655"/>
                <a:gd name="connsiteY228" fmla="*/ 336868 h 485440"/>
                <a:gd name="connsiteX229" fmla="*/ 152863 w 3811655"/>
                <a:gd name="connsiteY229" fmla="*/ 326451 h 485440"/>
                <a:gd name="connsiteX230" fmla="*/ 164769 w 3811655"/>
                <a:gd name="connsiteY230" fmla="*/ 315041 h 485440"/>
                <a:gd name="connsiteX231" fmla="*/ 176178 w 3811655"/>
                <a:gd name="connsiteY231" fmla="*/ 303135 h 485440"/>
                <a:gd name="connsiteX232" fmla="*/ 188084 w 3811655"/>
                <a:gd name="connsiteY232" fmla="*/ 291725 h 485440"/>
                <a:gd name="connsiteX233" fmla="*/ 199494 w 3811655"/>
                <a:gd name="connsiteY233" fmla="*/ 280315 h 485440"/>
                <a:gd name="connsiteX234" fmla="*/ 210904 w 3811655"/>
                <a:gd name="connsiteY234" fmla="*/ 268906 h 485440"/>
                <a:gd name="connsiteX235" fmla="*/ 221818 w 3811655"/>
                <a:gd name="connsiteY235" fmla="*/ 256504 h 485440"/>
                <a:gd name="connsiteX236" fmla="*/ 233724 w 3811655"/>
                <a:gd name="connsiteY236" fmla="*/ 245094 h 485440"/>
                <a:gd name="connsiteX237" fmla="*/ 244141 w 3811655"/>
                <a:gd name="connsiteY237" fmla="*/ 232692 h 485440"/>
                <a:gd name="connsiteX238" fmla="*/ 257039 w 3811655"/>
                <a:gd name="connsiteY238" fmla="*/ 222770 h 485440"/>
                <a:gd name="connsiteX239" fmla="*/ 266961 w 3811655"/>
                <a:gd name="connsiteY239" fmla="*/ 209376 h 485440"/>
                <a:gd name="connsiteX240" fmla="*/ 278371 w 3811655"/>
                <a:gd name="connsiteY240" fmla="*/ 197966 h 485440"/>
                <a:gd name="connsiteX241" fmla="*/ 291269 w 3811655"/>
                <a:gd name="connsiteY241" fmla="*/ 188045 h 485440"/>
                <a:gd name="connsiteX242" fmla="*/ 301686 w 3811655"/>
                <a:gd name="connsiteY242" fmla="*/ 175147 h 485440"/>
                <a:gd name="connsiteX243" fmla="*/ 313592 w 3811655"/>
                <a:gd name="connsiteY243" fmla="*/ 163737 h 485440"/>
                <a:gd name="connsiteX244" fmla="*/ 325994 w 3811655"/>
                <a:gd name="connsiteY244" fmla="*/ 153319 h 485440"/>
                <a:gd name="connsiteX245" fmla="*/ 337404 w 3811655"/>
                <a:gd name="connsiteY245" fmla="*/ 141910 h 485440"/>
                <a:gd name="connsiteX246" fmla="*/ 347325 w 3811655"/>
                <a:gd name="connsiteY246" fmla="*/ 129012 h 485440"/>
                <a:gd name="connsiteX247" fmla="*/ 360224 w 3811655"/>
                <a:gd name="connsiteY247" fmla="*/ 118594 h 485440"/>
                <a:gd name="connsiteX248" fmla="*/ 371137 w 3811655"/>
                <a:gd name="connsiteY248" fmla="*/ 106192 h 485440"/>
                <a:gd name="connsiteX249" fmla="*/ 382051 w 3811655"/>
                <a:gd name="connsiteY249" fmla="*/ 93790 h 485440"/>
                <a:gd name="connsiteX250" fmla="*/ 393957 w 3811655"/>
                <a:gd name="connsiteY250" fmla="*/ 82380 h 485440"/>
                <a:gd name="connsiteX251" fmla="*/ 405366 w 3811655"/>
                <a:gd name="connsiteY251" fmla="*/ 70475 h 485440"/>
                <a:gd name="connsiteX252" fmla="*/ 417272 w 3811655"/>
                <a:gd name="connsiteY252" fmla="*/ 59561 h 485440"/>
                <a:gd name="connsiteX253" fmla="*/ 429674 w 3811655"/>
                <a:gd name="connsiteY253" fmla="*/ 48647 h 485440"/>
                <a:gd name="connsiteX254" fmla="*/ 440092 w 3811655"/>
                <a:gd name="connsiteY254" fmla="*/ 35749 h 485440"/>
                <a:gd name="connsiteX255" fmla="*/ 452494 w 3811655"/>
                <a:gd name="connsiteY255" fmla="*/ 24835 h 485440"/>
                <a:gd name="connsiteX256" fmla="*/ 463904 w 3811655"/>
                <a:gd name="connsiteY256" fmla="*/ 12929 h 485440"/>
                <a:gd name="connsiteX257" fmla="*/ 475313 w 3811655"/>
                <a:gd name="connsiteY257" fmla="*/ 1024 h 485440"/>
                <a:gd name="connsiteX258" fmla="*/ 491684 w 3811655"/>
                <a:gd name="connsiteY258" fmla="*/ 2512 h 485440"/>
                <a:gd name="connsiteX259" fmla="*/ 508055 w 3811655"/>
                <a:gd name="connsiteY259" fmla="*/ 2512 h 485440"/>
                <a:gd name="connsiteX260" fmla="*/ 524425 w 3811655"/>
                <a:gd name="connsiteY260" fmla="*/ 2512 h 485440"/>
                <a:gd name="connsiteX261" fmla="*/ 540796 w 3811655"/>
                <a:gd name="connsiteY261" fmla="*/ 1024 h 485440"/>
                <a:gd name="connsiteX262" fmla="*/ 557166 w 3811655"/>
                <a:gd name="connsiteY262" fmla="*/ 2512 h 485440"/>
                <a:gd name="connsiteX263" fmla="*/ 573537 w 3811655"/>
                <a:gd name="connsiteY263" fmla="*/ 1024 h 485440"/>
                <a:gd name="connsiteX264" fmla="*/ 589908 w 3811655"/>
                <a:gd name="connsiteY264" fmla="*/ 527 h 485440"/>
                <a:gd name="connsiteX265" fmla="*/ 606278 w 3811655"/>
                <a:gd name="connsiteY265" fmla="*/ 1520 h 485440"/>
                <a:gd name="connsiteX266" fmla="*/ 622649 w 3811655"/>
                <a:gd name="connsiteY266" fmla="*/ 1520 h 485440"/>
                <a:gd name="connsiteX267" fmla="*/ 639019 w 3811655"/>
                <a:gd name="connsiteY267" fmla="*/ 2016 h 485440"/>
                <a:gd name="connsiteX268" fmla="*/ 655390 w 3811655"/>
                <a:gd name="connsiteY268" fmla="*/ 527 h 485440"/>
                <a:gd name="connsiteX269" fmla="*/ 671760 w 3811655"/>
                <a:gd name="connsiteY269" fmla="*/ 1520 h 485440"/>
                <a:gd name="connsiteX270" fmla="*/ 688131 w 3811655"/>
                <a:gd name="connsiteY270" fmla="*/ 2512 h 485440"/>
                <a:gd name="connsiteX271" fmla="*/ 704501 w 3811655"/>
                <a:gd name="connsiteY271" fmla="*/ 1024 h 485440"/>
                <a:gd name="connsiteX272" fmla="*/ 720872 w 3811655"/>
                <a:gd name="connsiteY272" fmla="*/ 1520 h 485440"/>
                <a:gd name="connsiteX273" fmla="*/ 737243 w 3811655"/>
                <a:gd name="connsiteY273" fmla="*/ 2016 h 485440"/>
                <a:gd name="connsiteX274" fmla="*/ 753613 w 3811655"/>
                <a:gd name="connsiteY274" fmla="*/ 1024 h 485440"/>
                <a:gd name="connsiteX275" fmla="*/ 769984 w 3811655"/>
                <a:gd name="connsiteY275" fmla="*/ 527 h 485440"/>
                <a:gd name="connsiteX276" fmla="*/ 786354 w 3811655"/>
                <a:gd name="connsiteY276" fmla="*/ 1520 h 485440"/>
                <a:gd name="connsiteX277" fmla="*/ 802725 w 3811655"/>
                <a:gd name="connsiteY277" fmla="*/ 527 h 485440"/>
                <a:gd name="connsiteX278" fmla="*/ 819096 w 3811655"/>
                <a:gd name="connsiteY278" fmla="*/ 2512 h 485440"/>
                <a:gd name="connsiteX279" fmla="*/ 835466 w 3811655"/>
                <a:gd name="connsiteY279" fmla="*/ 527 h 485440"/>
                <a:gd name="connsiteX280" fmla="*/ 851837 w 3811655"/>
                <a:gd name="connsiteY280" fmla="*/ 1520 h 485440"/>
                <a:gd name="connsiteX281" fmla="*/ 868207 w 3811655"/>
                <a:gd name="connsiteY281" fmla="*/ 2016 h 485440"/>
                <a:gd name="connsiteX282" fmla="*/ 884578 w 3811655"/>
                <a:gd name="connsiteY282" fmla="*/ 2512 h 485440"/>
                <a:gd name="connsiteX283" fmla="*/ 900948 w 3811655"/>
                <a:gd name="connsiteY283" fmla="*/ 1520 h 485440"/>
                <a:gd name="connsiteX284" fmla="*/ 917319 w 3811655"/>
                <a:gd name="connsiteY284" fmla="*/ 1024 h 485440"/>
                <a:gd name="connsiteX285" fmla="*/ 933689 w 3811655"/>
                <a:gd name="connsiteY285" fmla="*/ 2512 h 485440"/>
                <a:gd name="connsiteX286" fmla="*/ 950060 w 3811655"/>
                <a:gd name="connsiteY286" fmla="*/ 1520 h 485440"/>
                <a:gd name="connsiteX287" fmla="*/ 966431 w 3811655"/>
                <a:gd name="connsiteY287" fmla="*/ 2016 h 485440"/>
                <a:gd name="connsiteX288" fmla="*/ 982801 w 3811655"/>
                <a:gd name="connsiteY288" fmla="*/ 2512 h 485440"/>
                <a:gd name="connsiteX289" fmla="*/ 999172 w 3811655"/>
                <a:gd name="connsiteY289" fmla="*/ 1520 h 485440"/>
                <a:gd name="connsiteX290" fmla="*/ 1015542 w 3811655"/>
                <a:gd name="connsiteY290" fmla="*/ 2512 h 485440"/>
                <a:gd name="connsiteX291" fmla="*/ 1031913 w 3811655"/>
                <a:gd name="connsiteY291" fmla="*/ 1520 h 485440"/>
                <a:gd name="connsiteX292" fmla="*/ 1048283 w 3811655"/>
                <a:gd name="connsiteY292" fmla="*/ 2016 h 485440"/>
                <a:gd name="connsiteX293" fmla="*/ 1064654 w 3811655"/>
                <a:gd name="connsiteY293" fmla="*/ 3504 h 485440"/>
                <a:gd name="connsiteX294" fmla="*/ 1081025 w 3811655"/>
                <a:gd name="connsiteY294" fmla="*/ 2016 h 485440"/>
                <a:gd name="connsiteX295" fmla="*/ 1097395 w 3811655"/>
                <a:gd name="connsiteY295" fmla="*/ 2512 h 485440"/>
                <a:gd name="connsiteX296" fmla="*/ 1113766 w 3811655"/>
                <a:gd name="connsiteY296" fmla="*/ 2512 h 485440"/>
                <a:gd name="connsiteX297" fmla="*/ 1130136 w 3811655"/>
                <a:gd name="connsiteY297" fmla="*/ 3504 h 485440"/>
                <a:gd name="connsiteX298" fmla="*/ 1146507 w 3811655"/>
                <a:gd name="connsiteY298" fmla="*/ 1520 h 485440"/>
                <a:gd name="connsiteX299" fmla="*/ 1162878 w 3811655"/>
                <a:gd name="connsiteY299" fmla="*/ 3008 h 485440"/>
                <a:gd name="connsiteX300" fmla="*/ 1179248 w 3811655"/>
                <a:gd name="connsiteY300" fmla="*/ 4000 h 485440"/>
                <a:gd name="connsiteX301" fmla="*/ 1195619 w 3811655"/>
                <a:gd name="connsiteY301" fmla="*/ 3504 h 485440"/>
                <a:gd name="connsiteX302" fmla="*/ 1211989 w 3811655"/>
                <a:gd name="connsiteY302" fmla="*/ 1520 h 485440"/>
                <a:gd name="connsiteX303" fmla="*/ 1228360 w 3811655"/>
                <a:gd name="connsiteY303" fmla="*/ 3504 h 485440"/>
                <a:gd name="connsiteX304" fmla="*/ 1244730 w 3811655"/>
                <a:gd name="connsiteY304" fmla="*/ 1520 h 485440"/>
                <a:gd name="connsiteX305" fmla="*/ 1261101 w 3811655"/>
                <a:gd name="connsiteY305" fmla="*/ 2512 h 485440"/>
                <a:gd name="connsiteX306" fmla="*/ 1277471 w 3811655"/>
                <a:gd name="connsiteY306" fmla="*/ 3504 h 485440"/>
                <a:gd name="connsiteX307" fmla="*/ 1293842 w 3811655"/>
                <a:gd name="connsiteY307" fmla="*/ 4000 h 485440"/>
                <a:gd name="connsiteX308" fmla="*/ 1310213 w 3811655"/>
                <a:gd name="connsiteY308" fmla="*/ 1520 h 485440"/>
                <a:gd name="connsiteX309" fmla="*/ 1326583 w 3811655"/>
                <a:gd name="connsiteY309" fmla="*/ 2016 h 485440"/>
                <a:gd name="connsiteX310" fmla="*/ 1342954 w 3811655"/>
                <a:gd name="connsiteY310" fmla="*/ 3008 h 485440"/>
                <a:gd name="connsiteX311" fmla="*/ 1359324 w 3811655"/>
                <a:gd name="connsiteY311" fmla="*/ 3008 h 485440"/>
                <a:gd name="connsiteX312" fmla="*/ 1375695 w 3811655"/>
                <a:gd name="connsiteY312" fmla="*/ 2512 h 485440"/>
                <a:gd name="connsiteX313" fmla="*/ 1392066 w 3811655"/>
                <a:gd name="connsiteY313" fmla="*/ 2512 h 485440"/>
                <a:gd name="connsiteX314" fmla="*/ 1408436 w 3811655"/>
                <a:gd name="connsiteY314" fmla="*/ 3504 h 485440"/>
                <a:gd name="connsiteX315" fmla="*/ 1424807 w 3811655"/>
                <a:gd name="connsiteY315" fmla="*/ 3504 h 485440"/>
                <a:gd name="connsiteX316" fmla="*/ 1441177 w 3811655"/>
                <a:gd name="connsiteY316" fmla="*/ 1520 h 485440"/>
                <a:gd name="connsiteX317" fmla="*/ 1457548 w 3811655"/>
                <a:gd name="connsiteY317" fmla="*/ 2512 h 485440"/>
                <a:gd name="connsiteX318" fmla="*/ 1473919 w 3811655"/>
                <a:gd name="connsiteY318" fmla="*/ 2016 h 485440"/>
                <a:gd name="connsiteX319" fmla="*/ 1490289 w 3811655"/>
                <a:gd name="connsiteY319" fmla="*/ 2016 h 485440"/>
                <a:gd name="connsiteX320" fmla="*/ 1506660 w 3811655"/>
                <a:gd name="connsiteY320" fmla="*/ 1520 h 485440"/>
                <a:gd name="connsiteX321" fmla="*/ 1523030 w 3811655"/>
                <a:gd name="connsiteY321" fmla="*/ 3504 h 485440"/>
                <a:gd name="connsiteX322" fmla="*/ 1539401 w 3811655"/>
                <a:gd name="connsiteY322" fmla="*/ 3008 h 485440"/>
                <a:gd name="connsiteX323" fmla="*/ 1555771 w 3811655"/>
                <a:gd name="connsiteY323" fmla="*/ 3008 h 485440"/>
                <a:gd name="connsiteX324" fmla="*/ 1572142 w 3811655"/>
                <a:gd name="connsiteY324" fmla="*/ 2512 h 485440"/>
                <a:gd name="connsiteX325" fmla="*/ 1588512 w 3811655"/>
                <a:gd name="connsiteY325" fmla="*/ 2016 h 485440"/>
                <a:gd name="connsiteX326" fmla="*/ 1604883 w 3811655"/>
                <a:gd name="connsiteY326" fmla="*/ 3008 h 485440"/>
                <a:gd name="connsiteX327" fmla="*/ 1621253 w 3811655"/>
                <a:gd name="connsiteY327" fmla="*/ 3008 h 485440"/>
                <a:gd name="connsiteX328" fmla="*/ 1637624 w 3811655"/>
                <a:gd name="connsiteY328" fmla="*/ 2512 h 485440"/>
                <a:gd name="connsiteX0" fmla="*/ 3785642 w 3785642"/>
                <a:gd name="connsiteY0" fmla="*/ 462376 h 479077"/>
                <a:gd name="connsiteX1" fmla="*/ 3313375 w 3785642"/>
                <a:gd name="connsiteY1" fmla="*/ 10945 h 479077"/>
                <a:gd name="connsiteX2" fmla="*/ 3300973 w 3785642"/>
                <a:gd name="connsiteY2" fmla="*/ 21363 h 479077"/>
                <a:gd name="connsiteX3" fmla="*/ 3289068 w 3785642"/>
                <a:gd name="connsiteY3" fmla="*/ 32276 h 479077"/>
                <a:gd name="connsiteX4" fmla="*/ 3277658 w 3785642"/>
                <a:gd name="connsiteY4" fmla="*/ 43686 h 479077"/>
                <a:gd name="connsiteX5" fmla="*/ 3266248 w 3785642"/>
                <a:gd name="connsiteY5" fmla="*/ 55592 h 479077"/>
                <a:gd name="connsiteX6" fmla="*/ 3255830 w 3785642"/>
                <a:gd name="connsiteY6" fmla="*/ 68490 h 479077"/>
                <a:gd name="connsiteX7" fmla="*/ 3243924 w 3785642"/>
                <a:gd name="connsiteY7" fmla="*/ 79900 h 479077"/>
                <a:gd name="connsiteX8" fmla="*/ 3231522 w 3785642"/>
                <a:gd name="connsiteY8" fmla="*/ 90814 h 479077"/>
                <a:gd name="connsiteX9" fmla="*/ 3220609 w 3785642"/>
                <a:gd name="connsiteY9" fmla="*/ 102720 h 479077"/>
                <a:gd name="connsiteX10" fmla="*/ 3208207 w 3785642"/>
                <a:gd name="connsiteY10" fmla="*/ 113137 h 479077"/>
                <a:gd name="connsiteX11" fmla="*/ 3197293 w 3785642"/>
                <a:gd name="connsiteY11" fmla="*/ 125043 h 479077"/>
                <a:gd name="connsiteX12" fmla="*/ 3185387 w 3785642"/>
                <a:gd name="connsiteY12" fmla="*/ 136453 h 479077"/>
                <a:gd name="connsiteX13" fmla="*/ 3174970 w 3785642"/>
                <a:gd name="connsiteY13" fmla="*/ 148855 h 479077"/>
                <a:gd name="connsiteX14" fmla="*/ 3162071 w 3785642"/>
                <a:gd name="connsiteY14" fmla="*/ 159272 h 479077"/>
                <a:gd name="connsiteX15" fmla="*/ 3151158 w 3785642"/>
                <a:gd name="connsiteY15" fmla="*/ 171674 h 479077"/>
                <a:gd name="connsiteX16" fmla="*/ 3139252 w 3785642"/>
                <a:gd name="connsiteY16" fmla="*/ 182588 h 479077"/>
                <a:gd name="connsiteX17" fmla="*/ 3127843 w 3785642"/>
                <a:gd name="connsiteY17" fmla="*/ 194494 h 479077"/>
                <a:gd name="connsiteX18" fmla="*/ 3116432 w 3785642"/>
                <a:gd name="connsiteY18" fmla="*/ 205904 h 479077"/>
                <a:gd name="connsiteX19" fmla="*/ 3105022 w 3785642"/>
                <a:gd name="connsiteY19" fmla="*/ 217810 h 479077"/>
                <a:gd name="connsiteX20" fmla="*/ 3093117 w 3785642"/>
                <a:gd name="connsiteY20" fmla="*/ 229219 h 479077"/>
                <a:gd name="connsiteX21" fmla="*/ 3081707 w 3785642"/>
                <a:gd name="connsiteY21" fmla="*/ 240629 h 479077"/>
                <a:gd name="connsiteX22" fmla="*/ 3069305 w 3785642"/>
                <a:gd name="connsiteY22" fmla="*/ 251543 h 479077"/>
                <a:gd name="connsiteX23" fmla="*/ 3057895 w 3785642"/>
                <a:gd name="connsiteY23" fmla="*/ 263449 h 479077"/>
                <a:gd name="connsiteX24" fmla="*/ 3046486 w 3785642"/>
                <a:gd name="connsiteY24" fmla="*/ 275355 h 479077"/>
                <a:gd name="connsiteX25" fmla="*/ 3035572 w 3785642"/>
                <a:gd name="connsiteY25" fmla="*/ 287260 h 479077"/>
                <a:gd name="connsiteX26" fmla="*/ 3024658 w 3785642"/>
                <a:gd name="connsiteY26" fmla="*/ 299166 h 479077"/>
                <a:gd name="connsiteX27" fmla="*/ 3013248 w 3785642"/>
                <a:gd name="connsiteY27" fmla="*/ 311072 h 479077"/>
                <a:gd name="connsiteX28" fmla="*/ 3000350 w 3785642"/>
                <a:gd name="connsiteY28" fmla="*/ 321490 h 479077"/>
                <a:gd name="connsiteX29" fmla="*/ 2988941 w 3785642"/>
                <a:gd name="connsiteY29" fmla="*/ 333396 h 479077"/>
                <a:gd name="connsiteX30" fmla="*/ 2976539 w 3785642"/>
                <a:gd name="connsiteY30" fmla="*/ 344309 h 479077"/>
                <a:gd name="connsiteX31" fmla="*/ 2965129 w 3785642"/>
                <a:gd name="connsiteY31" fmla="*/ 356215 h 479077"/>
                <a:gd name="connsiteX32" fmla="*/ 2953223 w 3785642"/>
                <a:gd name="connsiteY32" fmla="*/ 367625 h 479077"/>
                <a:gd name="connsiteX33" fmla="*/ 2941813 w 3785642"/>
                <a:gd name="connsiteY33" fmla="*/ 379531 h 479077"/>
                <a:gd name="connsiteX34" fmla="*/ 2931395 w 3785642"/>
                <a:gd name="connsiteY34" fmla="*/ 392429 h 479077"/>
                <a:gd name="connsiteX35" fmla="*/ 2918497 w 3785642"/>
                <a:gd name="connsiteY35" fmla="*/ 402847 h 479077"/>
                <a:gd name="connsiteX36" fmla="*/ 2907584 w 3785642"/>
                <a:gd name="connsiteY36" fmla="*/ 415249 h 479077"/>
                <a:gd name="connsiteX37" fmla="*/ 2896174 w 3785642"/>
                <a:gd name="connsiteY37" fmla="*/ 426658 h 479077"/>
                <a:gd name="connsiteX38" fmla="*/ 2884268 w 3785642"/>
                <a:gd name="connsiteY38" fmla="*/ 438068 h 479077"/>
                <a:gd name="connsiteX39" fmla="*/ 2873354 w 3785642"/>
                <a:gd name="connsiteY39" fmla="*/ 450470 h 479077"/>
                <a:gd name="connsiteX40" fmla="*/ 2860952 w 3785642"/>
                <a:gd name="connsiteY40" fmla="*/ 461384 h 479077"/>
                <a:gd name="connsiteX41" fmla="*/ 2850039 w 3785642"/>
                <a:gd name="connsiteY41" fmla="*/ 473786 h 479077"/>
                <a:gd name="connsiteX42" fmla="*/ 2833668 w 3785642"/>
                <a:gd name="connsiteY42" fmla="*/ 473786 h 479077"/>
                <a:gd name="connsiteX43" fmla="*/ 2817297 w 3785642"/>
                <a:gd name="connsiteY43" fmla="*/ 473290 h 479077"/>
                <a:gd name="connsiteX44" fmla="*/ 2800927 w 3785642"/>
                <a:gd name="connsiteY44" fmla="*/ 473290 h 479077"/>
                <a:gd name="connsiteX45" fmla="*/ 2784556 w 3785642"/>
                <a:gd name="connsiteY45" fmla="*/ 473786 h 479077"/>
                <a:gd name="connsiteX46" fmla="*/ 2768186 w 3785642"/>
                <a:gd name="connsiteY46" fmla="*/ 474282 h 479077"/>
                <a:gd name="connsiteX47" fmla="*/ 2751815 w 3785642"/>
                <a:gd name="connsiteY47" fmla="*/ 474282 h 479077"/>
                <a:gd name="connsiteX48" fmla="*/ 2735444 w 3785642"/>
                <a:gd name="connsiteY48" fmla="*/ 473290 h 479077"/>
                <a:gd name="connsiteX49" fmla="*/ 2719074 w 3785642"/>
                <a:gd name="connsiteY49" fmla="*/ 474282 h 479077"/>
                <a:gd name="connsiteX50" fmla="*/ 2702703 w 3785642"/>
                <a:gd name="connsiteY50" fmla="*/ 472298 h 479077"/>
                <a:gd name="connsiteX51" fmla="*/ 2686333 w 3785642"/>
                <a:gd name="connsiteY51" fmla="*/ 472794 h 479077"/>
                <a:gd name="connsiteX52" fmla="*/ 2669962 w 3785642"/>
                <a:gd name="connsiteY52" fmla="*/ 474282 h 479077"/>
                <a:gd name="connsiteX53" fmla="*/ 2653592 w 3785642"/>
                <a:gd name="connsiteY53" fmla="*/ 472298 h 479077"/>
                <a:gd name="connsiteX54" fmla="*/ 2637221 w 3785642"/>
                <a:gd name="connsiteY54" fmla="*/ 474282 h 479077"/>
                <a:gd name="connsiteX55" fmla="*/ 2620851 w 3785642"/>
                <a:gd name="connsiteY55" fmla="*/ 474282 h 479077"/>
                <a:gd name="connsiteX56" fmla="*/ 2604480 w 3785642"/>
                <a:gd name="connsiteY56" fmla="*/ 472298 h 479077"/>
                <a:gd name="connsiteX57" fmla="*/ 2588109 w 3785642"/>
                <a:gd name="connsiteY57" fmla="*/ 473786 h 479077"/>
                <a:gd name="connsiteX58" fmla="*/ 2571739 w 3785642"/>
                <a:gd name="connsiteY58" fmla="*/ 472298 h 479077"/>
                <a:gd name="connsiteX59" fmla="*/ 2555368 w 3785642"/>
                <a:gd name="connsiteY59" fmla="*/ 473290 h 479077"/>
                <a:gd name="connsiteX60" fmla="*/ 2538998 w 3785642"/>
                <a:gd name="connsiteY60" fmla="*/ 474282 h 479077"/>
                <a:gd name="connsiteX61" fmla="*/ 2522627 w 3785642"/>
                <a:gd name="connsiteY61" fmla="*/ 473290 h 479077"/>
                <a:gd name="connsiteX62" fmla="*/ 2506257 w 3785642"/>
                <a:gd name="connsiteY62" fmla="*/ 474282 h 479077"/>
                <a:gd name="connsiteX63" fmla="*/ 2489886 w 3785642"/>
                <a:gd name="connsiteY63" fmla="*/ 473786 h 479077"/>
                <a:gd name="connsiteX64" fmla="*/ 2473516 w 3785642"/>
                <a:gd name="connsiteY64" fmla="*/ 474282 h 479077"/>
                <a:gd name="connsiteX65" fmla="*/ 2457145 w 3785642"/>
                <a:gd name="connsiteY65" fmla="*/ 472794 h 479077"/>
                <a:gd name="connsiteX66" fmla="*/ 2440775 w 3785642"/>
                <a:gd name="connsiteY66" fmla="*/ 472298 h 479077"/>
                <a:gd name="connsiteX67" fmla="*/ 2424404 w 3785642"/>
                <a:gd name="connsiteY67" fmla="*/ 473786 h 479077"/>
                <a:gd name="connsiteX68" fmla="*/ 2408033 w 3785642"/>
                <a:gd name="connsiteY68" fmla="*/ 472794 h 479077"/>
                <a:gd name="connsiteX69" fmla="*/ 2391663 w 3785642"/>
                <a:gd name="connsiteY69" fmla="*/ 473290 h 479077"/>
                <a:gd name="connsiteX70" fmla="*/ 2375292 w 3785642"/>
                <a:gd name="connsiteY70" fmla="*/ 473290 h 479077"/>
                <a:gd name="connsiteX71" fmla="*/ 2358922 w 3785642"/>
                <a:gd name="connsiteY71" fmla="*/ 472794 h 479077"/>
                <a:gd name="connsiteX72" fmla="*/ 2342551 w 3785642"/>
                <a:gd name="connsiteY72" fmla="*/ 472298 h 479077"/>
                <a:gd name="connsiteX73" fmla="*/ 2326180 w 3785642"/>
                <a:gd name="connsiteY73" fmla="*/ 473786 h 479077"/>
                <a:gd name="connsiteX74" fmla="*/ 2309810 w 3785642"/>
                <a:gd name="connsiteY74" fmla="*/ 473786 h 479077"/>
                <a:gd name="connsiteX75" fmla="*/ 2293439 w 3785642"/>
                <a:gd name="connsiteY75" fmla="*/ 473786 h 479077"/>
                <a:gd name="connsiteX76" fmla="*/ 2277069 w 3785642"/>
                <a:gd name="connsiteY76" fmla="*/ 472794 h 479077"/>
                <a:gd name="connsiteX77" fmla="*/ 2260698 w 3785642"/>
                <a:gd name="connsiteY77" fmla="*/ 474282 h 479077"/>
                <a:gd name="connsiteX78" fmla="*/ 2244327 w 3785642"/>
                <a:gd name="connsiteY78" fmla="*/ 472298 h 479077"/>
                <a:gd name="connsiteX79" fmla="*/ 2227957 w 3785642"/>
                <a:gd name="connsiteY79" fmla="*/ 474282 h 479077"/>
                <a:gd name="connsiteX80" fmla="*/ 2211586 w 3785642"/>
                <a:gd name="connsiteY80" fmla="*/ 473290 h 479077"/>
                <a:gd name="connsiteX81" fmla="*/ 2195216 w 3785642"/>
                <a:gd name="connsiteY81" fmla="*/ 474282 h 479077"/>
                <a:gd name="connsiteX82" fmla="*/ 2178845 w 3785642"/>
                <a:gd name="connsiteY82" fmla="*/ 472794 h 479077"/>
                <a:gd name="connsiteX83" fmla="*/ 2162474 w 3785642"/>
                <a:gd name="connsiteY83" fmla="*/ 474778 h 479077"/>
                <a:gd name="connsiteX84" fmla="*/ 2146104 w 3785642"/>
                <a:gd name="connsiteY84" fmla="*/ 473290 h 479077"/>
                <a:gd name="connsiteX85" fmla="*/ 2129733 w 3785642"/>
                <a:gd name="connsiteY85" fmla="*/ 474778 h 479077"/>
                <a:gd name="connsiteX86" fmla="*/ 2113363 w 3785642"/>
                <a:gd name="connsiteY86" fmla="*/ 474778 h 479077"/>
                <a:gd name="connsiteX87" fmla="*/ 2096992 w 3785642"/>
                <a:gd name="connsiteY87" fmla="*/ 474778 h 479077"/>
                <a:gd name="connsiteX88" fmla="*/ 2080621 w 3785642"/>
                <a:gd name="connsiteY88" fmla="*/ 474282 h 479077"/>
                <a:gd name="connsiteX89" fmla="*/ 2064251 w 3785642"/>
                <a:gd name="connsiteY89" fmla="*/ 472794 h 479077"/>
                <a:gd name="connsiteX90" fmla="*/ 2047880 w 3785642"/>
                <a:gd name="connsiteY90" fmla="*/ 474778 h 479077"/>
                <a:gd name="connsiteX91" fmla="*/ 2031510 w 3785642"/>
                <a:gd name="connsiteY91" fmla="*/ 474778 h 479077"/>
                <a:gd name="connsiteX92" fmla="*/ 2015139 w 3785642"/>
                <a:gd name="connsiteY92" fmla="*/ 474778 h 479077"/>
                <a:gd name="connsiteX93" fmla="*/ 1998769 w 3785642"/>
                <a:gd name="connsiteY93" fmla="*/ 474282 h 479077"/>
                <a:gd name="connsiteX94" fmla="*/ 1982398 w 3785642"/>
                <a:gd name="connsiteY94" fmla="*/ 473786 h 479077"/>
                <a:gd name="connsiteX95" fmla="*/ 1966028 w 3785642"/>
                <a:gd name="connsiteY95" fmla="*/ 473786 h 479077"/>
                <a:gd name="connsiteX96" fmla="*/ 1949657 w 3785642"/>
                <a:gd name="connsiteY96" fmla="*/ 472794 h 479077"/>
                <a:gd name="connsiteX97" fmla="*/ 1933287 w 3785642"/>
                <a:gd name="connsiteY97" fmla="*/ 473290 h 479077"/>
                <a:gd name="connsiteX98" fmla="*/ 1916916 w 3785642"/>
                <a:gd name="connsiteY98" fmla="*/ 474778 h 479077"/>
                <a:gd name="connsiteX99" fmla="*/ 1900546 w 3785642"/>
                <a:gd name="connsiteY99" fmla="*/ 472794 h 479077"/>
                <a:gd name="connsiteX100" fmla="*/ 1884175 w 3785642"/>
                <a:gd name="connsiteY100" fmla="*/ 473786 h 479077"/>
                <a:gd name="connsiteX101" fmla="*/ 1867804 w 3785642"/>
                <a:gd name="connsiteY101" fmla="*/ 474778 h 479077"/>
                <a:gd name="connsiteX102" fmla="*/ 1851434 w 3785642"/>
                <a:gd name="connsiteY102" fmla="*/ 474778 h 479077"/>
                <a:gd name="connsiteX103" fmla="*/ 1835063 w 3785642"/>
                <a:gd name="connsiteY103" fmla="*/ 474778 h 479077"/>
                <a:gd name="connsiteX104" fmla="*/ 1818693 w 3785642"/>
                <a:gd name="connsiteY104" fmla="*/ 474282 h 479077"/>
                <a:gd name="connsiteX105" fmla="*/ 1802322 w 3785642"/>
                <a:gd name="connsiteY105" fmla="*/ 472794 h 479077"/>
                <a:gd name="connsiteX106" fmla="*/ 1785951 w 3785642"/>
                <a:gd name="connsiteY106" fmla="*/ 473786 h 479077"/>
                <a:gd name="connsiteX107" fmla="*/ 1769581 w 3785642"/>
                <a:gd name="connsiteY107" fmla="*/ 473290 h 479077"/>
                <a:gd name="connsiteX108" fmla="*/ 1753210 w 3785642"/>
                <a:gd name="connsiteY108" fmla="*/ 472298 h 479077"/>
                <a:gd name="connsiteX109" fmla="*/ 1736840 w 3785642"/>
                <a:gd name="connsiteY109" fmla="*/ 473290 h 479077"/>
                <a:gd name="connsiteX110" fmla="*/ 1720469 w 3785642"/>
                <a:gd name="connsiteY110" fmla="*/ 474778 h 479077"/>
                <a:gd name="connsiteX111" fmla="*/ 1704098 w 3785642"/>
                <a:gd name="connsiteY111" fmla="*/ 472794 h 479077"/>
                <a:gd name="connsiteX112" fmla="*/ 1687728 w 3785642"/>
                <a:gd name="connsiteY112" fmla="*/ 474778 h 479077"/>
                <a:gd name="connsiteX113" fmla="*/ 1671357 w 3785642"/>
                <a:gd name="connsiteY113" fmla="*/ 474778 h 479077"/>
                <a:gd name="connsiteX114" fmla="*/ 1654987 w 3785642"/>
                <a:gd name="connsiteY114" fmla="*/ 472298 h 479077"/>
                <a:gd name="connsiteX115" fmla="*/ 1638616 w 3785642"/>
                <a:gd name="connsiteY115" fmla="*/ 472794 h 479077"/>
                <a:gd name="connsiteX116" fmla="*/ 1622246 w 3785642"/>
                <a:gd name="connsiteY116" fmla="*/ 473786 h 479077"/>
                <a:gd name="connsiteX117" fmla="*/ 1605875 w 3785642"/>
                <a:gd name="connsiteY117" fmla="*/ 474778 h 479077"/>
                <a:gd name="connsiteX118" fmla="*/ 1589505 w 3785642"/>
                <a:gd name="connsiteY118" fmla="*/ 473290 h 479077"/>
                <a:gd name="connsiteX119" fmla="*/ 1573134 w 3785642"/>
                <a:gd name="connsiteY119" fmla="*/ 474778 h 479077"/>
                <a:gd name="connsiteX120" fmla="*/ 1556763 w 3785642"/>
                <a:gd name="connsiteY120" fmla="*/ 472794 h 479077"/>
                <a:gd name="connsiteX121" fmla="*/ 1540393 w 3785642"/>
                <a:gd name="connsiteY121" fmla="*/ 472794 h 479077"/>
                <a:gd name="connsiteX122" fmla="*/ 1524022 w 3785642"/>
                <a:gd name="connsiteY122" fmla="*/ 474282 h 479077"/>
                <a:gd name="connsiteX123" fmla="*/ 1507652 w 3785642"/>
                <a:gd name="connsiteY123" fmla="*/ 472794 h 479077"/>
                <a:gd name="connsiteX124" fmla="*/ 1491281 w 3785642"/>
                <a:gd name="connsiteY124" fmla="*/ 474282 h 479077"/>
                <a:gd name="connsiteX125" fmla="*/ 1474910 w 3785642"/>
                <a:gd name="connsiteY125" fmla="*/ 474282 h 479077"/>
                <a:gd name="connsiteX126" fmla="*/ 1458540 w 3785642"/>
                <a:gd name="connsiteY126" fmla="*/ 472794 h 479077"/>
                <a:gd name="connsiteX127" fmla="*/ 1442169 w 3785642"/>
                <a:gd name="connsiteY127" fmla="*/ 471802 h 479077"/>
                <a:gd name="connsiteX128" fmla="*/ 1425799 w 3785642"/>
                <a:gd name="connsiteY128" fmla="*/ 472298 h 479077"/>
                <a:gd name="connsiteX129" fmla="*/ 1409428 w 3785642"/>
                <a:gd name="connsiteY129" fmla="*/ 472794 h 479077"/>
                <a:gd name="connsiteX130" fmla="*/ 1393058 w 3785642"/>
                <a:gd name="connsiteY130" fmla="*/ 473786 h 479077"/>
                <a:gd name="connsiteX131" fmla="*/ 1376687 w 3785642"/>
                <a:gd name="connsiteY131" fmla="*/ 471802 h 479077"/>
                <a:gd name="connsiteX132" fmla="*/ 1360317 w 3785642"/>
                <a:gd name="connsiteY132" fmla="*/ 473786 h 479077"/>
                <a:gd name="connsiteX133" fmla="*/ 1343946 w 3785642"/>
                <a:gd name="connsiteY133" fmla="*/ 473786 h 479077"/>
                <a:gd name="connsiteX134" fmla="*/ 1327576 w 3785642"/>
                <a:gd name="connsiteY134" fmla="*/ 472794 h 479077"/>
                <a:gd name="connsiteX135" fmla="*/ 1311205 w 3785642"/>
                <a:gd name="connsiteY135" fmla="*/ 473786 h 479077"/>
                <a:gd name="connsiteX136" fmla="*/ 1294834 w 3785642"/>
                <a:gd name="connsiteY136" fmla="*/ 473786 h 479077"/>
                <a:gd name="connsiteX137" fmla="*/ 1278464 w 3785642"/>
                <a:gd name="connsiteY137" fmla="*/ 473786 h 479077"/>
                <a:gd name="connsiteX138" fmla="*/ 1262093 w 3785642"/>
                <a:gd name="connsiteY138" fmla="*/ 473786 h 479077"/>
                <a:gd name="connsiteX139" fmla="*/ 1245723 w 3785642"/>
                <a:gd name="connsiteY139" fmla="*/ 473290 h 479077"/>
                <a:gd name="connsiteX140" fmla="*/ 1229352 w 3785642"/>
                <a:gd name="connsiteY140" fmla="*/ 472794 h 479077"/>
                <a:gd name="connsiteX141" fmla="*/ 1212981 w 3785642"/>
                <a:gd name="connsiteY141" fmla="*/ 473786 h 479077"/>
                <a:gd name="connsiteX142" fmla="*/ 1196611 w 3785642"/>
                <a:gd name="connsiteY142" fmla="*/ 472298 h 479077"/>
                <a:gd name="connsiteX143" fmla="*/ 1180240 w 3785642"/>
                <a:gd name="connsiteY143" fmla="*/ 472794 h 479077"/>
                <a:gd name="connsiteX144" fmla="*/ 1163870 w 3785642"/>
                <a:gd name="connsiteY144" fmla="*/ 472794 h 479077"/>
                <a:gd name="connsiteX145" fmla="*/ 1147499 w 3785642"/>
                <a:gd name="connsiteY145" fmla="*/ 473786 h 479077"/>
                <a:gd name="connsiteX146" fmla="*/ 1131128 w 3785642"/>
                <a:gd name="connsiteY146" fmla="*/ 473786 h 479077"/>
                <a:gd name="connsiteX147" fmla="*/ 1114758 w 3785642"/>
                <a:gd name="connsiteY147" fmla="*/ 472794 h 479077"/>
                <a:gd name="connsiteX148" fmla="*/ 1098387 w 3785642"/>
                <a:gd name="connsiteY148" fmla="*/ 473786 h 479077"/>
                <a:gd name="connsiteX149" fmla="*/ 1082017 w 3785642"/>
                <a:gd name="connsiteY149" fmla="*/ 474778 h 479077"/>
                <a:gd name="connsiteX150" fmla="*/ 1065646 w 3785642"/>
                <a:gd name="connsiteY150" fmla="*/ 474778 h 479077"/>
                <a:gd name="connsiteX151" fmla="*/ 1049276 w 3785642"/>
                <a:gd name="connsiteY151" fmla="*/ 474282 h 479077"/>
                <a:gd name="connsiteX152" fmla="*/ 1032905 w 3785642"/>
                <a:gd name="connsiteY152" fmla="*/ 473290 h 479077"/>
                <a:gd name="connsiteX153" fmla="*/ 1016535 w 3785642"/>
                <a:gd name="connsiteY153" fmla="*/ 474282 h 479077"/>
                <a:gd name="connsiteX154" fmla="*/ 1000164 w 3785642"/>
                <a:gd name="connsiteY154" fmla="*/ 474282 h 479077"/>
                <a:gd name="connsiteX155" fmla="*/ 983793 w 3785642"/>
                <a:gd name="connsiteY155" fmla="*/ 472794 h 479077"/>
                <a:gd name="connsiteX156" fmla="*/ 967423 w 3785642"/>
                <a:gd name="connsiteY156" fmla="*/ 472794 h 479077"/>
                <a:gd name="connsiteX157" fmla="*/ 951052 w 3785642"/>
                <a:gd name="connsiteY157" fmla="*/ 473786 h 479077"/>
                <a:gd name="connsiteX158" fmla="*/ 934682 w 3785642"/>
                <a:gd name="connsiteY158" fmla="*/ 474282 h 479077"/>
                <a:gd name="connsiteX159" fmla="*/ 918311 w 3785642"/>
                <a:gd name="connsiteY159" fmla="*/ 474778 h 479077"/>
                <a:gd name="connsiteX160" fmla="*/ 901940 w 3785642"/>
                <a:gd name="connsiteY160" fmla="*/ 473290 h 479077"/>
                <a:gd name="connsiteX161" fmla="*/ 885570 w 3785642"/>
                <a:gd name="connsiteY161" fmla="*/ 474778 h 479077"/>
                <a:gd name="connsiteX162" fmla="*/ 869199 w 3785642"/>
                <a:gd name="connsiteY162" fmla="*/ 474282 h 479077"/>
                <a:gd name="connsiteX163" fmla="*/ 852829 w 3785642"/>
                <a:gd name="connsiteY163" fmla="*/ 473786 h 479077"/>
                <a:gd name="connsiteX164" fmla="*/ 836458 w 3785642"/>
                <a:gd name="connsiteY164" fmla="*/ 474778 h 479077"/>
                <a:gd name="connsiteX165" fmla="*/ 820088 w 3785642"/>
                <a:gd name="connsiteY165" fmla="*/ 475274 h 479077"/>
                <a:gd name="connsiteX166" fmla="*/ 803717 w 3785642"/>
                <a:gd name="connsiteY166" fmla="*/ 473786 h 479077"/>
                <a:gd name="connsiteX167" fmla="*/ 787347 w 3785642"/>
                <a:gd name="connsiteY167" fmla="*/ 475770 h 479077"/>
                <a:gd name="connsiteX168" fmla="*/ 770976 w 3785642"/>
                <a:gd name="connsiteY168" fmla="*/ 474778 h 479077"/>
                <a:gd name="connsiteX169" fmla="*/ 754605 w 3785642"/>
                <a:gd name="connsiteY169" fmla="*/ 475274 h 479077"/>
                <a:gd name="connsiteX170" fmla="*/ 738235 w 3785642"/>
                <a:gd name="connsiteY170" fmla="*/ 473786 h 479077"/>
                <a:gd name="connsiteX171" fmla="*/ 721864 w 3785642"/>
                <a:gd name="connsiteY171" fmla="*/ 475274 h 479077"/>
                <a:gd name="connsiteX172" fmla="*/ 705494 w 3785642"/>
                <a:gd name="connsiteY172" fmla="*/ 475770 h 479077"/>
                <a:gd name="connsiteX173" fmla="*/ 689123 w 3785642"/>
                <a:gd name="connsiteY173" fmla="*/ 474282 h 479077"/>
                <a:gd name="connsiteX174" fmla="*/ 672753 w 3785642"/>
                <a:gd name="connsiteY174" fmla="*/ 475274 h 479077"/>
                <a:gd name="connsiteX175" fmla="*/ 656382 w 3785642"/>
                <a:gd name="connsiteY175" fmla="*/ 474778 h 479077"/>
                <a:gd name="connsiteX176" fmla="*/ 640011 w 3785642"/>
                <a:gd name="connsiteY176" fmla="*/ 475770 h 479077"/>
                <a:gd name="connsiteX177" fmla="*/ 623641 w 3785642"/>
                <a:gd name="connsiteY177" fmla="*/ 473786 h 479077"/>
                <a:gd name="connsiteX178" fmla="*/ 607270 w 3785642"/>
                <a:gd name="connsiteY178" fmla="*/ 474778 h 479077"/>
                <a:gd name="connsiteX179" fmla="*/ 590900 w 3785642"/>
                <a:gd name="connsiteY179" fmla="*/ 475274 h 479077"/>
                <a:gd name="connsiteX180" fmla="*/ 574529 w 3785642"/>
                <a:gd name="connsiteY180" fmla="*/ 474282 h 479077"/>
                <a:gd name="connsiteX181" fmla="*/ 558158 w 3785642"/>
                <a:gd name="connsiteY181" fmla="*/ 475274 h 479077"/>
                <a:gd name="connsiteX182" fmla="*/ 541788 w 3785642"/>
                <a:gd name="connsiteY182" fmla="*/ 475770 h 479077"/>
                <a:gd name="connsiteX183" fmla="*/ 525417 w 3785642"/>
                <a:gd name="connsiteY183" fmla="*/ 474282 h 479077"/>
                <a:gd name="connsiteX184" fmla="*/ 509047 w 3785642"/>
                <a:gd name="connsiteY184" fmla="*/ 473786 h 479077"/>
                <a:gd name="connsiteX185" fmla="*/ 492676 w 3785642"/>
                <a:gd name="connsiteY185" fmla="*/ 473786 h 479077"/>
                <a:gd name="connsiteX186" fmla="*/ 476306 w 3785642"/>
                <a:gd name="connsiteY186" fmla="*/ 474778 h 479077"/>
                <a:gd name="connsiteX187" fmla="*/ 459935 w 3785642"/>
                <a:gd name="connsiteY187" fmla="*/ 473786 h 479077"/>
                <a:gd name="connsiteX188" fmla="*/ 443565 w 3785642"/>
                <a:gd name="connsiteY188" fmla="*/ 474778 h 479077"/>
                <a:gd name="connsiteX189" fmla="*/ 427194 w 3785642"/>
                <a:gd name="connsiteY189" fmla="*/ 474282 h 479077"/>
                <a:gd name="connsiteX190" fmla="*/ 410823 w 3785642"/>
                <a:gd name="connsiteY190" fmla="*/ 473290 h 479077"/>
                <a:gd name="connsiteX191" fmla="*/ 394453 w 3785642"/>
                <a:gd name="connsiteY191" fmla="*/ 475770 h 479077"/>
                <a:gd name="connsiteX192" fmla="*/ 378082 w 3785642"/>
                <a:gd name="connsiteY192" fmla="*/ 475274 h 479077"/>
                <a:gd name="connsiteX193" fmla="*/ 361712 w 3785642"/>
                <a:gd name="connsiteY193" fmla="*/ 474778 h 479077"/>
                <a:gd name="connsiteX194" fmla="*/ 345341 w 3785642"/>
                <a:gd name="connsiteY194" fmla="*/ 476266 h 479077"/>
                <a:gd name="connsiteX195" fmla="*/ 328970 w 3785642"/>
                <a:gd name="connsiteY195" fmla="*/ 474282 h 479077"/>
                <a:gd name="connsiteX196" fmla="*/ 312600 w 3785642"/>
                <a:gd name="connsiteY196" fmla="*/ 475274 h 479077"/>
                <a:gd name="connsiteX197" fmla="*/ 296229 w 3785642"/>
                <a:gd name="connsiteY197" fmla="*/ 474282 h 479077"/>
                <a:gd name="connsiteX198" fmla="*/ 279859 w 3785642"/>
                <a:gd name="connsiteY198" fmla="*/ 475770 h 479077"/>
                <a:gd name="connsiteX199" fmla="*/ 263488 w 3785642"/>
                <a:gd name="connsiteY199" fmla="*/ 476266 h 479077"/>
                <a:gd name="connsiteX200" fmla="*/ 247118 w 3785642"/>
                <a:gd name="connsiteY200" fmla="*/ 476266 h 479077"/>
                <a:gd name="connsiteX201" fmla="*/ 230747 w 3785642"/>
                <a:gd name="connsiteY201" fmla="*/ 474778 h 479077"/>
                <a:gd name="connsiteX202" fmla="*/ 214376 w 3785642"/>
                <a:gd name="connsiteY202" fmla="*/ 474778 h 479077"/>
                <a:gd name="connsiteX203" fmla="*/ 198006 w 3785642"/>
                <a:gd name="connsiteY203" fmla="*/ 476762 h 479077"/>
                <a:gd name="connsiteX204" fmla="*/ 181635 w 3785642"/>
                <a:gd name="connsiteY204" fmla="*/ 476266 h 479077"/>
                <a:gd name="connsiteX205" fmla="*/ 165265 w 3785642"/>
                <a:gd name="connsiteY205" fmla="*/ 474778 h 479077"/>
                <a:gd name="connsiteX206" fmla="*/ 148894 w 3785642"/>
                <a:gd name="connsiteY206" fmla="*/ 476762 h 479077"/>
                <a:gd name="connsiteX207" fmla="*/ 132524 w 3785642"/>
                <a:gd name="connsiteY207" fmla="*/ 476266 h 479077"/>
                <a:gd name="connsiteX208" fmla="*/ 116153 w 3785642"/>
                <a:gd name="connsiteY208" fmla="*/ 475274 h 479077"/>
                <a:gd name="connsiteX209" fmla="*/ 99783 w 3785642"/>
                <a:gd name="connsiteY209" fmla="*/ 475274 h 479077"/>
                <a:gd name="connsiteX210" fmla="*/ 83412 w 3785642"/>
                <a:gd name="connsiteY210" fmla="*/ 475274 h 479077"/>
                <a:gd name="connsiteX211" fmla="*/ 67041 w 3785642"/>
                <a:gd name="connsiteY211" fmla="*/ 474778 h 479077"/>
                <a:gd name="connsiteX212" fmla="*/ 50671 w 3785642"/>
                <a:gd name="connsiteY212" fmla="*/ 475274 h 479077"/>
                <a:gd name="connsiteX213" fmla="*/ 34300 w 3785642"/>
                <a:gd name="connsiteY213" fmla="*/ 475274 h 479077"/>
                <a:gd name="connsiteX214" fmla="*/ 17930 w 3785642"/>
                <a:gd name="connsiteY214" fmla="*/ 475770 h 479077"/>
                <a:gd name="connsiteX215" fmla="*/ 567 w 3785642"/>
                <a:gd name="connsiteY215" fmla="*/ 475770 h 479077"/>
                <a:gd name="connsiteX216" fmla="*/ 12969 w 3785642"/>
                <a:gd name="connsiteY216" fmla="*/ 463368 h 479077"/>
                <a:gd name="connsiteX217" fmla="*/ 24379 w 3785642"/>
                <a:gd name="connsiteY217" fmla="*/ 451958 h 479077"/>
                <a:gd name="connsiteX218" fmla="*/ 35788 w 3785642"/>
                <a:gd name="connsiteY218" fmla="*/ 440053 h 479077"/>
                <a:gd name="connsiteX219" fmla="*/ 48686 w 3785642"/>
                <a:gd name="connsiteY219" fmla="*/ 430131 h 479077"/>
                <a:gd name="connsiteX220" fmla="*/ 59600 w 3785642"/>
                <a:gd name="connsiteY220" fmla="*/ 418225 h 479077"/>
                <a:gd name="connsiteX221" fmla="*/ 70514 w 3785642"/>
                <a:gd name="connsiteY221" fmla="*/ 405823 h 479077"/>
                <a:gd name="connsiteX222" fmla="*/ 83412 w 3785642"/>
                <a:gd name="connsiteY222" fmla="*/ 395406 h 479077"/>
                <a:gd name="connsiteX223" fmla="*/ 94822 w 3785642"/>
                <a:gd name="connsiteY223" fmla="*/ 383500 h 479077"/>
                <a:gd name="connsiteX224" fmla="*/ 106728 w 3785642"/>
                <a:gd name="connsiteY224" fmla="*/ 372090 h 479077"/>
                <a:gd name="connsiteX225" fmla="*/ 117145 w 3785642"/>
                <a:gd name="connsiteY225" fmla="*/ 359688 h 479077"/>
                <a:gd name="connsiteX226" fmla="*/ 128555 w 3785642"/>
                <a:gd name="connsiteY226" fmla="*/ 348278 h 479077"/>
                <a:gd name="connsiteX227" fmla="*/ 140461 w 3785642"/>
                <a:gd name="connsiteY227" fmla="*/ 336868 h 479077"/>
                <a:gd name="connsiteX228" fmla="*/ 152863 w 3785642"/>
                <a:gd name="connsiteY228" fmla="*/ 326451 h 479077"/>
                <a:gd name="connsiteX229" fmla="*/ 164769 w 3785642"/>
                <a:gd name="connsiteY229" fmla="*/ 315041 h 479077"/>
                <a:gd name="connsiteX230" fmla="*/ 176178 w 3785642"/>
                <a:gd name="connsiteY230" fmla="*/ 303135 h 479077"/>
                <a:gd name="connsiteX231" fmla="*/ 188084 w 3785642"/>
                <a:gd name="connsiteY231" fmla="*/ 291725 h 479077"/>
                <a:gd name="connsiteX232" fmla="*/ 199494 w 3785642"/>
                <a:gd name="connsiteY232" fmla="*/ 280315 h 479077"/>
                <a:gd name="connsiteX233" fmla="*/ 210904 w 3785642"/>
                <a:gd name="connsiteY233" fmla="*/ 268906 h 479077"/>
                <a:gd name="connsiteX234" fmla="*/ 221818 w 3785642"/>
                <a:gd name="connsiteY234" fmla="*/ 256504 h 479077"/>
                <a:gd name="connsiteX235" fmla="*/ 233724 w 3785642"/>
                <a:gd name="connsiteY235" fmla="*/ 245094 h 479077"/>
                <a:gd name="connsiteX236" fmla="*/ 244141 w 3785642"/>
                <a:gd name="connsiteY236" fmla="*/ 232692 h 479077"/>
                <a:gd name="connsiteX237" fmla="*/ 257039 w 3785642"/>
                <a:gd name="connsiteY237" fmla="*/ 222770 h 479077"/>
                <a:gd name="connsiteX238" fmla="*/ 266961 w 3785642"/>
                <a:gd name="connsiteY238" fmla="*/ 209376 h 479077"/>
                <a:gd name="connsiteX239" fmla="*/ 278371 w 3785642"/>
                <a:gd name="connsiteY239" fmla="*/ 197966 h 479077"/>
                <a:gd name="connsiteX240" fmla="*/ 291269 w 3785642"/>
                <a:gd name="connsiteY240" fmla="*/ 188045 h 479077"/>
                <a:gd name="connsiteX241" fmla="*/ 301686 w 3785642"/>
                <a:gd name="connsiteY241" fmla="*/ 175147 h 479077"/>
                <a:gd name="connsiteX242" fmla="*/ 313592 w 3785642"/>
                <a:gd name="connsiteY242" fmla="*/ 163737 h 479077"/>
                <a:gd name="connsiteX243" fmla="*/ 325994 w 3785642"/>
                <a:gd name="connsiteY243" fmla="*/ 153319 h 479077"/>
                <a:gd name="connsiteX244" fmla="*/ 337404 w 3785642"/>
                <a:gd name="connsiteY244" fmla="*/ 141910 h 479077"/>
                <a:gd name="connsiteX245" fmla="*/ 347325 w 3785642"/>
                <a:gd name="connsiteY245" fmla="*/ 129012 h 479077"/>
                <a:gd name="connsiteX246" fmla="*/ 360224 w 3785642"/>
                <a:gd name="connsiteY246" fmla="*/ 118594 h 479077"/>
                <a:gd name="connsiteX247" fmla="*/ 371137 w 3785642"/>
                <a:gd name="connsiteY247" fmla="*/ 106192 h 479077"/>
                <a:gd name="connsiteX248" fmla="*/ 382051 w 3785642"/>
                <a:gd name="connsiteY248" fmla="*/ 93790 h 479077"/>
                <a:gd name="connsiteX249" fmla="*/ 393957 w 3785642"/>
                <a:gd name="connsiteY249" fmla="*/ 82380 h 479077"/>
                <a:gd name="connsiteX250" fmla="*/ 405366 w 3785642"/>
                <a:gd name="connsiteY250" fmla="*/ 70475 h 479077"/>
                <a:gd name="connsiteX251" fmla="*/ 417272 w 3785642"/>
                <a:gd name="connsiteY251" fmla="*/ 59561 h 479077"/>
                <a:gd name="connsiteX252" fmla="*/ 429674 w 3785642"/>
                <a:gd name="connsiteY252" fmla="*/ 48647 h 479077"/>
                <a:gd name="connsiteX253" fmla="*/ 440092 w 3785642"/>
                <a:gd name="connsiteY253" fmla="*/ 35749 h 479077"/>
                <a:gd name="connsiteX254" fmla="*/ 452494 w 3785642"/>
                <a:gd name="connsiteY254" fmla="*/ 24835 h 479077"/>
                <a:gd name="connsiteX255" fmla="*/ 463904 w 3785642"/>
                <a:gd name="connsiteY255" fmla="*/ 12929 h 479077"/>
                <a:gd name="connsiteX256" fmla="*/ 475313 w 3785642"/>
                <a:gd name="connsiteY256" fmla="*/ 1024 h 479077"/>
                <a:gd name="connsiteX257" fmla="*/ 491684 w 3785642"/>
                <a:gd name="connsiteY257" fmla="*/ 2512 h 479077"/>
                <a:gd name="connsiteX258" fmla="*/ 508055 w 3785642"/>
                <a:gd name="connsiteY258" fmla="*/ 2512 h 479077"/>
                <a:gd name="connsiteX259" fmla="*/ 524425 w 3785642"/>
                <a:gd name="connsiteY259" fmla="*/ 2512 h 479077"/>
                <a:gd name="connsiteX260" fmla="*/ 540796 w 3785642"/>
                <a:gd name="connsiteY260" fmla="*/ 1024 h 479077"/>
                <a:gd name="connsiteX261" fmla="*/ 557166 w 3785642"/>
                <a:gd name="connsiteY261" fmla="*/ 2512 h 479077"/>
                <a:gd name="connsiteX262" fmla="*/ 573537 w 3785642"/>
                <a:gd name="connsiteY262" fmla="*/ 1024 h 479077"/>
                <a:gd name="connsiteX263" fmla="*/ 589908 w 3785642"/>
                <a:gd name="connsiteY263" fmla="*/ 527 h 479077"/>
                <a:gd name="connsiteX264" fmla="*/ 606278 w 3785642"/>
                <a:gd name="connsiteY264" fmla="*/ 1520 h 479077"/>
                <a:gd name="connsiteX265" fmla="*/ 622649 w 3785642"/>
                <a:gd name="connsiteY265" fmla="*/ 1520 h 479077"/>
                <a:gd name="connsiteX266" fmla="*/ 639019 w 3785642"/>
                <a:gd name="connsiteY266" fmla="*/ 2016 h 479077"/>
                <a:gd name="connsiteX267" fmla="*/ 655390 w 3785642"/>
                <a:gd name="connsiteY267" fmla="*/ 527 h 479077"/>
                <a:gd name="connsiteX268" fmla="*/ 671760 w 3785642"/>
                <a:gd name="connsiteY268" fmla="*/ 1520 h 479077"/>
                <a:gd name="connsiteX269" fmla="*/ 688131 w 3785642"/>
                <a:gd name="connsiteY269" fmla="*/ 2512 h 479077"/>
                <a:gd name="connsiteX270" fmla="*/ 704501 w 3785642"/>
                <a:gd name="connsiteY270" fmla="*/ 1024 h 479077"/>
                <a:gd name="connsiteX271" fmla="*/ 720872 w 3785642"/>
                <a:gd name="connsiteY271" fmla="*/ 1520 h 479077"/>
                <a:gd name="connsiteX272" fmla="*/ 737243 w 3785642"/>
                <a:gd name="connsiteY272" fmla="*/ 2016 h 479077"/>
                <a:gd name="connsiteX273" fmla="*/ 753613 w 3785642"/>
                <a:gd name="connsiteY273" fmla="*/ 1024 h 479077"/>
                <a:gd name="connsiteX274" fmla="*/ 769984 w 3785642"/>
                <a:gd name="connsiteY274" fmla="*/ 527 h 479077"/>
                <a:gd name="connsiteX275" fmla="*/ 786354 w 3785642"/>
                <a:gd name="connsiteY275" fmla="*/ 1520 h 479077"/>
                <a:gd name="connsiteX276" fmla="*/ 802725 w 3785642"/>
                <a:gd name="connsiteY276" fmla="*/ 527 h 479077"/>
                <a:gd name="connsiteX277" fmla="*/ 819096 w 3785642"/>
                <a:gd name="connsiteY277" fmla="*/ 2512 h 479077"/>
                <a:gd name="connsiteX278" fmla="*/ 835466 w 3785642"/>
                <a:gd name="connsiteY278" fmla="*/ 527 h 479077"/>
                <a:gd name="connsiteX279" fmla="*/ 851837 w 3785642"/>
                <a:gd name="connsiteY279" fmla="*/ 1520 h 479077"/>
                <a:gd name="connsiteX280" fmla="*/ 868207 w 3785642"/>
                <a:gd name="connsiteY280" fmla="*/ 2016 h 479077"/>
                <a:gd name="connsiteX281" fmla="*/ 884578 w 3785642"/>
                <a:gd name="connsiteY281" fmla="*/ 2512 h 479077"/>
                <a:gd name="connsiteX282" fmla="*/ 900948 w 3785642"/>
                <a:gd name="connsiteY282" fmla="*/ 1520 h 479077"/>
                <a:gd name="connsiteX283" fmla="*/ 917319 w 3785642"/>
                <a:gd name="connsiteY283" fmla="*/ 1024 h 479077"/>
                <a:gd name="connsiteX284" fmla="*/ 933689 w 3785642"/>
                <a:gd name="connsiteY284" fmla="*/ 2512 h 479077"/>
                <a:gd name="connsiteX285" fmla="*/ 950060 w 3785642"/>
                <a:gd name="connsiteY285" fmla="*/ 1520 h 479077"/>
                <a:gd name="connsiteX286" fmla="*/ 966431 w 3785642"/>
                <a:gd name="connsiteY286" fmla="*/ 2016 h 479077"/>
                <a:gd name="connsiteX287" fmla="*/ 982801 w 3785642"/>
                <a:gd name="connsiteY287" fmla="*/ 2512 h 479077"/>
                <a:gd name="connsiteX288" fmla="*/ 999172 w 3785642"/>
                <a:gd name="connsiteY288" fmla="*/ 1520 h 479077"/>
                <a:gd name="connsiteX289" fmla="*/ 1015542 w 3785642"/>
                <a:gd name="connsiteY289" fmla="*/ 2512 h 479077"/>
                <a:gd name="connsiteX290" fmla="*/ 1031913 w 3785642"/>
                <a:gd name="connsiteY290" fmla="*/ 1520 h 479077"/>
                <a:gd name="connsiteX291" fmla="*/ 1048283 w 3785642"/>
                <a:gd name="connsiteY291" fmla="*/ 2016 h 479077"/>
                <a:gd name="connsiteX292" fmla="*/ 1064654 w 3785642"/>
                <a:gd name="connsiteY292" fmla="*/ 3504 h 479077"/>
                <a:gd name="connsiteX293" fmla="*/ 1081025 w 3785642"/>
                <a:gd name="connsiteY293" fmla="*/ 2016 h 479077"/>
                <a:gd name="connsiteX294" fmla="*/ 1097395 w 3785642"/>
                <a:gd name="connsiteY294" fmla="*/ 2512 h 479077"/>
                <a:gd name="connsiteX295" fmla="*/ 1113766 w 3785642"/>
                <a:gd name="connsiteY295" fmla="*/ 2512 h 479077"/>
                <a:gd name="connsiteX296" fmla="*/ 1130136 w 3785642"/>
                <a:gd name="connsiteY296" fmla="*/ 3504 h 479077"/>
                <a:gd name="connsiteX297" fmla="*/ 1146507 w 3785642"/>
                <a:gd name="connsiteY297" fmla="*/ 1520 h 479077"/>
                <a:gd name="connsiteX298" fmla="*/ 1162878 w 3785642"/>
                <a:gd name="connsiteY298" fmla="*/ 3008 h 479077"/>
                <a:gd name="connsiteX299" fmla="*/ 1179248 w 3785642"/>
                <a:gd name="connsiteY299" fmla="*/ 4000 h 479077"/>
                <a:gd name="connsiteX300" fmla="*/ 1195619 w 3785642"/>
                <a:gd name="connsiteY300" fmla="*/ 3504 h 479077"/>
                <a:gd name="connsiteX301" fmla="*/ 1211989 w 3785642"/>
                <a:gd name="connsiteY301" fmla="*/ 1520 h 479077"/>
                <a:gd name="connsiteX302" fmla="*/ 1228360 w 3785642"/>
                <a:gd name="connsiteY302" fmla="*/ 3504 h 479077"/>
                <a:gd name="connsiteX303" fmla="*/ 1244730 w 3785642"/>
                <a:gd name="connsiteY303" fmla="*/ 1520 h 479077"/>
                <a:gd name="connsiteX304" fmla="*/ 1261101 w 3785642"/>
                <a:gd name="connsiteY304" fmla="*/ 2512 h 479077"/>
                <a:gd name="connsiteX305" fmla="*/ 1277471 w 3785642"/>
                <a:gd name="connsiteY305" fmla="*/ 3504 h 479077"/>
                <a:gd name="connsiteX306" fmla="*/ 1293842 w 3785642"/>
                <a:gd name="connsiteY306" fmla="*/ 4000 h 479077"/>
                <a:gd name="connsiteX307" fmla="*/ 1310213 w 3785642"/>
                <a:gd name="connsiteY307" fmla="*/ 1520 h 479077"/>
                <a:gd name="connsiteX308" fmla="*/ 1326583 w 3785642"/>
                <a:gd name="connsiteY308" fmla="*/ 2016 h 479077"/>
                <a:gd name="connsiteX309" fmla="*/ 1342954 w 3785642"/>
                <a:gd name="connsiteY309" fmla="*/ 3008 h 479077"/>
                <a:gd name="connsiteX310" fmla="*/ 1359324 w 3785642"/>
                <a:gd name="connsiteY310" fmla="*/ 3008 h 479077"/>
                <a:gd name="connsiteX311" fmla="*/ 1375695 w 3785642"/>
                <a:gd name="connsiteY311" fmla="*/ 2512 h 479077"/>
                <a:gd name="connsiteX312" fmla="*/ 1392066 w 3785642"/>
                <a:gd name="connsiteY312" fmla="*/ 2512 h 479077"/>
                <a:gd name="connsiteX313" fmla="*/ 1408436 w 3785642"/>
                <a:gd name="connsiteY313" fmla="*/ 3504 h 479077"/>
                <a:gd name="connsiteX314" fmla="*/ 1424807 w 3785642"/>
                <a:gd name="connsiteY314" fmla="*/ 3504 h 479077"/>
                <a:gd name="connsiteX315" fmla="*/ 1441177 w 3785642"/>
                <a:gd name="connsiteY315" fmla="*/ 1520 h 479077"/>
                <a:gd name="connsiteX316" fmla="*/ 1457548 w 3785642"/>
                <a:gd name="connsiteY316" fmla="*/ 2512 h 479077"/>
                <a:gd name="connsiteX317" fmla="*/ 1473919 w 3785642"/>
                <a:gd name="connsiteY317" fmla="*/ 2016 h 479077"/>
                <a:gd name="connsiteX318" fmla="*/ 1490289 w 3785642"/>
                <a:gd name="connsiteY318" fmla="*/ 2016 h 479077"/>
                <a:gd name="connsiteX319" fmla="*/ 1506660 w 3785642"/>
                <a:gd name="connsiteY319" fmla="*/ 1520 h 479077"/>
                <a:gd name="connsiteX320" fmla="*/ 1523030 w 3785642"/>
                <a:gd name="connsiteY320" fmla="*/ 3504 h 479077"/>
                <a:gd name="connsiteX321" fmla="*/ 1539401 w 3785642"/>
                <a:gd name="connsiteY321" fmla="*/ 3008 h 479077"/>
                <a:gd name="connsiteX322" fmla="*/ 1555771 w 3785642"/>
                <a:gd name="connsiteY322" fmla="*/ 3008 h 479077"/>
                <a:gd name="connsiteX323" fmla="*/ 1572142 w 3785642"/>
                <a:gd name="connsiteY323" fmla="*/ 2512 h 479077"/>
                <a:gd name="connsiteX324" fmla="*/ 1588512 w 3785642"/>
                <a:gd name="connsiteY324" fmla="*/ 2016 h 479077"/>
                <a:gd name="connsiteX325" fmla="*/ 1604883 w 3785642"/>
                <a:gd name="connsiteY325" fmla="*/ 3008 h 479077"/>
                <a:gd name="connsiteX326" fmla="*/ 1621253 w 3785642"/>
                <a:gd name="connsiteY326" fmla="*/ 3008 h 479077"/>
                <a:gd name="connsiteX327" fmla="*/ 1637624 w 3785642"/>
                <a:gd name="connsiteY327" fmla="*/ 2512 h 479077"/>
                <a:gd name="connsiteX0" fmla="*/ 3313375 w 3313375"/>
                <a:gd name="connsiteY0" fmla="*/ 10945 h 479077"/>
                <a:gd name="connsiteX1" fmla="*/ 3300973 w 3313375"/>
                <a:gd name="connsiteY1" fmla="*/ 21363 h 479077"/>
                <a:gd name="connsiteX2" fmla="*/ 3289068 w 3313375"/>
                <a:gd name="connsiteY2" fmla="*/ 32276 h 479077"/>
                <a:gd name="connsiteX3" fmla="*/ 3277658 w 3313375"/>
                <a:gd name="connsiteY3" fmla="*/ 43686 h 479077"/>
                <a:gd name="connsiteX4" fmla="*/ 3266248 w 3313375"/>
                <a:gd name="connsiteY4" fmla="*/ 55592 h 479077"/>
                <a:gd name="connsiteX5" fmla="*/ 3255830 w 3313375"/>
                <a:gd name="connsiteY5" fmla="*/ 68490 h 479077"/>
                <a:gd name="connsiteX6" fmla="*/ 3243924 w 3313375"/>
                <a:gd name="connsiteY6" fmla="*/ 79900 h 479077"/>
                <a:gd name="connsiteX7" fmla="*/ 3231522 w 3313375"/>
                <a:gd name="connsiteY7" fmla="*/ 90814 h 479077"/>
                <a:gd name="connsiteX8" fmla="*/ 3220609 w 3313375"/>
                <a:gd name="connsiteY8" fmla="*/ 102720 h 479077"/>
                <a:gd name="connsiteX9" fmla="*/ 3208207 w 3313375"/>
                <a:gd name="connsiteY9" fmla="*/ 113137 h 479077"/>
                <a:gd name="connsiteX10" fmla="*/ 3197293 w 3313375"/>
                <a:gd name="connsiteY10" fmla="*/ 125043 h 479077"/>
                <a:gd name="connsiteX11" fmla="*/ 3185387 w 3313375"/>
                <a:gd name="connsiteY11" fmla="*/ 136453 h 479077"/>
                <a:gd name="connsiteX12" fmla="*/ 3174970 w 3313375"/>
                <a:gd name="connsiteY12" fmla="*/ 148855 h 479077"/>
                <a:gd name="connsiteX13" fmla="*/ 3162071 w 3313375"/>
                <a:gd name="connsiteY13" fmla="*/ 159272 h 479077"/>
                <a:gd name="connsiteX14" fmla="*/ 3151158 w 3313375"/>
                <a:gd name="connsiteY14" fmla="*/ 171674 h 479077"/>
                <a:gd name="connsiteX15" fmla="*/ 3139252 w 3313375"/>
                <a:gd name="connsiteY15" fmla="*/ 182588 h 479077"/>
                <a:gd name="connsiteX16" fmla="*/ 3127843 w 3313375"/>
                <a:gd name="connsiteY16" fmla="*/ 194494 h 479077"/>
                <a:gd name="connsiteX17" fmla="*/ 3116432 w 3313375"/>
                <a:gd name="connsiteY17" fmla="*/ 205904 h 479077"/>
                <a:gd name="connsiteX18" fmla="*/ 3105022 w 3313375"/>
                <a:gd name="connsiteY18" fmla="*/ 217810 h 479077"/>
                <a:gd name="connsiteX19" fmla="*/ 3093117 w 3313375"/>
                <a:gd name="connsiteY19" fmla="*/ 229219 h 479077"/>
                <a:gd name="connsiteX20" fmla="*/ 3081707 w 3313375"/>
                <a:gd name="connsiteY20" fmla="*/ 240629 h 479077"/>
                <a:gd name="connsiteX21" fmla="*/ 3069305 w 3313375"/>
                <a:gd name="connsiteY21" fmla="*/ 251543 h 479077"/>
                <a:gd name="connsiteX22" fmla="*/ 3057895 w 3313375"/>
                <a:gd name="connsiteY22" fmla="*/ 263449 h 479077"/>
                <a:gd name="connsiteX23" fmla="*/ 3046486 w 3313375"/>
                <a:gd name="connsiteY23" fmla="*/ 275355 h 479077"/>
                <a:gd name="connsiteX24" fmla="*/ 3035572 w 3313375"/>
                <a:gd name="connsiteY24" fmla="*/ 287260 h 479077"/>
                <a:gd name="connsiteX25" fmla="*/ 3024658 w 3313375"/>
                <a:gd name="connsiteY25" fmla="*/ 299166 h 479077"/>
                <a:gd name="connsiteX26" fmla="*/ 3013248 w 3313375"/>
                <a:gd name="connsiteY26" fmla="*/ 311072 h 479077"/>
                <a:gd name="connsiteX27" fmla="*/ 3000350 w 3313375"/>
                <a:gd name="connsiteY27" fmla="*/ 321490 h 479077"/>
                <a:gd name="connsiteX28" fmla="*/ 2988941 w 3313375"/>
                <a:gd name="connsiteY28" fmla="*/ 333396 h 479077"/>
                <a:gd name="connsiteX29" fmla="*/ 2976539 w 3313375"/>
                <a:gd name="connsiteY29" fmla="*/ 344309 h 479077"/>
                <a:gd name="connsiteX30" fmla="*/ 2965129 w 3313375"/>
                <a:gd name="connsiteY30" fmla="*/ 356215 h 479077"/>
                <a:gd name="connsiteX31" fmla="*/ 2953223 w 3313375"/>
                <a:gd name="connsiteY31" fmla="*/ 367625 h 479077"/>
                <a:gd name="connsiteX32" fmla="*/ 2941813 w 3313375"/>
                <a:gd name="connsiteY32" fmla="*/ 379531 h 479077"/>
                <a:gd name="connsiteX33" fmla="*/ 2931395 w 3313375"/>
                <a:gd name="connsiteY33" fmla="*/ 392429 h 479077"/>
                <a:gd name="connsiteX34" fmla="*/ 2918497 w 3313375"/>
                <a:gd name="connsiteY34" fmla="*/ 402847 h 479077"/>
                <a:gd name="connsiteX35" fmla="*/ 2907584 w 3313375"/>
                <a:gd name="connsiteY35" fmla="*/ 415249 h 479077"/>
                <a:gd name="connsiteX36" fmla="*/ 2896174 w 3313375"/>
                <a:gd name="connsiteY36" fmla="*/ 426658 h 479077"/>
                <a:gd name="connsiteX37" fmla="*/ 2884268 w 3313375"/>
                <a:gd name="connsiteY37" fmla="*/ 438068 h 479077"/>
                <a:gd name="connsiteX38" fmla="*/ 2873354 w 3313375"/>
                <a:gd name="connsiteY38" fmla="*/ 450470 h 479077"/>
                <a:gd name="connsiteX39" fmla="*/ 2860952 w 3313375"/>
                <a:gd name="connsiteY39" fmla="*/ 461384 h 479077"/>
                <a:gd name="connsiteX40" fmla="*/ 2850039 w 3313375"/>
                <a:gd name="connsiteY40" fmla="*/ 473786 h 479077"/>
                <a:gd name="connsiteX41" fmla="*/ 2833668 w 3313375"/>
                <a:gd name="connsiteY41" fmla="*/ 473786 h 479077"/>
                <a:gd name="connsiteX42" fmla="*/ 2817297 w 3313375"/>
                <a:gd name="connsiteY42" fmla="*/ 473290 h 479077"/>
                <a:gd name="connsiteX43" fmla="*/ 2800927 w 3313375"/>
                <a:gd name="connsiteY43" fmla="*/ 473290 h 479077"/>
                <a:gd name="connsiteX44" fmla="*/ 2784556 w 3313375"/>
                <a:gd name="connsiteY44" fmla="*/ 473786 h 479077"/>
                <a:gd name="connsiteX45" fmla="*/ 2768186 w 3313375"/>
                <a:gd name="connsiteY45" fmla="*/ 474282 h 479077"/>
                <a:gd name="connsiteX46" fmla="*/ 2751815 w 3313375"/>
                <a:gd name="connsiteY46" fmla="*/ 474282 h 479077"/>
                <a:gd name="connsiteX47" fmla="*/ 2735444 w 3313375"/>
                <a:gd name="connsiteY47" fmla="*/ 473290 h 479077"/>
                <a:gd name="connsiteX48" fmla="*/ 2719074 w 3313375"/>
                <a:gd name="connsiteY48" fmla="*/ 474282 h 479077"/>
                <a:gd name="connsiteX49" fmla="*/ 2702703 w 3313375"/>
                <a:gd name="connsiteY49" fmla="*/ 472298 h 479077"/>
                <a:gd name="connsiteX50" fmla="*/ 2686333 w 3313375"/>
                <a:gd name="connsiteY50" fmla="*/ 472794 h 479077"/>
                <a:gd name="connsiteX51" fmla="*/ 2669962 w 3313375"/>
                <a:gd name="connsiteY51" fmla="*/ 474282 h 479077"/>
                <a:gd name="connsiteX52" fmla="*/ 2653592 w 3313375"/>
                <a:gd name="connsiteY52" fmla="*/ 472298 h 479077"/>
                <a:gd name="connsiteX53" fmla="*/ 2637221 w 3313375"/>
                <a:gd name="connsiteY53" fmla="*/ 474282 h 479077"/>
                <a:gd name="connsiteX54" fmla="*/ 2620851 w 3313375"/>
                <a:gd name="connsiteY54" fmla="*/ 474282 h 479077"/>
                <a:gd name="connsiteX55" fmla="*/ 2604480 w 3313375"/>
                <a:gd name="connsiteY55" fmla="*/ 472298 h 479077"/>
                <a:gd name="connsiteX56" fmla="*/ 2588109 w 3313375"/>
                <a:gd name="connsiteY56" fmla="*/ 473786 h 479077"/>
                <a:gd name="connsiteX57" fmla="*/ 2571739 w 3313375"/>
                <a:gd name="connsiteY57" fmla="*/ 472298 h 479077"/>
                <a:gd name="connsiteX58" fmla="*/ 2555368 w 3313375"/>
                <a:gd name="connsiteY58" fmla="*/ 473290 h 479077"/>
                <a:gd name="connsiteX59" fmla="*/ 2538998 w 3313375"/>
                <a:gd name="connsiteY59" fmla="*/ 474282 h 479077"/>
                <a:gd name="connsiteX60" fmla="*/ 2522627 w 3313375"/>
                <a:gd name="connsiteY60" fmla="*/ 473290 h 479077"/>
                <a:gd name="connsiteX61" fmla="*/ 2506257 w 3313375"/>
                <a:gd name="connsiteY61" fmla="*/ 474282 h 479077"/>
                <a:gd name="connsiteX62" fmla="*/ 2489886 w 3313375"/>
                <a:gd name="connsiteY62" fmla="*/ 473786 h 479077"/>
                <a:gd name="connsiteX63" fmla="*/ 2473516 w 3313375"/>
                <a:gd name="connsiteY63" fmla="*/ 474282 h 479077"/>
                <a:gd name="connsiteX64" fmla="*/ 2457145 w 3313375"/>
                <a:gd name="connsiteY64" fmla="*/ 472794 h 479077"/>
                <a:gd name="connsiteX65" fmla="*/ 2440775 w 3313375"/>
                <a:gd name="connsiteY65" fmla="*/ 472298 h 479077"/>
                <a:gd name="connsiteX66" fmla="*/ 2424404 w 3313375"/>
                <a:gd name="connsiteY66" fmla="*/ 473786 h 479077"/>
                <a:gd name="connsiteX67" fmla="*/ 2408033 w 3313375"/>
                <a:gd name="connsiteY67" fmla="*/ 472794 h 479077"/>
                <a:gd name="connsiteX68" fmla="*/ 2391663 w 3313375"/>
                <a:gd name="connsiteY68" fmla="*/ 473290 h 479077"/>
                <a:gd name="connsiteX69" fmla="*/ 2375292 w 3313375"/>
                <a:gd name="connsiteY69" fmla="*/ 473290 h 479077"/>
                <a:gd name="connsiteX70" fmla="*/ 2358922 w 3313375"/>
                <a:gd name="connsiteY70" fmla="*/ 472794 h 479077"/>
                <a:gd name="connsiteX71" fmla="*/ 2342551 w 3313375"/>
                <a:gd name="connsiteY71" fmla="*/ 472298 h 479077"/>
                <a:gd name="connsiteX72" fmla="*/ 2326180 w 3313375"/>
                <a:gd name="connsiteY72" fmla="*/ 473786 h 479077"/>
                <a:gd name="connsiteX73" fmla="*/ 2309810 w 3313375"/>
                <a:gd name="connsiteY73" fmla="*/ 473786 h 479077"/>
                <a:gd name="connsiteX74" fmla="*/ 2293439 w 3313375"/>
                <a:gd name="connsiteY74" fmla="*/ 473786 h 479077"/>
                <a:gd name="connsiteX75" fmla="*/ 2277069 w 3313375"/>
                <a:gd name="connsiteY75" fmla="*/ 472794 h 479077"/>
                <a:gd name="connsiteX76" fmla="*/ 2260698 w 3313375"/>
                <a:gd name="connsiteY76" fmla="*/ 474282 h 479077"/>
                <a:gd name="connsiteX77" fmla="*/ 2244327 w 3313375"/>
                <a:gd name="connsiteY77" fmla="*/ 472298 h 479077"/>
                <a:gd name="connsiteX78" fmla="*/ 2227957 w 3313375"/>
                <a:gd name="connsiteY78" fmla="*/ 474282 h 479077"/>
                <a:gd name="connsiteX79" fmla="*/ 2211586 w 3313375"/>
                <a:gd name="connsiteY79" fmla="*/ 473290 h 479077"/>
                <a:gd name="connsiteX80" fmla="*/ 2195216 w 3313375"/>
                <a:gd name="connsiteY80" fmla="*/ 474282 h 479077"/>
                <a:gd name="connsiteX81" fmla="*/ 2178845 w 3313375"/>
                <a:gd name="connsiteY81" fmla="*/ 472794 h 479077"/>
                <a:gd name="connsiteX82" fmla="*/ 2162474 w 3313375"/>
                <a:gd name="connsiteY82" fmla="*/ 474778 h 479077"/>
                <a:gd name="connsiteX83" fmla="*/ 2146104 w 3313375"/>
                <a:gd name="connsiteY83" fmla="*/ 473290 h 479077"/>
                <a:gd name="connsiteX84" fmla="*/ 2129733 w 3313375"/>
                <a:gd name="connsiteY84" fmla="*/ 474778 h 479077"/>
                <a:gd name="connsiteX85" fmla="*/ 2113363 w 3313375"/>
                <a:gd name="connsiteY85" fmla="*/ 474778 h 479077"/>
                <a:gd name="connsiteX86" fmla="*/ 2096992 w 3313375"/>
                <a:gd name="connsiteY86" fmla="*/ 474778 h 479077"/>
                <a:gd name="connsiteX87" fmla="*/ 2080621 w 3313375"/>
                <a:gd name="connsiteY87" fmla="*/ 474282 h 479077"/>
                <a:gd name="connsiteX88" fmla="*/ 2064251 w 3313375"/>
                <a:gd name="connsiteY88" fmla="*/ 472794 h 479077"/>
                <a:gd name="connsiteX89" fmla="*/ 2047880 w 3313375"/>
                <a:gd name="connsiteY89" fmla="*/ 474778 h 479077"/>
                <a:gd name="connsiteX90" fmla="*/ 2031510 w 3313375"/>
                <a:gd name="connsiteY90" fmla="*/ 474778 h 479077"/>
                <a:gd name="connsiteX91" fmla="*/ 2015139 w 3313375"/>
                <a:gd name="connsiteY91" fmla="*/ 474778 h 479077"/>
                <a:gd name="connsiteX92" fmla="*/ 1998769 w 3313375"/>
                <a:gd name="connsiteY92" fmla="*/ 474282 h 479077"/>
                <a:gd name="connsiteX93" fmla="*/ 1982398 w 3313375"/>
                <a:gd name="connsiteY93" fmla="*/ 473786 h 479077"/>
                <a:gd name="connsiteX94" fmla="*/ 1966028 w 3313375"/>
                <a:gd name="connsiteY94" fmla="*/ 473786 h 479077"/>
                <a:gd name="connsiteX95" fmla="*/ 1949657 w 3313375"/>
                <a:gd name="connsiteY95" fmla="*/ 472794 h 479077"/>
                <a:gd name="connsiteX96" fmla="*/ 1933287 w 3313375"/>
                <a:gd name="connsiteY96" fmla="*/ 473290 h 479077"/>
                <a:gd name="connsiteX97" fmla="*/ 1916916 w 3313375"/>
                <a:gd name="connsiteY97" fmla="*/ 474778 h 479077"/>
                <a:gd name="connsiteX98" fmla="*/ 1900546 w 3313375"/>
                <a:gd name="connsiteY98" fmla="*/ 472794 h 479077"/>
                <a:gd name="connsiteX99" fmla="*/ 1884175 w 3313375"/>
                <a:gd name="connsiteY99" fmla="*/ 473786 h 479077"/>
                <a:gd name="connsiteX100" fmla="*/ 1867804 w 3313375"/>
                <a:gd name="connsiteY100" fmla="*/ 474778 h 479077"/>
                <a:gd name="connsiteX101" fmla="*/ 1851434 w 3313375"/>
                <a:gd name="connsiteY101" fmla="*/ 474778 h 479077"/>
                <a:gd name="connsiteX102" fmla="*/ 1835063 w 3313375"/>
                <a:gd name="connsiteY102" fmla="*/ 474778 h 479077"/>
                <a:gd name="connsiteX103" fmla="*/ 1818693 w 3313375"/>
                <a:gd name="connsiteY103" fmla="*/ 474282 h 479077"/>
                <a:gd name="connsiteX104" fmla="*/ 1802322 w 3313375"/>
                <a:gd name="connsiteY104" fmla="*/ 472794 h 479077"/>
                <a:gd name="connsiteX105" fmla="*/ 1785951 w 3313375"/>
                <a:gd name="connsiteY105" fmla="*/ 473786 h 479077"/>
                <a:gd name="connsiteX106" fmla="*/ 1769581 w 3313375"/>
                <a:gd name="connsiteY106" fmla="*/ 473290 h 479077"/>
                <a:gd name="connsiteX107" fmla="*/ 1753210 w 3313375"/>
                <a:gd name="connsiteY107" fmla="*/ 472298 h 479077"/>
                <a:gd name="connsiteX108" fmla="*/ 1736840 w 3313375"/>
                <a:gd name="connsiteY108" fmla="*/ 473290 h 479077"/>
                <a:gd name="connsiteX109" fmla="*/ 1720469 w 3313375"/>
                <a:gd name="connsiteY109" fmla="*/ 474778 h 479077"/>
                <a:gd name="connsiteX110" fmla="*/ 1704098 w 3313375"/>
                <a:gd name="connsiteY110" fmla="*/ 472794 h 479077"/>
                <a:gd name="connsiteX111" fmla="*/ 1687728 w 3313375"/>
                <a:gd name="connsiteY111" fmla="*/ 474778 h 479077"/>
                <a:gd name="connsiteX112" fmla="*/ 1671357 w 3313375"/>
                <a:gd name="connsiteY112" fmla="*/ 474778 h 479077"/>
                <a:gd name="connsiteX113" fmla="*/ 1654987 w 3313375"/>
                <a:gd name="connsiteY113" fmla="*/ 472298 h 479077"/>
                <a:gd name="connsiteX114" fmla="*/ 1638616 w 3313375"/>
                <a:gd name="connsiteY114" fmla="*/ 472794 h 479077"/>
                <a:gd name="connsiteX115" fmla="*/ 1622246 w 3313375"/>
                <a:gd name="connsiteY115" fmla="*/ 473786 h 479077"/>
                <a:gd name="connsiteX116" fmla="*/ 1605875 w 3313375"/>
                <a:gd name="connsiteY116" fmla="*/ 474778 h 479077"/>
                <a:gd name="connsiteX117" fmla="*/ 1589505 w 3313375"/>
                <a:gd name="connsiteY117" fmla="*/ 473290 h 479077"/>
                <a:gd name="connsiteX118" fmla="*/ 1573134 w 3313375"/>
                <a:gd name="connsiteY118" fmla="*/ 474778 h 479077"/>
                <a:gd name="connsiteX119" fmla="*/ 1556763 w 3313375"/>
                <a:gd name="connsiteY119" fmla="*/ 472794 h 479077"/>
                <a:gd name="connsiteX120" fmla="*/ 1540393 w 3313375"/>
                <a:gd name="connsiteY120" fmla="*/ 472794 h 479077"/>
                <a:gd name="connsiteX121" fmla="*/ 1524022 w 3313375"/>
                <a:gd name="connsiteY121" fmla="*/ 474282 h 479077"/>
                <a:gd name="connsiteX122" fmla="*/ 1507652 w 3313375"/>
                <a:gd name="connsiteY122" fmla="*/ 472794 h 479077"/>
                <a:gd name="connsiteX123" fmla="*/ 1491281 w 3313375"/>
                <a:gd name="connsiteY123" fmla="*/ 474282 h 479077"/>
                <a:gd name="connsiteX124" fmla="*/ 1474910 w 3313375"/>
                <a:gd name="connsiteY124" fmla="*/ 474282 h 479077"/>
                <a:gd name="connsiteX125" fmla="*/ 1458540 w 3313375"/>
                <a:gd name="connsiteY125" fmla="*/ 472794 h 479077"/>
                <a:gd name="connsiteX126" fmla="*/ 1442169 w 3313375"/>
                <a:gd name="connsiteY126" fmla="*/ 471802 h 479077"/>
                <a:gd name="connsiteX127" fmla="*/ 1425799 w 3313375"/>
                <a:gd name="connsiteY127" fmla="*/ 472298 h 479077"/>
                <a:gd name="connsiteX128" fmla="*/ 1409428 w 3313375"/>
                <a:gd name="connsiteY128" fmla="*/ 472794 h 479077"/>
                <a:gd name="connsiteX129" fmla="*/ 1393058 w 3313375"/>
                <a:gd name="connsiteY129" fmla="*/ 473786 h 479077"/>
                <a:gd name="connsiteX130" fmla="*/ 1376687 w 3313375"/>
                <a:gd name="connsiteY130" fmla="*/ 471802 h 479077"/>
                <a:gd name="connsiteX131" fmla="*/ 1360317 w 3313375"/>
                <a:gd name="connsiteY131" fmla="*/ 473786 h 479077"/>
                <a:gd name="connsiteX132" fmla="*/ 1343946 w 3313375"/>
                <a:gd name="connsiteY132" fmla="*/ 473786 h 479077"/>
                <a:gd name="connsiteX133" fmla="*/ 1327576 w 3313375"/>
                <a:gd name="connsiteY133" fmla="*/ 472794 h 479077"/>
                <a:gd name="connsiteX134" fmla="*/ 1311205 w 3313375"/>
                <a:gd name="connsiteY134" fmla="*/ 473786 h 479077"/>
                <a:gd name="connsiteX135" fmla="*/ 1294834 w 3313375"/>
                <a:gd name="connsiteY135" fmla="*/ 473786 h 479077"/>
                <a:gd name="connsiteX136" fmla="*/ 1278464 w 3313375"/>
                <a:gd name="connsiteY136" fmla="*/ 473786 h 479077"/>
                <a:gd name="connsiteX137" fmla="*/ 1262093 w 3313375"/>
                <a:gd name="connsiteY137" fmla="*/ 473786 h 479077"/>
                <a:gd name="connsiteX138" fmla="*/ 1245723 w 3313375"/>
                <a:gd name="connsiteY138" fmla="*/ 473290 h 479077"/>
                <a:gd name="connsiteX139" fmla="*/ 1229352 w 3313375"/>
                <a:gd name="connsiteY139" fmla="*/ 472794 h 479077"/>
                <a:gd name="connsiteX140" fmla="*/ 1212981 w 3313375"/>
                <a:gd name="connsiteY140" fmla="*/ 473786 h 479077"/>
                <a:gd name="connsiteX141" fmla="*/ 1196611 w 3313375"/>
                <a:gd name="connsiteY141" fmla="*/ 472298 h 479077"/>
                <a:gd name="connsiteX142" fmla="*/ 1180240 w 3313375"/>
                <a:gd name="connsiteY142" fmla="*/ 472794 h 479077"/>
                <a:gd name="connsiteX143" fmla="*/ 1163870 w 3313375"/>
                <a:gd name="connsiteY143" fmla="*/ 472794 h 479077"/>
                <a:gd name="connsiteX144" fmla="*/ 1147499 w 3313375"/>
                <a:gd name="connsiteY144" fmla="*/ 473786 h 479077"/>
                <a:gd name="connsiteX145" fmla="*/ 1131128 w 3313375"/>
                <a:gd name="connsiteY145" fmla="*/ 473786 h 479077"/>
                <a:gd name="connsiteX146" fmla="*/ 1114758 w 3313375"/>
                <a:gd name="connsiteY146" fmla="*/ 472794 h 479077"/>
                <a:gd name="connsiteX147" fmla="*/ 1098387 w 3313375"/>
                <a:gd name="connsiteY147" fmla="*/ 473786 h 479077"/>
                <a:gd name="connsiteX148" fmla="*/ 1082017 w 3313375"/>
                <a:gd name="connsiteY148" fmla="*/ 474778 h 479077"/>
                <a:gd name="connsiteX149" fmla="*/ 1065646 w 3313375"/>
                <a:gd name="connsiteY149" fmla="*/ 474778 h 479077"/>
                <a:gd name="connsiteX150" fmla="*/ 1049276 w 3313375"/>
                <a:gd name="connsiteY150" fmla="*/ 474282 h 479077"/>
                <a:gd name="connsiteX151" fmla="*/ 1032905 w 3313375"/>
                <a:gd name="connsiteY151" fmla="*/ 473290 h 479077"/>
                <a:gd name="connsiteX152" fmla="*/ 1016535 w 3313375"/>
                <a:gd name="connsiteY152" fmla="*/ 474282 h 479077"/>
                <a:gd name="connsiteX153" fmla="*/ 1000164 w 3313375"/>
                <a:gd name="connsiteY153" fmla="*/ 474282 h 479077"/>
                <a:gd name="connsiteX154" fmla="*/ 983793 w 3313375"/>
                <a:gd name="connsiteY154" fmla="*/ 472794 h 479077"/>
                <a:gd name="connsiteX155" fmla="*/ 967423 w 3313375"/>
                <a:gd name="connsiteY155" fmla="*/ 472794 h 479077"/>
                <a:gd name="connsiteX156" fmla="*/ 951052 w 3313375"/>
                <a:gd name="connsiteY156" fmla="*/ 473786 h 479077"/>
                <a:gd name="connsiteX157" fmla="*/ 934682 w 3313375"/>
                <a:gd name="connsiteY157" fmla="*/ 474282 h 479077"/>
                <a:gd name="connsiteX158" fmla="*/ 918311 w 3313375"/>
                <a:gd name="connsiteY158" fmla="*/ 474778 h 479077"/>
                <a:gd name="connsiteX159" fmla="*/ 901940 w 3313375"/>
                <a:gd name="connsiteY159" fmla="*/ 473290 h 479077"/>
                <a:gd name="connsiteX160" fmla="*/ 885570 w 3313375"/>
                <a:gd name="connsiteY160" fmla="*/ 474778 h 479077"/>
                <a:gd name="connsiteX161" fmla="*/ 869199 w 3313375"/>
                <a:gd name="connsiteY161" fmla="*/ 474282 h 479077"/>
                <a:gd name="connsiteX162" fmla="*/ 852829 w 3313375"/>
                <a:gd name="connsiteY162" fmla="*/ 473786 h 479077"/>
                <a:gd name="connsiteX163" fmla="*/ 836458 w 3313375"/>
                <a:gd name="connsiteY163" fmla="*/ 474778 h 479077"/>
                <a:gd name="connsiteX164" fmla="*/ 820088 w 3313375"/>
                <a:gd name="connsiteY164" fmla="*/ 475274 h 479077"/>
                <a:gd name="connsiteX165" fmla="*/ 803717 w 3313375"/>
                <a:gd name="connsiteY165" fmla="*/ 473786 h 479077"/>
                <a:gd name="connsiteX166" fmla="*/ 787347 w 3313375"/>
                <a:gd name="connsiteY166" fmla="*/ 475770 h 479077"/>
                <a:gd name="connsiteX167" fmla="*/ 770976 w 3313375"/>
                <a:gd name="connsiteY167" fmla="*/ 474778 h 479077"/>
                <a:gd name="connsiteX168" fmla="*/ 754605 w 3313375"/>
                <a:gd name="connsiteY168" fmla="*/ 475274 h 479077"/>
                <a:gd name="connsiteX169" fmla="*/ 738235 w 3313375"/>
                <a:gd name="connsiteY169" fmla="*/ 473786 h 479077"/>
                <a:gd name="connsiteX170" fmla="*/ 721864 w 3313375"/>
                <a:gd name="connsiteY170" fmla="*/ 475274 h 479077"/>
                <a:gd name="connsiteX171" fmla="*/ 705494 w 3313375"/>
                <a:gd name="connsiteY171" fmla="*/ 475770 h 479077"/>
                <a:gd name="connsiteX172" fmla="*/ 689123 w 3313375"/>
                <a:gd name="connsiteY172" fmla="*/ 474282 h 479077"/>
                <a:gd name="connsiteX173" fmla="*/ 672753 w 3313375"/>
                <a:gd name="connsiteY173" fmla="*/ 475274 h 479077"/>
                <a:gd name="connsiteX174" fmla="*/ 656382 w 3313375"/>
                <a:gd name="connsiteY174" fmla="*/ 474778 h 479077"/>
                <a:gd name="connsiteX175" fmla="*/ 640011 w 3313375"/>
                <a:gd name="connsiteY175" fmla="*/ 475770 h 479077"/>
                <a:gd name="connsiteX176" fmla="*/ 623641 w 3313375"/>
                <a:gd name="connsiteY176" fmla="*/ 473786 h 479077"/>
                <a:gd name="connsiteX177" fmla="*/ 607270 w 3313375"/>
                <a:gd name="connsiteY177" fmla="*/ 474778 h 479077"/>
                <a:gd name="connsiteX178" fmla="*/ 590900 w 3313375"/>
                <a:gd name="connsiteY178" fmla="*/ 475274 h 479077"/>
                <a:gd name="connsiteX179" fmla="*/ 574529 w 3313375"/>
                <a:gd name="connsiteY179" fmla="*/ 474282 h 479077"/>
                <a:gd name="connsiteX180" fmla="*/ 558158 w 3313375"/>
                <a:gd name="connsiteY180" fmla="*/ 475274 h 479077"/>
                <a:gd name="connsiteX181" fmla="*/ 541788 w 3313375"/>
                <a:gd name="connsiteY181" fmla="*/ 475770 h 479077"/>
                <a:gd name="connsiteX182" fmla="*/ 525417 w 3313375"/>
                <a:gd name="connsiteY182" fmla="*/ 474282 h 479077"/>
                <a:gd name="connsiteX183" fmla="*/ 509047 w 3313375"/>
                <a:gd name="connsiteY183" fmla="*/ 473786 h 479077"/>
                <a:gd name="connsiteX184" fmla="*/ 492676 w 3313375"/>
                <a:gd name="connsiteY184" fmla="*/ 473786 h 479077"/>
                <a:gd name="connsiteX185" fmla="*/ 476306 w 3313375"/>
                <a:gd name="connsiteY185" fmla="*/ 474778 h 479077"/>
                <a:gd name="connsiteX186" fmla="*/ 459935 w 3313375"/>
                <a:gd name="connsiteY186" fmla="*/ 473786 h 479077"/>
                <a:gd name="connsiteX187" fmla="*/ 443565 w 3313375"/>
                <a:gd name="connsiteY187" fmla="*/ 474778 h 479077"/>
                <a:gd name="connsiteX188" fmla="*/ 427194 w 3313375"/>
                <a:gd name="connsiteY188" fmla="*/ 474282 h 479077"/>
                <a:gd name="connsiteX189" fmla="*/ 410823 w 3313375"/>
                <a:gd name="connsiteY189" fmla="*/ 473290 h 479077"/>
                <a:gd name="connsiteX190" fmla="*/ 394453 w 3313375"/>
                <a:gd name="connsiteY190" fmla="*/ 475770 h 479077"/>
                <a:gd name="connsiteX191" fmla="*/ 378082 w 3313375"/>
                <a:gd name="connsiteY191" fmla="*/ 475274 h 479077"/>
                <a:gd name="connsiteX192" fmla="*/ 361712 w 3313375"/>
                <a:gd name="connsiteY192" fmla="*/ 474778 h 479077"/>
                <a:gd name="connsiteX193" fmla="*/ 345341 w 3313375"/>
                <a:gd name="connsiteY193" fmla="*/ 476266 h 479077"/>
                <a:gd name="connsiteX194" fmla="*/ 328970 w 3313375"/>
                <a:gd name="connsiteY194" fmla="*/ 474282 h 479077"/>
                <a:gd name="connsiteX195" fmla="*/ 312600 w 3313375"/>
                <a:gd name="connsiteY195" fmla="*/ 475274 h 479077"/>
                <a:gd name="connsiteX196" fmla="*/ 296229 w 3313375"/>
                <a:gd name="connsiteY196" fmla="*/ 474282 h 479077"/>
                <a:gd name="connsiteX197" fmla="*/ 279859 w 3313375"/>
                <a:gd name="connsiteY197" fmla="*/ 475770 h 479077"/>
                <a:gd name="connsiteX198" fmla="*/ 263488 w 3313375"/>
                <a:gd name="connsiteY198" fmla="*/ 476266 h 479077"/>
                <a:gd name="connsiteX199" fmla="*/ 247118 w 3313375"/>
                <a:gd name="connsiteY199" fmla="*/ 476266 h 479077"/>
                <a:gd name="connsiteX200" fmla="*/ 230747 w 3313375"/>
                <a:gd name="connsiteY200" fmla="*/ 474778 h 479077"/>
                <a:gd name="connsiteX201" fmla="*/ 214376 w 3313375"/>
                <a:gd name="connsiteY201" fmla="*/ 474778 h 479077"/>
                <a:gd name="connsiteX202" fmla="*/ 198006 w 3313375"/>
                <a:gd name="connsiteY202" fmla="*/ 476762 h 479077"/>
                <a:gd name="connsiteX203" fmla="*/ 181635 w 3313375"/>
                <a:gd name="connsiteY203" fmla="*/ 476266 h 479077"/>
                <a:gd name="connsiteX204" fmla="*/ 165265 w 3313375"/>
                <a:gd name="connsiteY204" fmla="*/ 474778 h 479077"/>
                <a:gd name="connsiteX205" fmla="*/ 148894 w 3313375"/>
                <a:gd name="connsiteY205" fmla="*/ 476762 h 479077"/>
                <a:gd name="connsiteX206" fmla="*/ 132524 w 3313375"/>
                <a:gd name="connsiteY206" fmla="*/ 476266 h 479077"/>
                <a:gd name="connsiteX207" fmla="*/ 116153 w 3313375"/>
                <a:gd name="connsiteY207" fmla="*/ 475274 h 479077"/>
                <a:gd name="connsiteX208" fmla="*/ 99783 w 3313375"/>
                <a:gd name="connsiteY208" fmla="*/ 475274 h 479077"/>
                <a:gd name="connsiteX209" fmla="*/ 83412 w 3313375"/>
                <a:gd name="connsiteY209" fmla="*/ 475274 h 479077"/>
                <a:gd name="connsiteX210" fmla="*/ 67041 w 3313375"/>
                <a:gd name="connsiteY210" fmla="*/ 474778 h 479077"/>
                <a:gd name="connsiteX211" fmla="*/ 50671 w 3313375"/>
                <a:gd name="connsiteY211" fmla="*/ 475274 h 479077"/>
                <a:gd name="connsiteX212" fmla="*/ 34300 w 3313375"/>
                <a:gd name="connsiteY212" fmla="*/ 475274 h 479077"/>
                <a:gd name="connsiteX213" fmla="*/ 17930 w 3313375"/>
                <a:gd name="connsiteY213" fmla="*/ 475770 h 479077"/>
                <a:gd name="connsiteX214" fmla="*/ 567 w 3313375"/>
                <a:gd name="connsiteY214" fmla="*/ 475770 h 479077"/>
                <a:gd name="connsiteX215" fmla="*/ 12969 w 3313375"/>
                <a:gd name="connsiteY215" fmla="*/ 463368 h 479077"/>
                <a:gd name="connsiteX216" fmla="*/ 24379 w 3313375"/>
                <a:gd name="connsiteY216" fmla="*/ 451958 h 479077"/>
                <a:gd name="connsiteX217" fmla="*/ 35788 w 3313375"/>
                <a:gd name="connsiteY217" fmla="*/ 440053 h 479077"/>
                <a:gd name="connsiteX218" fmla="*/ 48686 w 3313375"/>
                <a:gd name="connsiteY218" fmla="*/ 430131 h 479077"/>
                <a:gd name="connsiteX219" fmla="*/ 59600 w 3313375"/>
                <a:gd name="connsiteY219" fmla="*/ 418225 h 479077"/>
                <a:gd name="connsiteX220" fmla="*/ 70514 w 3313375"/>
                <a:gd name="connsiteY220" fmla="*/ 405823 h 479077"/>
                <a:gd name="connsiteX221" fmla="*/ 83412 w 3313375"/>
                <a:gd name="connsiteY221" fmla="*/ 395406 h 479077"/>
                <a:gd name="connsiteX222" fmla="*/ 94822 w 3313375"/>
                <a:gd name="connsiteY222" fmla="*/ 383500 h 479077"/>
                <a:gd name="connsiteX223" fmla="*/ 106728 w 3313375"/>
                <a:gd name="connsiteY223" fmla="*/ 372090 h 479077"/>
                <a:gd name="connsiteX224" fmla="*/ 117145 w 3313375"/>
                <a:gd name="connsiteY224" fmla="*/ 359688 h 479077"/>
                <a:gd name="connsiteX225" fmla="*/ 128555 w 3313375"/>
                <a:gd name="connsiteY225" fmla="*/ 348278 h 479077"/>
                <a:gd name="connsiteX226" fmla="*/ 140461 w 3313375"/>
                <a:gd name="connsiteY226" fmla="*/ 336868 h 479077"/>
                <a:gd name="connsiteX227" fmla="*/ 152863 w 3313375"/>
                <a:gd name="connsiteY227" fmla="*/ 326451 h 479077"/>
                <a:gd name="connsiteX228" fmla="*/ 164769 w 3313375"/>
                <a:gd name="connsiteY228" fmla="*/ 315041 h 479077"/>
                <a:gd name="connsiteX229" fmla="*/ 176178 w 3313375"/>
                <a:gd name="connsiteY229" fmla="*/ 303135 h 479077"/>
                <a:gd name="connsiteX230" fmla="*/ 188084 w 3313375"/>
                <a:gd name="connsiteY230" fmla="*/ 291725 h 479077"/>
                <a:gd name="connsiteX231" fmla="*/ 199494 w 3313375"/>
                <a:gd name="connsiteY231" fmla="*/ 280315 h 479077"/>
                <a:gd name="connsiteX232" fmla="*/ 210904 w 3313375"/>
                <a:gd name="connsiteY232" fmla="*/ 268906 h 479077"/>
                <a:gd name="connsiteX233" fmla="*/ 221818 w 3313375"/>
                <a:gd name="connsiteY233" fmla="*/ 256504 h 479077"/>
                <a:gd name="connsiteX234" fmla="*/ 233724 w 3313375"/>
                <a:gd name="connsiteY234" fmla="*/ 245094 h 479077"/>
                <a:gd name="connsiteX235" fmla="*/ 244141 w 3313375"/>
                <a:gd name="connsiteY235" fmla="*/ 232692 h 479077"/>
                <a:gd name="connsiteX236" fmla="*/ 257039 w 3313375"/>
                <a:gd name="connsiteY236" fmla="*/ 222770 h 479077"/>
                <a:gd name="connsiteX237" fmla="*/ 266961 w 3313375"/>
                <a:gd name="connsiteY237" fmla="*/ 209376 h 479077"/>
                <a:gd name="connsiteX238" fmla="*/ 278371 w 3313375"/>
                <a:gd name="connsiteY238" fmla="*/ 197966 h 479077"/>
                <a:gd name="connsiteX239" fmla="*/ 291269 w 3313375"/>
                <a:gd name="connsiteY239" fmla="*/ 188045 h 479077"/>
                <a:gd name="connsiteX240" fmla="*/ 301686 w 3313375"/>
                <a:gd name="connsiteY240" fmla="*/ 175147 h 479077"/>
                <a:gd name="connsiteX241" fmla="*/ 313592 w 3313375"/>
                <a:gd name="connsiteY241" fmla="*/ 163737 h 479077"/>
                <a:gd name="connsiteX242" fmla="*/ 325994 w 3313375"/>
                <a:gd name="connsiteY242" fmla="*/ 153319 h 479077"/>
                <a:gd name="connsiteX243" fmla="*/ 337404 w 3313375"/>
                <a:gd name="connsiteY243" fmla="*/ 141910 h 479077"/>
                <a:gd name="connsiteX244" fmla="*/ 347325 w 3313375"/>
                <a:gd name="connsiteY244" fmla="*/ 129012 h 479077"/>
                <a:gd name="connsiteX245" fmla="*/ 360224 w 3313375"/>
                <a:gd name="connsiteY245" fmla="*/ 118594 h 479077"/>
                <a:gd name="connsiteX246" fmla="*/ 371137 w 3313375"/>
                <a:gd name="connsiteY246" fmla="*/ 106192 h 479077"/>
                <a:gd name="connsiteX247" fmla="*/ 382051 w 3313375"/>
                <a:gd name="connsiteY247" fmla="*/ 93790 h 479077"/>
                <a:gd name="connsiteX248" fmla="*/ 393957 w 3313375"/>
                <a:gd name="connsiteY248" fmla="*/ 82380 h 479077"/>
                <a:gd name="connsiteX249" fmla="*/ 405366 w 3313375"/>
                <a:gd name="connsiteY249" fmla="*/ 70475 h 479077"/>
                <a:gd name="connsiteX250" fmla="*/ 417272 w 3313375"/>
                <a:gd name="connsiteY250" fmla="*/ 59561 h 479077"/>
                <a:gd name="connsiteX251" fmla="*/ 429674 w 3313375"/>
                <a:gd name="connsiteY251" fmla="*/ 48647 h 479077"/>
                <a:gd name="connsiteX252" fmla="*/ 440092 w 3313375"/>
                <a:gd name="connsiteY252" fmla="*/ 35749 h 479077"/>
                <a:gd name="connsiteX253" fmla="*/ 452494 w 3313375"/>
                <a:gd name="connsiteY253" fmla="*/ 24835 h 479077"/>
                <a:gd name="connsiteX254" fmla="*/ 463904 w 3313375"/>
                <a:gd name="connsiteY254" fmla="*/ 12929 h 479077"/>
                <a:gd name="connsiteX255" fmla="*/ 475313 w 3313375"/>
                <a:gd name="connsiteY255" fmla="*/ 1024 h 479077"/>
                <a:gd name="connsiteX256" fmla="*/ 491684 w 3313375"/>
                <a:gd name="connsiteY256" fmla="*/ 2512 h 479077"/>
                <a:gd name="connsiteX257" fmla="*/ 508055 w 3313375"/>
                <a:gd name="connsiteY257" fmla="*/ 2512 h 479077"/>
                <a:gd name="connsiteX258" fmla="*/ 524425 w 3313375"/>
                <a:gd name="connsiteY258" fmla="*/ 2512 h 479077"/>
                <a:gd name="connsiteX259" fmla="*/ 540796 w 3313375"/>
                <a:gd name="connsiteY259" fmla="*/ 1024 h 479077"/>
                <a:gd name="connsiteX260" fmla="*/ 557166 w 3313375"/>
                <a:gd name="connsiteY260" fmla="*/ 2512 h 479077"/>
                <a:gd name="connsiteX261" fmla="*/ 573537 w 3313375"/>
                <a:gd name="connsiteY261" fmla="*/ 1024 h 479077"/>
                <a:gd name="connsiteX262" fmla="*/ 589908 w 3313375"/>
                <a:gd name="connsiteY262" fmla="*/ 527 h 479077"/>
                <a:gd name="connsiteX263" fmla="*/ 606278 w 3313375"/>
                <a:gd name="connsiteY263" fmla="*/ 1520 h 479077"/>
                <a:gd name="connsiteX264" fmla="*/ 622649 w 3313375"/>
                <a:gd name="connsiteY264" fmla="*/ 1520 h 479077"/>
                <a:gd name="connsiteX265" fmla="*/ 639019 w 3313375"/>
                <a:gd name="connsiteY265" fmla="*/ 2016 h 479077"/>
                <a:gd name="connsiteX266" fmla="*/ 655390 w 3313375"/>
                <a:gd name="connsiteY266" fmla="*/ 527 h 479077"/>
                <a:gd name="connsiteX267" fmla="*/ 671760 w 3313375"/>
                <a:gd name="connsiteY267" fmla="*/ 1520 h 479077"/>
                <a:gd name="connsiteX268" fmla="*/ 688131 w 3313375"/>
                <a:gd name="connsiteY268" fmla="*/ 2512 h 479077"/>
                <a:gd name="connsiteX269" fmla="*/ 704501 w 3313375"/>
                <a:gd name="connsiteY269" fmla="*/ 1024 h 479077"/>
                <a:gd name="connsiteX270" fmla="*/ 720872 w 3313375"/>
                <a:gd name="connsiteY270" fmla="*/ 1520 h 479077"/>
                <a:gd name="connsiteX271" fmla="*/ 737243 w 3313375"/>
                <a:gd name="connsiteY271" fmla="*/ 2016 h 479077"/>
                <a:gd name="connsiteX272" fmla="*/ 753613 w 3313375"/>
                <a:gd name="connsiteY272" fmla="*/ 1024 h 479077"/>
                <a:gd name="connsiteX273" fmla="*/ 769984 w 3313375"/>
                <a:gd name="connsiteY273" fmla="*/ 527 h 479077"/>
                <a:gd name="connsiteX274" fmla="*/ 786354 w 3313375"/>
                <a:gd name="connsiteY274" fmla="*/ 1520 h 479077"/>
                <a:gd name="connsiteX275" fmla="*/ 802725 w 3313375"/>
                <a:gd name="connsiteY275" fmla="*/ 527 h 479077"/>
                <a:gd name="connsiteX276" fmla="*/ 819096 w 3313375"/>
                <a:gd name="connsiteY276" fmla="*/ 2512 h 479077"/>
                <a:gd name="connsiteX277" fmla="*/ 835466 w 3313375"/>
                <a:gd name="connsiteY277" fmla="*/ 527 h 479077"/>
                <a:gd name="connsiteX278" fmla="*/ 851837 w 3313375"/>
                <a:gd name="connsiteY278" fmla="*/ 1520 h 479077"/>
                <a:gd name="connsiteX279" fmla="*/ 868207 w 3313375"/>
                <a:gd name="connsiteY279" fmla="*/ 2016 h 479077"/>
                <a:gd name="connsiteX280" fmla="*/ 884578 w 3313375"/>
                <a:gd name="connsiteY280" fmla="*/ 2512 h 479077"/>
                <a:gd name="connsiteX281" fmla="*/ 900948 w 3313375"/>
                <a:gd name="connsiteY281" fmla="*/ 1520 h 479077"/>
                <a:gd name="connsiteX282" fmla="*/ 917319 w 3313375"/>
                <a:gd name="connsiteY282" fmla="*/ 1024 h 479077"/>
                <a:gd name="connsiteX283" fmla="*/ 933689 w 3313375"/>
                <a:gd name="connsiteY283" fmla="*/ 2512 h 479077"/>
                <a:gd name="connsiteX284" fmla="*/ 950060 w 3313375"/>
                <a:gd name="connsiteY284" fmla="*/ 1520 h 479077"/>
                <a:gd name="connsiteX285" fmla="*/ 966431 w 3313375"/>
                <a:gd name="connsiteY285" fmla="*/ 2016 h 479077"/>
                <a:gd name="connsiteX286" fmla="*/ 982801 w 3313375"/>
                <a:gd name="connsiteY286" fmla="*/ 2512 h 479077"/>
                <a:gd name="connsiteX287" fmla="*/ 999172 w 3313375"/>
                <a:gd name="connsiteY287" fmla="*/ 1520 h 479077"/>
                <a:gd name="connsiteX288" fmla="*/ 1015542 w 3313375"/>
                <a:gd name="connsiteY288" fmla="*/ 2512 h 479077"/>
                <a:gd name="connsiteX289" fmla="*/ 1031913 w 3313375"/>
                <a:gd name="connsiteY289" fmla="*/ 1520 h 479077"/>
                <a:gd name="connsiteX290" fmla="*/ 1048283 w 3313375"/>
                <a:gd name="connsiteY290" fmla="*/ 2016 h 479077"/>
                <a:gd name="connsiteX291" fmla="*/ 1064654 w 3313375"/>
                <a:gd name="connsiteY291" fmla="*/ 3504 h 479077"/>
                <a:gd name="connsiteX292" fmla="*/ 1081025 w 3313375"/>
                <a:gd name="connsiteY292" fmla="*/ 2016 h 479077"/>
                <a:gd name="connsiteX293" fmla="*/ 1097395 w 3313375"/>
                <a:gd name="connsiteY293" fmla="*/ 2512 h 479077"/>
                <a:gd name="connsiteX294" fmla="*/ 1113766 w 3313375"/>
                <a:gd name="connsiteY294" fmla="*/ 2512 h 479077"/>
                <a:gd name="connsiteX295" fmla="*/ 1130136 w 3313375"/>
                <a:gd name="connsiteY295" fmla="*/ 3504 h 479077"/>
                <a:gd name="connsiteX296" fmla="*/ 1146507 w 3313375"/>
                <a:gd name="connsiteY296" fmla="*/ 1520 h 479077"/>
                <a:gd name="connsiteX297" fmla="*/ 1162878 w 3313375"/>
                <a:gd name="connsiteY297" fmla="*/ 3008 h 479077"/>
                <a:gd name="connsiteX298" fmla="*/ 1179248 w 3313375"/>
                <a:gd name="connsiteY298" fmla="*/ 4000 h 479077"/>
                <a:gd name="connsiteX299" fmla="*/ 1195619 w 3313375"/>
                <a:gd name="connsiteY299" fmla="*/ 3504 h 479077"/>
                <a:gd name="connsiteX300" fmla="*/ 1211989 w 3313375"/>
                <a:gd name="connsiteY300" fmla="*/ 1520 h 479077"/>
                <a:gd name="connsiteX301" fmla="*/ 1228360 w 3313375"/>
                <a:gd name="connsiteY301" fmla="*/ 3504 h 479077"/>
                <a:gd name="connsiteX302" fmla="*/ 1244730 w 3313375"/>
                <a:gd name="connsiteY302" fmla="*/ 1520 h 479077"/>
                <a:gd name="connsiteX303" fmla="*/ 1261101 w 3313375"/>
                <a:gd name="connsiteY303" fmla="*/ 2512 h 479077"/>
                <a:gd name="connsiteX304" fmla="*/ 1277471 w 3313375"/>
                <a:gd name="connsiteY304" fmla="*/ 3504 h 479077"/>
                <a:gd name="connsiteX305" fmla="*/ 1293842 w 3313375"/>
                <a:gd name="connsiteY305" fmla="*/ 4000 h 479077"/>
                <a:gd name="connsiteX306" fmla="*/ 1310213 w 3313375"/>
                <a:gd name="connsiteY306" fmla="*/ 1520 h 479077"/>
                <a:gd name="connsiteX307" fmla="*/ 1326583 w 3313375"/>
                <a:gd name="connsiteY307" fmla="*/ 2016 h 479077"/>
                <a:gd name="connsiteX308" fmla="*/ 1342954 w 3313375"/>
                <a:gd name="connsiteY308" fmla="*/ 3008 h 479077"/>
                <a:gd name="connsiteX309" fmla="*/ 1359324 w 3313375"/>
                <a:gd name="connsiteY309" fmla="*/ 3008 h 479077"/>
                <a:gd name="connsiteX310" fmla="*/ 1375695 w 3313375"/>
                <a:gd name="connsiteY310" fmla="*/ 2512 h 479077"/>
                <a:gd name="connsiteX311" fmla="*/ 1392066 w 3313375"/>
                <a:gd name="connsiteY311" fmla="*/ 2512 h 479077"/>
                <a:gd name="connsiteX312" fmla="*/ 1408436 w 3313375"/>
                <a:gd name="connsiteY312" fmla="*/ 3504 h 479077"/>
                <a:gd name="connsiteX313" fmla="*/ 1424807 w 3313375"/>
                <a:gd name="connsiteY313" fmla="*/ 3504 h 479077"/>
                <a:gd name="connsiteX314" fmla="*/ 1441177 w 3313375"/>
                <a:gd name="connsiteY314" fmla="*/ 1520 h 479077"/>
                <a:gd name="connsiteX315" fmla="*/ 1457548 w 3313375"/>
                <a:gd name="connsiteY315" fmla="*/ 2512 h 479077"/>
                <a:gd name="connsiteX316" fmla="*/ 1473919 w 3313375"/>
                <a:gd name="connsiteY316" fmla="*/ 2016 h 479077"/>
                <a:gd name="connsiteX317" fmla="*/ 1490289 w 3313375"/>
                <a:gd name="connsiteY317" fmla="*/ 2016 h 479077"/>
                <a:gd name="connsiteX318" fmla="*/ 1506660 w 3313375"/>
                <a:gd name="connsiteY318" fmla="*/ 1520 h 479077"/>
                <a:gd name="connsiteX319" fmla="*/ 1523030 w 3313375"/>
                <a:gd name="connsiteY319" fmla="*/ 3504 h 479077"/>
                <a:gd name="connsiteX320" fmla="*/ 1539401 w 3313375"/>
                <a:gd name="connsiteY320" fmla="*/ 3008 h 479077"/>
                <a:gd name="connsiteX321" fmla="*/ 1555771 w 3313375"/>
                <a:gd name="connsiteY321" fmla="*/ 3008 h 479077"/>
                <a:gd name="connsiteX322" fmla="*/ 1572142 w 3313375"/>
                <a:gd name="connsiteY322" fmla="*/ 2512 h 479077"/>
                <a:gd name="connsiteX323" fmla="*/ 1588512 w 3313375"/>
                <a:gd name="connsiteY323" fmla="*/ 2016 h 479077"/>
                <a:gd name="connsiteX324" fmla="*/ 1604883 w 3313375"/>
                <a:gd name="connsiteY324" fmla="*/ 3008 h 479077"/>
                <a:gd name="connsiteX325" fmla="*/ 1621253 w 3313375"/>
                <a:gd name="connsiteY325" fmla="*/ 3008 h 479077"/>
                <a:gd name="connsiteX326" fmla="*/ 1637624 w 3313375"/>
                <a:gd name="connsiteY326" fmla="*/ 2512 h 479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</a:cxnLst>
              <a:rect l="l" t="t" r="r" b="b"/>
              <a:pathLst>
                <a:path w="3313375" h="479077">
                  <a:moveTo>
                    <a:pt x="3313375" y="10945"/>
                  </a:moveTo>
                  <a:cubicBezTo>
                    <a:pt x="3307422" y="16898"/>
                    <a:pt x="3306431" y="15906"/>
                    <a:pt x="3300973" y="21363"/>
                  </a:cubicBezTo>
                  <a:cubicBezTo>
                    <a:pt x="3295021" y="27316"/>
                    <a:pt x="3294525" y="26820"/>
                    <a:pt x="3289068" y="32276"/>
                  </a:cubicBezTo>
                  <a:cubicBezTo>
                    <a:pt x="3283115" y="38229"/>
                    <a:pt x="3283610" y="38229"/>
                    <a:pt x="3277658" y="43686"/>
                  </a:cubicBezTo>
                  <a:cubicBezTo>
                    <a:pt x="3271705" y="49639"/>
                    <a:pt x="3272201" y="49639"/>
                    <a:pt x="3266248" y="55592"/>
                  </a:cubicBezTo>
                  <a:cubicBezTo>
                    <a:pt x="3260295" y="61545"/>
                    <a:pt x="3261784" y="62537"/>
                    <a:pt x="3255830" y="68490"/>
                  </a:cubicBezTo>
                  <a:cubicBezTo>
                    <a:pt x="3249878" y="74443"/>
                    <a:pt x="3249878" y="73947"/>
                    <a:pt x="3243924" y="79900"/>
                  </a:cubicBezTo>
                  <a:cubicBezTo>
                    <a:pt x="3237972" y="85853"/>
                    <a:pt x="3237476" y="84861"/>
                    <a:pt x="3231522" y="90814"/>
                  </a:cubicBezTo>
                  <a:cubicBezTo>
                    <a:pt x="3225570" y="96767"/>
                    <a:pt x="3226066" y="97263"/>
                    <a:pt x="3220609" y="102720"/>
                  </a:cubicBezTo>
                  <a:cubicBezTo>
                    <a:pt x="3214656" y="108672"/>
                    <a:pt x="3213664" y="107184"/>
                    <a:pt x="3208207" y="113137"/>
                  </a:cubicBezTo>
                  <a:cubicBezTo>
                    <a:pt x="3202254" y="119090"/>
                    <a:pt x="3202750" y="119586"/>
                    <a:pt x="3197293" y="125043"/>
                  </a:cubicBezTo>
                  <a:cubicBezTo>
                    <a:pt x="3191340" y="130996"/>
                    <a:pt x="3191340" y="130500"/>
                    <a:pt x="3185387" y="136453"/>
                  </a:cubicBezTo>
                  <a:cubicBezTo>
                    <a:pt x="3179434" y="142406"/>
                    <a:pt x="3180923" y="143398"/>
                    <a:pt x="3174970" y="148855"/>
                  </a:cubicBezTo>
                  <a:cubicBezTo>
                    <a:pt x="3169017" y="154808"/>
                    <a:pt x="3168025" y="153319"/>
                    <a:pt x="3162071" y="159272"/>
                  </a:cubicBezTo>
                  <a:cubicBezTo>
                    <a:pt x="3156119" y="165225"/>
                    <a:pt x="3157111" y="165721"/>
                    <a:pt x="3151158" y="171674"/>
                  </a:cubicBezTo>
                  <a:cubicBezTo>
                    <a:pt x="3145205" y="177627"/>
                    <a:pt x="3144709" y="177131"/>
                    <a:pt x="3139252" y="182588"/>
                  </a:cubicBezTo>
                  <a:cubicBezTo>
                    <a:pt x="3133299" y="188541"/>
                    <a:pt x="3133795" y="188541"/>
                    <a:pt x="3127843" y="194494"/>
                  </a:cubicBezTo>
                  <a:lnTo>
                    <a:pt x="3116432" y="205904"/>
                  </a:lnTo>
                  <a:cubicBezTo>
                    <a:pt x="3110480" y="211857"/>
                    <a:pt x="3110976" y="211857"/>
                    <a:pt x="3105022" y="217810"/>
                  </a:cubicBezTo>
                  <a:cubicBezTo>
                    <a:pt x="3099070" y="223763"/>
                    <a:pt x="3099070" y="223266"/>
                    <a:pt x="3093117" y="229219"/>
                  </a:cubicBezTo>
                  <a:lnTo>
                    <a:pt x="3081707" y="240629"/>
                  </a:lnTo>
                  <a:cubicBezTo>
                    <a:pt x="3075754" y="246582"/>
                    <a:pt x="3075258" y="245590"/>
                    <a:pt x="3069305" y="251543"/>
                  </a:cubicBezTo>
                  <a:cubicBezTo>
                    <a:pt x="3063352" y="257496"/>
                    <a:pt x="3063848" y="257496"/>
                    <a:pt x="3057895" y="263449"/>
                  </a:cubicBezTo>
                  <a:cubicBezTo>
                    <a:pt x="3051942" y="269402"/>
                    <a:pt x="3052438" y="269402"/>
                    <a:pt x="3046486" y="275355"/>
                  </a:cubicBezTo>
                  <a:cubicBezTo>
                    <a:pt x="3040532" y="281308"/>
                    <a:pt x="3041029" y="281308"/>
                    <a:pt x="3035572" y="287260"/>
                  </a:cubicBezTo>
                  <a:cubicBezTo>
                    <a:pt x="3029619" y="293213"/>
                    <a:pt x="3030115" y="293710"/>
                    <a:pt x="3024658" y="299166"/>
                  </a:cubicBezTo>
                  <a:cubicBezTo>
                    <a:pt x="3018705" y="305119"/>
                    <a:pt x="3019201" y="305119"/>
                    <a:pt x="3013248" y="311072"/>
                  </a:cubicBezTo>
                  <a:cubicBezTo>
                    <a:pt x="3007295" y="317025"/>
                    <a:pt x="3006303" y="315537"/>
                    <a:pt x="3000350" y="321490"/>
                  </a:cubicBezTo>
                  <a:cubicBezTo>
                    <a:pt x="2994397" y="327443"/>
                    <a:pt x="2994893" y="327443"/>
                    <a:pt x="2988941" y="333396"/>
                  </a:cubicBezTo>
                  <a:cubicBezTo>
                    <a:pt x="2982987" y="339349"/>
                    <a:pt x="2982491" y="338357"/>
                    <a:pt x="2976539" y="344309"/>
                  </a:cubicBezTo>
                  <a:cubicBezTo>
                    <a:pt x="2970585" y="350262"/>
                    <a:pt x="2971081" y="350262"/>
                    <a:pt x="2965129" y="356215"/>
                  </a:cubicBezTo>
                  <a:cubicBezTo>
                    <a:pt x="2959176" y="362168"/>
                    <a:pt x="2959176" y="361672"/>
                    <a:pt x="2953223" y="367625"/>
                  </a:cubicBezTo>
                  <a:cubicBezTo>
                    <a:pt x="2947270" y="373578"/>
                    <a:pt x="2947766" y="373578"/>
                    <a:pt x="2941813" y="379531"/>
                  </a:cubicBezTo>
                  <a:cubicBezTo>
                    <a:pt x="2935860" y="385484"/>
                    <a:pt x="2937348" y="386476"/>
                    <a:pt x="2931395" y="392429"/>
                  </a:cubicBezTo>
                  <a:cubicBezTo>
                    <a:pt x="2925442" y="398382"/>
                    <a:pt x="2924451" y="396894"/>
                    <a:pt x="2918497" y="402847"/>
                  </a:cubicBezTo>
                  <a:cubicBezTo>
                    <a:pt x="2912545" y="408800"/>
                    <a:pt x="2913536" y="409296"/>
                    <a:pt x="2907584" y="415249"/>
                  </a:cubicBezTo>
                  <a:lnTo>
                    <a:pt x="2896174" y="426658"/>
                  </a:lnTo>
                  <a:cubicBezTo>
                    <a:pt x="2890221" y="432611"/>
                    <a:pt x="2890221" y="432115"/>
                    <a:pt x="2884268" y="438068"/>
                  </a:cubicBezTo>
                  <a:cubicBezTo>
                    <a:pt x="2878315" y="444021"/>
                    <a:pt x="2879307" y="444517"/>
                    <a:pt x="2873354" y="450470"/>
                  </a:cubicBezTo>
                  <a:cubicBezTo>
                    <a:pt x="2867402" y="456423"/>
                    <a:pt x="2866905" y="455431"/>
                    <a:pt x="2860952" y="461384"/>
                  </a:cubicBezTo>
                  <a:cubicBezTo>
                    <a:pt x="2855000" y="467337"/>
                    <a:pt x="2857480" y="470313"/>
                    <a:pt x="2850039" y="473786"/>
                  </a:cubicBezTo>
                  <a:cubicBezTo>
                    <a:pt x="2842598" y="476762"/>
                    <a:pt x="2841605" y="473786"/>
                    <a:pt x="2833668" y="473786"/>
                  </a:cubicBezTo>
                  <a:cubicBezTo>
                    <a:pt x="2825731" y="473786"/>
                    <a:pt x="2825731" y="473290"/>
                    <a:pt x="2817297" y="473290"/>
                  </a:cubicBezTo>
                  <a:lnTo>
                    <a:pt x="2800927" y="473290"/>
                  </a:lnTo>
                  <a:cubicBezTo>
                    <a:pt x="2792493" y="473290"/>
                    <a:pt x="2792990" y="473786"/>
                    <a:pt x="2784556" y="473786"/>
                  </a:cubicBezTo>
                  <a:cubicBezTo>
                    <a:pt x="2776619" y="473786"/>
                    <a:pt x="2776619" y="474282"/>
                    <a:pt x="2768186" y="474282"/>
                  </a:cubicBezTo>
                  <a:lnTo>
                    <a:pt x="2751815" y="474282"/>
                  </a:lnTo>
                  <a:cubicBezTo>
                    <a:pt x="2743878" y="474282"/>
                    <a:pt x="2743878" y="473290"/>
                    <a:pt x="2735444" y="473290"/>
                  </a:cubicBezTo>
                  <a:cubicBezTo>
                    <a:pt x="2727507" y="473290"/>
                    <a:pt x="2727507" y="474282"/>
                    <a:pt x="2719074" y="474282"/>
                  </a:cubicBezTo>
                  <a:cubicBezTo>
                    <a:pt x="2711137" y="474282"/>
                    <a:pt x="2711137" y="472298"/>
                    <a:pt x="2702703" y="472298"/>
                  </a:cubicBezTo>
                  <a:cubicBezTo>
                    <a:pt x="2694766" y="472298"/>
                    <a:pt x="2694766" y="472794"/>
                    <a:pt x="2686333" y="472794"/>
                  </a:cubicBezTo>
                  <a:cubicBezTo>
                    <a:pt x="2678395" y="472794"/>
                    <a:pt x="2678395" y="474282"/>
                    <a:pt x="2669962" y="474282"/>
                  </a:cubicBezTo>
                  <a:cubicBezTo>
                    <a:pt x="2662025" y="474282"/>
                    <a:pt x="2662025" y="472298"/>
                    <a:pt x="2653592" y="472298"/>
                  </a:cubicBezTo>
                  <a:cubicBezTo>
                    <a:pt x="2645654" y="472298"/>
                    <a:pt x="2645654" y="474282"/>
                    <a:pt x="2637221" y="474282"/>
                  </a:cubicBezTo>
                  <a:lnTo>
                    <a:pt x="2620851" y="474282"/>
                  </a:lnTo>
                  <a:cubicBezTo>
                    <a:pt x="2612913" y="474282"/>
                    <a:pt x="2612913" y="472298"/>
                    <a:pt x="2604480" y="472298"/>
                  </a:cubicBezTo>
                  <a:cubicBezTo>
                    <a:pt x="2596543" y="472298"/>
                    <a:pt x="2596543" y="473786"/>
                    <a:pt x="2588109" y="473786"/>
                  </a:cubicBezTo>
                  <a:cubicBezTo>
                    <a:pt x="2580172" y="473786"/>
                    <a:pt x="2580172" y="472298"/>
                    <a:pt x="2571739" y="472298"/>
                  </a:cubicBezTo>
                  <a:cubicBezTo>
                    <a:pt x="2563802" y="472298"/>
                    <a:pt x="2563802" y="473290"/>
                    <a:pt x="2555368" y="473290"/>
                  </a:cubicBezTo>
                  <a:cubicBezTo>
                    <a:pt x="2547431" y="473290"/>
                    <a:pt x="2547431" y="474282"/>
                    <a:pt x="2538998" y="474282"/>
                  </a:cubicBezTo>
                  <a:cubicBezTo>
                    <a:pt x="2531061" y="474282"/>
                    <a:pt x="2531061" y="473290"/>
                    <a:pt x="2522627" y="473290"/>
                  </a:cubicBezTo>
                  <a:cubicBezTo>
                    <a:pt x="2514690" y="473290"/>
                    <a:pt x="2514690" y="474282"/>
                    <a:pt x="2506257" y="474282"/>
                  </a:cubicBezTo>
                  <a:cubicBezTo>
                    <a:pt x="2498319" y="474282"/>
                    <a:pt x="2498319" y="473786"/>
                    <a:pt x="2489886" y="473786"/>
                  </a:cubicBezTo>
                  <a:cubicBezTo>
                    <a:pt x="2481949" y="473786"/>
                    <a:pt x="2481949" y="474282"/>
                    <a:pt x="2473516" y="474282"/>
                  </a:cubicBezTo>
                  <a:cubicBezTo>
                    <a:pt x="2465578" y="474282"/>
                    <a:pt x="2465578" y="472794"/>
                    <a:pt x="2457145" y="472794"/>
                  </a:cubicBezTo>
                  <a:cubicBezTo>
                    <a:pt x="2449208" y="472794"/>
                    <a:pt x="2449208" y="472298"/>
                    <a:pt x="2440775" y="472298"/>
                  </a:cubicBezTo>
                  <a:cubicBezTo>
                    <a:pt x="2432341" y="472298"/>
                    <a:pt x="2432837" y="473786"/>
                    <a:pt x="2424404" y="473786"/>
                  </a:cubicBezTo>
                  <a:cubicBezTo>
                    <a:pt x="2416467" y="473786"/>
                    <a:pt x="2416467" y="472794"/>
                    <a:pt x="2408033" y="472794"/>
                  </a:cubicBezTo>
                  <a:cubicBezTo>
                    <a:pt x="2399600" y="472794"/>
                    <a:pt x="2400096" y="473290"/>
                    <a:pt x="2391663" y="473290"/>
                  </a:cubicBezTo>
                  <a:lnTo>
                    <a:pt x="2375292" y="473290"/>
                  </a:lnTo>
                  <a:cubicBezTo>
                    <a:pt x="2366859" y="473290"/>
                    <a:pt x="2367355" y="472794"/>
                    <a:pt x="2358922" y="472794"/>
                  </a:cubicBezTo>
                  <a:cubicBezTo>
                    <a:pt x="2350488" y="472794"/>
                    <a:pt x="2350984" y="472298"/>
                    <a:pt x="2342551" y="472298"/>
                  </a:cubicBezTo>
                  <a:cubicBezTo>
                    <a:pt x="2334118" y="472298"/>
                    <a:pt x="2334614" y="473786"/>
                    <a:pt x="2326180" y="473786"/>
                  </a:cubicBezTo>
                  <a:lnTo>
                    <a:pt x="2309810" y="473786"/>
                  </a:lnTo>
                  <a:lnTo>
                    <a:pt x="2293439" y="473786"/>
                  </a:lnTo>
                  <a:cubicBezTo>
                    <a:pt x="2285502" y="473786"/>
                    <a:pt x="2285502" y="472794"/>
                    <a:pt x="2277069" y="472794"/>
                  </a:cubicBezTo>
                  <a:cubicBezTo>
                    <a:pt x="2269131" y="472794"/>
                    <a:pt x="2269131" y="474282"/>
                    <a:pt x="2260698" y="474282"/>
                  </a:cubicBezTo>
                  <a:cubicBezTo>
                    <a:pt x="2252761" y="474282"/>
                    <a:pt x="2252761" y="472298"/>
                    <a:pt x="2244327" y="472298"/>
                  </a:cubicBezTo>
                  <a:cubicBezTo>
                    <a:pt x="2236390" y="472298"/>
                    <a:pt x="2236390" y="474282"/>
                    <a:pt x="2227957" y="474282"/>
                  </a:cubicBezTo>
                  <a:cubicBezTo>
                    <a:pt x="2220020" y="474282"/>
                    <a:pt x="2220020" y="473290"/>
                    <a:pt x="2211586" y="473290"/>
                  </a:cubicBezTo>
                  <a:cubicBezTo>
                    <a:pt x="2203649" y="473290"/>
                    <a:pt x="2203649" y="474282"/>
                    <a:pt x="2195216" y="474282"/>
                  </a:cubicBezTo>
                  <a:cubicBezTo>
                    <a:pt x="2187278" y="474282"/>
                    <a:pt x="2187278" y="472794"/>
                    <a:pt x="2178845" y="472794"/>
                  </a:cubicBezTo>
                  <a:cubicBezTo>
                    <a:pt x="2170908" y="472794"/>
                    <a:pt x="2170908" y="474778"/>
                    <a:pt x="2162474" y="474778"/>
                  </a:cubicBezTo>
                  <a:cubicBezTo>
                    <a:pt x="2154537" y="474778"/>
                    <a:pt x="2154537" y="473290"/>
                    <a:pt x="2146104" y="473290"/>
                  </a:cubicBezTo>
                  <a:cubicBezTo>
                    <a:pt x="2138167" y="473290"/>
                    <a:pt x="2138167" y="474778"/>
                    <a:pt x="2129733" y="474778"/>
                  </a:cubicBezTo>
                  <a:lnTo>
                    <a:pt x="2113363" y="474778"/>
                  </a:lnTo>
                  <a:lnTo>
                    <a:pt x="2096992" y="474778"/>
                  </a:lnTo>
                  <a:cubicBezTo>
                    <a:pt x="2089055" y="474778"/>
                    <a:pt x="2089055" y="474282"/>
                    <a:pt x="2080621" y="474282"/>
                  </a:cubicBezTo>
                  <a:cubicBezTo>
                    <a:pt x="2072684" y="474282"/>
                    <a:pt x="2072684" y="472794"/>
                    <a:pt x="2064251" y="472794"/>
                  </a:cubicBezTo>
                  <a:cubicBezTo>
                    <a:pt x="2055818" y="472794"/>
                    <a:pt x="2056314" y="474778"/>
                    <a:pt x="2047880" y="474778"/>
                  </a:cubicBezTo>
                  <a:lnTo>
                    <a:pt x="2031510" y="474778"/>
                  </a:lnTo>
                  <a:lnTo>
                    <a:pt x="2015139" y="474778"/>
                  </a:lnTo>
                  <a:cubicBezTo>
                    <a:pt x="2007202" y="474778"/>
                    <a:pt x="2007202" y="474282"/>
                    <a:pt x="1998769" y="474282"/>
                  </a:cubicBezTo>
                  <a:cubicBezTo>
                    <a:pt x="1990831" y="474282"/>
                    <a:pt x="1990831" y="473786"/>
                    <a:pt x="1982398" y="473786"/>
                  </a:cubicBezTo>
                  <a:lnTo>
                    <a:pt x="1966028" y="473786"/>
                  </a:lnTo>
                  <a:cubicBezTo>
                    <a:pt x="1958090" y="473786"/>
                    <a:pt x="1958090" y="472794"/>
                    <a:pt x="1949657" y="472794"/>
                  </a:cubicBezTo>
                  <a:cubicBezTo>
                    <a:pt x="1941720" y="472794"/>
                    <a:pt x="1941720" y="473290"/>
                    <a:pt x="1933287" y="473290"/>
                  </a:cubicBezTo>
                  <a:cubicBezTo>
                    <a:pt x="1925349" y="473290"/>
                    <a:pt x="1925349" y="474778"/>
                    <a:pt x="1916916" y="474778"/>
                  </a:cubicBezTo>
                  <a:cubicBezTo>
                    <a:pt x="1908979" y="474778"/>
                    <a:pt x="1908979" y="472794"/>
                    <a:pt x="1900546" y="472794"/>
                  </a:cubicBezTo>
                  <a:cubicBezTo>
                    <a:pt x="1892608" y="472794"/>
                    <a:pt x="1892608" y="473786"/>
                    <a:pt x="1884175" y="473786"/>
                  </a:cubicBezTo>
                  <a:cubicBezTo>
                    <a:pt x="1876238" y="473786"/>
                    <a:pt x="1876238" y="474778"/>
                    <a:pt x="1867804" y="474778"/>
                  </a:cubicBezTo>
                  <a:lnTo>
                    <a:pt x="1851434" y="474778"/>
                  </a:lnTo>
                  <a:lnTo>
                    <a:pt x="1835063" y="474778"/>
                  </a:lnTo>
                  <a:cubicBezTo>
                    <a:pt x="1827126" y="474778"/>
                    <a:pt x="1827126" y="474282"/>
                    <a:pt x="1818693" y="474282"/>
                  </a:cubicBezTo>
                  <a:cubicBezTo>
                    <a:pt x="1810755" y="474282"/>
                    <a:pt x="1810755" y="472794"/>
                    <a:pt x="1802322" y="472794"/>
                  </a:cubicBezTo>
                  <a:cubicBezTo>
                    <a:pt x="1794385" y="472794"/>
                    <a:pt x="1794385" y="473786"/>
                    <a:pt x="1785951" y="473786"/>
                  </a:cubicBezTo>
                  <a:cubicBezTo>
                    <a:pt x="1778014" y="473786"/>
                    <a:pt x="1778014" y="473290"/>
                    <a:pt x="1769581" y="473290"/>
                  </a:cubicBezTo>
                  <a:cubicBezTo>
                    <a:pt x="1761644" y="473290"/>
                    <a:pt x="1761644" y="472298"/>
                    <a:pt x="1753210" y="472298"/>
                  </a:cubicBezTo>
                  <a:cubicBezTo>
                    <a:pt x="1745273" y="472298"/>
                    <a:pt x="1745273" y="473290"/>
                    <a:pt x="1736840" y="473290"/>
                  </a:cubicBezTo>
                  <a:cubicBezTo>
                    <a:pt x="1728902" y="473290"/>
                    <a:pt x="1728902" y="474778"/>
                    <a:pt x="1720469" y="474778"/>
                  </a:cubicBezTo>
                  <a:cubicBezTo>
                    <a:pt x="1712532" y="474778"/>
                    <a:pt x="1712532" y="472794"/>
                    <a:pt x="1704098" y="472794"/>
                  </a:cubicBezTo>
                  <a:cubicBezTo>
                    <a:pt x="1696161" y="472794"/>
                    <a:pt x="1696161" y="474778"/>
                    <a:pt x="1687728" y="474778"/>
                  </a:cubicBezTo>
                  <a:lnTo>
                    <a:pt x="1671357" y="474778"/>
                  </a:lnTo>
                  <a:cubicBezTo>
                    <a:pt x="1663420" y="474778"/>
                    <a:pt x="1663420" y="472298"/>
                    <a:pt x="1654987" y="472298"/>
                  </a:cubicBezTo>
                  <a:cubicBezTo>
                    <a:pt x="1647050" y="472298"/>
                    <a:pt x="1647050" y="472794"/>
                    <a:pt x="1638616" y="472794"/>
                  </a:cubicBezTo>
                  <a:cubicBezTo>
                    <a:pt x="1630679" y="472794"/>
                    <a:pt x="1630679" y="473786"/>
                    <a:pt x="1622246" y="473786"/>
                  </a:cubicBezTo>
                  <a:cubicBezTo>
                    <a:pt x="1614309" y="473786"/>
                    <a:pt x="1614309" y="474778"/>
                    <a:pt x="1605875" y="474778"/>
                  </a:cubicBezTo>
                  <a:cubicBezTo>
                    <a:pt x="1597938" y="474778"/>
                    <a:pt x="1597938" y="473290"/>
                    <a:pt x="1589505" y="473290"/>
                  </a:cubicBezTo>
                  <a:cubicBezTo>
                    <a:pt x="1581567" y="473290"/>
                    <a:pt x="1581567" y="474778"/>
                    <a:pt x="1573134" y="474778"/>
                  </a:cubicBezTo>
                  <a:cubicBezTo>
                    <a:pt x="1565197" y="474778"/>
                    <a:pt x="1565197" y="472794"/>
                    <a:pt x="1556763" y="472794"/>
                  </a:cubicBezTo>
                  <a:lnTo>
                    <a:pt x="1540393" y="472794"/>
                  </a:lnTo>
                  <a:cubicBezTo>
                    <a:pt x="1532456" y="472794"/>
                    <a:pt x="1532456" y="474282"/>
                    <a:pt x="1524022" y="474282"/>
                  </a:cubicBezTo>
                  <a:cubicBezTo>
                    <a:pt x="1516085" y="474282"/>
                    <a:pt x="1516085" y="472794"/>
                    <a:pt x="1507652" y="472794"/>
                  </a:cubicBezTo>
                  <a:cubicBezTo>
                    <a:pt x="1499714" y="472794"/>
                    <a:pt x="1499714" y="474282"/>
                    <a:pt x="1491281" y="474282"/>
                  </a:cubicBezTo>
                  <a:lnTo>
                    <a:pt x="1474910" y="474282"/>
                  </a:lnTo>
                  <a:cubicBezTo>
                    <a:pt x="1466973" y="474282"/>
                    <a:pt x="1466973" y="472794"/>
                    <a:pt x="1458540" y="472794"/>
                  </a:cubicBezTo>
                  <a:cubicBezTo>
                    <a:pt x="1450603" y="472794"/>
                    <a:pt x="1450603" y="471802"/>
                    <a:pt x="1442169" y="471802"/>
                  </a:cubicBezTo>
                  <a:cubicBezTo>
                    <a:pt x="1434232" y="471802"/>
                    <a:pt x="1434232" y="472298"/>
                    <a:pt x="1425799" y="472298"/>
                  </a:cubicBezTo>
                  <a:cubicBezTo>
                    <a:pt x="1417861" y="472298"/>
                    <a:pt x="1417861" y="472794"/>
                    <a:pt x="1409428" y="472794"/>
                  </a:cubicBezTo>
                  <a:cubicBezTo>
                    <a:pt x="1401491" y="472794"/>
                    <a:pt x="1401491" y="473786"/>
                    <a:pt x="1393058" y="473786"/>
                  </a:cubicBezTo>
                  <a:cubicBezTo>
                    <a:pt x="1385120" y="473786"/>
                    <a:pt x="1385120" y="471802"/>
                    <a:pt x="1376687" y="471802"/>
                  </a:cubicBezTo>
                  <a:cubicBezTo>
                    <a:pt x="1368750" y="471802"/>
                    <a:pt x="1368750" y="473786"/>
                    <a:pt x="1360317" y="473786"/>
                  </a:cubicBezTo>
                  <a:lnTo>
                    <a:pt x="1343946" y="473786"/>
                  </a:lnTo>
                  <a:cubicBezTo>
                    <a:pt x="1336009" y="473786"/>
                    <a:pt x="1336009" y="472794"/>
                    <a:pt x="1327576" y="472794"/>
                  </a:cubicBezTo>
                  <a:cubicBezTo>
                    <a:pt x="1319638" y="472794"/>
                    <a:pt x="1319638" y="473786"/>
                    <a:pt x="1311205" y="473786"/>
                  </a:cubicBezTo>
                  <a:lnTo>
                    <a:pt x="1294834" y="473786"/>
                  </a:lnTo>
                  <a:lnTo>
                    <a:pt x="1278464" y="473786"/>
                  </a:lnTo>
                  <a:lnTo>
                    <a:pt x="1262093" y="473786"/>
                  </a:lnTo>
                  <a:cubicBezTo>
                    <a:pt x="1254156" y="473786"/>
                    <a:pt x="1254156" y="473290"/>
                    <a:pt x="1245723" y="473290"/>
                  </a:cubicBezTo>
                  <a:cubicBezTo>
                    <a:pt x="1237785" y="473290"/>
                    <a:pt x="1237785" y="472794"/>
                    <a:pt x="1229352" y="472794"/>
                  </a:cubicBezTo>
                  <a:cubicBezTo>
                    <a:pt x="1221415" y="472794"/>
                    <a:pt x="1221415" y="473786"/>
                    <a:pt x="1212981" y="473786"/>
                  </a:cubicBezTo>
                  <a:cubicBezTo>
                    <a:pt x="1205044" y="473786"/>
                    <a:pt x="1205044" y="472298"/>
                    <a:pt x="1196611" y="472298"/>
                  </a:cubicBezTo>
                  <a:cubicBezTo>
                    <a:pt x="1188674" y="472298"/>
                    <a:pt x="1188674" y="472794"/>
                    <a:pt x="1180240" y="472794"/>
                  </a:cubicBezTo>
                  <a:lnTo>
                    <a:pt x="1163870" y="472794"/>
                  </a:lnTo>
                  <a:cubicBezTo>
                    <a:pt x="1155932" y="472794"/>
                    <a:pt x="1155932" y="473786"/>
                    <a:pt x="1147499" y="473786"/>
                  </a:cubicBezTo>
                  <a:lnTo>
                    <a:pt x="1131128" y="473786"/>
                  </a:lnTo>
                  <a:cubicBezTo>
                    <a:pt x="1123191" y="473786"/>
                    <a:pt x="1123191" y="472794"/>
                    <a:pt x="1114758" y="472794"/>
                  </a:cubicBezTo>
                  <a:cubicBezTo>
                    <a:pt x="1106821" y="472794"/>
                    <a:pt x="1106821" y="473786"/>
                    <a:pt x="1098387" y="473786"/>
                  </a:cubicBezTo>
                  <a:cubicBezTo>
                    <a:pt x="1090450" y="473786"/>
                    <a:pt x="1090450" y="474778"/>
                    <a:pt x="1082017" y="474778"/>
                  </a:cubicBezTo>
                  <a:lnTo>
                    <a:pt x="1065646" y="474778"/>
                  </a:lnTo>
                  <a:cubicBezTo>
                    <a:pt x="1057709" y="474778"/>
                    <a:pt x="1057709" y="474282"/>
                    <a:pt x="1049276" y="474282"/>
                  </a:cubicBezTo>
                  <a:cubicBezTo>
                    <a:pt x="1041338" y="474282"/>
                    <a:pt x="1041338" y="473290"/>
                    <a:pt x="1032905" y="473290"/>
                  </a:cubicBezTo>
                  <a:cubicBezTo>
                    <a:pt x="1024968" y="473290"/>
                    <a:pt x="1024968" y="474282"/>
                    <a:pt x="1016535" y="474282"/>
                  </a:cubicBezTo>
                  <a:lnTo>
                    <a:pt x="1000164" y="474282"/>
                  </a:lnTo>
                  <a:cubicBezTo>
                    <a:pt x="992227" y="474282"/>
                    <a:pt x="992227" y="472794"/>
                    <a:pt x="983793" y="472794"/>
                  </a:cubicBezTo>
                  <a:lnTo>
                    <a:pt x="967423" y="472794"/>
                  </a:lnTo>
                  <a:cubicBezTo>
                    <a:pt x="959486" y="472794"/>
                    <a:pt x="959486" y="473786"/>
                    <a:pt x="951052" y="473786"/>
                  </a:cubicBezTo>
                  <a:cubicBezTo>
                    <a:pt x="943115" y="473786"/>
                    <a:pt x="943115" y="474282"/>
                    <a:pt x="934682" y="474282"/>
                  </a:cubicBezTo>
                  <a:cubicBezTo>
                    <a:pt x="926744" y="474282"/>
                    <a:pt x="926744" y="474778"/>
                    <a:pt x="918311" y="474778"/>
                  </a:cubicBezTo>
                  <a:cubicBezTo>
                    <a:pt x="910374" y="474778"/>
                    <a:pt x="910374" y="473290"/>
                    <a:pt x="901940" y="473290"/>
                  </a:cubicBezTo>
                  <a:cubicBezTo>
                    <a:pt x="894003" y="473290"/>
                    <a:pt x="894003" y="474778"/>
                    <a:pt x="885570" y="474778"/>
                  </a:cubicBezTo>
                  <a:cubicBezTo>
                    <a:pt x="877633" y="474778"/>
                    <a:pt x="877633" y="474282"/>
                    <a:pt x="869199" y="474282"/>
                  </a:cubicBezTo>
                  <a:cubicBezTo>
                    <a:pt x="861262" y="474282"/>
                    <a:pt x="861262" y="473786"/>
                    <a:pt x="852829" y="473786"/>
                  </a:cubicBezTo>
                  <a:cubicBezTo>
                    <a:pt x="844891" y="473786"/>
                    <a:pt x="844891" y="474778"/>
                    <a:pt x="836458" y="474778"/>
                  </a:cubicBezTo>
                  <a:cubicBezTo>
                    <a:pt x="828521" y="474778"/>
                    <a:pt x="828521" y="475274"/>
                    <a:pt x="820088" y="475274"/>
                  </a:cubicBezTo>
                  <a:cubicBezTo>
                    <a:pt x="812150" y="475274"/>
                    <a:pt x="812150" y="473786"/>
                    <a:pt x="803717" y="473786"/>
                  </a:cubicBezTo>
                  <a:cubicBezTo>
                    <a:pt x="795780" y="473786"/>
                    <a:pt x="795780" y="475770"/>
                    <a:pt x="787347" y="475770"/>
                  </a:cubicBezTo>
                  <a:cubicBezTo>
                    <a:pt x="779409" y="475770"/>
                    <a:pt x="779409" y="474778"/>
                    <a:pt x="770976" y="474778"/>
                  </a:cubicBezTo>
                  <a:cubicBezTo>
                    <a:pt x="763039" y="474778"/>
                    <a:pt x="763039" y="475274"/>
                    <a:pt x="754605" y="475274"/>
                  </a:cubicBezTo>
                  <a:cubicBezTo>
                    <a:pt x="746668" y="475274"/>
                    <a:pt x="746668" y="473786"/>
                    <a:pt x="738235" y="473786"/>
                  </a:cubicBezTo>
                  <a:cubicBezTo>
                    <a:pt x="730298" y="473786"/>
                    <a:pt x="730298" y="475274"/>
                    <a:pt x="721864" y="475274"/>
                  </a:cubicBezTo>
                  <a:cubicBezTo>
                    <a:pt x="713927" y="475274"/>
                    <a:pt x="713927" y="475770"/>
                    <a:pt x="705494" y="475770"/>
                  </a:cubicBezTo>
                  <a:cubicBezTo>
                    <a:pt x="697557" y="475770"/>
                    <a:pt x="697557" y="474282"/>
                    <a:pt x="689123" y="474282"/>
                  </a:cubicBezTo>
                  <a:cubicBezTo>
                    <a:pt x="681186" y="474282"/>
                    <a:pt x="681186" y="475274"/>
                    <a:pt x="672753" y="475274"/>
                  </a:cubicBezTo>
                  <a:cubicBezTo>
                    <a:pt x="664815" y="475274"/>
                    <a:pt x="664815" y="474778"/>
                    <a:pt x="656382" y="474778"/>
                  </a:cubicBezTo>
                  <a:cubicBezTo>
                    <a:pt x="648445" y="474778"/>
                    <a:pt x="648445" y="475770"/>
                    <a:pt x="640011" y="475770"/>
                  </a:cubicBezTo>
                  <a:cubicBezTo>
                    <a:pt x="632074" y="475770"/>
                    <a:pt x="632074" y="473786"/>
                    <a:pt x="623641" y="473786"/>
                  </a:cubicBezTo>
                  <a:cubicBezTo>
                    <a:pt x="615704" y="473786"/>
                    <a:pt x="615704" y="474778"/>
                    <a:pt x="607270" y="474778"/>
                  </a:cubicBezTo>
                  <a:cubicBezTo>
                    <a:pt x="598837" y="474778"/>
                    <a:pt x="599333" y="475274"/>
                    <a:pt x="590900" y="475274"/>
                  </a:cubicBezTo>
                  <a:cubicBezTo>
                    <a:pt x="582962" y="475274"/>
                    <a:pt x="582962" y="474282"/>
                    <a:pt x="574529" y="474282"/>
                  </a:cubicBezTo>
                  <a:cubicBezTo>
                    <a:pt x="566592" y="474282"/>
                    <a:pt x="566592" y="475274"/>
                    <a:pt x="558158" y="475274"/>
                  </a:cubicBezTo>
                  <a:cubicBezTo>
                    <a:pt x="550221" y="475274"/>
                    <a:pt x="550221" y="475770"/>
                    <a:pt x="541788" y="475770"/>
                  </a:cubicBezTo>
                  <a:cubicBezTo>
                    <a:pt x="533851" y="475770"/>
                    <a:pt x="533851" y="474282"/>
                    <a:pt x="525417" y="474282"/>
                  </a:cubicBezTo>
                  <a:cubicBezTo>
                    <a:pt x="517480" y="474282"/>
                    <a:pt x="517480" y="473786"/>
                    <a:pt x="509047" y="473786"/>
                  </a:cubicBezTo>
                  <a:lnTo>
                    <a:pt x="492676" y="473786"/>
                  </a:lnTo>
                  <a:cubicBezTo>
                    <a:pt x="484739" y="473786"/>
                    <a:pt x="484739" y="474778"/>
                    <a:pt x="476306" y="474778"/>
                  </a:cubicBezTo>
                  <a:cubicBezTo>
                    <a:pt x="468368" y="474778"/>
                    <a:pt x="468368" y="473786"/>
                    <a:pt x="459935" y="473786"/>
                  </a:cubicBezTo>
                  <a:cubicBezTo>
                    <a:pt x="451998" y="473786"/>
                    <a:pt x="451998" y="474778"/>
                    <a:pt x="443565" y="474778"/>
                  </a:cubicBezTo>
                  <a:cubicBezTo>
                    <a:pt x="435627" y="474778"/>
                    <a:pt x="435627" y="474282"/>
                    <a:pt x="427194" y="474282"/>
                  </a:cubicBezTo>
                  <a:cubicBezTo>
                    <a:pt x="419257" y="474282"/>
                    <a:pt x="419257" y="473290"/>
                    <a:pt x="410823" y="473290"/>
                  </a:cubicBezTo>
                  <a:cubicBezTo>
                    <a:pt x="402886" y="473290"/>
                    <a:pt x="402886" y="475770"/>
                    <a:pt x="394453" y="475770"/>
                  </a:cubicBezTo>
                  <a:cubicBezTo>
                    <a:pt x="386516" y="475770"/>
                    <a:pt x="386516" y="475274"/>
                    <a:pt x="378082" y="475274"/>
                  </a:cubicBezTo>
                  <a:cubicBezTo>
                    <a:pt x="370145" y="475274"/>
                    <a:pt x="370145" y="474778"/>
                    <a:pt x="361712" y="474778"/>
                  </a:cubicBezTo>
                  <a:cubicBezTo>
                    <a:pt x="353774" y="474778"/>
                    <a:pt x="353774" y="476266"/>
                    <a:pt x="345341" y="476266"/>
                  </a:cubicBezTo>
                  <a:cubicBezTo>
                    <a:pt x="337404" y="476266"/>
                    <a:pt x="337404" y="474282"/>
                    <a:pt x="328970" y="474282"/>
                  </a:cubicBezTo>
                  <a:cubicBezTo>
                    <a:pt x="321033" y="474282"/>
                    <a:pt x="321033" y="475274"/>
                    <a:pt x="312600" y="475274"/>
                  </a:cubicBezTo>
                  <a:cubicBezTo>
                    <a:pt x="304663" y="475274"/>
                    <a:pt x="304663" y="474282"/>
                    <a:pt x="296229" y="474282"/>
                  </a:cubicBezTo>
                  <a:cubicBezTo>
                    <a:pt x="288292" y="474282"/>
                    <a:pt x="288292" y="475770"/>
                    <a:pt x="279859" y="475770"/>
                  </a:cubicBezTo>
                  <a:cubicBezTo>
                    <a:pt x="271921" y="475770"/>
                    <a:pt x="271921" y="476266"/>
                    <a:pt x="263488" y="476266"/>
                  </a:cubicBezTo>
                  <a:lnTo>
                    <a:pt x="247118" y="476266"/>
                  </a:lnTo>
                  <a:cubicBezTo>
                    <a:pt x="239180" y="476266"/>
                    <a:pt x="239180" y="474778"/>
                    <a:pt x="230747" y="474778"/>
                  </a:cubicBezTo>
                  <a:lnTo>
                    <a:pt x="214376" y="474778"/>
                  </a:lnTo>
                  <a:cubicBezTo>
                    <a:pt x="206439" y="474778"/>
                    <a:pt x="206439" y="476762"/>
                    <a:pt x="198006" y="476762"/>
                  </a:cubicBezTo>
                  <a:cubicBezTo>
                    <a:pt x="190069" y="476762"/>
                    <a:pt x="190069" y="476266"/>
                    <a:pt x="181635" y="476266"/>
                  </a:cubicBezTo>
                  <a:cubicBezTo>
                    <a:pt x="173698" y="476266"/>
                    <a:pt x="173698" y="474778"/>
                    <a:pt x="165265" y="474778"/>
                  </a:cubicBezTo>
                  <a:cubicBezTo>
                    <a:pt x="157328" y="474778"/>
                    <a:pt x="157328" y="476762"/>
                    <a:pt x="148894" y="476762"/>
                  </a:cubicBezTo>
                  <a:cubicBezTo>
                    <a:pt x="140957" y="476762"/>
                    <a:pt x="140957" y="476266"/>
                    <a:pt x="132524" y="476266"/>
                  </a:cubicBezTo>
                  <a:cubicBezTo>
                    <a:pt x="124586" y="476266"/>
                    <a:pt x="124586" y="475274"/>
                    <a:pt x="116153" y="475274"/>
                  </a:cubicBezTo>
                  <a:lnTo>
                    <a:pt x="99783" y="475274"/>
                  </a:lnTo>
                  <a:lnTo>
                    <a:pt x="83412" y="475274"/>
                  </a:lnTo>
                  <a:cubicBezTo>
                    <a:pt x="75475" y="475274"/>
                    <a:pt x="75475" y="474778"/>
                    <a:pt x="67041" y="474778"/>
                  </a:cubicBezTo>
                  <a:cubicBezTo>
                    <a:pt x="59104" y="474778"/>
                    <a:pt x="59104" y="475274"/>
                    <a:pt x="50671" y="475274"/>
                  </a:cubicBezTo>
                  <a:lnTo>
                    <a:pt x="34300" y="475274"/>
                  </a:lnTo>
                  <a:cubicBezTo>
                    <a:pt x="26363" y="475274"/>
                    <a:pt x="26363" y="475770"/>
                    <a:pt x="17930" y="475770"/>
                  </a:cubicBezTo>
                  <a:cubicBezTo>
                    <a:pt x="9992" y="475770"/>
                    <a:pt x="3543" y="483211"/>
                    <a:pt x="567" y="475770"/>
                  </a:cubicBezTo>
                  <a:cubicBezTo>
                    <a:pt x="-2410" y="468329"/>
                    <a:pt x="7016" y="469321"/>
                    <a:pt x="12969" y="463368"/>
                  </a:cubicBezTo>
                  <a:lnTo>
                    <a:pt x="24379" y="451958"/>
                  </a:lnTo>
                  <a:cubicBezTo>
                    <a:pt x="30332" y="446005"/>
                    <a:pt x="29835" y="446005"/>
                    <a:pt x="35788" y="440053"/>
                  </a:cubicBezTo>
                  <a:cubicBezTo>
                    <a:pt x="41741" y="434100"/>
                    <a:pt x="43230" y="435588"/>
                    <a:pt x="48686" y="430131"/>
                  </a:cubicBezTo>
                  <a:cubicBezTo>
                    <a:pt x="54639" y="424178"/>
                    <a:pt x="54143" y="423682"/>
                    <a:pt x="59600" y="418225"/>
                  </a:cubicBezTo>
                  <a:cubicBezTo>
                    <a:pt x="65553" y="412272"/>
                    <a:pt x="64561" y="411776"/>
                    <a:pt x="70514" y="405823"/>
                  </a:cubicBezTo>
                  <a:cubicBezTo>
                    <a:pt x="76467" y="399870"/>
                    <a:pt x="77459" y="401358"/>
                    <a:pt x="83412" y="395406"/>
                  </a:cubicBezTo>
                  <a:cubicBezTo>
                    <a:pt x="89365" y="389453"/>
                    <a:pt x="88869" y="389453"/>
                    <a:pt x="94822" y="383500"/>
                  </a:cubicBezTo>
                  <a:cubicBezTo>
                    <a:pt x="100775" y="377547"/>
                    <a:pt x="100775" y="378043"/>
                    <a:pt x="106728" y="372090"/>
                  </a:cubicBezTo>
                  <a:cubicBezTo>
                    <a:pt x="112681" y="366137"/>
                    <a:pt x="111192" y="365145"/>
                    <a:pt x="117145" y="359688"/>
                  </a:cubicBezTo>
                  <a:lnTo>
                    <a:pt x="128555" y="348278"/>
                  </a:lnTo>
                  <a:cubicBezTo>
                    <a:pt x="134508" y="342325"/>
                    <a:pt x="134508" y="342821"/>
                    <a:pt x="140461" y="336868"/>
                  </a:cubicBezTo>
                  <a:cubicBezTo>
                    <a:pt x="146414" y="330915"/>
                    <a:pt x="146910" y="331908"/>
                    <a:pt x="152863" y="326451"/>
                  </a:cubicBezTo>
                  <a:cubicBezTo>
                    <a:pt x="158816" y="320498"/>
                    <a:pt x="158816" y="320994"/>
                    <a:pt x="164769" y="315041"/>
                  </a:cubicBezTo>
                  <a:cubicBezTo>
                    <a:pt x="170722" y="309088"/>
                    <a:pt x="170225" y="309088"/>
                    <a:pt x="176178" y="303135"/>
                  </a:cubicBezTo>
                  <a:cubicBezTo>
                    <a:pt x="182131" y="297182"/>
                    <a:pt x="182131" y="297678"/>
                    <a:pt x="188084" y="291725"/>
                  </a:cubicBezTo>
                  <a:cubicBezTo>
                    <a:pt x="194037" y="285772"/>
                    <a:pt x="194037" y="286268"/>
                    <a:pt x="199494" y="280315"/>
                  </a:cubicBezTo>
                  <a:lnTo>
                    <a:pt x="210904" y="268906"/>
                  </a:lnTo>
                  <a:cubicBezTo>
                    <a:pt x="216857" y="262953"/>
                    <a:pt x="215865" y="262457"/>
                    <a:pt x="221818" y="256504"/>
                  </a:cubicBezTo>
                  <a:cubicBezTo>
                    <a:pt x="227771" y="250551"/>
                    <a:pt x="227771" y="251047"/>
                    <a:pt x="233724" y="245094"/>
                  </a:cubicBezTo>
                  <a:cubicBezTo>
                    <a:pt x="239676" y="239141"/>
                    <a:pt x="238684" y="238149"/>
                    <a:pt x="244141" y="232692"/>
                  </a:cubicBezTo>
                  <a:cubicBezTo>
                    <a:pt x="250094" y="226739"/>
                    <a:pt x="251582" y="228227"/>
                    <a:pt x="257039" y="222770"/>
                  </a:cubicBezTo>
                  <a:cubicBezTo>
                    <a:pt x="262992" y="216818"/>
                    <a:pt x="261008" y="215329"/>
                    <a:pt x="266961" y="209376"/>
                  </a:cubicBezTo>
                  <a:lnTo>
                    <a:pt x="278371" y="197966"/>
                  </a:lnTo>
                  <a:cubicBezTo>
                    <a:pt x="284323" y="192014"/>
                    <a:pt x="285812" y="193502"/>
                    <a:pt x="291269" y="188045"/>
                  </a:cubicBezTo>
                  <a:cubicBezTo>
                    <a:pt x="297222" y="182092"/>
                    <a:pt x="295733" y="181100"/>
                    <a:pt x="301686" y="175147"/>
                  </a:cubicBezTo>
                  <a:cubicBezTo>
                    <a:pt x="307639" y="169194"/>
                    <a:pt x="307639" y="169690"/>
                    <a:pt x="313592" y="163737"/>
                  </a:cubicBezTo>
                  <a:cubicBezTo>
                    <a:pt x="319545" y="157784"/>
                    <a:pt x="320537" y="158776"/>
                    <a:pt x="325994" y="153319"/>
                  </a:cubicBezTo>
                  <a:lnTo>
                    <a:pt x="337404" y="141910"/>
                  </a:lnTo>
                  <a:cubicBezTo>
                    <a:pt x="343357" y="135957"/>
                    <a:pt x="341869" y="134469"/>
                    <a:pt x="347325" y="129012"/>
                  </a:cubicBezTo>
                  <a:cubicBezTo>
                    <a:pt x="353278" y="123059"/>
                    <a:pt x="354271" y="124547"/>
                    <a:pt x="360224" y="118594"/>
                  </a:cubicBezTo>
                  <a:cubicBezTo>
                    <a:pt x="366176" y="112641"/>
                    <a:pt x="365184" y="112145"/>
                    <a:pt x="371137" y="106192"/>
                  </a:cubicBezTo>
                  <a:cubicBezTo>
                    <a:pt x="377090" y="100239"/>
                    <a:pt x="376098" y="99743"/>
                    <a:pt x="382051" y="93790"/>
                  </a:cubicBezTo>
                  <a:cubicBezTo>
                    <a:pt x="388004" y="87837"/>
                    <a:pt x="388004" y="88333"/>
                    <a:pt x="393957" y="82380"/>
                  </a:cubicBezTo>
                  <a:cubicBezTo>
                    <a:pt x="399910" y="76427"/>
                    <a:pt x="399413" y="76427"/>
                    <a:pt x="405366" y="70475"/>
                  </a:cubicBezTo>
                  <a:cubicBezTo>
                    <a:pt x="411319" y="64522"/>
                    <a:pt x="411815" y="65018"/>
                    <a:pt x="417272" y="59561"/>
                  </a:cubicBezTo>
                  <a:cubicBezTo>
                    <a:pt x="423225" y="53608"/>
                    <a:pt x="423721" y="54600"/>
                    <a:pt x="429674" y="48647"/>
                  </a:cubicBezTo>
                  <a:cubicBezTo>
                    <a:pt x="435627" y="42694"/>
                    <a:pt x="434139" y="41702"/>
                    <a:pt x="440092" y="35749"/>
                  </a:cubicBezTo>
                  <a:cubicBezTo>
                    <a:pt x="446045" y="29796"/>
                    <a:pt x="446541" y="30788"/>
                    <a:pt x="452494" y="24835"/>
                  </a:cubicBezTo>
                  <a:cubicBezTo>
                    <a:pt x="458447" y="18882"/>
                    <a:pt x="457951" y="18882"/>
                    <a:pt x="463904" y="12929"/>
                  </a:cubicBezTo>
                  <a:cubicBezTo>
                    <a:pt x="469857" y="6976"/>
                    <a:pt x="467872" y="4000"/>
                    <a:pt x="475313" y="1024"/>
                  </a:cubicBezTo>
                  <a:cubicBezTo>
                    <a:pt x="482755" y="-1953"/>
                    <a:pt x="483747" y="2512"/>
                    <a:pt x="491684" y="2512"/>
                  </a:cubicBezTo>
                  <a:lnTo>
                    <a:pt x="508055" y="2512"/>
                  </a:lnTo>
                  <a:lnTo>
                    <a:pt x="524425" y="2512"/>
                  </a:lnTo>
                  <a:cubicBezTo>
                    <a:pt x="532362" y="2512"/>
                    <a:pt x="532362" y="1024"/>
                    <a:pt x="540796" y="1024"/>
                  </a:cubicBezTo>
                  <a:cubicBezTo>
                    <a:pt x="548733" y="1024"/>
                    <a:pt x="548733" y="2512"/>
                    <a:pt x="557166" y="2512"/>
                  </a:cubicBezTo>
                  <a:cubicBezTo>
                    <a:pt x="565104" y="2512"/>
                    <a:pt x="565104" y="1024"/>
                    <a:pt x="573537" y="1024"/>
                  </a:cubicBezTo>
                  <a:cubicBezTo>
                    <a:pt x="581474" y="1024"/>
                    <a:pt x="581474" y="527"/>
                    <a:pt x="589908" y="527"/>
                  </a:cubicBezTo>
                  <a:cubicBezTo>
                    <a:pt x="597845" y="527"/>
                    <a:pt x="597845" y="1520"/>
                    <a:pt x="606278" y="1520"/>
                  </a:cubicBezTo>
                  <a:lnTo>
                    <a:pt x="622649" y="1520"/>
                  </a:lnTo>
                  <a:cubicBezTo>
                    <a:pt x="630586" y="1520"/>
                    <a:pt x="630586" y="2016"/>
                    <a:pt x="639019" y="2016"/>
                  </a:cubicBezTo>
                  <a:cubicBezTo>
                    <a:pt x="646957" y="2016"/>
                    <a:pt x="646957" y="527"/>
                    <a:pt x="655390" y="527"/>
                  </a:cubicBezTo>
                  <a:cubicBezTo>
                    <a:pt x="663823" y="527"/>
                    <a:pt x="663327" y="1520"/>
                    <a:pt x="671760" y="1520"/>
                  </a:cubicBezTo>
                  <a:cubicBezTo>
                    <a:pt x="679698" y="1520"/>
                    <a:pt x="679698" y="2512"/>
                    <a:pt x="688131" y="2512"/>
                  </a:cubicBezTo>
                  <a:cubicBezTo>
                    <a:pt x="696068" y="2512"/>
                    <a:pt x="696068" y="1024"/>
                    <a:pt x="704501" y="1024"/>
                  </a:cubicBezTo>
                  <a:cubicBezTo>
                    <a:pt x="712439" y="1024"/>
                    <a:pt x="712439" y="1520"/>
                    <a:pt x="720872" y="1520"/>
                  </a:cubicBezTo>
                  <a:cubicBezTo>
                    <a:pt x="728809" y="1520"/>
                    <a:pt x="728809" y="2016"/>
                    <a:pt x="737243" y="2016"/>
                  </a:cubicBezTo>
                  <a:cubicBezTo>
                    <a:pt x="745180" y="2016"/>
                    <a:pt x="745180" y="1024"/>
                    <a:pt x="753613" y="1024"/>
                  </a:cubicBezTo>
                  <a:cubicBezTo>
                    <a:pt x="761550" y="1024"/>
                    <a:pt x="761550" y="527"/>
                    <a:pt x="769984" y="527"/>
                  </a:cubicBezTo>
                  <a:cubicBezTo>
                    <a:pt x="777921" y="527"/>
                    <a:pt x="777921" y="1520"/>
                    <a:pt x="786354" y="1520"/>
                  </a:cubicBezTo>
                  <a:cubicBezTo>
                    <a:pt x="794292" y="1520"/>
                    <a:pt x="794292" y="527"/>
                    <a:pt x="802725" y="527"/>
                  </a:cubicBezTo>
                  <a:cubicBezTo>
                    <a:pt x="810662" y="527"/>
                    <a:pt x="810662" y="2512"/>
                    <a:pt x="819096" y="2512"/>
                  </a:cubicBezTo>
                  <a:cubicBezTo>
                    <a:pt x="827033" y="2512"/>
                    <a:pt x="827033" y="527"/>
                    <a:pt x="835466" y="527"/>
                  </a:cubicBezTo>
                  <a:cubicBezTo>
                    <a:pt x="843403" y="527"/>
                    <a:pt x="843403" y="1520"/>
                    <a:pt x="851837" y="1520"/>
                  </a:cubicBezTo>
                  <a:cubicBezTo>
                    <a:pt x="859774" y="1520"/>
                    <a:pt x="859774" y="2016"/>
                    <a:pt x="868207" y="2016"/>
                  </a:cubicBezTo>
                  <a:cubicBezTo>
                    <a:pt x="876145" y="2016"/>
                    <a:pt x="876145" y="2512"/>
                    <a:pt x="884578" y="2512"/>
                  </a:cubicBezTo>
                  <a:cubicBezTo>
                    <a:pt x="892515" y="2512"/>
                    <a:pt x="892515" y="1520"/>
                    <a:pt x="900948" y="1520"/>
                  </a:cubicBezTo>
                  <a:cubicBezTo>
                    <a:pt x="908886" y="1520"/>
                    <a:pt x="908886" y="1024"/>
                    <a:pt x="917319" y="1024"/>
                  </a:cubicBezTo>
                  <a:cubicBezTo>
                    <a:pt x="925256" y="1024"/>
                    <a:pt x="925256" y="2512"/>
                    <a:pt x="933689" y="2512"/>
                  </a:cubicBezTo>
                  <a:cubicBezTo>
                    <a:pt x="941627" y="2512"/>
                    <a:pt x="941627" y="1520"/>
                    <a:pt x="950060" y="1520"/>
                  </a:cubicBezTo>
                  <a:cubicBezTo>
                    <a:pt x="957997" y="1520"/>
                    <a:pt x="957997" y="2016"/>
                    <a:pt x="966431" y="2016"/>
                  </a:cubicBezTo>
                  <a:cubicBezTo>
                    <a:pt x="974368" y="2016"/>
                    <a:pt x="974368" y="2512"/>
                    <a:pt x="982801" y="2512"/>
                  </a:cubicBezTo>
                  <a:cubicBezTo>
                    <a:pt x="990738" y="2512"/>
                    <a:pt x="990738" y="1520"/>
                    <a:pt x="999172" y="1520"/>
                  </a:cubicBezTo>
                  <a:cubicBezTo>
                    <a:pt x="1007109" y="1520"/>
                    <a:pt x="1007109" y="2512"/>
                    <a:pt x="1015542" y="2512"/>
                  </a:cubicBezTo>
                  <a:cubicBezTo>
                    <a:pt x="1023479" y="2512"/>
                    <a:pt x="1023479" y="1520"/>
                    <a:pt x="1031913" y="1520"/>
                  </a:cubicBezTo>
                  <a:cubicBezTo>
                    <a:pt x="1039850" y="1520"/>
                    <a:pt x="1039850" y="2016"/>
                    <a:pt x="1048283" y="2016"/>
                  </a:cubicBezTo>
                  <a:cubicBezTo>
                    <a:pt x="1056221" y="2016"/>
                    <a:pt x="1056221" y="3504"/>
                    <a:pt x="1064654" y="3504"/>
                  </a:cubicBezTo>
                  <a:cubicBezTo>
                    <a:pt x="1072591" y="3504"/>
                    <a:pt x="1072591" y="2016"/>
                    <a:pt x="1081025" y="2016"/>
                  </a:cubicBezTo>
                  <a:cubicBezTo>
                    <a:pt x="1088962" y="2016"/>
                    <a:pt x="1088962" y="2512"/>
                    <a:pt x="1097395" y="2512"/>
                  </a:cubicBezTo>
                  <a:lnTo>
                    <a:pt x="1113766" y="2512"/>
                  </a:lnTo>
                  <a:cubicBezTo>
                    <a:pt x="1121703" y="2512"/>
                    <a:pt x="1121703" y="3504"/>
                    <a:pt x="1130136" y="3504"/>
                  </a:cubicBezTo>
                  <a:cubicBezTo>
                    <a:pt x="1138074" y="3504"/>
                    <a:pt x="1138074" y="1520"/>
                    <a:pt x="1146507" y="1520"/>
                  </a:cubicBezTo>
                  <a:cubicBezTo>
                    <a:pt x="1154444" y="1520"/>
                    <a:pt x="1154444" y="3008"/>
                    <a:pt x="1162878" y="3008"/>
                  </a:cubicBezTo>
                  <a:cubicBezTo>
                    <a:pt x="1170815" y="3008"/>
                    <a:pt x="1170815" y="4000"/>
                    <a:pt x="1179248" y="4000"/>
                  </a:cubicBezTo>
                  <a:cubicBezTo>
                    <a:pt x="1187185" y="4000"/>
                    <a:pt x="1187185" y="3504"/>
                    <a:pt x="1195619" y="3504"/>
                  </a:cubicBezTo>
                  <a:cubicBezTo>
                    <a:pt x="1203556" y="3504"/>
                    <a:pt x="1203556" y="1520"/>
                    <a:pt x="1211989" y="1520"/>
                  </a:cubicBezTo>
                  <a:cubicBezTo>
                    <a:pt x="1219927" y="1520"/>
                    <a:pt x="1219927" y="3504"/>
                    <a:pt x="1228360" y="3504"/>
                  </a:cubicBezTo>
                  <a:cubicBezTo>
                    <a:pt x="1236297" y="3504"/>
                    <a:pt x="1236297" y="1520"/>
                    <a:pt x="1244730" y="1520"/>
                  </a:cubicBezTo>
                  <a:cubicBezTo>
                    <a:pt x="1252668" y="1520"/>
                    <a:pt x="1252668" y="2512"/>
                    <a:pt x="1261101" y="2512"/>
                  </a:cubicBezTo>
                  <a:cubicBezTo>
                    <a:pt x="1269038" y="2512"/>
                    <a:pt x="1269038" y="3504"/>
                    <a:pt x="1277471" y="3504"/>
                  </a:cubicBezTo>
                  <a:cubicBezTo>
                    <a:pt x="1285409" y="3504"/>
                    <a:pt x="1285409" y="4000"/>
                    <a:pt x="1293842" y="4000"/>
                  </a:cubicBezTo>
                  <a:cubicBezTo>
                    <a:pt x="1301779" y="4000"/>
                    <a:pt x="1301779" y="1520"/>
                    <a:pt x="1310213" y="1520"/>
                  </a:cubicBezTo>
                  <a:cubicBezTo>
                    <a:pt x="1318150" y="1520"/>
                    <a:pt x="1318150" y="2016"/>
                    <a:pt x="1326583" y="2016"/>
                  </a:cubicBezTo>
                  <a:cubicBezTo>
                    <a:pt x="1334520" y="2016"/>
                    <a:pt x="1334520" y="3008"/>
                    <a:pt x="1342954" y="3008"/>
                  </a:cubicBezTo>
                  <a:lnTo>
                    <a:pt x="1359324" y="3008"/>
                  </a:lnTo>
                  <a:cubicBezTo>
                    <a:pt x="1367262" y="3008"/>
                    <a:pt x="1367262" y="2512"/>
                    <a:pt x="1375695" y="2512"/>
                  </a:cubicBezTo>
                  <a:lnTo>
                    <a:pt x="1392066" y="2512"/>
                  </a:lnTo>
                  <a:cubicBezTo>
                    <a:pt x="1400003" y="2512"/>
                    <a:pt x="1400003" y="3504"/>
                    <a:pt x="1408436" y="3504"/>
                  </a:cubicBezTo>
                  <a:lnTo>
                    <a:pt x="1424807" y="3504"/>
                  </a:lnTo>
                  <a:cubicBezTo>
                    <a:pt x="1432744" y="3504"/>
                    <a:pt x="1432744" y="1520"/>
                    <a:pt x="1441177" y="1520"/>
                  </a:cubicBezTo>
                  <a:cubicBezTo>
                    <a:pt x="1449115" y="1520"/>
                    <a:pt x="1449115" y="2512"/>
                    <a:pt x="1457548" y="2512"/>
                  </a:cubicBezTo>
                  <a:cubicBezTo>
                    <a:pt x="1465485" y="2512"/>
                    <a:pt x="1465485" y="2016"/>
                    <a:pt x="1473919" y="2016"/>
                  </a:cubicBezTo>
                  <a:lnTo>
                    <a:pt x="1490289" y="2016"/>
                  </a:lnTo>
                  <a:cubicBezTo>
                    <a:pt x="1498226" y="2016"/>
                    <a:pt x="1498226" y="1520"/>
                    <a:pt x="1506660" y="1520"/>
                  </a:cubicBezTo>
                  <a:cubicBezTo>
                    <a:pt x="1514597" y="1520"/>
                    <a:pt x="1514597" y="3504"/>
                    <a:pt x="1523030" y="3504"/>
                  </a:cubicBezTo>
                  <a:cubicBezTo>
                    <a:pt x="1531463" y="3504"/>
                    <a:pt x="1530967" y="3008"/>
                    <a:pt x="1539401" y="3008"/>
                  </a:cubicBezTo>
                  <a:lnTo>
                    <a:pt x="1555771" y="3008"/>
                  </a:lnTo>
                  <a:cubicBezTo>
                    <a:pt x="1563708" y="3008"/>
                    <a:pt x="1563708" y="2512"/>
                    <a:pt x="1572142" y="2512"/>
                  </a:cubicBezTo>
                  <a:cubicBezTo>
                    <a:pt x="1580079" y="2512"/>
                    <a:pt x="1580079" y="2016"/>
                    <a:pt x="1588512" y="2016"/>
                  </a:cubicBezTo>
                  <a:cubicBezTo>
                    <a:pt x="1596450" y="2016"/>
                    <a:pt x="1596450" y="3008"/>
                    <a:pt x="1604883" y="3008"/>
                  </a:cubicBezTo>
                  <a:lnTo>
                    <a:pt x="1621253" y="3008"/>
                  </a:lnTo>
                  <a:cubicBezTo>
                    <a:pt x="1629191" y="3008"/>
                    <a:pt x="1629191" y="2512"/>
                    <a:pt x="1637624" y="251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040F8A66-FF79-8AC6-B5F1-EC2CD8F4540E}"/>
                </a:ext>
              </a:extLst>
            </p:cNvPr>
            <p:cNvSpPr/>
            <p:nvPr/>
          </p:nvSpPr>
          <p:spPr>
            <a:xfrm>
              <a:off x="5338429" y="1713129"/>
              <a:ext cx="230577" cy="244409"/>
            </a:xfrm>
            <a:custGeom>
              <a:avLst/>
              <a:gdLst>
                <a:gd name="connsiteX0" fmla="*/ 130700 w 230577"/>
                <a:gd name="connsiteY0" fmla="*/ 3797 h 244409"/>
                <a:gd name="connsiteX1" fmla="*/ 114826 w 230577"/>
                <a:gd name="connsiteY1" fmla="*/ 3797 h 244409"/>
                <a:gd name="connsiteX2" fmla="*/ 98951 w 230577"/>
                <a:gd name="connsiteY2" fmla="*/ 3797 h 244409"/>
                <a:gd name="connsiteX3" fmla="*/ 83077 w 230577"/>
                <a:gd name="connsiteY3" fmla="*/ 2308 h 244409"/>
                <a:gd name="connsiteX4" fmla="*/ 67202 w 230577"/>
                <a:gd name="connsiteY4" fmla="*/ 3797 h 244409"/>
                <a:gd name="connsiteX5" fmla="*/ 51328 w 230577"/>
                <a:gd name="connsiteY5" fmla="*/ 4293 h 244409"/>
                <a:gd name="connsiteX6" fmla="*/ 35453 w 230577"/>
                <a:gd name="connsiteY6" fmla="*/ 4293 h 244409"/>
                <a:gd name="connsiteX7" fmla="*/ 19579 w 230577"/>
                <a:gd name="connsiteY7" fmla="*/ 3300 h 244409"/>
                <a:gd name="connsiteX8" fmla="*/ 3208 w 230577"/>
                <a:gd name="connsiteY8" fmla="*/ 3300 h 244409"/>
                <a:gd name="connsiteX9" fmla="*/ 2712 w 230577"/>
                <a:gd name="connsiteY9" fmla="*/ 19671 h 244409"/>
                <a:gd name="connsiteX10" fmla="*/ 3704 w 230577"/>
                <a:gd name="connsiteY10" fmla="*/ 35546 h 244409"/>
                <a:gd name="connsiteX11" fmla="*/ 2712 w 230577"/>
                <a:gd name="connsiteY11" fmla="*/ 51420 h 244409"/>
                <a:gd name="connsiteX12" fmla="*/ 2216 w 230577"/>
                <a:gd name="connsiteY12" fmla="*/ 67294 h 244409"/>
                <a:gd name="connsiteX13" fmla="*/ 2216 w 230577"/>
                <a:gd name="connsiteY13" fmla="*/ 83169 h 244409"/>
                <a:gd name="connsiteX14" fmla="*/ 3208 w 230577"/>
                <a:gd name="connsiteY14" fmla="*/ 99043 h 244409"/>
                <a:gd name="connsiteX15" fmla="*/ 2216 w 230577"/>
                <a:gd name="connsiteY15" fmla="*/ 114918 h 244409"/>
                <a:gd name="connsiteX16" fmla="*/ 2712 w 230577"/>
                <a:gd name="connsiteY16" fmla="*/ 130793 h 244409"/>
                <a:gd name="connsiteX17" fmla="*/ 3704 w 230577"/>
                <a:gd name="connsiteY17" fmla="*/ 146667 h 244409"/>
                <a:gd name="connsiteX18" fmla="*/ 3704 w 230577"/>
                <a:gd name="connsiteY18" fmla="*/ 162541 h 244409"/>
                <a:gd name="connsiteX19" fmla="*/ 3704 w 230577"/>
                <a:gd name="connsiteY19" fmla="*/ 178416 h 244409"/>
                <a:gd name="connsiteX20" fmla="*/ 3208 w 230577"/>
                <a:gd name="connsiteY20" fmla="*/ 194290 h 244409"/>
                <a:gd name="connsiteX21" fmla="*/ 3704 w 230577"/>
                <a:gd name="connsiteY21" fmla="*/ 210165 h 244409"/>
                <a:gd name="connsiteX22" fmla="*/ 1720 w 230577"/>
                <a:gd name="connsiteY22" fmla="*/ 226039 h 244409"/>
                <a:gd name="connsiteX23" fmla="*/ 2712 w 230577"/>
                <a:gd name="connsiteY23" fmla="*/ 241914 h 244409"/>
                <a:gd name="connsiteX24" fmla="*/ 18587 w 230577"/>
                <a:gd name="connsiteY24" fmla="*/ 241418 h 244409"/>
                <a:gd name="connsiteX25" fmla="*/ 34461 w 230577"/>
                <a:gd name="connsiteY25" fmla="*/ 240922 h 244409"/>
                <a:gd name="connsiteX26" fmla="*/ 50336 w 230577"/>
                <a:gd name="connsiteY26" fmla="*/ 242906 h 244409"/>
                <a:gd name="connsiteX27" fmla="*/ 66210 w 230577"/>
                <a:gd name="connsiteY27" fmla="*/ 242410 h 244409"/>
                <a:gd name="connsiteX28" fmla="*/ 82085 w 230577"/>
                <a:gd name="connsiteY28" fmla="*/ 240922 h 244409"/>
                <a:gd name="connsiteX29" fmla="*/ 97959 w 230577"/>
                <a:gd name="connsiteY29" fmla="*/ 240922 h 244409"/>
                <a:gd name="connsiteX30" fmla="*/ 113834 w 230577"/>
                <a:gd name="connsiteY30" fmla="*/ 240426 h 244409"/>
                <a:gd name="connsiteX31" fmla="*/ 130700 w 230577"/>
                <a:gd name="connsiteY31" fmla="*/ 242410 h 244409"/>
                <a:gd name="connsiteX32" fmla="*/ 129708 w 230577"/>
                <a:gd name="connsiteY32" fmla="*/ 225543 h 244409"/>
                <a:gd name="connsiteX33" fmla="*/ 128716 w 230577"/>
                <a:gd name="connsiteY33" fmla="*/ 209669 h 244409"/>
                <a:gd name="connsiteX34" fmla="*/ 129708 w 230577"/>
                <a:gd name="connsiteY34" fmla="*/ 193794 h 244409"/>
                <a:gd name="connsiteX35" fmla="*/ 129212 w 230577"/>
                <a:gd name="connsiteY35" fmla="*/ 177920 h 244409"/>
                <a:gd name="connsiteX36" fmla="*/ 129212 w 230577"/>
                <a:gd name="connsiteY36" fmla="*/ 162045 h 244409"/>
                <a:gd name="connsiteX37" fmla="*/ 128716 w 230577"/>
                <a:gd name="connsiteY37" fmla="*/ 146171 h 244409"/>
                <a:gd name="connsiteX38" fmla="*/ 129708 w 230577"/>
                <a:gd name="connsiteY38" fmla="*/ 130296 h 244409"/>
                <a:gd name="connsiteX39" fmla="*/ 129708 w 230577"/>
                <a:gd name="connsiteY39" fmla="*/ 114422 h 244409"/>
                <a:gd name="connsiteX40" fmla="*/ 129708 w 230577"/>
                <a:gd name="connsiteY40" fmla="*/ 98547 h 244409"/>
                <a:gd name="connsiteX41" fmla="*/ 128220 w 230577"/>
                <a:gd name="connsiteY41" fmla="*/ 82673 h 244409"/>
                <a:gd name="connsiteX42" fmla="*/ 128220 w 230577"/>
                <a:gd name="connsiteY42" fmla="*/ 66798 h 244409"/>
                <a:gd name="connsiteX43" fmla="*/ 130700 w 230577"/>
                <a:gd name="connsiteY43" fmla="*/ 50924 h 244409"/>
                <a:gd name="connsiteX44" fmla="*/ 129212 w 230577"/>
                <a:gd name="connsiteY44" fmla="*/ 35049 h 244409"/>
                <a:gd name="connsiteX45" fmla="*/ 129708 w 230577"/>
                <a:gd name="connsiteY45" fmla="*/ 19175 h 244409"/>
                <a:gd name="connsiteX46" fmla="*/ 129212 w 230577"/>
                <a:gd name="connsiteY46" fmla="*/ 2804 h 244409"/>
                <a:gd name="connsiteX47" fmla="*/ 145583 w 230577"/>
                <a:gd name="connsiteY47" fmla="*/ 4293 h 244409"/>
                <a:gd name="connsiteX48" fmla="*/ 161953 w 230577"/>
                <a:gd name="connsiteY48" fmla="*/ 3797 h 244409"/>
                <a:gd name="connsiteX49" fmla="*/ 178324 w 230577"/>
                <a:gd name="connsiteY49" fmla="*/ 1812 h 244409"/>
                <a:gd name="connsiteX50" fmla="*/ 194694 w 230577"/>
                <a:gd name="connsiteY50" fmla="*/ 3797 h 244409"/>
                <a:gd name="connsiteX51" fmla="*/ 211065 w 230577"/>
                <a:gd name="connsiteY51" fmla="*/ 3797 h 244409"/>
                <a:gd name="connsiteX52" fmla="*/ 227932 w 230577"/>
                <a:gd name="connsiteY52" fmla="*/ 2308 h 244409"/>
                <a:gd name="connsiteX53" fmla="*/ 227932 w 230577"/>
                <a:gd name="connsiteY53" fmla="*/ 19175 h 244409"/>
                <a:gd name="connsiteX54" fmla="*/ 227932 w 230577"/>
                <a:gd name="connsiteY54" fmla="*/ 35049 h 244409"/>
                <a:gd name="connsiteX55" fmla="*/ 227435 w 230577"/>
                <a:gd name="connsiteY55" fmla="*/ 50924 h 244409"/>
                <a:gd name="connsiteX56" fmla="*/ 227435 w 230577"/>
                <a:gd name="connsiteY56" fmla="*/ 66798 h 244409"/>
                <a:gd name="connsiteX57" fmla="*/ 226939 w 230577"/>
                <a:gd name="connsiteY57" fmla="*/ 82673 h 244409"/>
                <a:gd name="connsiteX58" fmla="*/ 225947 w 230577"/>
                <a:gd name="connsiteY58" fmla="*/ 98547 h 244409"/>
                <a:gd name="connsiteX59" fmla="*/ 226443 w 230577"/>
                <a:gd name="connsiteY59" fmla="*/ 114422 h 24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30577" h="244409">
                  <a:moveTo>
                    <a:pt x="130700" y="3797"/>
                  </a:moveTo>
                  <a:cubicBezTo>
                    <a:pt x="122763" y="3797"/>
                    <a:pt x="122763" y="3797"/>
                    <a:pt x="114826" y="3797"/>
                  </a:cubicBezTo>
                  <a:cubicBezTo>
                    <a:pt x="106889" y="3797"/>
                    <a:pt x="106889" y="3797"/>
                    <a:pt x="98951" y="3797"/>
                  </a:cubicBezTo>
                  <a:cubicBezTo>
                    <a:pt x="91014" y="3797"/>
                    <a:pt x="91014" y="2308"/>
                    <a:pt x="83077" y="2308"/>
                  </a:cubicBezTo>
                  <a:cubicBezTo>
                    <a:pt x="75139" y="2308"/>
                    <a:pt x="75139" y="3797"/>
                    <a:pt x="67202" y="3797"/>
                  </a:cubicBezTo>
                  <a:cubicBezTo>
                    <a:pt x="59265" y="3797"/>
                    <a:pt x="59265" y="4293"/>
                    <a:pt x="51328" y="4293"/>
                  </a:cubicBezTo>
                  <a:cubicBezTo>
                    <a:pt x="43391" y="4293"/>
                    <a:pt x="43391" y="4293"/>
                    <a:pt x="35453" y="4293"/>
                  </a:cubicBezTo>
                  <a:cubicBezTo>
                    <a:pt x="27516" y="4293"/>
                    <a:pt x="27516" y="3300"/>
                    <a:pt x="19579" y="3300"/>
                  </a:cubicBezTo>
                  <a:cubicBezTo>
                    <a:pt x="11642" y="3300"/>
                    <a:pt x="8665" y="-2653"/>
                    <a:pt x="3208" y="3300"/>
                  </a:cubicBezTo>
                  <a:cubicBezTo>
                    <a:pt x="-2249" y="8757"/>
                    <a:pt x="2712" y="11734"/>
                    <a:pt x="2712" y="19671"/>
                  </a:cubicBezTo>
                  <a:cubicBezTo>
                    <a:pt x="2712" y="27608"/>
                    <a:pt x="3704" y="27608"/>
                    <a:pt x="3704" y="35546"/>
                  </a:cubicBezTo>
                  <a:cubicBezTo>
                    <a:pt x="3704" y="43483"/>
                    <a:pt x="2712" y="43483"/>
                    <a:pt x="2712" y="51420"/>
                  </a:cubicBezTo>
                  <a:cubicBezTo>
                    <a:pt x="2712" y="59357"/>
                    <a:pt x="2216" y="59357"/>
                    <a:pt x="2216" y="67294"/>
                  </a:cubicBezTo>
                  <a:cubicBezTo>
                    <a:pt x="2216" y="75232"/>
                    <a:pt x="2216" y="75232"/>
                    <a:pt x="2216" y="83169"/>
                  </a:cubicBezTo>
                  <a:cubicBezTo>
                    <a:pt x="2216" y="91106"/>
                    <a:pt x="3208" y="91106"/>
                    <a:pt x="3208" y="99043"/>
                  </a:cubicBezTo>
                  <a:cubicBezTo>
                    <a:pt x="3208" y="106981"/>
                    <a:pt x="2216" y="106981"/>
                    <a:pt x="2216" y="114918"/>
                  </a:cubicBezTo>
                  <a:cubicBezTo>
                    <a:pt x="2216" y="122855"/>
                    <a:pt x="2712" y="122855"/>
                    <a:pt x="2712" y="130793"/>
                  </a:cubicBezTo>
                  <a:cubicBezTo>
                    <a:pt x="2712" y="138730"/>
                    <a:pt x="3704" y="138730"/>
                    <a:pt x="3704" y="146667"/>
                  </a:cubicBezTo>
                  <a:cubicBezTo>
                    <a:pt x="3704" y="154604"/>
                    <a:pt x="3704" y="154604"/>
                    <a:pt x="3704" y="162541"/>
                  </a:cubicBezTo>
                  <a:cubicBezTo>
                    <a:pt x="3704" y="170479"/>
                    <a:pt x="3704" y="170479"/>
                    <a:pt x="3704" y="178416"/>
                  </a:cubicBezTo>
                  <a:cubicBezTo>
                    <a:pt x="3704" y="186353"/>
                    <a:pt x="3208" y="186353"/>
                    <a:pt x="3208" y="194290"/>
                  </a:cubicBezTo>
                  <a:cubicBezTo>
                    <a:pt x="3208" y="202228"/>
                    <a:pt x="3704" y="202228"/>
                    <a:pt x="3704" y="210165"/>
                  </a:cubicBezTo>
                  <a:cubicBezTo>
                    <a:pt x="3704" y="218102"/>
                    <a:pt x="1720" y="218102"/>
                    <a:pt x="1720" y="226039"/>
                  </a:cubicBezTo>
                  <a:cubicBezTo>
                    <a:pt x="1720" y="233977"/>
                    <a:pt x="-2745" y="236457"/>
                    <a:pt x="2712" y="241914"/>
                  </a:cubicBezTo>
                  <a:cubicBezTo>
                    <a:pt x="8169" y="247371"/>
                    <a:pt x="10649" y="241418"/>
                    <a:pt x="18587" y="241418"/>
                  </a:cubicBezTo>
                  <a:cubicBezTo>
                    <a:pt x="26524" y="241418"/>
                    <a:pt x="26524" y="240922"/>
                    <a:pt x="34461" y="240922"/>
                  </a:cubicBezTo>
                  <a:cubicBezTo>
                    <a:pt x="42398" y="240922"/>
                    <a:pt x="42398" y="242906"/>
                    <a:pt x="50336" y="242906"/>
                  </a:cubicBezTo>
                  <a:cubicBezTo>
                    <a:pt x="58273" y="242906"/>
                    <a:pt x="58273" y="242410"/>
                    <a:pt x="66210" y="242410"/>
                  </a:cubicBezTo>
                  <a:cubicBezTo>
                    <a:pt x="74148" y="242410"/>
                    <a:pt x="74148" y="240922"/>
                    <a:pt x="82085" y="240922"/>
                  </a:cubicBezTo>
                  <a:cubicBezTo>
                    <a:pt x="90022" y="240922"/>
                    <a:pt x="90022" y="240922"/>
                    <a:pt x="97959" y="240922"/>
                  </a:cubicBezTo>
                  <a:cubicBezTo>
                    <a:pt x="105896" y="240922"/>
                    <a:pt x="105896" y="240426"/>
                    <a:pt x="113834" y="240426"/>
                  </a:cubicBezTo>
                  <a:cubicBezTo>
                    <a:pt x="121771" y="240426"/>
                    <a:pt x="124747" y="247867"/>
                    <a:pt x="130700" y="242410"/>
                  </a:cubicBezTo>
                  <a:cubicBezTo>
                    <a:pt x="136157" y="236953"/>
                    <a:pt x="129708" y="233481"/>
                    <a:pt x="129708" y="225543"/>
                  </a:cubicBezTo>
                  <a:cubicBezTo>
                    <a:pt x="129708" y="217606"/>
                    <a:pt x="128716" y="217606"/>
                    <a:pt x="128716" y="209669"/>
                  </a:cubicBezTo>
                  <a:cubicBezTo>
                    <a:pt x="128716" y="201732"/>
                    <a:pt x="129708" y="201732"/>
                    <a:pt x="129708" y="193794"/>
                  </a:cubicBezTo>
                  <a:cubicBezTo>
                    <a:pt x="129708" y="185857"/>
                    <a:pt x="129212" y="185857"/>
                    <a:pt x="129212" y="177920"/>
                  </a:cubicBezTo>
                  <a:cubicBezTo>
                    <a:pt x="129212" y="169983"/>
                    <a:pt x="129212" y="169983"/>
                    <a:pt x="129212" y="162045"/>
                  </a:cubicBezTo>
                  <a:cubicBezTo>
                    <a:pt x="129212" y="154108"/>
                    <a:pt x="128716" y="154108"/>
                    <a:pt x="128716" y="146171"/>
                  </a:cubicBezTo>
                  <a:cubicBezTo>
                    <a:pt x="128716" y="138234"/>
                    <a:pt x="129708" y="138234"/>
                    <a:pt x="129708" y="130296"/>
                  </a:cubicBezTo>
                  <a:cubicBezTo>
                    <a:pt x="129708" y="122359"/>
                    <a:pt x="129708" y="122359"/>
                    <a:pt x="129708" y="114422"/>
                  </a:cubicBezTo>
                  <a:cubicBezTo>
                    <a:pt x="129708" y="106485"/>
                    <a:pt x="129708" y="106485"/>
                    <a:pt x="129708" y="98547"/>
                  </a:cubicBezTo>
                  <a:cubicBezTo>
                    <a:pt x="129708" y="90610"/>
                    <a:pt x="128220" y="90610"/>
                    <a:pt x="128220" y="82673"/>
                  </a:cubicBezTo>
                  <a:cubicBezTo>
                    <a:pt x="128220" y="74736"/>
                    <a:pt x="128220" y="74736"/>
                    <a:pt x="128220" y="66798"/>
                  </a:cubicBezTo>
                  <a:cubicBezTo>
                    <a:pt x="128220" y="58861"/>
                    <a:pt x="130700" y="58861"/>
                    <a:pt x="130700" y="50924"/>
                  </a:cubicBezTo>
                  <a:cubicBezTo>
                    <a:pt x="130700" y="42987"/>
                    <a:pt x="129212" y="42987"/>
                    <a:pt x="129212" y="35049"/>
                  </a:cubicBezTo>
                  <a:cubicBezTo>
                    <a:pt x="129212" y="27112"/>
                    <a:pt x="129708" y="27112"/>
                    <a:pt x="129708" y="19175"/>
                  </a:cubicBezTo>
                  <a:cubicBezTo>
                    <a:pt x="129708" y="11238"/>
                    <a:pt x="123259" y="8261"/>
                    <a:pt x="129212" y="2804"/>
                  </a:cubicBezTo>
                  <a:cubicBezTo>
                    <a:pt x="135165" y="-2653"/>
                    <a:pt x="137645" y="4293"/>
                    <a:pt x="145583" y="4293"/>
                  </a:cubicBezTo>
                  <a:cubicBezTo>
                    <a:pt x="153520" y="4293"/>
                    <a:pt x="153520" y="3797"/>
                    <a:pt x="161953" y="3797"/>
                  </a:cubicBezTo>
                  <a:cubicBezTo>
                    <a:pt x="169891" y="3797"/>
                    <a:pt x="169891" y="1812"/>
                    <a:pt x="178324" y="1812"/>
                  </a:cubicBezTo>
                  <a:cubicBezTo>
                    <a:pt x="186261" y="1812"/>
                    <a:pt x="186261" y="3797"/>
                    <a:pt x="194694" y="3797"/>
                  </a:cubicBezTo>
                  <a:cubicBezTo>
                    <a:pt x="203128" y="3797"/>
                    <a:pt x="203128" y="3797"/>
                    <a:pt x="211065" y="3797"/>
                  </a:cubicBezTo>
                  <a:cubicBezTo>
                    <a:pt x="219002" y="3797"/>
                    <a:pt x="222475" y="-3645"/>
                    <a:pt x="227932" y="2308"/>
                  </a:cubicBezTo>
                  <a:cubicBezTo>
                    <a:pt x="233884" y="7765"/>
                    <a:pt x="227932" y="11238"/>
                    <a:pt x="227932" y="19175"/>
                  </a:cubicBezTo>
                  <a:cubicBezTo>
                    <a:pt x="227932" y="27112"/>
                    <a:pt x="227932" y="27112"/>
                    <a:pt x="227932" y="35049"/>
                  </a:cubicBezTo>
                  <a:cubicBezTo>
                    <a:pt x="227932" y="42987"/>
                    <a:pt x="227435" y="42987"/>
                    <a:pt x="227435" y="50924"/>
                  </a:cubicBezTo>
                  <a:cubicBezTo>
                    <a:pt x="227435" y="58861"/>
                    <a:pt x="227435" y="58861"/>
                    <a:pt x="227435" y="66798"/>
                  </a:cubicBezTo>
                  <a:cubicBezTo>
                    <a:pt x="227435" y="74736"/>
                    <a:pt x="226939" y="74736"/>
                    <a:pt x="226939" y="82673"/>
                  </a:cubicBezTo>
                  <a:cubicBezTo>
                    <a:pt x="226939" y="90610"/>
                    <a:pt x="225947" y="90610"/>
                    <a:pt x="225947" y="98547"/>
                  </a:cubicBezTo>
                  <a:cubicBezTo>
                    <a:pt x="225947" y="106485"/>
                    <a:pt x="226443" y="106485"/>
                    <a:pt x="226443" y="1144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1EFFA824-3528-71EA-BEF0-3D751FD1E3AE}"/>
                </a:ext>
              </a:extLst>
            </p:cNvPr>
            <p:cNvSpPr/>
            <p:nvPr/>
          </p:nvSpPr>
          <p:spPr>
            <a:xfrm>
              <a:off x="6153717" y="1781911"/>
              <a:ext cx="473257" cy="472762"/>
            </a:xfrm>
            <a:custGeom>
              <a:avLst/>
              <a:gdLst>
                <a:gd name="connsiteX0" fmla="*/ 0 w 473257"/>
                <a:gd name="connsiteY0" fmla="*/ 472762 h 472762"/>
                <a:gd name="connsiteX1" fmla="*/ 10913 w 473257"/>
                <a:gd name="connsiteY1" fmla="*/ 460360 h 472762"/>
                <a:gd name="connsiteX2" fmla="*/ 22819 w 473257"/>
                <a:gd name="connsiteY2" fmla="*/ 449446 h 472762"/>
                <a:gd name="connsiteX3" fmla="*/ 34229 w 473257"/>
                <a:gd name="connsiteY3" fmla="*/ 438037 h 472762"/>
                <a:gd name="connsiteX4" fmla="*/ 44647 w 473257"/>
                <a:gd name="connsiteY4" fmla="*/ 425635 h 472762"/>
                <a:gd name="connsiteX5" fmla="*/ 57545 w 473257"/>
                <a:gd name="connsiteY5" fmla="*/ 415217 h 472762"/>
                <a:gd name="connsiteX6" fmla="*/ 68954 w 473257"/>
                <a:gd name="connsiteY6" fmla="*/ 403311 h 472762"/>
                <a:gd name="connsiteX7" fmla="*/ 79868 w 473257"/>
                <a:gd name="connsiteY7" fmla="*/ 391405 h 472762"/>
                <a:gd name="connsiteX8" fmla="*/ 91278 w 473257"/>
                <a:gd name="connsiteY8" fmla="*/ 379996 h 472762"/>
                <a:gd name="connsiteX9" fmla="*/ 102688 w 473257"/>
                <a:gd name="connsiteY9" fmla="*/ 368586 h 472762"/>
                <a:gd name="connsiteX10" fmla="*/ 115090 w 473257"/>
                <a:gd name="connsiteY10" fmla="*/ 358168 h 472762"/>
                <a:gd name="connsiteX11" fmla="*/ 126003 w 473257"/>
                <a:gd name="connsiteY11" fmla="*/ 345766 h 472762"/>
                <a:gd name="connsiteX12" fmla="*/ 136917 w 473257"/>
                <a:gd name="connsiteY12" fmla="*/ 333860 h 472762"/>
                <a:gd name="connsiteX13" fmla="*/ 149815 w 473257"/>
                <a:gd name="connsiteY13" fmla="*/ 323443 h 472762"/>
                <a:gd name="connsiteX14" fmla="*/ 160729 w 473257"/>
                <a:gd name="connsiteY14" fmla="*/ 311041 h 472762"/>
                <a:gd name="connsiteX15" fmla="*/ 171643 w 473257"/>
                <a:gd name="connsiteY15" fmla="*/ 299135 h 472762"/>
                <a:gd name="connsiteX16" fmla="*/ 183549 w 473257"/>
                <a:gd name="connsiteY16" fmla="*/ 287725 h 472762"/>
                <a:gd name="connsiteX17" fmla="*/ 194958 w 473257"/>
                <a:gd name="connsiteY17" fmla="*/ 276315 h 472762"/>
                <a:gd name="connsiteX18" fmla="*/ 206864 w 473257"/>
                <a:gd name="connsiteY18" fmla="*/ 265402 h 472762"/>
                <a:gd name="connsiteX19" fmla="*/ 218274 w 473257"/>
                <a:gd name="connsiteY19" fmla="*/ 253496 h 472762"/>
                <a:gd name="connsiteX20" fmla="*/ 230180 w 473257"/>
                <a:gd name="connsiteY20" fmla="*/ 242086 h 472762"/>
                <a:gd name="connsiteX21" fmla="*/ 241590 w 473257"/>
                <a:gd name="connsiteY21" fmla="*/ 230676 h 472762"/>
                <a:gd name="connsiteX22" fmla="*/ 253496 w 473257"/>
                <a:gd name="connsiteY22" fmla="*/ 219266 h 472762"/>
                <a:gd name="connsiteX23" fmla="*/ 264905 w 473257"/>
                <a:gd name="connsiteY23" fmla="*/ 207857 h 472762"/>
                <a:gd name="connsiteX24" fmla="*/ 276811 w 473257"/>
                <a:gd name="connsiteY24" fmla="*/ 196447 h 472762"/>
                <a:gd name="connsiteX25" fmla="*/ 288717 w 473257"/>
                <a:gd name="connsiteY25" fmla="*/ 185037 h 472762"/>
                <a:gd name="connsiteX26" fmla="*/ 299135 w 473257"/>
                <a:gd name="connsiteY26" fmla="*/ 172635 h 472762"/>
                <a:gd name="connsiteX27" fmla="*/ 310545 w 473257"/>
                <a:gd name="connsiteY27" fmla="*/ 160729 h 472762"/>
                <a:gd name="connsiteX28" fmla="*/ 321954 w 473257"/>
                <a:gd name="connsiteY28" fmla="*/ 149319 h 472762"/>
                <a:gd name="connsiteX29" fmla="*/ 333364 w 473257"/>
                <a:gd name="connsiteY29" fmla="*/ 137910 h 472762"/>
                <a:gd name="connsiteX30" fmla="*/ 344774 w 473257"/>
                <a:gd name="connsiteY30" fmla="*/ 126004 h 472762"/>
                <a:gd name="connsiteX31" fmla="*/ 356680 w 473257"/>
                <a:gd name="connsiteY31" fmla="*/ 114594 h 472762"/>
                <a:gd name="connsiteX32" fmla="*/ 369578 w 473257"/>
                <a:gd name="connsiteY32" fmla="*/ 104672 h 472762"/>
                <a:gd name="connsiteX33" fmla="*/ 379500 w 473257"/>
                <a:gd name="connsiteY33" fmla="*/ 91774 h 472762"/>
                <a:gd name="connsiteX34" fmla="*/ 391405 w 473257"/>
                <a:gd name="connsiteY34" fmla="*/ 80365 h 472762"/>
                <a:gd name="connsiteX35" fmla="*/ 403807 w 473257"/>
                <a:gd name="connsiteY35" fmla="*/ 69947 h 472762"/>
                <a:gd name="connsiteX36" fmla="*/ 414721 w 473257"/>
                <a:gd name="connsiteY36" fmla="*/ 57545 h 472762"/>
                <a:gd name="connsiteX37" fmla="*/ 425635 w 473257"/>
                <a:gd name="connsiteY37" fmla="*/ 45639 h 472762"/>
                <a:gd name="connsiteX38" fmla="*/ 439029 w 473257"/>
                <a:gd name="connsiteY38" fmla="*/ 35718 h 472762"/>
                <a:gd name="connsiteX39" fmla="*/ 449942 w 473257"/>
                <a:gd name="connsiteY39" fmla="*/ 23316 h 472762"/>
                <a:gd name="connsiteX40" fmla="*/ 461352 w 473257"/>
                <a:gd name="connsiteY40" fmla="*/ 11410 h 472762"/>
                <a:gd name="connsiteX41" fmla="*/ 473258 w 473257"/>
                <a:gd name="connsiteY41" fmla="*/ 0 h 47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3257" h="472762">
                  <a:moveTo>
                    <a:pt x="0" y="472762"/>
                  </a:moveTo>
                  <a:cubicBezTo>
                    <a:pt x="5953" y="466809"/>
                    <a:pt x="4961" y="466313"/>
                    <a:pt x="10913" y="460360"/>
                  </a:cubicBezTo>
                  <a:cubicBezTo>
                    <a:pt x="16866" y="454407"/>
                    <a:pt x="17363" y="454903"/>
                    <a:pt x="22819" y="449446"/>
                  </a:cubicBezTo>
                  <a:cubicBezTo>
                    <a:pt x="28772" y="443494"/>
                    <a:pt x="28772" y="443494"/>
                    <a:pt x="34229" y="438037"/>
                  </a:cubicBezTo>
                  <a:cubicBezTo>
                    <a:pt x="40182" y="432084"/>
                    <a:pt x="39190" y="431092"/>
                    <a:pt x="44647" y="425635"/>
                  </a:cubicBezTo>
                  <a:cubicBezTo>
                    <a:pt x="50600" y="419682"/>
                    <a:pt x="51592" y="421170"/>
                    <a:pt x="57545" y="415217"/>
                  </a:cubicBezTo>
                  <a:cubicBezTo>
                    <a:pt x="63498" y="409264"/>
                    <a:pt x="63002" y="409264"/>
                    <a:pt x="68954" y="403311"/>
                  </a:cubicBezTo>
                  <a:cubicBezTo>
                    <a:pt x="74908" y="397358"/>
                    <a:pt x="74412" y="396862"/>
                    <a:pt x="79868" y="391405"/>
                  </a:cubicBezTo>
                  <a:cubicBezTo>
                    <a:pt x="85821" y="385452"/>
                    <a:pt x="85821" y="385452"/>
                    <a:pt x="91278" y="379996"/>
                  </a:cubicBezTo>
                  <a:cubicBezTo>
                    <a:pt x="97231" y="374043"/>
                    <a:pt x="97231" y="374043"/>
                    <a:pt x="102688" y="368586"/>
                  </a:cubicBezTo>
                  <a:cubicBezTo>
                    <a:pt x="108641" y="362633"/>
                    <a:pt x="109633" y="363625"/>
                    <a:pt x="115090" y="358168"/>
                  </a:cubicBezTo>
                  <a:cubicBezTo>
                    <a:pt x="121043" y="352215"/>
                    <a:pt x="120051" y="351719"/>
                    <a:pt x="126003" y="345766"/>
                  </a:cubicBezTo>
                  <a:cubicBezTo>
                    <a:pt x="131957" y="339813"/>
                    <a:pt x="131461" y="339317"/>
                    <a:pt x="136917" y="333860"/>
                  </a:cubicBezTo>
                  <a:cubicBezTo>
                    <a:pt x="142870" y="327907"/>
                    <a:pt x="143863" y="329396"/>
                    <a:pt x="149815" y="323443"/>
                  </a:cubicBezTo>
                  <a:cubicBezTo>
                    <a:pt x="155768" y="317490"/>
                    <a:pt x="154776" y="316994"/>
                    <a:pt x="160729" y="311041"/>
                  </a:cubicBezTo>
                  <a:cubicBezTo>
                    <a:pt x="166682" y="305088"/>
                    <a:pt x="166186" y="304592"/>
                    <a:pt x="171643" y="299135"/>
                  </a:cubicBezTo>
                  <a:cubicBezTo>
                    <a:pt x="177596" y="293182"/>
                    <a:pt x="177596" y="293678"/>
                    <a:pt x="183549" y="287725"/>
                  </a:cubicBezTo>
                  <a:cubicBezTo>
                    <a:pt x="189502" y="281772"/>
                    <a:pt x="189006" y="281772"/>
                    <a:pt x="194958" y="276315"/>
                  </a:cubicBezTo>
                  <a:cubicBezTo>
                    <a:pt x="200912" y="270362"/>
                    <a:pt x="201408" y="270858"/>
                    <a:pt x="206864" y="265402"/>
                  </a:cubicBezTo>
                  <a:cubicBezTo>
                    <a:pt x="212817" y="259449"/>
                    <a:pt x="212321" y="259449"/>
                    <a:pt x="218274" y="253496"/>
                  </a:cubicBezTo>
                  <a:cubicBezTo>
                    <a:pt x="224227" y="247543"/>
                    <a:pt x="224227" y="248039"/>
                    <a:pt x="230180" y="242086"/>
                  </a:cubicBezTo>
                  <a:cubicBezTo>
                    <a:pt x="236133" y="236133"/>
                    <a:pt x="236133" y="236133"/>
                    <a:pt x="241590" y="230676"/>
                  </a:cubicBezTo>
                  <a:cubicBezTo>
                    <a:pt x="247542" y="224723"/>
                    <a:pt x="247542" y="225219"/>
                    <a:pt x="253496" y="219266"/>
                  </a:cubicBezTo>
                  <a:cubicBezTo>
                    <a:pt x="259448" y="213314"/>
                    <a:pt x="259448" y="213314"/>
                    <a:pt x="264905" y="207857"/>
                  </a:cubicBezTo>
                  <a:cubicBezTo>
                    <a:pt x="270858" y="201904"/>
                    <a:pt x="270858" y="202400"/>
                    <a:pt x="276811" y="196447"/>
                  </a:cubicBezTo>
                  <a:cubicBezTo>
                    <a:pt x="282764" y="190494"/>
                    <a:pt x="282764" y="190990"/>
                    <a:pt x="288717" y="185037"/>
                  </a:cubicBezTo>
                  <a:cubicBezTo>
                    <a:pt x="294670" y="179084"/>
                    <a:pt x="293678" y="178092"/>
                    <a:pt x="299135" y="172635"/>
                  </a:cubicBezTo>
                  <a:cubicBezTo>
                    <a:pt x="305088" y="166682"/>
                    <a:pt x="304591" y="166682"/>
                    <a:pt x="310545" y="160729"/>
                  </a:cubicBezTo>
                  <a:cubicBezTo>
                    <a:pt x="316497" y="154776"/>
                    <a:pt x="316497" y="154776"/>
                    <a:pt x="321954" y="149319"/>
                  </a:cubicBezTo>
                  <a:cubicBezTo>
                    <a:pt x="327907" y="143366"/>
                    <a:pt x="327907" y="143366"/>
                    <a:pt x="333364" y="137910"/>
                  </a:cubicBezTo>
                  <a:cubicBezTo>
                    <a:pt x="339317" y="131957"/>
                    <a:pt x="338821" y="131957"/>
                    <a:pt x="344774" y="126004"/>
                  </a:cubicBezTo>
                  <a:cubicBezTo>
                    <a:pt x="350727" y="120051"/>
                    <a:pt x="350727" y="120547"/>
                    <a:pt x="356680" y="114594"/>
                  </a:cubicBezTo>
                  <a:cubicBezTo>
                    <a:pt x="362633" y="108641"/>
                    <a:pt x="364121" y="110129"/>
                    <a:pt x="369578" y="104672"/>
                  </a:cubicBezTo>
                  <a:cubicBezTo>
                    <a:pt x="375531" y="98719"/>
                    <a:pt x="374042" y="97231"/>
                    <a:pt x="379500" y="91774"/>
                  </a:cubicBezTo>
                  <a:cubicBezTo>
                    <a:pt x="385452" y="85821"/>
                    <a:pt x="385452" y="86318"/>
                    <a:pt x="391405" y="80365"/>
                  </a:cubicBezTo>
                  <a:cubicBezTo>
                    <a:pt x="397358" y="74412"/>
                    <a:pt x="398350" y="75404"/>
                    <a:pt x="403807" y="69947"/>
                  </a:cubicBezTo>
                  <a:cubicBezTo>
                    <a:pt x="409760" y="63994"/>
                    <a:pt x="408768" y="63498"/>
                    <a:pt x="414721" y="57545"/>
                  </a:cubicBezTo>
                  <a:cubicBezTo>
                    <a:pt x="420674" y="51592"/>
                    <a:pt x="420178" y="51096"/>
                    <a:pt x="425635" y="45639"/>
                  </a:cubicBezTo>
                  <a:cubicBezTo>
                    <a:pt x="431588" y="39686"/>
                    <a:pt x="433076" y="41671"/>
                    <a:pt x="439029" y="35718"/>
                  </a:cubicBezTo>
                  <a:cubicBezTo>
                    <a:pt x="444982" y="29765"/>
                    <a:pt x="443990" y="29269"/>
                    <a:pt x="449942" y="23316"/>
                  </a:cubicBezTo>
                  <a:cubicBezTo>
                    <a:pt x="455895" y="17363"/>
                    <a:pt x="455399" y="17363"/>
                    <a:pt x="461352" y="11410"/>
                  </a:cubicBezTo>
                  <a:cubicBezTo>
                    <a:pt x="467305" y="5457"/>
                    <a:pt x="467305" y="5953"/>
                    <a:pt x="47325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CAD6374C-90BF-396C-E210-61AB6E0A370B}"/>
                </a:ext>
              </a:extLst>
            </p:cNvPr>
            <p:cNvSpPr/>
            <p:nvPr/>
          </p:nvSpPr>
          <p:spPr>
            <a:xfrm>
              <a:off x="5758838" y="1781415"/>
              <a:ext cx="473754" cy="473258"/>
            </a:xfrm>
            <a:custGeom>
              <a:avLst/>
              <a:gdLst>
                <a:gd name="connsiteX0" fmla="*/ 0 w 473754"/>
                <a:gd name="connsiteY0" fmla="*/ 473258 h 473258"/>
                <a:gd name="connsiteX1" fmla="*/ 9922 w 473754"/>
                <a:gd name="connsiteY1" fmla="*/ 460360 h 473258"/>
                <a:gd name="connsiteX2" fmla="*/ 22323 w 473754"/>
                <a:gd name="connsiteY2" fmla="*/ 449943 h 473258"/>
                <a:gd name="connsiteX3" fmla="*/ 34725 w 473754"/>
                <a:gd name="connsiteY3" fmla="*/ 439029 h 473258"/>
                <a:gd name="connsiteX4" fmla="*/ 45143 w 473754"/>
                <a:gd name="connsiteY4" fmla="*/ 426131 h 473258"/>
                <a:gd name="connsiteX5" fmla="*/ 57545 w 473754"/>
                <a:gd name="connsiteY5" fmla="*/ 415713 h 473258"/>
                <a:gd name="connsiteX6" fmla="*/ 67963 w 473754"/>
                <a:gd name="connsiteY6" fmla="*/ 403311 h 473258"/>
                <a:gd name="connsiteX7" fmla="*/ 80365 w 473754"/>
                <a:gd name="connsiteY7" fmla="*/ 392398 h 473258"/>
                <a:gd name="connsiteX8" fmla="*/ 91278 w 473754"/>
                <a:gd name="connsiteY8" fmla="*/ 380492 h 473258"/>
                <a:gd name="connsiteX9" fmla="*/ 102688 w 473754"/>
                <a:gd name="connsiteY9" fmla="*/ 369082 h 473258"/>
                <a:gd name="connsiteX10" fmla="*/ 114594 w 473754"/>
                <a:gd name="connsiteY10" fmla="*/ 358168 h 473258"/>
                <a:gd name="connsiteX11" fmla="*/ 126004 w 473754"/>
                <a:gd name="connsiteY11" fmla="*/ 346758 h 473258"/>
                <a:gd name="connsiteX12" fmla="*/ 136421 w 473754"/>
                <a:gd name="connsiteY12" fmla="*/ 334357 h 473258"/>
                <a:gd name="connsiteX13" fmla="*/ 147831 w 473754"/>
                <a:gd name="connsiteY13" fmla="*/ 322947 h 473258"/>
                <a:gd name="connsiteX14" fmla="*/ 159737 w 473754"/>
                <a:gd name="connsiteY14" fmla="*/ 311537 h 473258"/>
                <a:gd name="connsiteX15" fmla="*/ 172139 w 473754"/>
                <a:gd name="connsiteY15" fmla="*/ 300623 h 473258"/>
                <a:gd name="connsiteX16" fmla="*/ 184045 w 473754"/>
                <a:gd name="connsiteY16" fmla="*/ 289213 h 473258"/>
                <a:gd name="connsiteX17" fmla="*/ 194959 w 473754"/>
                <a:gd name="connsiteY17" fmla="*/ 277308 h 473258"/>
                <a:gd name="connsiteX18" fmla="*/ 206369 w 473754"/>
                <a:gd name="connsiteY18" fmla="*/ 265402 h 473258"/>
                <a:gd name="connsiteX19" fmla="*/ 218274 w 473754"/>
                <a:gd name="connsiteY19" fmla="*/ 253992 h 473258"/>
                <a:gd name="connsiteX20" fmla="*/ 230676 w 473754"/>
                <a:gd name="connsiteY20" fmla="*/ 243078 h 473258"/>
                <a:gd name="connsiteX21" fmla="*/ 241094 w 473754"/>
                <a:gd name="connsiteY21" fmla="*/ 230676 h 473258"/>
                <a:gd name="connsiteX22" fmla="*/ 252503 w 473754"/>
                <a:gd name="connsiteY22" fmla="*/ 218770 h 473258"/>
                <a:gd name="connsiteX23" fmla="*/ 265401 w 473754"/>
                <a:gd name="connsiteY23" fmla="*/ 208353 h 473258"/>
                <a:gd name="connsiteX24" fmla="*/ 277307 w 473754"/>
                <a:gd name="connsiteY24" fmla="*/ 196943 h 473258"/>
                <a:gd name="connsiteX25" fmla="*/ 287725 w 473754"/>
                <a:gd name="connsiteY25" fmla="*/ 184541 h 473258"/>
                <a:gd name="connsiteX26" fmla="*/ 298639 w 473754"/>
                <a:gd name="connsiteY26" fmla="*/ 172635 h 473258"/>
                <a:gd name="connsiteX27" fmla="*/ 311041 w 473754"/>
                <a:gd name="connsiteY27" fmla="*/ 161721 h 473258"/>
                <a:gd name="connsiteX28" fmla="*/ 321954 w 473754"/>
                <a:gd name="connsiteY28" fmla="*/ 149319 h 473258"/>
                <a:gd name="connsiteX29" fmla="*/ 333860 w 473754"/>
                <a:gd name="connsiteY29" fmla="*/ 138406 h 473258"/>
                <a:gd name="connsiteX30" fmla="*/ 345270 w 473754"/>
                <a:gd name="connsiteY30" fmla="*/ 126500 h 473258"/>
                <a:gd name="connsiteX31" fmla="*/ 357176 w 473754"/>
                <a:gd name="connsiteY31" fmla="*/ 115586 h 473258"/>
                <a:gd name="connsiteX32" fmla="*/ 369578 w 473754"/>
                <a:gd name="connsiteY32" fmla="*/ 104672 h 473258"/>
                <a:gd name="connsiteX33" fmla="*/ 379996 w 473754"/>
                <a:gd name="connsiteY33" fmla="*/ 91774 h 473258"/>
                <a:gd name="connsiteX34" fmla="*/ 392398 w 473754"/>
                <a:gd name="connsiteY34" fmla="*/ 80861 h 473258"/>
                <a:gd name="connsiteX35" fmla="*/ 404303 w 473754"/>
                <a:gd name="connsiteY35" fmla="*/ 69947 h 473258"/>
                <a:gd name="connsiteX36" fmla="*/ 414721 w 473754"/>
                <a:gd name="connsiteY36" fmla="*/ 57049 h 473258"/>
                <a:gd name="connsiteX37" fmla="*/ 427123 w 473754"/>
                <a:gd name="connsiteY37" fmla="*/ 46135 h 473258"/>
                <a:gd name="connsiteX38" fmla="*/ 438533 w 473754"/>
                <a:gd name="connsiteY38" fmla="*/ 34229 h 473258"/>
                <a:gd name="connsiteX39" fmla="*/ 450439 w 473754"/>
                <a:gd name="connsiteY39" fmla="*/ 23316 h 473258"/>
                <a:gd name="connsiteX40" fmla="*/ 462345 w 473754"/>
                <a:gd name="connsiteY40" fmla="*/ 11906 h 473258"/>
                <a:gd name="connsiteX41" fmla="*/ 473754 w 473754"/>
                <a:gd name="connsiteY41" fmla="*/ 0 h 47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3754" h="473258">
                  <a:moveTo>
                    <a:pt x="0" y="473258"/>
                  </a:moveTo>
                  <a:cubicBezTo>
                    <a:pt x="5953" y="467305"/>
                    <a:pt x="3969" y="465817"/>
                    <a:pt x="9922" y="460360"/>
                  </a:cubicBezTo>
                  <a:cubicBezTo>
                    <a:pt x="15875" y="454407"/>
                    <a:pt x="16866" y="455399"/>
                    <a:pt x="22323" y="449943"/>
                  </a:cubicBezTo>
                  <a:cubicBezTo>
                    <a:pt x="28277" y="443990"/>
                    <a:pt x="28772" y="444982"/>
                    <a:pt x="34725" y="439029"/>
                  </a:cubicBezTo>
                  <a:cubicBezTo>
                    <a:pt x="40678" y="433076"/>
                    <a:pt x="39190" y="432084"/>
                    <a:pt x="45143" y="426131"/>
                  </a:cubicBezTo>
                  <a:cubicBezTo>
                    <a:pt x="51096" y="420178"/>
                    <a:pt x="52088" y="421170"/>
                    <a:pt x="57545" y="415713"/>
                  </a:cubicBezTo>
                  <a:cubicBezTo>
                    <a:pt x="63498" y="409760"/>
                    <a:pt x="62506" y="408768"/>
                    <a:pt x="67963" y="403311"/>
                  </a:cubicBezTo>
                  <a:cubicBezTo>
                    <a:pt x="73915" y="397358"/>
                    <a:pt x="74411" y="398351"/>
                    <a:pt x="80365" y="392398"/>
                  </a:cubicBezTo>
                  <a:cubicBezTo>
                    <a:pt x="86317" y="386445"/>
                    <a:pt x="85821" y="385949"/>
                    <a:pt x="91278" y="380492"/>
                  </a:cubicBezTo>
                  <a:cubicBezTo>
                    <a:pt x="97231" y="374539"/>
                    <a:pt x="97231" y="374539"/>
                    <a:pt x="102688" y="369082"/>
                  </a:cubicBezTo>
                  <a:cubicBezTo>
                    <a:pt x="108641" y="363129"/>
                    <a:pt x="108641" y="363625"/>
                    <a:pt x="114594" y="358168"/>
                  </a:cubicBezTo>
                  <a:cubicBezTo>
                    <a:pt x="120547" y="352215"/>
                    <a:pt x="120547" y="352215"/>
                    <a:pt x="126004" y="346758"/>
                  </a:cubicBezTo>
                  <a:cubicBezTo>
                    <a:pt x="131957" y="340805"/>
                    <a:pt x="130964" y="339813"/>
                    <a:pt x="136421" y="334357"/>
                  </a:cubicBezTo>
                  <a:cubicBezTo>
                    <a:pt x="142374" y="328404"/>
                    <a:pt x="142374" y="328404"/>
                    <a:pt x="147831" y="322947"/>
                  </a:cubicBezTo>
                  <a:cubicBezTo>
                    <a:pt x="153784" y="316994"/>
                    <a:pt x="153784" y="317490"/>
                    <a:pt x="159737" y="311537"/>
                  </a:cubicBezTo>
                  <a:cubicBezTo>
                    <a:pt x="165690" y="305584"/>
                    <a:pt x="166186" y="306576"/>
                    <a:pt x="172139" y="300623"/>
                  </a:cubicBezTo>
                  <a:cubicBezTo>
                    <a:pt x="178092" y="294670"/>
                    <a:pt x="178092" y="295166"/>
                    <a:pt x="184045" y="289213"/>
                  </a:cubicBezTo>
                  <a:cubicBezTo>
                    <a:pt x="189998" y="283261"/>
                    <a:pt x="189006" y="282764"/>
                    <a:pt x="194959" y="277308"/>
                  </a:cubicBezTo>
                  <a:cubicBezTo>
                    <a:pt x="200911" y="271355"/>
                    <a:pt x="200415" y="271355"/>
                    <a:pt x="206369" y="265402"/>
                  </a:cubicBezTo>
                  <a:cubicBezTo>
                    <a:pt x="212321" y="259449"/>
                    <a:pt x="212321" y="259945"/>
                    <a:pt x="218274" y="253992"/>
                  </a:cubicBezTo>
                  <a:cubicBezTo>
                    <a:pt x="224227" y="248039"/>
                    <a:pt x="224723" y="249031"/>
                    <a:pt x="230676" y="243078"/>
                  </a:cubicBezTo>
                  <a:cubicBezTo>
                    <a:pt x="236629" y="237125"/>
                    <a:pt x="235637" y="236133"/>
                    <a:pt x="241094" y="230676"/>
                  </a:cubicBezTo>
                  <a:cubicBezTo>
                    <a:pt x="247047" y="224723"/>
                    <a:pt x="246551" y="224723"/>
                    <a:pt x="252503" y="218770"/>
                  </a:cubicBezTo>
                  <a:cubicBezTo>
                    <a:pt x="258457" y="212817"/>
                    <a:pt x="259449" y="214306"/>
                    <a:pt x="265401" y="208353"/>
                  </a:cubicBezTo>
                  <a:cubicBezTo>
                    <a:pt x="271355" y="202400"/>
                    <a:pt x="271355" y="202896"/>
                    <a:pt x="277307" y="196943"/>
                  </a:cubicBezTo>
                  <a:cubicBezTo>
                    <a:pt x="283261" y="190990"/>
                    <a:pt x="282268" y="190494"/>
                    <a:pt x="287725" y="184541"/>
                  </a:cubicBezTo>
                  <a:cubicBezTo>
                    <a:pt x="293678" y="178588"/>
                    <a:pt x="293182" y="178588"/>
                    <a:pt x="298639" y="172635"/>
                  </a:cubicBezTo>
                  <a:cubicBezTo>
                    <a:pt x="304592" y="166682"/>
                    <a:pt x="305088" y="167674"/>
                    <a:pt x="311041" y="161721"/>
                  </a:cubicBezTo>
                  <a:cubicBezTo>
                    <a:pt x="316994" y="155768"/>
                    <a:pt x="316002" y="155272"/>
                    <a:pt x="321954" y="149319"/>
                  </a:cubicBezTo>
                  <a:cubicBezTo>
                    <a:pt x="327908" y="143366"/>
                    <a:pt x="328404" y="143863"/>
                    <a:pt x="333860" y="138406"/>
                  </a:cubicBezTo>
                  <a:cubicBezTo>
                    <a:pt x="339813" y="132453"/>
                    <a:pt x="339317" y="132453"/>
                    <a:pt x="345270" y="126500"/>
                  </a:cubicBezTo>
                  <a:cubicBezTo>
                    <a:pt x="351223" y="120547"/>
                    <a:pt x="351719" y="121043"/>
                    <a:pt x="357176" y="115586"/>
                  </a:cubicBezTo>
                  <a:cubicBezTo>
                    <a:pt x="363129" y="109633"/>
                    <a:pt x="363625" y="110625"/>
                    <a:pt x="369578" y="104672"/>
                  </a:cubicBezTo>
                  <a:cubicBezTo>
                    <a:pt x="375531" y="98719"/>
                    <a:pt x="374043" y="97727"/>
                    <a:pt x="379996" y="91774"/>
                  </a:cubicBezTo>
                  <a:cubicBezTo>
                    <a:pt x="385949" y="85821"/>
                    <a:pt x="386445" y="86814"/>
                    <a:pt x="392398" y="80861"/>
                  </a:cubicBezTo>
                  <a:cubicBezTo>
                    <a:pt x="398351" y="74908"/>
                    <a:pt x="398846" y="75404"/>
                    <a:pt x="404303" y="69947"/>
                  </a:cubicBezTo>
                  <a:cubicBezTo>
                    <a:pt x="410257" y="63994"/>
                    <a:pt x="408768" y="63002"/>
                    <a:pt x="414721" y="57049"/>
                  </a:cubicBezTo>
                  <a:cubicBezTo>
                    <a:pt x="420674" y="51096"/>
                    <a:pt x="421170" y="52088"/>
                    <a:pt x="427123" y="46135"/>
                  </a:cubicBezTo>
                  <a:cubicBezTo>
                    <a:pt x="433076" y="40182"/>
                    <a:pt x="432580" y="40182"/>
                    <a:pt x="438533" y="34229"/>
                  </a:cubicBezTo>
                  <a:cubicBezTo>
                    <a:pt x="444486" y="28276"/>
                    <a:pt x="444982" y="28772"/>
                    <a:pt x="450439" y="23316"/>
                  </a:cubicBezTo>
                  <a:cubicBezTo>
                    <a:pt x="456391" y="17363"/>
                    <a:pt x="456391" y="17859"/>
                    <a:pt x="462345" y="11906"/>
                  </a:cubicBezTo>
                  <a:cubicBezTo>
                    <a:pt x="468297" y="5953"/>
                    <a:pt x="468297" y="5953"/>
                    <a:pt x="47375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FFDD0913-ADF1-29F7-9634-71CEEAF0ABD7}"/>
                </a:ext>
              </a:extLst>
            </p:cNvPr>
            <p:cNvSpPr/>
            <p:nvPr/>
          </p:nvSpPr>
          <p:spPr>
            <a:xfrm>
              <a:off x="5374378" y="1781415"/>
              <a:ext cx="471770" cy="473258"/>
            </a:xfrm>
            <a:custGeom>
              <a:avLst/>
              <a:gdLst>
                <a:gd name="connsiteX0" fmla="*/ 0 w 471770"/>
                <a:gd name="connsiteY0" fmla="*/ 473258 h 473258"/>
                <a:gd name="connsiteX1" fmla="*/ 10418 w 471770"/>
                <a:gd name="connsiteY1" fmla="*/ 460360 h 473258"/>
                <a:gd name="connsiteX2" fmla="*/ 22819 w 471770"/>
                <a:gd name="connsiteY2" fmla="*/ 449447 h 473258"/>
                <a:gd name="connsiteX3" fmla="*/ 34725 w 471770"/>
                <a:gd name="connsiteY3" fmla="*/ 438533 h 473258"/>
                <a:gd name="connsiteX4" fmla="*/ 45143 w 471770"/>
                <a:gd name="connsiteY4" fmla="*/ 426131 h 473258"/>
                <a:gd name="connsiteX5" fmla="*/ 56057 w 471770"/>
                <a:gd name="connsiteY5" fmla="*/ 414225 h 473258"/>
                <a:gd name="connsiteX6" fmla="*/ 67466 w 471770"/>
                <a:gd name="connsiteY6" fmla="*/ 402815 h 473258"/>
                <a:gd name="connsiteX7" fmla="*/ 80365 w 471770"/>
                <a:gd name="connsiteY7" fmla="*/ 392894 h 473258"/>
                <a:gd name="connsiteX8" fmla="*/ 90782 w 471770"/>
                <a:gd name="connsiteY8" fmla="*/ 380492 h 473258"/>
                <a:gd name="connsiteX9" fmla="*/ 102192 w 471770"/>
                <a:gd name="connsiteY9" fmla="*/ 368586 h 473258"/>
                <a:gd name="connsiteX10" fmla="*/ 114594 w 471770"/>
                <a:gd name="connsiteY10" fmla="*/ 357672 h 473258"/>
                <a:gd name="connsiteX11" fmla="*/ 125012 w 471770"/>
                <a:gd name="connsiteY11" fmla="*/ 345270 h 473258"/>
                <a:gd name="connsiteX12" fmla="*/ 136421 w 471770"/>
                <a:gd name="connsiteY12" fmla="*/ 333364 h 473258"/>
                <a:gd name="connsiteX13" fmla="*/ 148823 w 471770"/>
                <a:gd name="connsiteY13" fmla="*/ 322451 h 473258"/>
                <a:gd name="connsiteX14" fmla="*/ 160233 w 471770"/>
                <a:gd name="connsiteY14" fmla="*/ 310545 h 473258"/>
                <a:gd name="connsiteX15" fmla="*/ 172139 w 471770"/>
                <a:gd name="connsiteY15" fmla="*/ 299135 h 473258"/>
                <a:gd name="connsiteX16" fmla="*/ 183549 w 471770"/>
                <a:gd name="connsiteY16" fmla="*/ 287725 h 473258"/>
                <a:gd name="connsiteX17" fmla="*/ 194959 w 471770"/>
                <a:gd name="connsiteY17" fmla="*/ 275819 h 473258"/>
                <a:gd name="connsiteX18" fmla="*/ 206368 w 471770"/>
                <a:gd name="connsiteY18" fmla="*/ 263913 h 473258"/>
                <a:gd name="connsiteX19" fmla="*/ 218274 w 471770"/>
                <a:gd name="connsiteY19" fmla="*/ 252504 h 473258"/>
                <a:gd name="connsiteX20" fmla="*/ 229188 w 471770"/>
                <a:gd name="connsiteY20" fmla="*/ 240102 h 473258"/>
                <a:gd name="connsiteX21" fmla="*/ 241590 w 471770"/>
                <a:gd name="connsiteY21" fmla="*/ 229684 h 473258"/>
                <a:gd name="connsiteX22" fmla="*/ 253496 w 471770"/>
                <a:gd name="connsiteY22" fmla="*/ 218770 h 473258"/>
                <a:gd name="connsiteX23" fmla="*/ 263914 w 471770"/>
                <a:gd name="connsiteY23" fmla="*/ 206368 h 473258"/>
                <a:gd name="connsiteX24" fmla="*/ 276315 w 471770"/>
                <a:gd name="connsiteY24" fmla="*/ 195951 h 473258"/>
                <a:gd name="connsiteX25" fmla="*/ 286733 w 471770"/>
                <a:gd name="connsiteY25" fmla="*/ 183053 h 473258"/>
                <a:gd name="connsiteX26" fmla="*/ 298143 w 471770"/>
                <a:gd name="connsiteY26" fmla="*/ 171643 h 473258"/>
                <a:gd name="connsiteX27" fmla="*/ 310049 w 471770"/>
                <a:gd name="connsiteY27" fmla="*/ 160729 h 473258"/>
                <a:gd name="connsiteX28" fmla="*/ 321458 w 471770"/>
                <a:gd name="connsiteY28" fmla="*/ 148823 h 473258"/>
                <a:gd name="connsiteX29" fmla="*/ 332868 w 471770"/>
                <a:gd name="connsiteY29" fmla="*/ 137414 h 473258"/>
                <a:gd name="connsiteX30" fmla="*/ 344278 w 471770"/>
                <a:gd name="connsiteY30" fmla="*/ 125508 h 473258"/>
                <a:gd name="connsiteX31" fmla="*/ 357176 w 471770"/>
                <a:gd name="connsiteY31" fmla="*/ 115586 h 473258"/>
                <a:gd name="connsiteX32" fmla="*/ 367594 w 471770"/>
                <a:gd name="connsiteY32" fmla="*/ 103184 h 473258"/>
                <a:gd name="connsiteX33" fmla="*/ 379003 w 471770"/>
                <a:gd name="connsiteY33" fmla="*/ 91774 h 473258"/>
                <a:gd name="connsiteX34" fmla="*/ 390413 w 471770"/>
                <a:gd name="connsiteY34" fmla="*/ 79869 h 473258"/>
                <a:gd name="connsiteX35" fmla="*/ 402815 w 471770"/>
                <a:gd name="connsiteY35" fmla="*/ 69451 h 473258"/>
                <a:gd name="connsiteX36" fmla="*/ 413233 w 471770"/>
                <a:gd name="connsiteY36" fmla="*/ 57049 h 473258"/>
                <a:gd name="connsiteX37" fmla="*/ 424643 w 471770"/>
                <a:gd name="connsiteY37" fmla="*/ 45143 h 473258"/>
                <a:gd name="connsiteX38" fmla="*/ 436052 w 471770"/>
                <a:gd name="connsiteY38" fmla="*/ 33733 h 473258"/>
                <a:gd name="connsiteX39" fmla="*/ 448454 w 471770"/>
                <a:gd name="connsiteY39" fmla="*/ 22820 h 473258"/>
                <a:gd name="connsiteX40" fmla="*/ 460856 w 471770"/>
                <a:gd name="connsiteY40" fmla="*/ 11906 h 473258"/>
                <a:gd name="connsiteX41" fmla="*/ 471770 w 471770"/>
                <a:gd name="connsiteY41" fmla="*/ 0 h 47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1770" h="473258">
                  <a:moveTo>
                    <a:pt x="0" y="473258"/>
                  </a:moveTo>
                  <a:cubicBezTo>
                    <a:pt x="5953" y="467305"/>
                    <a:pt x="4465" y="466313"/>
                    <a:pt x="10418" y="460360"/>
                  </a:cubicBezTo>
                  <a:cubicBezTo>
                    <a:pt x="16371" y="454407"/>
                    <a:pt x="16866" y="455399"/>
                    <a:pt x="22819" y="449447"/>
                  </a:cubicBezTo>
                  <a:cubicBezTo>
                    <a:pt x="28772" y="443494"/>
                    <a:pt x="29268" y="443990"/>
                    <a:pt x="34725" y="438533"/>
                  </a:cubicBezTo>
                  <a:cubicBezTo>
                    <a:pt x="40678" y="432580"/>
                    <a:pt x="39686" y="431588"/>
                    <a:pt x="45143" y="426131"/>
                  </a:cubicBezTo>
                  <a:cubicBezTo>
                    <a:pt x="50600" y="420674"/>
                    <a:pt x="50600" y="419682"/>
                    <a:pt x="56057" y="414225"/>
                  </a:cubicBezTo>
                  <a:cubicBezTo>
                    <a:pt x="62010" y="408272"/>
                    <a:pt x="62010" y="408272"/>
                    <a:pt x="67466" y="402815"/>
                  </a:cubicBezTo>
                  <a:cubicBezTo>
                    <a:pt x="73419" y="396862"/>
                    <a:pt x="74908" y="398351"/>
                    <a:pt x="80365" y="392894"/>
                  </a:cubicBezTo>
                  <a:cubicBezTo>
                    <a:pt x="86317" y="386941"/>
                    <a:pt x="85325" y="385949"/>
                    <a:pt x="90782" y="380492"/>
                  </a:cubicBezTo>
                  <a:cubicBezTo>
                    <a:pt x="96735" y="374539"/>
                    <a:pt x="96239" y="374539"/>
                    <a:pt x="102192" y="368586"/>
                  </a:cubicBezTo>
                  <a:cubicBezTo>
                    <a:pt x="108145" y="362633"/>
                    <a:pt x="108641" y="363625"/>
                    <a:pt x="114594" y="357672"/>
                  </a:cubicBezTo>
                  <a:cubicBezTo>
                    <a:pt x="120547" y="351719"/>
                    <a:pt x="119555" y="350727"/>
                    <a:pt x="125012" y="345270"/>
                  </a:cubicBezTo>
                  <a:cubicBezTo>
                    <a:pt x="130964" y="339317"/>
                    <a:pt x="130468" y="339317"/>
                    <a:pt x="136421" y="333364"/>
                  </a:cubicBezTo>
                  <a:cubicBezTo>
                    <a:pt x="142374" y="327411"/>
                    <a:pt x="142870" y="328404"/>
                    <a:pt x="148823" y="322451"/>
                  </a:cubicBezTo>
                  <a:cubicBezTo>
                    <a:pt x="154776" y="316498"/>
                    <a:pt x="154280" y="316498"/>
                    <a:pt x="160233" y="310545"/>
                  </a:cubicBezTo>
                  <a:cubicBezTo>
                    <a:pt x="166186" y="304592"/>
                    <a:pt x="166186" y="305088"/>
                    <a:pt x="172139" y="299135"/>
                  </a:cubicBezTo>
                  <a:cubicBezTo>
                    <a:pt x="178092" y="293182"/>
                    <a:pt x="178092" y="293182"/>
                    <a:pt x="183549" y="287725"/>
                  </a:cubicBezTo>
                  <a:cubicBezTo>
                    <a:pt x="189502" y="281772"/>
                    <a:pt x="189006" y="281772"/>
                    <a:pt x="194959" y="275819"/>
                  </a:cubicBezTo>
                  <a:cubicBezTo>
                    <a:pt x="200912" y="269866"/>
                    <a:pt x="200415" y="269866"/>
                    <a:pt x="206368" y="263913"/>
                  </a:cubicBezTo>
                  <a:cubicBezTo>
                    <a:pt x="212321" y="257961"/>
                    <a:pt x="212321" y="258457"/>
                    <a:pt x="218274" y="252504"/>
                  </a:cubicBezTo>
                  <a:cubicBezTo>
                    <a:pt x="224227" y="246551"/>
                    <a:pt x="223235" y="246055"/>
                    <a:pt x="229188" y="240102"/>
                  </a:cubicBezTo>
                  <a:cubicBezTo>
                    <a:pt x="235141" y="234149"/>
                    <a:pt x="236133" y="235637"/>
                    <a:pt x="241590" y="229684"/>
                  </a:cubicBezTo>
                  <a:cubicBezTo>
                    <a:pt x="247543" y="223731"/>
                    <a:pt x="248039" y="224227"/>
                    <a:pt x="253496" y="218770"/>
                  </a:cubicBezTo>
                  <a:cubicBezTo>
                    <a:pt x="259449" y="212817"/>
                    <a:pt x="258456" y="211825"/>
                    <a:pt x="263914" y="206368"/>
                  </a:cubicBezTo>
                  <a:cubicBezTo>
                    <a:pt x="269866" y="200415"/>
                    <a:pt x="270858" y="201408"/>
                    <a:pt x="276315" y="195951"/>
                  </a:cubicBezTo>
                  <a:cubicBezTo>
                    <a:pt x="282268" y="189998"/>
                    <a:pt x="280780" y="189006"/>
                    <a:pt x="286733" y="183053"/>
                  </a:cubicBezTo>
                  <a:cubicBezTo>
                    <a:pt x="292686" y="177100"/>
                    <a:pt x="292686" y="177100"/>
                    <a:pt x="298143" y="171643"/>
                  </a:cubicBezTo>
                  <a:cubicBezTo>
                    <a:pt x="304096" y="165690"/>
                    <a:pt x="304592" y="166186"/>
                    <a:pt x="310049" y="160729"/>
                  </a:cubicBezTo>
                  <a:cubicBezTo>
                    <a:pt x="316002" y="154776"/>
                    <a:pt x="315505" y="154776"/>
                    <a:pt x="321458" y="148823"/>
                  </a:cubicBezTo>
                  <a:cubicBezTo>
                    <a:pt x="327411" y="142870"/>
                    <a:pt x="327411" y="142870"/>
                    <a:pt x="332868" y="137414"/>
                  </a:cubicBezTo>
                  <a:cubicBezTo>
                    <a:pt x="338821" y="131461"/>
                    <a:pt x="338325" y="131461"/>
                    <a:pt x="344278" y="125508"/>
                  </a:cubicBezTo>
                  <a:cubicBezTo>
                    <a:pt x="350231" y="119555"/>
                    <a:pt x="351719" y="121043"/>
                    <a:pt x="357176" y="115586"/>
                  </a:cubicBezTo>
                  <a:cubicBezTo>
                    <a:pt x="363129" y="109633"/>
                    <a:pt x="362137" y="108641"/>
                    <a:pt x="367594" y="103184"/>
                  </a:cubicBezTo>
                  <a:cubicBezTo>
                    <a:pt x="373547" y="97231"/>
                    <a:pt x="373547" y="97231"/>
                    <a:pt x="379003" y="91774"/>
                  </a:cubicBezTo>
                  <a:cubicBezTo>
                    <a:pt x="384460" y="86318"/>
                    <a:pt x="384460" y="85821"/>
                    <a:pt x="390413" y="79869"/>
                  </a:cubicBezTo>
                  <a:cubicBezTo>
                    <a:pt x="396366" y="73916"/>
                    <a:pt x="396862" y="74908"/>
                    <a:pt x="402815" y="69451"/>
                  </a:cubicBezTo>
                  <a:cubicBezTo>
                    <a:pt x="408768" y="63498"/>
                    <a:pt x="407776" y="62506"/>
                    <a:pt x="413233" y="57049"/>
                  </a:cubicBezTo>
                  <a:cubicBezTo>
                    <a:pt x="419186" y="51096"/>
                    <a:pt x="418690" y="51096"/>
                    <a:pt x="424643" y="45143"/>
                  </a:cubicBezTo>
                  <a:cubicBezTo>
                    <a:pt x="430596" y="39190"/>
                    <a:pt x="430596" y="39190"/>
                    <a:pt x="436052" y="33733"/>
                  </a:cubicBezTo>
                  <a:cubicBezTo>
                    <a:pt x="442006" y="27780"/>
                    <a:pt x="442502" y="28772"/>
                    <a:pt x="448454" y="22820"/>
                  </a:cubicBezTo>
                  <a:cubicBezTo>
                    <a:pt x="454408" y="16867"/>
                    <a:pt x="454904" y="17859"/>
                    <a:pt x="460856" y="11906"/>
                  </a:cubicBezTo>
                  <a:cubicBezTo>
                    <a:pt x="466810" y="5953"/>
                    <a:pt x="466313" y="5457"/>
                    <a:pt x="47177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35D6272E-C730-F05F-C4AC-ADB64AECE2B9}"/>
                </a:ext>
              </a:extLst>
            </p:cNvPr>
            <p:cNvSpPr/>
            <p:nvPr/>
          </p:nvSpPr>
          <p:spPr>
            <a:xfrm>
              <a:off x="5468633" y="1864756"/>
              <a:ext cx="90286" cy="89790"/>
            </a:xfrm>
            <a:custGeom>
              <a:avLst/>
              <a:gdLst>
                <a:gd name="connsiteX0" fmla="*/ 90286 w 90286"/>
                <a:gd name="connsiteY0" fmla="*/ 0 h 89790"/>
                <a:gd name="connsiteX1" fmla="*/ 79372 w 90286"/>
                <a:gd name="connsiteY1" fmla="*/ 11906 h 89790"/>
                <a:gd name="connsiteX2" fmla="*/ 67963 w 90286"/>
                <a:gd name="connsiteY2" fmla="*/ 23316 h 89790"/>
                <a:gd name="connsiteX3" fmla="*/ 55561 w 90286"/>
                <a:gd name="connsiteY3" fmla="*/ 33237 h 89790"/>
                <a:gd name="connsiteX4" fmla="*/ 45639 w 90286"/>
                <a:gd name="connsiteY4" fmla="*/ 45639 h 89790"/>
                <a:gd name="connsiteX5" fmla="*/ 33733 w 90286"/>
                <a:gd name="connsiteY5" fmla="*/ 56057 h 89790"/>
                <a:gd name="connsiteX6" fmla="*/ 23316 w 90286"/>
                <a:gd name="connsiteY6" fmla="*/ 67963 h 89790"/>
                <a:gd name="connsiteX7" fmla="*/ 11410 w 90286"/>
                <a:gd name="connsiteY7" fmla="*/ 78380 h 89790"/>
                <a:gd name="connsiteX8" fmla="*/ 0 w 90286"/>
                <a:gd name="connsiteY8" fmla="*/ 89790 h 8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286" h="89790">
                  <a:moveTo>
                    <a:pt x="90286" y="0"/>
                  </a:moveTo>
                  <a:cubicBezTo>
                    <a:pt x="84829" y="5457"/>
                    <a:pt x="85325" y="5953"/>
                    <a:pt x="79372" y="11906"/>
                  </a:cubicBezTo>
                  <a:cubicBezTo>
                    <a:pt x="73915" y="17363"/>
                    <a:pt x="73915" y="17363"/>
                    <a:pt x="67963" y="23316"/>
                  </a:cubicBezTo>
                  <a:cubicBezTo>
                    <a:pt x="62506" y="28773"/>
                    <a:pt x="61018" y="27780"/>
                    <a:pt x="55561" y="33237"/>
                  </a:cubicBezTo>
                  <a:cubicBezTo>
                    <a:pt x="50104" y="38694"/>
                    <a:pt x="51096" y="40182"/>
                    <a:pt x="45639" y="45639"/>
                  </a:cubicBezTo>
                  <a:cubicBezTo>
                    <a:pt x="40182" y="51096"/>
                    <a:pt x="39190" y="50600"/>
                    <a:pt x="33733" y="56057"/>
                  </a:cubicBezTo>
                  <a:cubicBezTo>
                    <a:pt x="28277" y="61514"/>
                    <a:pt x="28772" y="62506"/>
                    <a:pt x="23316" y="67963"/>
                  </a:cubicBezTo>
                  <a:cubicBezTo>
                    <a:pt x="17859" y="73420"/>
                    <a:pt x="16866" y="72924"/>
                    <a:pt x="11410" y="78380"/>
                  </a:cubicBezTo>
                  <a:cubicBezTo>
                    <a:pt x="5953" y="83837"/>
                    <a:pt x="5953" y="84333"/>
                    <a:pt x="0" y="897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F1590AD0-6656-BECE-F6E3-1BD7360F80CA}"/>
                </a:ext>
              </a:extLst>
            </p:cNvPr>
            <p:cNvSpPr/>
            <p:nvPr/>
          </p:nvSpPr>
          <p:spPr>
            <a:xfrm>
              <a:off x="4258203" y="1277896"/>
              <a:ext cx="793724" cy="416209"/>
            </a:xfrm>
            <a:custGeom>
              <a:avLst/>
              <a:gdLst>
                <a:gd name="connsiteX0" fmla="*/ 0 w 793724"/>
                <a:gd name="connsiteY0" fmla="*/ 416209 h 416209"/>
                <a:gd name="connsiteX1" fmla="*/ 1488 w 793724"/>
                <a:gd name="connsiteY1" fmla="*/ 399839 h 416209"/>
                <a:gd name="connsiteX2" fmla="*/ 1488 w 793724"/>
                <a:gd name="connsiteY2" fmla="*/ 383468 h 416209"/>
                <a:gd name="connsiteX3" fmla="*/ 4465 w 793724"/>
                <a:gd name="connsiteY3" fmla="*/ 367594 h 416209"/>
                <a:gd name="connsiteX4" fmla="*/ 6449 w 793724"/>
                <a:gd name="connsiteY4" fmla="*/ 351223 h 416209"/>
                <a:gd name="connsiteX5" fmla="*/ 10914 w 793724"/>
                <a:gd name="connsiteY5" fmla="*/ 335349 h 416209"/>
                <a:gd name="connsiteX6" fmla="*/ 14882 w 793724"/>
                <a:gd name="connsiteY6" fmla="*/ 319474 h 416209"/>
                <a:gd name="connsiteX7" fmla="*/ 19843 w 793724"/>
                <a:gd name="connsiteY7" fmla="*/ 304096 h 416209"/>
                <a:gd name="connsiteX8" fmla="*/ 26292 w 793724"/>
                <a:gd name="connsiteY8" fmla="*/ 289213 h 416209"/>
                <a:gd name="connsiteX9" fmla="*/ 30261 w 793724"/>
                <a:gd name="connsiteY9" fmla="*/ 273339 h 416209"/>
                <a:gd name="connsiteX10" fmla="*/ 38198 w 793724"/>
                <a:gd name="connsiteY10" fmla="*/ 258953 h 416209"/>
                <a:gd name="connsiteX11" fmla="*/ 45143 w 793724"/>
                <a:gd name="connsiteY11" fmla="*/ 244070 h 416209"/>
                <a:gd name="connsiteX12" fmla="*/ 52088 w 793724"/>
                <a:gd name="connsiteY12" fmla="*/ 229188 h 416209"/>
                <a:gd name="connsiteX13" fmla="*/ 59529 w 793724"/>
                <a:gd name="connsiteY13" fmla="*/ 214306 h 416209"/>
                <a:gd name="connsiteX14" fmla="*/ 69451 w 793724"/>
                <a:gd name="connsiteY14" fmla="*/ 201408 h 416209"/>
                <a:gd name="connsiteX15" fmla="*/ 78380 w 793724"/>
                <a:gd name="connsiteY15" fmla="*/ 187517 h 416209"/>
                <a:gd name="connsiteX16" fmla="*/ 86814 w 793724"/>
                <a:gd name="connsiteY16" fmla="*/ 173627 h 416209"/>
                <a:gd name="connsiteX17" fmla="*/ 97231 w 793724"/>
                <a:gd name="connsiteY17" fmla="*/ 160729 h 416209"/>
                <a:gd name="connsiteX18" fmla="*/ 108145 w 793724"/>
                <a:gd name="connsiteY18" fmla="*/ 148327 h 416209"/>
                <a:gd name="connsiteX19" fmla="*/ 118562 w 793724"/>
                <a:gd name="connsiteY19" fmla="*/ 135429 h 416209"/>
                <a:gd name="connsiteX20" fmla="*/ 129972 w 793724"/>
                <a:gd name="connsiteY20" fmla="*/ 124019 h 416209"/>
                <a:gd name="connsiteX21" fmla="*/ 141878 w 793724"/>
                <a:gd name="connsiteY21" fmla="*/ 112610 h 416209"/>
                <a:gd name="connsiteX22" fmla="*/ 154280 w 793724"/>
                <a:gd name="connsiteY22" fmla="*/ 101696 h 416209"/>
                <a:gd name="connsiteX23" fmla="*/ 167178 w 793724"/>
                <a:gd name="connsiteY23" fmla="*/ 91278 h 416209"/>
                <a:gd name="connsiteX24" fmla="*/ 180076 w 793724"/>
                <a:gd name="connsiteY24" fmla="*/ 81357 h 416209"/>
                <a:gd name="connsiteX25" fmla="*/ 192974 w 793724"/>
                <a:gd name="connsiteY25" fmla="*/ 71435 h 416209"/>
                <a:gd name="connsiteX26" fmla="*/ 206368 w 793724"/>
                <a:gd name="connsiteY26" fmla="*/ 62506 h 416209"/>
                <a:gd name="connsiteX27" fmla="*/ 221251 w 793724"/>
                <a:gd name="connsiteY27" fmla="*/ 55065 h 416209"/>
                <a:gd name="connsiteX28" fmla="*/ 235637 w 793724"/>
                <a:gd name="connsiteY28" fmla="*/ 47127 h 416209"/>
                <a:gd name="connsiteX29" fmla="*/ 250519 w 793724"/>
                <a:gd name="connsiteY29" fmla="*/ 40182 h 416209"/>
                <a:gd name="connsiteX30" fmla="*/ 265402 w 793724"/>
                <a:gd name="connsiteY30" fmla="*/ 33237 h 416209"/>
                <a:gd name="connsiteX31" fmla="*/ 280780 w 793724"/>
                <a:gd name="connsiteY31" fmla="*/ 27780 h 416209"/>
                <a:gd name="connsiteX32" fmla="*/ 296655 w 793724"/>
                <a:gd name="connsiteY32" fmla="*/ 23316 h 416209"/>
                <a:gd name="connsiteX33" fmla="*/ 312033 w 793724"/>
                <a:gd name="connsiteY33" fmla="*/ 18355 h 416209"/>
                <a:gd name="connsiteX34" fmla="*/ 327907 w 793724"/>
                <a:gd name="connsiteY34" fmla="*/ 13890 h 416209"/>
                <a:gd name="connsiteX35" fmla="*/ 343782 w 793724"/>
                <a:gd name="connsiteY35" fmla="*/ 10418 h 416209"/>
                <a:gd name="connsiteX36" fmla="*/ 359657 w 793724"/>
                <a:gd name="connsiteY36" fmla="*/ 5953 h 416209"/>
                <a:gd name="connsiteX37" fmla="*/ 376027 w 793724"/>
                <a:gd name="connsiteY37" fmla="*/ 5457 h 416209"/>
                <a:gd name="connsiteX38" fmla="*/ 392398 w 793724"/>
                <a:gd name="connsiteY38" fmla="*/ 2976 h 416209"/>
                <a:gd name="connsiteX39" fmla="*/ 408768 w 793724"/>
                <a:gd name="connsiteY39" fmla="*/ 992 h 416209"/>
                <a:gd name="connsiteX40" fmla="*/ 425139 w 793724"/>
                <a:gd name="connsiteY40" fmla="*/ 0 h 416209"/>
                <a:gd name="connsiteX41" fmla="*/ 441509 w 793724"/>
                <a:gd name="connsiteY41" fmla="*/ 496 h 416209"/>
                <a:gd name="connsiteX42" fmla="*/ 457880 w 793724"/>
                <a:gd name="connsiteY42" fmla="*/ 992 h 416209"/>
                <a:gd name="connsiteX43" fmla="*/ 474250 w 793724"/>
                <a:gd name="connsiteY43" fmla="*/ 0 h 416209"/>
                <a:gd name="connsiteX44" fmla="*/ 490125 w 793724"/>
                <a:gd name="connsiteY44" fmla="*/ 1984 h 416209"/>
                <a:gd name="connsiteX45" fmla="*/ 506000 w 793724"/>
                <a:gd name="connsiteY45" fmla="*/ 2976 h 416209"/>
                <a:gd name="connsiteX46" fmla="*/ 521874 w 793724"/>
                <a:gd name="connsiteY46" fmla="*/ 5457 h 416209"/>
                <a:gd name="connsiteX47" fmla="*/ 537748 w 793724"/>
                <a:gd name="connsiteY47" fmla="*/ 7937 h 416209"/>
                <a:gd name="connsiteX48" fmla="*/ 554119 w 793724"/>
                <a:gd name="connsiteY48" fmla="*/ 8929 h 416209"/>
                <a:gd name="connsiteX49" fmla="*/ 569497 w 793724"/>
                <a:gd name="connsiteY49" fmla="*/ 13394 h 416209"/>
                <a:gd name="connsiteX50" fmla="*/ 585372 w 793724"/>
                <a:gd name="connsiteY50" fmla="*/ 16867 h 416209"/>
                <a:gd name="connsiteX51" fmla="*/ 600254 w 793724"/>
                <a:gd name="connsiteY51" fmla="*/ 22820 h 416209"/>
                <a:gd name="connsiteX52" fmla="*/ 615633 w 793724"/>
                <a:gd name="connsiteY52" fmla="*/ 27284 h 416209"/>
                <a:gd name="connsiteX53" fmla="*/ 630019 w 793724"/>
                <a:gd name="connsiteY53" fmla="*/ 33733 h 416209"/>
                <a:gd name="connsiteX54" fmla="*/ 644901 w 793724"/>
                <a:gd name="connsiteY54" fmla="*/ 40182 h 416209"/>
                <a:gd name="connsiteX55" fmla="*/ 658791 w 793724"/>
                <a:gd name="connsiteY55" fmla="*/ 48119 h 416209"/>
                <a:gd name="connsiteX56" fmla="*/ 672186 w 793724"/>
                <a:gd name="connsiteY56" fmla="*/ 56553 h 416209"/>
                <a:gd name="connsiteX57" fmla="*/ 686076 w 793724"/>
                <a:gd name="connsiteY57" fmla="*/ 64986 h 416209"/>
                <a:gd name="connsiteX58" fmla="*/ 698974 w 793724"/>
                <a:gd name="connsiteY58" fmla="*/ 74412 h 416209"/>
                <a:gd name="connsiteX59" fmla="*/ 709887 w 793724"/>
                <a:gd name="connsiteY59" fmla="*/ 86318 h 416209"/>
                <a:gd name="connsiteX60" fmla="*/ 721793 w 793724"/>
                <a:gd name="connsiteY60" fmla="*/ 97231 h 416209"/>
                <a:gd name="connsiteX61" fmla="*/ 732707 w 793724"/>
                <a:gd name="connsiteY61" fmla="*/ 109137 h 416209"/>
                <a:gd name="connsiteX62" fmla="*/ 743621 w 793724"/>
                <a:gd name="connsiteY62" fmla="*/ 121043 h 416209"/>
                <a:gd name="connsiteX63" fmla="*/ 752550 w 793724"/>
                <a:gd name="connsiteY63" fmla="*/ 134437 h 416209"/>
                <a:gd name="connsiteX64" fmla="*/ 759991 w 793724"/>
                <a:gd name="connsiteY64" fmla="*/ 148823 h 416209"/>
                <a:gd name="connsiteX65" fmla="*/ 766936 w 793724"/>
                <a:gd name="connsiteY65" fmla="*/ 163210 h 416209"/>
                <a:gd name="connsiteX66" fmla="*/ 774874 w 793724"/>
                <a:gd name="connsiteY66" fmla="*/ 177100 h 416209"/>
                <a:gd name="connsiteX67" fmla="*/ 779835 w 793724"/>
                <a:gd name="connsiteY67" fmla="*/ 192478 h 416209"/>
                <a:gd name="connsiteX68" fmla="*/ 785787 w 793724"/>
                <a:gd name="connsiteY68" fmla="*/ 207361 h 416209"/>
                <a:gd name="connsiteX69" fmla="*/ 790748 w 793724"/>
                <a:gd name="connsiteY69" fmla="*/ 222739 h 416209"/>
                <a:gd name="connsiteX70" fmla="*/ 793725 w 793724"/>
                <a:gd name="connsiteY70" fmla="*/ 238614 h 41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793724" h="416209">
                  <a:moveTo>
                    <a:pt x="0" y="416209"/>
                  </a:moveTo>
                  <a:cubicBezTo>
                    <a:pt x="0" y="410752"/>
                    <a:pt x="992" y="405296"/>
                    <a:pt x="1488" y="399839"/>
                  </a:cubicBezTo>
                  <a:cubicBezTo>
                    <a:pt x="1984" y="394382"/>
                    <a:pt x="992" y="388925"/>
                    <a:pt x="1488" y="383468"/>
                  </a:cubicBezTo>
                  <a:cubicBezTo>
                    <a:pt x="1984" y="378011"/>
                    <a:pt x="3969" y="373051"/>
                    <a:pt x="4465" y="367594"/>
                  </a:cubicBezTo>
                  <a:cubicBezTo>
                    <a:pt x="5457" y="362137"/>
                    <a:pt x="5457" y="356680"/>
                    <a:pt x="6449" y="351223"/>
                  </a:cubicBezTo>
                  <a:cubicBezTo>
                    <a:pt x="7441" y="345766"/>
                    <a:pt x="9922" y="340805"/>
                    <a:pt x="10914" y="335349"/>
                  </a:cubicBezTo>
                  <a:cubicBezTo>
                    <a:pt x="12402" y="329892"/>
                    <a:pt x="12898" y="324931"/>
                    <a:pt x="14882" y="319474"/>
                  </a:cubicBezTo>
                  <a:cubicBezTo>
                    <a:pt x="16371" y="314513"/>
                    <a:pt x="18355" y="309056"/>
                    <a:pt x="19843" y="304096"/>
                  </a:cubicBezTo>
                  <a:cubicBezTo>
                    <a:pt x="21331" y="299135"/>
                    <a:pt x="24308" y="294174"/>
                    <a:pt x="26292" y="289213"/>
                  </a:cubicBezTo>
                  <a:cubicBezTo>
                    <a:pt x="28277" y="284253"/>
                    <a:pt x="28277" y="278300"/>
                    <a:pt x="30261" y="273339"/>
                  </a:cubicBezTo>
                  <a:cubicBezTo>
                    <a:pt x="32245" y="268378"/>
                    <a:pt x="35718" y="263913"/>
                    <a:pt x="38198" y="258953"/>
                  </a:cubicBezTo>
                  <a:cubicBezTo>
                    <a:pt x="40182" y="253992"/>
                    <a:pt x="42663" y="249031"/>
                    <a:pt x="45143" y="244070"/>
                  </a:cubicBezTo>
                  <a:cubicBezTo>
                    <a:pt x="47623" y="239109"/>
                    <a:pt x="49112" y="234149"/>
                    <a:pt x="52088" y="229188"/>
                  </a:cubicBezTo>
                  <a:cubicBezTo>
                    <a:pt x="54569" y="224227"/>
                    <a:pt x="56553" y="219266"/>
                    <a:pt x="59529" y="214306"/>
                  </a:cubicBezTo>
                  <a:cubicBezTo>
                    <a:pt x="62010" y="209841"/>
                    <a:pt x="66474" y="205872"/>
                    <a:pt x="69451" y="201408"/>
                  </a:cubicBezTo>
                  <a:cubicBezTo>
                    <a:pt x="72427" y="196943"/>
                    <a:pt x="74908" y="191982"/>
                    <a:pt x="78380" y="187517"/>
                  </a:cubicBezTo>
                  <a:cubicBezTo>
                    <a:pt x="81357" y="183053"/>
                    <a:pt x="83837" y="178092"/>
                    <a:pt x="86814" y="173627"/>
                  </a:cubicBezTo>
                  <a:cubicBezTo>
                    <a:pt x="89790" y="169163"/>
                    <a:pt x="93759" y="165194"/>
                    <a:pt x="97231" y="160729"/>
                  </a:cubicBezTo>
                  <a:cubicBezTo>
                    <a:pt x="100704" y="156265"/>
                    <a:pt x="104672" y="152792"/>
                    <a:pt x="108145" y="148327"/>
                  </a:cubicBezTo>
                  <a:cubicBezTo>
                    <a:pt x="111618" y="144359"/>
                    <a:pt x="114594" y="139398"/>
                    <a:pt x="118562" y="135429"/>
                  </a:cubicBezTo>
                  <a:cubicBezTo>
                    <a:pt x="122035" y="131461"/>
                    <a:pt x="126500" y="127988"/>
                    <a:pt x="129972" y="124019"/>
                  </a:cubicBezTo>
                  <a:cubicBezTo>
                    <a:pt x="133941" y="120051"/>
                    <a:pt x="137910" y="116578"/>
                    <a:pt x="141878" y="112610"/>
                  </a:cubicBezTo>
                  <a:cubicBezTo>
                    <a:pt x="145847" y="109137"/>
                    <a:pt x="149816" y="105168"/>
                    <a:pt x="154280" y="101696"/>
                  </a:cubicBezTo>
                  <a:cubicBezTo>
                    <a:pt x="158249" y="98223"/>
                    <a:pt x="162714" y="94751"/>
                    <a:pt x="167178" y="91278"/>
                  </a:cubicBezTo>
                  <a:cubicBezTo>
                    <a:pt x="171643" y="87806"/>
                    <a:pt x="175611" y="84829"/>
                    <a:pt x="180076" y="81357"/>
                  </a:cubicBezTo>
                  <a:cubicBezTo>
                    <a:pt x="184541" y="78380"/>
                    <a:pt x="188510" y="74412"/>
                    <a:pt x="192974" y="71435"/>
                  </a:cubicBezTo>
                  <a:cubicBezTo>
                    <a:pt x="197439" y="68459"/>
                    <a:pt x="201904" y="64986"/>
                    <a:pt x="206368" y="62506"/>
                  </a:cubicBezTo>
                  <a:cubicBezTo>
                    <a:pt x="210833" y="59529"/>
                    <a:pt x="216290" y="57545"/>
                    <a:pt x="221251" y="55065"/>
                  </a:cubicBezTo>
                  <a:cubicBezTo>
                    <a:pt x="226211" y="52584"/>
                    <a:pt x="230676" y="49608"/>
                    <a:pt x="235637" y="47127"/>
                  </a:cubicBezTo>
                  <a:cubicBezTo>
                    <a:pt x="240598" y="44647"/>
                    <a:pt x="245559" y="42167"/>
                    <a:pt x="250519" y="40182"/>
                  </a:cubicBezTo>
                  <a:cubicBezTo>
                    <a:pt x="255480" y="37702"/>
                    <a:pt x="260441" y="35222"/>
                    <a:pt x="265402" y="33237"/>
                  </a:cubicBezTo>
                  <a:cubicBezTo>
                    <a:pt x="270362" y="31253"/>
                    <a:pt x="275819" y="29765"/>
                    <a:pt x="280780" y="27780"/>
                  </a:cubicBezTo>
                  <a:cubicBezTo>
                    <a:pt x="285741" y="25796"/>
                    <a:pt x="291198" y="24804"/>
                    <a:pt x="296655" y="23316"/>
                  </a:cubicBezTo>
                  <a:cubicBezTo>
                    <a:pt x="301615" y="21827"/>
                    <a:pt x="307072" y="19843"/>
                    <a:pt x="312033" y="18355"/>
                  </a:cubicBezTo>
                  <a:cubicBezTo>
                    <a:pt x="316994" y="16867"/>
                    <a:pt x="322451" y="15378"/>
                    <a:pt x="327907" y="13890"/>
                  </a:cubicBezTo>
                  <a:cubicBezTo>
                    <a:pt x="333364" y="12402"/>
                    <a:pt x="338325" y="11906"/>
                    <a:pt x="343782" y="10418"/>
                  </a:cubicBezTo>
                  <a:cubicBezTo>
                    <a:pt x="349239" y="9425"/>
                    <a:pt x="354199" y="6945"/>
                    <a:pt x="359657" y="5953"/>
                  </a:cubicBezTo>
                  <a:cubicBezTo>
                    <a:pt x="365113" y="4961"/>
                    <a:pt x="370570" y="5953"/>
                    <a:pt x="376027" y="5457"/>
                  </a:cubicBezTo>
                  <a:cubicBezTo>
                    <a:pt x="381484" y="4961"/>
                    <a:pt x="386445" y="3472"/>
                    <a:pt x="392398" y="2976"/>
                  </a:cubicBezTo>
                  <a:cubicBezTo>
                    <a:pt x="397855" y="2480"/>
                    <a:pt x="403311" y="1488"/>
                    <a:pt x="408768" y="992"/>
                  </a:cubicBezTo>
                  <a:cubicBezTo>
                    <a:pt x="414225" y="496"/>
                    <a:pt x="419682" y="496"/>
                    <a:pt x="425139" y="0"/>
                  </a:cubicBezTo>
                  <a:cubicBezTo>
                    <a:pt x="430596" y="0"/>
                    <a:pt x="436052" y="496"/>
                    <a:pt x="441509" y="496"/>
                  </a:cubicBezTo>
                  <a:cubicBezTo>
                    <a:pt x="446966" y="496"/>
                    <a:pt x="452423" y="992"/>
                    <a:pt x="457880" y="992"/>
                  </a:cubicBezTo>
                  <a:cubicBezTo>
                    <a:pt x="463337" y="992"/>
                    <a:pt x="468794" y="0"/>
                    <a:pt x="474250" y="0"/>
                  </a:cubicBezTo>
                  <a:cubicBezTo>
                    <a:pt x="479707" y="0"/>
                    <a:pt x="485164" y="1488"/>
                    <a:pt x="490125" y="1984"/>
                  </a:cubicBezTo>
                  <a:cubicBezTo>
                    <a:pt x="495582" y="2480"/>
                    <a:pt x="501039" y="2480"/>
                    <a:pt x="506000" y="2976"/>
                  </a:cubicBezTo>
                  <a:cubicBezTo>
                    <a:pt x="511456" y="3472"/>
                    <a:pt x="516417" y="4465"/>
                    <a:pt x="521874" y="5457"/>
                  </a:cubicBezTo>
                  <a:cubicBezTo>
                    <a:pt x="527331" y="5953"/>
                    <a:pt x="532292" y="7441"/>
                    <a:pt x="537748" y="7937"/>
                  </a:cubicBezTo>
                  <a:cubicBezTo>
                    <a:pt x="543205" y="8929"/>
                    <a:pt x="548662" y="7937"/>
                    <a:pt x="554119" y="8929"/>
                  </a:cubicBezTo>
                  <a:cubicBezTo>
                    <a:pt x="559576" y="9922"/>
                    <a:pt x="564537" y="12402"/>
                    <a:pt x="569497" y="13394"/>
                  </a:cubicBezTo>
                  <a:cubicBezTo>
                    <a:pt x="574954" y="14882"/>
                    <a:pt x="579915" y="15378"/>
                    <a:pt x="585372" y="16867"/>
                  </a:cubicBezTo>
                  <a:cubicBezTo>
                    <a:pt x="590829" y="18355"/>
                    <a:pt x="595294" y="20835"/>
                    <a:pt x="600254" y="22820"/>
                  </a:cubicBezTo>
                  <a:cubicBezTo>
                    <a:pt x="605215" y="24308"/>
                    <a:pt x="610672" y="25300"/>
                    <a:pt x="615633" y="27284"/>
                  </a:cubicBezTo>
                  <a:cubicBezTo>
                    <a:pt x="620593" y="29269"/>
                    <a:pt x="625554" y="31749"/>
                    <a:pt x="630019" y="33733"/>
                  </a:cubicBezTo>
                  <a:cubicBezTo>
                    <a:pt x="634980" y="35718"/>
                    <a:pt x="639941" y="37702"/>
                    <a:pt x="644901" y="40182"/>
                  </a:cubicBezTo>
                  <a:cubicBezTo>
                    <a:pt x="649862" y="42663"/>
                    <a:pt x="654327" y="45639"/>
                    <a:pt x="658791" y="48119"/>
                  </a:cubicBezTo>
                  <a:cubicBezTo>
                    <a:pt x="663752" y="50600"/>
                    <a:pt x="667721" y="53576"/>
                    <a:pt x="672186" y="56553"/>
                  </a:cubicBezTo>
                  <a:cubicBezTo>
                    <a:pt x="676650" y="59529"/>
                    <a:pt x="681611" y="61514"/>
                    <a:pt x="686076" y="64986"/>
                  </a:cubicBezTo>
                  <a:cubicBezTo>
                    <a:pt x="690541" y="67963"/>
                    <a:pt x="695005" y="71435"/>
                    <a:pt x="698974" y="74412"/>
                  </a:cubicBezTo>
                  <a:cubicBezTo>
                    <a:pt x="702943" y="77884"/>
                    <a:pt x="705919" y="82845"/>
                    <a:pt x="709887" y="86318"/>
                  </a:cubicBezTo>
                  <a:cubicBezTo>
                    <a:pt x="713856" y="89790"/>
                    <a:pt x="718321" y="93263"/>
                    <a:pt x="721793" y="97231"/>
                  </a:cubicBezTo>
                  <a:cubicBezTo>
                    <a:pt x="725762" y="101200"/>
                    <a:pt x="729235" y="105168"/>
                    <a:pt x="732707" y="109137"/>
                  </a:cubicBezTo>
                  <a:cubicBezTo>
                    <a:pt x="736179" y="113106"/>
                    <a:pt x="740644" y="116578"/>
                    <a:pt x="743621" y="121043"/>
                  </a:cubicBezTo>
                  <a:cubicBezTo>
                    <a:pt x="747093" y="125508"/>
                    <a:pt x="749574" y="129972"/>
                    <a:pt x="752550" y="134437"/>
                  </a:cubicBezTo>
                  <a:cubicBezTo>
                    <a:pt x="755527" y="138902"/>
                    <a:pt x="757511" y="144359"/>
                    <a:pt x="759991" y="148823"/>
                  </a:cubicBezTo>
                  <a:cubicBezTo>
                    <a:pt x="762968" y="153784"/>
                    <a:pt x="764456" y="158745"/>
                    <a:pt x="766936" y="163210"/>
                  </a:cubicBezTo>
                  <a:cubicBezTo>
                    <a:pt x="769417" y="168170"/>
                    <a:pt x="772889" y="172139"/>
                    <a:pt x="774874" y="177100"/>
                  </a:cubicBezTo>
                  <a:cubicBezTo>
                    <a:pt x="777354" y="182061"/>
                    <a:pt x="777850" y="187517"/>
                    <a:pt x="779835" y="192478"/>
                  </a:cubicBezTo>
                  <a:cubicBezTo>
                    <a:pt x="781819" y="197935"/>
                    <a:pt x="784299" y="202896"/>
                    <a:pt x="785787" y="207361"/>
                  </a:cubicBezTo>
                  <a:cubicBezTo>
                    <a:pt x="787276" y="213314"/>
                    <a:pt x="789260" y="218274"/>
                    <a:pt x="790748" y="222739"/>
                  </a:cubicBezTo>
                  <a:cubicBezTo>
                    <a:pt x="792237" y="229684"/>
                    <a:pt x="793228" y="235141"/>
                    <a:pt x="793725" y="23861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579C1736-1E8F-B250-25D9-46AF2DB76F78}"/>
                </a:ext>
              </a:extLst>
            </p:cNvPr>
            <p:cNvSpPr/>
            <p:nvPr/>
          </p:nvSpPr>
          <p:spPr>
            <a:xfrm>
              <a:off x="4949735" y="1338418"/>
              <a:ext cx="688161" cy="274827"/>
            </a:xfrm>
            <a:custGeom>
              <a:avLst/>
              <a:gdLst>
                <a:gd name="connsiteX0" fmla="*/ 669705 w 688161"/>
                <a:gd name="connsiteY0" fmla="*/ 253992 h 274827"/>
                <a:gd name="connsiteX1" fmla="*/ 675162 w 688161"/>
                <a:gd name="connsiteY1" fmla="*/ 238614 h 274827"/>
                <a:gd name="connsiteX2" fmla="*/ 678635 w 688161"/>
                <a:gd name="connsiteY2" fmla="*/ 222739 h 274827"/>
                <a:gd name="connsiteX3" fmla="*/ 682603 w 688161"/>
                <a:gd name="connsiteY3" fmla="*/ 206865 h 274827"/>
                <a:gd name="connsiteX4" fmla="*/ 685580 w 688161"/>
                <a:gd name="connsiteY4" fmla="*/ 190494 h 274827"/>
                <a:gd name="connsiteX5" fmla="*/ 688060 w 688161"/>
                <a:gd name="connsiteY5" fmla="*/ 174123 h 274827"/>
                <a:gd name="connsiteX6" fmla="*/ 687068 w 688161"/>
                <a:gd name="connsiteY6" fmla="*/ 157753 h 274827"/>
                <a:gd name="connsiteX7" fmla="*/ 687564 w 688161"/>
                <a:gd name="connsiteY7" fmla="*/ 141382 h 274827"/>
                <a:gd name="connsiteX8" fmla="*/ 685084 w 688161"/>
                <a:gd name="connsiteY8" fmla="*/ 125012 h 274827"/>
                <a:gd name="connsiteX9" fmla="*/ 681611 w 688161"/>
                <a:gd name="connsiteY9" fmla="*/ 109137 h 274827"/>
                <a:gd name="connsiteX10" fmla="*/ 676154 w 688161"/>
                <a:gd name="connsiteY10" fmla="*/ 93759 h 274827"/>
                <a:gd name="connsiteX11" fmla="*/ 670697 w 688161"/>
                <a:gd name="connsiteY11" fmla="*/ 77884 h 274827"/>
                <a:gd name="connsiteX12" fmla="*/ 661272 w 688161"/>
                <a:gd name="connsiteY12" fmla="*/ 63994 h 274827"/>
                <a:gd name="connsiteX13" fmla="*/ 650358 w 688161"/>
                <a:gd name="connsiteY13" fmla="*/ 51592 h 274827"/>
                <a:gd name="connsiteX14" fmla="*/ 637956 w 688161"/>
                <a:gd name="connsiteY14" fmla="*/ 41175 h 274827"/>
                <a:gd name="connsiteX15" fmla="*/ 624562 w 688161"/>
                <a:gd name="connsiteY15" fmla="*/ 31749 h 274827"/>
                <a:gd name="connsiteX16" fmla="*/ 610176 w 688161"/>
                <a:gd name="connsiteY16" fmla="*/ 24308 h 274827"/>
                <a:gd name="connsiteX17" fmla="*/ 596286 w 688161"/>
                <a:gd name="connsiteY17" fmla="*/ 15875 h 274827"/>
                <a:gd name="connsiteX18" fmla="*/ 580907 w 688161"/>
                <a:gd name="connsiteY18" fmla="*/ 10914 h 274827"/>
                <a:gd name="connsiteX19" fmla="*/ 564537 w 688161"/>
                <a:gd name="connsiteY19" fmla="*/ 8433 h 274827"/>
                <a:gd name="connsiteX20" fmla="*/ 549158 w 688161"/>
                <a:gd name="connsiteY20" fmla="*/ 2976 h 274827"/>
                <a:gd name="connsiteX21" fmla="*/ 532788 w 688161"/>
                <a:gd name="connsiteY21" fmla="*/ 1488 h 274827"/>
                <a:gd name="connsiteX22" fmla="*/ 516417 w 688161"/>
                <a:gd name="connsiteY22" fmla="*/ 992 h 274827"/>
                <a:gd name="connsiteX23" fmla="*/ 500047 w 688161"/>
                <a:gd name="connsiteY23" fmla="*/ 0 h 274827"/>
                <a:gd name="connsiteX24" fmla="*/ 483676 w 688161"/>
                <a:gd name="connsiteY24" fmla="*/ 992 h 274827"/>
                <a:gd name="connsiteX25" fmla="*/ 467802 w 688161"/>
                <a:gd name="connsiteY25" fmla="*/ 3473 h 274827"/>
                <a:gd name="connsiteX26" fmla="*/ 451927 w 688161"/>
                <a:gd name="connsiteY26" fmla="*/ 4961 h 274827"/>
                <a:gd name="connsiteX27" fmla="*/ 435557 w 688161"/>
                <a:gd name="connsiteY27" fmla="*/ 6945 h 274827"/>
                <a:gd name="connsiteX28" fmla="*/ 419682 w 688161"/>
                <a:gd name="connsiteY28" fmla="*/ 9922 h 274827"/>
                <a:gd name="connsiteX29" fmla="*/ 403808 w 688161"/>
                <a:gd name="connsiteY29" fmla="*/ 14386 h 274827"/>
                <a:gd name="connsiteX30" fmla="*/ 388429 w 688161"/>
                <a:gd name="connsiteY30" fmla="*/ 18851 h 274827"/>
                <a:gd name="connsiteX31" fmla="*/ 373051 w 688161"/>
                <a:gd name="connsiteY31" fmla="*/ 24308 h 274827"/>
                <a:gd name="connsiteX32" fmla="*/ 357672 w 688161"/>
                <a:gd name="connsiteY32" fmla="*/ 30261 h 274827"/>
                <a:gd name="connsiteX33" fmla="*/ 342294 w 688161"/>
                <a:gd name="connsiteY33" fmla="*/ 35222 h 274827"/>
                <a:gd name="connsiteX34" fmla="*/ 326915 w 688161"/>
                <a:gd name="connsiteY34" fmla="*/ 40182 h 274827"/>
                <a:gd name="connsiteX35" fmla="*/ 312033 w 688161"/>
                <a:gd name="connsiteY35" fmla="*/ 47127 h 274827"/>
                <a:gd name="connsiteX36" fmla="*/ 297647 w 688161"/>
                <a:gd name="connsiteY36" fmla="*/ 54569 h 274827"/>
                <a:gd name="connsiteX37" fmla="*/ 283261 w 688161"/>
                <a:gd name="connsiteY37" fmla="*/ 62010 h 274827"/>
                <a:gd name="connsiteX38" fmla="*/ 268874 w 688161"/>
                <a:gd name="connsiteY38" fmla="*/ 69451 h 274827"/>
                <a:gd name="connsiteX39" fmla="*/ 253496 w 688161"/>
                <a:gd name="connsiteY39" fmla="*/ 75404 h 274827"/>
                <a:gd name="connsiteX40" fmla="*/ 239110 w 688161"/>
                <a:gd name="connsiteY40" fmla="*/ 82845 h 274827"/>
                <a:gd name="connsiteX41" fmla="*/ 225715 w 688161"/>
                <a:gd name="connsiteY41" fmla="*/ 92271 h 274827"/>
                <a:gd name="connsiteX42" fmla="*/ 211329 w 688161"/>
                <a:gd name="connsiteY42" fmla="*/ 99712 h 274827"/>
                <a:gd name="connsiteX43" fmla="*/ 197439 w 688161"/>
                <a:gd name="connsiteY43" fmla="*/ 108641 h 274827"/>
                <a:gd name="connsiteX44" fmla="*/ 184045 w 688161"/>
                <a:gd name="connsiteY44" fmla="*/ 118067 h 274827"/>
                <a:gd name="connsiteX45" fmla="*/ 169659 w 688161"/>
                <a:gd name="connsiteY45" fmla="*/ 126004 h 274827"/>
                <a:gd name="connsiteX46" fmla="*/ 156761 w 688161"/>
                <a:gd name="connsiteY46" fmla="*/ 135925 h 274827"/>
                <a:gd name="connsiteX47" fmla="*/ 143863 w 688161"/>
                <a:gd name="connsiteY47" fmla="*/ 145351 h 274827"/>
                <a:gd name="connsiteX48" fmla="*/ 130469 w 688161"/>
                <a:gd name="connsiteY48" fmla="*/ 154280 h 274827"/>
                <a:gd name="connsiteX49" fmla="*/ 118067 w 688161"/>
                <a:gd name="connsiteY49" fmla="*/ 164698 h 274827"/>
                <a:gd name="connsiteX50" fmla="*/ 105169 w 688161"/>
                <a:gd name="connsiteY50" fmla="*/ 174619 h 274827"/>
                <a:gd name="connsiteX51" fmla="*/ 91774 w 688161"/>
                <a:gd name="connsiteY51" fmla="*/ 184045 h 274827"/>
                <a:gd name="connsiteX52" fmla="*/ 79869 w 688161"/>
                <a:gd name="connsiteY52" fmla="*/ 194959 h 274827"/>
                <a:gd name="connsiteX53" fmla="*/ 67467 w 688161"/>
                <a:gd name="connsiteY53" fmla="*/ 205376 h 274827"/>
                <a:gd name="connsiteX54" fmla="*/ 56057 w 688161"/>
                <a:gd name="connsiteY54" fmla="*/ 216786 h 274827"/>
                <a:gd name="connsiteX55" fmla="*/ 42663 w 688161"/>
                <a:gd name="connsiteY55" fmla="*/ 226212 h 274827"/>
                <a:gd name="connsiteX56" fmla="*/ 31749 w 688161"/>
                <a:gd name="connsiteY56" fmla="*/ 238614 h 274827"/>
                <a:gd name="connsiteX57" fmla="*/ 20835 w 688161"/>
                <a:gd name="connsiteY57" fmla="*/ 250519 h 274827"/>
                <a:gd name="connsiteX58" fmla="*/ 9426 w 688161"/>
                <a:gd name="connsiteY58" fmla="*/ 261929 h 274827"/>
                <a:gd name="connsiteX59" fmla="*/ 0 w 688161"/>
                <a:gd name="connsiteY59" fmla="*/ 274827 h 274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688161" h="274827">
                  <a:moveTo>
                    <a:pt x="669705" y="253992"/>
                  </a:moveTo>
                  <a:cubicBezTo>
                    <a:pt x="672682" y="246551"/>
                    <a:pt x="672186" y="248039"/>
                    <a:pt x="675162" y="238614"/>
                  </a:cubicBezTo>
                  <a:cubicBezTo>
                    <a:pt x="676650" y="234149"/>
                    <a:pt x="677146" y="228692"/>
                    <a:pt x="678635" y="222739"/>
                  </a:cubicBezTo>
                  <a:cubicBezTo>
                    <a:pt x="679627" y="217778"/>
                    <a:pt x="681611" y="212321"/>
                    <a:pt x="682603" y="206865"/>
                  </a:cubicBezTo>
                  <a:cubicBezTo>
                    <a:pt x="683596" y="201904"/>
                    <a:pt x="684588" y="196447"/>
                    <a:pt x="685580" y="190494"/>
                  </a:cubicBezTo>
                  <a:cubicBezTo>
                    <a:pt x="686076" y="185037"/>
                    <a:pt x="687564" y="179580"/>
                    <a:pt x="688060" y="174123"/>
                  </a:cubicBezTo>
                  <a:cubicBezTo>
                    <a:pt x="688556" y="168666"/>
                    <a:pt x="687068" y="163210"/>
                    <a:pt x="687068" y="157753"/>
                  </a:cubicBezTo>
                  <a:cubicBezTo>
                    <a:pt x="687068" y="152296"/>
                    <a:pt x="687564" y="146839"/>
                    <a:pt x="687564" y="141382"/>
                  </a:cubicBezTo>
                  <a:cubicBezTo>
                    <a:pt x="687068" y="135925"/>
                    <a:pt x="686076" y="130469"/>
                    <a:pt x="685084" y="125012"/>
                  </a:cubicBezTo>
                  <a:cubicBezTo>
                    <a:pt x="684092" y="119555"/>
                    <a:pt x="683099" y="114098"/>
                    <a:pt x="681611" y="109137"/>
                  </a:cubicBezTo>
                  <a:cubicBezTo>
                    <a:pt x="680123" y="103680"/>
                    <a:pt x="678139" y="98720"/>
                    <a:pt x="676154" y="93759"/>
                  </a:cubicBezTo>
                  <a:cubicBezTo>
                    <a:pt x="674170" y="88798"/>
                    <a:pt x="673674" y="82845"/>
                    <a:pt x="670697" y="77884"/>
                  </a:cubicBezTo>
                  <a:cubicBezTo>
                    <a:pt x="668217" y="72924"/>
                    <a:pt x="664744" y="68955"/>
                    <a:pt x="661272" y="63994"/>
                  </a:cubicBezTo>
                  <a:cubicBezTo>
                    <a:pt x="658296" y="59529"/>
                    <a:pt x="654327" y="55561"/>
                    <a:pt x="650358" y="51592"/>
                  </a:cubicBezTo>
                  <a:cubicBezTo>
                    <a:pt x="646886" y="47624"/>
                    <a:pt x="641925" y="44647"/>
                    <a:pt x="637956" y="41175"/>
                  </a:cubicBezTo>
                  <a:cubicBezTo>
                    <a:pt x="633988" y="37702"/>
                    <a:pt x="629523" y="34725"/>
                    <a:pt x="624562" y="31749"/>
                  </a:cubicBezTo>
                  <a:cubicBezTo>
                    <a:pt x="620097" y="28773"/>
                    <a:pt x="615137" y="26788"/>
                    <a:pt x="610176" y="24308"/>
                  </a:cubicBezTo>
                  <a:cubicBezTo>
                    <a:pt x="605215" y="21828"/>
                    <a:pt x="601247" y="17859"/>
                    <a:pt x="596286" y="15875"/>
                  </a:cubicBezTo>
                  <a:cubicBezTo>
                    <a:pt x="591325" y="13890"/>
                    <a:pt x="585868" y="12402"/>
                    <a:pt x="580907" y="10914"/>
                  </a:cubicBezTo>
                  <a:cubicBezTo>
                    <a:pt x="575947" y="9426"/>
                    <a:pt x="569994" y="9922"/>
                    <a:pt x="564537" y="8433"/>
                  </a:cubicBezTo>
                  <a:cubicBezTo>
                    <a:pt x="559080" y="7441"/>
                    <a:pt x="554615" y="3969"/>
                    <a:pt x="549158" y="2976"/>
                  </a:cubicBezTo>
                  <a:cubicBezTo>
                    <a:pt x="543702" y="1984"/>
                    <a:pt x="538245" y="1984"/>
                    <a:pt x="532788" y="1488"/>
                  </a:cubicBezTo>
                  <a:cubicBezTo>
                    <a:pt x="527331" y="992"/>
                    <a:pt x="521874" y="1488"/>
                    <a:pt x="516417" y="992"/>
                  </a:cubicBezTo>
                  <a:cubicBezTo>
                    <a:pt x="510960" y="992"/>
                    <a:pt x="505504" y="0"/>
                    <a:pt x="500047" y="0"/>
                  </a:cubicBezTo>
                  <a:cubicBezTo>
                    <a:pt x="494590" y="0"/>
                    <a:pt x="489133" y="496"/>
                    <a:pt x="483676" y="992"/>
                  </a:cubicBezTo>
                  <a:cubicBezTo>
                    <a:pt x="478219" y="1488"/>
                    <a:pt x="473258" y="2976"/>
                    <a:pt x="467802" y="3473"/>
                  </a:cubicBezTo>
                  <a:cubicBezTo>
                    <a:pt x="462345" y="3969"/>
                    <a:pt x="456888" y="4465"/>
                    <a:pt x="451927" y="4961"/>
                  </a:cubicBezTo>
                  <a:cubicBezTo>
                    <a:pt x="446470" y="5953"/>
                    <a:pt x="441013" y="5953"/>
                    <a:pt x="435557" y="6945"/>
                  </a:cubicBezTo>
                  <a:cubicBezTo>
                    <a:pt x="430100" y="7937"/>
                    <a:pt x="424643" y="8929"/>
                    <a:pt x="419682" y="9922"/>
                  </a:cubicBezTo>
                  <a:cubicBezTo>
                    <a:pt x="414225" y="10914"/>
                    <a:pt x="409264" y="12898"/>
                    <a:pt x="403808" y="14386"/>
                  </a:cubicBezTo>
                  <a:cubicBezTo>
                    <a:pt x="398847" y="15875"/>
                    <a:pt x="393390" y="17363"/>
                    <a:pt x="388429" y="18851"/>
                  </a:cubicBezTo>
                  <a:cubicBezTo>
                    <a:pt x="383468" y="20339"/>
                    <a:pt x="378508" y="22324"/>
                    <a:pt x="373051" y="24308"/>
                  </a:cubicBezTo>
                  <a:cubicBezTo>
                    <a:pt x="368090" y="25796"/>
                    <a:pt x="363129" y="28277"/>
                    <a:pt x="357672" y="30261"/>
                  </a:cubicBezTo>
                  <a:cubicBezTo>
                    <a:pt x="352712" y="32245"/>
                    <a:pt x="347255" y="33237"/>
                    <a:pt x="342294" y="35222"/>
                  </a:cubicBezTo>
                  <a:cubicBezTo>
                    <a:pt x="337333" y="37206"/>
                    <a:pt x="331876" y="37702"/>
                    <a:pt x="326915" y="40182"/>
                  </a:cubicBezTo>
                  <a:cubicBezTo>
                    <a:pt x="321955" y="42167"/>
                    <a:pt x="316994" y="45143"/>
                    <a:pt x="312033" y="47127"/>
                  </a:cubicBezTo>
                  <a:cubicBezTo>
                    <a:pt x="307072" y="49112"/>
                    <a:pt x="302608" y="52088"/>
                    <a:pt x="297647" y="54569"/>
                  </a:cubicBezTo>
                  <a:cubicBezTo>
                    <a:pt x="292686" y="57049"/>
                    <a:pt x="288221" y="59529"/>
                    <a:pt x="283261" y="62010"/>
                  </a:cubicBezTo>
                  <a:cubicBezTo>
                    <a:pt x="278300" y="64490"/>
                    <a:pt x="273339" y="66971"/>
                    <a:pt x="268874" y="69451"/>
                  </a:cubicBezTo>
                  <a:cubicBezTo>
                    <a:pt x="263914" y="71931"/>
                    <a:pt x="258457" y="72924"/>
                    <a:pt x="253496" y="75404"/>
                  </a:cubicBezTo>
                  <a:cubicBezTo>
                    <a:pt x="248535" y="77884"/>
                    <a:pt x="244070" y="80365"/>
                    <a:pt x="239110" y="82845"/>
                  </a:cubicBezTo>
                  <a:cubicBezTo>
                    <a:pt x="234149" y="85325"/>
                    <a:pt x="230676" y="89790"/>
                    <a:pt x="225715" y="92271"/>
                  </a:cubicBezTo>
                  <a:cubicBezTo>
                    <a:pt x="221251" y="95247"/>
                    <a:pt x="215794" y="97231"/>
                    <a:pt x="211329" y="99712"/>
                  </a:cubicBezTo>
                  <a:cubicBezTo>
                    <a:pt x="206865" y="102688"/>
                    <a:pt x="202400" y="105665"/>
                    <a:pt x="197439" y="108641"/>
                  </a:cubicBezTo>
                  <a:cubicBezTo>
                    <a:pt x="192974" y="111618"/>
                    <a:pt x="188510" y="115090"/>
                    <a:pt x="184045" y="118067"/>
                  </a:cubicBezTo>
                  <a:cubicBezTo>
                    <a:pt x="179580" y="121043"/>
                    <a:pt x="174124" y="123027"/>
                    <a:pt x="169659" y="126004"/>
                  </a:cubicBezTo>
                  <a:cubicBezTo>
                    <a:pt x="165194" y="128980"/>
                    <a:pt x="161225" y="132949"/>
                    <a:pt x="156761" y="135925"/>
                  </a:cubicBezTo>
                  <a:cubicBezTo>
                    <a:pt x="152296" y="138902"/>
                    <a:pt x="147831" y="142374"/>
                    <a:pt x="143863" y="145351"/>
                  </a:cubicBezTo>
                  <a:cubicBezTo>
                    <a:pt x="139398" y="148327"/>
                    <a:pt x="134437" y="150808"/>
                    <a:pt x="130469" y="154280"/>
                  </a:cubicBezTo>
                  <a:cubicBezTo>
                    <a:pt x="126004" y="157753"/>
                    <a:pt x="122531" y="161721"/>
                    <a:pt x="118067" y="164698"/>
                  </a:cubicBezTo>
                  <a:cubicBezTo>
                    <a:pt x="113602" y="168171"/>
                    <a:pt x="109633" y="171147"/>
                    <a:pt x="105169" y="174619"/>
                  </a:cubicBezTo>
                  <a:cubicBezTo>
                    <a:pt x="100704" y="178092"/>
                    <a:pt x="95743" y="180572"/>
                    <a:pt x="91774" y="184045"/>
                  </a:cubicBezTo>
                  <a:cubicBezTo>
                    <a:pt x="87310" y="187518"/>
                    <a:pt x="83837" y="191486"/>
                    <a:pt x="79869" y="194959"/>
                  </a:cubicBezTo>
                  <a:cubicBezTo>
                    <a:pt x="75900" y="198431"/>
                    <a:pt x="71435" y="201904"/>
                    <a:pt x="67467" y="205376"/>
                  </a:cubicBezTo>
                  <a:cubicBezTo>
                    <a:pt x="63498" y="208849"/>
                    <a:pt x="60026" y="213314"/>
                    <a:pt x="56057" y="216786"/>
                  </a:cubicBezTo>
                  <a:cubicBezTo>
                    <a:pt x="52088" y="220755"/>
                    <a:pt x="46135" y="222243"/>
                    <a:pt x="42663" y="226212"/>
                  </a:cubicBezTo>
                  <a:cubicBezTo>
                    <a:pt x="38694" y="230180"/>
                    <a:pt x="35718" y="234645"/>
                    <a:pt x="31749" y="238614"/>
                  </a:cubicBezTo>
                  <a:cubicBezTo>
                    <a:pt x="27781" y="242582"/>
                    <a:pt x="24308" y="246551"/>
                    <a:pt x="20835" y="250519"/>
                  </a:cubicBezTo>
                  <a:cubicBezTo>
                    <a:pt x="16867" y="254488"/>
                    <a:pt x="12898" y="257961"/>
                    <a:pt x="9426" y="261929"/>
                  </a:cubicBezTo>
                  <a:cubicBezTo>
                    <a:pt x="5953" y="266394"/>
                    <a:pt x="2977" y="270859"/>
                    <a:pt x="0" y="2748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EA468568-E13E-37F4-F246-9D3A8AC7D199}"/>
                </a:ext>
              </a:extLst>
            </p:cNvPr>
            <p:cNvSpPr/>
            <p:nvPr/>
          </p:nvSpPr>
          <p:spPr>
            <a:xfrm>
              <a:off x="5566360" y="1572070"/>
              <a:ext cx="367672" cy="168666"/>
            </a:xfrm>
            <a:custGeom>
              <a:avLst/>
              <a:gdLst>
                <a:gd name="connsiteX0" fmla="*/ 0 w 367672"/>
                <a:gd name="connsiteY0" fmla="*/ 57545 h 168666"/>
                <a:gd name="connsiteX1" fmla="*/ 13394 w 367672"/>
                <a:gd name="connsiteY1" fmla="*/ 47127 h 168666"/>
                <a:gd name="connsiteX2" fmla="*/ 28276 w 367672"/>
                <a:gd name="connsiteY2" fmla="*/ 39190 h 168666"/>
                <a:gd name="connsiteX3" fmla="*/ 42663 w 367672"/>
                <a:gd name="connsiteY3" fmla="*/ 30757 h 168666"/>
                <a:gd name="connsiteX4" fmla="*/ 57545 w 367672"/>
                <a:gd name="connsiteY4" fmla="*/ 22820 h 168666"/>
                <a:gd name="connsiteX5" fmla="*/ 73419 w 367672"/>
                <a:gd name="connsiteY5" fmla="*/ 16867 h 168666"/>
                <a:gd name="connsiteX6" fmla="*/ 89790 w 367672"/>
                <a:gd name="connsiteY6" fmla="*/ 11906 h 168666"/>
                <a:gd name="connsiteX7" fmla="*/ 106160 w 367672"/>
                <a:gd name="connsiteY7" fmla="*/ 7937 h 168666"/>
                <a:gd name="connsiteX8" fmla="*/ 122531 w 367672"/>
                <a:gd name="connsiteY8" fmla="*/ 4465 h 168666"/>
                <a:gd name="connsiteX9" fmla="*/ 139398 w 367672"/>
                <a:gd name="connsiteY9" fmla="*/ 3473 h 168666"/>
                <a:gd name="connsiteX10" fmla="*/ 156265 w 367672"/>
                <a:gd name="connsiteY10" fmla="*/ 496 h 168666"/>
                <a:gd name="connsiteX11" fmla="*/ 173131 w 367672"/>
                <a:gd name="connsiteY11" fmla="*/ 0 h 168666"/>
                <a:gd name="connsiteX12" fmla="*/ 189502 w 367672"/>
                <a:gd name="connsiteY12" fmla="*/ 1488 h 168666"/>
                <a:gd name="connsiteX13" fmla="*/ 205872 w 367672"/>
                <a:gd name="connsiteY13" fmla="*/ 496 h 168666"/>
                <a:gd name="connsiteX14" fmla="*/ 221747 w 367672"/>
                <a:gd name="connsiteY14" fmla="*/ 4961 h 168666"/>
                <a:gd name="connsiteX15" fmla="*/ 238117 w 367672"/>
                <a:gd name="connsiteY15" fmla="*/ 6945 h 168666"/>
                <a:gd name="connsiteX16" fmla="*/ 253496 w 367672"/>
                <a:gd name="connsiteY16" fmla="*/ 11906 h 168666"/>
                <a:gd name="connsiteX17" fmla="*/ 269370 w 367672"/>
                <a:gd name="connsiteY17" fmla="*/ 16371 h 168666"/>
                <a:gd name="connsiteX18" fmla="*/ 283756 w 367672"/>
                <a:gd name="connsiteY18" fmla="*/ 23812 h 168666"/>
                <a:gd name="connsiteX19" fmla="*/ 297151 w 367672"/>
                <a:gd name="connsiteY19" fmla="*/ 32741 h 168666"/>
                <a:gd name="connsiteX20" fmla="*/ 311041 w 367672"/>
                <a:gd name="connsiteY20" fmla="*/ 41175 h 168666"/>
                <a:gd name="connsiteX21" fmla="*/ 323443 w 367672"/>
                <a:gd name="connsiteY21" fmla="*/ 51592 h 168666"/>
                <a:gd name="connsiteX22" fmla="*/ 335349 w 367672"/>
                <a:gd name="connsiteY22" fmla="*/ 63002 h 168666"/>
                <a:gd name="connsiteX23" fmla="*/ 344278 w 367672"/>
                <a:gd name="connsiteY23" fmla="*/ 76892 h 168666"/>
                <a:gd name="connsiteX24" fmla="*/ 352711 w 367672"/>
                <a:gd name="connsiteY24" fmla="*/ 90782 h 168666"/>
                <a:gd name="connsiteX25" fmla="*/ 359657 w 367672"/>
                <a:gd name="connsiteY25" fmla="*/ 105665 h 168666"/>
                <a:gd name="connsiteX26" fmla="*/ 363625 w 367672"/>
                <a:gd name="connsiteY26" fmla="*/ 121539 h 168666"/>
                <a:gd name="connsiteX27" fmla="*/ 367594 w 367672"/>
                <a:gd name="connsiteY27" fmla="*/ 137414 h 168666"/>
                <a:gd name="connsiteX28" fmla="*/ 365609 w 367672"/>
                <a:gd name="connsiteY28" fmla="*/ 153288 h 168666"/>
                <a:gd name="connsiteX29" fmla="*/ 361641 w 367672"/>
                <a:gd name="connsiteY29" fmla="*/ 168666 h 168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67672" h="168666">
                  <a:moveTo>
                    <a:pt x="0" y="57545"/>
                  </a:moveTo>
                  <a:cubicBezTo>
                    <a:pt x="5953" y="51592"/>
                    <a:pt x="4465" y="53577"/>
                    <a:pt x="13394" y="47127"/>
                  </a:cubicBezTo>
                  <a:cubicBezTo>
                    <a:pt x="17363" y="44647"/>
                    <a:pt x="22819" y="42663"/>
                    <a:pt x="28276" y="39190"/>
                  </a:cubicBezTo>
                  <a:cubicBezTo>
                    <a:pt x="32741" y="36710"/>
                    <a:pt x="37206" y="33237"/>
                    <a:pt x="42663" y="30757"/>
                  </a:cubicBezTo>
                  <a:cubicBezTo>
                    <a:pt x="47127" y="28277"/>
                    <a:pt x="52088" y="25300"/>
                    <a:pt x="57545" y="22820"/>
                  </a:cubicBezTo>
                  <a:cubicBezTo>
                    <a:pt x="62506" y="20835"/>
                    <a:pt x="67962" y="18851"/>
                    <a:pt x="73419" y="16867"/>
                  </a:cubicBezTo>
                  <a:cubicBezTo>
                    <a:pt x="78380" y="14882"/>
                    <a:pt x="83837" y="13890"/>
                    <a:pt x="89790" y="11906"/>
                  </a:cubicBezTo>
                  <a:cubicBezTo>
                    <a:pt x="94751" y="10418"/>
                    <a:pt x="100704" y="9425"/>
                    <a:pt x="106160" y="7937"/>
                  </a:cubicBezTo>
                  <a:cubicBezTo>
                    <a:pt x="111618" y="6945"/>
                    <a:pt x="117074" y="5457"/>
                    <a:pt x="122531" y="4465"/>
                  </a:cubicBezTo>
                  <a:cubicBezTo>
                    <a:pt x="127988" y="3473"/>
                    <a:pt x="133445" y="3969"/>
                    <a:pt x="139398" y="3473"/>
                  </a:cubicBezTo>
                  <a:cubicBezTo>
                    <a:pt x="144855" y="2976"/>
                    <a:pt x="150312" y="992"/>
                    <a:pt x="156265" y="496"/>
                  </a:cubicBezTo>
                  <a:cubicBezTo>
                    <a:pt x="161721" y="0"/>
                    <a:pt x="167178" y="0"/>
                    <a:pt x="173131" y="0"/>
                  </a:cubicBezTo>
                  <a:cubicBezTo>
                    <a:pt x="178588" y="0"/>
                    <a:pt x="184045" y="992"/>
                    <a:pt x="189502" y="1488"/>
                  </a:cubicBezTo>
                  <a:cubicBezTo>
                    <a:pt x="194959" y="1488"/>
                    <a:pt x="200415" y="0"/>
                    <a:pt x="205872" y="496"/>
                  </a:cubicBezTo>
                  <a:cubicBezTo>
                    <a:pt x="211329" y="992"/>
                    <a:pt x="216290" y="3969"/>
                    <a:pt x="221747" y="4961"/>
                  </a:cubicBezTo>
                  <a:cubicBezTo>
                    <a:pt x="227203" y="5953"/>
                    <a:pt x="232661" y="5457"/>
                    <a:pt x="238117" y="6945"/>
                  </a:cubicBezTo>
                  <a:cubicBezTo>
                    <a:pt x="243574" y="8433"/>
                    <a:pt x="248535" y="9922"/>
                    <a:pt x="253496" y="11906"/>
                  </a:cubicBezTo>
                  <a:cubicBezTo>
                    <a:pt x="258952" y="13394"/>
                    <a:pt x="264409" y="14386"/>
                    <a:pt x="269370" y="16371"/>
                  </a:cubicBezTo>
                  <a:cubicBezTo>
                    <a:pt x="274331" y="18355"/>
                    <a:pt x="279292" y="21331"/>
                    <a:pt x="283756" y="23812"/>
                  </a:cubicBezTo>
                  <a:cubicBezTo>
                    <a:pt x="288717" y="26292"/>
                    <a:pt x="292686" y="29765"/>
                    <a:pt x="297151" y="32741"/>
                  </a:cubicBezTo>
                  <a:cubicBezTo>
                    <a:pt x="301615" y="35718"/>
                    <a:pt x="307072" y="37702"/>
                    <a:pt x="311041" y="41175"/>
                  </a:cubicBezTo>
                  <a:cubicBezTo>
                    <a:pt x="315505" y="44647"/>
                    <a:pt x="319474" y="48120"/>
                    <a:pt x="323443" y="51592"/>
                  </a:cubicBezTo>
                  <a:cubicBezTo>
                    <a:pt x="327411" y="55561"/>
                    <a:pt x="331876" y="59033"/>
                    <a:pt x="335349" y="63002"/>
                  </a:cubicBezTo>
                  <a:cubicBezTo>
                    <a:pt x="338821" y="67467"/>
                    <a:pt x="341301" y="72427"/>
                    <a:pt x="344278" y="76892"/>
                  </a:cubicBezTo>
                  <a:cubicBezTo>
                    <a:pt x="347255" y="81357"/>
                    <a:pt x="350231" y="86318"/>
                    <a:pt x="352711" y="90782"/>
                  </a:cubicBezTo>
                  <a:cubicBezTo>
                    <a:pt x="355192" y="95743"/>
                    <a:pt x="357672" y="100704"/>
                    <a:pt x="359657" y="105665"/>
                  </a:cubicBezTo>
                  <a:cubicBezTo>
                    <a:pt x="361641" y="111121"/>
                    <a:pt x="362633" y="116082"/>
                    <a:pt x="363625" y="121539"/>
                  </a:cubicBezTo>
                  <a:cubicBezTo>
                    <a:pt x="364617" y="126996"/>
                    <a:pt x="367098" y="132453"/>
                    <a:pt x="367594" y="137414"/>
                  </a:cubicBezTo>
                  <a:cubicBezTo>
                    <a:pt x="368090" y="143366"/>
                    <a:pt x="366105" y="148327"/>
                    <a:pt x="365609" y="153288"/>
                  </a:cubicBezTo>
                  <a:cubicBezTo>
                    <a:pt x="364617" y="159241"/>
                    <a:pt x="363625" y="164202"/>
                    <a:pt x="361641" y="16866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07056148-0E9B-897B-6028-797B1F01F248}"/>
                </a:ext>
              </a:extLst>
            </p:cNvPr>
            <p:cNvSpPr/>
            <p:nvPr/>
          </p:nvSpPr>
          <p:spPr>
            <a:xfrm>
              <a:off x="3690796" y="3949814"/>
              <a:ext cx="134983" cy="87874"/>
            </a:xfrm>
            <a:custGeom>
              <a:avLst/>
              <a:gdLst>
                <a:gd name="connsiteX0" fmla="*/ 133339 w 134983"/>
                <a:gd name="connsiteY0" fmla="*/ 3431 h 87874"/>
                <a:gd name="connsiteX1" fmla="*/ 116472 w 134983"/>
                <a:gd name="connsiteY1" fmla="*/ 2439 h 87874"/>
                <a:gd name="connsiteX2" fmla="*/ 99605 w 134983"/>
                <a:gd name="connsiteY2" fmla="*/ 2439 h 87874"/>
                <a:gd name="connsiteX3" fmla="*/ 82739 w 134983"/>
                <a:gd name="connsiteY3" fmla="*/ 2439 h 87874"/>
                <a:gd name="connsiteX4" fmla="*/ 65872 w 134983"/>
                <a:gd name="connsiteY4" fmla="*/ 2935 h 87874"/>
                <a:gd name="connsiteX5" fmla="*/ 48509 w 134983"/>
                <a:gd name="connsiteY5" fmla="*/ 1446 h 87874"/>
                <a:gd name="connsiteX6" fmla="*/ 40572 w 134983"/>
                <a:gd name="connsiteY6" fmla="*/ 15833 h 87874"/>
                <a:gd name="connsiteX7" fmla="*/ 32139 w 134983"/>
                <a:gd name="connsiteY7" fmla="*/ 29227 h 87874"/>
                <a:gd name="connsiteX8" fmla="*/ 25194 w 134983"/>
                <a:gd name="connsiteY8" fmla="*/ 43613 h 87874"/>
                <a:gd name="connsiteX9" fmla="*/ 16264 w 134983"/>
                <a:gd name="connsiteY9" fmla="*/ 57007 h 87874"/>
                <a:gd name="connsiteX10" fmla="*/ 8327 w 134983"/>
                <a:gd name="connsiteY10" fmla="*/ 70897 h 87874"/>
                <a:gd name="connsiteX11" fmla="*/ 1382 w 134983"/>
                <a:gd name="connsiteY11" fmla="*/ 84787 h 87874"/>
                <a:gd name="connsiteX12" fmla="*/ 17256 w 134983"/>
                <a:gd name="connsiteY12" fmla="*/ 84787 h 87874"/>
                <a:gd name="connsiteX13" fmla="*/ 33131 w 134983"/>
                <a:gd name="connsiteY13" fmla="*/ 84787 h 87874"/>
                <a:gd name="connsiteX14" fmla="*/ 49005 w 134983"/>
                <a:gd name="connsiteY14" fmla="*/ 85284 h 87874"/>
                <a:gd name="connsiteX15" fmla="*/ 64880 w 134983"/>
                <a:gd name="connsiteY15" fmla="*/ 83299 h 87874"/>
                <a:gd name="connsiteX16" fmla="*/ 80754 w 134983"/>
                <a:gd name="connsiteY16" fmla="*/ 84787 h 87874"/>
                <a:gd name="connsiteX17" fmla="*/ 96629 w 134983"/>
                <a:gd name="connsiteY17" fmla="*/ 83795 h 87874"/>
                <a:gd name="connsiteX18" fmla="*/ 103574 w 134983"/>
                <a:gd name="connsiteY18" fmla="*/ 70897 h 87874"/>
                <a:gd name="connsiteX19" fmla="*/ 108535 w 134983"/>
                <a:gd name="connsiteY19" fmla="*/ 56511 h 87874"/>
                <a:gd name="connsiteX20" fmla="*/ 114488 w 134983"/>
                <a:gd name="connsiteY20" fmla="*/ 42621 h 87874"/>
                <a:gd name="connsiteX21" fmla="*/ 120937 w 134983"/>
                <a:gd name="connsiteY21" fmla="*/ 29227 h 87874"/>
                <a:gd name="connsiteX22" fmla="*/ 126890 w 134983"/>
                <a:gd name="connsiteY22" fmla="*/ 15336 h 87874"/>
                <a:gd name="connsiteX23" fmla="*/ 133339 w 134983"/>
                <a:gd name="connsiteY23" fmla="*/ 3431 h 87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4983" h="87874">
                  <a:moveTo>
                    <a:pt x="133339" y="3431"/>
                  </a:moveTo>
                  <a:cubicBezTo>
                    <a:pt x="127882" y="-3018"/>
                    <a:pt x="125401" y="2439"/>
                    <a:pt x="116472" y="2439"/>
                  </a:cubicBezTo>
                  <a:cubicBezTo>
                    <a:pt x="108038" y="2439"/>
                    <a:pt x="108038" y="2439"/>
                    <a:pt x="99605" y="2439"/>
                  </a:cubicBezTo>
                  <a:cubicBezTo>
                    <a:pt x="91172" y="2439"/>
                    <a:pt x="91172" y="2439"/>
                    <a:pt x="82739" y="2439"/>
                  </a:cubicBezTo>
                  <a:cubicBezTo>
                    <a:pt x="74305" y="2439"/>
                    <a:pt x="74305" y="2935"/>
                    <a:pt x="65872" y="2935"/>
                  </a:cubicBezTo>
                  <a:cubicBezTo>
                    <a:pt x="57439" y="2935"/>
                    <a:pt x="55950" y="-2522"/>
                    <a:pt x="48509" y="1446"/>
                  </a:cubicBezTo>
                  <a:cubicBezTo>
                    <a:pt x="41564" y="5415"/>
                    <a:pt x="44541" y="8887"/>
                    <a:pt x="40572" y="15833"/>
                  </a:cubicBezTo>
                  <a:cubicBezTo>
                    <a:pt x="36603" y="22778"/>
                    <a:pt x="36107" y="22282"/>
                    <a:pt x="32139" y="29227"/>
                  </a:cubicBezTo>
                  <a:cubicBezTo>
                    <a:pt x="28170" y="36172"/>
                    <a:pt x="29162" y="36668"/>
                    <a:pt x="25194" y="43613"/>
                  </a:cubicBezTo>
                  <a:cubicBezTo>
                    <a:pt x="21225" y="50558"/>
                    <a:pt x="20233" y="50062"/>
                    <a:pt x="16264" y="57007"/>
                  </a:cubicBezTo>
                  <a:cubicBezTo>
                    <a:pt x="12295" y="63952"/>
                    <a:pt x="12295" y="63952"/>
                    <a:pt x="8327" y="70897"/>
                  </a:cubicBezTo>
                  <a:cubicBezTo>
                    <a:pt x="4358" y="77842"/>
                    <a:pt x="-3083" y="77842"/>
                    <a:pt x="1382" y="84787"/>
                  </a:cubicBezTo>
                  <a:cubicBezTo>
                    <a:pt x="5351" y="91733"/>
                    <a:pt x="9319" y="84787"/>
                    <a:pt x="17256" y="84787"/>
                  </a:cubicBezTo>
                  <a:cubicBezTo>
                    <a:pt x="25194" y="84787"/>
                    <a:pt x="25194" y="84787"/>
                    <a:pt x="33131" y="84787"/>
                  </a:cubicBezTo>
                  <a:cubicBezTo>
                    <a:pt x="41068" y="84787"/>
                    <a:pt x="41068" y="85284"/>
                    <a:pt x="49005" y="85284"/>
                  </a:cubicBezTo>
                  <a:cubicBezTo>
                    <a:pt x="56942" y="85284"/>
                    <a:pt x="56942" y="83299"/>
                    <a:pt x="64880" y="83299"/>
                  </a:cubicBezTo>
                  <a:cubicBezTo>
                    <a:pt x="72817" y="83299"/>
                    <a:pt x="72817" y="84787"/>
                    <a:pt x="80754" y="84787"/>
                  </a:cubicBezTo>
                  <a:cubicBezTo>
                    <a:pt x="88692" y="84787"/>
                    <a:pt x="89684" y="87764"/>
                    <a:pt x="96629" y="83795"/>
                  </a:cubicBezTo>
                  <a:cubicBezTo>
                    <a:pt x="103078" y="79827"/>
                    <a:pt x="100597" y="77842"/>
                    <a:pt x="103574" y="70897"/>
                  </a:cubicBezTo>
                  <a:cubicBezTo>
                    <a:pt x="106550" y="63952"/>
                    <a:pt x="105558" y="63456"/>
                    <a:pt x="108535" y="56511"/>
                  </a:cubicBezTo>
                  <a:cubicBezTo>
                    <a:pt x="111511" y="49566"/>
                    <a:pt x="111511" y="49566"/>
                    <a:pt x="114488" y="42621"/>
                  </a:cubicBezTo>
                  <a:cubicBezTo>
                    <a:pt x="117464" y="35676"/>
                    <a:pt x="117960" y="36172"/>
                    <a:pt x="120937" y="29227"/>
                  </a:cubicBezTo>
                  <a:cubicBezTo>
                    <a:pt x="123913" y="22282"/>
                    <a:pt x="122425" y="21289"/>
                    <a:pt x="126890" y="15336"/>
                  </a:cubicBezTo>
                  <a:cubicBezTo>
                    <a:pt x="132346" y="9880"/>
                    <a:pt x="137803" y="8887"/>
                    <a:pt x="133339" y="3431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49C22A05-2464-D969-9223-372D30B8949F}"/>
                </a:ext>
              </a:extLst>
            </p:cNvPr>
            <p:cNvSpPr/>
            <p:nvPr/>
          </p:nvSpPr>
          <p:spPr>
            <a:xfrm>
              <a:off x="3861340" y="4012774"/>
              <a:ext cx="1984" cy="65482"/>
            </a:xfrm>
            <a:custGeom>
              <a:avLst/>
              <a:gdLst>
                <a:gd name="connsiteX0" fmla="*/ 1984 w 1984"/>
                <a:gd name="connsiteY0" fmla="*/ 65482 h 65482"/>
                <a:gd name="connsiteX1" fmla="*/ 0 w 1984"/>
                <a:gd name="connsiteY1" fmla="*/ 49112 h 65482"/>
                <a:gd name="connsiteX2" fmla="*/ 992 w 1984"/>
                <a:gd name="connsiteY2" fmla="*/ 32741 h 65482"/>
                <a:gd name="connsiteX3" fmla="*/ 1488 w 1984"/>
                <a:gd name="connsiteY3" fmla="*/ 16371 h 65482"/>
                <a:gd name="connsiteX4" fmla="*/ 0 w 1984"/>
                <a:gd name="connsiteY4" fmla="*/ 0 h 6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" h="65482">
                  <a:moveTo>
                    <a:pt x="1984" y="65482"/>
                  </a:moveTo>
                  <a:cubicBezTo>
                    <a:pt x="1984" y="57545"/>
                    <a:pt x="0" y="57545"/>
                    <a:pt x="0" y="49112"/>
                  </a:cubicBezTo>
                  <a:cubicBezTo>
                    <a:pt x="0" y="41174"/>
                    <a:pt x="992" y="41174"/>
                    <a:pt x="992" y="32741"/>
                  </a:cubicBezTo>
                  <a:cubicBezTo>
                    <a:pt x="992" y="24804"/>
                    <a:pt x="1488" y="24804"/>
                    <a:pt x="1488" y="16371"/>
                  </a:cubicBezTo>
                  <a:cubicBezTo>
                    <a:pt x="1488" y="7937"/>
                    <a:pt x="0" y="8433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BBFB5898-05D9-5820-DAA6-23F75EA4B147}"/>
                </a:ext>
              </a:extLst>
            </p:cNvPr>
            <p:cNvSpPr/>
            <p:nvPr/>
          </p:nvSpPr>
          <p:spPr>
            <a:xfrm>
              <a:off x="3796850" y="4103060"/>
              <a:ext cx="68997" cy="69775"/>
            </a:xfrm>
            <a:custGeom>
              <a:avLst/>
              <a:gdLst>
                <a:gd name="connsiteX0" fmla="*/ 0 w 68997"/>
                <a:gd name="connsiteY0" fmla="*/ 66475 h 69775"/>
                <a:gd name="connsiteX1" fmla="*/ 16371 w 68997"/>
                <a:gd name="connsiteY1" fmla="*/ 66971 h 69775"/>
                <a:gd name="connsiteX2" fmla="*/ 32741 w 68997"/>
                <a:gd name="connsiteY2" fmla="*/ 67467 h 69775"/>
                <a:gd name="connsiteX3" fmla="*/ 49112 w 68997"/>
                <a:gd name="connsiteY3" fmla="*/ 65979 h 69775"/>
                <a:gd name="connsiteX4" fmla="*/ 66474 w 68997"/>
                <a:gd name="connsiteY4" fmla="*/ 67467 h 69775"/>
                <a:gd name="connsiteX5" fmla="*/ 65978 w 68997"/>
                <a:gd name="connsiteY5" fmla="*/ 50104 h 69775"/>
                <a:gd name="connsiteX6" fmla="*/ 66971 w 68997"/>
                <a:gd name="connsiteY6" fmla="*/ 33734 h 69775"/>
                <a:gd name="connsiteX7" fmla="*/ 65978 w 68997"/>
                <a:gd name="connsiteY7" fmla="*/ 16867 h 69775"/>
                <a:gd name="connsiteX8" fmla="*/ 65482 w 68997"/>
                <a:gd name="connsiteY8" fmla="*/ 0 h 6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997" h="69775">
                  <a:moveTo>
                    <a:pt x="0" y="66475"/>
                  </a:moveTo>
                  <a:cubicBezTo>
                    <a:pt x="7937" y="66475"/>
                    <a:pt x="7937" y="66971"/>
                    <a:pt x="16371" y="66971"/>
                  </a:cubicBezTo>
                  <a:cubicBezTo>
                    <a:pt x="24308" y="66971"/>
                    <a:pt x="24308" y="67467"/>
                    <a:pt x="32741" y="67467"/>
                  </a:cubicBezTo>
                  <a:cubicBezTo>
                    <a:pt x="40678" y="67467"/>
                    <a:pt x="40678" y="65979"/>
                    <a:pt x="49112" y="65979"/>
                  </a:cubicBezTo>
                  <a:cubicBezTo>
                    <a:pt x="57049" y="65979"/>
                    <a:pt x="60522" y="73420"/>
                    <a:pt x="66474" y="67467"/>
                  </a:cubicBezTo>
                  <a:cubicBezTo>
                    <a:pt x="72427" y="61514"/>
                    <a:pt x="65978" y="58537"/>
                    <a:pt x="65978" y="50104"/>
                  </a:cubicBezTo>
                  <a:cubicBezTo>
                    <a:pt x="65978" y="41671"/>
                    <a:pt x="66971" y="41671"/>
                    <a:pt x="66971" y="33734"/>
                  </a:cubicBezTo>
                  <a:cubicBezTo>
                    <a:pt x="66971" y="25300"/>
                    <a:pt x="65978" y="25300"/>
                    <a:pt x="65978" y="16867"/>
                  </a:cubicBezTo>
                  <a:cubicBezTo>
                    <a:pt x="65978" y="8433"/>
                    <a:pt x="65482" y="8433"/>
                    <a:pt x="6548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031C7CAD-1BC5-C5E8-4B5A-6278D8580E58}"/>
                </a:ext>
              </a:extLst>
            </p:cNvPr>
            <p:cNvSpPr/>
            <p:nvPr/>
          </p:nvSpPr>
          <p:spPr>
            <a:xfrm>
              <a:off x="3706264" y="4035593"/>
              <a:ext cx="72727" cy="137737"/>
            </a:xfrm>
            <a:custGeom>
              <a:avLst/>
              <a:gdLst>
                <a:gd name="connsiteX0" fmla="*/ 4765 w 72727"/>
                <a:gd name="connsiteY0" fmla="*/ 0 h 137737"/>
                <a:gd name="connsiteX1" fmla="*/ 3277 w 72727"/>
                <a:gd name="connsiteY1" fmla="*/ 16867 h 137737"/>
                <a:gd name="connsiteX2" fmla="*/ 3773 w 72727"/>
                <a:gd name="connsiteY2" fmla="*/ 33733 h 137737"/>
                <a:gd name="connsiteX3" fmla="*/ 4765 w 72727"/>
                <a:gd name="connsiteY3" fmla="*/ 50600 h 137737"/>
                <a:gd name="connsiteX4" fmla="*/ 2781 w 72727"/>
                <a:gd name="connsiteY4" fmla="*/ 67466 h 137737"/>
                <a:gd name="connsiteX5" fmla="*/ 4765 w 72727"/>
                <a:gd name="connsiteY5" fmla="*/ 84333 h 137737"/>
                <a:gd name="connsiteX6" fmla="*/ 4269 w 72727"/>
                <a:gd name="connsiteY6" fmla="*/ 101200 h 137737"/>
                <a:gd name="connsiteX7" fmla="*/ 2285 w 72727"/>
                <a:gd name="connsiteY7" fmla="*/ 118066 h 137737"/>
                <a:gd name="connsiteX8" fmla="*/ 2781 w 72727"/>
                <a:gd name="connsiteY8" fmla="*/ 135429 h 137737"/>
                <a:gd name="connsiteX9" fmla="*/ 20639 w 72727"/>
                <a:gd name="connsiteY9" fmla="*/ 133941 h 137737"/>
                <a:gd name="connsiteX10" fmla="*/ 38002 w 72727"/>
                <a:gd name="connsiteY10" fmla="*/ 135925 h 137737"/>
                <a:gd name="connsiteX11" fmla="*/ 55365 w 72727"/>
                <a:gd name="connsiteY11" fmla="*/ 135925 h 137737"/>
                <a:gd name="connsiteX12" fmla="*/ 72728 w 72727"/>
                <a:gd name="connsiteY12" fmla="*/ 134933 h 13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727" h="137737">
                  <a:moveTo>
                    <a:pt x="4765" y="0"/>
                  </a:moveTo>
                  <a:cubicBezTo>
                    <a:pt x="4765" y="8433"/>
                    <a:pt x="3277" y="8433"/>
                    <a:pt x="3277" y="16867"/>
                  </a:cubicBezTo>
                  <a:cubicBezTo>
                    <a:pt x="3277" y="25300"/>
                    <a:pt x="3773" y="25300"/>
                    <a:pt x="3773" y="33733"/>
                  </a:cubicBezTo>
                  <a:cubicBezTo>
                    <a:pt x="3773" y="42167"/>
                    <a:pt x="4765" y="42167"/>
                    <a:pt x="4765" y="50600"/>
                  </a:cubicBezTo>
                  <a:cubicBezTo>
                    <a:pt x="4765" y="59033"/>
                    <a:pt x="2781" y="59033"/>
                    <a:pt x="2781" y="67466"/>
                  </a:cubicBezTo>
                  <a:cubicBezTo>
                    <a:pt x="2781" y="75900"/>
                    <a:pt x="4765" y="75900"/>
                    <a:pt x="4765" y="84333"/>
                  </a:cubicBezTo>
                  <a:cubicBezTo>
                    <a:pt x="4765" y="92767"/>
                    <a:pt x="4269" y="92767"/>
                    <a:pt x="4269" y="101200"/>
                  </a:cubicBezTo>
                  <a:cubicBezTo>
                    <a:pt x="4269" y="109633"/>
                    <a:pt x="2285" y="109633"/>
                    <a:pt x="2285" y="118066"/>
                  </a:cubicBezTo>
                  <a:cubicBezTo>
                    <a:pt x="2285" y="126500"/>
                    <a:pt x="-3172" y="129476"/>
                    <a:pt x="2781" y="135429"/>
                  </a:cubicBezTo>
                  <a:cubicBezTo>
                    <a:pt x="9230" y="141382"/>
                    <a:pt x="12206" y="133941"/>
                    <a:pt x="20639" y="133941"/>
                  </a:cubicBezTo>
                  <a:cubicBezTo>
                    <a:pt x="29569" y="133941"/>
                    <a:pt x="29569" y="135925"/>
                    <a:pt x="38002" y="135925"/>
                  </a:cubicBezTo>
                  <a:cubicBezTo>
                    <a:pt x="46932" y="135925"/>
                    <a:pt x="46932" y="135925"/>
                    <a:pt x="55365" y="135925"/>
                  </a:cubicBezTo>
                  <a:cubicBezTo>
                    <a:pt x="64295" y="135925"/>
                    <a:pt x="64295" y="134933"/>
                    <a:pt x="72728" y="1349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947C7E00-B812-A676-A03E-925C3D7781B2}"/>
                </a:ext>
              </a:extLst>
            </p:cNvPr>
            <p:cNvSpPr/>
            <p:nvPr/>
          </p:nvSpPr>
          <p:spPr>
            <a:xfrm>
              <a:off x="3824134" y="3953245"/>
              <a:ext cx="48615" cy="72427"/>
            </a:xfrm>
            <a:custGeom>
              <a:avLst/>
              <a:gdLst>
                <a:gd name="connsiteX0" fmla="*/ 0 w 48615"/>
                <a:gd name="connsiteY0" fmla="*/ 0 h 72427"/>
                <a:gd name="connsiteX1" fmla="*/ 10418 w 48615"/>
                <a:gd name="connsiteY1" fmla="*/ 13890 h 72427"/>
                <a:gd name="connsiteX2" fmla="*/ 19347 w 48615"/>
                <a:gd name="connsiteY2" fmla="*/ 28772 h 72427"/>
                <a:gd name="connsiteX3" fmla="*/ 29765 w 48615"/>
                <a:gd name="connsiteY3" fmla="*/ 43159 h 72427"/>
                <a:gd name="connsiteX4" fmla="*/ 38694 w 48615"/>
                <a:gd name="connsiteY4" fmla="*/ 58041 h 72427"/>
                <a:gd name="connsiteX5" fmla="*/ 48616 w 48615"/>
                <a:gd name="connsiteY5" fmla="*/ 72427 h 72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615" h="72427">
                  <a:moveTo>
                    <a:pt x="0" y="0"/>
                  </a:moveTo>
                  <a:cubicBezTo>
                    <a:pt x="4961" y="7441"/>
                    <a:pt x="5457" y="6945"/>
                    <a:pt x="10418" y="13890"/>
                  </a:cubicBezTo>
                  <a:cubicBezTo>
                    <a:pt x="15378" y="21331"/>
                    <a:pt x="14386" y="21827"/>
                    <a:pt x="19347" y="28772"/>
                  </a:cubicBezTo>
                  <a:cubicBezTo>
                    <a:pt x="24308" y="36214"/>
                    <a:pt x="24804" y="35717"/>
                    <a:pt x="29765" y="43159"/>
                  </a:cubicBezTo>
                  <a:cubicBezTo>
                    <a:pt x="34725" y="50600"/>
                    <a:pt x="33733" y="51096"/>
                    <a:pt x="38694" y="58041"/>
                  </a:cubicBezTo>
                  <a:cubicBezTo>
                    <a:pt x="43655" y="65482"/>
                    <a:pt x="43655" y="64986"/>
                    <a:pt x="48616" y="72427"/>
                  </a:cubicBezTo>
                </a:path>
              </a:pathLst>
            </a:custGeom>
            <a:solidFill>
              <a:schemeClr val="bg1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E82DF3B7-1F55-C227-BB72-9786949702FA}"/>
                </a:ext>
              </a:extLst>
            </p:cNvPr>
            <p:cNvSpPr/>
            <p:nvPr/>
          </p:nvSpPr>
          <p:spPr>
            <a:xfrm>
              <a:off x="3795362" y="4018231"/>
              <a:ext cx="1488" cy="151799"/>
            </a:xfrm>
            <a:custGeom>
              <a:avLst/>
              <a:gdLst>
                <a:gd name="connsiteX0" fmla="*/ 992 w 1488"/>
                <a:gd name="connsiteY0" fmla="*/ 151800 h 151799"/>
                <a:gd name="connsiteX1" fmla="*/ 496 w 1488"/>
                <a:gd name="connsiteY1" fmla="*/ 134933 h 151799"/>
                <a:gd name="connsiteX2" fmla="*/ 992 w 1488"/>
                <a:gd name="connsiteY2" fmla="*/ 118066 h 151799"/>
                <a:gd name="connsiteX3" fmla="*/ 0 w 1488"/>
                <a:gd name="connsiteY3" fmla="*/ 101200 h 151799"/>
                <a:gd name="connsiteX4" fmla="*/ 992 w 1488"/>
                <a:gd name="connsiteY4" fmla="*/ 84333 h 151799"/>
                <a:gd name="connsiteX5" fmla="*/ 992 w 1488"/>
                <a:gd name="connsiteY5" fmla="*/ 67466 h 151799"/>
                <a:gd name="connsiteX6" fmla="*/ 1488 w 1488"/>
                <a:gd name="connsiteY6" fmla="*/ 50600 h 151799"/>
                <a:gd name="connsiteX7" fmla="*/ 496 w 1488"/>
                <a:gd name="connsiteY7" fmla="*/ 33733 h 151799"/>
                <a:gd name="connsiteX8" fmla="*/ 0 w 1488"/>
                <a:gd name="connsiteY8" fmla="*/ 16867 h 151799"/>
                <a:gd name="connsiteX9" fmla="*/ 496 w 1488"/>
                <a:gd name="connsiteY9" fmla="*/ 0 h 15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88" h="151799">
                  <a:moveTo>
                    <a:pt x="992" y="151800"/>
                  </a:moveTo>
                  <a:cubicBezTo>
                    <a:pt x="992" y="143367"/>
                    <a:pt x="496" y="143367"/>
                    <a:pt x="496" y="134933"/>
                  </a:cubicBezTo>
                  <a:cubicBezTo>
                    <a:pt x="496" y="126500"/>
                    <a:pt x="992" y="126500"/>
                    <a:pt x="992" y="118066"/>
                  </a:cubicBezTo>
                  <a:cubicBezTo>
                    <a:pt x="992" y="109633"/>
                    <a:pt x="0" y="109633"/>
                    <a:pt x="0" y="101200"/>
                  </a:cubicBezTo>
                  <a:cubicBezTo>
                    <a:pt x="0" y="92767"/>
                    <a:pt x="992" y="92767"/>
                    <a:pt x="992" y="84333"/>
                  </a:cubicBezTo>
                  <a:cubicBezTo>
                    <a:pt x="992" y="75900"/>
                    <a:pt x="992" y="75900"/>
                    <a:pt x="992" y="67466"/>
                  </a:cubicBezTo>
                  <a:cubicBezTo>
                    <a:pt x="992" y="59033"/>
                    <a:pt x="1488" y="59033"/>
                    <a:pt x="1488" y="50600"/>
                  </a:cubicBezTo>
                  <a:cubicBezTo>
                    <a:pt x="1488" y="42167"/>
                    <a:pt x="496" y="42167"/>
                    <a:pt x="496" y="33733"/>
                  </a:cubicBezTo>
                  <a:cubicBezTo>
                    <a:pt x="496" y="25300"/>
                    <a:pt x="0" y="25300"/>
                    <a:pt x="0" y="16867"/>
                  </a:cubicBezTo>
                  <a:cubicBezTo>
                    <a:pt x="0" y="8433"/>
                    <a:pt x="496" y="8433"/>
                    <a:pt x="496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C986AC8D-D7E7-18AD-EFF4-2E0FE08ADC22}"/>
                </a:ext>
              </a:extLst>
            </p:cNvPr>
            <p:cNvSpPr/>
            <p:nvPr/>
          </p:nvSpPr>
          <p:spPr>
            <a:xfrm>
              <a:off x="3826739" y="4087186"/>
              <a:ext cx="74535" cy="16866"/>
            </a:xfrm>
            <a:custGeom>
              <a:avLst/>
              <a:gdLst>
                <a:gd name="connsiteX0" fmla="*/ 70815 w 74535"/>
                <a:gd name="connsiteY0" fmla="*/ 15874 h 16866"/>
                <a:gd name="connsiteX1" fmla="*/ 53948 w 74535"/>
                <a:gd name="connsiteY1" fmla="*/ 15378 h 16866"/>
                <a:gd name="connsiteX2" fmla="*/ 37082 w 74535"/>
                <a:gd name="connsiteY2" fmla="*/ 15874 h 16866"/>
                <a:gd name="connsiteX3" fmla="*/ 20215 w 74535"/>
                <a:gd name="connsiteY3" fmla="*/ 14882 h 16866"/>
                <a:gd name="connsiteX4" fmla="*/ 3349 w 74535"/>
                <a:gd name="connsiteY4" fmla="*/ 16866 h 16866"/>
                <a:gd name="connsiteX5" fmla="*/ 3349 w 74535"/>
                <a:gd name="connsiteY5" fmla="*/ 0 h 16866"/>
                <a:gd name="connsiteX6" fmla="*/ 20215 w 74535"/>
                <a:gd name="connsiteY6" fmla="*/ 1488 h 16866"/>
                <a:gd name="connsiteX7" fmla="*/ 37082 w 74535"/>
                <a:gd name="connsiteY7" fmla="*/ 0 h 16866"/>
                <a:gd name="connsiteX8" fmla="*/ 53948 w 74535"/>
                <a:gd name="connsiteY8" fmla="*/ 496 h 16866"/>
                <a:gd name="connsiteX9" fmla="*/ 70815 w 74535"/>
                <a:gd name="connsiteY9" fmla="*/ 1984 h 16866"/>
                <a:gd name="connsiteX10" fmla="*/ 70815 w 74535"/>
                <a:gd name="connsiteY10" fmla="*/ 15874 h 16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535" h="16866">
                  <a:moveTo>
                    <a:pt x="70815" y="15874"/>
                  </a:moveTo>
                  <a:cubicBezTo>
                    <a:pt x="62382" y="15874"/>
                    <a:pt x="62382" y="15378"/>
                    <a:pt x="53948" y="15378"/>
                  </a:cubicBezTo>
                  <a:cubicBezTo>
                    <a:pt x="45515" y="15378"/>
                    <a:pt x="45515" y="15874"/>
                    <a:pt x="37082" y="15874"/>
                  </a:cubicBezTo>
                  <a:cubicBezTo>
                    <a:pt x="28648" y="15874"/>
                    <a:pt x="28648" y="14882"/>
                    <a:pt x="20215" y="14882"/>
                  </a:cubicBezTo>
                  <a:cubicBezTo>
                    <a:pt x="11782" y="14882"/>
                    <a:pt x="11782" y="16866"/>
                    <a:pt x="3349" y="16866"/>
                  </a:cubicBezTo>
                  <a:cubicBezTo>
                    <a:pt x="-1116" y="16866"/>
                    <a:pt x="-1116" y="0"/>
                    <a:pt x="3349" y="0"/>
                  </a:cubicBezTo>
                  <a:cubicBezTo>
                    <a:pt x="11782" y="0"/>
                    <a:pt x="11782" y="1488"/>
                    <a:pt x="20215" y="1488"/>
                  </a:cubicBezTo>
                  <a:cubicBezTo>
                    <a:pt x="28648" y="1488"/>
                    <a:pt x="28648" y="0"/>
                    <a:pt x="37082" y="0"/>
                  </a:cubicBezTo>
                  <a:cubicBezTo>
                    <a:pt x="45515" y="0"/>
                    <a:pt x="45515" y="496"/>
                    <a:pt x="53948" y="496"/>
                  </a:cubicBezTo>
                  <a:cubicBezTo>
                    <a:pt x="62382" y="496"/>
                    <a:pt x="62382" y="1984"/>
                    <a:pt x="70815" y="1984"/>
                  </a:cubicBezTo>
                  <a:cubicBezTo>
                    <a:pt x="75776" y="1984"/>
                    <a:pt x="75776" y="15874"/>
                    <a:pt x="70815" y="1587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A298114E-57FD-AABA-D6B1-6816BCE3BABC}"/>
                </a:ext>
              </a:extLst>
            </p:cNvPr>
            <p:cNvSpPr/>
            <p:nvPr/>
          </p:nvSpPr>
          <p:spPr>
            <a:xfrm>
              <a:off x="3822150" y="4025176"/>
              <a:ext cx="15378" cy="51591"/>
            </a:xfrm>
            <a:custGeom>
              <a:avLst/>
              <a:gdLst>
                <a:gd name="connsiteX0" fmla="*/ 15379 w 15378"/>
                <a:gd name="connsiteY0" fmla="*/ 26292 h 51591"/>
                <a:gd name="connsiteX1" fmla="*/ 13890 w 15378"/>
                <a:gd name="connsiteY1" fmla="*/ 39686 h 51591"/>
                <a:gd name="connsiteX2" fmla="*/ 8433 w 15378"/>
                <a:gd name="connsiteY2" fmla="*/ 51592 h 51591"/>
                <a:gd name="connsiteX3" fmla="*/ 2480 w 15378"/>
                <a:gd name="connsiteY3" fmla="*/ 39686 h 51591"/>
                <a:gd name="connsiteX4" fmla="*/ 0 w 15378"/>
                <a:gd name="connsiteY4" fmla="*/ 25796 h 51591"/>
                <a:gd name="connsiteX5" fmla="*/ 1984 w 15378"/>
                <a:gd name="connsiteY5" fmla="*/ 11906 h 51591"/>
                <a:gd name="connsiteX6" fmla="*/ 8929 w 15378"/>
                <a:gd name="connsiteY6" fmla="*/ 0 h 51591"/>
                <a:gd name="connsiteX7" fmla="*/ 14386 w 15378"/>
                <a:gd name="connsiteY7" fmla="*/ 11906 h 51591"/>
                <a:gd name="connsiteX8" fmla="*/ 15379 w 15378"/>
                <a:gd name="connsiteY8" fmla="*/ 26292 h 5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78" h="51591">
                  <a:moveTo>
                    <a:pt x="15379" y="26292"/>
                  </a:moveTo>
                  <a:cubicBezTo>
                    <a:pt x="15379" y="31253"/>
                    <a:pt x="14882" y="35717"/>
                    <a:pt x="13890" y="39686"/>
                  </a:cubicBezTo>
                  <a:cubicBezTo>
                    <a:pt x="12402" y="46631"/>
                    <a:pt x="11410" y="51592"/>
                    <a:pt x="8433" y="51592"/>
                  </a:cubicBezTo>
                  <a:cubicBezTo>
                    <a:pt x="5457" y="51592"/>
                    <a:pt x="3969" y="46631"/>
                    <a:pt x="2480" y="39686"/>
                  </a:cubicBezTo>
                  <a:cubicBezTo>
                    <a:pt x="1488" y="35717"/>
                    <a:pt x="0" y="31253"/>
                    <a:pt x="0" y="25796"/>
                  </a:cubicBezTo>
                  <a:cubicBezTo>
                    <a:pt x="0" y="20835"/>
                    <a:pt x="992" y="15874"/>
                    <a:pt x="1984" y="11906"/>
                  </a:cubicBezTo>
                  <a:cubicBezTo>
                    <a:pt x="3473" y="4961"/>
                    <a:pt x="5953" y="0"/>
                    <a:pt x="8929" y="0"/>
                  </a:cubicBezTo>
                  <a:cubicBezTo>
                    <a:pt x="11906" y="0"/>
                    <a:pt x="13394" y="4961"/>
                    <a:pt x="14386" y="11906"/>
                  </a:cubicBezTo>
                  <a:cubicBezTo>
                    <a:pt x="15379" y="16866"/>
                    <a:pt x="15379" y="21331"/>
                    <a:pt x="15379" y="26292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06AD356B-9BBA-D6C4-02D7-A80C7D78AC0A}"/>
                </a:ext>
              </a:extLst>
            </p:cNvPr>
            <p:cNvSpPr/>
            <p:nvPr/>
          </p:nvSpPr>
          <p:spPr>
            <a:xfrm>
              <a:off x="3646042" y="3806405"/>
              <a:ext cx="1488" cy="79372"/>
            </a:xfrm>
            <a:custGeom>
              <a:avLst/>
              <a:gdLst>
                <a:gd name="connsiteX0" fmla="*/ 496 w 1488"/>
                <a:gd name="connsiteY0" fmla="*/ 79372 h 79372"/>
                <a:gd name="connsiteX1" fmla="*/ 1488 w 1488"/>
                <a:gd name="connsiteY1" fmla="*/ 63498 h 79372"/>
                <a:gd name="connsiteX2" fmla="*/ 0 w 1488"/>
                <a:gd name="connsiteY2" fmla="*/ 47624 h 79372"/>
                <a:gd name="connsiteX3" fmla="*/ 992 w 1488"/>
                <a:gd name="connsiteY3" fmla="*/ 31749 h 79372"/>
                <a:gd name="connsiteX4" fmla="*/ 992 w 1488"/>
                <a:gd name="connsiteY4" fmla="*/ 15875 h 79372"/>
                <a:gd name="connsiteX5" fmla="*/ 1488 w 1488"/>
                <a:gd name="connsiteY5" fmla="*/ 0 h 79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88" h="79372">
                  <a:moveTo>
                    <a:pt x="496" y="79372"/>
                  </a:moveTo>
                  <a:cubicBezTo>
                    <a:pt x="496" y="71435"/>
                    <a:pt x="1488" y="71435"/>
                    <a:pt x="1488" y="63498"/>
                  </a:cubicBezTo>
                  <a:cubicBezTo>
                    <a:pt x="1488" y="55561"/>
                    <a:pt x="0" y="55561"/>
                    <a:pt x="0" y="47624"/>
                  </a:cubicBezTo>
                  <a:cubicBezTo>
                    <a:pt x="0" y="39686"/>
                    <a:pt x="992" y="39686"/>
                    <a:pt x="992" y="31749"/>
                  </a:cubicBezTo>
                  <a:cubicBezTo>
                    <a:pt x="992" y="23812"/>
                    <a:pt x="992" y="23812"/>
                    <a:pt x="992" y="15875"/>
                  </a:cubicBezTo>
                  <a:cubicBezTo>
                    <a:pt x="992" y="7937"/>
                    <a:pt x="1488" y="7937"/>
                    <a:pt x="148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FE6C412F-106B-6C00-8A35-4C93D082FC1F}"/>
                </a:ext>
              </a:extLst>
            </p:cNvPr>
            <p:cNvSpPr/>
            <p:nvPr/>
          </p:nvSpPr>
          <p:spPr>
            <a:xfrm>
              <a:off x="3646042" y="3977056"/>
              <a:ext cx="2976" cy="474746"/>
            </a:xfrm>
            <a:custGeom>
              <a:avLst/>
              <a:gdLst>
                <a:gd name="connsiteX0" fmla="*/ 496 w 2976"/>
                <a:gd name="connsiteY0" fmla="*/ 474747 h 474746"/>
                <a:gd name="connsiteX1" fmla="*/ 0 w 2976"/>
                <a:gd name="connsiteY1" fmla="*/ 458376 h 474746"/>
                <a:gd name="connsiteX2" fmla="*/ 1984 w 2976"/>
                <a:gd name="connsiteY2" fmla="*/ 442005 h 474746"/>
                <a:gd name="connsiteX3" fmla="*/ 0 w 2976"/>
                <a:gd name="connsiteY3" fmla="*/ 425635 h 474746"/>
                <a:gd name="connsiteX4" fmla="*/ 992 w 2976"/>
                <a:gd name="connsiteY4" fmla="*/ 409264 h 474746"/>
                <a:gd name="connsiteX5" fmla="*/ 992 w 2976"/>
                <a:gd name="connsiteY5" fmla="*/ 392894 h 474746"/>
                <a:gd name="connsiteX6" fmla="*/ 0 w 2976"/>
                <a:gd name="connsiteY6" fmla="*/ 376523 h 474746"/>
                <a:gd name="connsiteX7" fmla="*/ 496 w 2976"/>
                <a:gd name="connsiteY7" fmla="*/ 360152 h 474746"/>
                <a:gd name="connsiteX8" fmla="*/ 992 w 2976"/>
                <a:gd name="connsiteY8" fmla="*/ 343782 h 474746"/>
                <a:gd name="connsiteX9" fmla="*/ 992 w 2976"/>
                <a:gd name="connsiteY9" fmla="*/ 327411 h 474746"/>
                <a:gd name="connsiteX10" fmla="*/ 1488 w 2976"/>
                <a:gd name="connsiteY10" fmla="*/ 311041 h 474746"/>
                <a:gd name="connsiteX11" fmla="*/ 992 w 2976"/>
                <a:gd name="connsiteY11" fmla="*/ 294670 h 474746"/>
                <a:gd name="connsiteX12" fmla="*/ 0 w 2976"/>
                <a:gd name="connsiteY12" fmla="*/ 278300 h 474746"/>
                <a:gd name="connsiteX13" fmla="*/ 1488 w 2976"/>
                <a:gd name="connsiteY13" fmla="*/ 261929 h 474746"/>
                <a:gd name="connsiteX14" fmla="*/ 1488 w 2976"/>
                <a:gd name="connsiteY14" fmla="*/ 245559 h 474746"/>
                <a:gd name="connsiteX15" fmla="*/ 0 w 2976"/>
                <a:gd name="connsiteY15" fmla="*/ 229188 h 474746"/>
                <a:gd name="connsiteX16" fmla="*/ 1984 w 2976"/>
                <a:gd name="connsiteY16" fmla="*/ 212817 h 474746"/>
                <a:gd name="connsiteX17" fmla="*/ 0 w 2976"/>
                <a:gd name="connsiteY17" fmla="*/ 196447 h 474746"/>
                <a:gd name="connsiteX18" fmla="*/ 1984 w 2976"/>
                <a:gd name="connsiteY18" fmla="*/ 180076 h 474746"/>
                <a:gd name="connsiteX19" fmla="*/ 496 w 2976"/>
                <a:gd name="connsiteY19" fmla="*/ 163706 h 474746"/>
                <a:gd name="connsiteX20" fmla="*/ 992 w 2976"/>
                <a:gd name="connsiteY20" fmla="*/ 147335 h 474746"/>
                <a:gd name="connsiteX21" fmla="*/ 992 w 2976"/>
                <a:gd name="connsiteY21" fmla="*/ 130964 h 474746"/>
                <a:gd name="connsiteX22" fmla="*/ 1488 w 2976"/>
                <a:gd name="connsiteY22" fmla="*/ 114594 h 474746"/>
                <a:gd name="connsiteX23" fmla="*/ 496 w 2976"/>
                <a:gd name="connsiteY23" fmla="*/ 98223 h 474746"/>
                <a:gd name="connsiteX24" fmla="*/ 2480 w 2976"/>
                <a:gd name="connsiteY24" fmla="*/ 81853 h 474746"/>
                <a:gd name="connsiteX25" fmla="*/ 496 w 2976"/>
                <a:gd name="connsiteY25" fmla="*/ 65482 h 474746"/>
                <a:gd name="connsiteX26" fmla="*/ 2480 w 2976"/>
                <a:gd name="connsiteY26" fmla="*/ 49112 h 474746"/>
                <a:gd name="connsiteX27" fmla="*/ 2480 w 2976"/>
                <a:gd name="connsiteY27" fmla="*/ 32741 h 474746"/>
                <a:gd name="connsiteX28" fmla="*/ 2977 w 2976"/>
                <a:gd name="connsiteY28" fmla="*/ 16371 h 474746"/>
                <a:gd name="connsiteX29" fmla="*/ 2977 w 2976"/>
                <a:gd name="connsiteY29" fmla="*/ 0 h 474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976" h="474746">
                  <a:moveTo>
                    <a:pt x="496" y="474747"/>
                  </a:moveTo>
                  <a:cubicBezTo>
                    <a:pt x="496" y="466313"/>
                    <a:pt x="0" y="466313"/>
                    <a:pt x="0" y="458376"/>
                  </a:cubicBezTo>
                  <a:cubicBezTo>
                    <a:pt x="0" y="449943"/>
                    <a:pt x="1984" y="449943"/>
                    <a:pt x="1984" y="442005"/>
                  </a:cubicBezTo>
                  <a:cubicBezTo>
                    <a:pt x="1984" y="433572"/>
                    <a:pt x="0" y="433572"/>
                    <a:pt x="0" y="425635"/>
                  </a:cubicBezTo>
                  <a:cubicBezTo>
                    <a:pt x="0" y="417201"/>
                    <a:pt x="992" y="417201"/>
                    <a:pt x="992" y="409264"/>
                  </a:cubicBezTo>
                  <a:cubicBezTo>
                    <a:pt x="992" y="400831"/>
                    <a:pt x="992" y="400831"/>
                    <a:pt x="992" y="392894"/>
                  </a:cubicBezTo>
                  <a:cubicBezTo>
                    <a:pt x="992" y="384460"/>
                    <a:pt x="0" y="384460"/>
                    <a:pt x="0" y="376523"/>
                  </a:cubicBezTo>
                  <a:cubicBezTo>
                    <a:pt x="0" y="368090"/>
                    <a:pt x="496" y="368090"/>
                    <a:pt x="496" y="360152"/>
                  </a:cubicBezTo>
                  <a:cubicBezTo>
                    <a:pt x="496" y="351719"/>
                    <a:pt x="992" y="351719"/>
                    <a:pt x="992" y="343782"/>
                  </a:cubicBezTo>
                  <a:cubicBezTo>
                    <a:pt x="992" y="335349"/>
                    <a:pt x="992" y="335349"/>
                    <a:pt x="992" y="327411"/>
                  </a:cubicBezTo>
                  <a:cubicBezTo>
                    <a:pt x="992" y="318978"/>
                    <a:pt x="1488" y="318978"/>
                    <a:pt x="1488" y="311041"/>
                  </a:cubicBezTo>
                  <a:cubicBezTo>
                    <a:pt x="1488" y="302608"/>
                    <a:pt x="992" y="302608"/>
                    <a:pt x="992" y="294670"/>
                  </a:cubicBezTo>
                  <a:cubicBezTo>
                    <a:pt x="992" y="286237"/>
                    <a:pt x="0" y="286237"/>
                    <a:pt x="0" y="278300"/>
                  </a:cubicBezTo>
                  <a:cubicBezTo>
                    <a:pt x="0" y="269866"/>
                    <a:pt x="1488" y="269866"/>
                    <a:pt x="1488" y="261929"/>
                  </a:cubicBezTo>
                  <a:cubicBezTo>
                    <a:pt x="1488" y="253496"/>
                    <a:pt x="1488" y="253496"/>
                    <a:pt x="1488" y="245559"/>
                  </a:cubicBezTo>
                  <a:cubicBezTo>
                    <a:pt x="1488" y="237125"/>
                    <a:pt x="0" y="237125"/>
                    <a:pt x="0" y="229188"/>
                  </a:cubicBezTo>
                  <a:cubicBezTo>
                    <a:pt x="0" y="220755"/>
                    <a:pt x="1984" y="220755"/>
                    <a:pt x="1984" y="212817"/>
                  </a:cubicBezTo>
                  <a:cubicBezTo>
                    <a:pt x="1984" y="204384"/>
                    <a:pt x="0" y="204384"/>
                    <a:pt x="0" y="196447"/>
                  </a:cubicBezTo>
                  <a:cubicBezTo>
                    <a:pt x="0" y="188013"/>
                    <a:pt x="1984" y="188013"/>
                    <a:pt x="1984" y="180076"/>
                  </a:cubicBezTo>
                  <a:cubicBezTo>
                    <a:pt x="1984" y="171643"/>
                    <a:pt x="496" y="171643"/>
                    <a:pt x="496" y="163706"/>
                  </a:cubicBezTo>
                  <a:cubicBezTo>
                    <a:pt x="496" y="155272"/>
                    <a:pt x="992" y="155272"/>
                    <a:pt x="992" y="147335"/>
                  </a:cubicBezTo>
                  <a:cubicBezTo>
                    <a:pt x="992" y="138902"/>
                    <a:pt x="992" y="138902"/>
                    <a:pt x="992" y="130964"/>
                  </a:cubicBezTo>
                  <a:cubicBezTo>
                    <a:pt x="992" y="122531"/>
                    <a:pt x="1488" y="122531"/>
                    <a:pt x="1488" y="114594"/>
                  </a:cubicBezTo>
                  <a:cubicBezTo>
                    <a:pt x="1488" y="106160"/>
                    <a:pt x="496" y="106160"/>
                    <a:pt x="496" y="98223"/>
                  </a:cubicBezTo>
                  <a:cubicBezTo>
                    <a:pt x="496" y="89790"/>
                    <a:pt x="2480" y="89790"/>
                    <a:pt x="2480" y="81853"/>
                  </a:cubicBezTo>
                  <a:cubicBezTo>
                    <a:pt x="2480" y="73419"/>
                    <a:pt x="496" y="73419"/>
                    <a:pt x="496" y="65482"/>
                  </a:cubicBezTo>
                  <a:cubicBezTo>
                    <a:pt x="496" y="57049"/>
                    <a:pt x="2480" y="57049"/>
                    <a:pt x="2480" y="49112"/>
                  </a:cubicBezTo>
                  <a:cubicBezTo>
                    <a:pt x="2480" y="40678"/>
                    <a:pt x="2480" y="40678"/>
                    <a:pt x="2480" y="32741"/>
                  </a:cubicBezTo>
                  <a:cubicBezTo>
                    <a:pt x="2480" y="24308"/>
                    <a:pt x="2977" y="24308"/>
                    <a:pt x="2977" y="16371"/>
                  </a:cubicBezTo>
                  <a:cubicBezTo>
                    <a:pt x="2977" y="8433"/>
                    <a:pt x="2977" y="7937"/>
                    <a:pt x="2977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1FDF27C2-6FF2-68CA-48C0-0E1697D420D7}"/>
                </a:ext>
              </a:extLst>
            </p:cNvPr>
            <p:cNvSpPr/>
            <p:nvPr/>
          </p:nvSpPr>
          <p:spPr>
            <a:xfrm>
              <a:off x="3733848" y="4185905"/>
              <a:ext cx="2480" cy="278299"/>
            </a:xfrm>
            <a:custGeom>
              <a:avLst/>
              <a:gdLst>
                <a:gd name="connsiteX0" fmla="*/ 992 w 2480"/>
                <a:gd name="connsiteY0" fmla="*/ 278300 h 278299"/>
                <a:gd name="connsiteX1" fmla="*/ 1984 w 2480"/>
                <a:gd name="connsiteY1" fmla="*/ 261929 h 278299"/>
                <a:gd name="connsiteX2" fmla="*/ 2480 w 2480"/>
                <a:gd name="connsiteY2" fmla="*/ 245559 h 278299"/>
                <a:gd name="connsiteX3" fmla="*/ 992 w 2480"/>
                <a:gd name="connsiteY3" fmla="*/ 229188 h 278299"/>
                <a:gd name="connsiteX4" fmla="*/ 2480 w 2480"/>
                <a:gd name="connsiteY4" fmla="*/ 212818 h 278299"/>
                <a:gd name="connsiteX5" fmla="*/ 992 w 2480"/>
                <a:gd name="connsiteY5" fmla="*/ 196447 h 278299"/>
                <a:gd name="connsiteX6" fmla="*/ 2480 w 2480"/>
                <a:gd name="connsiteY6" fmla="*/ 180076 h 278299"/>
                <a:gd name="connsiteX7" fmla="*/ 992 w 2480"/>
                <a:gd name="connsiteY7" fmla="*/ 163706 h 278299"/>
                <a:gd name="connsiteX8" fmla="*/ 1984 w 2480"/>
                <a:gd name="connsiteY8" fmla="*/ 147335 h 278299"/>
                <a:gd name="connsiteX9" fmla="*/ 0 w 2480"/>
                <a:gd name="connsiteY9" fmla="*/ 130965 h 278299"/>
                <a:gd name="connsiteX10" fmla="*/ 496 w 2480"/>
                <a:gd name="connsiteY10" fmla="*/ 114594 h 278299"/>
                <a:gd name="connsiteX11" fmla="*/ 496 w 2480"/>
                <a:gd name="connsiteY11" fmla="*/ 98223 h 278299"/>
                <a:gd name="connsiteX12" fmla="*/ 992 w 2480"/>
                <a:gd name="connsiteY12" fmla="*/ 81853 h 278299"/>
                <a:gd name="connsiteX13" fmla="*/ 2480 w 2480"/>
                <a:gd name="connsiteY13" fmla="*/ 65482 h 278299"/>
                <a:gd name="connsiteX14" fmla="*/ 992 w 2480"/>
                <a:gd name="connsiteY14" fmla="*/ 49112 h 278299"/>
                <a:gd name="connsiteX15" fmla="*/ 1984 w 2480"/>
                <a:gd name="connsiteY15" fmla="*/ 32741 h 278299"/>
                <a:gd name="connsiteX16" fmla="*/ 496 w 2480"/>
                <a:gd name="connsiteY16" fmla="*/ 16371 h 278299"/>
                <a:gd name="connsiteX17" fmla="*/ 992 w 2480"/>
                <a:gd name="connsiteY17" fmla="*/ 0 h 278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80" h="278299">
                  <a:moveTo>
                    <a:pt x="992" y="278300"/>
                  </a:moveTo>
                  <a:cubicBezTo>
                    <a:pt x="992" y="269867"/>
                    <a:pt x="1984" y="269867"/>
                    <a:pt x="1984" y="261929"/>
                  </a:cubicBezTo>
                  <a:cubicBezTo>
                    <a:pt x="1984" y="253496"/>
                    <a:pt x="2480" y="253496"/>
                    <a:pt x="2480" y="245559"/>
                  </a:cubicBezTo>
                  <a:cubicBezTo>
                    <a:pt x="2480" y="237125"/>
                    <a:pt x="992" y="237125"/>
                    <a:pt x="992" y="229188"/>
                  </a:cubicBezTo>
                  <a:cubicBezTo>
                    <a:pt x="992" y="220755"/>
                    <a:pt x="2480" y="220755"/>
                    <a:pt x="2480" y="212818"/>
                  </a:cubicBezTo>
                  <a:cubicBezTo>
                    <a:pt x="2480" y="204384"/>
                    <a:pt x="992" y="204384"/>
                    <a:pt x="992" y="196447"/>
                  </a:cubicBezTo>
                  <a:cubicBezTo>
                    <a:pt x="992" y="188014"/>
                    <a:pt x="2480" y="188014"/>
                    <a:pt x="2480" y="180076"/>
                  </a:cubicBezTo>
                  <a:cubicBezTo>
                    <a:pt x="2480" y="171643"/>
                    <a:pt x="992" y="171643"/>
                    <a:pt x="992" y="163706"/>
                  </a:cubicBezTo>
                  <a:cubicBezTo>
                    <a:pt x="992" y="155272"/>
                    <a:pt x="1984" y="155272"/>
                    <a:pt x="1984" y="147335"/>
                  </a:cubicBezTo>
                  <a:cubicBezTo>
                    <a:pt x="1984" y="138902"/>
                    <a:pt x="0" y="138902"/>
                    <a:pt x="0" y="130965"/>
                  </a:cubicBezTo>
                  <a:cubicBezTo>
                    <a:pt x="0" y="122531"/>
                    <a:pt x="496" y="122531"/>
                    <a:pt x="496" y="114594"/>
                  </a:cubicBezTo>
                  <a:cubicBezTo>
                    <a:pt x="496" y="106657"/>
                    <a:pt x="496" y="106161"/>
                    <a:pt x="496" y="98223"/>
                  </a:cubicBezTo>
                  <a:cubicBezTo>
                    <a:pt x="496" y="89790"/>
                    <a:pt x="992" y="89790"/>
                    <a:pt x="992" y="81853"/>
                  </a:cubicBezTo>
                  <a:cubicBezTo>
                    <a:pt x="992" y="73419"/>
                    <a:pt x="2480" y="73419"/>
                    <a:pt x="2480" y="65482"/>
                  </a:cubicBezTo>
                  <a:cubicBezTo>
                    <a:pt x="2480" y="57049"/>
                    <a:pt x="992" y="57049"/>
                    <a:pt x="992" y="49112"/>
                  </a:cubicBezTo>
                  <a:cubicBezTo>
                    <a:pt x="992" y="40678"/>
                    <a:pt x="1984" y="40678"/>
                    <a:pt x="1984" y="32741"/>
                  </a:cubicBezTo>
                  <a:cubicBezTo>
                    <a:pt x="1984" y="24308"/>
                    <a:pt x="496" y="24308"/>
                    <a:pt x="496" y="16371"/>
                  </a:cubicBezTo>
                  <a:cubicBezTo>
                    <a:pt x="496" y="7937"/>
                    <a:pt x="992" y="7937"/>
                    <a:pt x="99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F5677513-0E04-D810-6372-0B66999DDC2F}"/>
                </a:ext>
              </a:extLst>
            </p:cNvPr>
            <p:cNvSpPr/>
            <p:nvPr/>
          </p:nvSpPr>
          <p:spPr>
            <a:xfrm>
              <a:off x="3729880" y="3638731"/>
              <a:ext cx="2480" cy="190494"/>
            </a:xfrm>
            <a:custGeom>
              <a:avLst/>
              <a:gdLst>
                <a:gd name="connsiteX0" fmla="*/ 1488 w 2480"/>
                <a:gd name="connsiteY0" fmla="*/ 190494 h 190494"/>
                <a:gd name="connsiteX1" fmla="*/ 496 w 2480"/>
                <a:gd name="connsiteY1" fmla="*/ 174619 h 190494"/>
                <a:gd name="connsiteX2" fmla="*/ 1488 w 2480"/>
                <a:gd name="connsiteY2" fmla="*/ 158745 h 190494"/>
                <a:gd name="connsiteX3" fmla="*/ 1488 w 2480"/>
                <a:gd name="connsiteY3" fmla="*/ 142870 h 190494"/>
                <a:gd name="connsiteX4" fmla="*/ 496 w 2480"/>
                <a:gd name="connsiteY4" fmla="*/ 126996 h 190494"/>
                <a:gd name="connsiteX5" fmla="*/ 992 w 2480"/>
                <a:gd name="connsiteY5" fmla="*/ 111122 h 190494"/>
                <a:gd name="connsiteX6" fmla="*/ 992 w 2480"/>
                <a:gd name="connsiteY6" fmla="*/ 95247 h 190494"/>
                <a:gd name="connsiteX7" fmla="*/ 992 w 2480"/>
                <a:gd name="connsiteY7" fmla="*/ 79372 h 190494"/>
                <a:gd name="connsiteX8" fmla="*/ 2480 w 2480"/>
                <a:gd name="connsiteY8" fmla="*/ 63498 h 190494"/>
                <a:gd name="connsiteX9" fmla="*/ 0 w 2480"/>
                <a:gd name="connsiteY9" fmla="*/ 47623 h 190494"/>
                <a:gd name="connsiteX10" fmla="*/ 1984 w 2480"/>
                <a:gd name="connsiteY10" fmla="*/ 31749 h 190494"/>
                <a:gd name="connsiteX11" fmla="*/ 992 w 2480"/>
                <a:gd name="connsiteY11" fmla="*/ 15875 h 190494"/>
                <a:gd name="connsiteX12" fmla="*/ 2480 w 2480"/>
                <a:gd name="connsiteY12" fmla="*/ 0 h 190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0" h="190494">
                  <a:moveTo>
                    <a:pt x="1488" y="190494"/>
                  </a:moveTo>
                  <a:cubicBezTo>
                    <a:pt x="1488" y="182557"/>
                    <a:pt x="496" y="182557"/>
                    <a:pt x="496" y="174619"/>
                  </a:cubicBezTo>
                  <a:cubicBezTo>
                    <a:pt x="496" y="166682"/>
                    <a:pt x="1488" y="166682"/>
                    <a:pt x="1488" y="158745"/>
                  </a:cubicBezTo>
                  <a:cubicBezTo>
                    <a:pt x="1488" y="150808"/>
                    <a:pt x="1488" y="150808"/>
                    <a:pt x="1488" y="142870"/>
                  </a:cubicBezTo>
                  <a:cubicBezTo>
                    <a:pt x="1488" y="134933"/>
                    <a:pt x="496" y="134933"/>
                    <a:pt x="496" y="126996"/>
                  </a:cubicBezTo>
                  <a:cubicBezTo>
                    <a:pt x="496" y="119059"/>
                    <a:pt x="992" y="119059"/>
                    <a:pt x="992" y="111122"/>
                  </a:cubicBezTo>
                  <a:cubicBezTo>
                    <a:pt x="992" y="103184"/>
                    <a:pt x="992" y="103184"/>
                    <a:pt x="992" y="95247"/>
                  </a:cubicBezTo>
                  <a:cubicBezTo>
                    <a:pt x="992" y="87310"/>
                    <a:pt x="992" y="87310"/>
                    <a:pt x="992" y="79372"/>
                  </a:cubicBezTo>
                  <a:cubicBezTo>
                    <a:pt x="992" y="71435"/>
                    <a:pt x="2480" y="71435"/>
                    <a:pt x="2480" y="63498"/>
                  </a:cubicBezTo>
                  <a:cubicBezTo>
                    <a:pt x="2480" y="55561"/>
                    <a:pt x="0" y="55561"/>
                    <a:pt x="0" y="47623"/>
                  </a:cubicBezTo>
                  <a:cubicBezTo>
                    <a:pt x="0" y="39686"/>
                    <a:pt x="1984" y="39686"/>
                    <a:pt x="1984" y="31749"/>
                  </a:cubicBezTo>
                  <a:cubicBezTo>
                    <a:pt x="1984" y="23812"/>
                    <a:pt x="992" y="23812"/>
                    <a:pt x="992" y="15875"/>
                  </a:cubicBezTo>
                  <a:cubicBezTo>
                    <a:pt x="992" y="7937"/>
                    <a:pt x="2480" y="7937"/>
                    <a:pt x="248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9A8DC41C-9479-B56A-2813-B76D06D90180}"/>
                </a:ext>
              </a:extLst>
            </p:cNvPr>
            <p:cNvSpPr/>
            <p:nvPr/>
          </p:nvSpPr>
          <p:spPr>
            <a:xfrm>
              <a:off x="3730376" y="3907605"/>
              <a:ext cx="1984" cy="59529"/>
            </a:xfrm>
            <a:custGeom>
              <a:avLst/>
              <a:gdLst>
                <a:gd name="connsiteX0" fmla="*/ 496 w 1984"/>
                <a:gd name="connsiteY0" fmla="*/ 59529 h 59529"/>
                <a:gd name="connsiteX1" fmla="*/ 1984 w 1984"/>
                <a:gd name="connsiteY1" fmla="*/ 44647 h 59529"/>
                <a:gd name="connsiteX2" fmla="*/ 1984 w 1984"/>
                <a:gd name="connsiteY2" fmla="*/ 29765 h 59529"/>
                <a:gd name="connsiteX3" fmla="*/ 0 w 1984"/>
                <a:gd name="connsiteY3" fmla="*/ 14882 h 59529"/>
                <a:gd name="connsiteX4" fmla="*/ 992 w 1984"/>
                <a:gd name="connsiteY4" fmla="*/ 0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" h="59529">
                  <a:moveTo>
                    <a:pt x="496" y="59529"/>
                  </a:moveTo>
                  <a:cubicBezTo>
                    <a:pt x="496" y="52088"/>
                    <a:pt x="1984" y="52088"/>
                    <a:pt x="1984" y="44647"/>
                  </a:cubicBezTo>
                  <a:cubicBezTo>
                    <a:pt x="1984" y="37206"/>
                    <a:pt x="1984" y="37206"/>
                    <a:pt x="1984" y="29765"/>
                  </a:cubicBezTo>
                  <a:cubicBezTo>
                    <a:pt x="1984" y="22324"/>
                    <a:pt x="0" y="22324"/>
                    <a:pt x="0" y="14882"/>
                  </a:cubicBezTo>
                  <a:cubicBezTo>
                    <a:pt x="0" y="7441"/>
                    <a:pt x="992" y="7441"/>
                    <a:pt x="99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BC4F755D-5EFB-1442-FB72-882E915177D5}"/>
                </a:ext>
              </a:extLst>
            </p:cNvPr>
            <p:cNvSpPr/>
            <p:nvPr/>
          </p:nvSpPr>
          <p:spPr>
            <a:xfrm>
              <a:off x="3529464" y="3403590"/>
              <a:ext cx="349238" cy="660279"/>
            </a:xfrm>
            <a:custGeom>
              <a:avLst/>
              <a:gdLst>
                <a:gd name="connsiteX0" fmla="*/ 106657 w 349238"/>
                <a:gd name="connsiteY0" fmla="*/ 660280 h 660279"/>
                <a:gd name="connsiteX1" fmla="*/ 95743 w 349238"/>
                <a:gd name="connsiteY1" fmla="*/ 648870 h 660279"/>
                <a:gd name="connsiteX2" fmla="*/ 84333 w 349238"/>
                <a:gd name="connsiteY2" fmla="*/ 637956 h 660279"/>
                <a:gd name="connsiteX3" fmla="*/ 74412 w 349238"/>
                <a:gd name="connsiteY3" fmla="*/ 625554 h 660279"/>
                <a:gd name="connsiteX4" fmla="*/ 64490 w 349238"/>
                <a:gd name="connsiteY4" fmla="*/ 613153 h 660279"/>
                <a:gd name="connsiteX5" fmla="*/ 57049 w 349238"/>
                <a:gd name="connsiteY5" fmla="*/ 599262 h 660279"/>
                <a:gd name="connsiteX6" fmla="*/ 47127 w 349238"/>
                <a:gd name="connsiteY6" fmla="*/ 586860 h 660279"/>
                <a:gd name="connsiteX7" fmla="*/ 39686 w 349238"/>
                <a:gd name="connsiteY7" fmla="*/ 572474 h 660279"/>
                <a:gd name="connsiteX8" fmla="*/ 33733 w 349238"/>
                <a:gd name="connsiteY8" fmla="*/ 557592 h 660279"/>
                <a:gd name="connsiteX9" fmla="*/ 27284 w 349238"/>
                <a:gd name="connsiteY9" fmla="*/ 543205 h 660279"/>
                <a:gd name="connsiteX10" fmla="*/ 21828 w 349238"/>
                <a:gd name="connsiteY10" fmla="*/ 528323 h 660279"/>
                <a:gd name="connsiteX11" fmla="*/ 16371 w 349238"/>
                <a:gd name="connsiteY11" fmla="*/ 513441 h 660279"/>
                <a:gd name="connsiteX12" fmla="*/ 13890 w 349238"/>
                <a:gd name="connsiteY12" fmla="*/ 497566 h 660279"/>
                <a:gd name="connsiteX13" fmla="*/ 10418 w 349238"/>
                <a:gd name="connsiteY13" fmla="*/ 482188 h 660279"/>
                <a:gd name="connsiteX14" fmla="*/ 5457 w 349238"/>
                <a:gd name="connsiteY14" fmla="*/ 466810 h 660279"/>
                <a:gd name="connsiteX15" fmla="*/ 4961 w 349238"/>
                <a:gd name="connsiteY15" fmla="*/ 450935 h 660279"/>
                <a:gd name="connsiteX16" fmla="*/ 2977 w 349238"/>
                <a:gd name="connsiteY16" fmla="*/ 435060 h 660279"/>
                <a:gd name="connsiteX17" fmla="*/ 1984 w 349238"/>
                <a:gd name="connsiteY17" fmla="*/ 419186 h 660279"/>
                <a:gd name="connsiteX18" fmla="*/ 1488 w 349238"/>
                <a:gd name="connsiteY18" fmla="*/ 403312 h 660279"/>
                <a:gd name="connsiteX19" fmla="*/ 0 w 349238"/>
                <a:gd name="connsiteY19" fmla="*/ 387437 h 660279"/>
                <a:gd name="connsiteX20" fmla="*/ 1488 w 349238"/>
                <a:gd name="connsiteY20" fmla="*/ 371562 h 660279"/>
                <a:gd name="connsiteX21" fmla="*/ 496 w 349238"/>
                <a:gd name="connsiteY21" fmla="*/ 355192 h 660279"/>
                <a:gd name="connsiteX22" fmla="*/ 3969 w 349238"/>
                <a:gd name="connsiteY22" fmla="*/ 339317 h 660279"/>
                <a:gd name="connsiteX23" fmla="*/ 4961 w 349238"/>
                <a:gd name="connsiteY23" fmla="*/ 323443 h 660279"/>
                <a:gd name="connsiteX24" fmla="*/ 7441 w 349238"/>
                <a:gd name="connsiteY24" fmla="*/ 307568 h 660279"/>
                <a:gd name="connsiteX25" fmla="*/ 9922 w 349238"/>
                <a:gd name="connsiteY25" fmla="*/ 291694 h 660279"/>
                <a:gd name="connsiteX26" fmla="*/ 14386 w 349238"/>
                <a:gd name="connsiteY26" fmla="*/ 276315 h 660279"/>
                <a:gd name="connsiteX27" fmla="*/ 18851 w 349238"/>
                <a:gd name="connsiteY27" fmla="*/ 260937 h 660279"/>
                <a:gd name="connsiteX28" fmla="*/ 23316 w 349238"/>
                <a:gd name="connsiteY28" fmla="*/ 245559 h 660279"/>
                <a:gd name="connsiteX29" fmla="*/ 28772 w 349238"/>
                <a:gd name="connsiteY29" fmla="*/ 230676 h 660279"/>
                <a:gd name="connsiteX30" fmla="*/ 32245 w 349238"/>
                <a:gd name="connsiteY30" fmla="*/ 214802 h 660279"/>
                <a:gd name="connsiteX31" fmla="*/ 39190 w 349238"/>
                <a:gd name="connsiteY31" fmla="*/ 200416 h 660279"/>
                <a:gd name="connsiteX32" fmla="*/ 43655 w 349238"/>
                <a:gd name="connsiteY32" fmla="*/ 185037 h 660279"/>
                <a:gd name="connsiteX33" fmla="*/ 51592 w 349238"/>
                <a:gd name="connsiteY33" fmla="*/ 170651 h 660279"/>
                <a:gd name="connsiteX34" fmla="*/ 58041 w 349238"/>
                <a:gd name="connsiteY34" fmla="*/ 155769 h 660279"/>
                <a:gd name="connsiteX35" fmla="*/ 63498 w 349238"/>
                <a:gd name="connsiteY35" fmla="*/ 140390 h 660279"/>
                <a:gd name="connsiteX36" fmla="*/ 70939 w 349238"/>
                <a:gd name="connsiteY36" fmla="*/ 126004 h 660279"/>
                <a:gd name="connsiteX37" fmla="*/ 78877 w 349238"/>
                <a:gd name="connsiteY37" fmla="*/ 112114 h 660279"/>
                <a:gd name="connsiteX38" fmla="*/ 86318 w 349238"/>
                <a:gd name="connsiteY38" fmla="*/ 97727 h 660279"/>
                <a:gd name="connsiteX39" fmla="*/ 95247 w 349238"/>
                <a:gd name="connsiteY39" fmla="*/ 84333 h 660279"/>
                <a:gd name="connsiteX40" fmla="*/ 102688 w 349238"/>
                <a:gd name="connsiteY40" fmla="*/ 70443 h 660279"/>
                <a:gd name="connsiteX41" fmla="*/ 111618 w 349238"/>
                <a:gd name="connsiteY41" fmla="*/ 57049 h 660279"/>
                <a:gd name="connsiteX42" fmla="*/ 120051 w 349238"/>
                <a:gd name="connsiteY42" fmla="*/ 43159 h 660279"/>
                <a:gd name="connsiteX43" fmla="*/ 129477 w 349238"/>
                <a:gd name="connsiteY43" fmla="*/ 30261 h 660279"/>
                <a:gd name="connsiteX44" fmla="*/ 140390 w 349238"/>
                <a:gd name="connsiteY44" fmla="*/ 18851 h 660279"/>
                <a:gd name="connsiteX45" fmla="*/ 150808 w 349238"/>
                <a:gd name="connsiteY45" fmla="*/ 6945 h 660279"/>
                <a:gd name="connsiteX46" fmla="*/ 165194 w 349238"/>
                <a:gd name="connsiteY46" fmla="*/ 0 h 660279"/>
                <a:gd name="connsiteX47" fmla="*/ 179580 w 349238"/>
                <a:gd name="connsiteY47" fmla="*/ 7441 h 660279"/>
                <a:gd name="connsiteX48" fmla="*/ 191982 w 349238"/>
                <a:gd name="connsiteY48" fmla="*/ 18355 h 660279"/>
                <a:gd name="connsiteX49" fmla="*/ 203392 w 349238"/>
                <a:gd name="connsiteY49" fmla="*/ 30261 h 660279"/>
                <a:gd name="connsiteX50" fmla="*/ 214802 w 349238"/>
                <a:gd name="connsiteY50" fmla="*/ 42167 h 660279"/>
                <a:gd name="connsiteX51" fmla="*/ 225220 w 349238"/>
                <a:gd name="connsiteY51" fmla="*/ 55065 h 660279"/>
                <a:gd name="connsiteX52" fmla="*/ 237125 w 349238"/>
                <a:gd name="connsiteY52" fmla="*/ 66971 h 660279"/>
                <a:gd name="connsiteX53" fmla="*/ 245559 w 349238"/>
                <a:gd name="connsiteY53" fmla="*/ 81357 h 660279"/>
                <a:gd name="connsiteX54" fmla="*/ 254984 w 349238"/>
                <a:gd name="connsiteY54" fmla="*/ 94751 h 660279"/>
                <a:gd name="connsiteX55" fmla="*/ 264409 w 349238"/>
                <a:gd name="connsiteY55" fmla="*/ 108641 h 660279"/>
                <a:gd name="connsiteX56" fmla="*/ 274827 w 349238"/>
                <a:gd name="connsiteY56" fmla="*/ 121539 h 660279"/>
                <a:gd name="connsiteX57" fmla="*/ 282764 w 349238"/>
                <a:gd name="connsiteY57" fmla="*/ 135925 h 660279"/>
                <a:gd name="connsiteX58" fmla="*/ 291694 w 349238"/>
                <a:gd name="connsiteY58" fmla="*/ 149816 h 660279"/>
                <a:gd name="connsiteX59" fmla="*/ 299631 w 349238"/>
                <a:gd name="connsiteY59" fmla="*/ 164698 h 660279"/>
                <a:gd name="connsiteX60" fmla="*/ 305584 w 349238"/>
                <a:gd name="connsiteY60" fmla="*/ 180077 h 660279"/>
                <a:gd name="connsiteX61" fmla="*/ 314017 w 349238"/>
                <a:gd name="connsiteY61" fmla="*/ 194463 h 660279"/>
                <a:gd name="connsiteX62" fmla="*/ 318978 w 349238"/>
                <a:gd name="connsiteY62" fmla="*/ 210337 h 660279"/>
                <a:gd name="connsiteX63" fmla="*/ 324435 w 349238"/>
                <a:gd name="connsiteY63" fmla="*/ 226212 h 660279"/>
                <a:gd name="connsiteX64" fmla="*/ 329892 w 349238"/>
                <a:gd name="connsiteY64" fmla="*/ 242086 h 660279"/>
                <a:gd name="connsiteX65" fmla="*/ 335349 w 349238"/>
                <a:gd name="connsiteY65" fmla="*/ 257961 h 660279"/>
                <a:gd name="connsiteX66" fmla="*/ 339317 w 349238"/>
                <a:gd name="connsiteY66" fmla="*/ 273835 h 660279"/>
                <a:gd name="connsiteX67" fmla="*/ 343782 w 349238"/>
                <a:gd name="connsiteY67" fmla="*/ 289710 h 660279"/>
                <a:gd name="connsiteX68" fmla="*/ 345270 w 349238"/>
                <a:gd name="connsiteY68" fmla="*/ 306080 h 660279"/>
                <a:gd name="connsiteX69" fmla="*/ 348247 w 349238"/>
                <a:gd name="connsiteY69" fmla="*/ 322451 h 660279"/>
                <a:gd name="connsiteX70" fmla="*/ 349239 w 349238"/>
                <a:gd name="connsiteY70" fmla="*/ 338821 h 660279"/>
                <a:gd name="connsiteX71" fmla="*/ 348247 w 349238"/>
                <a:gd name="connsiteY71" fmla="*/ 355192 h 660279"/>
                <a:gd name="connsiteX72" fmla="*/ 347255 w 349238"/>
                <a:gd name="connsiteY72" fmla="*/ 371562 h 660279"/>
                <a:gd name="connsiteX73" fmla="*/ 345766 w 349238"/>
                <a:gd name="connsiteY73" fmla="*/ 387933 h 660279"/>
                <a:gd name="connsiteX74" fmla="*/ 343286 w 349238"/>
                <a:gd name="connsiteY74" fmla="*/ 404304 h 660279"/>
                <a:gd name="connsiteX75" fmla="*/ 341798 w 349238"/>
                <a:gd name="connsiteY75" fmla="*/ 420674 h 660279"/>
                <a:gd name="connsiteX76" fmla="*/ 338821 w 349238"/>
                <a:gd name="connsiteY76" fmla="*/ 437045 h 660279"/>
                <a:gd name="connsiteX77" fmla="*/ 333364 w 349238"/>
                <a:gd name="connsiteY77" fmla="*/ 452919 h 660279"/>
                <a:gd name="connsiteX78" fmla="*/ 329396 w 349238"/>
                <a:gd name="connsiteY78" fmla="*/ 468794 h 660279"/>
                <a:gd name="connsiteX79" fmla="*/ 324435 w 349238"/>
                <a:gd name="connsiteY79" fmla="*/ 484668 h 660279"/>
                <a:gd name="connsiteX80" fmla="*/ 315506 w 349238"/>
                <a:gd name="connsiteY80" fmla="*/ 498558 h 660279"/>
                <a:gd name="connsiteX81" fmla="*/ 308065 w 349238"/>
                <a:gd name="connsiteY81" fmla="*/ 513441 h 660279"/>
                <a:gd name="connsiteX82" fmla="*/ 299135 w 349238"/>
                <a:gd name="connsiteY82" fmla="*/ 527331 h 660279"/>
                <a:gd name="connsiteX83" fmla="*/ 286237 w 349238"/>
                <a:gd name="connsiteY83" fmla="*/ 537749 h 66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349238" h="660279">
                  <a:moveTo>
                    <a:pt x="106657" y="660280"/>
                  </a:moveTo>
                  <a:cubicBezTo>
                    <a:pt x="100208" y="655319"/>
                    <a:pt x="102688" y="656311"/>
                    <a:pt x="95743" y="648870"/>
                  </a:cubicBezTo>
                  <a:cubicBezTo>
                    <a:pt x="92767" y="645894"/>
                    <a:pt x="88302" y="642421"/>
                    <a:pt x="84333" y="637956"/>
                  </a:cubicBezTo>
                  <a:cubicBezTo>
                    <a:pt x="81357" y="634484"/>
                    <a:pt x="77884" y="630019"/>
                    <a:pt x="74412" y="625554"/>
                  </a:cubicBezTo>
                  <a:cubicBezTo>
                    <a:pt x="71435" y="621586"/>
                    <a:pt x="67467" y="618113"/>
                    <a:pt x="64490" y="613153"/>
                  </a:cubicBezTo>
                  <a:cubicBezTo>
                    <a:pt x="61514" y="609184"/>
                    <a:pt x="60026" y="603727"/>
                    <a:pt x="57049" y="599262"/>
                  </a:cubicBezTo>
                  <a:cubicBezTo>
                    <a:pt x="54569" y="594798"/>
                    <a:pt x="49608" y="591325"/>
                    <a:pt x="47127" y="586860"/>
                  </a:cubicBezTo>
                  <a:cubicBezTo>
                    <a:pt x="44647" y="582396"/>
                    <a:pt x="42167" y="577435"/>
                    <a:pt x="39686" y="572474"/>
                  </a:cubicBezTo>
                  <a:cubicBezTo>
                    <a:pt x="37206" y="568009"/>
                    <a:pt x="35718" y="562553"/>
                    <a:pt x="33733" y="557592"/>
                  </a:cubicBezTo>
                  <a:cubicBezTo>
                    <a:pt x="31749" y="552631"/>
                    <a:pt x="29269" y="548166"/>
                    <a:pt x="27284" y="543205"/>
                  </a:cubicBezTo>
                  <a:cubicBezTo>
                    <a:pt x="25300" y="538245"/>
                    <a:pt x="23812" y="533284"/>
                    <a:pt x="21828" y="528323"/>
                  </a:cubicBezTo>
                  <a:cubicBezTo>
                    <a:pt x="20339" y="523362"/>
                    <a:pt x="17859" y="518401"/>
                    <a:pt x="16371" y="513441"/>
                  </a:cubicBezTo>
                  <a:cubicBezTo>
                    <a:pt x="14882" y="508480"/>
                    <a:pt x="15379" y="503023"/>
                    <a:pt x="13890" y="497566"/>
                  </a:cubicBezTo>
                  <a:cubicBezTo>
                    <a:pt x="12402" y="492606"/>
                    <a:pt x="11410" y="487645"/>
                    <a:pt x="10418" y="482188"/>
                  </a:cubicBezTo>
                  <a:cubicBezTo>
                    <a:pt x="9426" y="477227"/>
                    <a:pt x="6449" y="472266"/>
                    <a:pt x="5457" y="466810"/>
                  </a:cubicBezTo>
                  <a:cubicBezTo>
                    <a:pt x="4465" y="461849"/>
                    <a:pt x="5457" y="456392"/>
                    <a:pt x="4961" y="450935"/>
                  </a:cubicBezTo>
                  <a:cubicBezTo>
                    <a:pt x="4465" y="445974"/>
                    <a:pt x="3473" y="440517"/>
                    <a:pt x="2977" y="435060"/>
                  </a:cubicBezTo>
                  <a:cubicBezTo>
                    <a:pt x="2480" y="430100"/>
                    <a:pt x="2480" y="424643"/>
                    <a:pt x="1984" y="419186"/>
                  </a:cubicBezTo>
                  <a:cubicBezTo>
                    <a:pt x="1488" y="413729"/>
                    <a:pt x="1488" y="408768"/>
                    <a:pt x="1488" y="403312"/>
                  </a:cubicBezTo>
                  <a:cubicBezTo>
                    <a:pt x="1488" y="397855"/>
                    <a:pt x="0" y="392894"/>
                    <a:pt x="0" y="387437"/>
                  </a:cubicBezTo>
                  <a:cubicBezTo>
                    <a:pt x="0" y="381980"/>
                    <a:pt x="992" y="377019"/>
                    <a:pt x="1488" y="371562"/>
                  </a:cubicBezTo>
                  <a:cubicBezTo>
                    <a:pt x="1488" y="366106"/>
                    <a:pt x="0" y="360649"/>
                    <a:pt x="496" y="355192"/>
                  </a:cubicBezTo>
                  <a:cubicBezTo>
                    <a:pt x="992" y="349735"/>
                    <a:pt x="3473" y="344774"/>
                    <a:pt x="3969" y="339317"/>
                  </a:cubicBezTo>
                  <a:cubicBezTo>
                    <a:pt x="4465" y="333861"/>
                    <a:pt x="3969" y="328404"/>
                    <a:pt x="4961" y="323443"/>
                  </a:cubicBezTo>
                  <a:cubicBezTo>
                    <a:pt x="5953" y="317986"/>
                    <a:pt x="6449" y="313025"/>
                    <a:pt x="7441" y="307568"/>
                  </a:cubicBezTo>
                  <a:cubicBezTo>
                    <a:pt x="8433" y="302112"/>
                    <a:pt x="8929" y="296655"/>
                    <a:pt x="9922" y="291694"/>
                  </a:cubicBezTo>
                  <a:cubicBezTo>
                    <a:pt x="10914" y="286237"/>
                    <a:pt x="12898" y="281276"/>
                    <a:pt x="14386" y="276315"/>
                  </a:cubicBezTo>
                  <a:cubicBezTo>
                    <a:pt x="15379" y="270859"/>
                    <a:pt x="17363" y="265898"/>
                    <a:pt x="18851" y="260937"/>
                  </a:cubicBezTo>
                  <a:cubicBezTo>
                    <a:pt x="20339" y="255976"/>
                    <a:pt x="21828" y="250519"/>
                    <a:pt x="23316" y="245559"/>
                  </a:cubicBezTo>
                  <a:cubicBezTo>
                    <a:pt x="24804" y="240598"/>
                    <a:pt x="27284" y="235637"/>
                    <a:pt x="28772" y="230676"/>
                  </a:cubicBezTo>
                  <a:cubicBezTo>
                    <a:pt x="30261" y="225715"/>
                    <a:pt x="30261" y="219763"/>
                    <a:pt x="32245" y="214802"/>
                  </a:cubicBezTo>
                  <a:cubicBezTo>
                    <a:pt x="34230" y="209841"/>
                    <a:pt x="37206" y="205376"/>
                    <a:pt x="39190" y="200416"/>
                  </a:cubicBezTo>
                  <a:cubicBezTo>
                    <a:pt x="41174" y="195455"/>
                    <a:pt x="41671" y="189998"/>
                    <a:pt x="43655" y="185037"/>
                  </a:cubicBezTo>
                  <a:cubicBezTo>
                    <a:pt x="45639" y="180077"/>
                    <a:pt x="49112" y="175612"/>
                    <a:pt x="51592" y="170651"/>
                  </a:cubicBezTo>
                  <a:cubicBezTo>
                    <a:pt x="53576" y="165690"/>
                    <a:pt x="55561" y="160729"/>
                    <a:pt x="58041" y="155769"/>
                  </a:cubicBezTo>
                  <a:cubicBezTo>
                    <a:pt x="60026" y="150808"/>
                    <a:pt x="61018" y="145351"/>
                    <a:pt x="63498" y="140390"/>
                  </a:cubicBezTo>
                  <a:cubicBezTo>
                    <a:pt x="65978" y="135430"/>
                    <a:pt x="68459" y="130965"/>
                    <a:pt x="70939" y="126004"/>
                  </a:cubicBezTo>
                  <a:cubicBezTo>
                    <a:pt x="73419" y="121043"/>
                    <a:pt x="76396" y="116578"/>
                    <a:pt x="78877" y="112114"/>
                  </a:cubicBezTo>
                  <a:cubicBezTo>
                    <a:pt x="81357" y="107153"/>
                    <a:pt x="83837" y="102688"/>
                    <a:pt x="86318" y="97727"/>
                  </a:cubicBezTo>
                  <a:cubicBezTo>
                    <a:pt x="88798" y="92767"/>
                    <a:pt x="92271" y="88798"/>
                    <a:pt x="95247" y="84333"/>
                  </a:cubicBezTo>
                  <a:cubicBezTo>
                    <a:pt x="98223" y="79372"/>
                    <a:pt x="100208" y="74412"/>
                    <a:pt x="102688" y="70443"/>
                  </a:cubicBezTo>
                  <a:cubicBezTo>
                    <a:pt x="105665" y="65979"/>
                    <a:pt x="108641" y="61514"/>
                    <a:pt x="111618" y="57049"/>
                  </a:cubicBezTo>
                  <a:cubicBezTo>
                    <a:pt x="114594" y="52584"/>
                    <a:pt x="117075" y="47624"/>
                    <a:pt x="120051" y="43159"/>
                  </a:cubicBezTo>
                  <a:cubicBezTo>
                    <a:pt x="123524" y="38694"/>
                    <a:pt x="126500" y="34229"/>
                    <a:pt x="129477" y="30261"/>
                  </a:cubicBezTo>
                  <a:cubicBezTo>
                    <a:pt x="132949" y="25796"/>
                    <a:pt x="137414" y="22324"/>
                    <a:pt x="140390" y="18851"/>
                  </a:cubicBezTo>
                  <a:cubicBezTo>
                    <a:pt x="144359" y="14386"/>
                    <a:pt x="147335" y="9426"/>
                    <a:pt x="150808" y="6945"/>
                  </a:cubicBezTo>
                  <a:cubicBezTo>
                    <a:pt x="156761" y="1984"/>
                    <a:pt x="161722" y="0"/>
                    <a:pt x="165194" y="0"/>
                  </a:cubicBezTo>
                  <a:cubicBezTo>
                    <a:pt x="168667" y="0"/>
                    <a:pt x="173627" y="2480"/>
                    <a:pt x="179580" y="7441"/>
                  </a:cubicBezTo>
                  <a:cubicBezTo>
                    <a:pt x="183549" y="10418"/>
                    <a:pt x="187517" y="13890"/>
                    <a:pt x="191982" y="18355"/>
                  </a:cubicBezTo>
                  <a:cubicBezTo>
                    <a:pt x="195455" y="21828"/>
                    <a:pt x="199423" y="25796"/>
                    <a:pt x="203392" y="30261"/>
                  </a:cubicBezTo>
                  <a:cubicBezTo>
                    <a:pt x="206865" y="34229"/>
                    <a:pt x="211329" y="37702"/>
                    <a:pt x="214802" y="42167"/>
                  </a:cubicBezTo>
                  <a:cubicBezTo>
                    <a:pt x="218274" y="46135"/>
                    <a:pt x="221747" y="50600"/>
                    <a:pt x="225220" y="55065"/>
                  </a:cubicBezTo>
                  <a:cubicBezTo>
                    <a:pt x="228692" y="59033"/>
                    <a:pt x="233157" y="62506"/>
                    <a:pt x="237125" y="66971"/>
                  </a:cubicBezTo>
                  <a:cubicBezTo>
                    <a:pt x="240598" y="71435"/>
                    <a:pt x="242582" y="76892"/>
                    <a:pt x="245559" y="81357"/>
                  </a:cubicBezTo>
                  <a:cubicBezTo>
                    <a:pt x="248535" y="85822"/>
                    <a:pt x="252008" y="90286"/>
                    <a:pt x="254984" y="94751"/>
                  </a:cubicBezTo>
                  <a:cubicBezTo>
                    <a:pt x="257961" y="99216"/>
                    <a:pt x="260937" y="103680"/>
                    <a:pt x="264409" y="108641"/>
                  </a:cubicBezTo>
                  <a:cubicBezTo>
                    <a:pt x="267386" y="113106"/>
                    <a:pt x="271851" y="117075"/>
                    <a:pt x="274827" y="121539"/>
                  </a:cubicBezTo>
                  <a:cubicBezTo>
                    <a:pt x="277804" y="126004"/>
                    <a:pt x="280284" y="130965"/>
                    <a:pt x="282764" y="135925"/>
                  </a:cubicBezTo>
                  <a:cubicBezTo>
                    <a:pt x="285741" y="140886"/>
                    <a:pt x="289213" y="144855"/>
                    <a:pt x="291694" y="149816"/>
                  </a:cubicBezTo>
                  <a:cubicBezTo>
                    <a:pt x="294174" y="154776"/>
                    <a:pt x="296655" y="159737"/>
                    <a:pt x="299631" y="164698"/>
                  </a:cubicBezTo>
                  <a:cubicBezTo>
                    <a:pt x="302112" y="169659"/>
                    <a:pt x="303104" y="175116"/>
                    <a:pt x="305584" y="180077"/>
                  </a:cubicBezTo>
                  <a:cubicBezTo>
                    <a:pt x="308065" y="185037"/>
                    <a:pt x="312033" y="189502"/>
                    <a:pt x="314017" y="194463"/>
                  </a:cubicBezTo>
                  <a:cubicBezTo>
                    <a:pt x="316498" y="199423"/>
                    <a:pt x="316994" y="205376"/>
                    <a:pt x="318978" y="210337"/>
                  </a:cubicBezTo>
                  <a:cubicBezTo>
                    <a:pt x="320962" y="215298"/>
                    <a:pt x="322451" y="220755"/>
                    <a:pt x="324435" y="226212"/>
                  </a:cubicBezTo>
                  <a:cubicBezTo>
                    <a:pt x="326419" y="231172"/>
                    <a:pt x="327908" y="236629"/>
                    <a:pt x="329892" y="242086"/>
                  </a:cubicBezTo>
                  <a:cubicBezTo>
                    <a:pt x="331380" y="247543"/>
                    <a:pt x="333860" y="252504"/>
                    <a:pt x="335349" y="257961"/>
                  </a:cubicBezTo>
                  <a:cubicBezTo>
                    <a:pt x="336837" y="263418"/>
                    <a:pt x="338325" y="268378"/>
                    <a:pt x="339317" y="273835"/>
                  </a:cubicBezTo>
                  <a:cubicBezTo>
                    <a:pt x="340806" y="279292"/>
                    <a:pt x="342790" y="284253"/>
                    <a:pt x="343782" y="289710"/>
                  </a:cubicBezTo>
                  <a:cubicBezTo>
                    <a:pt x="344774" y="295166"/>
                    <a:pt x="344774" y="300623"/>
                    <a:pt x="345270" y="306080"/>
                  </a:cubicBezTo>
                  <a:cubicBezTo>
                    <a:pt x="345766" y="311537"/>
                    <a:pt x="347751" y="316994"/>
                    <a:pt x="348247" y="322451"/>
                  </a:cubicBezTo>
                  <a:cubicBezTo>
                    <a:pt x="348743" y="327908"/>
                    <a:pt x="349239" y="333364"/>
                    <a:pt x="349239" y="338821"/>
                  </a:cubicBezTo>
                  <a:cubicBezTo>
                    <a:pt x="349239" y="344278"/>
                    <a:pt x="348743" y="350231"/>
                    <a:pt x="348247" y="355192"/>
                  </a:cubicBezTo>
                  <a:cubicBezTo>
                    <a:pt x="348247" y="360649"/>
                    <a:pt x="347255" y="366602"/>
                    <a:pt x="347255" y="371562"/>
                  </a:cubicBezTo>
                  <a:cubicBezTo>
                    <a:pt x="346759" y="377019"/>
                    <a:pt x="346262" y="382476"/>
                    <a:pt x="345766" y="387933"/>
                  </a:cubicBezTo>
                  <a:cubicBezTo>
                    <a:pt x="345270" y="393390"/>
                    <a:pt x="343782" y="398847"/>
                    <a:pt x="343286" y="404304"/>
                  </a:cubicBezTo>
                  <a:cubicBezTo>
                    <a:pt x="342790" y="409761"/>
                    <a:pt x="342790" y="415714"/>
                    <a:pt x="341798" y="420674"/>
                  </a:cubicBezTo>
                  <a:cubicBezTo>
                    <a:pt x="340806" y="426131"/>
                    <a:pt x="340310" y="431588"/>
                    <a:pt x="338821" y="437045"/>
                  </a:cubicBezTo>
                  <a:cubicBezTo>
                    <a:pt x="337333" y="442502"/>
                    <a:pt x="334853" y="447462"/>
                    <a:pt x="333364" y="452919"/>
                  </a:cubicBezTo>
                  <a:cubicBezTo>
                    <a:pt x="331876" y="458376"/>
                    <a:pt x="330884" y="463833"/>
                    <a:pt x="329396" y="468794"/>
                  </a:cubicBezTo>
                  <a:cubicBezTo>
                    <a:pt x="327411" y="474251"/>
                    <a:pt x="326419" y="479707"/>
                    <a:pt x="324435" y="484668"/>
                  </a:cubicBezTo>
                  <a:cubicBezTo>
                    <a:pt x="321955" y="490125"/>
                    <a:pt x="317986" y="494094"/>
                    <a:pt x="315506" y="498558"/>
                  </a:cubicBezTo>
                  <a:cubicBezTo>
                    <a:pt x="312529" y="504015"/>
                    <a:pt x="311041" y="508976"/>
                    <a:pt x="308065" y="513441"/>
                  </a:cubicBezTo>
                  <a:cubicBezTo>
                    <a:pt x="304592" y="518898"/>
                    <a:pt x="302112" y="523858"/>
                    <a:pt x="299135" y="527331"/>
                  </a:cubicBezTo>
                  <a:cubicBezTo>
                    <a:pt x="292190" y="535268"/>
                    <a:pt x="293182" y="533284"/>
                    <a:pt x="286237" y="53774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01997C7B-F677-ECDC-191A-D843C64BB227}"/>
                </a:ext>
              </a:extLst>
            </p:cNvPr>
            <p:cNvSpPr/>
            <p:nvPr/>
          </p:nvSpPr>
          <p:spPr>
            <a:xfrm>
              <a:off x="3730376" y="3699144"/>
              <a:ext cx="73818" cy="196555"/>
            </a:xfrm>
            <a:custGeom>
              <a:avLst/>
              <a:gdLst>
                <a:gd name="connsiteX0" fmla="*/ 1488 w 73818"/>
                <a:gd name="connsiteY0" fmla="*/ 123632 h 196555"/>
                <a:gd name="connsiteX1" fmla="*/ 8433 w 73818"/>
                <a:gd name="connsiteY1" fmla="*/ 109246 h 196555"/>
                <a:gd name="connsiteX2" fmla="*/ 15875 w 73818"/>
                <a:gd name="connsiteY2" fmla="*/ 95355 h 196555"/>
                <a:gd name="connsiteX3" fmla="*/ 23316 w 73818"/>
                <a:gd name="connsiteY3" fmla="*/ 81465 h 196555"/>
                <a:gd name="connsiteX4" fmla="*/ 29765 w 73818"/>
                <a:gd name="connsiteY4" fmla="*/ 67079 h 196555"/>
                <a:gd name="connsiteX5" fmla="*/ 38198 w 73818"/>
                <a:gd name="connsiteY5" fmla="*/ 53189 h 196555"/>
                <a:gd name="connsiteX6" fmla="*/ 46631 w 73818"/>
                <a:gd name="connsiteY6" fmla="*/ 39795 h 196555"/>
                <a:gd name="connsiteX7" fmla="*/ 53576 w 73818"/>
                <a:gd name="connsiteY7" fmla="*/ 25408 h 196555"/>
                <a:gd name="connsiteX8" fmla="*/ 63002 w 73818"/>
                <a:gd name="connsiteY8" fmla="*/ 12510 h 196555"/>
                <a:gd name="connsiteX9" fmla="*/ 73419 w 73818"/>
                <a:gd name="connsiteY9" fmla="*/ 108 h 196555"/>
                <a:gd name="connsiteX10" fmla="*/ 69451 w 73818"/>
                <a:gd name="connsiteY10" fmla="*/ 16479 h 196555"/>
                <a:gd name="connsiteX11" fmla="*/ 65978 w 73818"/>
                <a:gd name="connsiteY11" fmla="*/ 32353 h 196555"/>
                <a:gd name="connsiteX12" fmla="*/ 59529 w 73818"/>
                <a:gd name="connsiteY12" fmla="*/ 47236 h 196555"/>
                <a:gd name="connsiteX13" fmla="*/ 55561 w 73818"/>
                <a:gd name="connsiteY13" fmla="*/ 63110 h 196555"/>
                <a:gd name="connsiteX14" fmla="*/ 48616 w 73818"/>
                <a:gd name="connsiteY14" fmla="*/ 77496 h 196555"/>
                <a:gd name="connsiteX15" fmla="*/ 43655 w 73818"/>
                <a:gd name="connsiteY15" fmla="*/ 92875 h 196555"/>
                <a:gd name="connsiteX16" fmla="*/ 36214 w 73818"/>
                <a:gd name="connsiteY16" fmla="*/ 107261 h 196555"/>
                <a:gd name="connsiteX17" fmla="*/ 31749 w 73818"/>
                <a:gd name="connsiteY17" fmla="*/ 122640 h 196555"/>
                <a:gd name="connsiteX18" fmla="*/ 25796 w 73818"/>
                <a:gd name="connsiteY18" fmla="*/ 137522 h 196555"/>
                <a:gd name="connsiteX19" fmla="*/ 19347 w 73818"/>
                <a:gd name="connsiteY19" fmla="*/ 152404 h 196555"/>
                <a:gd name="connsiteX20" fmla="*/ 13394 w 73818"/>
                <a:gd name="connsiteY20" fmla="*/ 167287 h 196555"/>
                <a:gd name="connsiteX21" fmla="*/ 5953 w 73818"/>
                <a:gd name="connsiteY21" fmla="*/ 181673 h 196555"/>
                <a:gd name="connsiteX22" fmla="*/ 0 w 73818"/>
                <a:gd name="connsiteY22" fmla="*/ 196555 h 19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3818" h="196555">
                  <a:moveTo>
                    <a:pt x="1488" y="123632"/>
                  </a:moveTo>
                  <a:cubicBezTo>
                    <a:pt x="4961" y="116687"/>
                    <a:pt x="3969" y="117679"/>
                    <a:pt x="8433" y="109246"/>
                  </a:cubicBezTo>
                  <a:cubicBezTo>
                    <a:pt x="10418" y="105277"/>
                    <a:pt x="13394" y="100316"/>
                    <a:pt x="15875" y="95355"/>
                  </a:cubicBezTo>
                  <a:cubicBezTo>
                    <a:pt x="18355" y="90891"/>
                    <a:pt x="20835" y="85930"/>
                    <a:pt x="23316" y="81465"/>
                  </a:cubicBezTo>
                  <a:cubicBezTo>
                    <a:pt x="25796" y="77000"/>
                    <a:pt x="27284" y="71543"/>
                    <a:pt x="29765" y="67079"/>
                  </a:cubicBezTo>
                  <a:cubicBezTo>
                    <a:pt x="32245" y="62614"/>
                    <a:pt x="35222" y="58150"/>
                    <a:pt x="38198" y="53189"/>
                  </a:cubicBezTo>
                  <a:cubicBezTo>
                    <a:pt x="40678" y="48228"/>
                    <a:pt x="44151" y="44259"/>
                    <a:pt x="46631" y="39795"/>
                  </a:cubicBezTo>
                  <a:cubicBezTo>
                    <a:pt x="49608" y="34834"/>
                    <a:pt x="51096" y="29873"/>
                    <a:pt x="53576" y="25408"/>
                  </a:cubicBezTo>
                  <a:cubicBezTo>
                    <a:pt x="56553" y="20447"/>
                    <a:pt x="60522" y="16479"/>
                    <a:pt x="63002" y="12510"/>
                  </a:cubicBezTo>
                  <a:cubicBezTo>
                    <a:pt x="67963" y="5069"/>
                    <a:pt x="71931" y="-884"/>
                    <a:pt x="73419" y="108"/>
                  </a:cubicBezTo>
                  <a:cubicBezTo>
                    <a:pt x="74908" y="1101"/>
                    <a:pt x="71931" y="7053"/>
                    <a:pt x="69451" y="16479"/>
                  </a:cubicBezTo>
                  <a:cubicBezTo>
                    <a:pt x="67963" y="20944"/>
                    <a:pt x="67963" y="26400"/>
                    <a:pt x="65978" y="32353"/>
                  </a:cubicBezTo>
                  <a:cubicBezTo>
                    <a:pt x="64490" y="36818"/>
                    <a:pt x="61514" y="41779"/>
                    <a:pt x="59529" y="47236"/>
                  </a:cubicBezTo>
                  <a:cubicBezTo>
                    <a:pt x="57545" y="52197"/>
                    <a:pt x="57545" y="57653"/>
                    <a:pt x="55561" y="63110"/>
                  </a:cubicBezTo>
                  <a:cubicBezTo>
                    <a:pt x="53576" y="68071"/>
                    <a:pt x="50600" y="72536"/>
                    <a:pt x="48616" y="77496"/>
                  </a:cubicBezTo>
                  <a:cubicBezTo>
                    <a:pt x="46631" y="82457"/>
                    <a:pt x="45639" y="87914"/>
                    <a:pt x="43655" y="92875"/>
                  </a:cubicBezTo>
                  <a:cubicBezTo>
                    <a:pt x="41671" y="97836"/>
                    <a:pt x="38198" y="102300"/>
                    <a:pt x="36214" y="107261"/>
                  </a:cubicBezTo>
                  <a:cubicBezTo>
                    <a:pt x="34230" y="112222"/>
                    <a:pt x="33733" y="117679"/>
                    <a:pt x="31749" y="122640"/>
                  </a:cubicBezTo>
                  <a:cubicBezTo>
                    <a:pt x="29765" y="127600"/>
                    <a:pt x="27781" y="132561"/>
                    <a:pt x="25796" y="137522"/>
                  </a:cubicBezTo>
                  <a:cubicBezTo>
                    <a:pt x="23812" y="142483"/>
                    <a:pt x="21331" y="147444"/>
                    <a:pt x="19347" y="152404"/>
                  </a:cubicBezTo>
                  <a:cubicBezTo>
                    <a:pt x="17363" y="157861"/>
                    <a:pt x="15379" y="162822"/>
                    <a:pt x="13394" y="167287"/>
                  </a:cubicBezTo>
                  <a:cubicBezTo>
                    <a:pt x="10914" y="172743"/>
                    <a:pt x="7937" y="177208"/>
                    <a:pt x="5953" y="181673"/>
                  </a:cubicBezTo>
                  <a:cubicBezTo>
                    <a:pt x="1984" y="191098"/>
                    <a:pt x="2977" y="189114"/>
                    <a:pt x="0" y="1965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8C89F6-45B7-4AB4-5F16-DAA214B0822D}"/>
                </a:ext>
              </a:extLst>
            </p:cNvPr>
            <p:cNvSpPr/>
            <p:nvPr/>
          </p:nvSpPr>
          <p:spPr>
            <a:xfrm>
              <a:off x="3591271" y="3795950"/>
              <a:ext cx="72134" cy="194996"/>
            </a:xfrm>
            <a:custGeom>
              <a:avLst/>
              <a:gdLst>
                <a:gd name="connsiteX0" fmla="*/ 72134 w 72134"/>
                <a:gd name="connsiteY0" fmla="*/ 124057 h 194996"/>
                <a:gd name="connsiteX1" fmla="*/ 66678 w 72134"/>
                <a:gd name="connsiteY1" fmla="*/ 108678 h 194996"/>
                <a:gd name="connsiteX2" fmla="*/ 58740 w 72134"/>
                <a:gd name="connsiteY2" fmla="*/ 94788 h 194996"/>
                <a:gd name="connsiteX3" fmla="*/ 50803 w 72134"/>
                <a:gd name="connsiteY3" fmla="*/ 80898 h 194996"/>
                <a:gd name="connsiteX4" fmla="*/ 43362 w 72134"/>
                <a:gd name="connsiteY4" fmla="*/ 67008 h 194996"/>
                <a:gd name="connsiteX5" fmla="*/ 35921 w 72134"/>
                <a:gd name="connsiteY5" fmla="*/ 52622 h 194996"/>
                <a:gd name="connsiteX6" fmla="*/ 27984 w 72134"/>
                <a:gd name="connsiteY6" fmla="*/ 38732 h 194996"/>
                <a:gd name="connsiteX7" fmla="*/ 19550 w 72134"/>
                <a:gd name="connsiteY7" fmla="*/ 25337 h 194996"/>
                <a:gd name="connsiteX8" fmla="*/ 11117 w 72134"/>
                <a:gd name="connsiteY8" fmla="*/ 11447 h 194996"/>
                <a:gd name="connsiteX9" fmla="*/ 699 w 72134"/>
                <a:gd name="connsiteY9" fmla="*/ 37 h 194996"/>
                <a:gd name="connsiteX10" fmla="*/ 2684 w 72134"/>
                <a:gd name="connsiteY10" fmla="*/ 15416 h 194996"/>
                <a:gd name="connsiteX11" fmla="*/ 7644 w 72134"/>
                <a:gd name="connsiteY11" fmla="*/ 30794 h 194996"/>
                <a:gd name="connsiteX12" fmla="*/ 12109 w 72134"/>
                <a:gd name="connsiteY12" fmla="*/ 46173 h 194996"/>
                <a:gd name="connsiteX13" fmla="*/ 19054 w 72134"/>
                <a:gd name="connsiteY13" fmla="*/ 60559 h 194996"/>
                <a:gd name="connsiteX14" fmla="*/ 24511 w 72134"/>
                <a:gd name="connsiteY14" fmla="*/ 75441 h 194996"/>
                <a:gd name="connsiteX15" fmla="*/ 30464 w 72134"/>
                <a:gd name="connsiteY15" fmla="*/ 90324 h 194996"/>
                <a:gd name="connsiteX16" fmla="*/ 35921 w 72134"/>
                <a:gd name="connsiteY16" fmla="*/ 105702 h 194996"/>
                <a:gd name="connsiteX17" fmla="*/ 42866 w 72134"/>
                <a:gd name="connsiteY17" fmla="*/ 120088 h 194996"/>
                <a:gd name="connsiteX18" fmla="*/ 48323 w 72134"/>
                <a:gd name="connsiteY18" fmla="*/ 135467 h 194996"/>
                <a:gd name="connsiteX19" fmla="*/ 53284 w 72134"/>
                <a:gd name="connsiteY19" fmla="*/ 150845 h 194996"/>
                <a:gd name="connsiteX20" fmla="*/ 60229 w 72134"/>
                <a:gd name="connsiteY20" fmla="*/ 165231 h 194996"/>
                <a:gd name="connsiteX21" fmla="*/ 67174 w 72134"/>
                <a:gd name="connsiteY21" fmla="*/ 179618 h 194996"/>
                <a:gd name="connsiteX22" fmla="*/ 72134 w 72134"/>
                <a:gd name="connsiteY22" fmla="*/ 194996 h 19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2134" h="194996">
                  <a:moveTo>
                    <a:pt x="72134" y="124057"/>
                  </a:moveTo>
                  <a:cubicBezTo>
                    <a:pt x="68662" y="117112"/>
                    <a:pt x="71142" y="117608"/>
                    <a:pt x="66678" y="108678"/>
                  </a:cubicBezTo>
                  <a:cubicBezTo>
                    <a:pt x="64693" y="104710"/>
                    <a:pt x="61221" y="100245"/>
                    <a:pt x="58740" y="94788"/>
                  </a:cubicBezTo>
                  <a:cubicBezTo>
                    <a:pt x="56260" y="90324"/>
                    <a:pt x="53284" y="85859"/>
                    <a:pt x="50803" y="80898"/>
                  </a:cubicBezTo>
                  <a:cubicBezTo>
                    <a:pt x="48323" y="76433"/>
                    <a:pt x="45842" y="71473"/>
                    <a:pt x="43362" y="67008"/>
                  </a:cubicBezTo>
                  <a:cubicBezTo>
                    <a:pt x="40882" y="62543"/>
                    <a:pt x="38897" y="57582"/>
                    <a:pt x="35921" y="52622"/>
                  </a:cubicBezTo>
                  <a:cubicBezTo>
                    <a:pt x="33440" y="47661"/>
                    <a:pt x="30464" y="43196"/>
                    <a:pt x="27984" y="38732"/>
                  </a:cubicBezTo>
                  <a:cubicBezTo>
                    <a:pt x="25007" y="33771"/>
                    <a:pt x="22031" y="29306"/>
                    <a:pt x="19550" y="25337"/>
                  </a:cubicBezTo>
                  <a:cubicBezTo>
                    <a:pt x="16574" y="20377"/>
                    <a:pt x="14093" y="15416"/>
                    <a:pt x="11117" y="11447"/>
                  </a:cubicBezTo>
                  <a:cubicBezTo>
                    <a:pt x="6156" y="4006"/>
                    <a:pt x="2188" y="-459"/>
                    <a:pt x="699" y="37"/>
                  </a:cubicBezTo>
                  <a:cubicBezTo>
                    <a:pt x="-789" y="1030"/>
                    <a:pt x="203" y="6486"/>
                    <a:pt x="2684" y="15416"/>
                  </a:cubicBezTo>
                  <a:cubicBezTo>
                    <a:pt x="4172" y="19881"/>
                    <a:pt x="5660" y="24841"/>
                    <a:pt x="7644" y="30794"/>
                  </a:cubicBezTo>
                  <a:cubicBezTo>
                    <a:pt x="9132" y="35259"/>
                    <a:pt x="10125" y="40716"/>
                    <a:pt x="12109" y="46173"/>
                  </a:cubicBezTo>
                  <a:cubicBezTo>
                    <a:pt x="14093" y="51133"/>
                    <a:pt x="17070" y="55598"/>
                    <a:pt x="19054" y="60559"/>
                  </a:cubicBezTo>
                  <a:cubicBezTo>
                    <a:pt x="21038" y="65520"/>
                    <a:pt x="22527" y="70481"/>
                    <a:pt x="24511" y="75441"/>
                  </a:cubicBezTo>
                  <a:cubicBezTo>
                    <a:pt x="26495" y="80402"/>
                    <a:pt x="28480" y="85363"/>
                    <a:pt x="30464" y="90324"/>
                  </a:cubicBezTo>
                  <a:cubicBezTo>
                    <a:pt x="32448" y="95285"/>
                    <a:pt x="33936" y="100245"/>
                    <a:pt x="35921" y="105702"/>
                  </a:cubicBezTo>
                  <a:cubicBezTo>
                    <a:pt x="37905" y="110663"/>
                    <a:pt x="40882" y="115128"/>
                    <a:pt x="42866" y="120088"/>
                  </a:cubicBezTo>
                  <a:cubicBezTo>
                    <a:pt x="44850" y="125049"/>
                    <a:pt x="46338" y="130506"/>
                    <a:pt x="48323" y="135467"/>
                  </a:cubicBezTo>
                  <a:cubicBezTo>
                    <a:pt x="50307" y="140427"/>
                    <a:pt x="51299" y="145884"/>
                    <a:pt x="53284" y="150845"/>
                  </a:cubicBezTo>
                  <a:cubicBezTo>
                    <a:pt x="55268" y="156302"/>
                    <a:pt x="58244" y="160767"/>
                    <a:pt x="60229" y="165231"/>
                  </a:cubicBezTo>
                  <a:cubicBezTo>
                    <a:pt x="62709" y="170688"/>
                    <a:pt x="65190" y="175649"/>
                    <a:pt x="67174" y="179618"/>
                  </a:cubicBezTo>
                  <a:cubicBezTo>
                    <a:pt x="71142" y="189043"/>
                    <a:pt x="68662" y="187555"/>
                    <a:pt x="72134" y="1949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102E042E-B205-48B5-C14C-8E9C5B5CC72C}"/>
                </a:ext>
              </a:extLst>
            </p:cNvPr>
            <p:cNvSpPr/>
            <p:nvPr/>
          </p:nvSpPr>
          <p:spPr>
            <a:xfrm>
              <a:off x="4028298" y="4217158"/>
              <a:ext cx="153012" cy="189137"/>
            </a:xfrm>
            <a:custGeom>
              <a:avLst/>
              <a:gdLst>
                <a:gd name="connsiteX0" fmla="*/ 40899 w 153012"/>
                <a:gd name="connsiteY0" fmla="*/ 0 h 189137"/>
                <a:gd name="connsiteX1" fmla="*/ 30977 w 153012"/>
                <a:gd name="connsiteY1" fmla="*/ 10914 h 189137"/>
                <a:gd name="connsiteX2" fmla="*/ 24528 w 153012"/>
                <a:gd name="connsiteY2" fmla="*/ 23812 h 189137"/>
                <a:gd name="connsiteX3" fmla="*/ 16591 w 153012"/>
                <a:gd name="connsiteY3" fmla="*/ 35718 h 189137"/>
                <a:gd name="connsiteX4" fmla="*/ 10638 w 153012"/>
                <a:gd name="connsiteY4" fmla="*/ 48616 h 189137"/>
                <a:gd name="connsiteX5" fmla="*/ 4685 w 153012"/>
                <a:gd name="connsiteY5" fmla="*/ 63002 h 189137"/>
                <a:gd name="connsiteX6" fmla="*/ 1212 w 153012"/>
                <a:gd name="connsiteY6" fmla="*/ 77884 h 189137"/>
                <a:gd name="connsiteX7" fmla="*/ 221 w 153012"/>
                <a:gd name="connsiteY7" fmla="*/ 93263 h 189137"/>
                <a:gd name="connsiteX8" fmla="*/ 221 w 153012"/>
                <a:gd name="connsiteY8" fmla="*/ 108641 h 189137"/>
                <a:gd name="connsiteX9" fmla="*/ 1212 w 153012"/>
                <a:gd name="connsiteY9" fmla="*/ 124019 h 189137"/>
                <a:gd name="connsiteX10" fmla="*/ 4685 w 153012"/>
                <a:gd name="connsiteY10" fmla="*/ 138902 h 189137"/>
                <a:gd name="connsiteX11" fmla="*/ 9150 w 153012"/>
                <a:gd name="connsiteY11" fmla="*/ 153784 h 189137"/>
                <a:gd name="connsiteX12" fmla="*/ 19567 w 153012"/>
                <a:gd name="connsiteY12" fmla="*/ 165690 h 189137"/>
                <a:gd name="connsiteX13" fmla="*/ 29985 w 153012"/>
                <a:gd name="connsiteY13" fmla="*/ 177100 h 189137"/>
                <a:gd name="connsiteX14" fmla="*/ 42883 w 153012"/>
                <a:gd name="connsiteY14" fmla="*/ 186029 h 189137"/>
                <a:gd name="connsiteX15" fmla="*/ 59750 w 153012"/>
                <a:gd name="connsiteY15" fmla="*/ 189006 h 189137"/>
                <a:gd name="connsiteX16" fmla="*/ 76616 w 153012"/>
                <a:gd name="connsiteY16" fmla="*/ 187518 h 189137"/>
                <a:gd name="connsiteX17" fmla="*/ 93483 w 153012"/>
                <a:gd name="connsiteY17" fmla="*/ 184541 h 189137"/>
                <a:gd name="connsiteX18" fmla="*/ 108861 w 153012"/>
                <a:gd name="connsiteY18" fmla="*/ 177100 h 189137"/>
                <a:gd name="connsiteX19" fmla="*/ 121760 w 153012"/>
                <a:gd name="connsiteY19" fmla="*/ 166186 h 189137"/>
                <a:gd name="connsiteX20" fmla="*/ 134162 w 153012"/>
                <a:gd name="connsiteY20" fmla="*/ 154280 h 189137"/>
                <a:gd name="connsiteX21" fmla="*/ 144579 w 153012"/>
                <a:gd name="connsiteY21" fmla="*/ 140886 h 189137"/>
                <a:gd name="connsiteX22" fmla="*/ 153013 w 153012"/>
                <a:gd name="connsiteY22" fmla="*/ 126004 h 18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3012" h="189137">
                  <a:moveTo>
                    <a:pt x="40899" y="0"/>
                  </a:moveTo>
                  <a:cubicBezTo>
                    <a:pt x="37426" y="3473"/>
                    <a:pt x="34450" y="6945"/>
                    <a:pt x="30977" y="10914"/>
                  </a:cubicBezTo>
                  <a:cubicBezTo>
                    <a:pt x="28001" y="14386"/>
                    <a:pt x="27009" y="19843"/>
                    <a:pt x="24528" y="23812"/>
                  </a:cubicBezTo>
                  <a:cubicBezTo>
                    <a:pt x="22048" y="27781"/>
                    <a:pt x="19071" y="31749"/>
                    <a:pt x="16591" y="35718"/>
                  </a:cubicBezTo>
                  <a:cubicBezTo>
                    <a:pt x="14607" y="39686"/>
                    <a:pt x="12126" y="44151"/>
                    <a:pt x="10638" y="48616"/>
                  </a:cubicBezTo>
                  <a:cubicBezTo>
                    <a:pt x="8654" y="53577"/>
                    <a:pt x="5677" y="58041"/>
                    <a:pt x="4685" y="63002"/>
                  </a:cubicBezTo>
                  <a:cubicBezTo>
                    <a:pt x="3197" y="67963"/>
                    <a:pt x="2205" y="72924"/>
                    <a:pt x="1212" y="77884"/>
                  </a:cubicBezTo>
                  <a:cubicBezTo>
                    <a:pt x="221" y="82845"/>
                    <a:pt x="717" y="88302"/>
                    <a:pt x="221" y="93263"/>
                  </a:cubicBezTo>
                  <a:cubicBezTo>
                    <a:pt x="-276" y="98720"/>
                    <a:pt x="221" y="103680"/>
                    <a:pt x="221" y="108641"/>
                  </a:cubicBezTo>
                  <a:cubicBezTo>
                    <a:pt x="221" y="114098"/>
                    <a:pt x="717" y="119059"/>
                    <a:pt x="1212" y="124019"/>
                  </a:cubicBezTo>
                  <a:cubicBezTo>
                    <a:pt x="2205" y="129477"/>
                    <a:pt x="3197" y="133941"/>
                    <a:pt x="4685" y="138902"/>
                  </a:cubicBezTo>
                  <a:cubicBezTo>
                    <a:pt x="6173" y="143863"/>
                    <a:pt x="6670" y="149320"/>
                    <a:pt x="9150" y="153784"/>
                  </a:cubicBezTo>
                  <a:cubicBezTo>
                    <a:pt x="11630" y="158249"/>
                    <a:pt x="16095" y="161722"/>
                    <a:pt x="19567" y="165690"/>
                  </a:cubicBezTo>
                  <a:cubicBezTo>
                    <a:pt x="23040" y="169659"/>
                    <a:pt x="25520" y="174124"/>
                    <a:pt x="29985" y="177100"/>
                  </a:cubicBezTo>
                  <a:cubicBezTo>
                    <a:pt x="33954" y="180077"/>
                    <a:pt x="37922" y="184045"/>
                    <a:pt x="42883" y="186029"/>
                  </a:cubicBezTo>
                  <a:cubicBezTo>
                    <a:pt x="48340" y="188014"/>
                    <a:pt x="54293" y="188014"/>
                    <a:pt x="59750" y="189006"/>
                  </a:cubicBezTo>
                  <a:cubicBezTo>
                    <a:pt x="65207" y="189502"/>
                    <a:pt x="70663" y="188510"/>
                    <a:pt x="76616" y="187518"/>
                  </a:cubicBezTo>
                  <a:cubicBezTo>
                    <a:pt x="82073" y="186525"/>
                    <a:pt x="88026" y="186525"/>
                    <a:pt x="93483" y="184541"/>
                  </a:cubicBezTo>
                  <a:cubicBezTo>
                    <a:pt x="98444" y="182557"/>
                    <a:pt x="103901" y="180077"/>
                    <a:pt x="108861" y="177100"/>
                  </a:cubicBezTo>
                  <a:cubicBezTo>
                    <a:pt x="113326" y="174124"/>
                    <a:pt x="117295" y="170155"/>
                    <a:pt x="121760" y="166186"/>
                  </a:cubicBezTo>
                  <a:cubicBezTo>
                    <a:pt x="125728" y="162714"/>
                    <a:pt x="130193" y="158745"/>
                    <a:pt x="134162" y="154280"/>
                  </a:cubicBezTo>
                  <a:cubicBezTo>
                    <a:pt x="137634" y="150312"/>
                    <a:pt x="141107" y="145847"/>
                    <a:pt x="144579" y="140886"/>
                  </a:cubicBezTo>
                  <a:cubicBezTo>
                    <a:pt x="147555" y="136421"/>
                    <a:pt x="150036" y="131461"/>
                    <a:pt x="153013" y="12600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7C41BAB5-4952-A25C-CD25-09CDD904F148}"/>
                </a:ext>
              </a:extLst>
            </p:cNvPr>
            <p:cNvSpPr/>
            <p:nvPr/>
          </p:nvSpPr>
          <p:spPr>
            <a:xfrm>
              <a:off x="4104418" y="4268750"/>
              <a:ext cx="10913" cy="18354"/>
            </a:xfrm>
            <a:custGeom>
              <a:avLst/>
              <a:gdLst>
                <a:gd name="connsiteX0" fmla="*/ 10914 w 10913"/>
                <a:gd name="connsiteY0" fmla="*/ 0 h 18354"/>
                <a:gd name="connsiteX1" fmla="*/ 0 w 10913"/>
                <a:gd name="connsiteY1" fmla="*/ 18355 h 1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13" h="18354">
                  <a:moveTo>
                    <a:pt x="10914" y="0"/>
                  </a:moveTo>
                  <a:cubicBezTo>
                    <a:pt x="6449" y="9426"/>
                    <a:pt x="4961" y="8929"/>
                    <a:pt x="0" y="183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41C6E062-8EB0-DAD4-B97A-250CF921959F}"/>
                </a:ext>
              </a:extLst>
            </p:cNvPr>
            <p:cNvSpPr/>
            <p:nvPr/>
          </p:nvSpPr>
          <p:spPr>
            <a:xfrm>
              <a:off x="4069693" y="4248411"/>
              <a:ext cx="9425" cy="18850"/>
            </a:xfrm>
            <a:custGeom>
              <a:avLst/>
              <a:gdLst>
                <a:gd name="connsiteX0" fmla="*/ 9425 w 9425"/>
                <a:gd name="connsiteY0" fmla="*/ 0 h 18850"/>
                <a:gd name="connsiteX1" fmla="*/ 0 w 9425"/>
                <a:gd name="connsiteY1" fmla="*/ 18851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5" h="18850">
                  <a:moveTo>
                    <a:pt x="9425" y="0"/>
                  </a:moveTo>
                  <a:cubicBezTo>
                    <a:pt x="4961" y="9425"/>
                    <a:pt x="4465" y="9425"/>
                    <a:pt x="0" y="188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5FEDDE41-0F47-67B0-9B0B-35866C8F5C46}"/>
                </a:ext>
              </a:extLst>
            </p:cNvPr>
            <p:cNvSpPr/>
            <p:nvPr/>
          </p:nvSpPr>
          <p:spPr>
            <a:xfrm>
              <a:off x="4043897" y="4268750"/>
              <a:ext cx="65978" cy="49111"/>
            </a:xfrm>
            <a:custGeom>
              <a:avLst/>
              <a:gdLst>
                <a:gd name="connsiteX0" fmla="*/ 0 w 65978"/>
                <a:gd name="connsiteY0" fmla="*/ 0 h 49111"/>
                <a:gd name="connsiteX1" fmla="*/ 3969 w 65978"/>
                <a:gd name="connsiteY1" fmla="*/ 14882 h 49111"/>
                <a:gd name="connsiteX2" fmla="*/ 10914 w 65978"/>
                <a:gd name="connsiteY2" fmla="*/ 28772 h 49111"/>
                <a:gd name="connsiteX3" fmla="*/ 21828 w 65978"/>
                <a:gd name="connsiteY3" fmla="*/ 39686 h 49111"/>
                <a:gd name="connsiteX4" fmla="*/ 35221 w 65978"/>
                <a:gd name="connsiteY4" fmla="*/ 46631 h 49111"/>
                <a:gd name="connsiteX5" fmla="*/ 50600 w 65978"/>
                <a:gd name="connsiteY5" fmla="*/ 49112 h 49111"/>
                <a:gd name="connsiteX6" fmla="*/ 65978 w 65978"/>
                <a:gd name="connsiteY6" fmla="*/ 48120 h 49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978" h="49111">
                  <a:moveTo>
                    <a:pt x="0" y="0"/>
                  </a:moveTo>
                  <a:cubicBezTo>
                    <a:pt x="992" y="7937"/>
                    <a:pt x="992" y="6449"/>
                    <a:pt x="3969" y="14882"/>
                  </a:cubicBezTo>
                  <a:cubicBezTo>
                    <a:pt x="5457" y="19347"/>
                    <a:pt x="7441" y="24308"/>
                    <a:pt x="10914" y="28772"/>
                  </a:cubicBezTo>
                  <a:cubicBezTo>
                    <a:pt x="13890" y="32741"/>
                    <a:pt x="17363" y="36214"/>
                    <a:pt x="21828" y="39686"/>
                  </a:cubicBezTo>
                  <a:cubicBezTo>
                    <a:pt x="25796" y="42663"/>
                    <a:pt x="29765" y="45143"/>
                    <a:pt x="35221" y="46631"/>
                  </a:cubicBezTo>
                  <a:cubicBezTo>
                    <a:pt x="39686" y="48120"/>
                    <a:pt x="44647" y="48616"/>
                    <a:pt x="50600" y="49112"/>
                  </a:cubicBezTo>
                  <a:cubicBezTo>
                    <a:pt x="55561" y="49112"/>
                    <a:pt x="60522" y="49112"/>
                    <a:pt x="65978" y="4812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7" name="Freeform: Shape 1456">
              <a:extLst>
                <a:ext uri="{FF2B5EF4-FFF2-40B4-BE49-F238E27FC236}">
                  <a16:creationId xmlns:a16="http://schemas.microsoft.com/office/drawing/2014/main" id="{CBAD348B-146C-16C2-FFA7-D1C5D6D1CAD2}"/>
                </a:ext>
              </a:extLst>
            </p:cNvPr>
            <p:cNvSpPr/>
            <p:nvPr/>
          </p:nvSpPr>
          <p:spPr>
            <a:xfrm>
              <a:off x="4114340" y="4405667"/>
              <a:ext cx="114683" cy="256566"/>
            </a:xfrm>
            <a:custGeom>
              <a:avLst/>
              <a:gdLst>
                <a:gd name="connsiteX0" fmla="*/ 29268 w 114683"/>
                <a:gd name="connsiteY0" fmla="*/ 0 h 256566"/>
                <a:gd name="connsiteX1" fmla="*/ 41174 w 114683"/>
                <a:gd name="connsiteY1" fmla="*/ 11410 h 256566"/>
                <a:gd name="connsiteX2" fmla="*/ 51096 w 114683"/>
                <a:gd name="connsiteY2" fmla="*/ 24308 h 256566"/>
                <a:gd name="connsiteX3" fmla="*/ 63994 w 114683"/>
                <a:gd name="connsiteY3" fmla="*/ 34725 h 256566"/>
                <a:gd name="connsiteX4" fmla="*/ 75404 w 114683"/>
                <a:gd name="connsiteY4" fmla="*/ 46631 h 256566"/>
                <a:gd name="connsiteX5" fmla="*/ 85821 w 114683"/>
                <a:gd name="connsiteY5" fmla="*/ 59529 h 256566"/>
                <a:gd name="connsiteX6" fmla="*/ 97231 w 114683"/>
                <a:gd name="connsiteY6" fmla="*/ 71435 h 256566"/>
                <a:gd name="connsiteX7" fmla="*/ 108145 w 114683"/>
                <a:gd name="connsiteY7" fmla="*/ 83837 h 256566"/>
                <a:gd name="connsiteX8" fmla="*/ 114594 w 114683"/>
                <a:gd name="connsiteY8" fmla="*/ 98224 h 256566"/>
                <a:gd name="connsiteX9" fmla="*/ 110129 w 114683"/>
                <a:gd name="connsiteY9" fmla="*/ 113106 h 256566"/>
                <a:gd name="connsiteX10" fmla="*/ 104176 w 114683"/>
                <a:gd name="connsiteY10" fmla="*/ 127492 h 256566"/>
                <a:gd name="connsiteX11" fmla="*/ 98719 w 114683"/>
                <a:gd name="connsiteY11" fmla="*/ 142374 h 256566"/>
                <a:gd name="connsiteX12" fmla="*/ 92767 w 114683"/>
                <a:gd name="connsiteY12" fmla="*/ 157257 h 256566"/>
                <a:gd name="connsiteX13" fmla="*/ 83837 w 114683"/>
                <a:gd name="connsiteY13" fmla="*/ 170651 h 256566"/>
                <a:gd name="connsiteX14" fmla="*/ 78380 w 114683"/>
                <a:gd name="connsiteY14" fmla="*/ 185533 h 256566"/>
                <a:gd name="connsiteX15" fmla="*/ 71931 w 114683"/>
                <a:gd name="connsiteY15" fmla="*/ 199920 h 256566"/>
                <a:gd name="connsiteX16" fmla="*/ 63498 w 114683"/>
                <a:gd name="connsiteY16" fmla="*/ 213314 h 256566"/>
                <a:gd name="connsiteX17" fmla="*/ 56057 w 114683"/>
                <a:gd name="connsiteY17" fmla="*/ 227204 h 256566"/>
                <a:gd name="connsiteX18" fmla="*/ 50104 w 114683"/>
                <a:gd name="connsiteY18" fmla="*/ 242086 h 256566"/>
                <a:gd name="connsiteX19" fmla="*/ 42167 w 114683"/>
                <a:gd name="connsiteY19" fmla="*/ 256472 h 256566"/>
                <a:gd name="connsiteX20" fmla="*/ 38694 w 114683"/>
                <a:gd name="connsiteY20" fmla="*/ 240598 h 256566"/>
                <a:gd name="connsiteX21" fmla="*/ 41670 w 114683"/>
                <a:gd name="connsiteY21" fmla="*/ 224724 h 256566"/>
                <a:gd name="connsiteX22" fmla="*/ 42663 w 114683"/>
                <a:gd name="connsiteY22" fmla="*/ 208849 h 256566"/>
                <a:gd name="connsiteX23" fmla="*/ 42663 w 114683"/>
                <a:gd name="connsiteY23" fmla="*/ 192974 h 256566"/>
                <a:gd name="connsiteX24" fmla="*/ 45143 w 114683"/>
                <a:gd name="connsiteY24" fmla="*/ 177596 h 256566"/>
                <a:gd name="connsiteX25" fmla="*/ 46631 w 114683"/>
                <a:gd name="connsiteY25" fmla="*/ 161722 h 256566"/>
                <a:gd name="connsiteX26" fmla="*/ 49608 w 114683"/>
                <a:gd name="connsiteY26" fmla="*/ 146343 h 256566"/>
                <a:gd name="connsiteX27" fmla="*/ 52088 w 114683"/>
                <a:gd name="connsiteY27" fmla="*/ 130469 h 256566"/>
                <a:gd name="connsiteX28" fmla="*/ 49112 w 114683"/>
                <a:gd name="connsiteY28" fmla="*/ 116578 h 256566"/>
                <a:gd name="connsiteX29" fmla="*/ 40678 w 114683"/>
                <a:gd name="connsiteY29" fmla="*/ 104176 h 256566"/>
                <a:gd name="connsiteX30" fmla="*/ 30757 w 114683"/>
                <a:gd name="connsiteY30" fmla="*/ 92271 h 256566"/>
                <a:gd name="connsiteX31" fmla="*/ 21331 w 114683"/>
                <a:gd name="connsiteY31" fmla="*/ 79869 h 256566"/>
                <a:gd name="connsiteX32" fmla="*/ 10914 w 114683"/>
                <a:gd name="connsiteY32" fmla="*/ 68459 h 256566"/>
                <a:gd name="connsiteX33" fmla="*/ 0 w 114683"/>
                <a:gd name="connsiteY33" fmla="*/ 57049 h 25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4683" h="256566">
                  <a:moveTo>
                    <a:pt x="29268" y="0"/>
                  </a:moveTo>
                  <a:cubicBezTo>
                    <a:pt x="32741" y="3473"/>
                    <a:pt x="36710" y="6945"/>
                    <a:pt x="41174" y="11410"/>
                  </a:cubicBezTo>
                  <a:cubicBezTo>
                    <a:pt x="44647" y="14882"/>
                    <a:pt x="47127" y="20339"/>
                    <a:pt x="51096" y="24308"/>
                  </a:cubicBezTo>
                  <a:cubicBezTo>
                    <a:pt x="55065" y="28277"/>
                    <a:pt x="60025" y="30261"/>
                    <a:pt x="63994" y="34725"/>
                  </a:cubicBezTo>
                  <a:cubicBezTo>
                    <a:pt x="67963" y="38694"/>
                    <a:pt x="71435" y="42663"/>
                    <a:pt x="75404" y="46631"/>
                  </a:cubicBezTo>
                  <a:cubicBezTo>
                    <a:pt x="79372" y="50600"/>
                    <a:pt x="82349" y="55561"/>
                    <a:pt x="85821" y="59529"/>
                  </a:cubicBezTo>
                  <a:cubicBezTo>
                    <a:pt x="89790" y="63994"/>
                    <a:pt x="93759" y="67467"/>
                    <a:pt x="97231" y="71435"/>
                  </a:cubicBezTo>
                  <a:cubicBezTo>
                    <a:pt x="101200" y="75900"/>
                    <a:pt x="105169" y="79869"/>
                    <a:pt x="108145" y="83837"/>
                  </a:cubicBezTo>
                  <a:cubicBezTo>
                    <a:pt x="113602" y="90286"/>
                    <a:pt x="115090" y="96239"/>
                    <a:pt x="114594" y="98224"/>
                  </a:cubicBezTo>
                  <a:cubicBezTo>
                    <a:pt x="114594" y="100208"/>
                    <a:pt x="113106" y="105665"/>
                    <a:pt x="110129" y="113106"/>
                  </a:cubicBezTo>
                  <a:cubicBezTo>
                    <a:pt x="108641" y="117075"/>
                    <a:pt x="106160" y="122035"/>
                    <a:pt x="104176" y="127492"/>
                  </a:cubicBezTo>
                  <a:cubicBezTo>
                    <a:pt x="102192" y="131957"/>
                    <a:pt x="100704" y="136918"/>
                    <a:pt x="98719" y="142374"/>
                  </a:cubicBezTo>
                  <a:cubicBezTo>
                    <a:pt x="96735" y="146839"/>
                    <a:pt x="95247" y="152296"/>
                    <a:pt x="92767" y="157257"/>
                  </a:cubicBezTo>
                  <a:cubicBezTo>
                    <a:pt x="90782" y="161722"/>
                    <a:pt x="86317" y="165690"/>
                    <a:pt x="83837" y="170651"/>
                  </a:cubicBezTo>
                  <a:cubicBezTo>
                    <a:pt x="81853" y="175612"/>
                    <a:pt x="80861" y="181068"/>
                    <a:pt x="78380" y="185533"/>
                  </a:cubicBezTo>
                  <a:cubicBezTo>
                    <a:pt x="75900" y="190494"/>
                    <a:pt x="74412" y="195455"/>
                    <a:pt x="71931" y="199920"/>
                  </a:cubicBezTo>
                  <a:cubicBezTo>
                    <a:pt x="69451" y="204880"/>
                    <a:pt x="65978" y="208849"/>
                    <a:pt x="63498" y="213314"/>
                  </a:cubicBezTo>
                  <a:cubicBezTo>
                    <a:pt x="61018" y="218274"/>
                    <a:pt x="58537" y="222739"/>
                    <a:pt x="56057" y="227204"/>
                  </a:cubicBezTo>
                  <a:cubicBezTo>
                    <a:pt x="53576" y="232661"/>
                    <a:pt x="52088" y="238117"/>
                    <a:pt x="50104" y="242086"/>
                  </a:cubicBezTo>
                  <a:cubicBezTo>
                    <a:pt x="46135" y="249527"/>
                    <a:pt x="43159" y="255480"/>
                    <a:pt x="42167" y="256472"/>
                  </a:cubicBezTo>
                  <a:cubicBezTo>
                    <a:pt x="40678" y="257465"/>
                    <a:pt x="38198" y="250519"/>
                    <a:pt x="38694" y="240598"/>
                  </a:cubicBezTo>
                  <a:cubicBezTo>
                    <a:pt x="38694" y="236133"/>
                    <a:pt x="41174" y="230676"/>
                    <a:pt x="41670" y="224724"/>
                  </a:cubicBezTo>
                  <a:cubicBezTo>
                    <a:pt x="42167" y="219763"/>
                    <a:pt x="42167" y="214306"/>
                    <a:pt x="42663" y="208849"/>
                  </a:cubicBezTo>
                  <a:cubicBezTo>
                    <a:pt x="43159" y="203888"/>
                    <a:pt x="42167" y="198431"/>
                    <a:pt x="42663" y="192974"/>
                  </a:cubicBezTo>
                  <a:cubicBezTo>
                    <a:pt x="43159" y="187518"/>
                    <a:pt x="44647" y="182557"/>
                    <a:pt x="45143" y="177596"/>
                  </a:cubicBezTo>
                  <a:cubicBezTo>
                    <a:pt x="45639" y="172139"/>
                    <a:pt x="46135" y="166682"/>
                    <a:pt x="46631" y="161722"/>
                  </a:cubicBezTo>
                  <a:cubicBezTo>
                    <a:pt x="47623" y="155769"/>
                    <a:pt x="49112" y="150808"/>
                    <a:pt x="49608" y="146343"/>
                  </a:cubicBezTo>
                  <a:cubicBezTo>
                    <a:pt x="50600" y="139398"/>
                    <a:pt x="51096" y="133445"/>
                    <a:pt x="52088" y="130469"/>
                  </a:cubicBezTo>
                  <a:cubicBezTo>
                    <a:pt x="53080" y="126996"/>
                    <a:pt x="52584" y="122531"/>
                    <a:pt x="49112" y="116578"/>
                  </a:cubicBezTo>
                  <a:cubicBezTo>
                    <a:pt x="46631" y="112610"/>
                    <a:pt x="43655" y="108145"/>
                    <a:pt x="40678" y="104176"/>
                  </a:cubicBezTo>
                  <a:cubicBezTo>
                    <a:pt x="37702" y="100208"/>
                    <a:pt x="34229" y="96239"/>
                    <a:pt x="30757" y="92271"/>
                  </a:cubicBezTo>
                  <a:cubicBezTo>
                    <a:pt x="27284" y="88302"/>
                    <a:pt x="24804" y="83837"/>
                    <a:pt x="21331" y="79869"/>
                  </a:cubicBezTo>
                  <a:cubicBezTo>
                    <a:pt x="17363" y="75900"/>
                    <a:pt x="13890" y="71931"/>
                    <a:pt x="10914" y="68459"/>
                  </a:cubicBezTo>
                  <a:cubicBezTo>
                    <a:pt x="5953" y="62506"/>
                    <a:pt x="496" y="59529"/>
                    <a:pt x="0" y="5704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43F6EBDF-8609-C24E-8ACB-49C921E3CF14}"/>
                </a:ext>
              </a:extLst>
            </p:cNvPr>
            <p:cNvSpPr/>
            <p:nvPr/>
          </p:nvSpPr>
          <p:spPr>
            <a:xfrm>
              <a:off x="4118309" y="4484544"/>
              <a:ext cx="9921" cy="159240"/>
            </a:xfrm>
            <a:custGeom>
              <a:avLst/>
              <a:gdLst>
                <a:gd name="connsiteX0" fmla="*/ 0 w 9921"/>
                <a:gd name="connsiteY0" fmla="*/ 159241 h 159240"/>
                <a:gd name="connsiteX1" fmla="*/ 2480 w 9921"/>
                <a:gd name="connsiteY1" fmla="*/ 143367 h 159240"/>
                <a:gd name="connsiteX2" fmla="*/ 2976 w 9921"/>
                <a:gd name="connsiteY2" fmla="*/ 127492 h 159240"/>
                <a:gd name="connsiteX3" fmla="*/ 3969 w 9921"/>
                <a:gd name="connsiteY3" fmla="*/ 111618 h 159240"/>
                <a:gd name="connsiteX4" fmla="*/ 4465 w 9921"/>
                <a:gd name="connsiteY4" fmla="*/ 95743 h 159240"/>
                <a:gd name="connsiteX5" fmla="*/ 6945 w 9921"/>
                <a:gd name="connsiteY5" fmla="*/ 79868 h 159240"/>
                <a:gd name="connsiteX6" fmla="*/ 7937 w 9921"/>
                <a:gd name="connsiteY6" fmla="*/ 63994 h 159240"/>
                <a:gd name="connsiteX7" fmla="*/ 7441 w 9921"/>
                <a:gd name="connsiteY7" fmla="*/ 47623 h 159240"/>
                <a:gd name="connsiteX8" fmla="*/ 7937 w 9921"/>
                <a:gd name="connsiteY8" fmla="*/ 31749 h 159240"/>
                <a:gd name="connsiteX9" fmla="*/ 9426 w 9921"/>
                <a:gd name="connsiteY9" fmla="*/ 15875 h 159240"/>
                <a:gd name="connsiteX10" fmla="*/ 9922 w 9921"/>
                <a:gd name="connsiteY10" fmla="*/ 0 h 159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21" h="159240">
                  <a:moveTo>
                    <a:pt x="0" y="159241"/>
                  </a:moveTo>
                  <a:cubicBezTo>
                    <a:pt x="496" y="151304"/>
                    <a:pt x="1984" y="151304"/>
                    <a:pt x="2480" y="143367"/>
                  </a:cubicBezTo>
                  <a:cubicBezTo>
                    <a:pt x="2976" y="135429"/>
                    <a:pt x="2480" y="135429"/>
                    <a:pt x="2976" y="127492"/>
                  </a:cubicBezTo>
                  <a:cubicBezTo>
                    <a:pt x="3473" y="119555"/>
                    <a:pt x="3473" y="119555"/>
                    <a:pt x="3969" y="111618"/>
                  </a:cubicBezTo>
                  <a:cubicBezTo>
                    <a:pt x="4465" y="103680"/>
                    <a:pt x="3969" y="103680"/>
                    <a:pt x="4465" y="95743"/>
                  </a:cubicBezTo>
                  <a:cubicBezTo>
                    <a:pt x="4961" y="87806"/>
                    <a:pt x="6449" y="87806"/>
                    <a:pt x="6945" y="79868"/>
                  </a:cubicBezTo>
                  <a:cubicBezTo>
                    <a:pt x="7441" y="71931"/>
                    <a:pt x="7441" y="71931"/>
                    <a:pt x="7937" y="63994"/>
                  </a:cubicBezTo>
                  <a:cubicBezTo>
                    <a:pt x="8433" y="56057"/>
                    <a:pt x="6945" y="56057"/>
                    <a:pt x="7441" y="47623"/>
                  </a:cubicBezTo>
                  <a:cubicBezTo>
                    <a:pt x="7937" y="39686"/>
                    <a:pt x="7441" y="39686"/>
                    <a:pt x="7937" y="31749"/>
                  </a:cubicBezTo>
                  <a:cubicBezTo>
                    <a:pt x="8433" y="23812"/>
                    <a:pt x="8929" y="23812"/>
                    <a:pt x="9426" y="15875"/>
                  </a:cubicBezTo>
                  <a:cubicBezTo>
                    <a:pt x="9922" y="7937"/>
                    <a:pt x="9426" y="7937"/>
                    <a:pt x="992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C65F4208-158B-496F-1774-E8F1CD3BA755}"/>
                </a:ext>
              </a:extLst>
            </p:cNvPr>
            <p:cNvSpPr/>
            <p:nvPr/>
          </p:nvSpPr>
          <p:spPr>
            <a:xfrm>
              <a:off x="3872254" y="4166558"/>
              <a:ext cx="152295" cy="152295"/>
            </a:xfrm>
            <a:custGeom>
              <a:avLst/>
              <a:gdLst>
                <a:gd name="connsiteX0" fmla="*/ 152296 w 152295"/>
                <a:gd name="connsiteY0" fmla="*/ 152296 h 152295"/>
                <a:gd name="connsiteX1" fmla="*/ 140886 w 152295"/>
                <a:gd name="connsiteY1" fmla="*/ 140390 h 152295"/>
                <a:gd name="connsiteX2" fmla="*/ 128484 w 152295"/>
                <a:gd name="connsiteY2" fmla="*/ 129476 h 152295"/>
                <a:gd name="connsiteX3" fmla="*/ 117570 w 152295"/>
                <a:gd name="connsiteY3" fmla="*/ 117074 h 152295"/>
                <a:gd name="connsiteX4" fmla="*/ 106160 w 152295"/>
                <a:gd name="connsiteY4" fmla="*/ 105168 h 152295"/>
                <a:gd name="connsiteX5" fmla="*/ 94751 w 152295"/>
                <a:gd name="connsiteY5" fmla="*/ 92766 h 152295"/>
                <a:gd name="connsiteX6" fmla="*/ 81853 w 152295"/>
                <a:gd name="connsiteY6" fmla="*/ 82349 h 152295"/>
                <a:gd name="connsiteX7" fmla="*/ 70939 w 152295"/>
                <a:gd name="connsiteY7" fmla="*/ 69947 h 152295"/>
                <a:gd name="connsiteX8" fmla="*/ 58537 w 152295"/>
                <a:gd name="connsiteY8" fmla="*/ 59033 h 152295"/>
                <a:gd name="connsiteX9" fmla="*/ 47127 w 152295"/>
                <a:gd name="connsiteY9" fmla="*/ 47127 h 152295"/>
                <a:gd name="connsiteX10" fmla="*/ 35717 w 152295"/>
                <a:gd name="connsiteY10" fmla="*/ 35221 h 152295"/>
                <a:gd name="connsiteX11" fmla="*/ 23812 w 152295"/>
                <a:gd name="connsiteY11" fmla="*/ 23315 h 152295"/>
                <a:gd name="connsiteX12" fmla="*/ 11906 w 152295"/>
                <a:gd name="connsiteY12" fmla="*/ 11906 h 152295"/>
                <a:gd name="connsiteX13" fmla="*/ 0 w 152295"/>
                <a:gd name="connsiteY13" fmla="*/ 0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2295" h="152295">
                  <a:moveTo>
                    <a:pt x="152296" y="152296"/>
                  </a:moveTo>
                  <a:cubicBezTo>
                    <a:pt x="146343" y="146343"/>
                    <a:pt x="146839" y="146343"/>
                    <a:pt x="140886" y="140390"/>
                  </a:cubicBezTo>
                  <a:cubicBezTo>
                    <a:pt x="134933" y="134437"/>
                    <a:pt x="133941" y="135429"/>
                    <a:pt x="128484" y="129476"/>
                  </a:cubicBezTo>
                  <a:cubicBezTo>
                    <a:pt x="122531" y="123523"/>
                    <a:pt x="123523" y="123027"/>
                    <a:pt x="117570" y="117074"/>
                  </a:cubicBezTo>
                  <a:cubicBezTo>
                    <a:pt x="111618" y="111121"/>
                    <a:pt x="111618" y="111121"/>
                    <a:pt x="106160" y="105168"/>
                  </a:cubicBezTo>
                  <a:cubicBezTo>
                    <a:pt x="100208" y="99216"/>
                    <a:pt x="100704" y="98719"/>
                    <a:pt x="94751" y="92766"/>
                  </a:cubicBezTo>
                  <a:cubicBezTo>
                    <a:pt x="88798" y="86814"/>
                    <a:pt x="87310" y="88302"/>
                    <a:pt x="81853" y="82349"/>
                  </a:cubicBezTo>
                  <a:cubicBezTo>
                    <a:pt x="75900" y="76396"/>
                    <a:pt x="76892" y="75404"/>
                    <a:pt x="70939" y="69947"/>
                  </a:cubicBezTo>
                  <a:cubicBezTo>
                    <a:pt x="64986" y="63994"/>
                    <a:pt x="64490" y="64986"/>
                    <a:pt x="58537" y="59033"/>
                  </a:cubicBezTo>
                  <a:cubicBezTo>
                    <a:pt x="52584" y="53080"/>
                    <a:pt x="52584" y="53080"/>
                    <a:pt x="47127" y="47127"/>
                  </a:cubicBezTo>
                  <a:cubicBezTo>
                    <a:pt x="41174" y="41174"/>
                    <a:pt x="41174" y="41174"/>
                    <a:pt x="35717" y="35221"/>
                  </a:cubicBezTo>
                  <a:cubicBezTo>
                    <a:pt x="29765" y="29268"/>
                    <a:pt x="29765" y="29268"/>
                    <a:pt x="23812" y="23315"/>
                  </a:cubicBezTo>
                  <a:cubicBezTo>
                    <a:pt x="17859" y="17363"/>
                    <a:pt x="17363" y="17859"/>
                    <a:pt x="11906" y="11906"/>
                  </a:cubicBezTo>
                  <a:cubicBezTo>
                    <a:pt x="6449" y="5953"/>
                    <a:pt x="5953" y="5953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9CDC9BB9-AD11-1447-4FE6-4653D9B36383}"/>
                </a:ext>
              </a:extLst>
            </p:cNvPr>
            <p:cNvSpPr/>
            <p:nvPr/>
          </p:nvSpPr>
          <p:spPr>
            <a:xfrm>
              <a:off x="3810244" y="4169038"/>
              <a:ext cx="325909" cy="863230"/>
            </a:xfrm>
            <a:custGeom>
              <a:avLst/>
              <a:gdLst>
                <a:gd name="connsiteX0" fmla="*/ 304096 w 325909"/>
                <a:gd name="connsiteY0" fmla="*/ 538741 h 863230"/>
                <a:gd name="connsiteX1" fmla="*/ 300623 w 325909"/>
                <a:gd name="connsiteY1" fmla="*/ 554119 h 863230"/>
                <a:gd name="connsiteX2" fmla="*/ 298639 w 325909"/>
                <a:gd name="connsiteY2" fmla="*/ 569993 h 863230"/>
                <a:gd name="connsiteX3" fmla="*/ 295662 w 325909"/>
                <a:gd name="connsiteY3" fmla="*/ 585372 h 863230"/>
                <a:gd name="connsiteX4" fmla="*/ 294174 w 325909"/>
                <a:gd name="connsiteY4" fmla="*/ 601246 h 863230"/>
                <a:gd name="connsiteX5" fmla="*/ 290702 w 325909"/>
                <a:gd name="connsiteY5" fmla="*/ 616625 h 863230"/>
                <a:gd name="connsiteX6" fmla="*/ 287229 w 325909"/>
                <a:gd name="connsiteY6" fmla="*/ 632003 h 863230"/>
                <a:gd name="connsiteX7" fmla="*/ 286237 w 325909"/>
                <a:gd name="connsiteY7" fmla="*/ 647878 h 863230"/>
                <a:gd name="connsiteX8" fmla="*/ 283260 w 325909"/>
                <a:gd name="connsiteY8" fmla="*/ 663256 h 863230"/>
                <a:gd name="connsiteX9" fmla="*/ 281276 w 325909"/>
                <a:gd name="connsiteY9" fmla="*/ 678635 h 863230"/>
                <a:gd name="connsiteX10" fmla="*/ 277804 w 325909"/>
                <a:gd name="connsiteY10" fmla="*/ 694013 h 863230"/>
                <a:gd name="connsiteX11" fmla="*/ 275819 w 325909"/>
                <a:gd name="connsiteY11" fmla="*/ 709887 h 863230"/>
                <a:gd name="connsiteX12" fmla="*/ 272347 w 325909"/>
                <a:gd name="connsiteY12" fmla="*/ 725266 h 863230"/>
                <a:gd name="connsiteX13" fmla="*/ 269370 w 325909"/>
                <a:gd name="connsiteY13" fmla="*/ 740644 h 863230"/>
                <a:gd name="connsiteX14" fmla="*/ 276811 w 325909"/>
                <a:gd name="connsiteY14" fmla="*/ 754038 h 863230"/>
                <a:gd name="connsiteX15" fmla="*/ 285245 w 325909"/>
                <a:gd name="connsiteY15" fmla="*/ 766440 h 863230"/>
                <a:gd name="connsiteX16" fmla="*/ 292190 w 325909"/>
                <a:gd name="connsiteY16" fmla="*/ 779834 h 863230"/>
                <a:gd name="connsiteX17" fmla="*/ 299135 w 325909"/>
                <a:gd name="connsiteY17" fmla="*/ 793228 h 863230"/>
                <a:gd name="connsiteX18" fmla="*/ 308064 w 325909"/>
                <a:gd name="connsiteY18" fmla="*/ 805630 h 863230"/>
                <a:gd name="connsiteX19" fmla="*/ 315009 w 325909"/>
                <a:gd name="connsiteY19" fmla="*/ 819025 h 863230"/>
                <a:gd name="connsiteX20" fmla="*/ 321954 w 325909"/>
                <a:gd name="connsiteY20" fmla="*/ 832419 h 863230"/>
                <a:gd name="connsiteX21" fmla="*/ 324435 w 325909"/>
                <a:gd name="connsiteY21" fmla="*/ 845813 h 863230"/>
                <a:gd name="connsiteX22" fmla="*/ 324931 w 325909"/>
                <a:gd name="connsiteY22" fmla="*/ 859207 h 863230"/>
                <a:gd name="connsiteX23" fmla="*/ 307568 w 325909"/>
                <a:gd name="connsiteY23" fmla="*/ 860199 h 863230"/>
                <a:gd name="connsiteX24" fmla="*/ 289709 w 325909"/>
                <a:gd name="connsiteY24" fmla="*/ 859207 h 863230"/>
                <a:gd name="connsiteX25" fmla="*/ 277307 w 325909"/>
                <a:gd name="connsiteY25" fmla="*/ 848789 h 863230"/>
                <a:gd name="connsiteX26" fmla="*/ 267386 w 325909"/>
                <a:gd name="connsiteY26" fmla="*/ 834899 h 863230"/>
                <a:gd name="connsiteX27" fmla="*/ 261929 w 325909"/>
                <a:gd name="connsiteY27" fmla="*/ 819025 h 863230"/>
                <a:gd name="connsiteX28" fmla="*/ 254984 w 325909"/>
                <a:gd name="connsiteY28" fmla="*/ 803646 h 863230"/>
                <a:gd name="connsiteX29" fmla="*/ 250023 w 325909"/>
                <a:gd name="connsiteY29" fmla="*/ 787772 h 863230"/>
                <a:gd name="connsiteX30" fmla="*/ 243078 w 325909"/>
                <a:gd name="connsiteY30" fmla="*/ 772393 h 863230"/>
                <a:gd name="connsiteX31" fmla="*/ 239109 w 325909"/>
                <a:gd name="connsiteY31" fmla="*/ 756023 h 863230"/>
                <a:gd name="connsiteX32" fmla="*/ 238117 w 325909"/>
                <a:gd name="connsiteY32" fmla="*/ 770409 h 863230"/>
                <a:gd name="connsiteX33" fmla="*/ 238117 w 325909"/>
                <a:gd name="connsiteY33" fmla="*/ 784795 h 863230"/>
                <a:gd name="connsiteX34" fmla="*/ 239109 w 325909"/>
                <a:gd name="connsiteY34" fmla="*/ 799677 h 863230"/>
                <a:gd name="connsiteX35" fmla="*/ 224723 w 325909"/>
                <a:gd name="connsiteY35" fmla="*/ 798189 h 863230"/>
                <a:gd name="connsiteX36" fmla="*/ 210337 w 325909"/>
                <a:gd name="connsiteY36" fmla="*/ 782315 h 863230"/>
                <a:gd name="connsiteX37" fmla="*/ 201903 w 325909"/>
                <a:gd name="connsiteY37" fmla="*/ 793228 h 863230"/>
                <a:gd name="connsiteX38" fmla="*/ 184045 w 325909"/>
                <a:gd name="connsiteY38" fmla="*/ 792732 h 863230"/>
                <a:gd name="connsiteX39" fmla="*/ 166682 w 325909"/>
                <a:gd name="connsiteY39" fmla="*/ 792732 h 863230"/>
                <a:gd name="connsiteX40" fmla="*/ 149319 w 325909"/>
                <a:gd name="connsiteY40" fmla="*/ 790252 h 863230"/>
                <a:gd name="connsiteX41" fmla="*/ 131957 w 325909"/>
                <a:gd name="connsiteY41" fmla="*/ 790252 h 863230"/>
                <a:gd name="connsiteX42" fmla="*/ 116082 w 325909"/>
                <a:gd name="connsiteY42" fmla="*/ 784795 h 863230"/>
                <a:gd name="connsiteX43" fmla="*/ 129476 w 325909"/>
                <a:gd name="connsiteY43" fmla="*/ 775370 h 863230"/>
                <a:gd name="connsiteX44" fmla="*/ 145351 w 325909"/>
                <a:gd name="connsiteY44" fmla="*/ 769913 h 863230"/>
                <a:gd name="connsiteX45" fmla="*/ 160729 w 325909"/>
                <a:gd name="connsiteY45" fmla="*/ 762968 h 863230"/>
                <a:gd name="connsiteX46" fmla="*/ 176604 w 325909"/>
                <a:gd name="connsiteY46" fmla="*/ 757015 h 863230"/>
                <a:gd name="connsiteX47" fmla="*/ 191486 w 325909"/>
                <a:gd name="connsiteY47" fmla="*/ 749574 h 863230"/>
                <a:gd name="connsiteX48" fmla="*/ 206864 w 325909"/>
                <a:gd name="connsiteY48" fmla="*/ 743621 h 863230"/>
                <a:gd name="connsiteX49" fmla="*/ 206864 w 325909"/>
                <a:gd name="connsiteY49" fmla="*/ 727250 h 863230"/>
                <a:gd name="connsiteX50" fmla="*/ 206864 w 325909"/>
                <a:gd name="connsiteY50" fmla="*/ 710880 h 863230"/>
                <a:gd name="connsiteX51" fmla="*/ 206864 w 325909"/>
                <a:gd name="connsiteY51" fmla="*/ 694509 h 863230"/>
                <a:gd name="connsiteX52" fmla="*/ 204384 w 325909"/>
                <a:gd name="connsiteY52" fmla="*/ 678138 h 863230"/>
                <a:gd name="connsiteX53" fmla="*/ 203392 w 325909"/>
                <a:gd name="connsiteY53" fmla="*/ 661768 h 863230"/>
                <a:gd name="connsiteX54" fmla="*/ 203392 w 325909"/>
                <a:gd name="connsiteY54" fmla="*/ 645397 h 863230"/>
                <a:gd name="connsiteX55" fmla="*/ 202896 w 325909"/>
                <a:gd name="connsiteY55" fmla="*/ 629027 h 863230"/>
                <a:gd name="connsiteX56" fmla="*/ 202400 w 325909"/>
                <a:gd name="connsiteY56" fmla="*/ 612656 h 863230"/>
                <a:gd name="connsiteX57" fmla="*/ 199919 w 325909"/>
                <a:gd name="connsiteY57" fmla="*/ 596285 h 863230"/>
                <a:gd name="connsiteX58" fmla="*/ 198431 w 325909"/>
                <a:gd name="connsiteY58" fmla="*/ 579915 h 863230"/>
                <a:gd name="connsiteX59" fmla="*/ 197935 w 325909"/>
                <a:gd name="connsiteY59" fmla="*/ 563544 h 863230"/>
                <a:gd name="connsiteX60" fmla="*/ 195951 w 325909"/>
                <a:gd name="connsiteY60" fmla="*/ 547174 h 863230"/>
                <a:gd name="connsiteX61" fmla="*/ 192974 w 325909"/>
                <a:gd name="connsiteY61" fmla="*/ 530803 h 863230"/>
                <a:gd name="connsiteX62" fmla="*/ 190990 w 325909"/>
                <a:gd name="connsiteY62" fmla="*/ 514433 h 863230"/>
                <a:gd name="connsiteX63" fmla="*/ 189998 w 325909"/>
                <a:gd name="connsiteY63" fmla="*/ 498062 h 863230"/>
                <a:gd name="connsiteX64" fmla="*/ 188013 w 325909"/>
                <a:gd name="connsiteY64" fmla="*/ 481692 h 863230"/>
                <a:gd name="connsiteX65" fmla="*/ 183549 w 325909"/>
                <a:gd name="connsiteY65" fmla="*/ 465817 h 863230"/>
                <a:gd name="connsiteX66" fmla="*/ 180572 w 325909"/>
                <a:gd name="connsiteY66" fmla="*/ 449446 h 863230"/>
                <a:gd name="connsiteX67" fmla="*/ 178588 w 325909"/>
                <a:gd name="connsiteY67" fmla="*/ 433076 h 863230"/>
                <a:gd name="connsiteX68" fmla="*/ 176604 w 325909"/>
                <a:gd name="connsiteY68" fmla="*/ 416705 h 863230"/>
                <a:gd name="connsiteX69" fmla="*/ 173627 w 325909"/>
                <a:gd name="connsiteY69" fmla="*/ 400831 h 863230"/>
                <a:gd name="connsiteX70" fmla="*/ 170651 w 325909"/>
                <a:gd name="connsiteY70" fmla="*/ 384956 h 863230"/>
                <a:gd name="connsiteX71" fmla="*/ 166186 w 325909"/>
                <a:gd name="connsiteY71" fmla="*/ 369082 h 863230"/>
                <a:gd name="connsiteX72" fmla="*/ 163706 w 325909"/>
                <a:gd name="connsiteY72" fmla="*/ 352711 h 863230"/>
                <a:gd name="connsiteX73" fmla="*/ 159737 w 325909"/>
                <a:gd name="connsiteY73" fmla="*/ 336837 h 863230"/>
                <a:gd name="connsiteX74" fmla="*/ 156265 w 325909"/>
                <a:gd name="connsiteY74" fmla="*/ 320962 h 863230"/>
                <a:gd name="connsiteX75" fmla="*/ 152296 w 325909"/>
                <a:gd name="connsiteY75" fmla="*/ 305088 h 863230"/>
                <a:gd name="connsiteX76" fmla="*/ 148823 w 325909"/>
                <a:gd name="connsiteY76" fmla="*/ 289213 h 863230"/>
                <a:gd name="connsiteX77" fmla="*/ 144359 w 325909"/>
                <a:gd name="connsiteY77" fmla="*/ 273339 h 863230"/>
                <a:gd name="connsiteX78" fmla="*/ 139894 w 325909"/>
                <a:gd name="connsiteY78" fmla="*/ 257464 h 863230"/>
                <a:gd name="connsiteX79" fmla="*/ 135429 w 325909"/>
                <a:gd name="connsiteY79" fmla="*/ 241590 h 863230"/>
                <a:gd name="connsiteX80" fmla="*/ 129476 w 325909"/>
                <a:gd name="connsiteY80" fmla="*/ 226211 h 863230"/>
                <a:gd name="connsiteX81" fmla="*/ 123523 w 325909"/>
                <a:gd name="connsiteY81" fmla="*/ 210833 h 863230"/>
                <a:gd name="connsiteX82" fmla="*/ 120547 w 325909"/>
                <a:gd name="connsiteY82" fmla="*/ 194462 h 863230"/>
                <a:gd name="connsiteX83" fmla="*/ 114098 w 325909"/>
                <a:gd name="connsiteY83" fmla="*/ 179084 h 863230"/>
                <a:gd name="connsiteX84" fmla="*/ 108145 w 325909"/>
                <a:gd name="connsiteY84" fmla="*/ 163706 h 863230"/>
                <a:gd name="connsiteX85" fmla="*/ 102192 w 325909"/>
                <a:gd name="connsiteY85" fmla="*/ 148327 h 863230"/>
                <a:gd name="connsiteX86" fmla="*/ 97727 w 325909"/>
                <a:gd name="connsiteY86" fmla="*/ 132453 h 863230"/>
                <a:gd name="connsiteX87" fmla="*/ 90286 w 325909"/>
                <a:gd name="connsiteY87" fmla="*/ 118066 h 863230"/>
                <a:gd name="connsiteX88" fmla="*/ 83837 w 325909"/>
                <a:gd name="connsiteY88" fmla="*/ 103184 h 863230"/>
                <a:gd name="connsiteX89" fmla="*/ 77884 w 325909"/>
                <a:gd name="connsiteY89" fmla="*/ 87806 h 863230"/>
                <a:gd name="connsiteX90" fmla="*/ 71435 w 325909"/>
                <a:gd name="connsiteY90" fmla="*/ 72923 h 863230"/>
                <a:gd name="connsiteX91" fmla="*/ 64490 w 325909"/>
                <a:gd name="connsiteY91" fmla="*/ 58041 h 863230"/>
                <a:gd name="connsiteX92" fmla="*/ 56553 w 325909"/>
                <a:gd name="connsiteY92" fmla="*/ 43655 h 863230"/>
                <a:gd name="connsiteX93" fmla="*/ 50104 w 325909"/>
                <a:gd name="connsiteY93" fmla="*/ 28772 h 863230"/>
                <a:gd name="connsiteX94" fmla="*/ 42167 w 325909"/>
                <a:gd name="connsiteY94" fmla="*/ 13890 h 863230"/>
                <a:gd name="connsiteX95" fmla="*/ 26292 w 325909"/>
                <a:gd name="connsiteY95" fmla="*/ 12898 h 863230"/>
                <a:gd name="connsiteX96" fmla="*/ 10913 w 325909"/>
                <a:gd name="connsiteY96" fmla="*/ 10418 h 863230"/>
                <a:gd name="connsiteX97" fmla="*/ 0 w 325909"/>
                <a:gd name="connsiteY97" fmla="*/ 0 h 86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325909" h="863230">
                  <a:moveTo>
                    <a:pt x="304096" y="538741"/>
                  </a:moveTo>
                  <a:cubicBezTo>
                    <a:pt x="302608" y="546678"/>
                    <a:pt x="302111" y="546182"/>
                    <a:pt x="300623" y="554119"/>
                  </a:cubicBezTo>
                  <a:cubicBezTo>
                    <a:pt x="299135" y="562056"/>
                    <a:pt x="300127" y="562056"/>
                    <a:pt x="298639" y="569993"/>
                  </a:cubicBezTo>
                  <a:cubicBezTo>
                    <a:pt x="297151" y="577931"/>
                    <a:pt x="297151" y="577931"/>
                    <a:pt x="295662" y="585372"/>
                  </a:cubicBezTo>
                  <a:cubicBezTo>
                    <a:pt x="294174" y="593309"/>
                    <a:pt x="295166" y="593309"/>
                    <a:pt x="294174" y="601246"/>
                  </a:cubicBezTo>
                  <a:cubicBezTo>
                    <a:pt x="292686" y="609184"/>
                    <a:pt x="291694" y="608687"/>
                    <a:pt x="290702" y="616625"/>
                  </a:cubicBezTo>
                  <a:cubicBezTo>
                    <a:pt x="289213" y="624562"/>
                    <a:pt x="288717" y="624066"/>
                    <a:pt x="287229" y="632003"/>
                  </a:cubicBezTo>
                  <a:cubicBezTo>
                    <a:pt x="285741" y="639941"/>
                    <a:pt x="287725" y="639941"/>
                    <a:pt x="286237" y="647878"/>
                  </a:cubicBezTo>
                  <a:cubicBezTo>
                    <a:pt x="284749" y="655815"/>
                    <a:pt x="284749" y="655815"/>
                    <a:pt x="283260" y="663256"/>
                  </a:cubicBezTo>
                  <a:cubicBezTo>
                    <a:pt x="281772" y="671193"/>
                    <a:pt x="282268" y="671193"/>
                    <a:pt x="281276" y="678635"/>
                  </a:cubicBezTo>
                  <a:cubicBezTo>
                    <a:pt x="279788" y="686572"/>
                    <a:pt x="279292" y="686076"/>
                    <a:pt x="277804" y="694013"/>
                  </a:cubicBezTo>
                  <a:cubicBezTo>
                    <a:pt x="276315" y="701950"/>
                    <a:pt x="277307" y="701950"/>
                    <a:pt x="275819" y="709887"/>
                  </a:cubicBezTo>
                  <a:cubicBezTo>
                    <a:pt x="274331" y="717825"/>
                    <a:pt x="273339" y="717329"/>
                    <a:pt x="272347" y="725266"/>
                  </a:cubicBezTo>
                  <a:cubicBezTo>
                    <a:pt x="270858" y="733203"/>
                    <a:pt x="267882" y="733203"/>
                    <a:pt x="269370" y="740644"/>
                  </a:cubicBezTo>
                  <a:cubicBezTo>
                    <a:pt x="270362" y="748085"/>
                    <a:pt x="272843" y="747589"/>
                    <a:pt x="276811" y="754038"/>
                  </a:cubicBezTo>
                  <a:cubicBezTo>
                    <a:pt x="280780" y="760487"/>
                    <a:pt x="281772" y="759991"/>
                    <a:pt x="285245" y="766440"/>
                  </a:cubicBezTo>
                  <a:cubicBezTo>
                    <a:pt x="289213" y="772889"/>
                    <a:pt x="288221" y="773385"/>
                    <a:pt x="292190" y="779834"/>
                  </a:cubicBezTo>
                  <a:cubicBezTo>
                    <a:pt x="296158" y="786284"/>
                    <a:pt x="295166" y="786779"/>
                    <a:pt x="299135" y="793228"/>
                  </a:cubicBezTo>
                  <a:cubicBezTo>
                    <a:pt x="303104" y="799677"/>
                    <a:pt x="304096" y="799181"/>
                    <a:pt x="308064" y="805630"/>
                  </a:cubicBezTo>
                  <a:cubicBezTo>
                    <a:pt x="312033" y="812079"/>
                    <a:pt x="311537" y="812576"/>
                    <a:pt x="315009" y="819025"/>
                  </a:cubicBezTo>
                  <a:cubicBezTo>
                    <a:pt x="318978" y="825474"/>
                    <a:pt x="319474" y="825474"/>
                    <a:pt x="321954" y="832419"/>
                  </a:cubicBezTo>
                  <a:cubicBezTo>
                    <a:pt x="324435" y="838868"/>
                    <a:pt x="323443" y="838868"/>
                    <a:pt x="324435" y="845813"/>
                  </a:cubicBezTo>
                  <a:cubicBezTo>
                    <a:pt x="325427" y="852758"/>
                    <a:pt x="326915" y="852758"/>
                    <a:pt x="324931" y="859207"/>
                  </a:cubicBezTo>
                  <a:cubicBezTo>
                    <a:pt x="322451" y="867640"/>
                    <a:pt x="318978" y="860199"/>
                    <a:pt x="307568" y="860199"/>
                  </a:cubicBezTo>
                  <a:cubicBezTo>
                    <a:pt x="302608" y="860199"/>
                    <a:pt x="296655" y="859703"/>
                    <a:pt x="289709" y="859207"/>
                  </a:cubicBezTo>
                  <a:cubicBezTo>
                    <a:pt x="285741" y="858711"/>
                    <a:pt x="281772" y="854742"/>
                    <a:pt x="277307" y="848789"/>
                  </a:cubicBezTo>
                  <a:cubicBezTo>
                    <a:pt x="274331" y="844821"/>
                    <a:pt x="270362" y="840356"/>
                    <a:pt x="267386" y="834899"/>
                  </a:cubicBezTo>
                  <a:cubicBezTo>
                    <a:pt x="264905" y="829938"/>
                    <a:pt x="264409" y="823985"/>
                    <a:pt x="261929" y="819025"/>
                  </a:cubicBezTo>
                  <a:cubicBezTo>
                    <a:pt x="259945" y="814064"/>
                    <a:pt x="256968" y="809103"/>
                    <a:pt x="254984" y="803646"/>
                  </a:cubicBezTo>
                  <a:cubicBezTo>
                    <a:pt x="253000" y="798189"/>
                    <a:pt x="251511" y="792732"/>
                    <a:pt x="250023" y="787772"/>
                  </a:cubicBezTo>
                  <a:cubicBezTo>
                    <a:pt x="248039" y="781819"/>
                    <a:pt x="244566" y="776858"/>
                    <a:pt x="243078" y="772393"/>
                  </a:cubicBezTo>
                  <a:cubicBezTo>
                    <a:pt x="240102" y="762968"/>
                    <a:pt x="241094" y="747589"/>
                    <a:pt x="239109" y="756023"/>
                  </a:cubicBezTo>
                  <a:cubicBezTo>
                    <a:pt x="237125" y="762968"/>
                    <a:pt x="238117" y="763464"/>
                    <a:pt x="238117" y="770409"/>
                  </a:cubicBezTo>
                  <a:cubicBezTo>
                    <a:pt x="238117" y="777354"/>
                    <a:pt x="238117" y="777354"/>
                    <a:pt x="238117" y="784795"/>
                  </a:cubicBezTo>
                  <a:cubicBezTo>
                    <a:pt x="238117" y="792236"/>
                    <a:pt x="244566" y="794717"/>
                    <a:pt x="239109" y="799677"/>
                  </a:cubicBezTo>
                  <a:cubicBezTo>
                    <a:pt x="234149" y="804638"/>
                    <a:pt x="230676" y="802158"/>
                    <a:pt x="224723" y="798189"/>
                  </a:cubicBezTo>
                  <a:cubicBezTo>
                    <a:pt x="215298" y="792236"/>
                    <a:pt x="221251" y="784795"/>
                    <a:pt x="210337" y="782315"/>
                  </a:cubicBezTo>
                  <a:cubicBezTo>
                    <a:pt x="203392" y="780826"/>
                    <a:pt x="207856" y="789260"/>
                    <a:pt x="201903" y="793228"/>
                  </a:cubicBezTo>
                  <a:cubicBezTo>
                    <a:pt x="194462" y="798189"/>
                    <a:pt x="193966" y="792732"/>
                    <a:pt x="184045" y="792732"/>
                  </a:cubicBezTo>
                  <a:cubicBezTo>
                    <a:pt x="178588" y="792732"/>
                    <a:pt x="172635" y="792732"/>
                    <a:pt x="166682" y="792732"/>
                  </a:cubicBezTo>
                  <a:cubicBezTo>
                    <a:pt x="160729" y="792236"/>
                    <a:pt x="154776" y="790252"/>
                    <a:pt x="149319" y="790252"/>
                  </a:cubicBezTo>
                  <a:cubicBezTo>
                    <a:pt x="142870" y="789756"/>
                    <a:pt x="136917" y="790748"/>
                    <a:pt x="131957" y="790252"/>
                  </a:cubicBezTo>
                  <a:cubicBezTo>
                    <a:pt x="122035" y="789260"/>
                    <a:pt x="115586" y="786779"/>
                    <a:pt x="116082" y="784795"/>
                  </a:cubicBezTo>
                  <a:cubicBezTo>
                    <a:pt x="117074" y="782811"/>
                    <a:pt x="121539" y="779338"/>
                    <a:pt x="129476" y="775370"/>
                  </a:cubicBezTo>
                  <a:cubicBezTo>
                    <a:pt x="133941" y="773385"/>
                    <a:pt x="139398" y="772393"/>
                    <a:pt x="145351" y="769913"/>
                  </a:cubicBezTo>
                  <a:cubicBezTo>
                    <a:pt x="150312" y="767929"/>
                    <a:pt x="155272" y="764952"/>
                    <a:pt x="160729" y="762968"/>
                  </a:cubicBezTo>
                  <a:cubicBezTo>
                    <a:pt x="165690" y="760983"/>
                    <a:pt x="171147" y="758999"/>
                    <a:pt x="176604" y="757015"/>
                  </a:cubicBezTo>
                  <a:cubicBezTo>
                    <a:pt x="182060" y="755030"/>
                    <a:pt x="186525" y="751558"/>
                    <a:pt x="191486" y="749574"/>
                  </a:cubicBezTo>
                  <a:cubicBezTo>
                    <a:pt x="196943" y="747093"/>
                    <a:pt x="202400" y="746101"/>
                    <a:pt x="206864" y="743621"/>
                  </a:cubicBezTo>
                  <a:cubicBezTo>
                    <a:pt x="206864" y="738164"/>
                    <a:pt x="206864" y="732707"/>
                    <a:pt x="206864" y="727250"/>
                  </a:cubicBezTo>
                  <a:cubicBezTo>
                    <a:pt x="206864" y="721793"/>
                    <a:pt x="207361" y="716336"/>
                    <a:pt x="206864" y="710880"/>
                  </a:cubicBezTo>
                  <a:cubicBezTo>
                    <a:pt x="206864" y="705423"/>
                    <a:pt x="207361" y="699966"/>
                    <a:pt x="206864" y="694509"/>
                  </a:cubicBezTo>
                  <a:cubicBezTo>
                    <a:pt x="206864" y="689052"/>
                    <a:pt x="204880" y="683595"/>
                    <a:pt x="204384" y="678138"/>
                  </a:cubicBezTo>
                  <a:cubicBezTo>
                    <a:pt x="204384" y="672682"/>
                    <a:pt x="203888" y="667225"/>
                    <a:pt x="203392" y="661768"/>
                  </a:cubicBezTo>
                  <a:cubicBezTo>
                    <a:pt x="202896" y="656311"/>
                    <a:pt x="203392" y="650854"/>
                    <a:pt x="203392" y="645397"/>
                  </a:cubicBezTo>
                  <a:cubicBezTo>
                    <a:pt x="202896" y="639941"/>
                    <a:pt x="203392" y="634484"/>
                    <a:pt x="202896" y="629027"/>
                  </a:cubicBezTo>
                  <a:cubicBezTo>
                    <a:pt x="202400" y="623570"/>
                    <a:pt x="202896" y="618113"/>
                    <a:pt x="202400" y="612656"/>
                  </a:cubicBezTo>
                  <a:cubicBezTo>
                    <a:pt x="201903" y="607199"/>
                    <a:pt x="200415" y="601742"/>
                    <a:pt x="199919" y="596285"/>
                  </a:cubicBezTo>
                  <a:cubicBezTo>
                    <a:pt x="199423" y="590829"/>
                    <a:pt x="198927" y="585372"/>
                    <a:pt x="198431" y="579915"/>
                  </a:cubicBezTo>
                  <a:cubicBezTo>
                    <a:pt x="197935" y="574458"/>
                    <a:pt x="198431" y="569001"/>
                    <a:pt x="197935" y="563544"/>
                  </a:cubicBezTo>
                  <a:cubicBezTo>
                    <a:pt x="197439" y="558088"/>
                    <a:pt x="196943" y="552631"/>
                    <a:pt x="195951" y="547174"/>
                  </a:cubicBezTo>
                  <a:cubicBezTo>
                    <a:pt x="195455" y="541717"/>
                    <a:pt x="193966" y="536260"/>
                    <a:pt x="192974" y="530803"/>
                  </a:cubicBezTo>
                  <a:cubicBezTo>
                    <a:pt x="192478" y="525346"/>
                    <a:pt x="191486" y="519890"/>
                    <a:pt x="190990" y="514433"/>
                  </a:cubicBezTo>
                  <a:cubicBezTo>
                    <a:pt x="190494" y="508976"/>
                    <a:pt x="190494" y="503519"/>
                    <a:pt x="189998" y="498062"/>
                  </a:cubicBezTo>
                  <a:cubicBezTo>
                    <a:pt x="189502" y="492605"/>
                    <a:pt x="189006" y="487148"/>
                    <a:pt x="188013" y="481692"/>
                  </a:cubicBezTo>
                  <a:cubicBezTo>
                    <a:pt x="187021" y="476235"/>
                    <a:pt x="184541" y="471274"/>
                    <a:pt x="183549" y="465817"/>
                  </a:cubicBezTo>
                  <a:cubicBezTo>
                    <a:pt x="182557" y="460360"/>
                    <a:pt x="181564" y="454903"/>
                    <a:pt x="180572" y="449446"/>
                  </a:cubicBezTo>
                  <a:cubicBezTo>
                    <a:pt x="179580" y="443990"/>
                    <a:pt x="179580" y="438533"/>
                    <a:pt x="178588" y="433076"/>
                  </a:cubicBezTo>
                  <a:cubicBezTo>
                    <a:pt x="177596" y="427619"/>
                    <a:pt x="177596" y="422162"/>
                    <a:pt x="176604" y="416705"/>
                  </a:cubicBezTo>
                  <a:cubicBezTo>
                    <a:pt x="175611" y="411248"/>
                    <a:pt x="174619" y="405792"/>
                    <a:pt x="173627" y="400831"/>
                  </a:cubicBezTo>
                  <a:cubicBezTo>
                    <a:pt x="172635" y="395374"/>
                    <a:pt x="171643" y="389917"/>
                    <a:pt x="170651" y="384956"/>
                  </a:cubicBezTo>
                  <a:cubicBezTo>
                    <a:pt x="169658" y="379500"/>
                    <a:pt x="167178" y="374539"/>
                    <a:pt x="166186" y="369082"/>
                  </a:cubicBezTo>
                  <a:cubicBezTo>
                    <a:pt x="165194" y="363625"/>
                    <a:pt x="164698" y="358168"/>
                    <a:pt x="163706" y="352711"/>
                  </a:cubicBezTo>
                  <a:cubicBezTo>
                    <a:pt x="162714" y="347255"/>
                    <a:pt x="161225" y="342294"/>
                    <a:pt x="159737" y="336837"/>
                  </a:cubicBezTo>
                  <a:cubicBezTo>
                    <a:pt x="158249" y="331380"/>
                    <a:pt x="157753" y="325923"/>
                    <a:pt x="156265" y="320962"/>
                  </a:cubicBezTo>
                  <a:cubicBezTo>
                    <a:pt x="154776" y="315505"/>
                    <a:pt x="153784" y="310049"/>
                    <a:pt x="152296" y="305088"/>
                  </a:cubicBezTo>
                  <a:cubicBezTo>
                    <a:pt x="150808" y="299631"/>
                    <a:pt x="150312" y="294174"/>
                    <a:pt x="148823" y="289213"/>
                  </a:cubicBezTo>
                  <a:cubicBezTo>
                    <a:pt x="147335" y="283756"/>
                    <a:pt x="145847" y="278796"/>
                    <a:pt x="144359" y="273339"/>
                  </a:cubicBezTo>
                  <a:cubicBezTo>
                    <a:pt x="142870" y="267882"/>
                    <a:pt x="141382" y="262921"/>
                    <a:pt x="139894" y="257464"/>
                  </a:cubicBezTo>
                  <a:cubicBezTo>
                    <a:pt x="138406" y="252008"/>
                    <a:pt x="136917" y="247047"/>
                    <a:pt x="135429" y="241590"/>
                  </a:cubicBezTo>
                  <a:cubicBezTo>
                    <a:pt x="133941" y="236133"/>
                    <a:pt x="131461" y="231172"/>
                    <a:pt x="129476" y="226211"/>
                  </a:cubicBezTo>
                  <a:cubicBezTo>
                    <a:pt x="127988" y="220755"/>
                    <a:pt x="125011" y="216290"/>
                    <a:pt x="123523" y="210833"/>
                  </a:cubicBezTo>
                  <a:cubicBezTo>
                    <a:pt x="122035" y="205376"/>
                    <a:pt x="122035" y="199423"/>
                    <a:pt x="120547" y="194462"/>
                  </a:cubicBezTo>
                  <a:cubicBezTo>
                    <a:pt x="118562" y="189006"/>
                    <a:pt x="116082" y="184541"/>
                    <a:pt x="114098" y="179084"/>
                  </a:cubicBezTo>
                  <a:cubicBezTo>
                    <a:pt x="112113" y="173627"/>
                    <a:pt x="110129" y="168666"/>
                    <a:pt x="108145" y="163706"/>
                  </a:cubicBezTo>
                  <a:cubicBezTo>
                    <a:pt x="106160" y="158249"/>
                    <a:pt x="104176" y="153288"/>
                    <a:pt x="102192" y="148327"/>
                  </a:cubicBezTo>
                  <a:cubicBezTo>
                    <a:pt x="100208" y="142870"/>
                    <a:pt x="99216" y="137413"/>
                    <a:pt x="97727" y="132453"/>
                  </a:cubicBezTo>
                  <a:cubicBezTo>
                    <a:pt x="95743" y="126996"/>
                    <a:pt x="92270" y="122531"/>
                    <a:pt x="90286" y="118066"/>
                  </a:cubicBezTo>
                  <a:cubicBezTo>
                    <a:pt x="88302" y="112609"/>
                    <a:pt x="85821" y="107649"/>
                    <a:pt x="83837" y="103184"/>
                  </a:cubicBezTo>
                  <a:cubicBezTo>
                    <a:pt x="81853" y="97727"/>
                    <a:pt x="79868" y="92766"/>
                    <a:pt x="77884" y="87806"/>
                  </a:cubicBezTo>
                  <a:cubicBezTo>
                    <a:pt x="75404" y="82349"/>
                    <a:pt x="73915" y="77388"/>
                    <a:pt x="71435" y="72923"/>
                  </a:cubicBezTo>
                  <a:cubicBezTo>
                    <a:pt x="68955" y="67466"/>
                    <a:pt x="66474" y="62506"/>
                    <a:pt x="64490" y="58041"/>
                  </a:cubicBezTo>
                  <a:cubicBezTo>
                    <a:pt x="62010" y="52584"/>
                    <a:pt x="58537" y="48119"/>
                    <a:pt x="56553" y="43655"/>
                  </a:cubicBezTo>
                  <a:cubicBezTo>
                    <a:pt x="53576" y="38198"/>
                    <a:pt x="52584" y="32741"/>
                    <a:pt x="50104" y="28772"/>
                  </a:cubicBezTo>
                  <a:cubicBezTo>
                    <a:pt x="45143" y="19347"/>
                    <a:pt x="49608" y="17363"/>
                    <a:pt x="42167" y="13890"/>
                  </a:cubicBezTo>
                  <a:cubicBezTo>
                    <a:pt x="35221" y="10418"/>
                    <a:pt x="34725" y="14386"/>
                    <a:pt x="26292" y="12898"/>
                  </a:cubicBezTo>
                  <a:cubicBezTo>
                    <a:pt x="21331" y="11906"/>
                    <a:pt x="15378" y="11906"/>
                    <a:pt x="10913" y="10418"/>
                  </a:cubicBezTo>
                  <a:cubicBezTo>
                    <a:pt x="4961" y="8433"/>
                    <a:pt x="496" y="4465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EA51AEEB-09E8-F4D2-2743-B0072485A8DC}"/>
                </a:ext>
              </a:extLst>
            </p:cNvPr>
            <p:cNvSpPr/>
            <p:nvPr/>
          </p:nvSpPr>
          <p:spPr>
            <a:xfrm>
              <a:off x="4042464" y="4600750"/>
              <a:ext cx="39480" cy="104159"/>
            </a:xfrm>
            <a:custGeom>
              <a:avLst/>
              <a:gdLst>
                <a:gd name="connsiteX0" fmla="*/ 36159 w 39480"/>
                <a:gd name="connsiteY0" fmla="*/ 101076 h 104159"/>
                <a:gd name="connsiteX1" fmla="*/ 19788 w 39480"/>
                <a:gd name="connsiteY1" fmla="*/ 100580 h 104159"/>
                <a:gd name="connsiteX2" fmla="*/ 2425 w 39480"/>
                <a:gd name="connsiteY2" fmla="*/ 102068 h 104159"/>
                <a:gd name="connsiteX3" fmla="*/ 2425 w 39480"/>
                <a:gd name="connsiteY3" fmla="*/ 87682 h 104159"/>
                <a:gd name="connsiteX4" fmla="*/ 2425 w 39480"/>
                <a:gd name="connsiteY4" fmla="*/ 73792 h 104159"/>
                <a:gd name="connsiteX5" fmla="*/ 2425 w 39480"/>
                <a:gd name="connsiteY5" fmla="*/ 59901 h 104159"/>
                <a:gd name="connsiteX6" fmla="*/ 6890 w 39480"/>
                <a:gd name="connsiteY6" fmla="*/ 46011 h 104159"/>
                <a:gd name="connsiteX7" fmla="*/ 10362 w 39480"/>
                <a:gd name="connsiteY7" fmla="*/ 31625 h 104159"/>
                <a:gd name="connsiteX8" fmla="*/ 14827 w 39480"/>
                <a:gd name="connsiteY8" fmla="*/ 17735 h 104159"/>
                <a:gd name="connsiteX9" fmla="*/ 17804 w 39480"/>
                <a:gd name="connsiteY9" fmla="*/ 3845 h 104159"/>
                <a:gd name="connsiteX10" fmla="*/ 36159 w 39480"/>
                <a:gd name="connsiteY10" fmla="*/ 4341 h 104159"/>
                <a:gd name="connsiteX11" fmla="*/ 36159 w 39480"/>
                <a:gd name="connsiteY11" fmla="*/ 19719 h 104159"/>
                <a:gd name="connsiteX12" fmla="*/ 37151 w 39480"/>
                <a:gd name="connsiteY12" fmla="*/ 36090 h 104159"/>
                <a:gd name="connsiteX13" fmla="*/ 36655 w 39480"/>
                <a:gd name="connsiteY13" fmla="*/ 52460 h 104159"/>
                <a:gd name="connsiteX14" fmla="*/ 36655 w 39480"/>
                <a:gd name="connsiteY14" fmla="*/ 68831 h 104159"/>
                <a:gd name="connsiteX15" fmla="*/ 36655 w 39480"/>
                <a:gd name="connsiteY15" fmla="*/ 85201 h 104159"/>
                <a:gd name="connsiteX16" fmla="*/ 36159 w 39480"/>
                <a:gd name="connsiteY16" fmla="*/ 101076 h 104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80" h="104159">
                  <a:moveTo>
                    <a:pt x="36159" y="101076"/>
                  </a:moveTo>
                  <a:cubicBezTo>
                    <a:pt x="30206" y="107029"/>
                    <a:pt x="28221" y="100580"/>
                    <a:pt x="19788" y="100580"/>
                  </a:cubicBezTo>
                  <a:cubicBezTo>
                    <a:pt x="11355" y="100580"/>
                    <a:pt x="8874" y="107525"/>
                    <a:pt x="2425" y="102068"/>
                  </a:cubicBezTo>
                  <a:cubicBezTo>
                    <a:pt x="-3032" y="97603"/>
                    <a:pt x="2425" y="94627"/>
                    <a:pt x="2425" y="87682"/>
                  </a:cubicBezTo>
                  <a:cubicBezTo>
                    <a:pt x="2425" y="80737"/>
                    <a:pt x="2425" y="80737"/>
                    <a:pt x="2425" y="73792"/>
                  </a:cubicBezTo>
                  <a:cubicBezTo>
                    <a:pt x="2425" y="66847"/>
                    <a:pt x="1433" y="66847"/>
                    <a:pt x="2425" y="59901"/>
                  </a:cubicBezTo>
                  <a:cubicBezTo>
                    <a:pt x="3418" y="52460"/>
                    <a:pt x="5402" y="52956"/>
                    <a:pt x="6890" y="46011"/>
                  </a:cubicBezTo>
                  <a:cubicBezTo>
                    <a:pt x="8874" y="39066"/>
                    <a:pt x="8378" y="39066"/>
                    <a:pt x="10362" y="31625"/>
                  </a:cubicBezTo>
                  <a:cubicBezTo>
                    <a:pt x="12347" y="24680"/>
                    <a:pt x="12843" y="24680"/>
                    <a:pt x="14827" y="17735"/>
                  </a:cubicBezTo>
                  <a:cubicBezTo>
                    <a:pt x="16811" y="10790"/>
                    <a:pt x="11851" y="7317"/>
                    <a:pt x="17804" y="3845"/>
                  </a:cubicBezTo>
                  <a:cubicBezTo>
                    <a:pt x="25741" y="-1116"/>
                    <a:pt x="28717" y="-1612"/>
                    <a:pt x="36159" y="4341"/>
                  </a:cubicBezTo>
                  <a:cubicBezTo>
                    <a:pt x="42112" y="9798"/>
                    <a:pt x="36159" y="11782"/>
                    <a:pt x="36159" y="19719"/>
                  </a:cubicBezTo>
                  <a:cubicBezTo>
                    <a:pt x="36159" y="27656"/>
                    <a:pt x="37151" y="27656"/>
                    <a:pt x="37151" y="36090"/>
                  </a:cubicBezTo>
                  <a:cubicBezTo>
                    <a:pt x="37151" y="44027"/>
                    <a:pt x="36655" y="44027"/>
                    <a:pt x="36655" y="52460"/>
                  </a:cubicBezTo>
                  <a:cubicBezTo>
                    <a:pt x="36655" y="60397"/>
                    <a:pt x="36655" y="60397"/>
                    <a:pt x="36655" y="68831"/>
                  </a:cubicBezTo>
                  <a:cubicBezTo>
                    <a:pt x="36655" y="76768"/>
                    <a:pt x="35166" y="77264"/>
                    <a:pt x="36655" y="85201"/>
                  </a:cubicBezTo>
                  <a:cubicBezTo>
                    <a:pt x="38639" y="93635"/>
                    <a:pt x="42112" y="95123"/>
                    <a:pt x="36159" y="101076"/>
                  </a:cubicBezTo>
                  <a:close/>
                </a:path>
              </a:pathLst>
            </a:custGeom>
            <a:solidFill>
              <a:srgbClr val="E1EBE5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F705019-4121-DDBC-54B6-CBA4B8F88A22}"/>
                </a:ext>
              </a:extLst>
            </p:cNvPr>
            <p:cNvSpPr/>
            <p:nvPr/>
          </p:nvSpPr>
          <p:spPr>
            <a:xfrm>
              <a:off x="4080111" y="4644336"/>
              <a:ext cx="171465" cy="33623"/>
            </a:xfrm>
            <a:custGeom>
              <a:avLst/>
              <a:gdLst>
                <a:gd name="connsiteX0" fmla="*/ 106657 w 171465"/>
                <a:gd name="connsiteY0" fmla="*/ 1929 h 33623"/>
                <a:gd name="connsiteX1" fmla="*/ 122035 w 171465"/>
                <a:gd name="connsiteY1" fmla="*/ 1433 h 33623"/>
                <a:gd name="connsiteX2" fmla="*/ 137414 w 171465"/>
                <a:gd name="connsiteY2" fmla="*/ 1433 h 33623"/>
                <a:gd name="connsiteX3" fmla="*/ 152792 w 171465"/>
                <a:gd name="connsiteY3" fmla="*/ 2425 h 33623"/>
                <a:gd name="connsiteX4" fmla="*/ 168171 w 171465"/>
                <a:gd name="connsiteY4" fmla="*/ 2425 h 33623"/>
                <a:gd name="connsiteX5" fmla="*/ 168667 w 171465"/>
                <a:gd name="connsiteY5" fmla="*/ 16315 h 33623"/>
                <a:gd name="connsiteX6" fmla="*/ 169163 w 171465"/>
                <a:gd name="connsiteY6" fmla="*/ 31198 h 33623"/>
                <a:gd name="connsiteX7" fmla="*/ 151800 w 171465"/>
                <a:gd name="connsiteY7" fmla="*/ 31198 h 33623"/>
                <a:gd name="connsiteX8" fmla="*/ 134933 w 171465"/>
                <a:gd name="connsiteY8" fmla="*/ 31694 h 33623"/>
                <a:gd name="connsiteX9" fmla="*/ 118066 w 171465"/>
                <a:gd name="connsiteY9" fmla="*/ 31694 h 33623"/>
                <a:gd name="connsiteX10" fmla="*/ 101200 w 171465"/>
                <a:gd name="connsiteY10" fmla="*/ 31694 h 33623"/>
                <a:gd name="connsiteX11" fmla="*/ 84333 w 171465"/>
                <a:gd name="connsiteY11" fmla="*/ 31694 h 33623"/>
                <a:gd name="connsiteX12" fmla="*/ 67467 w 171465"/>
                <a:gd name="connsiteY12" fmla="*/ 30702 h 33623"/>
                <a:gd name="connsiteX13" fmla="*/ 50600 w 171465"/>
                <a:gd name="connsiteY13" fmla="*/ 31198 h 33623"/>
                <a:gd name="connsiteX14" fmla="*/ 33733 w 171465"/>
                <a:gd name="connsiteY14" fmla="*/ 31198 h 33623"/>
                <a:gd name="connsiteX15" fmla="*/ 16867 w 171465"/>
                <a:gd name="connsiteY15" fmla="*/ 31198 h 33623"/>
                <a:gd name="connsiteX16" fmla="*/ 0 w 171465"/>
                <a:gd name="connsiteY16" fmla="*/ 30206 h 33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1465" h="33623">
                  <a:moveTo>
                    <a:pt x="106657" y="1929"/>
                  </a:moveTo>
                  <a:cubicBezTo>
                    <a:pt x="114594" y="1929"/>
                    <a:pt x="114594" y="1433"/>
                    <a:pt x="122035" y="1433"/>
                  </a:cubicBezTo>
                  <a:cubicBezTo>
                    <a:pt x="129972" y="1433"/>
                    <a:pt x="129972" y="1433"/>
                    <a:pt x="137414" y="1433"/>
                  </a:cubicBezTo>
                  <a:cubicBezTo>
                    <a:pt x="145351" y="1433"/>
                    <a:pt x="145351" y="2425"/>
                    <a:pt x="152792" y="2425"/>
                  </a:cubicBezTo>
                  <a:cubicBezTo>
                    <a:pt x="160233" y="2425"/>
                    <a:pt x="162218" y="-3032"/>
                    <a:pt x="168171" y="2425"/>
                  </a:cubicBezTo>
                  <a:cubicBezTo>
                    <a:pt x="173627" y="7386"/>
                    <a:pt x="168667" y="8874"/>
                    <a:pt x="168667" y="16315"/>
                  </a:cubicBezTo>
                  <a:cubicBezTo>
                    <a:pt x="168667" y="23261"/>
                    <a:pt x="174619" y="26733"/>
                    <a:pt x="169163" y="31198"/>
                  </a:cubicBezTo>
                  <a:cubicBezTo>
                    <a:pt x="162714" y="36655"/>
                    <a:pt x="160233" y="31198"/>
                    <a:pt x="151800" y="31198"/>
                  </a:cubicBezTo>
                  <a:cubicBezTo>
                    <a:pt x="143367" y="31198"/>
                    <a:pt x="143367" y="31694"/>
                    <a:pt x="134933" y="31694"/>
                  </a:cubicBezTo>
                  <a:cubicBezTo>
                    <a:pt x="126500" y="31694"/>
                    <a:pt x="126500" y="31694"/>
                    <a:pt x="118066" y="31694"/>
                  </a:cubicBezTo>
                  <a:cubicBezTo>
                    <a:pt x="109633" y="31694"/>
                    <a:pt x="109633" y="31694"/>
                    <a:pt x="101200" y="31694"/>
                  </a:cubicBezTo>
                  <a:cubicBezTo>
                    <a:pt x="92767" y="31694"/>
                    <a:pt x="92767" y="31694"/>
                    <a:pt x="84333" y="31694"/>
                  </a:cubicBezTo>
                  <a:cubicBezTo>
                    <a:pt x="75900" y="31694"/>
                    <a:pt x="75900" y="30702"/>
                    <a:pt x="67467" y="30702"/>
                  </a:cubicBezTo>
                  <a:cubicBezTo>
                    <a:pt x="59033" y="30702"/>
                    <a:pt x="59033" y="31198"/>
                    <a:pt x="50600" y="31198"/>
                  </a:cubicBezTo>
                  <a:cubicBezTo>
                    <a:pt x="42167" y="31198"/>
                    <a:pt x="42167" y="31198"/>
                    <a:pt x="33733" y="31198"/>
                  </a:cubicBezTo>
                  <a:cubicBezTo>
                    <a:pt x="25300" y="31198"/>
                    <a:pt x="25300" y="31198"/>
                    <a:pt x="16867" y="31198"/>
                  </a:cubicBezTo>
                  <a:cubicBezTo>
                    <a:pt x="8433" y="31198"/>
                    <a:pt x="8433" y="30206"/>
                    <a:pt x="0" y="3020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4E5CB915-BA23-37FB-CDCB-9D34E5F10038}"/>
                </a:ext>
              </a:extLst>
            </p:cNvPr>
            <p:cNvSpPr/>
            <p:nvPr/>
          </p:nvSpPr>
          <p:spPr>
            <a:xfrm>
              <a:off x="4080111" y="4644777"/>
              <a:ext cx="74411" cy="1984"/>
            </a:xfrm>
            <a:custGeom>
              <a:avLst/>
              <a:gdLst>
                <a:gd name="connsiteX0" fmla="*/ 0 w 74411"/>
                <a:gd name="connsiteY0" fmla="*/ 1488 h 1984"/>
                <a:gd name="connsiteX1" fmla="*/ 14882 w 74411"/>
                <a:gd name="connsiteY1" fmla="*/ 1984 h 1984"/>
                <a:gd name="connsiteX2" fmla="*/ 29765 w 74411"/>
                <a:gd name="connsiteY2" fmla="*/ 1488 h 1984"/>
                <a:gd name="connsiteX3" fmla="*/ 44647 w 74411"/>
                <a:gd name="connsiteY3" fmla="*/ 0 h 1984"/>
                <a:gd name="connsiteX4" fmla="*/ 59529 w 74411"/>
                <a:gd name="connsiteY4" fmla="*/ 0 h 1984"/>
                <a:gd name="connsiteX5" fmla="*/ 74412 w 74411"/>
                <a:gd name="connsiteY5" fmla="*/ 1488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411" h="1984">
                  <a:moveTo>
                    <a:pt x="0" y="1488"/>
                  </a:moveTo>
                  <a:cubicBezTo>
                    <a:pt x="7441" y="1488"/>
                    <a:pt x="7441" y="1984"/>
                    <a:pt x="14882" y="1984"/>
                  </a:cubicBezTo>
                  <a:cubicBezTo>
                    <a:pt x="22324" y="1984"/>
                    <a:pt x="22324" y="1488"/>
                    <a:pt x="29765" y="1488"/>
                  </a:cubicBezTo>
                  <a:cubicBezTo>
                    <a:pt x="37206" y="1488"/>
                    <a:pt x="37206" y="0"/>
                    <a:pt x="44647" y="0"/>
                  </a:cubicBezTo>
                  <a:cubicBezTo>
                    <a:pt x="52088" y="0"/>
                    <a:pt x="52088" y="0"/>
                    <a:pt x="59529" y="0"/>
                  </a:cubicBezTo>
                  <a:cubicBezTo>
                    <a:pt x="66971" y="0"/>
                    <a:pt x="66971" y="1488"/>
                    <a:pt x="74412" y="14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94C8EF84-40D7-761D-9E6F-6130FDB99AF8}"/>
                </a:ext>
              </a:extLst>
            </p:cNvPr>
            <p:cNvSpPr/>
            <p:nvPr/>
          </p:nvSpPr>
          <p:spPr>
            <a:xfrm>
              <a:off x="4023881" y="4123399"/>
              <a:ext cx="196329" cy="193966"/>
            </a:xfrm>
            <a:custGeom>
              <a:avLst/>
              <a:gdLst>
                <a:gd name="connsiteX0" fmla="*/ 89467 w 196329"/>
                <a:gd name="connsiteY0" fmla="*/ 121539 h 193966"/>
                <a:gd name="connsiteX1" fmla="*/ 75577 w 196329"/>
                <a:gd name="connsiteY1" fmla="*/ 112113 h 193966"/>
                <a:gd name="connsiteX2" fmla="*/ 61687 w 196329"/>
                <a:gd name="connsiteY2" fmla="*/ 102688 h 193966"/>
                <a:gd name="connsiteX3" fmla="*/ 46804 w 196329"/>
                <a:gd name="connsiteY3" fmla="*/ 94751 h 193966"/>
                <a:gd name="connsiteX4" fmla="*/ 37379 w 196329"/>
                <a:gd name="connsiteY4" fmla="*/ 81357 h 193966"/>
                <a:gd name="connsiteX5" fmla="*/ 26961 w 196329"/>
                <a:gd name="connsiteY5" fmla="*/ 68459 h 193966"/>
                <a:gd name="connsiteX6" fmla="*/ 18528 w 196329"/>
                <a:gd name="connsiteY6" fmla="*/ 54072 h 193966"/>
                <a:gd name="connsiteX7" fmla="*/ 9598 w 196329"/>
                <a:gd name="connsiteY7" fmla="*/ 40182 h 193966"/>
                <a:gd name="connsiteX8" fmla="*/ 2653 w 196329"/>
                <a:gd name="connsiteY8" fmla="*/ 25300 h 193966"/>
                <a:gd name="connsiteX9" fmla="*/ 173 w 196329"/>
                <a:gd name="connsiteY9" fmla="*/ 9425 h 193966"/>
                <a:gd name="connsiteX10" fmla="*/ 11087 w 196329"/>
                <a:gd name="connsiteY10" fmla="*/ 0 h 193966"/>
                <a:gd name="connsiteX11" fmla="*/ 26961 w 196329"/>
                <a:gd name="connsiteY11" fmla="*/ 4465 h 193966"/>
                <a:gd name="connsiteX12" fmla="*/ 41347 w 196329"/>
                <a:gd name="connsiteY12" fmla="*/ 10418 h 193966"/>
                <a:gd name="connsiteX13" fmla="*/ 51765 w 196329"/>
                <a:gd name="connsiteY13" fmla="*/ 21827 h 193966"/>
                <a:gd name="connsiteX14" fmla="*/ 60694 w 196329"/>
                <a:gd name="connsiteY14" fmla="*/ 34229 h 193966"/>
                <a:gd name="connsiteX15" fmla="*/ 68632 w 196329"/>
                <a:gd name="connsiteY15" fmla="*/ 47127 h 193966"/>
                <a:gd name="connsiteX16" fmla="*/ 74585 w 196329"/>
                <a:gd name="connsiteY16" fmla="*/ 61513 h 193966"/>
                <a:gd name="connsiteX17" fmla="*/ 79049 w 196329"/>
                <a:gd name="connsiteY17" fmla="*/ 76396 h 193966"/>
                <a:gd name="connsiteX18" fmla="*/ 83514 w 196329"/>
                <a:gd name="connsiteY18" fmla="*/ 91278 h 193966"/>
                <a:gd name="connsiteX19" fmla="*/ 86491 w 196329"/>
                <a:gd name="connsiteY19" fmla="*/ 106657 h 193966"/>
                <a:gd name="connsiteX20" fmla="*/ 89467 w 196329"/>
                <a:gd name="connsiteY20" fmla="*/ 122035 h 193966"/>
                <a:gd name="connsiteX21" fmla="*/ 100877 w 196329"/>
                <a:gd name="connsiteY21" fmla="*/ 132453 h 193966"/>
                <a:gd name="connsiteX22" fmla="*/ 112286 w 196329"/>
                <a:gd name="connsiteY22" fmla="*/ 142374 h 193966"/>
                <a:gd name="connsiteX23" fmla="*/ 124192 w 196329"/>
                <a:gd name="connsiteY23" fmla="*/ 151800 h 193966"/>
                <a:gd name="connsiteX24" fmla="*/ 135602 w 196329"/>
                <a:gd name="connsiteY24" fmla="*/ 161721 h 193966"/>
                <a:gd name="connsiteX25" fmla="*/ 146516 w 196329"/>
                <a:gd name="connsiteY25" fmla="*/ 172139 h 193966"/>
                <a:gd name="connsiteX26" fmla="*/ 157926 w 196329"/>
                <a:gd name="connsiteY26" fmla="*/ 182061 h 193966"/>
                <a:gd name="connsiteX27" fmla="*/ 168343 w 196329"/>
                <a:gd name="connsiteY27" fmla="*/ 193966 h 193966"/>
                <a:gd name="connsiteX28" fmla="*/ 179753 w 196329"/>
                <a:gd name="connsiteY28" fmla="*/ 182557 h 193966"/>
                <a:gd name="connsiteX29" fmla="*/ 187194 w 196329"/>
                <a:gd name="connsiteY29" fmla="*/ 169162 h 193966"/>
                <a:gd name="connsiteX30" fmla="*/ 193643 w 196329"/>
                <a:gd name="connsiteY30" fmla="*/ 155272 h 193966"/>
                <a:gd name="connsiteX31" fmla="*/ 195628 w 196329"/>
                <a:gd name="connsiteY31" fmla="*/ 140390 h 193966"/>
                <a:gd name="connsiteX32" fmla="*/ 196124 w 196329"/>
                <a:gd name="connsiteY32" fmla="*/ 125012 h 193966"/>
                <a:gd name="connsiteX33" fmla="*/ 191659 w 196329"/>
                <a:gd name="connsiteY33" fmla="*/ 110129 h 193966"/>
                <a:gd name="connsiteX34" fmla="*/ 183722 w 196329"/>
                <a:gd name="connsiteY34" fmla="*/ 96735 h 193966"/>
                <a:gd name="connsiteX35" fmla="*/ 173800 w 196329"/>
                <a:gd name="connsiteY35" fmla="*/ 84829 h 193966"/>
                <a:gd name="connsiteX36" fmla="*/ 162390 w 196329"/>
                <a:gd name="connsiteY36" fmla="*/ 74412 h 193966"/>
                <a:gd name="connsiteX37" fmla="*/ 148996 w 196329"/>
                <a:gd name="connsiteY37" fmla="*/ 66474 h 193966"/>
                <a:gd name="connsiteX38" fmla="*/ 134114 w 196329"/>
                <a:gd name="connsiteY38" fmla="*/ 62506 h 193966"/>
                <a:gd name="connsiteX39" fmla="*/ 118736 w 196329"/>
                <a:gd name="connsiteY39" fmla="*/ 60025 h 193966"/>
                <a:gd name="connsiteX40" fmla="*/ 102861 w 196329"/>
                <a:gd name="connsiteY40" fmla="*/ 60522 h 1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96329" h="193966">
                  <a:moveTo>
                    <a:pt x="89467" y="121539"/>
                  </a:moveTo>
                  <a:cubicBezTo>
                    <a:pt x="82522" y="116578"/>
                    <a:pt x="83514" y="117571"/>
                    <a:pt x="75577" y="112113"/>
                  </a:cubicBezTo>
                  <a:cubicBezTo>
                    <a:pt x="71112" y="109137"/>
                    <a:pt x="66647" y="105665"/>
                    <a:pt x="61687" y="102688"/>
                  </a:cubicBezTo>
                  <a:cubicBezTo>
                    <a:pt x="56230" y="99216"/>
                    <a:pt x="51269" y="96239"/>
                    <a:pt x="46804" y="94751"/>
                  </a:cubicBezTo>
                  <a:cubicBezTo>
                    <a:pt x="43332" y="90782"/>
                    <a:pt x="40851" y="85821"/>
                    <a:pt x="37379" y="81357"/>
                  </a:cubicBezTo>
                  <a:cubicBezTo>
                    <a:pt x="33906" y="76892"/>
                    <a:pt x="30433" y="72924"/>
                    <a:pt x="26961" y="68459"/>
                  </a:cubicBezTo>
                  <a:cubicBezTo>
                    <a:pt x="23984" y="63994"/>
                    <a:pt x="21504" y="59033"/>
                    <a:pt x="18528" y="54072"/>
                  </a:cubicBezTo>
                  <a:cubicBezTo>
                    <a:pt x="15551" y="49112"/>
                    <a:pt x="12079" y="44647"/>
                    <a:pt x="9598" y="40182"/>
                  </a:cubicBezTo>
                  <a:cubicBezTo>
                    <a:pt x="6622" y="34725"/>
                    <a:pt x="4141" y="29765"/>
                    <a:pt x="2653" y="25300"/>
                  </a:cubicBezTo>
                  <a:cubicBezTo>
                    <a:pt x="173" y="18851"/>
                    <a:pt x="-323" y="13394"/>
                    <a:pt x="173" y="9425"/>
                  </a:cubicBezTo>
                  <a:cubicBezTo>
                    <a:pt x="669" y="3473"/>
                    <a:pt x="3645" y="0"/>
                    <a:pt x="11087" y="0"/>
                  </a:cubicBezTo>
                  <a:cubicBezTo>
                    <a:pt x="15055" y="0"/>
                    <a:pt x="20016" y="1984"/>
                    <a:pt x="26961" y="4465"/>
                  </a:cubicBezTo>
                  <a:cubicBezTo>
                    <a:pt x="31922" y="6449"/>
                    <a:pt x="36883" y="7441"/>
                    <a:pt x="41347" y="10418"/>
                  </a:cubicBezTo>
                  <a:cubicBezTo>
                    <a:pt x="45316" y="13394"/>
                    <a:pt x="48292" y="17859"/>
                    <a:pt x="51765" y="21827"/>
                  </a:cubicBezTo>
                  <a:cubicBezTo>
                    <a:pt x="55237" y="25796"/>
                    <a:pt x="58214" y="29765"/>
                    <a:pt x="60694" y="34229"/>
                  </a:cubicBezTo>
                  <a:cubicBezTo>
                    <a:pt x="63175" y="38694"/>
                    <a:pt x="66647" y="42663"/>
                    <a:pt x="68632" y="47127"/>
                  </a:cubicBezTo>
                  <a:cubicBezTo>
                    <a:pt x="70616" y="51592"/>
                    <a:pt x="72600" y="56553"/>
                    <a:pt x="74585" y="61513"/>
                  </a:cubicBezTo>
                  <a:cubicBezTo>
                    <a:pt x="76073" y="66474"/>
                    <a:pt x="77561" y="71435"/>
                    <a:pt x="79049" y="76396"/>
                  </a:cubicBezTo>
                  <a:cubicBezTo>
                    <a:pt x="80538" y="81357"/>
                    <a:pt x="82026" y="86317"/>
                    <a:pt x="83514" y="91278"/>
                  </a:cubicBezTo>
                  <a:cubicBezTo>
                    <a:pt x="85002" y="96239"/>
                    <a:pt x="85002" y="101696"/>
                    <a:pt x="86491" y="106657"/>
                  </a:cubicBezTo>
                  <a:cubicBezTo>
                    <a:pt x="87482" y="111618"/>
                    <a:pt x="88475" y="117074"/>
                    <a:pt x="89467" y="122035"/>
                  </a:cubicBezTo>
                  <a:cubicBezTo>
                    <a:pt x="92939" y="125012"/>
                    <a:pt x="96412" y="128980"/>
                    <a:pt x="100877" y="132453"/>
                  </a:cubicBezTo>
                  <a:cubicBezTo>
                    <a:pt x="104349" y="135429"/>
                    <a:pt x="108318" y="138902"/>
                    <a:pt x="112286" y="142374"/>
                  </a:cubicBezTo>
                  <a:cubicBezTo>
                    <a:pt x="115759" y="145847"/>
                    <a:pt x="120224" y="148327"/>
                    <a:pt x="124192" y="151800"/>
                  </a:cubicBezTo>
                  <a:cubicBezTo>
                    <a:pt x="127665" y="155272"/>
                    <a:pt x="132129" y="158249"/>
                    <a:pt x="135602" y="161721"/>
                  </a:cubicBezTo>
                  <a:cubicBezTo>
                    <a:pt x="139571" y="165194"/>
                    <a:pt x="143043" y="168666"/>
                    <a:pt x="146516" y="172139"/>
                  </a:cubicBezTo>
                  <a:cubicBezTo>
                    <a:pt x="150484" y="175611"/>
                    <a:pt x="154453" y="179084"/>
                    <a:pt x="157926" y="182061"/>
                  </a:cubicBezTo>
                  <a:cubicBezTo>
                    <a:pt x="161894" y="186029"/>
                    <a:pt x="164871" y="190494"/>
                    <a:pt x="168343" y="193966"/>
                  </a:cubicBezTo>
                  <a:cubicBezTo>
                    <a:pt x="172312" y="190494"/>
                    <a:pt x="176280" y="186525"/>
                    <a:pt x="179753" y="182557"/>
                  </a:cubicBezTo>
                  <a:cubicBezTo>
                    <a:pt x="183226" y="178588"/>
                    <a:pt x="184714" y="173627"/>
                    <a:pt x="187194" y="169162"/>
                  </a:cubicBezTo>
                  <a:cubicBezTo>
                    <a:pt x="189675" y="164698"/>
                    <a:pt x="192155" y="160233"/>
                    <a:pt x="193643" y="155272"/>
                  </a:cubicBezTo>
                  <a:cubicBezTo>
                    <a:pt x="195131" y="150312"/>
                    <a:pt x="195628" y="145351"/>
                    <a:pt x="195628" y="140390"/>
                  </a:cubicBezTo>
                  <a:cubicBezTo>
                    <a:pt x="196124" y="135429"/>
                    <a:pt x="196620" y="129972"/>
                    <a:pt x="196124" y="125012"/>
                  </a:cubicBezTo>
                  <a:cubicBezTo>
                    <a:pt x="195131" y="120051"/>
                    <a:pt x="193643" y="115090"/>
                    <a:pt x="191659" y="110129"/>
                  </a:cubicBezTo>
                  <a:cubicBezTo>
                    <a:pt x="189675" y="105665"/>
                    <a:pt x="186698" y="101200"/>
                    <a:pt x="183722" y="96735"/>
                  </a:cubicBezTo>
                  <a:cubicBezTo>
                    <a:pt x="180745" y="92767"/>
                    <a:pt x="177769" y="88798"/>
                    <a:pt x="173800" y="84829"/>
                  </a:cubicBezTo>
                  <a:cubicBezTo>
                    <a:pt x="170327" y="81357"/>
                    <a:pt x="166855" y="77388"/>
                    <a:pt x="162390" y="74412"/>
                  </a:cubicBezTo>
                  <a:cubicBezTo>
                    <a:pt x="157926" y="70939"/>
                    <a:pt x="153461" y="68459"/>
                    <a:pt x="148996" y="66474"/>
                  </a:cubicBezTo>
                  <a:cubicBezTo>
                    <a:pt x="144035" y="63994"/>
                    <a:pt x="138579" y="63498"/>
                    <a:pt x="134114" y="62506"/>
                  </a:cubicBezTo>
                  <a:cubicBezTo>
                    <a:pt x="128657" y="61018"/>
                    <a:pt x="123696" y="60025"/>
                    <a:pt x="118736" y="60025"/>
                  </a:cubicBezTo>
                  <a:cubicBezTo>
                    <a:pt x="113279" y="60025"/>
                    <a:pt x="107822" y="59529"/>
                    <a:pt x="102861" y="605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A3B535E3-E48F-92B0-5ECD-15F7A0969744}"/>
                </a:ext>
              </a:extLst>
            </p:cNvPr>
            <p:cNvSpPr/>
            <p:nvPr/>
          </p:nvSpPr>
          <p:spPr>
            <a:xfrm>
              <a:off x="6457810" y="887978"/>
              <a:ext cx="528323" cy="822001"/>
            </a:xfrm>
            <a:custGeom>
              <a:avLst/>
              <a:gdLst>
                <a:gd name="connsiteX0" fmla="*/ 103184 w 1021424"/>
                <a:gd name="connsiteY0" fmla="*/ 822102 h 822102"/>
                <a:gd name="connsiteX1" fmla="*/ 92767 w 1021424"/>
                <a:gd name="connsiteY1" fmla="*/ 809204 h 822102"/>
                <a:gd name="connsiteX2" fmla="*/ 82845 w 1021424"/>
                <a:gd name="connsiteY2" fmla="*/ 795810 h 822102"/>
                <a:gd name="connsiteX3" fmla="*/ 74412 w 1021424"/>
                <a:gd name="connsiteY3" fmla="*/ 781424 h 822102"/>
                <a:gd name="connsiteX4" fmla="*/ 67466 w 1021424"/>
                <a:gd name="connsiteY4" fmla="*/ 766542 h 822102"/>
                <a:gd name="connsiteX5" fmla="*/ 59529 w 1021424"/>
                <a:gd name="connsiteY5" fmla="*/ 752155 h 822102"/>
                <a:gd name="connsiteX6" fmla="*/ 51096 w 1021424"/>
                <a:gd name="connsiteY6" fmla="*/ 737769 h 822102"/>
                <a:gd name="connsiteX7" fmla="*/ 44647 w 1021424"/>
                <a:gd name="connsiteY7" fmla="*/ 722391 h 822102"/>
                <a:gd name="connsiteX8" fmla="*/ 39190 w 1021424"/>
                <a:gd name="connsiteY8" fmla="*/ 706516 h 822102"/>
                <a:gd name="connsiteX9" fmla="*/ 31253 w 1021424"/>
                <a:gd name="connsiteY9" fmla="*/ 691634 h 822102"/>
                <a:gd name="connsiteX10" fmla="*/ 25796 w 1021424"/>
                <a:gd name="connsiteY10" fmla="*/ 675759 h 822102"/>
                <a:gd name="connsiteX11" fmla="*/ 20836 w 1021424"/>
                <a:gd name="connsiteY11" fmla="*/ 659885 h 822102"/>
                <a:gd name="connsiteX12" fmla="*/ 17859 w 1021424"/>
                <a:gd name="connsiteY12" fmla="*/ 643514 h 822102"/>
                <a:gd name="connsiteX13" fmla="*/ 12402 w 1021424"/>
                <a:gd name="connsiteY13" fmla="*/ 627640 h 822102"/>
                <a:gd name="connsiteX14" fmla="*/ 8930 w 1021424"/>
                <a:gd name="connsiteY14" fmla="*/ 611269 h 822102"/>
                <a:gd name="connsiteX15" fmla="*/ 5953 w 1021424"/>
                <a:gd name="connsiteY15" fmla="*/ 594899 h 822102"/>
                <a:gd name="connsiteX16" fmla="*/ 3969 w 1021424"/>
                <a:gd name="connsiteY16" fmla="*/ 578528 h 822102"/>
                <a:gd name="connsiteX17" fmla="*/ 2480 w 1021424"/>
                <a:gd name="connsiteY17" fmla="*/ 562158 h 822102"/>
                <a:gd name="connsiteX18" fmla="*/ 993 w 1021424"/>
                <a:gd name="connsiteY18" fmla="*/ 545787 h 822102"/>
                <a:gd name="connsiteX19" fmla="*/ 1488 w 1021424"/>
                <a:gd name="connsiteY19" fmla="*/ 528920 h 822102"/>
                <a:gd name="connsiteX20" fmla="*/ 0 w 1021424"/>
                <a:gd name="connsiteY20" fmla="*/ 512550 h 822102"/>
                <a:gd name="connsiteX21" fmla="*/ 993 w 1021424"/>
                <a:gd name="connsiteY21" fmla="*/ 496675 h 822102"/>
                <a:gd name="connsiteX22" fmla="*/ 1984 w 1021424"/>
                <a:gd name="connsiteY22" fmla="*/ 480801 h 822102"/>
                <a:gd name="connsiteX23" fmla="*/ 3969 w 1021424"/>
                <a:gd name="connsiteY23" fmla="*/ 464926 h 822102"/>
                <a:gd name="connsiteX24" fmla="*/ 3473 w 1021424"/>
                <a:gd name="connsiteY24" fmla="*/ 448556 h 822102"/>
                <a:gd name="connsiteX25" fmla="*/ 6449 w 1021424"/>
                <a:gd name="connsiteY25" fmla="*/ 432681 h 822102"/>
                <a:gd name="connsiteX26" fmla="*/ 8434 w 1021424"/>
                <a:gd name="connsiteY26" fmla="*/ 416807 h 822102"/>
                <a:gd name="connsiteX27" fmla="*/ 11410 w 1021424"/>
                <a:gd name="connsiteY27" fmla="*/ 400932 h 822102"/>
                <a:gd name="connsiteX28" fmla="*/ 14882 w 1021424"/>
                <a:gd name="connsiteY28" fmla="*/ 385058 h 822102"/>
                <a:gd name="connsiteX29" fmla="*/ 19347 w 1021424"/>
                <a:gd name="connsiteY29" fmla="*/ 369679 h 822102"/>
                <a:gd name="connsiteX30" fmla="*/ 25796 w 1021424"/>
                <a:gd name="connsiteY30" fmla="*/ 354797 h 822102"/>
                <a:gd name="connsiteX31" fmla="*/ 30261 w 1021424"/>
                <a:gd name="connsiteY31" fmla="*/ 339419 h 822102"/>
                <a:gd name="connsiteX32" fmla="*/ 36710 w 1021424"/>
                <a:gd name="connsiteY32" fmla="*/ 324536 h 822102"/>
                <a:gd name="connsiteX33" fmla="*/ 41671 w 1021424"/>
                <a:gd name="connsiteY33" fmla="*/ 309158 h 822102"/>
                <a:gd name="connsiteX34" fmla="*/ 48616 w 1021424"/>
                <a:gd name="connsiteY34" fmla="*/ 294772 h 822102"/>
                <a:gd name="connsiteX35" fmla="*/ 56057 w 1021424"/>
                <a:gd name="connsiteY35" fmla="*/ 280385 h 822102"/>
                <a:gd name="connsiteX36" fmla="*/ 63498 w 1021424"/>
                <a:gd name="connsiteY36" fmla="*/ 265999 h 822102"/>
                <a:gd name="connsiteX37" fmla="*/ 70939 w 1021424"/>
                <a:gd name="connsiteY37" fmla="*/ 251613 h 822102"/>
                <a:gd name="connsiteX38" fmla="*/ 79868 w 1021424"/>
                <a:gd name="connsiteY38" fmla="*/ 238219 h 822102"/>
                <a:gd name="connsiteX39" fmla="*/ 88798 w 1021424"/>
                <a:gd name="connsiteY39" fmla="*/ 224825 h 822102"/>
                <a:gd name="connsiteX40" fmla="*/ 98720 w 1021424"/>
                <a:gd name="connsiteY40" fmla="*/ 211927 h 822102"/>
                <a:gd name="connsiteX41" fmla="*/ 107153 w 1021424"/>
                <a:gd name="connsiteY41" fmla="*/ 198532 h 822102"/>
                <a:gd name="connsiteX42" fmla="*/ 116578 w 1021424"/>
                <a:gd name="connsiteY42" fmla="*/ 185634 h 822102"/>
                <a:gd name="connsiteX43" fmla="*/ 126996 w 1021424"/>
                <a:gd name="connsiteY43" fmla="*/ 173729 h 822102"/>
                <a:gd name="connsiteX44" fmla="*/ 137910 w 1021424"/>
                <a:gd name="connsiteY44" fmla="*/ 161823 h 822102"/>
                <a:gd name="connsiteX45" fmla="*/ 150312 w 1021424"/>
                <a:gd name="connsiteY45" fmla="*/ 151405 h 822102"/>
                <a:gd name="connsiteX46" fmla="*/ 160729 w 1021424"/>
                <a:gd name="connsiteY46" fmla="*/ 139003 h 822102"/>
                <a:gd name="connsiteX47" fmla="*/ 173627 w 1021424"/>
                <a:gd name="connsiteY47" fmla="*/ 129082 h 822102"/>
                <a:gd name="connsiteX48" fmla="*/ 186029 w 1021424"/>
                <a:gd name="connsiteY48" fmla="*/ 118664 h 822102"/>
                <a:gd name="connsiteX49" fmla="*/ 198927 w 1021424"/>
                <a:gd name="connsiteY49" fmla="*/ 109238 h 822102"/>
                <a:gd name="connsiteX50" fmla="*/ 210337 w 1021424"/>
                <a:gd name="connsiteY50" fmla="*/ 97829 h 822102"/>
                <a:gd name="connsiteX51" fmla="*/ 223731 w 1021424"/>
                <a:gd name="connsiteY51" fmla="*/ 88899 h 822102"/>
                <a:gd name="connsiteX52" fmla="*/ 237125 w 1021424"/>
                <a:gd name="connsiteY52" fmla="*/ 79970 h 822102"/>
                <a:gd name="connsiteX53" fmla="*/ 250519 w 1021424"/>
                <a:gd name="connsiteY53" fmla="*/ 71040 h 822102"/>
                <a:gd name="connsiteX54" fmla="*/ 265402 w 1021424"/>
                <a:gd name="connsiteY54" fmla="*/ 65087 h 822102"/>
                <a:gd name="connsiteX55" fmla="*/ 278796 w 1021424"/>
                <a:gd name="connsiteY55" fmla="*/ 55662 h 822102"/>
                <a:gd name="connsiteX56" fmla="*/ 293679 w 1021424"/>
                <a:gd name="connsiteY56" fmla="*/ 49213 h 822102"/>
                <a:gd name="connsiteX57" fmla="*/ 308561 w 1021424"/>
                <a:gd name="connsiteY57" fmla="*/ 43260 h 822102"/>
                <a:gd name="connsiteX58" fmla="*/ 323443 w 1021424"/>
                <a:gd name="connsiteY58" fmla="*/ 37307 h 822102"/>
                <a:gd name="connsiteX59" fmla="*/ 338326 w 1021424"/>
                <a:gd name="connsiteY59" fmla="*/ 31354 h 822102"/>
                <a:gd name="connsiteX60" fmla="*/ 353208 w 1021424"/>
                <a:gd name="connsiteY60" fmla="*/ 24409 h 822102"/>
                <a:gd name="connsiteX61" fmla="*/ 369082 w 1021424"/>
                <a:gd name="connsiteY61" fmla="*/ 20937 h 822102"/>
                <a:gd name="connsiteX62" fmla="*/ 384460 w 1021424"/>
                <a:gd name="connsiteY62" fmla="*/ 15480 h 822102"/>
                <a:gd name="connsiteX63" fmla="*/ 400335 w 1021424"/>
                <a:gd name="connsiteY63" fmla="*/ 11511 h 822102"/>
                <a:gd name="connsiteX64" fmla="*/ 416210 w 1021424"/>
                <a:gd name="connsiteY64" fmla="*/ 8535 h 822102"/>
                <a:gd name="connsiteX65" fmla="*/ 432084 w 1021424"/>
                <a:gd name="connsiteY65" fmla="*/ 5062 h 822102"/>
                <a:gd name="connsiteX66" fmla="*/ 448455 w 1021424"/>
                <a:gd name="connsiteY66" fmla="*/ 4070 h 822102"/>
                <a:gd name="connsiteX67" fmla="*/ 464329 w 1021424"/>
                <a:gd name="connsiteY67" fmla="*/ 2086 h 822102"/>
                <a:gd name="connsiteX68" fmla="*/ 480204 w 1021424"/>
                <a:gd name="connsiteY68" fmla="*/ 597 h 822102"/>
                <a:gd name="connsiteX69" fmla="*/ 496574 w 1021424"/>
                <a:gd name="connsiteY69" fmla="*/ 597 h 822102"/>
                <a:gd name="connsiteX70" fmla="*/ 512449 w 1021424"/>
                <a:gd name="connsiteY70" fmla="*/ 101 h 822102"/>
                <a:gd name="connsiteX71" fmla="*/ 528323 w 1021424"/>
                <a:gd name="connsiteY71" fmla="*/ 1093 h 822102"/>
                <a:gd name="connsiteX72" fmla="*/ 544694 w 1021424"/>
                <a:gd name="connsiteY72" fmla="*/ 101 h 822102"/>
                <a:gd name="connsiteX73" fmla="*/ 560568 w 1021424"/>
                <a:gd name="connsiteY73" fmla="*/ 3078 h 822102"/>
                <a:gd name="connsiteX74" fmla="*/ 576939 w 1021424"/>
                <a:gd name="connsiteY74" fmla="*/ 3078 h 822102"/>
                <a:gd name="connsiteX75" fmla="*/ 592813 w 1021424"/>
                <a:gd name="connsiteY75" fmla="*/ 6054 h 822102"/>
                <a:gd name="connsiteX76" fmla="*/ 608688 w 1021424"/>
                <a:gd name="connsiteY76" fmla="*/ 9031 h 822102"/>
                <a:gd name="connsiteX77" fmla="*/ 624562 w 1021424"/>
                <a:gd name="connsiteY77" fmla="*/ 12007 h 822102"/>
                <a:gd name="connsiteX78" fmla="*/ 640437 w 1021424"/>
                <a:gd name="connsiteY78" fmla="*/ 15480 h 822102"/>
                <a:gd name="connsiteX79" fmla="*/ 656311 w 1021424"/>
                <a:gd name="connsiteY79" fmla="*/ 18952 h 822102"/>
                <a:gd name="connsiteX80" fmla="*/ 671194 w 1021424"/>
                <a:gd name="connsiteY80" fmla="*/ 25401 h 822102"/>
                <a:gd name="connsiteX81" fmla="*/ 687068 w 1021424"/>
                <a:gd name="connsiteY81" fmla="*/ 28874 h 822102"/>
                <a:gd name="connsiteX82" fmla="*/ 702446 w 1021424"/>
                <a:gd name="connsiteY82" fmla="*/ 33835 h 822102"/>
                <a:gd name="connsiteX83" fmla="*/ 717329 w 1021424"/>
                <a:gd name="connsiteY83" fmla="*/ 40780 h 822102"/>
                <a:gd name="connsiteX84" fmla="*/ 731715 w 1021424"/>
                <a:gd name="connsiteY84" fmla="*/ 48221 h 822102"/>
                <a:gd name="connsiteX85" fmla="*/ 745605 w 1021424"/>
                <a:gd name="connsiteY85" fmla="*/ 56158 h 822102"/>
                <a:gd name="connsiteX86" fmla="*/ 760488 w 1021424"/>
                <a:gd name="connsiteY86" fmla="*/ 62111 h 822102"/>
                <a:gd name="connsiteX87" fmla="*/ 774874 w 1021424"/>
                <a:gd name="connsiteY87" fmla="*/ 69552 h 822102"/>
                <a:gd name="connsiteX88" fmla="*/ 788268 w 1021424"/>
                <a:gd name="connsiteY88" fmla="*/ 77985 h 822102"/>
                <a:gd name="connsiteX89" fmla="*/ 800670 w 1021424"/>
                <a:gd name="connsiteY89" fmla="*/ 88403 h 822102"/>
                <a:gd name="connsiteX90" fmla="*/ 814560 w 1021424"/>
                <a:gd name="connsiteY90" fmla="*/ 96836 h 822102"/>
                <a:gd name="connsiteX91" fmla="*/ 827954 w 1021424"/>
                <a:gd name="connsiteY91" fmla="*/ 105766 h 822102"/>
                <a:gd name="connsiteX92" fmla="*/ 839860 w 1021424"/>
                <a:gd name="connsiteY92" fmla="*/ 116680 h 822102"/>
                <a:gd name="connsiteX93" fmla="*/ 852262 w 1021424"/>
                <a:gd name="connsiteY93" fmla="*/ 127097 h 822102"/>
                <a:gd name="connsiteX94" fmla="*/ 863672 w 1021424"/>
                <a:gd name="connsiteY94" fmla="*/ 138507 h 822102"/>
                <a:gd name="connsiteX95" fmla="*/ 876074 w 1021424"/>
                <a:gd name="connsiteY95" fmla="*/ 148925 h 822102"/>
                <a:gd name="connsiteX96" fmla="*/ 887484 w 1021424"/>
                <a:gd name="connsiteY96" fmla="*/ 160334 h 822102"/>
                <a:gd name="connsiteX97" fmla="*/ 896909 w 1021424"/>
                <a:gd name="connsiteY97" fmla="*/ 173729 h 822102"/>
                <a:gd name="connsiteX98" fmla="*/ 907327 w 1021424"/>
                <a:gd name="connsiteY98" fmla="*/ 185634 h 822102"/>
                <a:gd name="connsiteX99" fmla="*/ 918240 w 1021424"/>
                <a:gd name="connsiteY99" fmla="*/ 197540 h 822102"/>
                <a:gd name="connsiteX100" fmla="*/ 927666 w 1021424"/>
                <a:gd name="connsiteY100" fmla="*/ 210438 h 822102"/>
                <a:gd name="connsiteX101" fmla="*/ 937587 w 1021424"/>
                <a:gd name="connsiteY101" fmla="*/ 223336 h 822102"/>
                <a:gd name="connsiteX102" fmla="*/ 945028 w 1021424"/>
                <a:gd name="connsiteY102" fmla="*/ 237723 h 822102"/>
                <a:gd name="connsiteX103" fmla="*/ 954454 w 1021424"/>
                <a:gd name="connsiteY103" fmla="*/ 250621 h 822102"/>
                <a:gd name="connsiteX104" fmla="*/ 961895 w 1021424"/>
                <a:gd name="connsiteY104" fmla="*/ 265007 h 822102"/>
                <a:gd name="connsiteX105" fmla="*/ 968840 w 1021424"/>
                <a:gd name="connsiteY105" fmla="*/ 279393 h 822102"/>
                <a:gd name="connsiteX106" fmla="*/ 977274 w 1021424"/>
                <a:gd name="connsiteY106" fmla="*/ 293283 h 822102"/>
                <a:gd name="connsiteX107" fmla="*/ 983723 w 1021424"/>
                <a:gd name="connsiteY107" fmla="*/ 308166 h 822102"/>
                <a:gd name="connsiteX108" fmla="*/ 990171 w 1021424"/>
                <a:gd name="connsiteY108" fmla="*/ 323048 h 822102"/>
                <a:gd name="connsiteX109" fmla="*/ 995132 w 1021424"/>
                <a:gd name="connsiteY109" fmla="*/ 338426 h 822102"/>
                <a:gd name="connsiteX110" fmla="*/ 1000590 w 1021424"/>
                <a:gd name="connsiteY110" fmla="*/ 353805 h 822102"/>
                <a:gd name="connsiteX111" fmla="*/ 1005550 w 1021424"/>
                <a:gd name="connsiteY111" fmla="*/ 369183 h 822102"/>
                <a:gd name="connsiteX112" fmla="*/ 1010015 w 1021424"/>
                <a:gd name="connsiteY112" fmla="*/ 384562 h 822102"/>
                <a:gd name="connsiteX113" fmla="*/ 1012992 w 1021424"/>
                <a:gd name="connsiteY113" fmla="*/ 400436 h 822102"/>
                <a:gd name="connsiteX114" fmla="*/ 1016464 w 1021424"/>
                <a:gd name="connsiteY114" fmla="*/ 416311 h 822102"/>
                <a:gd name="connsiteX115" fmla="*/ 1021425 w 1021424"/>
                <a:gd name="connsiteY115" fmla="*/ 431689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77274 w 1016464"/>
                <a:gd name="connsiteY106" fmla="*/ 293283 h 822102"/>
                <a:gd name="connsiteX107" fmla="*/ 983723 w 1016464"/>
                <a:gd name="connsiteY107" fmla="*/ 308166 h 822102"/>
                <a:gd name="connsiteX108" fmla="*/ 990171 w 1016464"/>
                <a:gd name="connsiteY108" fmla="*/ 323048 h 822102"/>
                <a:gd name="connsiteX109" fmla="*/ 995132 w 1016464"/>
                <a:gd name="connsiteY109" fmla="*/ 338426 h 822102"/>
                <a:gd name="connsiteX110" fmla="*/ 1000590 w 1016464"/>
                <a:gd name="connsiteY110" fmla="*/ 353805 h 822102"/>
                <a:gd name="connsiteX111" fmla="*/ 1005550 w 1016464"/>
                <a:gd name="connsiteY111" fmla="*/ 369183 h 822102"/>
                <a:gd name="connsiteX112" fmla="*/ 1010015 w 1016464"/>
                <a:gd name="connsiteY112" fmla="*/ 384562 h 822102"/>
                <a:gd name="connsiteX113" fmla="*/ 1012992 w 1016464"/>
                <a:gd name="connsiteY113" fmla="*/ 400436 h 822102"/>
                <a:gd name="connsiteX114" fmla="*/ 1016464 w 1016464"/>
                <a:gd name="connsiteY11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77274 w 1016464"/>
                <a:gd name="connsiteY106" fmla="*/ 293283 h 822102"/>
                <a:gd name="connsiteX107" fmla="*/ 983723 w 1016464"/>
                <a:gd name="connsiteY107" fmla="*/ 308166 h 822102"/>
                <a:gd name="connsiteX108" fmla="*/ 995132 w 1016464"/>
                <a:gd name="connsiteY108" fmla="*/ 338426 h 822102"/>
                <a:gd name="connsiteX109" fmla="*/ 1000590 w 1016464"/>
                <a:gd name="connsiteY109" fmla="*/ 353805 h 822102"/>
                <a:gd name="connsiteX110" fmla="*/ 1005550 w 1016464"/>
                <a:gd name="connsiteY110" fmla="*/ 369183 h 822102"/>
                <a:gd name="connsiteX111" fmla="*/ 1010015 w 1016464"/>
                <a:gd name="connsiteY111" fmla="*/ 384562 h 822102"/>
                <a:gd name="connsiteX112" fmla="*/ 1012992 w 1016464"/>
                <a:gd name="connsiteY112" fmla="*/ 400436 h 822102"/>
                <a:gd name="connsiteX113" fmla="*/ 1016464 w 1016464"/>
                <a:gd name="connsiteY11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83723 w 1016464"/>
                <a:gd name="connsiteY106" fmla="*/ 308166 h 822102"/>
                <a:gd name="connsiteX107" fmla="*/ 995132 w 1016464"/>
                <a:gd name="connsiteY107" fmla="*/ 338426 h 822102"/>
                <a:gd name="connsiteX108" fmla="*/ 1000590 w 1016464"/>
                <a:gd name="connsiteY108" fmla="*/ 353805 h 822102"/>
                <a:gd name="connsiteX109" fmla="*/ 1005550 w 1016464"/>
                <a:gd name="connsiteY109" fmla="*/ 369183 h 822102"/>
                <a:gd name="connsiteX110" fmla="*/ 1010015 w 1016464"/>
                <a:gd name="connsiteY110" fmla="*/ 384562 h 822102"/>
                <a:gd name="connsiteX111" fmla="*/ 1012992 w 1016464"/>
                <a:gd name="connsiteY111" fmla="*/ 400436 h 822102"/>
                <a:gd name="connsiteX112" fmla="*/ 1016464 w 1016464"/>
                <a:gd name="connsiteY11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83723 w 1016464"/>
                <a:gd name="connsiteY105" fmla="*/ 308166 h 822102"/>
                <a:gd name="connsiteX106" fmla="*/ 995132 w 1016464"/>
                <a:gd name="connsiteY106" fmla="*/ 338426 h 822102"/>
                <a:gd name="connsiteX107" fmla="*/ 1000590 w 1016464"/>
                <a:gd name="connsiteY107" fmla="*/ 353805 h 822102"/>
                <a:gd name="connsiteX108" fmla="*/ 1005550 w 1016464"/>
                <a:gd name="connsiteY108" fmla="*/ 369183 h 822102"/>
                <a:gd name="connsiteX109" fmla="*/ 1010015 w 1016464"/>
                <a:gd name="connsiteY109" fmla="*/ 384562 h 822102"/>
                <a:gd name="connsiteX110" fmla="*/ 1012992 w 1016464"/>
                <a:gd name="connsiteY110" fmla="*/ 400436 h 822102"/>
                <a:gd name="connsiteX111" fmla="*/ 1016464 w 1016464"/>
                <a:gd name="connsiteY11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83723 w 1016464"/>
                <a:gd name="connsiteY104" fmla="*/ 308166 h 822102"/>
                <a:gd name="connsiteX105" fmla="*/ 995132 w 1016464"/>
                <a:gd name="connsiteY105" fmla="*/ 338426 h 822102"/>
                <a:gd name="connsiteX106" fmla="*/ 1000590 w 1016464"/>
                <a:gd name="connsiteY106" fmla="*/ 353805 h 822102"/>
                <a:gd name="connsiteX107" fmla="*/ 1005550 w 1016464"/>
                <a:gd name="connsiteY107" fmla="*/ 369183 h 822102"/>
                <a:gd name="connsiteX108" fmla="*/ 1010015 w 1016464"/>
                <a:gd name="connsiteY108" fmla="*/ 384562 h 822102"/>
                <a:gd name="connsiteX109" fmla="*/ 1012992 w 1016464"/>
                <a:gd name="connsiteY109" fmla="*/ 400436 h 822102"/>
                <a:gd name="connsiteX110" fmla="*/ 1016464 w 1016464"/>
                <a:gd name="connsiteY11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83723 w 1016464"/>
                <a:gd name="connsiteY103" fmla="*/ 308166 h 822102"/>
                <a:gd name="connsiteX104" fmla="*/ 995132 w 1016464"/>
                <a:gd name="connsiteY104" fmla="*/ 338426 h 822102"/>
                <a:gd name="connsiteX105" fmla="*/ 1000590 w 1016464"/>
                <a:gd name="connsiteY105" fmla="*/ 353805 h 822102"/>
                <a:gd name="connsiteX106" fmla="*/ 1005550 w 1016464"/>
                <a:gd name="connsiteY106" fmla="*/ 369183 h 822102"/>
                <a:gd name="connsiteX107" fmla="*/ 1010015 w 1016464"/>
                <a:gd name="connsiteY107" fmla="*/ 384562 h 822102"/>
                <a:gd name="connsiteX108" fmla="*/ 1012992 w 1016464"/>
                <a:gd name="connsiteY108" fmla="*/ 400436 h 822102"/>
                <a:gd name="connsiteX109" fmla="*/ 1016464 w 1016464"/>
                <a:gd name="connsiteY10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83723 w 1016464"/>
                <a:gd name="connsiteY102" fmla="*/ 308166 h 822102"/>
                <a:gd name="connsiteX103" fmla="*/ 995132 w 1016464"/>
                <a:gd name="connsiteY103" fmla="*/ 338426 h 822102"/>
                <a:gd name="connsiteX104" fmla="*/ 1000590 w 1016464"/>
                <a:gd name="connsiteY104" fmla="*/ 353805 h 822102"/>
                <a:gd name="connsiteX105" fmla="*/ 1005550 w 1016464"/>
                <a:gd name="connsiteY105" fmla="*/ 369183 h 822102"/>
                <a:gd name="connsiteX106" fmla="*/ 1010015 w 1016464"/>
                <a:gd name="connsiteY106" fmla="*/ 384562 h 822102"/>
                <a:gd name="connsiteX107" fmla="*/ 1012992 w 1016464"/>
                <a:gd name="connsiteY107" fmla="*/ 400436 h 822102"/>
                <a:gd name="connsiteX108" fmla="*/ 1016464 w 1016464"/>
                <a:gd name="connsiteY108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83723 w 1016464"/>
                <a:gd name="connsiteY101" fmla="*/ 308166 h 822102"/>
                <a:gd name="connsiteX102" fmla="*/ 995132 w 1016464"/>
                <a:gd name="connsiteY102" fmla="*/ 338426 h 822102"/>
                <a:gd name="connsiteX103" fmla="*/ 1000590 w 1016464"/>
                <a:gd name="connsiteY103" fmla="*/ 353805 h 822102"/>
                <a:gd name="connsiteX104" fmla="*/ 1005550 w 1016464"/>
                <a:gd name="connsiteY104" fmla="*/ 369183 h 822102"/>
                <a:gd name="connsiteX105" fmla="*/ 1010015 w 1016464"/>
                <a:gd name="connsiteY105" fmla="*/ 384562 h 822102"/>
                <a:gd name="connsiteX106" fmla="*/ 1012992 w 1016464"/>
                <a:gd name="connsiteY106" fmla="*/ 400436 h 822102"/>
                <a:gd name="connsiteX107" fmla="*/ 1016464 w 1016464"/>
                <a:gd name="connsiteY107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83723 w 1016464"/>
                <a:gd name="connsiteY100" fmla="*/ 308166 h 822102"/>
                <a:gd name="connsiteX101" fmla="*/ 995132 w 1016464"/>
                <a:gd name="connsiteY101" fmla="*/ 338426 h 822102"/>
                <a:gd name="connsiteX102" fmla="*/ 1000590 w 1016464"/>
                <a:gd name="connsiteY102" fmla="*/ 353805 h 822102"/>
                <a:gd name="connsiteX103" fmla="*/ 1005550 w 1016464"/>
                <a:gd name="connsiteY103" fmla="*/ 369183 h 822102"/>
                <a:gd name="connsiteX104" fmla="*/ 1010015 w 1016464"/>
                <a:gd name="connsiteY104" fmla="*/ 384562 h 822102"/>
                <a:gd name="connsiteX105" fmla="*/ 1012992 w 1016464"/>
                <a:gd name="connsiteY105" fmla="*/ 400436 h 822102"/>
                <a:gd name="connsiteX106" fmla="*/ 1016464 w 1016464"/>
                <a:gd name="connsiteY106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18240 w 1016464"/>
                <a:gd name="connsiteY98" fmla="*/ 197540 h 822102"/>
                <a:gd name="connsiteX99" fmla="*/ 983723 w 1016464"/>
                <a:gd name="connsiteY99" fmla="*/ 308166 h 822102"/>
                <a:gd name="connsiteX100" fmla="*/ 995132 w 1016464"/>
                <a:gd name="connsiteY100" fmla="*/ 338426 h 822102"/>
                <a:gd name="connsiteX101" fmla="*/ 1000590 w 1016464"/>
                <a:gd name="connsiteY101" fmla="*/ 353805 h 822102"/>
                <a:gd name="connsiteX102" fmla="*/ 1005550 w 1016464"/>
                <a:gd name="connsiteY102" fmla="*/ 369183 h 822102"/>
                <a:gd name="connsiteX103" fmla="*/ 1010015 w 1016464"/>
                <a:gd name="connsiteY103" fmla="*/ 384562 h 822102"/>
                <a:gd name="connsiteX104" fmla="*/ 1012992 w 1016464"/>
                <a:gd name="connsiteY104" fmla="*/ 400436 h 822102"/>
                <a:gd name="connsiteX105" fmla="*/ 1016464 w 1016464"/>
                <a:gd name="connsiteY105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918240 w 1016464"/>
                <a:gd name="connsiteY97" fmla="*/ 197540 h 822102"/>
                <a:gd name="connsiteX98" fmla="*/ 983723 w 1016464"/>
                <a:gd name="connsiteY98" fmla="*/ 308166 h 822102"/>
                <a:gd name="connsiteX99" fmla="*/ 995132 w 1016464"/>
                <a:gd name="connsiteY99" fmla="*/ 338426 h 822102"/>
                <a:gd name="connsiteX100" fmla="*/ 1000590 w 1016464"/>
                <a:gd name="connsiteY100" fmla="*/ 353805 h 822102"/>
                <a:gd name="connsiteX101" fmla="*/ 1005550 w 1016464"/>
                <a:gd name="connsiteY101" fmla="*/ 369183 h 822102"/>
                <a:gd name="connsiteX102" fmla="*/ 1010015 w 1016464"/>
                <a:gd name="connsiteY102" fmla="*/ 384562 h 822102"/>
                <a:gd name="connsiteX103" fmla="*/ 1012992 w 1016464"/>
                <a:gd name="connsiteY103" fmla="*/ 400436 h 822102"/>
                <a:gd name="connsiteX104" fmla="*/ 1016464 w 1016464"/>
                <a:gd name="connsiteY10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918240 w 1016464"/>
                <a:gd name="connsiteY96" fmla="*/ 197540 h 822102"/>
                <a:gd name="connsiteX97" fmla="*/ 983723 w 1016464"/>
                <a:gd name="connsiteY97" fmla="*/ 308166 h 822102"/>
                <a:gd name="connsiteX98" fmla="*/ 995132 w 1016464"/>
                <a:gd name="connsiteY98" fmla="*/ 338426 h 822102"/>
                <a:gd name="connsiteX99" fmla="*/ 1000590 w 1016464"/>
                <a:gd name="connsiteY99" fmla="*/ 353805 h 822102"/>
                <a:gd name="connsiteX100" fmla="*/ 1005550 w 1016464"/>
                <a:gd name="connsiteY100" fmla="*/ 369183 h 822102"/>
                <a:gd name="connsiteX101" fmla="*/ 1010015 w 1016464"/>
                <a:gd name="connsiteY101" fmla="*/ 384562 h 822102"/>
                <a:gd name="connsiteX102" fmla="*/ 1012992 w 1016464"/>
                <a:gd name="connsiteY102" fmla="*/ 400436 h 822102"/>
                <a:gd name="connsiteX103" fmla="*/ 1016464 w 1016464"/>
                <a:gd name="connsiteY10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918240 w 1016464"/>
                <a:gd name="connsiteY95" fmla="*/ 197540 h 822102"/>
                <a:gd name="connsiteX96" fmla="*/ 983723 w 1016464"/>
                <a:gd name="connsiteY96" fmla="*/ 308166 h 822102"/>
                <a:gd name="connsiteX97" fmla="*/ 995132 w 1016464"/>
                <a:gd name="connsiteY97" fmla="*/ 338426 h 822102"/>
                <a:gd name="connsiteX98" fmla="*/ 1000590 w 1016464"/>
                <a:gd name="connsiteY98" fmla="*/ 353805 h 822102"/>
                <a:gd name="connsiteX99" fmla="*/ 1005550 w 1016464"/>
                <a:gd name="connsiteY99" fmla="*/ 369183 h 822102"/>
                <a:gd name="connsiteX100" fmla="*/ 1010015 w 1016464"/>
                <a:gd name="connsiteY100" fmla="*/ 384562 h 822102"/>
                <a:gd name="connsiteX101" fmla="*/ 1012992 w 1016464"/>
                <a:gd name="connsiteY101" fmla="*/ 400436 h 822102"/>
                <a:gd name="connsiteX102" fmla="*/ 1016464 w 1016464"/>
                <a:gd name="connsiteY10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774874 w 1016464"/>
                <a:gd name="connsiteY86" fmla="*/ 69552 h 822102"/>
                <a:gd name="connsiteX87" fmla="*/ 788268 w 1016464"/>
                <a:gd name="connsiteY87" fmla="*/ 77985 h 822102"/>
                <a:gd name="connsiteX88" fmla="*/ 800670 w 1016464"/>
                <a:gd name="connsiteY88" fmla="*/ 88403 h 822102"/>
                <a:gd name="connsiteX89" fmla="*/ 814560 w 1016464"/>
                <a:gd name="connsiteY89" fmla="*/ 96836 h 822102"/>
                <a:gd name="connsiteX90" fmla="*/ 827954 w 1016464"/>
                <a:gd name="connsiteY90" fmla="*/ 105766 h 822102"/>
                <a:gd name="connsiteX91" fmla="*/ 839860 w 1016464"/>
                <a:gd name="connsiteY91" fmla="*/ 116680 h 822102"/>
                <a:gd name="connsiteX92" fmla="*/ 852262 w 1016464"/>
                <a:gd name="connsiteY92" fmla="*/ 127097 h 822102"/>
                <a:gd name="connsiteX93" fmla="*/ 863672 w 1016464"/>
                <a:gd name="connsiteY93" fmla="*/ 138507 h 822102"/>
                <a:gd name="connsiteX94" fmla="*/ 918240 w 1016464"/>
                <a:gd name="connsiteY94" fmla="*/ 197540 h 822102"/>
                <a:gd name="connsiteX95" fmla="*/ 983723 w 1016464"/>
                <a:gd name="connsiteY95" fmla="*/ 308166 h 822102"/>
                <a:gd name="connsiteX96" fmla="*/ 995132 w 1016464"/>
                <a:gd name="connsiteY96" fmla="*/ 338426 h 822102"/>
                <a:gd name="connsiteX97" fmla="*/ 1000590 w 1016464"/>
                <a:gd name="connsiteY97" fmla="*/ 353805 h 822102"/>
                <a:gd name="connsiteX98" fmla="*/ 1005550 w 1016464"/>
                <a:gd name="connsiteY98" fmla="*/ 369183 h 822102"/>
                <a:gd name="connsiteX99" fmla="*/ 1010015 w 1016464"/>
                <a:gd name="connsiteY99" fmla="*/ 384562 h 822102"/>
                <a:gd name="connsiteX100" fmla="*/ 1012992 w 1016464"/>
                <a:gd name="connsiteY100" fmla="*/ 400436 h 822102"/>
                <a:gd name="connsiteX101" fmla="*/ 1016464 w 1016464"/>
                <a:gd name="connsiteY10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774874 w 1016464"/>
                <a:gd name="connsiteY86" fmla="*/ 69552 h 822102"/>
                <a:gd name="connsiteX87" fmla="*/ 800670 w 1016464"/>
                <a:gd name="connsiteY87" fmla="*/ 88403 h 822102"/>
                <a:gd name="connsiteX88" fmla="*/ 814560 w 1016464"/>
                <a:gd name="connsiteY88" fmla="*/ 96836 h 822102"/>
                <a:gd name="connsiteX89" fmla="*/ 827954 w 1016464"/>
                <a:gd name="connsiteY89" fmla="*/ 105766 h 822102"/>
                <a:gd name="connsiteX90" fmla="*/ 839860 w 1016464"/>
                <a:gd name="connsiteY90" fmla="*/ 116680 h 822102"/>
                <a:gd name="connsiteX91" fmla="*/ 852262 w 1016464"/>
                <a:gd name="connsiteY91" fmla="*/ 127097 h 822102"/>
                <a:gd name="connsiteX92" fmla="*/ 863672 w 1016464"/>
                <a:gd name="connsiteY92" fmla="*/ 138507 h 822102"/>
                <a:gd name="connsiteX93" fmla="*/ 918240 w 1016464"/>
                <a:gd name="connsiteY93" fmla="*/ 197540 h 822102"/>
                <a:gd name="connsiteX94" fmla="*/ 983723 w 1016464"/>
                <a:gd name="connsiteY94" fmla="*/ 308166 h 822102"/>
                <a:gd name="connsiteX95" fmla="*/ 995132 w 1016464"/>
                <a:gd name="connsiteY95" fmla="*/ 338426 h 822102"/>
                <a:gd name="connsiteX96" fmla="*/ 1000590 w 1016464"/>
                <a:gd name="connsiteY96" fmla="*/ 353805 h 822102"/>
                <a:gd name="connsiteX97" fmla="*/ 1005550 w 1016464"/>
                <a:gd name="connsiteY97" fmla="*/ 369183 h 822102"/>
                <a:gd name="connsiteX98" fmla="*/ 1010015 w 1016464"/>
                <a:gd name="connsiteY98" fmla="*/ 384562 h 822102"/>
                <a:gd name="connsiteX99" fmla="*/ 1012992 w 1016464"/>
                <a:gd name="connsiteY99" fmla="*/ 400436 h 822102"/>
                <a:gd name="connsiteX100" fmla="*/ 1016464 w 1016464"/>
                <a:gd name="connsiteY10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800670 w 1016464"/>
                <a:gd name="connsiteY86" fmla="*/ 88403 h 822102"/>
                <a:gd name="connsiteX87" fmla="*/ 814560 w 1016464"/>
                <a:gd name="connsiteY87" fmla="*/ 96836 h 822102"/>
                <a:gd name="connsiteX88" fmla="*/ 827954 w 1016464"/>
                <a:gd name="connsiteY88" fmla="*/ 105766 h 822102"/>
                <a:gd name="connsiteX89" fmla="*/ 839860 w 1016464"/>
                <a:gd name="connsiteY89" fmla="*/ 116680 h 822102"/>
                <a:gd name="connsiteX90" fmla="*/ 852262 w 1016464"/>
                <a:gd name="connsiteY90" fmla="*/ 127097 h 822102"/>
                <a:gd name="connsiteX91" fmla="*/ 863672 w 1016464"/>
                <a:gd name="connsiteY91" fmla="*/ 138507 h 822102"/>
                <a:gd name="connsiteX92" fmla="*/ 918240 w 1016464"/>
                <a:gd name="connsiteY92" fmla="*/ 197540 h 822102"/>
                <a:gd name="connsiteX93" fmla="*/ 983723 w 1016464"/>
                <a:gd name="connsiteY93" fmla="*/ 308166 h 822102"/>
                <a:gd name="connsiteX94" fmla="*/ 995132 w 1016464"/>
                <a:gd name="connsiteY94" fmla="*/ 338426 h 822102"/>
                <a:gd name="connsiteX95" fmla="*/ 1000590 w 1016464"/>
                <a:gd name="connsiteY95" fmla="*/ 353805 h 822102"/>
                <a:gd name="connsiteX96" fmla="*/ 1005550 w 1016464"/>
                <a:gd name="connsiteY96" fmla="*/ 369183 h 822102"/>
                <a:gd name="connsiteX97" fmla="*/ 1010015 w 1016464"/>
                <a:gd name="connsiteY97" fmla="*/ 384562 h 822102"/>
                <a:gd name="connsiteX98" fmla="*/ 1012992 w 1016464"/>
                <a:gd name="connsiteY98" fmla="*/ 400436 h 822102"/>
                <a:gd name="connsiteX99" fmla="*/ 1016464 w 1016464"/>
                <a:gd name="connsiteY9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800670 w 1016464"/>
                <a:gd name="connsiteY85" fmla="*/ 88403 h 822102"/>
                <a:gd name="connsiteX86" fmla="*/ 814560 w 1016464"/>
                <a:gd name="connsiteY86" fmla="*/ 96836 h 822102"/>
                <a:gd name="connsiteX87" fmla="*/ 827954 w 1016464"/>
                <a:gd name="connsiteY87" fmla="*/ 105766 h 822102"/>
                <a:gd name="connsiteX88" fmla="*/ 839860 w 1016464"/>
                <a:gd name="connsiteY88" fmla="*/ 116680 h 822102"/>
                <a:gd name="connsiteX89" fmla="*/ 852262 w 1016464"/>
                <a:gd name="connsiteY89" fmla="*/ 127097 h 822102"/>
                <a:gd name="connsiteX90" fmla="*/ 863672 w 1016464"/>
                <a:gd name="connsiteY90" fmla="*/ 138507 h 822102"/>
                <a:gd name="connsiteX91" fmla="*/ 918240 w 1016464"/>
                <a:gd name="connsiteY91" fmla="*/ 197540 h 822102"/>
                <a:gd name="connsiteX92" fmla="*/ 983723 w 1016464"/>
                <a:gd name="connsiteY92" fmla="*/ 308166 h 822102"/>
                <a:gd name="connsiteX93" fmla="*/ 995132 w 1016464"/>
                <a:gd name="connsiteY93" fmla="*/ 338426 h 822102"/>
                <a:gd name="connsiteX94" fmla="*/ 1000590 w 1016464"/>
                <a:gd name="connsiteY94" fmla="*/ 353805 h 822102"/>
                <a:gd name="connsiteX95" fmla="*/ 1005550 w 1016464"/>
                <a:gd name="connsiteY95" fmla="*/ 369183 h 822102"/>
                <a:gd name="connsiteX96" fmla="*/ 1010015 w 1016464"/>
                <a:gd name="connsiteY96" fmla="*/ 384562 h 822102"/>
                <a:gd name="connsiteX97" fmla="*/ 1012992 w 1016464"/>
                <a:gd name="connsiteY97" fmla="*/ 400436 h 822102"/>
                <a:gd name="connsiteX98" fmla="*/ 1016464 w 1016464"/>
                <a:gd name="connsiteY98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800670 w 1016464"/>
                <a:gd name="connsiteY84" fmla="*/ 88403 h 822102"/>
                <a:gd name="connsiteX85" fmla="*/ 814560 w 1016464"/>
                <a:gd name="connsiteY85" fmla="*/ 96836 h 822102"/>
                <a:gd name="connsiteX86" fmla="*/ 827954 w 1016464"/>
                <a:gd name="connsiteY86" fmla="*/ 105766 h 822102"/>
                <a:gd name="connsiteX87" fmla="*/ 839860 w 1016464"/>
                <a:gd name="connsiteY87" fmla="*/ 116680 h 822102"/>
                <a:gd name="connsiteX88" fmla="*/ 852262 w 1016464"/>
                <a:gd name="connsiteY88" fmla="*/ 127097 h 822102"/>
                <a:gd name="connsiteX89" fmla="*/ 863672 w 1016464"/>
                <a:gd name="connsiteY89" fmla="*/ 138507 h 822102"/>
                <a:gd name="connsiteX90" fmla="*/ 918240 w 1016464"/>
                <a:gd name="connsiteY90" fmla="*/ 197540 h 822102"/>
                <a:gd name="connsiteX91" fmla="*/ 983723 w 1016464"/>
                <a:gd name="connsiteY91" fmla="*/ 308166 h 822102"/>
                <a:gd name="connsiteX92" fmla="*/ 995132 w 1016464"/>
                <a:gd name="connsiteY92" fmla="*/ 338426 h 822102"/>
                <a:gd name="connsiteX93" fmla="*/ 1000590 w 1016464"/>
                <a:gd name="connsiteY93" fmla="*/ 353805 h 822102"/>
                <a:gd name="connsiteX94" fmla="*/ 1005550 w 1016464"/>
                <a:gd name="connsiteY94" fmla="*/ 369183 h 822102"/>
                <a:gd name="connsiteX95" fmla="*/ 1010015 w 1016464"/>
                <a:gd name="connsiteY95" fmla="*/ 384562 h 822102"/>
                <a:gd name="connsiteX96" fmla="*/ 1012992 w 1016464"/>
                <a:gd name="connsiteY96" fmla="*/ 400436 h 822102"/>
                <a:gd name="connsiteX97" fmla="*/ 1016464 w 1016464"/>
                <a:gd name="connsiteY97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17329 w 1016464"/>
                <a:gd name="connsiteY82" fmla="*/ 40780 h 822102"/>
                <a:gd name="connsiteX83" fmla="*/ 800670 w 1016464"/>
                <a:gd name="connsiteY83" fmla="*/ 88403 h 822102"/>
                <a:gd name="connsiteX84" fmla="*/ 814560 w 1016464"/>
                <a:gd name="connsiteY84" fmla="*/ 96836 h 822102"/>
                <a:gd name="connsiteX85" fmla="*/ 827954 w 1016464"/>
                <a:gd name="connsiteY85" fmla="*/ 105766 h 822102"/>
                <a:gd name="connsiteX86" fmla="*/ 839860 w 1016464"/>
                <a:gd name="connsiteY86" fmla="*/ 116680 h 822102"/>
                <a:gd name="connsiteX87" fmla="*/ 852262 w 1016464"/>
                <a:gd name="connsiteY87" fmla="*/ 127097 h 822102"/>
                <a:gd name="connsiteX88" fmla="*/ 863672 w 1016464"/>
                <a:gd name="connsiteY88" fmla="*/ 138507 h 822102"/>
                <a:gd name="connsiteX89" fmla="*/ 918240 w 1016464"/>
                <a:gd name="connsiteY89" fmla="*/ 197540 h 822102"/>
                <a:gd name="connsiteX90" fmla="*/ 983723 w 1016464"/>
                <a:gd name="connsiteY90" fmla="*/ 308166 h 822102"/>
                <a:gd name="connsiteX91" fmla="*/ 995132 w 1016464"/>
                <a:gd name="connsiteY91" fmla="*/ 338426 h 822102"/>
                <a:gd name="connsiteX92" fmla="*/ 1000590 w 1016464"/>
                <a:gd name="connsiteY92" fmla="*/ 353805 h 822102"/>
                <a:gd name="connsiteX93" fmla="*/ 1005550 w 1016464"/>
                <a:gd name="connsiteY93" fmla="*/ 369183 h 822102"/>
                <a:gd name="connsiteX94" fmla="*/ 1010015 w 1016464"/>
                <a:gd name="connsiteY94" fmla="*/ 384562 h 822102"/>
                <a:gd name="connsiteX95" fmla="*/ 1012992 w 1016464"/>
                <a:gd name="connsiteY95" fmla="*/ 400436 h 822102"/>
                <a:gd name="connsiteX96" fmla="*/ 1016464 w 1016464"/>
                <a:gd name="connsiteY96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717329 w 1016464"/>
                <a:gd name="connsiteY81" fmla="*/ 40780 h 822102"/>
                <a:gd name="connsiteX82" fmla="*/ 800670 w 1016464"/>
                <a:gd name="connsiteY82" fmla="*/ 88403 h 822102"/>
                <a:gd name="connsiteX83" fmla="*/ 814560 w 1016464"/>
                <a:gd name="connsiteY83" fmla="*/ 96836 h 822102"/>
                <a:gd name="connsiteX84" fmla="*/ 827954 w 1016464"/>
                <a:gd name="connsiteY84" fmla="*/ 105766 h 822102"/>
                <a:gd name="connsiteX85" fmla="*/ 839860 w 1016464"/>
                <a:gd name="connsiteY85" fmla="*/ 116680 h 822102"/>
                <a:gd name="connsiteX86" fmla="*/ 852262 w 1016464"/>
                <a:gd name="connsiteY86" fmla="*/ 127097 h 822102"/>
                <a:gd name="connsiteX87" fmla="*/ 863672 w 1016464"/>
                <a:gd name="connsiteY87" fmla="*/ 138507 h 822102"/>
                <a:gd name="connsiteX88" fmla="*/ 918240 w 1016464"/>
                <a:gd name="connsiteY88" fmla="*/ 197540 h 822102"/>
                <a:gd name="connsiteX89" fmla="*/ 983723 w 1016464"/>
                <a:gd name="connsiteY89" fmla="*/ 308166 h 822102"/>
                <a:gd name="connsiteX90" fmla="*/ 995132 w 1016464"/>
                <a:gd name="connsiteY90" fmla="*/ 338426 h 822102"/>
                <a:gd name="connsiteX91" fmla="*/ 1000590 w 1016464"/>
                <a:gd name="connsiteY91" fmla="*/ 353805 h 822102"/>
                <a:gd name="connsiteX92" fmla="*/ 1005550 w 1016464"/>
                <a:gd name="connsiteY92" fmla="*/ 369183 h 822102"/>
                <a:gd name="connsiteX93" fmla="*/ 1010015 w 1016464"/>
                <a:gd name="connsiteY93" fmla="*/ 384562 h 822102"/>
                <a:gd name="connsiteX94" fmla="*/ 1012992 w 1016464"/>
                <a:gd name="connsiteY94" fmla="*/ 400436 h 822102"/>
                <a:gd name="connsiteX95" fmla="*/ 1016464 w 1016464"/>
                <a:gd name="connsiteY95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717329 w 1016464"/>
                <a:gd name="connsiteY80" fmla="*/ 40780 h 822102"/>
                <a:gd name="connsiteX81" fmla="*/ 800670 w 1016464"/>
                <a:gd name="connsiteY81" fmla="*/ 88403 h 822102"/>
                <a:gd name="connsiteX82" fmla="*/ 814560 w 1016464"/>
                <a:gd name="connsiteY82" fmla="*/ 96836 h 822102"/>
                <a:gd name="connsiteX83" fmla="*/ 827954 w 1016464"/>
                <a:gd name="connsiteY83" fmla="*/ 105766 h 822102"/>
                <a:gd name="connsiteX84" fmla="*/ 839860 w 1016464"/>
                <a:gd name="connsiteY84" fmla="*/ 116680 h 822102"/>
                <a:gd name="connsiteX85" fmla="*/ 852262 w 1016464"/>
                <a:gd name="connsiteY85" fmla="*/ 127097 h 822102"/>
                <a:gd name="connsiteX86" fmla="*/ 863672 w 1016464"/>
                <a:gd name="connsiteY86" fmla="*/ 138507 h 822102"/>
                <a:gd name="connsiteX87" fmla="*/ 918240 w 1016464"/>
                <a:gd name="connsiteY87" fmla="*/ 197540 h 822102"/>
                <a:gd name="connsiteX88" fmla="*/ 983723 w 1016464"/>
                <a:gd name="connsiteY88" fmla="*/ 308166 h 822102"/>
                <a:gd name="connsiteX89" fmla="*/ 995132 w 1016464"/>
                <a:gd name="connsiteY89" fmla="*/ 338426 h 822102"/>
                <a:gd name="connsiteX90" fmla="*/ 1000590 w 1016464"/>
                <a:gd name="connsiteY90" fmla="*/ 353805 h 822102"/>
                <a:gd name="connsiteX91" fmla="*/ 1005550 w 1016464"/>
                <a:gd name="connsiteY91" fmla="*/ 369183 h 822102"/>
                <a:gd name="connsiteX92" fmla="*/ 1010015 w 1016464"/>
                <a:gd name="connsiteY92" fmla="*/ 384562 h 822102"/>
                <a:gd name="connsiteX93" fmla="*/ 1012992 w 1016464"/>
                <a:gd name="connsiteY93" fmla="*/ 400436 h 822102"/>
                <a:gd name="connsiteX94" fmla="*/ 1016464 w 1016464"/>
                <a:gd name="connsiteY9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717329 w 1016464"/>
                <a:gd name="connsiteY79" fmla="*/ 40780 h 822102"/>
                <a:gd name="connsiteX80" fmla="*/ 800670 w 1016464"/>
                <a:gd name="connsiteY80" fmla="*/ 88403 h 822102"/>
                <a:gd name="connsiteX81" fmla="*/ 814560 w 1016464"/>
                <a:gd name="connsiteY81" fmla="*/ 96836 h 822102"/>
                <a:gd name="connsiteX82" fmla="*/ 827954 w 1016464"/>
                <a:gd name="connsiteY82" fmla="*/ 105766 h 822102"/>
                <a:gd name="connsiteX83" fmla="*/ 839860 w 1016464"/>
                <a:gd name="connsiteY83" fmla="*/ 116680 h 822102"/>
                <a:gd name="connsiteX84" fmla="*/ 852262 w 1016464"/>
                <a:gd name="connsiteY84" fmla="*/ 127097 h 822102"/>
                <a:gd name="connsiteX85" fmla="*/ 863672 w 1016464"/>
                <a:gd name="connsiteY85" fmla="*/ 138507 h 822102"/>
                <a:gd name="connsiteX86" fmla="*/ 918240 w 1016464"/>
                <a:gd name="connsiteY86" fmla="*/ 197540 h 822102"/>
                <a:gd name="connsiteX87" fmla="*/ 983723 w 1016464"/>
                <a:gd name="connsiteY87" fmla="*/ 308166 h 822102"/>
                <a:gd name="connsiteX88" fmla="*/ 995132 w 1016464"/>
                <a:gd name="connsiteY88" fmla="*/ 338426 h 822102"/>
                <a:gd name="connsiteX89" fmla="*/ 1000590 w 1016464"/>
                <a:gd name="connsiteY89" fmla="*/ 353805 h 822102"/>
                <a:gd name="connsiteX90" fmla="*/ 1005550 w 1016464"/>
                <a:gd name="connsiteY90" fmla="*/ 369183 h 822102"/>
                <a:gd name="connsiteX91" fmla="*/ 1010015 w 1016464"/>
                <a:gd name="connsiteY91" fmla="*/ 384562 h 822102"/>
                <a:gd name="connsiteX92" fmla="*/ 1012992 w 1016464"/>
                <a:gd name="connsiteY92" fmla="*/ 400436 h 822102"/>
                <a:gd name="connsiteX93" fmla="*/ 1016464 w 1016464"/>
                <a:gd name="connsiteY9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717329 w 1016464"/>
                <a:gd name="connsiteY78" fmla="*/ 40780 h 822102"/>
                <a:gd name="connsiteX79" fmla="*/ 800670 w 1016464"/>
                <a:gd name="connsiteY79" fmla="*/ 88403 h 822102"/>
                <a:gd name="connsiteX80" fmla="*/ 814560 w 1016464"/>
                <a:gd name="connsiteY80" fmla="*/ 96836 h 822102"/>
                <a:gd name="connsiteX81" fmla="*/ 827954 w 1016464"/>
                <a:gd name="connsiteY81" fmla="*/ 105766 h 822102"/>
                <a:gd name="connsiteX82" fmla="*/ 839860 w 1016464"/>
                <a:gd name="connsiteY82" fmla="*/ 116680 h 822102"/>
                <a:gd name="connsiteX83" fmla="*/ 852262 w 1016464"/>
                <a:gd name="connsiteY83" fmla="*/ 127097 h 822102"/>
                <a:gd name="connsiteX84" fmla="*/ 863672 w 1016464"/>
                <a:gd name="connsiteY84" fmla="*/ 138507 h 822102"/>
                <a:gd name="connsiteX85" fmla="*/ 918240 w 1016464"/>
                <a:gd name="connsiteY85" fmla="*/ 197540 h 822102"/>
                <a:gd name="connsiteX86" fmla="*/ 983723 w 1016464"/>
                <a:gd name="connsiteY86" fmla="*/ 308166 h 822102"/>
                <a:gd name="connsiteX87" fmla="*/ 995132 w 1016464"/>
                <a:gd name="connsiteY87" fmla="*/ 338426 h 822102"/>
                <a:gd name="connsiteX88" fmla="*/ 1000590 w 1016464"/>
                <a:gd name="connsiteY88" fmla="*/ 353805 h 822102"/>
                <a:gd name="connsiteX89" fmla="*/ 1005550 w 1016464"/>
                <a:gd name="connsiteY89" fmla="*/ 369183 h 822102"/>
                <a:gd name="connsiteX90" fmla="*/ 1010015 w 1016464"/>
                <a:gd name="connsiteY90" fmla="*/ 384562 h 822102"/>
                <a:gd name="connsiteX91" fmla="*/ 1012992 w 1016464"/>
                <a:gd name="connsiteY91" fmla="*/ 400436 h 822102"/>
                <a:gd name="connsiteX92" fmla="*/ 1016464 w 1016464"/>
                <a:gd name="connsiteY9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717329 w 1016464"/>
                <a:gd name="connsiteY77" fmla="*/ 40780 h 822102"/>
                <a:gd name="connsiteX78" fmla="*/ 800670 w 1016464"/>
                <a:gd name="connsiteY78" fmla="*/ 88403 h 822102"/>
                <a:gd name="connsiteX79" fmla="*/ 814560 w 1016464"/>
                <a:gd name="connsiteY79" fmla="*/ 96836 h 822102"/>
                <a:gd name="connsiteX80" fmla="*/ 827954 w 1016464"/>
                <a:gd name="connsiteY80" fmla="*/ 105766 h 822102"/>
                <a:gd name="connsiteX81" fmla="*/ 839860 w 1016464"/>
                <a:gd name="connsiteY81" fmla="*/ 116680 h 822102"/>
                <a:gd name="connsiteX82" fmla="*/ 852262 w 1016464"/>
                <a:gd name="connsiteY82" fmla="*/ 127097 h 822102"/>
                <a:gd name="connsiteX83" fmla="*/ 863672 w 1016464"/>
                <a:gd name="connsiteY83" fmla="*/ 138507 h 822102"/>
                <a:gd name="connsiteX84" fmla="*/ 918240 w 1016464"/>
                <a:gd name="connsiteY84" fmla="*/ 197540 h 822102"/>
                <a:gd name="connsiteX85" fmla="*/ 983723 w 1016464"/>
                <a:gd name="connsiteY85" fmla="*/ 308166 h 822102"/>
                <a:gd name="connsiteX86" fmla="*/ 995132 w 1016464"/>
                <a:gd name="connsiteY86" fmla="*/ 338426 h 822102"/>
                <a:gd name="connsiteX87" fmla="*/ 1000590 w 1016464"/>
                <a:gd name="connsiteY87" fmla="*/ 353805 h 822102"/>
                <a:gd name="connsiteX88" fmla="*/ 1005550 w 1016464"/>
                <a:gd name="connsiteY88" fmla="*/ 369183 h 822102"/>
                <a:gd name="connsiteX89" fmla="*/ 1010015 w 1016464"/>
                <a:gd name="connsiteY89" fmla="*/ 384562 h 822102"/>
                <a:gd name="connsiteX90" fmla="*/ 1012992 w 1016464"/>
                <a:gd name="connsiteY90" fmla="*/ 400436 h 822102"/>
                <a:gd name="connsiteX91" fmla="*/ 1016464 w 1016464"/>
                <a:gd name="connsiteY9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717329 w 1016464"/>
                <a:gd name="connsiteY76" fmla="*/ 40780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717329 w 1016464"/>
                <a:gd name="connsiteY75" fmla="*/ 40780 h 822102"/>
                <a:gd name="connsiteX76" fmla="*/ 800670 w 1016464"/>
                <a:gd name="connsiteY76" fmla="*/ 88403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7329 w 1016464"/>
                <a:gd name="connsiteY76" fmla="*/ 40780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800670 w 1016464"/>
                <a:gd name="connsiteY76" fmla="*/ 88403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4513 w 1016464"/>
                <a:gd name="connsiteY76" fmla="*/ 45572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4513 w 1016464"/>
                <a:gd name="connsiteY76" fmla="*/ 45572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814560 w 1016464"/>
                <a:gd name="connsiteY76" fmla="*/ 96836 h 822102"/>
                <a:gd name="connsiteX77" fmla="*/ 827954 w 1016464"/>
                <a:gd name="connsiteY77" fmla="*/ 105766 h 822102"/>
                <a:gd name="connsiteX78" fmla="*/ 839860 w 1016464"/>
                <a:gd name="connsiteY78" fmla="*/ 116680 h 822102"/>
                <a:gd name="connsiteX79" fmla="*/ 852262 w 1016464"/>
                <a:gd name="connsiteY79" fmla="*/ 127097 h 822102"/>
                <a:gd name="connsiteX80" fmla="*/ 863672 w 1016464"/>
                <a:gd name="connsiteY80" fmla="*/ 138507 h 822102"/>
                <a:gd name="connsiteX81" fmla="*/ 918240 w 1016464"/>
                <a:gd name="connsiteY81" fmla="*/ 197540 h 822102"/>
                <a:gd name="connsiteX82" fmla="*/ 983723 w 1016464"/>
                <a:gd name="connsiteY82" fmla="*/ 308166 h 822102"/>
                <a:gd name="connsiteX83" fmla="*/ 995132 w 1016464"/>
                <a:gd name="connsiteY83" fmla="*/ 338426 h 822102"/>
                <a:gd name="connsiteX84" fmla="*/ 1000590 w 1016464"/>
                <a:gd name="connsiteY84" fmla="*/ 353805 h 822102"/>
                <a:gd name="connsiteX85" fmla="*/ 1005550 w 1016464"/>
                <a:gd name="connsiteY85" fmla="*/ 369183 h 822102"/>
                <a:gd name="connsiteX86" fmla="*/ 1010015 w 1016464"/>
                <a:gd name="connsiteY86" fmla="*/ 384562 h 822102"/>
                <a:gd name="connsiteX87" fmla="*/ 1012992 w 1016464"/>
                <a:gd name="connsiteY87" fmla="*/ 400436 h 822102"/>
                <a:gd name="connsiteX88" fmla="*/ 1016464 w 1016464"/>
                <a:gd name="connsiteY88" fmla="*/ 416311 h 822102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852262 w 1016464"/>
                <a:gd name="connsiteY78" fmla="*/ 130854 h 825859"/>
                <a:gd name="connsiteX79" fmla="*/ 863672 w 1016464"/>
                <a:gd name="connsiteY79" fmla="*/ 142264 h 825859"/>
                <a:gd name="connsiteX80" fmla="*/ 918240 w 1016464"/>
                <a:gd name="connsiteY80" fmla="*/ 201297 h 825859"/>
                <a:gd name="connsiteX81" fmla="*/ 983723 w 1016464"/>
                <a:gd name="connsiteY81" fmla="*/ 311923 h 825859"/>
                <a:gd name="connsiteX82" fmla="*/ 995132 w 1016464"/>
                <a:gd name="connsiteY82" fmla="*/ 342183 h 825859"/>
                <a:gd name="connsiteX83" fmla="*/ 1000590 w 1016464"/>
                <a:gd name="connsiteY83" fmla="*/ 357562 h 825859"/>
                <a:gd name="connsiteX84" fmla="*/ 1005550 w 1016464"/>
                <a:gd name="connsiteY84" fmla="*/ 372940 h 825859"/>
                <a:gd name="connsiteX85" fmla="*/ 1010015 w 1016464"/>
                <a:gd name="connsiteY85" fmla="*/ 388319 h 825859"/>
                <a:gd name="connsiteX86" fmla="*/ 1012992 w 1016464"/>
                <a:gd name="connsiteY86" fmla="*/ 404193 h 825859"/>
                <a:gd name="connsiteX87" fmla="*/ 1016464 w 1016464"/>
                <a:gd name="connsiteY87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852262 w 1016464"/>
                <a:gd name="connsiteY78" fmla="*/ 130854 h 825859"/>
                <a:gd name="connsiteX79" fmla="*/ 918240 w 1016464"/>
                <a:gd name="connsiteY79" fmla="*/ 201297 h 825859"/>
                <a:gd name="connsiteX80" fmla="*/ 983723 w 1016464"/>
                <a:gd name="connsiteY80" fmla="*/ 311923 h 825859"/>
                <a:gd name="connsiteX81" fmla="*/ 995132 w 1016464"/>
                <a:gd name="connsiteY81" fmla="*/ 342183 h 825859"/>
                <a:gd name="connsiteX82" fmla="*/ 1000590 w 1016464"/>
                <a:gd name="connsiteY82" fmla="*/ 357562 h 825859"/>
                <a:gd name="connsiteX83" fmla="*/ 1005550 w 1016464"/>
                <a:gd name="connsiteY83" fmla="*/ 372940 h 825859"/>
                <a:gd name="connsiteX84" fmla="*/ 1010015 w 1016464"/>
                <a:gd name="connsiteY84" fmla="*/ 388319 h 825859"/>
                <a:gd name="connsiteX85" fmla="*/ 1012992 w 1016464"/>
                <a:gd name="connsiteY85" fmla="*/ 404193 h 825859"/>
                <a:gd name="connsiteX86" fmla="*/ 1016464 w 1016464"/>
                <a:gd name="connsiteY86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918240 w 1016464"/>
                <a:gd name="connsiteY78" fmla="*/ 201297 h 825859"/>
                <a:gd name="connsiteX79" fmla="*/ 983723 w 1016464"/>
                <a:gd name="connsiteY79" fmla="*/ 311923 h 825859"/>
                <a:gd name="connsiteX80" fmla="*/ 995132 w 1016464"/>
                <a:gd name="connsiteY80" fmla="*/ 342183 h 825859"/>
                <a:gd name="connsiteX81" fmla="*/ 1000590 w 1016464"/>
                <a:gd name="connsiteY81" fmla="*/ 357562 h 825859"/>
                <a:gd name="connsiteX82" fmla="*/ 1005550 w 1016464"/>
                <a:gd name="connsiteY82" fmla="*/ 372940 h 825859"/>
                <a:gd name="connsiteX83" fmla="*/ 1010015 w 1016464"/>
                <a:gd name="connsiteY83" fmla="*/ 388319 h 825859"/>
                <a:gd name="connsiteX84" fmla="*/ 1012992 w 1016464"/>
                <a:gd name="connsiteY84" fmla="*/ 404193 h 825859"/>
                <a:gd name="connsiteX85" fmla="*/ 1016464 w 1016464"/>
                <a:gd name="connsiteY85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918240 w 1016464"/>
                <a:gd name="connsiteY77" fmla="*/ 201297 h 825859"/>
                <a:gd name="connsiteX78" fmla="*/ 983723 w 1016464"/>
                <a:gd name="connsiteY78" fmla="*/ 311923 h 825859"/>
                <a:gd name="connsiteX79" fmla="*/ 995132 w 1016464"/>
                <a:gd name="connsiteY79" fmla="*/ 342183 h 825859"/>
                <a:gd name="connsiteX80" fmla="*/ 1000590 w 1016464"/>
                <a:gd name="connsiteY80" fmla="*/ 357562 h 825859"/>
                <a:gd name="connsiteX81" fmla="*/ 1005550 w 1016464"/>
                <a:gd name="connsiteY81" fmla="*/ 372940 h 825859"/>
                <a:gd name="connsiteX82" fmla="*/ 1010015 w 1016464"/>
                <a:gd name="connsiteY82" fmla="*/ 388319 h 825859"/>
                <a:gd name="connsiteX83" fmla="*/ 1012992 w 1016464"/>
                <a:gd name="connsiteY83" fmla="*/ 404193 h 825859"/>
                <a:gd name="connsiteX84" fmla="*/ 1016464 w 1016464"/>
                <a:gd name="connsiteY84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983723 w 1016464"/>
                <a:gd name="connsiteY77" fmla="*/ 311923 h 825859"/>
                <a:gd name="connsiteX78" fmla="*/ 995132 w 1016464"/>
                <a:gd name="connsiteY78" fmla="*/ 342183 h 825859"/>
                <a:gd name="connsiteX79" fmla="*/ 1000590 w 1016464"/>
                <a:gd name="connsiteY79" fmla="*/ 357562 h 825859"/>
                <a:gd name="connsiteX80" fmla="*/ 1005550 w 1016464"/>
                <a:gd name="connsiteY80" fmla="*/ 372940 h 825859"/>
                <a:gd name="connsiteX81" fmla="*/ 1010015 w 1016464"/>
                <a:gd name="connsiteY81" fmla="*/ 388319 h 825859"/>
                <a:gd name="connsiteX82" fmla="*/ 1012992 w 1016464"/>
                <a:gd name="connsiteY82" fmla="*/ 404193 h 825859"/>
                <a:gd name="connsiteX83" fmla="*/ 1016464 w 1016464"/>
                <a:gd name="connsiteY83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995132 w 1016464"/>
                <a:gd name="connsiteY77" fmla="*/ 342183 h 825859"/>
                <a:gd name="connsiteX78" fmla="*/ 1000590 w 1016464"/>
                <a:gd name="connsiteY78" fmla="*/ 357562 h 825859"/>
                <a:gd name="connsiteX79" fmla="*/ 1005550 w 1016464"/>
                <a:gd name="connsiteY79" fmla="*/ 372940 h 825859"/>
                <a:gd name="connsiteX80" fmla="*/ 1010015 w 1016464"/>
                <a:gd name="connsiteY80" fmla="*/ 388319 h 825859"/>
                <a:gd name="connsiteX81" fmla="*/ 1012992 w 1016464"/>
                <a:gd name="connsiteY81" fmla="*/ 404193 h 825859"/>
                <a:gd name="connsiteX82" fmla="*/ 1016464 w 1016464"/>
                <a:gd name="connsiteY82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995132 w 1016464"/>
                <a:gd name="connsiteY77" fmla="*/ 342183 h 825859"/>
                <a:gd name="connsiteX78" fmla="*/ 1000590 w 1016464"/>
                <a:gd name="connsiteY78" fmla="*/ 357562 h 825859"/>
                <a:gd name="connsiteX79" fmla="*/ 1005550 w 1016464"/>
                <a:gd name="connsiteY79" fmla="*/ 372940 h 825859"/>
                <a:gd name="connsiteX80" fmla="*/ 1012992 w 1016464"/>
                <a:gd name="connsiteY80" fmla="*/ 404193 h 825859"/>
                <a:gd name="connsiteX81" fmla="*/ 1016464 w 1016464"/>
                <a:gd name="connsiteY81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1000590 w 1016464"/>
                <a:gd name="connsiteY77" fmla="*/ 357562 h 825859"/>
                <a:gd name="connsiteX78" fmla="*/ 1005550 w 1016464"/>
                <a:gd name="connsiteY78" fmla="*/ 372940 h 825859"/>
                <a:gd name="connsiteX79" fmla="*/ 1012992 w 1016464"/>
                <a:gd name="connsiteY79" fmla="*/ 404193 h 825859"/>
                <a:gd name="connsiteX80" fmla="*/ 1016464 w 1016464"/>
                <a:gd name="connsiteY80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1000590 w 1016464"/>
                <a:gd name="connsiteY76" fmla="*/ 357562 h 825859"/>
                <a:gd name="connsiteX77" fmla="*/ 1005550 w 1016464"/>
                <a:gd name="connsiteY77" fmla="*/ 372940 h 825859"/>
                <a:gd name="connsiteX78" fmla="*/ 1012992 w 1016464"/>
                <a:gd name="connsiteY78" fmla="*/ 404193 h 825859"/>
                <a:gd name="connsiteX79" fmla="*/ 1016464 w 1016464"/>
                <a:gd name="connsiteY79" fmla="*/ 420068 h 825859"/>
                <a:gd name="connsiteX0" fmla="*/ 103184 w 1015622"/>
                <a:gd name="connsiteY0" fmla="*/ 825859 h 825859"/>
                <a:gd name="connsiteX1" fmla="*/ 92767 w 1015622"/>
                <a:gd name="connsiteY1" fmla="*/ 812961 h 825859"/>
                <a:gd name="connsiteX2" fmla="*/ 82845 w 1015622"/>
                <a:gd name="connsiteY2" fmla="*/ 799567 h 825859"/>
                <a:gd name="connsiteX3" fmla="*/ 74412 w 1015622"/>
                <a:gd name="connsiteY3" fmla="*/ 785181 h 825859"/>
                <a:gd name="connsiteX4" fmla="*/ 67466 w 1015622"/>
                <a:gd name="connsiteY4" fmla="*/ 770299 h 825859"/>
                <a:gd name="connsiteX5" fmla="*/ 59529 w 1015622"/>
                <a:gd name="connsiteY5" fmla="*/ 755912 h 825859"/>
                <a:gd name="connsiteX6" fmla="*/ 51096 w 1015622"/>
                <a:gd name="connsiteY6" fmla="*/ 741526 h 825859"/>
                <a:gd name="connsiteX7" fmla="*/ 44647 w 1015622"/>
                <a:gd name="connsiteY7" fmla="*/ 726148 h 825859"/>
                <a:gd name="connsiteX8" fmla="*/ 39190 w 1015622"/>
                <a:gd name="connsiteY8" fmla="*/ 710273 h 825859"/>
                <a:gd name="connsiteX9" fmla="*/ 31253 w 1015622"/>
                <a:gd name="connsiteY9" fmla="*/ 695391 h 825859"/>
                <a:gd name="connsiteX10" fmla="*/ 25796 w 1015622"/>
                <a:gd name="connsiteY10" fmla="*/ 679516 h 825859"/>
                <a:gd name="connsiteX11" fmla="*/ 20836 w 1015622"/>
                <a:gd name="connsiteY11" fmla="*/ 663642 h 825859"/>
                <a:gd name="connsiteX12" fmla="*/ 17859 w 1015622"/>
                <a:gd name="connsiteY12" fmla="*/ 647271 h 825859"/>
                <a:gd name="connsiteX13" fmla="*/ 12402 w 1015622"/>
                <a:gd name="connsiteY13" fmla="*/ 631397 h 825859"/>
                <a:gd name="connsiteX14" fmla="*/ 8930 w 1015622"/>
                <a:gd name="connsiteY14" fmla="*/ 615026 h 825859"/>
                <a:gd name="connsiteX15" fmla="*/ 5953 w 1015622"/>
                <a:gd name="connsiteY15" fmla="*/ 598656 h 825859"/>
                <a:gd name="connsiteX16" fmla="*/ 3969 w 1015622"/>
                <a:gd name="connsiteY16" fmla="*/ 582285 h 825859"/>
                <a:gd name="connsiteX17" fmla="*/ 2480 w 1015622"/>
                <a:gd name="connsiteY17" fmla="*/ 565915 h 825859"/>
                <a:gd name="connsiteX18" fmla="*/ 993 w 1015622"/>
                <a:gd name="connsiteY18" fmla="*/ 549544 h 825859"/>
                <a:gd name="connsiteX19" fmla="*/ 1488 w 1015622"/>
                <a:gd name="connsiteY19" fmla="*/ 532677 h 825859"/>
                <a:gd name="connsiteX20" fmla="*/ 0 w 1015622"/>
                <a:gd name="connsiteY20" fmla="*/ 516307 h 825859"/>
                <a:gd name="connsiteX21" fmla="*/ 993 w 1015622"/>
                <a:gd name="connsiteY21" fmla="*/ 500432 h 825859"/>
                <a:gd name="connsiteX22" fmla="*/ 1984 w 1015622"/>
                <a:gd name="connsiteY22" fmla="*/ 484558 h 825859"/>
                <a:gd name="connsiteX23" fmla="*/ 3969 w 1015622"/>
                <a:gd name="connsiteY23" fmla="*/ 468683 h 825859"/>
                <a:gd name="connsiteX24" fmla="*/ 3473 w 1015622"/>
                <a:gd name="connsiteY24" fmla="*/ 452313 h 825859"/>
                <a:gd name="connsiteX25" fmla="*/ 6449 w 1015622"/>
                <a:gd name="connsiteY25" fmla="*/ 436438 h 825859"/>
                <a:gd name="connsiteX26" fmla="*/ 8434 w 1015622"/>
                <a:gd name="connsiteY26" fmla="*/ 420564 h 825859"/>
                <a:gd name="connsiteX27" fmla="*/ 11410 w 1015622"/>
                <a:gd name="connsiteY27" fmla="*/ 404689 h 825859"/>
                <a:gd name="connsiteX28" fmla="*/ 14882 w 1015622"/>
                <a:gd name="connsiteY28" fmla="*/ 388815 h 825859"/>
                <a:gd name="connsiteX29" fmla="*/ 19347 w 1015622"/>
                <a:gd name="connsiteY29" fmla="*/ 373436 h 825859"/>
                <a:gd name="connsiteX30" fmla="*/ 25796 w 1015622"/>
                <a:gd name="connsiteY30" fmla="*/ 358554 h 825859"/>
                <a:gd name="connsiteX31" fmla="*/ 30261 w 1015622"/>
                <a:gd name="connsiteY31" fmla="*/ 343176 h 825859"/>
                <a:gd name="connsiteX32" fmla="*/ 36710 w 1015622"/>
                <a:gd name="connsiteY32" fmla="*/ 328293 h 825859"/>
                <a:gd name="connsiteX33" fmla="*/ 41671 w 1015622"/>
                <a:gd name="connsiteY33" fmla="*/ 312915 h 825859"/>
                <a:gd name="connsiteX34" fmla="*/ 48616 w 1015622"/>
                <a:gd name="connsiteY34" fmla="*/ 298529 h 825859"/>
                <a:gd name="connsiteX35" fmla="*/ 56057 w 1015622"/>
                <a:gd name="connsiteY35" fmla="*/ 284142 h 825859"/>
                <a:gd name="connsiteX36" fmla="*/ 63498 w 1015622"/>
                <a:gd name="connsiteY36" fmla="*/ 269756 h 825859"/>
                <a:gd name="connsiteX37" fmla="*/ 70939 w 1015622"/>
                <a:gd name="connsiteY37" fmla="*/ 255370 h 825859"/>
                <a:gd name="connsiteX38" fmla="*/ 79868 w 1015622"/>
                <a:gd name="connsiteY38" fmla="*/ 241976 h 825859"/>
                <a:gd name="connsiteX39" fmla="*/ 88798 w 1015622"/>
                <a:gd name="connsiteY39" fmla="*/ 228582 h 825859"/>
                <a:gd name="connsiteX40" fmla="*/ 98720 w 1015622"/>
                <a:gd name="connsiteY40" fmla="*/ 215684 h 825859"/>
                <a:gd name="connsiteX41" fmla="*/ 107153 w 1015622"/>
                <a:gd name="connsiteY41" fmla="*/ 202289 h 825859"/>
                <a:gd name="connsiteX42" fmla="*/ 116578 w 1015622"/>
                <a:gd name="connsiteY42" fmla="*/ 189391 h 825859"/>
                <a:gd name="connsiteX43" fmla="*/ 126996 w 1015622"/>
                <a:gd name="connsiteY43" fmla="*/ 177486 h 825859"/>
                <a:gd name="connsiteX44" fmla="*/ 137910 w 1015622"/>
                <a:gd name="connsiteY44" fmla="*/ 165580 h 825859"/>
                <a:gd name="connsiteX45" fmla="*/ 150312 w 1015622"/>
                <a:gd name="connsiteY45" fmla="*/ 155162 h 825859"/>
                <a:gd name="connsiteX46" fmla="*/ 160729 w 1015622"/>
                <a:gd name="connsiteY46" fmla="*/ 142760 h 825859"/>
                <a:gd name="connsiteX47" fmla="*/ 173627 w 1015622"/>
                <a:gd name="connsiteY47" fmla="*/ 132839 h 825859"/>
                <a:gd name="connsiteX48" fmla="*/ 186029 w 1015622"/>
                <a:gd name="connsiteY48" fmla="*/ 122421 h 825859"/>
                <a:gd name="connsiteX49" fmla="*/ 198927 w 1015622"/>
                <a:gd name="connsiteY49" fmla="*/ 112995 h 825859"/>
                <a:gd name="connsiteX50" fmla="*/ 210337 w 1015622"/>
                <a:gd name="connsiteY50" fmla="*/ 101586 h 825859"/>
                <a:gd name="connsiteX51" fmla="*/ 223731 w 1015622"/>
                <a:gd name="connsiteY51" fmla="*/ 92656 h 825859"/>
                <a:gd name="connsiteX52" fmla="*/ 237125 w 1015622"/>
                <a:gd name="connsiteY52" fmla="*/ 83727 h 825859"/>
                <a:gd name="connsiteX53" fmla="*/ 250519 w 1015622"/>
                <a:gd name="connsiteY53" fmla="*/ 74797 h 825859"/>
                <a:gd name="connsiteX54" fmla="*/ 265402 w 1015622"/>
                <a:gd name="connsiteY54" fmla="*/ 68844 h 825859"/>
                <a:gd name="connsiteX55" fmla="*/ 278796 w 1015622"/>
                <a:gd name="connsiteY55" fmla="*/ 59419 h 825859"/>
                <a:gd name="connsiteX56" fmla="*/ 293679 w 1015622"/>
                <a:gd name="connsiteY56" fmla="*/ 52970 h 825859"/>
                <a:gd name="connsiteX57" fmla="*/ 308561 w 1015622"/>
                <a:gd name="connsiteY57" fmla="*/ 47017 h 825859"/>
                <a:gd name="connsiteX58" fmla="*/ 323443 w 1015622"/>
                <a:gd name="connsiteY58" fmla="*/ 41064 h 825859"/>
                <a:gd name="connsiteX59" fmla="*/ 338326 w 1015622"/>
                <a:gd name="connsiteY59" fmla="*/ 35111 h 825859"/>
                <a:gd name="connsiteX60" fmla="*/ 353208 w 1015622"/>
                <a:gd name="connsiteY60" fmla="*/ 28166 h 825859"/>
                <a:gd name="connsiteX61" fmla="*/ 369082 w 1015622"/>
                <a:gd name="connsiteY61" fmla="*/ 24694 h 825859"/>
                <a:gd name="connsiteX62" fmla="*/ 384460 w 1015622"/>
                <a:gd name="connsiteY62" fmla="*/ 19237 h 825859"/>
                <a:gd name="connsiteX63" fmla="*/ 400335 w 1015622"/>
                <a:gd name="connsiteY63" fmla="*/ 15268 h 825859"/>
                <a:gd name="connsiteX64" fmla="*/ 416210 w 1015622"/>
                <a:gd name="connsiteY64" fmla="*/ 12292 h 825859"/>
                <a:gd name="connsiteX65" fmla="*/ 432084 w 1015622"/>
                <a:gd name="connsiteY65" fmla="*/ 8819 h 825859"/>
                <a:gd name="connsiteX66" fmla="*/ 448455 w 1015622"/>
                <a:gd name="connsiteY66" fmla="*/ 7827 h 825859"/>
                <a:gd name="connsiteX67" fmla="*/ 464329 w 1015622"/>
                <a:gd name="connsiteY67" fmla="*/ 5843 h 825859"/>
                <a:gd name="connsiteX68" fmla="*/ 480204 w 1015622"/>
                <a:gd name="connsiteY68" fmla="*/ 4354 h 825859"/>
                <a:gd name="connsiteX69" fmla="*/ 496574 w 1015622"/>
                <a:gd name="connsiteY69" fmla="*/ 4354 h 825859"/>
                <a:gd name="connsiteX70" fmla="*/ 512449 w 1015622"/>
                <a:gd name="connsiteY70" fmla="*/ 3858 h 825859"/>
                <a:gd name="connsiteX71" fmla="*/ 528323 w 1015622"/>
                <a:gd name="connsiteY71" fmla="*/ 4850 h 825859"/>
                <a:gd name="connsiteX72" fmla="*/ 544694 w 1015622"/>
                <a:gd name="connsiteY72" fmla="*/ 3858 h 825859"/>
                <a:gd name="connsiteX73" fmla="*/ 560568 w 1015622"/>
                <a:gd name="connsiteY73" fmla="*/ 6835 h 825859"/>
                <a:gd name="connsiteX74" fmla="*/ 576939 w 1015622"/>
                <a:gd name="connsiteY74" fmla="*/ 6835 h 825859"/>
                <a:gd name="connsiteX75" fmla="*/ 814560 w 1015622"/>
                <a:gd name="connsiteY75" fmla="*/ 100593 h 825859"/>
                <a:gd name="connsiteX76" fmla="*/ 1000590 w 1015622"/>
                <a:gd name="connsiteY76" fmla="*/ 357562 h 825859"/>
                <a:gd name="connsiteX77" fmla="*/ 1005550 w 1015622"/>
                <a:gd name="connsiteY77" fmla="*/ 372940 h 825859"/>
                <a:gd name="connsiteX78" fmla="*/ 1012992 w 1015622"/>
                <a:gd name="connsiteY78" fmla="*/ 404193 h 825859"/>
                <a:gd name="connsiteX0" fmla="*/ 103184 w 1015622"/>
                <a:gd name="connsiteY0" fmla="*/ 844893 h 844893"/>
                <a:gd name="connsiteX1" fmla="*/ 92767 w 1015622"/>
                <a:gd name="connsiteY1" fmla="*/ 831995 h 844893"/>
                <a:gd name="connsiteX2" fmla="*/ 82845 w 1015622"/>
                <a:gd name="connsiteY2" fmla="*/ 818601 h 844893"/>
                <a:gd name="connsiteX3" fmla="*/ 74412 w 1015622"/>
                <a:gd name="connsiteY3" fmla="*/ 804215 h 844893"/>
                <a:gd name="connsiteX4" fmla="*/ 67466 w 1015622"/>
                <a:gd name="connsiteY4" fmla="*/ 789333 h 844893"/>
                <a:gd name="connsiteX5" fmla="*/ 59529 w 1015622"/>
                <a:gd name="connsiteY5" fmla="*/ 774946 h 844893"/>
                <a:gd name="connsiteX6" fmla="*/ 51096 w 1015622"/>
                <a:gd name="connsiteY6" fmla="*/ 760560 h 844893"/>
                <a:gd name="connsiteX7" fmla="*/ 44647 w 1015622"/>
                <a:gd name="connsiteY7" fmla="*/ 745182 h 844893"/>
                <a:gd name="connsiteX8" fmla="*/ 39190 w 1015622"/>
                <a:gd name="connsiteY8" fmla="*/ 729307 h 844893"/>
                <a:gd name="connsiteX9" fmla="*/ 31253 w 1015622"/>
                <a:gd name="connsiteY9" fmla="*/ 714425 h 844893"/>
                <a:gd name="connsiteX10" fmla="*/ 25796 w 1015622"/>
                <a:gd name="connsiteY10" fmla="*/ 698550 h 844893"/>
                <a:gd name="connsiteX11" fmla="*/ 20836 w 1015622"/>
                <a:gd name="connsiteY11" fmla="*/ 682676 h 844893"/>
                <a:gd name="connsiteX12" fmla="*/ 17859 w 1015622"/>
                <a:gd name="connsiteY12" fmla="*/ 666305 h 844893"/>
                <a:gd name="connsiteX13" fmla="*/ 12402 w 1015622"/>
                <a:gd name="connsiteY13" fmla="*/ 650431 h 844893"/>
                <a:gd name="connsiteX14" fmla="*/ 8930 w 1015622"/>
                <a:gd name="connsiteY14" fmla="*/ 634060 h 844893"/>
                <a:gd name="connsiteX15" fmla="*/ 5953 w 1015622"/>
                <a:gd name="connsiteY15" fmla="*/ 617690 h 844893"/>
                <a:gd name="connsiteX16" fmla="*/ 3969 w 1015622"/>
                <a:gd name="connsiteY16" fmla="*/ 601319 h 844893"/>
                <a:gd name="connsiteX17" fmla="*/ 2480 w 1015622"/>
                <a:gd name="connsiteY17" fmla="*/ 584949 h 844893"/>
                <a:gd name="connsiteX18" fmla="*/ 993 w 1015622"/>
                <a:gd name="connsiteY18" fmla="*/ 568578 h 844893"/>
                <a:gd name="connsiteX19" fmla="*/ 1488 w 1015622"/>
                <a:gd name="connsiteY19" fmla="*/ 551711 h 844893"/>
                <a:gd name="connsiteX20" fmla="*/ 0 w 1015622"/>
                <a:gd name="connsiteY20" fmla="*/ 535341 h 844893"/>
                <a:gd name="connsiteX21" fmla="*/ 993 w 1015622"/>
                <a:gd name="connsiteY21" fmla="*/ 519466 h 844893"/>
                <a:gd name="connsiteX22" fmla="*/ 1984 w 1015622"/>
                <a:gd name="connsiteY22" fmla="*/ 503592 h 844893"/>
                <a:gd name="connsiteX23" fmla="*/ 3969 w 1015622"/>
                <a:gd name="connsiteY23" fmla="*/ 487717 h 844893"/>
                <a:gd name="connsiteX24" fmla="*/ 3473 w 1015622"/>
                <a:gd name="connsiteY24" fmla="*/ 471347 h 844893"/>
                <a:gd name="connsiteX25" fmla="*/ 6449 w 1015622"/>
                <a:gd name="connsiteY25" fmla="*/ 455472 h 844893"/>
                <a:gd name="connsiteX26" fmla="*/ 8434 w 1015622"/>
                <a:gd name="connsiteY26" fmla="*/ 439598 h 844893"/>
                <a:gd name="connsiteX27" fmla="*/ 11410 w 1015622"/>
                <a:gd name="connsiteY27" fmla="*/ 423723 h 844893"/>
                <a:gd name="connsiteX28" fmla="*/ 14882 w 1015622"/>
                <a:gd name="connsiteY28" fmla="*/ 407849 h 844893"/>
                <a:gd name="connsiteX29" fmla="*/ 19347 w 1015622"/>
                <a:gd name="connsiteY29" fmla="*/ 392470 h 844893"/>
                <a:gd name="connsiteX30" fmla="*/ 25796 w 1015622"/>
                <a:gd name="connsiteY30" fmla="*/ 377588 h 844893"/>
                <a:gd name="connsiteX31" fmla="*/ 30261 w 1015622"/>
                <a:gd name="connsiteY31" fmla="*/ 362210 h 844893"/>
                <a:gd name="connsiteX32" fmla="*/ 36710 w 1015622"/>
                <a:gd name="connsiteY32" fmla="*/ 347327 h 844893"/>
                <a:gd name="connsiteX33" fmla="*/ 41671 w 1015622"/>
                <a:gd name="connsiteY33" fmla="*/ 331949 h 844893"/>
                <a:gd name="connsiteX34" fmla="*/ 48616 w 1015622"/>
                <a:gd name="connsiteY34" fmla="*/ 317563 h 844893"/>
                <a:gd name="connsiteX35" fmla="*/ 56057 w 1015622"/>
                <a:gd name="connsiteY35" fmla="*/ 303176 h 844893"/>
                <a:gd name="connsiteX36" fmla="*/ 63498 w 1015622"/>
                <a:gd name="connsiteY36" fmla="*/ 288790 h 844893"/>
                <a:gd name="connsiteX37" fmla="*/ 70939 w 1015622"/>
                <a:gd name="connsiteY37" fmla="*/ 274404 h 844893"/>
                <a:gd name="connsiteX38" fmla="*/ 79868 w 1015622"/>
                <a:gd name="connsiteY38" fmla="*/ 261010 h 844893"/>
                <a:gd name="connsiteX39" fmla="*/ 88798 w 1015622"/>
                <a:gd name="connsiteY39" fmla="*/ 247616 h 844893"/>
                <a:gd name="connsiteX40" fmla="*/ 98720 w 1015622"/>
                <a:gd name="connsiteY40" fmla="*/ 234718 h 844893"/>
                <a:gd name="connsiteX41" fmla="*/ 107153 w 1015622"/>
                <a:gd name="connsiteY41" fmla="*/ 221323 h 844893"/>
                <a:gd name="connsiteX42" fmla="*/ 116578 w 1015622"/>
                <a:gd name="connsiteY42" fmla="*/ 208425 h 844893"/>
                <a:gd name="connsiteX43" fmla="*/ 126996 w 1015622"/>
                <a:gd name="connsiteY43" fmla="*/ 196520 h 844893"/>
                <a:gd name="connsiteX44" fmla="*/ 137910 w 1015622"/>
                <a:gd name="connsiteY44" fmla="*/ 184614 h 844893"/>
                <a:gd name="connsiteX45" fmla="*/ 150312 w 1015622"/>
                <a:gd name="connsiteY45" fmla="*/ 174196 h 844893"/>
                <a:gd name="connsiteX46" fmla="*/ 160729 w 1015622"/>
                <a:gd name="connsiteY46" fmla="*/ 161794 h 844893"/>
                <a:gd name="connsiteX47" fmla="*/ 173627 w 1015622"/>
                <a:gd name="connsiteY47" fmla="*/ 151873 h 844893"/>
                <a:gd name="connsiteX48" fmla="*/ 186029 w 1015622"/>
                <a:gd name="connsiteY48" fmla="*/ 141455 h 844893"/>
                <a:gd name="connsiteX49" fmla="*/ 198927 w 1015622"/>
                <a:gd name="connsiteY49" fmla="*/ 132029 h 844893"/>
                <a:gd name="connsiteX50" fmla="*/ 210337 w 1015622"/>
                <a:gd name="connsiteY50" fmla="*/ 120620 h 844893"/>
                <a:gd name="connsiteX51" fmla="*/ 223731 w 1015622"/>
                <a:gd name="connsiteY51" fmla="*/ 111690 h 844893"/>
                <a:gd name="connsiteX52" fmla="*/ 237125 w 1015622"/>
                <a:gd name="connsiteY52" fmla="*/ 102761 h 844893"/>
                <a:gd name="connsiteX53" fmla="*/ 250519 w 1015622"/>
                <a:gd name="connsiteY53" fmla="*/ 93831 h 844893"/>
                <a:gd name="connsiteX54" fmla="*/ 265402 w 1015622"/>
                <a:gd name="connsiteY54" fmla="*/ 87878 h 844893"/>
                <a:gd name="connsiteX55" fmla="*/ 278796 w 1015622"/>
                <a:gd name="connsiteY55" fmla="*/ 78453 h 844893"/>
                <a:gd name="connsiteX56" fmla="*/ 293679 w 1015622"/>
                <a:gd name="connsiteY56" fmla="*/ 72004 h 844893"/>
                <a:gd name="connsiteX57" fmla="*/ 308561 w 1015622"/>
                <a:gd name="connsiteY57" fmla="*/ 66051 h 844893"/>
                <a:gd name="connsiteX58" fmla="*/ 323443 w 1015622"/>
                <a:gd name="connsiteY58" fmla="*/ 60098 h 844893"/>
                <a:gd name="connsiteX59" fmla="*/ 338326 w 1015622"/>
                <a:gd name="connsiteY59" fmla="*/ 54145 h 844893"/>
                <a:gd name="connsiteX60" fmla="*/ 353208 w 1015622"/>
                <a:gd name="connsiteY60" fmla="*/ 47200 h 844893"/>
                <a:gd name="connsiteX61" fmla="*/ 369082 w 1015622"/>
                <a:gd name="connsiteY61" fmla="*/ 43728 h 844893"/>
                <a:gd name="connsiteX62" fmla="*/ 384460 w 1015622"/>
                <a:gd name="connsiteY62" fmla="*/ 38271 h 844893"/>
                <a:gd name="connsiteX63" fmla="*/ 400335 w 1015622"/>
                <a:gd name="connsiteY63" fmla="*/ 34302 h 844893"/>
                <a:gd name="connsiteX64" fmla="*/ 416210 w 1015622"/>
                <a:gd name="connsiteY64" fmla="*/ 31326 h 844893"/>
                <a:gd name="connsiteX65" fmla="*/ 432084 w 1015622"/>
                <a:gd name="connsiteY65" fmla="*/ 27853 h 844893"/>
                <a:gd name="connsiteX66" fmla="*/ 448455 w 1015622"/>
                <a:gd name="connsiteY66" fmla="*/ 26861 h 844893"/>
                <a:gd name="connsiteX67" fmla="*/ 464329 w 1015622"/>
                <a:gd name="connsiteY67" fmla="*/ 24877 h 844893"/>
                <a:gd name="connsiteX68" fmla="*/ 480204 w 1015622"/>
                <a:gd name="connsiteY68" fmla="*/ 23388 h 844893"/>
                <a:gd name="connsiteX69" fmla="*/ 496574 w 1015622"/>
                <a:gd name="connsiteY69" fmla="*/ 23388 h 844893"/>
                <a:gd name="connsiteX70" fmla="*/ 512449 w 1015622"/>
                <a:gd name="connsiteY70" fmla="*/ 22892 h 844893"/>
                <a:gd name="connsiteX71" fmla="*/ 528323 w 1015622"/>
                <a:gd name="connsiteY71" fmla="*/ 23884 h 844893"/>
                <a:gd name="connsiteX72" fmla="*/ 544694 w 1015622"/>
                <a:gd name="connsiteY72" fmla="*/ 22892 h 844893"/>
                <a:gd name="connsiteX73" fmla="*/ 560568 w 1015622"/>
                <a:gd name="connsiteY73" fmla="*/ 25869 h 844893"/>
                <a:gd name="connsiteX74" fmla="*/ 576939 w 1015622"/>
                <a:gd name="connsiteY74" fmla="*/ 25869 h 844893"/>
                <a:gd name="connsiteX75" fmla="*/ 1000590 w 1015622"/>
                <a:gd name="connsiteY75" fmla="*/ 376596 h 844893"/>
                <a:gd name="connsiteX76" fmla="*/ 1005550 w 1015622"/>
                <a:gd name="connsiteY76" fmla="*/ 391974 h 844893"/>
                <a:gd name="connsiteX77" fmla="*/ 1012992 w 1015622"/>
                <a:gd name="connsiteY77" fmla="*/ 423227 h 844893"/>
                <a:gd name="connsiteX0" fmla="*/ 103184 w 1035776"/>
                <a:gd name="connsiteY0" fmla="*/ 844893 h 844893"/>
                <a:gd name="connsiteX1" fmla="*/ 92767 w 1035776"/>
                <a:gd name="connsiteY1" fmla="*/ 831995 h 844893"/>
                <a:gd name="connsiteX2" fmla="*/ 82845 w 1035776"/>
                <a:gd name="connsiteY2" fmla="*/ 818601 h 844893"/>
                <a:gd name="connsiteX3" fmla="*/ 74412 w 1035776"/>
                <a:gd name="connsiteY3" fmla="*/ 804215 h 844893"/>
                <a:gd name="connsiteX4" fmla="*/ 67466 w 1035776"/>
                <a:gd name="connsiteY4" fmla="*/ 789333 h 844893"/>
                <a:gd name="connsiteX5" fmla="*/ 59529 w 1035776"/>
                <a:gd name="connsiteY5" fmla="*/ 774946 h 844893"/>
                <a:gd name="connsiteX6" fmla="*/ 51096 w 1035776"/>
                <a:gd name="connsiteY6" fmla="*/ 760560 h 844893"/>
                <a:gd name="connsiteX7" fmla="*/ 44647 w 1035776"/>
                <a:gd name="connsiteY7" fmla="*/ 745182 h 844893"/>
                <a:gd name="connsiteX8" fmla="*/ 39190 w 1035776"/>
                <a:gd name="connsiteY8" fmla="*/ 729307 h 844893"/>
                <a:gd name="connsiteX9" fmla="*/ 31253 w 1035776"/>
                <a:gd name="connsiteY9" fmla="*/ 714425 h 844893"/>
                <a:gd name="connsiteX10" fmla="*/ 25796 w 1035776"/>
                <a:gd name="connsiteY10" fmla="*/ 698550 h 844893"/>
                <a:gd name="connsiteX11" fmla="*/ 20836 w 1035776"/>
                <a:gd name="connsiteY11" fmla="*/ 682676 h 844893"/>
                <a:gd name="connsiteX12" fmla="*/ 17859 w 1035776"/>
                <a:gd name="connsiteY12" fmla="*/ 666305 h 844893"/>
                <a:gd name="connsiteX13" fmla="*/ 12402 w 1035776"/>
                <a:gd name="connsiteY13" fmla="*/ 650431 h 844893"/>
                <a:gd name="connsiteX14" fmla="*/ 8930 w 1035776"/>
                <a:gd name="connsiteY14" fmla="*/ 634060 h 844893"/>
                <a:gd name="connsiteX15" fmla="*/ 5953 w 1035776"/>
                <a:gd name="connsiteY15" fmla="*/ 617690 h 844893"/>
                <a:gd name="connsiteX16" fmla="*/ 3969 w 1035776"/>
                <a:gd name="connsiteY16" fmla="*/ 601319 h 844893"/>
                <a:gd name="connsiteX17" fmla="*/ 2480 w 1035776"/>
                <a:gd name="connsiteY17" fmla="*/ 584949 h 844893"/>
                <a:gd name="connsiteX18" fmla="*/ 993 w 1035776"/>
                <a:gd name="connsiteY18" fmla="*/ 568578 h 844893"/>
                <a:gd name="connsiteX19" fmla="*/ 1488 w 1035776"/>
                <a:gd name="connsiteY19" fmla="*/ 551711 h 844893"/>
                <a:gd name="connsiteX20" fmla="*/ 0 w 1035776"/>
                <a:gd name="connsiteY20" fmla="*/ 535341 h 844893"/>
                <a:gd name="connsiteX21" fmla="*/ 993 w 1035776"/>
                <a:gd name="connsiteY21" fmla="*/ 519466 h 844893"/>
                <a:gd name="connsiteX22" fmla="*/ 1984 w 1035776"/>
                <a:gd name="connsiteY22" fmla="*/ 503592 h 844893"/>
                <a:gd name="connsiteX23" fmla="*/ 3969 w 1035776"/>
                <a:gd name="connsiteY23" fmla="*/ 487717 h 844893"/>
                <a:gd name="connsiteX24" fmla="*/ 3473 w 1035776"/>
                <a:gd name="connsiteY24" fmla="*/ 471347 h 844893"/>
                <a:gd name="connsiteX25" fmla="*/ 6449 w 1035776"/>
                <a:gd name="connsiteY25" fmla="*/ 455472 h 844893"/>
                <a:gd name="connsiteX26" fmla="*/ 8434 w 1035776"/>
                <a:gd name="connsiteY26" fmla="*/ 439598 h 844893"/>
                <a:gd name="connsiteX27" fmla="*/ 11410 w 1035776"/>
                <a:gd name="connsiteY27" fmla="*/ 423723 h 844893"/>
                <a:gd name="connsiteX28" fmla="*/ 14882 w 1035776"/>
                <a:gd name="connsiteY28" fmla="*/ 407849 h 844893"/>
                <a:gd name="connsiteX29" fmla="*/ 19347 w 1035776"/>
                <a:gd name="connsiteY29" fmla="*/ 392470 h 844893"/>
                <a:gd name="connsiteX30" fmla="*/ 25796 w 1035776"/>
                <a:gd name="connsiteY30" fmla="*/ 377588 h 844893"/>
                <a:gd name="connsiteX31" fmla="*/ 30261 w 1035776"/>
                <a:gd name="connsiteY31" fmla="*/ 362210 h 844893"/>
                <a:gd name="connsiteX32" fmla="*/ 36710 w 1035776"/>
                <a:gd name="connsiteY32" fmla="*/ 347327 h 844893"/>
                <a:gd name="connsiteX33" fmla="*/ 41671 w 1035776"/>
                <a:gd name="connsiteY33" fmla="*/ 331949 h 844893"/>
                <a:gd name="connsiteX34" fmla="*/ 48616 w 1035776"/>
                <a:gd name="connsiteY34" fmla="*/ 317563 h 844893"/>
                <a:gd name="connsiteX35" fmla="*/ 56057 w 1035776"/>
                <a:gd name="connsiteY35" fmla="*/ 303176 h 844893"/>
                <a:gd name="connsiteX36" fmla="*/ 63498 w 1035776"/>
                <a:gd name="connsiteY36" fmla="*/ 288790 h 844893"/>
                <a:gd name="connsiteX37" fmla="*/ 70939 w 1035776"/>
                <a:gd name="connsiteY37" fmla="*/ 274404 h 844893"/>
                <a:gd name="connsiteX38" fmla="*/ 79868 w 1035776"/>
                <a:gd name="connsiteY38" fmla="*/ 261010 h 844893"/>
                <a:gd name="connsiteX39" fmla="*/ 88798 w 1035776"/>
                <a:gd name="connsiteY39" fmla="*/ 247616 h 844893"/>
                <a:gd name="connsiteX40" fmla="*/ 98720 w 1035776"/>
                <a:gd name="connsiteY40" fmla="*/ 234718 h 844893"/>
                <a:gd name="connsiteX41" fmla="*/ 107153 w 1035776"/>
                <a:gd name="connsiteY41" fmla="*/ 221323 h 844893"/>
                <a:gd name="connsiteX42" fmla="*/ 116578 w 1035776"/>
                <a:gd name="connsiteY42" fmla="*/ 208425 h 844893"/>
                <a:gd name="connsiteX43" fmla="*/ 126996 w 1035776"/>
                <a:gd name="connsiteY43" fmla="*/ 196520 h 844893"/>
                <a:gd name="connsiteX44" fmla="*/ 137910 w 1035776"/>
                <a:gd name="connsiteY44" fmla="*/ 184614 h 844893"/>
                <a:gd name="connsiteX45" fmla="*/ 150312 w 1035776"/>
                <a:gd name="connsiteY45" fmla="*/ 174196 h 844893"/>
                <a:gd name="connsiteX46" fmla="*/ 160729 w 1035776"/>
                <a:gd name="connsiteY46" fmla="*/ 161794 h 844893"/>
                <a:gd name="connsiteX47" fmla="*/ 173627 w 1035776"/>
                <a:gd name="connsiteY47" fmla="*/ 151873 h 844893"/>
                <a:gd name="connsiteX48" fmla="*/ 186029 w 1035776"/>
                <a:gd name="connsiteY48" fmla="*/ 141455 h 844893"/>
                <a:gd name="connsiteX49" fmla="*/ 198927 w 1035776"/>
                <a:gd name="connsiteY49" fmla="*/ 132029 h 844893"/>
                <a:gd name="connsiteX50" fmla="*/ 210337 w 1035776"/>
                <a:gd name="connsiteY50" fmla="*/ 120620 h 844893"/>
                <a:gd name="connsiteX51" fmla="*/ 223731 w 1035776"/>
                <a:gd name="connsiteY51" fmla="*/ 111690 h 844893"/>
                <a:gd name="connsiteX52" fmla="*/ 237125 w 1035776"/>
                <a:gd name="connsiteY52" fmla="*/ 102761 h 844893"/>
                <a:gd name="connsiteX53" fmla="*/ 250519 w 1035776"/>
                <a:gd name="connsiteY53" fmla="*/ 93831 h 844893"/>
                <a:gd name="connsiteX54" fmla="*/ 265402 w 1035776"/>
                <a:gd name="connsiteY54" fmla="*/ 87878 h 844893"/>
                <a:gd name="connsiteX55" fmla="*/ 278796 w 1035776"/>
                <a:gd name="connsiteY55" fmla="*/ 78453 h 844893"/>
                <a:gd name="connsiteX56" fmla="*/ 293679 w 1035776"/>
                <a:gd name="connsiteY56" fmla="*/ 72004 h 844893"/>
                <a:gd name="connsiteX57" fmla="*/ 308561 w 1035776"/>
                <a:gd name="connsiteY57" fmla="*/ 66051 h 844893"/>
                <a:gd name="connsiteX58" fmla="*/ 323443 w 1035776"/>
                <a:gd name="connsiteY58" fmla="*/ 60098 h 844893"/>
                <a:gd name="connsiteX59" fmla="*/ 338326 w 1035776"/>
                <a:gd name="connsiteY59" fmla="*/ 54145 h 844893"/>
                <a:gd name="connsiteX60" fmla="*/ 353208 w 1035776"/>
                <a:gd name="connsiteY60" fmla="*/ 47200 h 844893"/>
                <a:gd name="connsiteX61" fmla="*/ 369082 w 1035776"/>
                <a:gd name="connsiteY61" fmla="*/ 43728 h 844893"/>
                <a:gd name="connsiteX62" fmla="*/ 384460 w 1035776"/>
                <a:gd name="connsiteY62" fmla="*/ 38271 h 844893"/>
                <a:gd name="connsiteX63" fmla="*/ 400335 w 1035776"/>
                <a:gd name="connsiteY63" fmla="*/ 34302 h 844893"/>
                <a:gd name="connsiteX64" fmla="*/ 416210 w 1035776"/>
                <a:gd name="connsiteY64" fmla="*/ 31326 h 844893"/>
                <a:gd name="connsiteX65" fmla="*/ 432084 w 1035776"/>
                <a:gd name="connsiteY65" fmla="*/ 27853 h 844893"/>
                <a:gd name="connsiteX66" fmla="*/ 448455 w 1035776"/>
                <a:gd name="connsiteY66" fmla="*/ 26861 h 844893"/>
                <a:gd name="connsiteX67" fmla="*/ 464329 w 1035776"/>
                <a:gd name="connsiteY67" fmla="*/ 24877 h 844893"/>
                <a:gd name="connsiteX68" fmla="*/ 480204 w 1035776"/>
                <a:gd name="connsiteY68" fmla="*/ 23388 h 844893"/>
                <a:gd name="connsiteX69" fmla="*/ 496574 w 1035776"/>
                <a:gd name="connsiteY69" fmla="*/ 23388 h 844893"/>
                <a:gd name="connsiteX70" fmla="*/ 512449 w 1035776"/>
                <a:gd name="connsiteY70" fmla="*/ 22892 h 844893"/>
                <a:gd name="connsiteX71" fmla="*/ 528323 w 1035776"/>
                <a:gd name="connsiteY71" fmla="*/ 23884 h 844893"/>
                <a:gd name="connsiteX72" fmla="*/ 544694 w 1035776"/>
                <a:gd name="connsiteY72" fmla="*/ 22892 h 844893"/>
                <a:gd name="connsiteX73" fmla="*/ 560568 w 1035776"/>
                <a:gd name="connsiteY73" fmla="*/ 25869 h 844893"/>
                <a:gd name="connsiteX74" fmla="*/ 576939 w 1035776"/>
                <a:gd name="connsiteY74" fmla="*/ 25869 h 844893"/>
                <a:gd name="connsiteX75" fmla="*/ 1000590 w 1035776"/>
                <a:gd name="connsiteY75" fmla="*/ 376596 h 844893"/>
                <a:gd name="connsiteX76" fmla="*/ 1012992 w 1035776"/>
                <a:gd name="connsiteY76" fmla="*/ 423227 h 844893"/>
                <a:gd name="connsiteX0" fmla="*/ 103184 w 1000590"/>
                <a:gd name="connsiteY0" fmla="*/ 844893 h 844893"/>
                <a:gd name="connsiteX1" fmla="*/ 92767 w 1000590"/>
                <a:gd name="connsiteY1" fmla="*/ 831995 h 844893"/>
                <a:gd name="connsiteX2" fmla="*/ 82845 w 1000590"/>
                <a:gd name="connsiteY2" fmla="*/ 818601 h 844893"/>
                <a:gd name="connsiteX3" fmla="*/ 74412 w 1000590"/>
                <a:gd name="connsiteY3" fmla="*/ 804215 h 844893"/>
                <a:gd name="connsiteX4" fmla="*/ 67466 w 1000590"/>
                <a:gd name="connsiteY4" fmla="*/ 789333 h 844893"/>
                <a:gd name="connsiteX5" fmla="*/ 59529 w 1000590"/>
                <a:gd name="connsiteY5" fmla="*/ 774946 h 844893"/>
                <a:gd name="connsiteX6" fmla="*/ 51096 w 1000590"/>
                <a:gd name="connsiteY6" fmla="*/ 760560 h 844893"/>
                <a:gd name="connsiteX7" fmla="*/ 44647 w 1000590"/>
                <a:gd name="connsiteY7" fmla="*/ 745182 h 844893"/>
                <a:gd name="connsiteX8" fmla="*/ 39190 w 1000590"/>
                <a:gd name="connsiteY8" fmla="*/ 729307 h 844893"/>
                <a:gd name="connsiteX9" fmla="*/ 31253 w 1000590"/>
                <a:gd name="connsiteY9" fmla="*/ 714425 h 844893"/>
                <a:gd name="connsiteX10" fmla="*/ 25796 w 1000590"/>
                <a:gd name="connsiteY10" fmla="*/ 698550 h 844893"/>
                <a:gd name="connsiteX11" fmla="*/ 20836 w 1000590"/>
                <a:gd name="connsiteY11" fmla="*/ 682676 h 844893"/>
                <a:gd name="connsiteX12" fmla="*/ 17859 w 1000590"/>
                <a:gd name="connsiteY12" fmla="*/ 666305 h 844893"/>
                <a:gd name="connsiteX13" fmla="*/ 12402 w 1000590"/>
                <a:gd name="connsiteY13" fmla="*/ 650431 h 844893"/>
                <a:gd name="connsiteX14" fmla="*/ 8930 w 1000590"/>
                <a:gd name="connsiteY14" fmla="*/ 634060 h 844893"/>
                <a:gd name="connsiteX15" fmla="*/ 5953 w 1000590"/>
                <a:gd name="connsiteY15" fmla="*/ 617690 h 844893"/>
                <a:gd name="connsiteX16" fmla="*/ 3969 w 1000590"/>
                <a:gd name="connsiteY16" fmla="*/ 601319 h 844893"/>
                <a:gd name="connsiteX17" fmla="*/ 2480 w 1000590"/>
                <a:gd name="connsiteY17" fmla="*/ 584949 h 844893"/>
                <a:gd name="connsiteX18" fmla="*/ 993 w 1000590"/>
                <a:gd name="connsiteY18" fmla="*/ 568578 h 844893"/>
                <a:gd name="connsiteX19" fmla="*/ 1488 w 1000590"/>
                <a:gd name="connsiteY19" fmla="*/ 551711 h 844893"/>
                <a:gd name="connsiteX20" fmla="*/ 0 w 1000590"/>
                <a:gd name="connsiteY20" fmla="*/ 535341 h 844893"/>
                <a:gd name="connsiteX21" fmla="*/ 993 w 1000590"/>
                <a:gd name="connsiteY21" fmla="*/ 519466 h 844893"/>
                <a:gd name="connsiteX22" fmla="*/ 1984 w 1000590"/>
                <a:gd name="connsiteY22" fmla="*/ 503592 h 844893"/>
                <a:gd name="connsiteX23" fmla="*/ 3969 w 1000590"/>
                <a:gd name="connsiteY23" fmla="*/ 487717 h 844893"/>
                <a:gd name="connsiteX24" fmla="*/ 3473 w 1000590"/>
                <a:gd name="connsiteY24" fmla="*/ 471347 h 844893"/>
                <a:gd name="connsiteX25" fmla="*/ 6449 w 1000590"/>
                <a:gd name="connsiteY25" fmla="*/ 455472 h 844893"/>
                <a:gd name="connsiteX26" fmla="*/ 8434 w 1000590"/>
                <a:gd name="connsiteY26" fmla="*/ 439598 h 844893"/>
                <a:gd name="connsiteX27" fmla="*/ 11410 w 1000590"/>
                <a:gd name="connsiteY27" fmla="*/ 423723 h 844893"/>
                <a:gd name="connsiteX28" fmla="*/ 14882 w 1000590"/>
                <a:gd name="connsiteY28" fmla="*/ 407849 h 844893"/>
                <a:gd name="connsiteX29" fmla="*/ 19347 w 1000590"/>
                <a:gd name="connsiteY29" fmla="*/ 392470 h 844893"/>
                <a:gd name="connsiteX30" fmla="*/ 25796 w 1000590"/>
                <a:gd name="connsiteY30" fmla="*/ 377588 h 844893"/>
                <a:gd name="connsiteX31" fmla="*/ 30261 w 1000590"/>
                <a:gd name="connsiteY31" fmla="*/ 362210 h 844893"/>
                <a:gd name="connsiteX32" fmla="*/ 36710 w 1000590"/>
                <a:gd name="connsiteY32" fmla="*/ 347327 h 844893"/>
                <a:gd name="connsiteX33" fmla="*/ 41671 w 1000590"/>
                <a:gd name="connsiteY33" fmla="*/ 331949 h 844893"/>
                <a:gd name="connsiteX34" fmla="*/ 48616 w 1000590"/>
                <a:gd name="connsiteY34" fmla="*/ 317563 h 844893"/>
                <a:gd name="connsiteX35" fmla="*/ 56057 w 1000590"/>
                <a:gd name="connsiteY35" fmla="*/ 303176 h 844893"/>
                <a:gd name="connsiteX36" fmla="*/ 63498 w 1000590"/>
                <a:gd name="connsiteY36" fmla="*/ 288790 h 844893"/>
                <a:gd name="connsiteX37" fmla="*/ 70939 w 1000590"/>
                <a:gd name="connsiteY37" fmla="*/ 274404 h 844893"/>
                <a:gd name="connsiteX38" fmla="*/ 79868 w 1000590"/>
                <a:gd name="connsiteY38" fmla="*/ 261010 h 844893"/>
                <a:gd name="connsiteX39" fmla="*/ 88798 w 1000590"/>
                <a:gd name="connsiteY39" fmla="*/ 247616 h 844893"/>
                <a:gd name="connsiteX40" fmla="*/ 98720 w 1000590"/>
                <a:gd name="connsiteY40" fmla="*/ 234718 h 844893"/>
                <a:gd name="connsiteX41" fmla="*/ 107153 w 1000590"/>
                <a:gd name="connsiteY41" fmla="*/ 221323 h 844893"/>
                <a:gd name="connsiteX42" fmla="*/ 116578 w 1000590"/>
                <a:gd name="connsiteY42" fmla="*/ 208425 h 844893"/>
                <a:gd name="connsiteX43" fmla="*/ 126996 w 1000590"/>
                <a:gd name="connsiteY43" fmla="*/ 196520 h 844893"/>
                <a:gd name="connsiteX44" fmla="*/ 137910 w 1000590"/>
                <a:gd name="connsiteY44" fmla="*/ 184614 h 844893"/>
                <a:gd name="connsiteX45" fmla="*/ 150312 w 1000590"/>
                <a:gd name="connsiteY45" fmla="*/ 174196 h 844893"/>
                <a:gd name="connsiteX46" fmla="*/ 160729 w 1000590"/>
                <a:gd name="connsiteY46" fmla="*/ 161794 h 844893"/>
                <a:gd name="connsiteX47" fmla="*/ 173627 w 1000590"/>
                <a:gd name="connsiteY47" fmla="*/ 151873 h 844893"/>
                <a:gd name="connsiteX48" fmla="*/ 186029 w 1000590"/>
                <a:gd name="connsiteY48" fmla="*/ 141455 h 844893"/>
                <a:gd name="connsiteX49" fmla="*/ 198927 w 1000590"/>
                <a:gd name="connsiteY49" fmla="*/ 132029 h 844893"/>
                <a:gd name="connsiteX50" fmla="*/ 210337 w 1000590"/>
                <a:gd name="connsiteY50" fmla="*/ 120620 h 844893"/>
                <a:gd name="connsiteX51" fmla="*/ 223731 w 1000590"/>
                <a:gd name="connsiteY51" fmla="*/ 111690 h 844893"/>
                <a:gd name="connsiteX52" fmla="*/ 237125 w 1000590"/>
                <a:gd name="connsiteY52" fmla="*/ 102761 h 844893"/>
                <a:gd name="connsiteX53" fmla="*/ 250519 w 1000590"/>
                <a:gd name="connsiteY53" fmla="*/ 93831 h 844893"/>
                <a:gd name="connsiteX54" fmla="*/ 265402 w 1000590"/>
                <a:gd name="connsiteY54" fmla="*/ 87878 h 844893"/>
                <a:gd name="connsiteX55" fmla="*/ 278796 w 1000590"/>
                <a:gd name="connsiteY55" fmla="*/ 78453 h 844893"/>
                <a:gd name="connsiteX56" fmla="*/ 293679 w 1000590"/>
                <a:gd name="connsiteY56" fmla="*/ 72004 h 844893"/>
                <a:gd name="connsiteX57" fmla="*/ 308561 w 1000590"/>
                <a:gd name="connsiteY57" fmla="*/ 66051 h 844893"/>
                <a:gd name="connsiteX58" fmla="*/ 323443 w 1000590"/>
                <a:gd name="connsiteY58" fmla="*/ 60098 h 844893"/>
                <a:gd name="connsiteX59" fmla="*/ 338326 w 1000590"/>
                <a:gd name="connsiteY59" fmla="*/ 54145 h 844893"/>
                <a:gd name="connsiteX60" fmla="*/ 353208 w 1000590"/>
                <a:gd name="connsiteY60" fmla="*/ 47200 h 844893"/>
                <a:gd name="connsiteX61" fmla="*/ 369082 w 1000590"/>
                <a:gd name="connsiteY61" fmla="*/ 43728 h 844893"/>
                <a:gd name="connsiteX62" fmla="*/ 384460 w 1000590"/>
                <a:gd name="connsiteY62" fmla="*/ 38271 h 844893"/>
                <a:gd name="connsiteX63" fmla="*/ 400335 w 1000590"/>
                <a:gd name="connsiteY63" fmla="*/ 34302 h 844893"/>
                <a:gd name="connsiteX64" fmla="*/ 416210 w 1000590"/>
                <a:gd name="connsiteY64" fmla="*/ 31326 h 844893"/>
                <a:gd name="connsiteX65" fmla="*/ 432084 w 1000590"/>
                <a:gd name="connsiteY65" fmla="*/ 27853 h 844893"/>
                <a:gd name="connsiteX66" fmla="*/ 448455 w 1000590"/>
                <a:gd name="connsiteY66" fmla="*/ 26861 h 844893"/>
                <a:gd name="connsiteX67" fmla="*/ 464329 w 1000590"/>
                <a:gd name="connsiteY67" fmla="*/ 24877 h 844893"/>
                <a:gd name="connsiteX68" fmla="*/ 480204 w 1000590"/>
                <a:gd name="connsiteY68" fmla="*/ 23388 h 844893"/>
                <a:gd name="connsiteX69" fmla="*/ 496574 w 1000590"/>
                <a:gd name="connsiteY69" fmla="*/ 23388 h 844893"/>
                <a:gd name="connsiteX70" fmla="*/ 512449 w 1000590"/>
                <a:gd name="connsiteY70" fmla="*/ 22892 h 844893"/>
                <a:gd name="connsiteX71" fmla="*/ 528323 w 1000590"/>
                <a:gd name="connsiteY71" fmla="*/ 23884 h 844893"/>
                <a:gd name="connsiteX72" fmla="*/ 544694 w 1000590"/>
                <a:gd name="connsiteY72" fmla="*/ 22892 h 844893"/>
                <a:gd name="connsiteX73" fmla="*/ 560568 w 1000590"/>
                <a:gd name="connsiteY73" fmla="*/ 25869 h 844893"/>
                <a:gd name="connsiteX74" fmla="*/ 576939 w 1000590"/>
                <a:gd name="connsiteY74" fmla="*/ 25869 h 844893"/>
                <a:gd name="connsiteX75" fmla="*/ 1000590 w 1000590"/>
                <a:gd name="connsiteY75" fmla="*/ 376596 h 844893"/>
                <a:gd name="connsiteX0" fmla="*/ 103184 w 576939"/>
                <a:gd name="connsiteY0" fmla="*/ 844893 h 844893"/>
                <a:gd name="connsiteX1" fmla="*/ 92767 w 576939"/>
                <a:gd name="connsiteY1" fmla="*/ 831995 h 844893"/>
                <a:gd name="connsiteX2" fmla="*/ 82845 w 576939"/>
                <a:gd name="connsiteY2" fmla="*/ 818601 h 844893"/>
                <a:gd name="connsiteX3" fmla="*/ 74412 w 576939"/>
                <a:gd name="connsiteY3" fmla="*/ 804215 h 844893"/>
                <a:gd name="connsiteX4" fmla="*/ 67466 w 576939"/>
                <a:gd name="connsiteY4" fmla="*/ 789333 h 844893"/>
                <a:gd name="connsiteX5" fmla="*/ 59529 w 576939"/>
                <a:gd name="connsiteY5" fmla="*/ 774946 h 844893"/>
                <a:gd name="connsiteX6" fmla="*/ 51096 w 576939"/>
                <a:gd name="connsiteY6" fmla="*/ 760560 h 844893"/>
                <a:gd name="connsiteX7" fmla="*/ 44647 w 576939"/>
                <a:gd name="connsiteY7" fmla="*/ 745182 h 844893"/>
                <a:gd name="connsiteX8" fmla="*/ 39190 w 576939"/>
                <a:gd name="connsiteY8" fmla="*/ 729307 h 844893"/>
                <a:gd name="connsiteX9" fmla="*/ 31253 w 576939"/>
                <a:gd name="connsiteY9" fmla="*/ 714425 h 844893"/>
                <a:gd name="connsiteX10" fmla="*/ 25796 w 576939"/>
                <a:gd name="connsiteY10" fmla="*/ 698550 h 844893"/>
                <a:gd name="connsiteX11" fmla="*/ 20836 w 576939"/>
                <a:gd name="connsiteY11" fmla="*/ 682676 h 844893"/>
                <a:gd name="connsiteX12" fmla="*/ 17859 w 576939"/>
                <a:gd name="connsiteY12" fmla="*/ 666305 h 844893"/>
                <a:gd name="connsiteX13" fmla="*/ 12402 w 576939"/>
                <a:gd name="connsiteY13" fmla="*/ 650431 h 844893"/>
                <a:gd name="connsiteX14" fmla="*/ 8930 w 576939"/>
                <a:gd name="connsiteY14" fmla="*/ 634060 h 844893"/>
                <a:gd name="connsiteX15" fmla="*/ 5953 w 576939"/>
                <a:gd name="connsiteY15" fmla="*/ 617690 h 844893"/>
                <a:gd name="connsiteX16" fmla="*/ 3969 w 576939"/>
                <a:gd name="connsiteY16" fmla="*/ 601319 h 844893"/>
                <a:gd name="connsiteX17" fmla="*/ 2480 w 576939"/>
                <a:gd name="connsiteY17" fmla="*/ 584949 h 844893"/>
                <a:gd name="connsiteX18" fmla="*/ 993 w 576939"/>
                <a:gd name="connsiteY18" fmla="*/ 568578 h 844893"/>
                <a:gd name="connsiteX19" fmla="*/ 1488 w 576939"/>
                <a:gd name="connsiteY19" fmla="*/ 551711 h 844893"/>
                <a:gd name="connsiteX20" fmla="*/ 0 w 576939"/>
                <a:gd name="connsiteY20" fmla="*/ 535341 h 844893"/>
                <a:gd name="connsiteX21" fmla="*/ 993 w 576939"/>
                <a:gd name="connsiteY21" fmla="*/ 519466 h 844893"/>
                <a:gd name="connsiteX22" fmla="*/ 1984 w 576939"/>
                <a:gd name="connsiteY22" fmla="*/ 503592 h 844893"/>
                <a:gd name="connsiteX23" fmla="*/ 3969 w 576939"/>
                <a:gd name="connsiteY23" fmla="*/ 487717 h 844893"/>
                <a:gd name="connsiteX24" fmla="*/ 3473 w 576939"/>
                <a:gd name="connsiteY24" fmla="*/ 471347 h 844893"/>
                <a:gd name="connsiteX25" fmla="*/ 6449 w 576939"/>
                <a:gd name="connsiteY25" fmla="*/ 455472 h 844893"/>
                <a:gd name="connsiteX26" fmla="*/ 8434 w 576939"/>
                <a:gd name="connsiteY26" fmla="*/ 439598 h 844893"/>
                <a:gd name="connsiteX27" fmla="*/ 11410 w 576939"/>
                <a:gd name="connsiteY27" fmla="*/ 423723 h 844893"/>
                <a:gd name="connsiteX28" fmla="*/ 14882 w 576939"/>
                <a:gd name="connsiteY28" fmla="*/ 407849 h 844893"/>
                <a:gd name="connsiteX29" fmla="*/ 19347 w 576939"/>
                <a:gd name="connsiteY29" fmla="*/ 392470 h 844893"/>
                <a:gd name="connsiteX30" fmla="*/ 25796 w 576939"/>
                <a:gd name="connsiteY30" fmla="*/ 377588 h 844893"/>
                <a:gd name="connsiteX31" fmla="*/ 30261 w 576939"/>
                <a:gd name="connsiteY31" fmla="*/ 362210 h 844893"/>
                <a:gd name="connsiteX32" fmla="*/ 36710 w 576939"/>
                <a:gd name="connsiteY32" fmla="*/ 347327 h 844893"/>
                <a:gd name="connsiteX33" fmla="*/ 41671 w 576939"/>
                <a:gd name="connsiteY33" fmla="*/ 331949 h 844893"/>
                <a:gd name="connsiteX34" fmla="*/ 48616 w 576939"/>
                <a:gd name="connsiteY34" fmla="*/ 317563 h 844893"/>
                <a:gd name="connsiteX35" fmla="*/ 56057 w 576939"/>
                <a:gd name="connsiteY35" fmla="*/ 303176 h 844893"/>
                <a:gd name="connsiteX36" fmla="*/ 63498 w 576939"/>
                <a:gd name="connsiteY36" fmla="*/ 288790 h 844893"/>
                <a:gd name="connsiteX37" fmla="*/ 70939 w 576939"/>
                <a:gd name="connsiteY37" fmla="*/ 274404 h 844893"/>
                <a:gd name="connsiteX38" fmla="*/ 79868 w 576939"/>
                <a:gd name="connsiteY38" fmla="*/ 261010 h 844893"/>
                <a:gd name="connsiteX39" fmla="*/ 88798 w 576939"/>
                <a:gd name="connsiteY39" fmla="*/ 247616 h 844893"/>
                <a:gd name="connsiteX40" fmla="*/ 98720 w 576939"/>
                <a:gd name="connsiteY40" fmla="*/ 234718 h 844893"/>
                <a:gd name="connsiteX41" fmla="*/ 107153 w 576939"/>
                <a:gd name="connsiteY41" fmla="*/ 221323 h 844893"/>
                <a:gd name="connsiteX42" fmla="*/ 116578 w 576939"/>
                <a:gd name="connsiteY42" fmla="*/ 208425 h 844893"/>
                <a:gd name="connsiteX43" fmla="*/ 126996 w 576939"/>
                <a:gd name="connsiteY43" fmla="*/ 196520 h 844893"/>
                <a:gd name="connsiteX44" fmla="*/ 137910 w 576939"/>
                <a:gd name="connsiteY44" fmla="*/ 184614 h 844893"/>
                <a:gd name="connsiteX45" fmla="*/ 150312 w 576939"/>
                <a:gd name="connsiteY45" fmla="*/ 174196 h 844893"/>
                <a:gd name="connsiteX46" fmla="*/ 160729 w 576939"/>
                <a:gd name="connsiteY46" fmla="*/ 161794 h 844893"/>
                <a:gd name="connsiteX47" fmla="*/ 173627 w 576939"/>
                <a:gd name="connsiteY47" fmla="*/ 151873 h 844893"/>
                <a:gd name="connsiteX48" fmla="*/ 186029 w 576939"/>
                <a:gd name="connsiteY48" fmla="*/ 141455 h 844893"/>
                <a:gd name="connsiteX49" fmla="*/ 198927 w 576939"/>
                <a:gd name="connsiteY49" fmla="*/ 132029 h 844893"/>
                <a:gd name="connsiteX50" fmla="*/ 210337 w 576939"/>
                <a:gd name="connsiteY50" fmla="*/ 120620 h 844893"/>
                <a:gd name="connsiteX51" fmla="*/ 223731 w 576939"/>
                <a:gd name="connsiteY51" fmla="*/ 111690 h 844893"/>
                <a:gd name="connsiteX52" fmla="*/ 237125 w 576939"/>
                <a:gd name="connsiteY52" fmla="*/ 102761 h 844893"/>
                <a:gd name="connsiteX53" fmla="*/ 250519 w 576939"/>
                <a:gd name="connsiteY53" fmla="*/ 93831 h 844893"/>
                <a:gd name="connsiteX54" fmla="*/ 265402 w 576939"/>
                <a:gd name="connsiteY54" fmla="*/ 87878 h 844893"/>
                <a:gd name="connsiteX55" fmla="*/ 278796 w 576939"/>
                <a:gd name="connsiteY55" fmla="*/ 78453 h 844893"/>
                <a:gd name="connsiteX56" fmla="*/ 293679 w 576939"/>
                <a:gd name="connsiteY56" fmla="*/ 72004 h 844893"/>
                <a:gd name="connsiteX57" fmla="*/ 308561 w 576939"/>
                <a:gd name="connsiteY57" fmla="*/ 66051 h 844893"/>
                <a:gd name="connsiteX58" fmla="*/ 323443 w 576939"/>
                <a:gd name="connsiteY58" fmla="*/ 60098 h 844893"/>
                <a:gd name="connsiteX59" fmla="*/ 338326 w 576939"/>
                <a:gd name="connsiteY59" fmla="*/ 54145 h 844893"/>
                <a:gd name="connsiteX60" fmla="*/ 353208 w 576939"/>
                <a:gd name="connsiteY60" fmla="*/ 47200 h 844893"/>
                <a:gd name="connsiteX61" fmla="*/ 369082 w 576939"/>
                <a:gd name="connsiteY61" fmla="*/ 43728 h 844893"/>
                <a:gd name="connsiteX62" fmla="*/ 384460 w 576939"/>
                <a:gd name="connsiteY62" fmla="*/ 38271 h 844893"/>
                <a:gd name="connsiteX63" fmla="*/ 400335 w 576939"/>
                <a:gd name="connsiteY63" fmla="*/ 34302 h 844893"/>
                <a:gd name="connsiteX64" fmla="*/ 416210 w 576939"/>
                <a:gd name="connsiteY64" fmla="*/ 31326 h 844893"/>
                <a:gd name="connsiteX65" fmla="*/ 432084 w 576939"/>
                <a:gd name="connsiteY65" fmla="*/ 27853 h 844893"/>
                <a:gd name="connsiteX66" fmla="*/ 448455 w 576939"/>
                <a:gd name="connsiteY66" fmla="*/ 26861 h 844893"/>
                <a:gd name="connsiteX67" fmla="*/ 464329 w 576939"/>
                <a:gd name="connsiteY67" fmla="*/ 24877 h 844893"/>
                <a:gd name="connsiteX68" fmla="*/ 480204 w 576939"/>
                <a:gd name="connsiteY68" fmla="*/ 23388 h 844893"/>
                <a:gd name="connsiteX69" fmla="*/ 496574 w 576939"/>
                <a:gd name="connsiteY69" fmla="*/ 23388 h 844893"/>
                <a:gd name="connsiteX70" fmla="*/ 512449 w 576939"/>
                <a:gd name="connsiteY70" fmla="*/ 22892 h 844893"/>
                <a:gd name="connsiteX71" fmla="*/ 528323 w 576939"/>
                <a:gd name="connsiteY71" fmla="*/ 23884 h 844893"/>
                <a:gd name="connsiteX72" fmla="*/ 544694 w 576939"/>
                <a:gd name="connsiteY72" fmla="*/ 22892 h 844893"/>
                <a:gd name="connsiteX73" fmla="*/ 560568 w 576939"/>
                <a:gd name="connsiteY73" fmla="*/ 25869 h 844893"/>
                <a:gd name="connsiteX74" fmla="*/ 576939 w 576939"/>
                <a:gd name="connsiteY74" fmla="*/ 25869 h 844893"/>
                <a:gd name="connsiteX0" fmla="*/ 103184 w 560568"/>
                <a:gd name="connsiteY0" fmla="*/ 822103 h 822103"/>
                <a:gd name="connsiteX1" fmla="*/ 92767 w 560568"/>
                <a:gd name="connsiteY1" fmla="*/ 809205 h 822103"/>
                <a:gd name="connsiteX2" fmla="*/ 82845 w 560568"/>
                <a:gd name="connsiteY2" fmla="*/ 795811 h 822103"/>
                <a:gd name="connsiteX3" fmla="*/ 74412 w 560568"/>
                <a:gd name="connsiteY3" fmla="*/ 781425 h 822103"/>
                <a:gd name="connsiteX4" fmla="*/ 67466 w 560568"/>
                <a:gd name="connsiteY4" fmla="*/ 766543 h 822103"/>
                <a:gd name="connsiteX5" fmla="*/ 59529 w 560568"/>
                <a:gd name="connsiteY5" fmla="*/ 752156 h 822103"/>
                <a:gd name="connsiteX6" fmla="*/ 51096 w 560568"/>
                <a:gd name="connsiteY6" fmla="*/ 737770 h 822103"/>
                <a:gd name="connsiteX7" fmla="*/ 44647 w 560568"/>
                <a:gd name="connsiteY7" fmla="*/ 722392 h 822103"/>
                <a:gd name="connsiteX8" fmla="*/ 39190 w 560568"/>
                <a:gd name="connsiteY8" fmla="*/ 706517 h 822103"/>
                <a:gd name="connsiteX9" fmla="*/ 31253 w 560568"/>
                <a:gd name="connsiteY9" fmla="*/ 691635 h 822103"/>
                <a:gd name="connsiteX10" fmla="*/ 25796 w 560568"/>
                <a:gd name="connsiteY10" fmla="*/ 675760 h 822103"/>
                <a:gd name="connsiteX11" fmla="*/ 20836 w 560568"/>
                <a:gd name="connsiteY11" fmla="*/ 659886 h 822103"/>
                <a:gd name="connsiteX12" fmla="*/ 17859 w 560568"/>
                <a:gd name="connsiteY12" fmla="*/ 643515 h 822103"/>
                <a:gd name="connsiteX13" fmla="*/ 12402 w 560568"/>
                <a:gd name="connsiteY13" fmla="*/ 627641 h 822103"/>
                <a:gd name="connsiteX14" fmla="*/ 8930 w 560568"/>
                <a:gd name="connsiteY14" fmla="*/ 611270 h 822103"/>
                <a:gd name="connsiteX15" fmla="*/ 5953 w 560568"/>
                <a:gd name="connsiteY15" fmla="*/ 594900 h 822103"/>
                <a:gd name="connsiteX16" fmla="*/ 3969 w 560568"/>
                <a:gd name="connsiteY16" fmla="*/ 578529 h 822103"/>
                <a:gd name="connsiteX17" fmla="*/ 2480 w 560568"/>
                <a:gd name="connsiteY17" fmla="*/ 562159 h 822103"/>
                <a:gd name="connsiteX18" fmla="*/ 993 w 560568"/>
                <a:gd name="connsiteY18" fmla="*/ 545788 h 822103"/>
                <a:gd name="connsiteX19" fmla="*/ 1488 w 560568"/>
                <a:gd name="connsiteY19" fmla="*/ 528921 h 822103"/>
                <a:gd name="connsiteX20" fmla="*/ 0 w 560568"/>
                <a:gd name="connsiteY20" fmla="*/ 512551 h 822103"/>
                <a:gd name="connsiteX21" fmla="*/ 993 w 560568"/>
                <a:gd name="connsiteY21" fmla="*/ 496676 h 822103"/>
                <a:gd name="connsiteX22" fmla="*/ 1984 w 560568"/>
                <a:gd name="connsiteY22" fmla="*/ 480802 h 822103"/>
                <a:gd name="connsiteX23" fmla="*/ 3969 w 560568"/>
                <a:gd name="connsiteY23" fmla="*/ 464927 h 822103"/>
                <a:gd name="connsiteX24" fmla="*/ 3473 w 560568"/>
                <a:gd name="connsiteY24" fmla="*/ 448557 h 822103"/>
                <a:gd name="connsiteX25" fmla="*/ 6449 w 560568"/>
                <a:gd name="connsiteY25" fmla="*/ 432682 h 822103"/>
                <a:gd name="connsiteX26" fmla="*/ 8434 w 560568"/>
                <a:gd name="connsiteY26" fmla="*/ 416808 h 822103"/>
                <a:gd name="connsiteX27" fmla="*/ 11410 w 560568"/>
                <a:gd name="connsiteY27" fmla="*/ 400933 h 822103"/>
                <a:gd name="connsiteX28" fmla="*/ 14882 w 560568"/>
                <a:gd name="connsiteY28" fmla="*/ 385059 h 822103"/>
                <a:gd name="connsiteX29" fmla="*/ 19347 w 560568"/>
                <a:gd name="connsiteY29" fmla="*/ 369680 h 822103"/>
                <a:gd name="connsiteX30" fmla="*/ 25796 w 560568"/>
                <a:gd name="connsiteY30" fmla="*/ 354798 h 822103"/>
                <a:gd name="connsiteX31" fmla="*/ 30261 w 560568"/>
                <a:gd name="connsiteY31" fmla="*/ 339420 h 822103"/>
                <a:gd name="connsiteX32" fmla="*/ 36710 w 560568"/>
                <a:gd name="connsiteY32" fmla="*/ 324537 h 822103"/>
                <a:gd name="connsiteX33" fmla="*/ 41671 w 560568"/>
                <a:gd name="connsiteY33" fmla="*/ 309159 h 822103"/>
                <a:gd name="connsiteX34" fmla="*/ 48616 w 560568"/>
                <a:gd name="connsiteY34" fmla="*/ 294773 h 822103"/>
                <a:gd name="connsiteX35" fmla="*/ 56057 w 560568"/>
                <a:gd name="connsiteY35" fmla="*/ 280386 h 822103"/>
                <a:gd name="connsiteX36" fmla="*/ 63498 w 560568"/>
                <a:gd name="connsiteY36" fmla="*/ 266000 h 822103"/>
                <a:gd name="connsiteX37" fmla="*/ 70939 w 560568"/>
                <a:gd name="connsiteY37" fmla="*/ 251614 h 822103"/>
                <a:gd name="connsiteX38" fmla="*/ 79868 w 560568"/>
                <a:gd name="connsiteY38" fmla="*/ 238220 h 822103"/>
                <a:gd name="connsiteX39" fmla="*/ 88798 w 560568"/>
                <a:gd name="connsiteY39" fmla="*/ 224826 h 822103"/>
                <a:gd name="connsiteX40" fmla="*/ 98720 w 560568"/>
                <a:gd name="connsiteY40" fmla="*/ 211928 h 822103"/>
                <a:gd name="connsiteX41" fmla="*/ 107153 w 560568"/>
                <a:gd name="connsiteY41" fmla="*/ 198533 h 822103"/>
                <a:gd name="connsiteX42" fmla="*/ 116578 w 560568"/>
                <a:gd name="connsiteY42" fmla="*/ 185635 h 822103"/>
                <a:gd name="connsiteX43" fmla="*/ 126996 w 560568"/>
                <a:gd name="connsiteY43" fmla="*/ 173730 h 822103"/>
                <a:gd name="connsiteX44" fmla="*/ 137910 w 560568"/>
                <a:gd name="connsiteY44" fmla="*/ 161824 h 822103"/>
                <a:gd name="connsiteX45" fmla="*/ 150312 w 560568"/>
                <a:gd name="connsiteY45" fmla="*/ 151406 h 822103"/>
                <a:gd name="connsiteX46" fmla="*/ 160729 w 560568"/>
                <a:gd name="connsiteY46" fmla="*/ 139004 h 822103"/>
                <a:gd name="connsiteX47" fmla="*/ 173627 w 560568"/>
                <a:gd name="connsiteY47" fmla="*/ 129083 h 822103"/>
                <a:gd name="connsiteX48" fmla="*/ 186029 w 560568"/>
                <a:gd name="connsiteY48" fmla="*/ 118665 h 822103"/>
                <a:gd name="connsiteX49" fmla="*/ 198927 w 560568"/>
                <a:gd name="connsiteY49" fmla="*/ 109239 h 822103"/>
                <a:gd name="connsiteX50" fmla="*/ 210337 w 560568"/>
                <a:gd name="connsiteY50" fmla="*/ 97830 h 822103"/>
                <a:gd name="connsiteX51" fmla="*/ 223731 w 560568"/>
                <a:gd name="connsiteY51" fmla="*/ 88900 h 822103"/>
                <a:gd name="connsiteX52" fmla="*/ 237125 w 560568"/>
                <a:gd name="connsiteY52" fmla="*/ 79971 h 822103"/>
                <a:gd name="connsiteX53" fmla="*/ 250519 w 560568"/>
                <a:gd name="connsiteY53" fmla="*/ 71041 h 822103"/>
                <a:gd name="connsiteX54" fmla="*/ 265402 w 560568"/>
                <a:gd name="connsiteY54" fmla="*/ 65088 h 822103"/>
                <a:gd name="connsiteX55" fmla="*/ 278796 w 560568"/>
                <a:gd name="connsiteY55" fmla="*/ 55663 h 822103"/>
                <a:gd name="connsiteX56" fmla="*/ 293679 w 560568"/>
                <a:gd name="connsiteY56" fmla="*/ 49214 h 822103"/>
                <a:gd name="connsiteX57" fmla="*/ 308561 w 560568"/>
                <a:gd name="connsiteY57" fmla="*/ 43261 h 822103"/>
                <a:gd name="connsiteX58" fmla="*/ 323443 w 560568"/>
                <a:gd name="connsiteY58" fmla="*/ 37308 h 822103"/>
                <a:gd name="connsiteX59" fmla="*/ 338326 w 560568"/>
                <a:gd name="connsiteY59" fmla="*/ 31355 h 822103"/>
                <a:gd name="connsiteX60" fmla="*/ 353208 w 560568"/>
                <a:gd name="connsiteY60" fmla="*/ 24410 h 822103"/>
                <a:gd name="connsiteX61" fmla="*/ 369082 w 560568"/>
                <a:gd name="connsiteY61" fmla="*/ 20938 h 822103"/>
                <a:gd name="connsiteX62" fmla="*/ 384460 w 560568"/>
                <a:gd name="connsiteY62" fmla="*/ 15481 h 822103"/>
                <a:gd name="connsiteX63" fmla="*/ 400335 w 560568"/>
                <a:gd name="connsiteY63" fmla="*/ 11512 h 822103"/>
                <a:gd name="connsiteX64" fmla="*/ 416210 w 560568"/>
                <a:gd name="connsiteY64" fmla="*/ 8536 h 822103"/>
                <a:gd name="connsiteX65" fmla="*/ 432084 w 560568"/>
                <a:gd name="connsiteY65" fmla="*/ 5063 h 822103"/>
                <a:gd name="connsiteX66" fmla="*/ 448455 w 560568"/>
                <a:gd name="connsiteY66" fmla="*/ 4071 h 822103"/>
                <a:gd name="connsiteX67" fmla="*/ 464329 w 560568"/>
                <a:gd name="connsiteY67" fmla="*/ 2087 h 822103"/>
                <a:gd name="connsiteX68" fmla="*/ 480204 w 560568"/>
                <a:gd name="connsiteY68" fmla="*/ 598 h 822103"/>
                <a:gd name="connsiteX69" fmla="*/ 496574 w 560568"/>
                <a:gd name="connsiteY69" fmla="*/ 598 h 822103"/>
                <a:gd name="connsiteX70" fmla="*/ 512449 w 560568"/>
                <a:gd name="connsiteY70" fmla="*/ 102 h 822103"/>
                <a:gd name="connsiteX71" fmla="*/ 528323 w 560568"/>
                <a:gd name="connsiteY71" fmla="*/ 1094 h 822103"/>
                <a:gd name="connsiteX72" fmla="*/ 544694 w 560568"/>
                <a:gd name="connsiteY72" fmla="*/ 102 h 822103"/>
                <a:gd name="connsiteX73" fmla="*/ 560568 w 560568"/>
                <a:gd name="connsiteY73" fmla="*/ 3079 h 822103"/>
                <a:gd name="connsiteX0" fmla="*/ 103184 w 544694"/>
                <a:gd name="connsiteY0" fmla="*/ 822103 h 822103"/>
                <a:gd name="connsiteX1" fmla="*/ 92767 w 544694"/>
                <a:gd name="connsiteY1" fmla="*/ 809205 h 822103"/>
                <a:gd name="connsiteX2" fmla="*/ 82845 w 544694"/>
                <a:gd name="connsiteY2" fmla="*/ 795811 h 822103"/>
                <a:gd name="connsiteX3" fmla="*/ 74412 w 544694"/>
                <a:gd name="connsiteY3" fmla="*/ 781425 h 822103"/>
                <a:gd name="connsiteX4" fmla="*/ 67466 w 544694"/>
                <a:gd name="connsiteY4" fmla="*/ 766543 h 822103"/>
                <a:gd name="connsiteX5" fmla="*/ 59529 w 544694"/>
                <a:gd name="connsiteY5" fmla="*/ 752156 h 822103"/>
                <a:gd name="connsiteX6" fmla="*/ 51096 w 544694"/>
                <a:gd name="connsiteY6" fmla="*/ 737770 h 822103"/>
                <a:gd name="connsiteX7" fmla="*/ 44647 w 544694"/>
                <a:gd name="connsiteY7" fmla="*/ 722392 h 822103"/>
                <a:gd name="connsiteX8" fmla="*/ 39190 w 544694"/>
                <a:gd name="connsiteY8" fmla="*/ 706517 h 822103"/>
                <a:gd name="connsiteX9" fmla="*/ 31253 w 544694"/>
                <a:gd name="connsiteY9" fmla="*/ 691635 h 822103"/>
                <a:gd name="connsiteX10" fmla="*/ 25796 w 544694"/>
                <a:gd name="connsiteY10" fmla="*/ 675760 h 822103"/>
                <a:gd name="connsiteX11" fmla="*/ 20836 w 544694"/>
                <a:gd name="connsiteY11" fmla="*/ 659886 h 822103"/>
                <a:gd name="connsiteX12" fmla="*/ 17859 w 544694"/>
                <a:gd name="connsiteY12" fmla="*/ 643515 h 822103"/>
                <a:gd name="connsiteX13" fmla="*/ 12402 w 544694"/>
                <a:gd name="connsiteY13" fmla="*/ 627641 h 822103"/>
                <a:gd name="connsiteX14" fmla="*/ 8930 w 544694"/>
                <a:gd name="connsiteY14" fmla="*/ 611270 h 822103"/>
                <a:gd name="connsiteX15" fmla="*/ 5953 w 544694"/>
                <a:gd name="connsiteY15" fmla="*/ 594900 h 822103"/>
                <a:gd name="connsiteX16" fmla="*/ 3969 w 544694"/>
                <a:gd name="connsiteY16" fmla="*/ 578529 h 822103"/>
                <a:gd name="connsiteX17" fmla="*/ 2480 w 544694"/>
                <a:gd name="connsiteY17" fmla="*/ 562159 h 822103"/>
                <a:gd name="connsiteX18" fmla="*/ 993 w 544694"/>
                <a:gd name="connsiteY18" fmla="*/ 545788 h 822103"/>
                <a:gd name="connsiteX19" fmla="*/ 1488 w 544694"/>
                <a:gd name="connsiteY19" fmla="*/ 528921 h 822103"/>
                <a:gd name="connsiteX20" fmla="*/ 0 w 544694"/>
                <a:gd name="connsiteY20" fmla="*/ 512551 h 822103"/>
                <a:gd name="connsiteX21" fmla="*/ 993 w 544694"/>
                <a:gd name="connsiteY21" fmla="*/ 496676 h 822103"/>
                <a:gd name="connsiteX22" fmla="*/ 1984 w 544694"/>
                <a:gd name="connsiteY22" fmla="*/ 480802 h 822103"/>
                <a:gd name="connsiteX23" fmla="*/ 3969 w 544694"/>
                <a:gd name="connsiteY23" fmla="*/ 464927 h 822103"/>
                <a:gd name="connsiteX24" fmla="*/ 3473 w 544694"/>
                <a:gd name="connsiteY24" fmla="*/ 448557 h 822103"/>
                <a:gd name="connsiteX25" fmla="*/ 6449 w 544694"/>
                <a:gd name="connsiteY25" fmla="*/ 432682 h 822103"/>
                <a:gd name="connsiteX26" fmla="*/ 8434 w 544694"/>
                <a:gd name="connsiteY26" fmla="*/ 416808 h 822103"/>
                <a:gd name="connsiteX27" fmla="*/ 11410 w 544694"/>
                <a:gd name="connsiteY27" fmla="*/ 400933 h 822103"/>
                <a:gd name="connsiteX28" fmla="*/ 14882 w 544694"/>
                <a:gd name="connsiteY28" fmla="*/ 385059 h 822103"/>
                <a:gd name="connsiteX29" fmla="*/ 19347 w 544694"/>
                <a:gd name="connsiteY29" fmla="*/ 369680 h 822103"/>
                <a:gd name="connsiteX30" fmla="*/ 25796 w 544694"/>
                <a:gd name="connsiteY30" fmla="*/ 354798 h 822103"/>
                <a:gd name="connsiteX31" fmla="*/ 30261 w 544694"/>
                <a:gd name="connsiteY31" fmla="*/ 339420 h 822103"/>
                <a:gd name="connsiteX32" fmla="*/ 36710 w 544694"/>
                <a:gd name="connsiteY32" fmla="*/ 324537 h 822103"/>
                <a:gd name="connsiteX33" fmla="*/ 41671 w 544694"/>
                <a:gd name="connsiteY33" fmla="*/ 309159 h 822103"/>
                <a:gd name="connsiteX34" fmla="*/ 48616 w 544694"/>
                <a:gd name="connsiteY34" fmla="*/ 294773 h 822103"/>
                <a:gd name="connsiteX35" fmla="*/ 56057 w 544694"/>
                <a:gd name="connsiteY35" fmla="*/ 280386 h 822103"/>
                <a:gd name="connsiteX36" fmla="*/ 63498 w 544694"/>
                <a:gd name="connsiteY36" fmla="*/ 266000 h 822103"/>
                <a:gd name="connsiteX37" fmla="*/ 70939 w 544694"/>
                <a:gd name="connsiteY37" fmla="*/ 251614 h 822103"/>
                <a:gd name="connsiteX38" fmla="*/ 79868 w 544694"/>
                <a:gd name="connsiteY38" fmla="*/ 238220 h 822103"/>
                <a:gd name="connsiteX39" fmla="*/ 88798 w 544694"/>
                <a:gd name="connsiteY39" fmla="*/ 224826 h 822103"/>
                <a:gd name="connsiteX40" fmla="*/ 98720 w 544694"/>
                <a:gd name="connsiteY40" fmla="*/ 211928 h 822103"/>
                <a:gd name="connsiteX41" fmla="*/ 107153 w 544694"/>
                <a:gd name="connsiteY41" fmla="*/ 198533 h 822103"/>
                <a:gd name="connsiteX42" fmla="*/ 116578 w 544694"/>
                <a:gd name="connsiteY42" fmla="*/ 185635 h 822103"/>
                <a:gd name="connsiteX43" fmla="*/ 126996 w 544694"/>
                <a:gd name="connsiteY43" fmla="*/ 173730 h 822103"/>
                <a:gd name="connsiteX44" fmla="*/ 137910 w 544694"/>
                <a:gd name="connsiteY44" fmla="*/ 161824 h 822103"/>
                <a:gd name="connsiteX45" fmla="*/ 150312 w 544694"/>
                <a:gd name="connsiteY45" fmla="*/ 151406 h 822103"/>
                <a:gd name="connsiteX46" fmla="*/ 160729 w 544694"/>
                <a:gd name="connsiteY46" fmla="*/ 139004 h 822103"/>
                <a:gd name="connsiteX47" fmla="*/ 173627 w 544694"/>
                <a:gd name="connsiteY47" fmla="*/ 129083 h 822103"/>
                <a:gd name="connsiteX48" fmla="*/ 186029 w 544694"/>
                <a:gd name="connsiteY48" fmla="*/ 118665 h 822103"/>
                <a:gd name="connsiteX49" fmla="*/ 198927 w 544694"/>
                <a:gd name="connsiteY49" fmla="*/ 109239 h 822103"/>
                <a:gd name="connsiteX50" fmla="*/ 210337 w 544694"/>
                <a:gd name="connsiteY50" fmla="*/ 97830 h 822103"/>
                <a:gd name="connsiteX51" fmla="*/ 223731 w 544694"/>
                <a:gd name="connsiteY51" fmla="*/ 88900 h 822103"/>
                <a:gd name="connsiteX52" fmla="*/ 237125 w 544694"/>
                <a:gd name="connsiteY52" fmla="*/ 79971 h 822103"/>
                <a:gd name="connsiteX53" fmla="*/ 250519 w 544694"/>
                <a:gd name="connsiteY53" fmla="*/ 71041 h 822103"/>
                <a:gd name="connsiteX54" fmla="*/ 265402 w 544694"/>
                <a:gd name="connsiteY54" fmla="*/ 65088 h 822103"/>
                <a:gd name="connsiteX55" fmla="*/ 278796 w 544694"/>
                <a:gd name="connsiteY55" fmla="*/ 55663 h 822103"/>
                <a:gd name="connsiteX56" fmla="*/ 293679 w 544694"/>
                <a:gd name="connsiteY56" fmla="*/ 49214 h 822103"/>
                <a:gd name="connsiteX57" fmla="*/ 308561 w 544694"/>
                <a:gd name="connsiteY57" fmla="*/ 43261 h 822103"/>
                <a:gd name="connsiteX58" fmla="*/ 323443 w 544694"/>
                <a:gd name="connsiteY58" fmla="*/ 37308 h 822103"/>
                <a:gd name="connsiteX59" fmla="*/ 338326 w 544694"/>
                <a:gd name="connsiteY59" fmla="*/ 31355 h 822103"/>
                <a:gd name="connsiteX60" fmla="*/ 353208 w 544694"/>
                <a:gd name="connsiteY60" fmla="*/ 24410 h 822103"/>
                <a:gd name="connsiteX61" fmla="*/ 369082 w 544694"/>
                <a:gd name="connsiteY61" fmla="*/ 20938 h 822103"/>
                <a:gd name="connsiteX62" fmla="*/ 384460 w 544694"/>
                <a:gd name="connsiteY62" fmla="*/ 15481 h 822103"/>
                <a:gd name="connsiteX63" fmla="*/ 400335 w 544694"/>
                <a:gd name="connsiteY63" fmla="*/ 11512 h 822103"/>
                <a:gd name="connsiteX64" fmla="*/ 416210 w 544694"/>
                <a:gd name="connsiteY64" fmla="*/ 8536 h 822103"/>
                <a:gd name="connsiteX65" fmla="*/ 432084 w 544694"/>
                <a:gd name="connsiteY65" fmla="*/ 5063 h 822103"/>
                <a:gd name="connsiteX66" fmla="*/ 448455 w 544694"/>
                <a:gd name="connsiteY66" fmla="*/ 4071 h 822103"/>
                <a:gd name="connsiteX67" fmla="*/ 464329 w 544694"/>
                <a:gd name="connsiteY67" fmla="*/ 2087 h 822103"/>
                <a:gd name="connsiteX68" fmla="*/ 480204 w 544694"/>
                <a:gd name="connsiteY68" fmla="*/ 598 h 822103"/>
                <a:gd name="connsiteX69" fmla="*/ 496574 w 544694"/>
                <a:gd name="connsiteY69" fmla="*/ 598 h 822103"/>
                <a:gd name="connsiteX70" fmla="*/ 512449 w 544694"/>
                <a:gd name="connsiteY70" fmla="*/ 102 h 822103"/>
                <a:gd name="connsiteX71" fmla="*/ 528323 w 544694"/>
                <a:gd name="connsiteY71" fmla="*/ 1094 h 822103"/>
                <a:gd name="connsiteX72" fmla="*/ 544694 w 544694"/>
                <a:gd name="connsiteY72" fmla="*/ 102 h 822103"/>
                <a:gd name="connsiteX0" fmla="*/ 103184 w 528323"/>
                <a:gd name="connsiteY0" fmla="*/ 822001 h 822001"/>
                <a:gd name="connsiteX1" fmla="*/ 92767 w 528323"/>
                <a:gd name="connsiteY1" fmla="*/ 809103 h 822001"/>
                <a:gd name="connsiteX2" fmla="*/ 82845 w 528323"/>
                <a:gd name="connsiteY2" fmla="*/ 795709 h 822001"/>
                <a:gd name="connsiteX3" fmla="*/ 74412 w 528323"/>
                <a:gd name="connsiteY3" fmla="*/ 781323 h 822001"/>
                <a:gd name="connsiteX4" fmla="*/ 67466 w 528323"/>
                <a:gd name="connsiteY4" fmla="*/ 766441 h 822001"/>
                <a:gd name="connsiteX5" fmla="*/ 59529 w 528323"/>
                <a:gd name="connsiteY5" fmla="*/ 752054 h 822001"/>
                <a:gd name="connsiteX6" fmla="*/ 51096 w 528323"/>
                <a:gd name="connsiteY6" fmla="*/ 737668 h 822001"/>
                <a:gd name="connsiteX7" fmla="*/ 44647 w 528323"/>
                <a:gd name="connsiteY7" fmla="*/ 722290 h 822001"/>
                <a:gd name="connsiteX8" fmla="*/ 39190 w 528323"/>
                <a:gd name="connsiteY8" fmla="*/ 706415 h 822001"/>
                <a:gd name="connsiteX9" fmla="*/ 31253 w 528323"/>
                <a:gd name="connsiteY9" fmla="*/ 691533 h 822001"/>
                <a:gd name="connsiteX10" fmla="*/ 25796 w 528323"/>
                <a:gd name="connsiteY10" fmla="*/ 675658 h 822001"/>
                <a:gd name="connsiteX11" fmla="*/ 20836 w 528323"/>
                <a:gd name="connsiteY11" fmla="*/ 659784 h 822001"/>
                <a:gd name="connsiteX12" fmla="*/ 17859 w 528323"/>
                <a:gd name="connsiteY12" fmla="*/ 643413 h 822001"/>
                <a:gd name="connsiteX13" fmla="*/ 12402 w 528323"/>
                <a:gd name="connsiteY13" fmla="*/ 627539 h 822001"/>
                <a:gd name="connsiteX14" fmla="*/ 8930 w 528323"/>
                <a:gd name="connsiteY14" fmla="*/ 611168 h 822001"/>
                <a:gd name="connsiteX15" fmla="*/ 5953 w 528323"/>
                <a:gd name="connsiteY15" fmla="*/ 594798 h 822001"/>
                <a:gd name="connsiteX16" fmla="*/ 3969 w 528323"/>
                <a:gd name="connsiteY16" fmla="*/ 578427 h 822001"/>
                <a:gd name="connsiteX17" fmla="*/ 2480 w 528323"/>
                <a:gd name="connsiteY17" fmla="*/ 562057 h 822001"/>
                <a:gd name="connsiteX18" fmla="*/ 993 w 528323"/>
                <a:gd name="connsiteY18" fmla="*/ 545686 h 822001"/>
                <a:gd name="connsiteX19" fmla="*/ 1488 w 528323"/>
                <a:gd name="connsiteY19" fmla="*/ 528819 h 822001"/>
                <a:gd name="connsiteX20" fmla="*/ 0 w 528323"/>
                <a:gd name="connsiteY20" fmla="*/ 512449 h 822001"/>
                <a:gd name="connsiteX21" fmla="*/ 993 w 528323"/>
                <a:gd name="connsiteY21" fmla="*/ 496574 h 822001"/>
                <a:gd name="connsiteX22" fmla="*/ 1984 w 528323"/>
                <a:gd name="connsiteY22" fmla="*/ 480700 h 822001"/>
                <a:gd name="connsiteX23" fmla="*/ 3969 w 528323"/>
                <a:gd name="connsiteY23" fmla="*/ 464825 h 822001"/>
                <a:gd name="connsiteX24" fmla="*/ 3473 w 528323"/>
                <a:gd name="connsiteY24" fmla="*/ 448455 h 822001"/>
                <a:gd name="connsiteX25" fmla="*/ 6449 w 528323"/>
                <a:gd name="connsiteY25" fmla="*/ 432580 h 822001"/>
                <a:gd name="connsiteX26" fmla="*/ 8434 w 528323"/>
                <a:gd name="connsiteY26" fmla="*/ 416706 h 822001"/>
                <a:gd name="connsiteX27" fmla="*/ 11410 w 528323"/>
                <a:gd name="connsiteY27" fmla="*/ 400831 h 822001"/>
                <a:gd name="connsiteX28" fmla="*/ 14882 w 528323"/>
                <a:gd name="connsiteY28" fmla="*/ 384957 h 822001"/>
                <a:gd name="connsiteX29" fmla="*/ 19347 w 528323"/>
                <a:gd name="connsiteY29" fmla="*/ 369578 h 822001"/>
                <a:gd name="connsiteX30" fmla="*/ 25796 w 528323"/>
                <a:gd name="connsiteY30" fmla="*/ 354696 h 822001"/>
                <a:gd name="connsiteX31" fmla="*/ 30261 w 528323"/>
                <a:gd name="connsiteY31" fmla="*/ 339318 h 822001"/>
                <a:gd name="connsiteX32" fmla="*/ 36710 w 528323"/>
                <a:gd name="connsiteY32" fmla="*/ 324435 h 822001"/>
                <a:gd name="connsiteX33" fmla="*/ 41671 w 528323"/>
                <a:gd name="connsiteY33" fmla="*/ 309057 h 822001"/>
                <a:gd name="connsiteX34" fmla="*/ 48616 w 528323"/>
                <a:gd name="connsiteY34" fmla="*/ 294671 h 822001"/>
                <a:gd name="connsiteX35" fmla="*/ 56057 w 528323"/>
                <a:gd name="connsiteY35" fmla="*/ 280284 h 822001"/>
                <a:gd name="connsiteX36" fmla="*/ 63498 w 528323"/>
                <a:gd name="connsiteY36" fmla="*/ 265898 h 822001"/>
                <a:gd name="connsiteX37" fmla="*/ 70939 w 528323"/>
                <a:gd name="connsiteY37" fmla="*/ 251512 h 822001"/>
                <a:gd name="connsiteX38" fmla="*/ 79868 w 528323"/>
                <a:gd name="connsiteY38" fmla="*/ 238118 h 822001"/>
                <a:gd name="connsiteX39" fmla="*/ 88798 w 528323"/>
                <a:gd name="connsiteY39" fmla="*/ 224724 h 822001"/>
                <a:gd name="connsiteX40" fmla="*/ 98720 w 528323"/>
                <a:gd name="connsiteY40" fmla="*/ 211826 h 822001"/>
                <a:gd name="connsiteX41" fmla="*/ 107153 w 528323"/>
                <a:gd name="connsiteY41" fmla="*/ 198431 h 822001"/>
                <a:gd name="connsiteX42" fmla="*/ 116578 w 528323"/>
                <a:gd name="connsiteY42" fmla="*/ 185533 h 822001"/>
                <a:gd name="connsiteX43" fmla="*/ 126996 w 528323"/>
                <a:gd name="connsiteY43" fmla="*/ 173628 h 822001"/>
                <a:gd name="connsiteX44" fmla="*/ 137910 w 528323"/>
                <a:gd name="connsiteY44" fmla="*/ 161722 h 822001"/>
                <a:gd name="connsiteX45" fmla="*/ 150312 w 528323"/>
                <a:gd name="connsiteY45" fmla="*/ 151304 h 822001"/>
                <a:gd name="connsiteX46" fmla="*/ 160729 w 528323"/>
                <a:gd name="connsiteY46" fmla="*/ 138902 h 822001"/>
                <a:gd name="connsiteX47" fmla="*/ 173627 w 528323"/>
                <a:gd name="connsiteY47" fmla="*/ 128981 h 822001"/>
                <a:gd name="connsiteX48" fmla="*/ 186029 w 528323"/>
                <a:gd name="connsiteY48" fmla="*/ 118563 h 822001"/>
                <a:gd name="connsiteX49" fmla="*/ 198927 w 528323"/>
                <a:gd name="connsiteY49" fmla="*/ 109137 h 822001"/>
                <a:gd name="connsiteX50" fmla="*/ 210337 w 528323"/>
                <a:gd name="connsiteY50" fmla="*/ 97728 h 822001"/>
                <a:gd name="connsiteX51" fmla="*/ 223731 w 528323"/>
                <a:gd name="connsiteY51" fmla="*/ 88798 h 822001"/>
                <a:gd name="connsiteX52" fmla="*/ 237125 w 528323"/>
                <a:gd name="connsiteY52" fmla="*/ 79869 h 822001"/>
                <a:gd name="connsiteX53" fmla="*/ 250519 w 528323"/>
                <a:gd name="connsiteY53" fmla="*/ 70939 h 822001"/>
                <a:gd name="connsiteX54" fmla="*/ 265402 w 528323"/>
                <a:gd name="connsiteY54" fmla="*/ 64986 h 822001"/>
                <a:gd name="connsiteX55" fmla="*/ 278796 w 528323"/>
                <a:gd name="connsiteY55" fmla="*/ 55561 h 822001"/>
                <a:gd name="connsiteX56" fmla="*/ 293679 w 528323"/>
                <a:gd name="connsiteY56" fmla="*/ 49112 h 822001"/>
                <a:gd name="connsiteX57" fmla="*/ 308561 w 528323"/>
                <a:gd name="connsiteY57" fmla="*/ 43159 h 822001"/>
                <a:gd name="connsiteX58" fmla="*/ 323443 w 528323"/>
                <a:gd name="connsiteY58" fmla="*/ 37206 h 822001"/>
                <a:gd name="connsiteX59" fmla="*/ 338326 w 528323"/>
                <a:gd name="connsiteY59" fmla="*/ 31253 h 822001"/>
                <a:gd name="connsiteX60" fmla="*/ 353208 w 528323"/>
                <a:gd name="connsiteY60" fmla="*/ 24308 h 822001"/>
                <a:gd name="connsiteX61" fmla="*/ 369082 w 528323"/>
                <a:gd name="connsiteY61" fmla="*/ 20836 h 822001"/>
                <a:gd name="connsiteX62" fmla="*/ 384460 w 528323"/>
                <a:gd name="connsiteY62" fmla="*/ 15379 h 822001"/>
                <a:gd name="connsiteX63" fmla="*/ 400335 w 528323"/>
                <a:gd name="connsiteY63" fmla="*/ 11410 h 822001"/>
                <a:gd name="connsiteX64" fmla="*/ 416210 w 528323"/>
                <a:gd name="connsiteY64" fmla="*/ 8434 h 822001"/>
                <a:gd name="connsiteX65" fmla="*/ 432084 w 528323"/>
                <a:gd name="connsiteY65" fmla="*/ 4961 h 822001"/>
                <a:gd name="connsiteX66" fmla="*/ 448455 w 528323"/>
                <a:gd name="connsiteY66" fmla="*/ 3969 h 822001"/>
                <a:gd name="connsiteX67" fmla="*/ 464329 w 528323"/>
                <a:gd name="connsiteY67" fmla="*/ 1985 h 822001"/>
                <a:gd name="connsiteX68" fmla="*/ 480204 w 528323"/>
                <a:gd name="connsiteY68" fmla="*/ 496 h 822001"/>
                <a:gd name="connsiteX69" fmla="*/ 496574 w 528323"/>
                <a:gd name="connsiteY69" fmla="*/ 496 h 822001"/>
                <a:gd name="connsiteX70" fmla="*/ 512449 w 528323"/>
                <a:gd name="connsiteY70" fmla="*/ 0 h 822001"/>
                <a:gd name="connsiteX71" fmla="*/ 528323 w 528323"/>
                <a:gd name="connsiteY71" fmla="*/ 992 h 82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28323" h="822001">
                  <a:moveTo>
                    <a:pt x="103184" y="822001"/>
                  </a:moveTo>
                  <a:cubicBezTo>
                    <a:pt x="99712" y="817537"/>
                    <a:pt x="95743" y="813568"/>
                    <a:pt x="92767" y="809103"/>
                  </a:cubicBezTo>
                  <a:cubicBezTo>
                    <a:pt x="89790" y="804639"/>
                    <a:pt x="85822" y="800174"/>
                    <a:pt x="82845" y="795709"/>
                  </a:cubicBezTo>
                  <a:cubicBezTo>
                    <a:pt x="79868" y="791245"/>
                    <a:pt x="77388" y="786284"/>
                    <a:pt x="74412" y="781323"/>
                  </a:cubicBezTo>
                  <a:cubicBezTo>
                    <a:pt x="71435" y="776362"/>
                    <a:pt x="69947" y="770905"/>
                    <a:pt x="67466" y="766441"/>
                  </a:cubicBezTo>
                  <a:cubicBezTo>
                    <a:pt x="64490" y="761480"/>
                    <a:pt x="62010" y="757015"/>
                    <a:pt x="59529" y="752054"/>
                  </a:cubicBezTo>
                  <a:cubicBezTo>
                    <a:pt x="57049" y="747094"/>
                    <a:pt x="53081" y="742629"/>
                    <a:pt x="51096" y="737668"/>
                  </a:cubicBezTo>
                  <a:cubicBezTo>
                    <a:pt x="48616" y="732707"/>
                    <a:pt x="46631" y="727251"/>
                    <a:pt x="44647" y="722290"/>
                  </a:cubicBezTo>
                  <a:cubicBezTo>
                    <a:pt x="42167" y="717329"/>
                    <a:pt x="41175" y="711872"/>
                    <a:pt x="39190" y="706415"/>
                  </a:cubicBezTo>
                  <a:cubicBezTo>
                    <a:pt x="37206" y="701454"/>
                    <a:pt x="33238" y="696990"/>
                    <a:pt x="31253" y="691533"/>
                  </a:cubicBezTo>
                  <a:cubicBezTo>
                    <a:pt x="29269" y="686572"/>
                    <a:pt x="27780" y="681115"/>
                    <a:pt x="25796" y="675658"/>
                  </a:cubicBezTo>
                  <a:cubicBezTo>
                    <a:pt x="23812" y="670202"/>
                    <a:pt x="22324" y="665241"/>
                    <a:pt x="20836" y="659784"/>
                  </a:cubicBezTo>
                  <a:cubicBezTo>
                    <a:pt x="19347" y="654327"/>
                    <a:pt x="19347" y="648870"/>
                    <a:pt x="17859" y="643413"/>
                  </a:cubicBezTo>
                  <a:cubicBezTo>
                    <a:pt x="16371" y="637957"/>
                    <a:pt x="13890" y="632996"/>
                    <a:pt x="12402" y="627539"/>
                  </a:cubicBezTo>
                  <a:cubicBezTo>
                    <a:pt x="10914" y="622082"/>
                    <a:pt x="9922" y="616625"/>
                    <a:pt x="8930" y="611168"/>
                  </a:cubicBezTo>
                  <a:lnTo>
                    <a:pt x="5953" y="594798"/>
                  </a:lnTo>
                  <a:cubicBezTo>
                    <a:pt x="4961" y="589341"/>
                    <a:pt x="4465" y="583884"/>
                    <a:pt x="3969" y="578427"/>
                  </a:cubicBezTo>
                  <a:lnTo>
                    <a:pt x="2480" y="562057"/>
                  </a:lnTo>
                  <a:cubicBezTo>
                    <a:pt x="1984" y="556600"/>
                    <a:pt x="993" y="551143"/>
                    <a:pt x="993" y="545686"/>
                  </a:cubicBezTo>
                  <a:cubicBezTo>
                    <a:pt x="496" y="540229"/>
                    <a:pt x="1488" y="534772"/>
                    <a:pt x="1488" y="528819"/>
                  </a:cubicBezTo>
                  <a:cubicBezTo>
                    <a:pt x="1488" y="523362"/>
                    <a:pt x="0" y="517906"/>
                    <a:pt x="0" y="512449"/>
                  </a:cubicBezTo>
                  <a:cubicBezTo>
                    <a:pt x="0" y="506992"/>
                    <a:pt x="496" y="501535"/>
                    <a:pt x="993" y="496574"/>
                  </a:cubicBezTo>
                  <a:cubicBezTo>
                    <a:pt x="993" y="491117"/>
                    <a:pt x="1488" y="485661"/>
                    <a:pt x="1984" y="480700"/>
                  </a:cubicBezTo>
                  <a:cubicBezTo>
                    <a:pt x="2480" y="475243"/>
                    <a:pt x="3473" y="470282"/>
                    <a:pt x="3969" y="464825"/>
                  </a:cubicBezTo>
                  <a:cubicBezTo>
                    <a:pt x="4465" y="459368"/>
                    <a:pt x="2976" y="453912"/>
                    <a:pt x="3473" y="448455"/>
                  </a:cubicBezTo>
                  <a:cubicBezTo>
                    <a:pt x="3969" y="442998"/>
                    <a:pt x="5457" y="438037"/>
                    <a:pt x="6449" y="432580"/>
                  </a:cubicBezTo>
                  <a:cubicBezTo>
                    <a:pt x="7441" y="427123"/>
                    <a:pt x="7441" y="421666"/>
                    <a:pt x="8434" y="416706"/>
                  </a:cubicBezTo>
                  <a:cubicBezTo>
                    <a:pt x="9426" y="411249"/>
                    <a:pt x="10418" y="406288"/>
                    <a:pt x="11410" y="400831"/>
                  </a:cubicBezTo>
                  <a:cubicBezTo>
                    <a:pt x="12402" y="395374"/>
                    <a:pt x="13394" y="390414"/>
                    <a:pt x="14882" y="384957"/>
                  </a:cubicBezTo>
                  <a:cubicBezTo>
                    <a:pt x="16371" y="379500"/>
                    <a:pt x="17859" y="374539"/>
                    <a:pt x="19347" y="369578"/>
                  </a:cubicBezTo>
                  <a:cubicBezTo>
                    <a:pt x="20836" y="364618"/>
                    <a:pt x="23812" y="359657"/>
                    <a:pt x="25796" y="354696"/>
                  </a:cubicBezTo>
                  <a:cubicBezTo>
                    <a:pt x="27284" y="349735"/>
                    <a:pt x="28277" y="344278"/>
                    <a:pt x="30261" y="339318"/>
                  </a:cubicBezTo>
                  <a:cubicBezTo>
                    <a:pt x="32245" y="334357"/>
                    <a:pt x="34725" y="329396"/>
                    <a:pt x="36710" y="324435"/>
                  </a:cubicBezTo>
                  <a:cubicBezTo>
                    <a:pt x="38694" y="319474"/>
                    <a:pt x="39686" y="314018"/>
                    <a:pt x="41671" y="309057"/>
                  </a:cubicBezTo>
                  <a:cubicBezTo>
                    <a:pt x="43655" y="304096"/>
                    <a:pt x="46135" y="299135"/>
                    <a:pt x="48616" y="294671"/>
                  </a:cubicBezTo>
                  <a:cubicBezTo>
                    <a:pt x="51096" y="289710"/>
                    <a:pt x="53577" y="285245"/>
                    <a:pt x="56057" y="280284"/>
                  </a:cubicBezTo>
                  <a:cubicBezTo>
                    <a:pt x="58537" y="275324"/>
                    <a:pt x="61018" y="270859"/>
                    <a:pt x="63498" y="265898"/>
                  </a:cubicBezTo>
                  <a:cubicBezTo>
                    <a:pt x="65979" y="261433"/>
                    <a:pt x="68459" y="255976"/>
                    <a:pt x="70939" y="251512"/>
                  </a:cubicBezTo>
                  <a:lnTo>
                    <a:pt x="79868" y="238118"/>
                  </a:lnTo>
                  <a:lnTo>
                    <a:pt x="88798" y="224724"/>
                  </a:lnTo>
                  <a:cubicBezTo>
                    <a:pt x="91774" y="220259"/>
                    <a:pt x="95743" y="216290"/>
                    <a:pt x="98720" y="211826"/>
                  </a:cubicBezTo>
                  <a:cubicBezTo>
                    <a:pt x="101696" y="207361"/>
                    <a:pt x="104176" y="202400"/>
                    <a:pt x="107153" y="198431"/>
                  </a:cubicBezTo>
                  <a:cubicBezTo>
                    <a:pt x="110626" y="193967"/>
                    <a:pt x="113106" y="189502"/>
                    <a:pt x="116578" y="185533"/>
                  </a:cubicBezTo>
                  <a:lnTo>
                    <a:pt x="126996" y="173628"/>
                  </a:lnTo>
                  <a:cubicBezTo>
                    <a:pt x="130469" y="169659"/>
                    <a:pt x="133941" y="165690"/>
                    <a:pt x="137910" y="161722"/>
                  </a:cubicBezTo>
                  <a:cubicBezTo>
                    <a:pt x="141382" y="157753"/>
                    <a:pt x="146343" y="154777"/>
                    <a:pt x="150312" y="151304"/>
                  </a:cubicBezTo>
                  <a:cubicBezTo>
                    <a:pt x="154280" y="147831"/>
                    <a:pt x="156761" y="142375"/>
                    <a:pt x="160729" y="138902"/>
                  </a:cubicBezTo>
                  <a:cubicBezTo>
                    <a:pt x="164698" y="135430"/>
                    <a:pt x="169659" y="132453"/>
                    <a:pt x="173627" y="128981"/>
                  </a:cubicBezTo>
                  <a:cubicBezTo>
                    <a:pt x="177596" y="125508"/>
                    <a:pt x="181564" y="122035"/>
                    <a:pt x="186029" y="118563"/>
                  </a:cubicBezTo>
                  <a:cubicBezTo>
                    <a:pt x="189998" y="115090"/>
                    <a:pt x="194959" y="112610"/>
                    <a:pt x="198927" y="109137"/>
                  </a:cubicBezTo>
                  <a:cubicBezTo>
                    <a:pt x="203392" y="105665"/>
                    <a:pt x="206368" y="100704"/>
                    <a:pt x="210337" y="97728"/>
                  </a:cubicBezTo>
                  <a:lnTo>
                    <a:pt x="223731" y="88798"/>
                  </a:lnTo>
                  <a:lnTo>
                    <a:pt x="237125" y="79869"/>
                  </a:lnTo>
                  <a:lnTo>
                    <a:pt x="250519" y="70939"/>
                  </a:lnTo>
                  <a:cubicBezTo>
                    <a:pt x="254984" y="67963"/>
                    <a:pt x="260937" y="67467"/>
                    <a:pt x="265402" y="64986"/>
                  </a:cubicBezTo>
                  <a:cubicBezTo>
                    <a:pt x="269867" y="62506"/>
                    <a:pt x="273835" y="58041"/>
                    <a:pt x="278796" y="55561"/>
                  </a:cubicBezTo>
                  <a:cubicBezTo>
                    <a:pt x="283757" y="53081"/>
                    <a:pt x="288718" y="51592"/>
                    <a:pt x="293679" y="49112"/>
                  </a:cubicBezTo>
                  <a:cubicBezTo>
                    <a:pt x="298639" y="46632"/>
                    <a:pt x="303600" y="45143"/>
                    <a:pt x="308561" y="43159"/>
                  </a:cubicBezTo>
                  <a:lnTo>
                    <a:pt x="323443" y="37206"/>
                  </a:lnTo>
                  <a:cubicBezTo>
                    <a:pt x="328404" y="35222"/>
                    <a:pt x="333365" y="32741"/>
                    <a:pt x="338326" y="31253"/>
                  </a:cubicBezTo>
                  <a:cubicBezTo>
                    <a:pt x="343286" y="29269"/>
                    <a:pt x="347751" y="26292"/>
                    <a:pt x="353208" y="24308"/>
                  </a:cubicBezTo>
                  <a:cubicBezTo>
                    <a:pt x="358169" y="22820"/>
                    <a:pt x="364121" y="22324"/>
                    <a:pt x="369082" y="20836"/>
                  </a:cubicBezTo>
                  <a:cubicBezTo>
                    <a:pt x="374043" y="19347"/>
                    <a:pt x="379004" y="16867"/>
                    <a:pt x="384460" y="15379"/>
                  </a:cubicBezTo>
                  <a:cubicBezTo>
                    <a:pt x="389421" y="13890"/>
                    <a:pt x="394878" y="12898"/>
                    <a:pt x="400335" y="11410"/>
                  </a:cubicBezTo>
                  <a:lnTo>
                    <a:pt x="416210" y="8434"/>
                  </a:lnTo>
                  <a:cubicBezTo>
                    <a:pt x="421666" y="7441"/>
                    <a:pt x="426627" y="5953"/>
                    <a:pt x="432084" y="4961"/>
                  </a:cubicBezTo>
                  <a:cubicBezTo>
                    <a:pt x="437541" y="3969"/>
                    <a:pt x="442998" y="4961"/>
                    <a:pt x="448455" y="3969"/>
                  </a:cubicBezTo>
                  <a:cubicBezTo>
                    <a:pt x="453911" y="3473"/>
                    <a:pt x="458872" y="2481"/>
                    <a:pt x="464329" y="1985"/>
                  </a:cubicBezTo>
                  <a:cubicBezTo>
                    <a:pt x="469786" y="1488"/>
                    <a:pt x="474747" y="496"/>
                    <a:pt x="480204" y="496"/>
                  </a:cubicBezTo>
                  <a:cubicBezTo>
                    <a:pt x="485660" y="0"/>
                    <a:pt x="491117" y="496"/>
                    <a:pt x="496574" y="496"/>
                  </a:cubicBezTo>
                  <a:cubicBezTo>
                    <a:pt x="502031" y="496"/>
                    <a:pt x="507488" y="0"/>
                    <a:pt x="512449" y="0"/>
                  </a:cubicBezTo>
                  <a:cubicBezTo>
                    <a:pt x="517905" y="0"/>
                    <a:pt x="523362" y="992"/>
                    <a:pt x="528323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BDC5EF14-7B91-74B5-CBDB-1C69A662706A}"/>
                </a:ext>
              </a:extLst>
            </p:cNvPr>
            <p:cNvSpPr/>
            <p:nvPr/>
          </p:nvSpPr>
          <p:spPr>
            <a:xfrm>
              <a:off x="6307501" y="1613245"/>
              <a:ext cx="85821" cy="34229"/>
            </a:xfrm>
            <a:custGeom>
              <a:avLst/>
              <a:gdLst>
                <a:gd name="connsiteX0" fmla="*/ 85821 w 85821"/>
                <a:gd name="connsiteY0" fmla="*/ 0 h 34229"/>
                <a:gd name="connsiteX1" fmla="*/ 71931 w 85821"/>
                <a:gd name="connsiteY1" fmla="*/ 6449 h 34229"/>
                <a:gd name="connsiteX2" fmla="*/ 57545 w 85821"/>
                <a:gd name="connsiteY2" fmla="*/ 11410 h 34229"/>
                <a:gd name="connsiteX3" fmla="*/ 43159 w 85821"/>
                <a:gd name="connsiteY3" fmla="*/ 17363 h 34229"/>
                <a:gd name="connsiteX4" fmla="*/ 28276 w 85821"/>
                <a:gd name="connsiteY4" fmla="*/ 21827 h 34229"/>
                <a:gd name="connsiteX5" fmla="*/ 13890 w 85821"/>
                <a:gd name="connsiteY5" fmla="*/ 27284 h 34229"/>
                <a:gd name="connsiteX6" fmla="*/ 0 w 85821"/>
                <a:gd name="connsiteY6" fmla="*/ 34229 h 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821" h="34229">
                  <a:moveTo>
                    <a:pt x="85821" y="0"/>
                  </a:moveTo>
                  <a:cubicBezTo>
                    <a:pt x="78876" y="2976"/>
                    <a:pt x="78876" y="3472"/>
                    <a:pt x="71931" y="6449"/>
                  </a:cubicBezTo>
                  <a:cubicBezTo>
                    <a:pt x="64986" y="9425"/>
                    <a:pt x="64490" y="8929"/>
                    <a:pt x="57545" y="11410"/>
                  </a:cubicBezTo>
                  <a:cubicBezTo>
                    <a:pt x="50600" y="14386"/>
                    <a:pt x="50600" y="14386"/>
                    <a:pt x="43159" y="17363"/>
                  </a:cubicBezTo>
                  <a:cubicBezTo>
                    <a:pt x="36213" y="20339"/>
                    <a:pt x="35717" y="19347"/>
                    <a:pt x="28276" y="21827"/>
                  </a:cubicBezTo>
                  <a:cubicBezTo>
                    <a:pt x="21331" y="24804"/>
                    <a:pt x="21331" y="24804"/>
                    <a:pt x="13890" y="27284"/>
                  </a:cubicBezTo>
                  <a:cubicBezTo>
                    <a:pt x="6945" y="30261"/>
                    <a:pt x="7441" y="31253"/>
                    <a:pt x="0" y="342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ADE47077-E98F-6671-62C6-847B7D5DA957}"/>
                </a:ext>
              </a:extLst>
            </p:cNvPr>
            <p:cNvSpPr/>
            <p:nvPr/>
          </p:nvSpPr>
          <p:spPr>
            <a:xfrm>
              <a:off x="5999932" y="1466822"/>
              <a:ext cx="360152" cy="11095"/>
            </a:xfrm>
            <a:custGeom>
              <a:avLst/>
              <a:gdLst>
                <a:gd name="connsiteX0" fmla="*/ 360152 w 360152"/>
                <a:gd name="connsiteY0" fmla="*/ 80 h 11095"/>
                <a:gd name="connsiteX1" fmla="*/ 343782 w 360152"/>
                <a:gd name="connsiteY1" fmla="*/ 1072 h 11095"/>
                <a:gd name="connsiteX2" fmla="*/ 327411 w 360152"/>
                <a:gd name="connsiteY2" fmla="*/ 80 h 11095"/>
                <a:gd name="connsiteX3" fmla="*/ 311041 w 360152"/>
                <a:gd name="connsiteY3" fmla="*/ 2561 h 11095"/>
                <a:gd name="connsiteX4" fmla="*/ 294670 w 360152"/>
                <a:gd name="connsiteY4" fmla="*/ 2561 h 11095"/>
                <a:gd name="connsiteX5" fmla="*/ 278300 w 360152"/>
                <a:gd name="connsiteY5" fmla="*/ 2561 h 11095"/>
                <a:gd name="connsiteX6" fmla="*/ 261929 w 360152"/>
                <a:gd name="connsiteY6" fmla="*/ 1568 h 11095"/>
                <a:gd name="connsiteX7" fmla="*/ 245559 w 360152"/>
                <a:gd name="connsiteY7" fmla="*/ 2065 h 11095"/>
                <a:gd name="connsiteX8" fmla="*/ 229188 w 360152"/>
                <a:gd name="connsiteY8" fmla="*/ 4545 h 11095"/>
                <a:gd name="connsiteX9" fmla="*/ 212817 w 360152"/>
                <a:gd name="connsiteY9" fmla="*/ 3553 h 11095"/>
                <a:gd name="connsiteX10" fmla="*/ 196447 w 360152"/>
                <a:gd name="connsiteY10" fmla="*/ 4049 h 11095"/>
                <a:gd name="connsiteX11" fmla="*/ 180076 w 360152"/>
                <a:gd name="connsiteY11" fmla="*/ 5537 h 11095"/>
                <a:gd name="connsiteX12" fmla="*/ 163706 w 360152"/>
                <a:gd name="connsiteY12" fmla="*/ 7025 h 11095"/>
                <a:gd name="connsiteX13" fmla="*/ 147335 w 360152"/>
                <a:gd name="connsiteY13" fmla="*/ 7025 h 11095"/>
                <a:gd name="connsiteX14" fmla="*/ 130964 w 360152"/>
                <a:gd name="connsiteY14" fmla="*/ 5537 h 11095"/>
                <a:gd name="connsiteX15" fmla="*/ 114594 w 360152"/>
                <a:gd name="connsiteY15" fmla="*/ 7521 h 11095"/>
                <a:gd name="connsiteX16" fmla="*/ 98223 w 360152"/>
                <a:gd name="connsiteY16" fmla="*/ 8514 h 11095"/>
                <a:gd name="connsiteX17" fmla="*/ 81853 w 360152"/>
                <a:gd name="connsiteY17" fmla="*/ 7521 h 11095"/>
                <a:gd name="connsiteX18" fmla="*/ 65482 w 360152"/>
                <a:gd name="connsiteY18" fmla="*/ 9010 h 11095"/>
                <a:gd name="connsiteX19" fmla="*/ 49111 w 360152"/>
                <a:gd name="connsiteY19" fmla="*/ 9506 h 11095"/>
                <a:gd name="connsiteX20" fmla="*/ 32741 w 360152"/>
                <a:gd name="connsiteY20" fmla="*/ 8514 h 11095"/>
                <a:gd name="connsiteX21" fmla="*/ 16370 w 360152"/>
                <a:gd name="connsiteY21" fmla="*/ 10994 h 11095"/>
                <a:gd name="connsiteX22" fmla="*/ 0 w 360152"/>
                <a:gd name="connsiteY22" fmla="*/ 10002 h 1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0152" h="11095">
                  <a:moveTo>
                    <a:pt x="360152" y="80"/>
                  </a:moveTo>
                  <a:cubicBezTo>
                    <a:pt x="351719" y="576"/>
                    <a:pt x="352215" y="576"/>
                    <a:pt x="343782" y="1072"/>
                  </a:cubicBezTo>
                  <a:cubicBezTo>
                    <a:pt x="335349" y="1568"/>
                    <a:pt x="335349" y="-416"/>
                    <a:pt x="327411" y="80"/>
                  </a:cubicBezTo>
                  <a:cubicBezTo>
                    <a:pt x="318978" y="576"/>
                    <a:pt x="319474" y="2065"/>
                    <a:pt x="311041" y="2561"/>
                  </a:cubicBezTo>
                  <a:cubicBezTo>
                    <a:pt x="302608" y="3057"/>
                    <a:pt x="302608" y="2561"/>
                    <a:pt x="294670" y="2561"/>
                  </a:cubicBezTo>
                  <a:cubicBezTo>
                    <a:pt x="286237" y="3057"/>
                    <a:pt x="286237" y="2561"/>
                    <a:pt x="278300" y="2561"/>
                  </a:cubicBezTo>
                  <a:cubicBezTo>
                    <a:pt x="269866" y="3057"/>
                    <a:pt x="269866" y="1072"/>
                    <a:pt x="261929" y="1568"/>
                  </a:cubicBezTo>
                  <a:cubicBezTo>
                    <a:pt x="253496" y="2065"/>
                    <a:pt x="253496" y="2065"/>
                    <a:pt x="245559" y="2065"/>
                  </a:cubicBezTo>
                  <a:cubicBezTo>
                    <a:pt x="237125" y="2561"/>
                    <a:pt x="237621" y="4049"/>
                    <a:pt x="229188" y="4545"/>
                  </a:cubicBezTo>
                  <a:cubicBezTo>
                    <a:pt x="220755" y="5041"/>
                    <a:pt x="220755" y="3057"/>
                    <a:pt x="212817" y="3553"/>
                  </a:cubicBezTo>
                  <a:cubicBezTo>
                    <a:pt x="204384" y="4049"/>
                    <a:pt x="204384" y="4049"/>
                    <a:pt x="196447" y="4049"/>
                  </a:cubicBezTo>
                  <a:cubicBezTo>
                    <a:pt x="188013" y="4545"/>
                    <a:pt x="188510" y="5041"/>
                    <a:pt x="180076" y="5537"/>
                  </a:cubicBezTo>
                  <a:cubicBezTo>
                    <a:pt x="171643" y="6033"/>
                    <a:pt x="172139" y="6529"/>
                    <a:pt x="163706" y="7025"/>
                  </a:cubicBezTo>
                  <a:cubicBezTo>
                    <a:pt x="155272" y="7521"/>
                    <a:pt x="155272" y="7025"/>
                    <a:pt x="147335" y="7025"/>
                  </a:cubicBezTo>
                  <a:cubicBezTo>
                    <a:pt x="138902" y="7521"/>
                    <a:pt x="138902" y="5537"/>
                    <a:pt x="130964" y="5537"/>
                  </a:cubicBezTo>
                  <a:cubicBezTo>
                    <a:pt x="122531" y="6033"/>
                    <a:pt x="123027" y="7521"/>
                    <a:pt x="114594" y="7521"/>
                  </a:cubicBezTo>
                  <a:cubicBezTo>
                    <a:pt x="106160" y="7521"/>
                    <a:pt x="106160" y="8514"/>
                    <a:pt x="98223" y="8514"/>
                  </a:cubicBezTo>
                  <a:cubicBezTo>
                    <a:pt x="89790" y="9010"/>
                    <a:pt x="89790" y="7025"/>
                    <a:pt x="81853" y="7521"/>
                  </a:cubicBezTo>
                  <a:cubicBezTo>
                    <a:pt x="73419" y="8017"/>
                    <a:pt x="73915" y="9010"/>
                    <a:pt x="65482" y="9010"/>
                  </a:cubicBezTo>
                  <a:cubicBezTo>
                    <a:pt x="57049" y="9506"/>
                    <a:pt x="57049" y="9010"/>
                    <a:pt x="49111" y="9506"/>
                  </a:cubicBezTo>
                  <a:cubicBezTo>
                    <a:pt x="40678" y="10002"/>
                    <a:pt x="40678" y="8017"/>
                    <a:pt x="32741" y="8514"/>
                  </a:cubicBezTo>
                  <a:cubicBezTo>
                    <a:pt x="24307" y="9010"/>
                    <a:pt x="24804" y="10498"/>
                    <a:pt x="16370" y="10994"/>
                  </a:cubicBezTo>
                  <a:cubicBezTo>
                    <a:pt x="7937" y="11490"/>
                    <a:pt x="7937" y="10002"/>
                    <a:pt x="0" y="100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9A3BCD94-84EE-6E74-DE45-2EE4023E73DD}"/>
                </a:ext>
              </a:extLst>
            </p:cNvPr>
            <p:cNvSpPr/>
            <p:nvPr/>
          </p:nvSpPr>
          <p:spPr>
            <a:xfrm>
              <a:off x="5665080" y="1254581"/>
              <a:ext cx="701454" cy="34229"/>
            </a:xfrm>
            <a:custGeom>
              <a:avLst/>
              <a:gdLst>
                <a:gd name="connsiteX0" fmla="*/ 701454 w 701454"/>
                <a:gd name="connsiteY0" fmla="*/ 33733 h 34229"/>
                <a:gd name="connsiteX1" fmla="*/ 685580 w 701454"/>
                <a:gd name="connsiteY1" fmla="*/ 34229 h 34229"/>
                <a:gd name="connsiteX2" fmla="*/ 669706 w 701454"/>
                <a:gd name="connsiteY2" fmla="*/ 33733 h 34229"/>
                <a:gd name="connsiteX3" fmla="*/ 653831 w 701454"/>
                <a:gd name="connsiteY3" fmla="*/ 32741 h 34229"/>
                <a:gd name="connsiteX4" fmla="*/ 637956 w 701454"/>
                <a:gd name="connsiteY4" fmla="*/ 31253 h 34229"/>
                <a:gd name="connsiteX5" fmla="*/ 622082 w 701454"/>
                <a:gd name="connsiteY5" fmla="*/ 30757 h 34229"/>
                <a:gd name="connsiteX6" fmla="*/ 606207 w 701454"/>
                <a:gd name="connsiteY6" fmla="*/ 29269 h 34229"/>
                <a:gd name="connsiteX7" fmla="*/ 590333 w 701454"/>
                <a:gd name="connsiteY7" fmla="*/ 29269 h 34229"/>
                <a:gd name="connsiteX8" fmla="*/ 574458 w 701454"/>
                <a:gd name="connsiteY8" fmla="*/ 27780 h 34229"/>
                <a:gd name="connsiteX9" fmla="*/ 558584 w 701454"/>
                <a:gd name="connsiteY9" fmla="*/ 26292 h 34229"/>
                <a:gd name="connsiteX10" fmla="*/ 542213 w 701454"/>
                <a:gd name="connsiteY10" fmla="*/ 27284 h 34229"/>
                <a:gd name="connsiteX11" fmla="*/ 526339 w 701454"/>
                <a:gd name="connsiteY11" fmla="*/ 26292 h 34229"/>
                <a:gd name="connsiteX12" fmla="*/ 510464 w 701454"/>
                <a:gd name="connsiteY12" fmla="*/ 25300 h 34229"/>
                <a:gd name="connsiteX13" fmla="*/ 494590 w 701454"/>
                <a:gd name="connsiteY13" fmla="*/ 24308 h 34229"/>
                <a:gd name="connsiteX14" fmla="*/ 478716 w 701454"/>
                <a:gd name="connsiteY14" fmla="*/ 22820 h 34229"/>
                <a:gd name="connsiteX15" fmla="*/ 462841 w 701454"/>
                <a:gd name="connsiteY15" fmla="*/ 21331 h 34229"/>
                <a:gd name="connsiteX16" fmla="*/ 446966 w 701454"/>
                <a:gd name="connsiteY16" fmla="*/ 21827 h 34229"/>
                <a:gd name="connsiteX17" fmla="*/ 431092 w 701454"/>
                <a:gd name="connsiteY17" fmla="*/ 20339 h 34229"/>
                <a:gd name="connsiteX18" fmla="*/ 414721 w 701454"/>
                <a:gd name="connsiteY18" fmla="*/ 21331 h 34229"/>
                <a:gd name="connsiteX19" fmla="*/ 398846 w 701454"/>
                <a:gd name="connsiteY19" fmla="*/ 19347 h 34229"/>
                <a:gd name="connsiteX20" fmla="*/ 382972 w 701454"/>
                <a:gd name="connsiteY20" fmla="*/ 18851 h 34229"/>
                <a:gd name="connsiteX21" fmla="*/ 367098 w 701454"/>
                <a:gd name="connsiteY21" fmla="*/ 18355 h 34229"/>
                <a:gd name="connsiteX22" fmla="*/ 351223 w 701454"/>
                <a:gd name="connsiteY22" fmla="*/ 17363 h 34229"/>
                <a:gd name="connsiteX23" fmla="*/ 335349 w 701454"/>
                <a:gd name="connsiteY23" fmla="*/ 15875 h 34229"/>
                <a:gd name="connsiteX24" fmla="*/ 319474 w 701454"/>
                <a:gd name="connsiteY24" fmla="*/ 15875 h 34229"/>
                <a:gd name="connsiteX25" fmla="*/ 303600 w 701454"/>
                <a:gd name="connsiteY25" fmla="*/ 13890 h 34229"/>
                <a:gd name="connsiteX26" fmla="*/ 287726 w 701454"/>
                <a:gd name="connsiteY26" fmla="*/ 13890 h 34229"/>
                <a:gd name="connsiteX27" fmla="*/ 271851 w 701454"/>
                <a:gd name="connsiteY27" fmla="*/ 11410 h 34229"/>
                <a:gd name="connsiteX28" fmla="*/ 255976 w 701454"/>
                <a:gd name="connsiteY28" fmla="*/ 11410 h 34229"/>
                <a:gd name="connsiteX29" fmla="*/ 240102 w 701454"/>
                <a:gd name="connsiteY29" fmla="*/ 11410 h 34229"/>
                <a:gd name="connsiteX30" fmla="*/ 224227 w 701454"/>
                <a:gd name="connsiteY30" fmla="*/ 11410 h 34229"/>
                <a:gd name="connsiteX31" fmla="*/ 208353 w 701454"/>
                <a:gd name="connsiteY31" fmla="*/ 9922 h 34229"/>
                <a:gd name="connsiteX32" fmla="*/ 192478 w 701454"/>
                <a:gd name="connsiteY32" fmla="*/ 7937 h 34229"/>
                <a:gd name="connsiteX33" fmla="*/ 176604 w 701454"/>
                <a:gd name="connsiteY33" fmla="*/ 6945 h 34229"/>
                <a:gd name="connsiteX34" fmla="*/ 160233 w 701454"/>
                <a:gd name="connsiteY34" fmla="*/ 7937 h 34229"/>
                <a:gd name="connsiteX35" fmla="*/ 144359 w 701454"/>
                <a:gd name="connsiteY35" fmla="*/ 7937 h 34229"/>
                <a:gd name="connsiteX36" fmla="*/ 128484 w 701454"/>
                <a:gd name="connsiteY36" fmla="*/ 4961 h 34229"/>
                <a:gd name="connsiteX37" fmla="*/ 112610 w 701454"/>
                <a:gd name="connsiteY37" fmla="*/ 4465 h 34229"/>
                <a:gd name="connsiteX38" fmla="*/ 96239 w 701454"/>
                <a:gd name="connsiteY38" fmla="*/ 4961 h 34229"/>
                <a:gd name="connsiteX39" fmla="*/ 80365 w 701454"/>
                <a:gd name="connsiteY39" fmla="*/ 3473 h 34229"/>
                <a:gd name="connsiteX40" fmla="*/ 63994 w 701454"/>
                <a:gd name="connsiteY40" fmla="*/ 4465 h 34229"/>
                <a:gd name="connsiteX41" fmla="*/ 48120 w 701454"/>
                <a:gd name="connsiteY41" fmla="*/ 3473 h 34229"/>
                <a:gd name="connsiteX42" fmla="*/ 32245 w 701454"/>
                <a:gd name="connsiteY42" fmla="*/ 992 h 34229"/>
                <a:gd name="connsiteX43" fmla="*/ 15875 w 701454"/>
                <a:gd name="connsiteY43" fmla="*/ 1488 h 34229"/>
                <a:gd name="connsiteX44" fmla="*/ 0 w 701454"/>
                <a:gd name="connsiteY44" fmla="*/ 0 h 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01454" h="34229">
                  <a:moveTo>
                    <a:pt x="701454" y="33733"/>
                  </a:moveTo>
                  <a:cubicBezTo>
                    <a:pt x="693517" y="33237"/>
                    <a:pt x="693517" y="34229"/>
                    <a:pt x="685580" y="34229"/>
                  </a:cubicBezTo>
                  <a:cubicBezTo>
                    <a:pt x="677643" y="33733"/>
                    <a:pt x="677643" y="34229"/>
                    <a:pt x="669706" y="33733"/>
                  </a:cubicBezTo>
                  <a:cubicBezTo>
                    <a:pt x="661768" y="33237"/>
                    <a:pt x="661768" y="32741"/>
                    <a:pt x="653831" y="32741"/>
                  </a:cubicBezTo>
                  <a:cubicBezTo>
                    <a:pt x="645894" y="32245"/>
                    <a:pt x="645894" y="31749"/>
                    <a:pt x="637956" y="31253"/>
                  </a:cubicBezTo>
                  <a:cubicBezTo>
                    <a:pt x="630019" y="30757"/>
                    <a:pt x="630019" y="30757"/>
                    <a:pt x="622082" y="30757"/>
                  </a:cubicBezTo>
                  <a:cubicBezTo>
                    <a:pt x="614144" y="30261"/>
                    <a:pt x="614144" y="29765"/>
                    <a:pt x="606207" y="29269"/>
                  </a:cubicBezTo>
                  <a:cubicBezTo>
                    <a:pt x="598270" y="28773"/>
                    <a:pt x="598270" y="29765"/>
                    <a:pt x="590333" y="29269"/>
                  </a:cubicBezTo>
                  <a:cubicBezTo>
                    <a:pt x="582395" y="28773"/>
                    <a:pt x="582395" y="28277"/>
                    <a:pt x="574458" y="27780"/>
                  </a:cubicBezTo>
                  <a:cubicBezTo>
                    <a:pt x="566521" y="27284"/>
                    <a:pt x="566521" y="26788"/>
                    <a:pt x="558584" y="26292"/>
                  </a:cubicBezTo>
                  <a:cubicBezTo>
                    <a:pt x="550647" y="25796"/>
                    <a:pt x="550647" y="27780"/>
                    <a:pt x="542213" y="27284"/>
                  </a:cubicBezTo>
                  <a:cubicBezTo>
                    <a:pt x="534276" y="26788"/>
                    <a:pt x="534276" y="26788"/>
                    <a:pt x="526339" y="26292"/>
                  </a:cubicBezTo>
                  <a:cubicBezTo>
                    <a:pt x="518402" y="25796"/>
                    <a:pt x="518402" y="25796"/>
                    <a:pt x="510464" y="25300"/>
                  </a:cubicBezTo>
                  <a:cubicBezTo>
                    <a:pt x="502527" y="24804"/>
                    <a:pt x="502527" y="24804"/>
                    <a:pt x="494590" y="24308"/>
                  </a:cubicBezTo>
                  <a:cubicBezTo>
                    <a:pt x="486653" y="23812"/>
                    <a:pt x="486653" y="23316"/>
                    <a:pt x="478716" y="22820"/>
                  </a:cubicBezTo>
                  <a:cubicBezTo>
                    <a:pt x="470778" y="22324"/>
                    <a:pt x="470778" y="21827"/>
                    <a:pt x="462841" y="21331"/>
                  </a:cubicBezTo>
                  <a:cubicBezTo>
                    <a:pt x="454904" y="20835"/>
                    <a:pt x="454904" y="21827"/>
                    <a:pt x="446966" y="21827"/>
                  </a:cubicBezTo>
                  <a:cubicBezTo>
                    <a:pt x="439029" y="21331"/>
                    <a:pt x="439029" y="20835"/>
                    <a:pt x="431092" y="20339"/>
                  </a:cubicBezTo>
                  <a:cubicBezTo>
                    <a:pt x="423154" y="19843"/>
                    <a:pt x="423154" y="21827"/>
                    <a:pt x="414721" y="21331"/>
                  </a:cubicBezTo>
                  <a:cubicBezTo>
                    <a:pt x="406784" y="20835"/>
                    <a:pt x="406784" y="19843"/>
                    <a:pt x="398846" y="19347"/>
                  </a:cubicBezTo>
                  <a:cubicBezTo>
                    <a:pt x="390909" y="18851"/>
                    <a:pt x="390909" y="19347"/>
                    <a:pt x="382972" y="18851"/>
                  </a:cubicBezTo>
                  <a:cubicBezTo>
                    <a:pt x="375035" y="18355"/>
                    <a:pt x="375035" y="18851"/>
                    <a:pt x="367098" y="18355"/>
                  </a:cubicBezTo>
                  <a:cubicBezTo>
                    <a:pt x="359160" y="17859"/>
                    <a:pt x="359160" y="17363"/>
                    <a:pt x="351223" y="17363"/>
                  </a:cubicBezTo>
                  <a:cubicBezTo>
                    <a:pt x="343286" y="16867"/>
                    <a:pt x="343286" y="16371"/>
                    <a:pt x="335349" y="15875"/>
                  </a:cubicBezTo>
                  <a:cubicBezTo>
                    <a:pt x="327412" y="15378"/>
                    <a:pt x="327412" y="16371"/>
                    <a:pt x="319474" y="15875"/>
                  </a:cubicBezTo>
                  <a:cubicBezTo>
                    <a:pt x="311537" y="15378"/>
                    <a:pt x="311537" y="14386"/>
                    <a:pt x="303600" y="13890"/>
                  </a:cubicBezTo>
                  <a:cubicBezTo>
                    <a:pt x="295663" y="13394"/>
                    <a:pt x="295663" y="14386"/>
                    <a:pt x="287726" y="13890"/>
                  </a:cubicBezTo>
                  <a:cubicBezTo>
                    <a:pt x="279788" y="13394"/>
                    <a:pt x="279788" y="11906"/>
                    <a:pt x="271851" y="11410"/>
                  </a:cubicBezTo>
                  <a:cubicBezTo>
                    <a:pt x="263914" y="10914"/>
                    <a:pt x="263914" y="11906"/>
                    <a:pt x="255976" y="11410"/>
                  </a:cubicBezTo>
                  <a:cubicBezTo>
                    <a:pt x="248039" y="10914"/>
                    <a:pt x="248039" y="11906"/>
                    <a:pt x="240102" y="11410"/>
                  </a:cubicBezTo>
                  <a:cubicBezTo>
                    <a:pt x="232164" y="10914"/>
                    <a:pt x="232164" y="11906"/>
                    <a:pt x="224227" y="11410"/>
                  </a:cubicBezTo>
                  <a:cubicBezTo>
                    <a:pt x="216290" y="10914"/>
                    <a:pt x="216290" y="10418"/>
                    <a:pt x="208353" y="9922"/>
                  </a:cubicBezTo>
                  <a:cubicBezTo>
                    <a:pt x="200415" y="9426"/>
                    <a:pt x="200415" y="8433"/>
                    <a:pt x="192478" y="7937"/>
                  </a:cubicBezTo>
                  <a:cubicBezTo>
                    <a:pt x="184541" y="7441"/>
                    <a:pt x="184541" y="6945"/>
                    <a:pt x="176604" y="6945"/>
                  </a:cubicBezTo>
                  <a:cubicBezTo>
                    <a:pt x="168667" y="6449"/>
                    <a:pt x="168667" y="8433"/>
                    <a:pt x="160233" y="7937"/>
                  </a:cubicBezTo>
                  <a:cubicBezTo>
                    <a:pt x="152296" y="7441"/>
                    <a:pt x="152296" y="7937"/>
                    <a:pt x="144359" y="7937"/>
                  </a:cubicBezTo>
                  <a:cubicBezTo>
                    <a:pt x="136422" y="7441"/>
                    <a:pt x="136422" y="5457"/>
                    <a:pt x="128484" y="4961"/>
                  </a:cubicBezTo>
                  <a:cubicBezTo>
                    <a:pt x="120547" y="4465"/>
                    <a:pt x="120547" y="4961"/>
                    <a:pt x="112610" y="4465"/>
                  </a:cubicBezTo>
                  <a:cubicBezTo>
                    <a:pt x="104673" y="3969"/>
                    <a:pt x="104673" y="5457"/>
                    <a:pt x="96239" y="4961"/>
                  </a:cubicBezTo>
                  <a:cubicBezTo>
                    <a:pt x="88302" y="4465"/>
                    <a:pt x="88302" y="3473"/>
                    <a:pt x="80365" y="3473"/>
                  </a:cubicBezTo>
                  <a:cubicBezTo>
                    <a:pt x="72428" y="2976"/>
                    <a:pt x="72428" y="4961"/>
                    <a:pt x="63994" y="4465"/>
                  </a:cubicBezTo>
                  <a:cubicBezTo>
                    <a:pt x="56057" y="3969"/>
                    <a:pt x="56057" y="3969"/>
                    <a:pt x="48120" y="3473"/>
                  </a:cubicBezTo>
                  <a:cubicBezTo>
                    <a:pt x="40182" y="2976"/>
                    <a:pt x="40182" y="1488"/>
                    <a:pt x="32245" y="992"/>
                  </a:cubicBezTo>
                  <a:cubicBezTo>
                    <a:pt x="24308" y="496"/>
                    <a:pt x="24308" y="1488"/>
                    <a:pt x="15875" y="1488"/>
                  </a:cubicBezTo>
                  <a:cubicBezTo>
                    <a:pt x="7937" y="992"/>
                    <a:pt x="7937" y="496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8F7EC86B-6FDC-DE9B-74BC-E9CD81AD47A6}"/>
                </a:ext>
              </a:extLst>
            </p:cNvPr>
            <p:cNvSpPr/>
            <p:nvPr/>
          </p:nvSpPr>
          <p:spPr>
            <a:xfrm>
              <a:off x="5584219" y="970824"/>
              <a:ext cx="830434" cy="169162"/>
            </a:xfrm>
            <a:custGeom>
              <a:avLst/>
              <a:gdLst>
                <a:gd name="connsiteX0" fmla="*/ 830435 w 830434"/>
                <a:gd name="connsiteY0" fmla="*/ 169163 h 169162"/>
                <a:gd name="connsiteX1" fmla="*/ 814560 w 830434"/>
                <a:gd name="connsiteY1" fmla="*/ 165194 h 169162"/>
                <a:gd name="connsiteX2" fmla="*/ 798685 w 830434"/>
                <a:gd name="connsiteY2" fmla="*/ 161225 h 169162"/>
                <a:gd name="connsiteX3" fmla="*/ 782811 w 830434"/>
                <a:gd name="connsiteY3" fmla="*/ 158249 h 169162"/>
                <a:gd name="connsiteX4" fmla="*/ 766440 w 830434"/>
                <a:gd name="connsiteY4" fmla="*/ 155769 h 169162"/>
                <a:gd name="connsiteX5" fmla="*/ 750566 w 830434"/>
                <a:gd name="connsiteY5" fmla="*/ 151304 h 169162"/>
                <a:gd name="connsiteX6" fmla="*/ 734691 w 830434"/>
                <a:gd name="connsiteY6" fmla="*/ 148327 h 169162"/>
                <a:gd name="connsiteX7" fmla="*/ 718817 w 830434"/>
                <a:gd name="connsiteY7" fmla="*/ 145351 h 169162"/>
                <a:gd name="connsiteX8" fmla="*/ 702942 w 830434"/>
                <a:gd name="connsiteY8" fmla="*/ 141878 h 169162"/>
                <a:gd name="connsiteX9" fmla="*/ 686572 w 830434"/>
                <a:gd name="connsiteY9" fmla="*/ 139398 h 169162"/>
                <a:gd name="connsiteX10" fmla="*/ 670697 w 830434"/>
                <a:gd name="connsiteY10" fmla="*/ 136421 h 169162"/>
                <a:gd name="connsiteX11" fmla="*/ 654823 w 830434"/>
                <a:gd name="connsiteY11" fmla="*/ 131957 h 169162"/>
                <a:gd name="connsiteX12" fmla="*/ 638452 w 830434"/>
                <a:gd name="connsiteY12" fmla="*/ 129972 h 169162"/>
                <a:gd name="connsiteX13" fmla="*/ 622578 w 830434"/>
                <a:gd name="connsiteY13" fmla="*/ 125508 h 169162"/>
                <a:gd name="connsiteX14" fmla="*/ 606207 w 830434"/>
                <a:gd name="connsiteY14" fmla="*/ 123027 h 169162"/>
                <a:gd name="connsiteX15" fmla="*/ 590333 w 830434"/>
                <a:gd name="connsiteY15" fmla="*/ 120547 h 169162"/>
                <a:gd name="connsiteX16" fmla="*/ 574459 w 830434"/>
                <a:gd name="connsiteY16" fmla="*/ 117570 h 169162"/>
                <a:gd name="connsiteX17" fmla="*/ 558584 w 830434"/>
                <a:gd name="connsiteY17" fmla="*/ 114098 h 169162"/>
                <a:gd name="connsiteX18" fmla="*/ 543205 w 830434"/>
                <a:gd name="connsiteY18" fmla="*/ 109137 h 169162"/>
                <a:gd name="connsiteX19" fmla="*/ 526835 w 830434"/>
                <a:gd name="connsiteY19" fmla="*/ 107153 h 169162"/>
                <a:gd name="connsiteX20" fmla="*/ 510960 w 830434"/>
                <a:gd name="connsiteY20" fmla="*/ 103184 h 169162"/>
                <a:gd name="connsiteX21" fmla="*/ 495086 w 830434"/>
                <a:gd name="connsiteY21" fmla="*/ 99712 h 169162"/>
                <a:gd name="connsiteX22" fmla="*/ 479211 w 830434"/>
                <a:gd name="connsiteY22" fmla="*/ 97231 h 169162"/>
                <a:gd name="connsiteX23" fmla="*/ 463337 w 830434"/>
                <a:gd name="connsiteY23" fmla="*/ 92767 h 169162"/>
                <a:gd name="connsiteX24" fmla="*/ 447462 w 830434"/>
                <a:gd name="connsiteY24" fmla="*/ 89294 h 169162"/>
                <a:gd name="connsiteX25" fmla="*/ 431588 w 830434"/>
                <a:gd name="connsiteY25" fmla="*/ 86814 h 169162"/>
                <a:gd name="connsiteX26" fmla="*/ 415714 w 830434"/>
                <a:gd name="connsiteY26" fmla="*/ 83341 h 169162"/>
                <a:gd name="connsiteX27" fmla="*/ 399343 w 830434"/>
                <a:gd name="connsiteY27" fmla="*/ 81357 h 169162"/>
                <a:gd name="connsiteX28" fmla="*/ 383468 w 830434"/>
                <a:gd name="connsiteY28" fmla="*/ 78380 h 169162"/>
                <a:gd name="connsiteX29" fmla="*/ 367594 w 830434"/>
                <a:gd name="connsiteY29" fmla="*/ 74908 h 169162"/>
                <a:gd name="connsiteX30" fmla="*/ 351719 w 830434"/>
                <a:gd name="connsiteY30" fmla="*/ 70939 h 169162"/>
                <a:gd name="connsiteX31" fmla="*/ 335845 w 830434"/>
                <a:gd name="connsiteY31" fmla="*/ 67467 h 169162"/>
                <a:gd name="connsiteX32" fmla="*/ 319474 w 830434"/>
                <a:gd name="connsiteY32" fmla="*/ 64986 h 169162"/>
                <a:gd name="connsiteX33" fmla="*/ 303599 w 830434"/>
                <a:gd name="connsiteY33" fmla="*/ 62010 h 169162"/>
                <a:gd name="connsiteX34" fmla="*/ 288221 w 830434"/>
                <a:gd name="connsiteY34" fmla="*/ 56553 h 169162"/>
                <a:gd name="connsiteX35" fmla="*/ 271851 w 830434"/>
                <a:gd name="connsiteY35" fmla="*/ 54569 h 169162"/>
                <a:gd name="connsiteX36" fmla="*/ 255976 w 830434"/>
                <a:gd name="connsiteY36" fmla="*/ 52088 h 169162"/>
                <a:gd name="connsiteX37" fmla="*/ 240102 w 830434"/>
                <a:gd name="connsiteY37" fmla="*/ 47624 h 169162"/>
                <a:gd name="connsiteX38" fmla="*/ 223731 w 830434"/>
                <a:gd name="connsiteY38" fmla="*/ 46135 h 169162"/>
                <a:gd name="connsiteX39" fmla="*/ 208353 w 830434"/>
                <a:gd name="connsiteY39" fmla="*/ 41174 h 169162"/>
                <a:gd name="connsiteX40" fmla="*/ 192478 w 830434"/>
                <a:gd name="connsiteY40" fmla="*/ 37702 h 169162"/>
                <a:gd name="connsiteX41" fmla="*/ 176108 w 830434"/>
                <a:gd name="connsiteY41" fmla="*/ 36214 h 169162"/>
                <a:gd name="connsiteX42" fmla="*/ 160233 w 830434"/>
                <a:gd name="connsiteY42" fmla="*/ 31253 h 169162"/>
                <a:gd name="connsiteX43" fmla="*/ 143863 w 830434"/>
                <a:gd name="connsiteY43" fmla="*/ 29765 h 169162"/>
                <a:gd name="connsiteX44" fmla="*/ 127988 w 830434"/>
                <a:gd name="connsiteY44" fmla="*/ 25300 h 169162"/>
                <a:gd name="connsiteX45" fmla="*/ 111618 w 830434"/>
                <a:gd name="connsiteY45" fmla="*/ 22820 h 169162"/>
                <a:gd name="connsiteX46" fmla="*/ 95743 w 830434"/>
                <a:gd name="connsiteY46" fmla="*/ 18851 h 169162"/>
                <a:gd name="connsiteX47" fmla="*/ 79868 w 830434"/>
                <a:gd name="connsiteY47" fmla="*/ 15874 h 169162"/>
                <a:gd name="connsiteX48" fmla="*/ 63498 w 830434"/>
                <a:gd name="connsiteY48" fmla="*/ 13394 h 169162"/>
                <a:gd name="connsiteX49" fmla="*/ 47623 w 830434"/>
                <a:gd name="connsiteY49" fmla="*/ 10914 h 169162"/>
                <a:gd name="connsiteX50" fmla="*/ 31749 w 830434"/>
                <a:gd name="connsiteY50" fmla="*/ 7441 h 169162"/>
                <a:gd name="connsiteX51" fmla="*/ 15875 w 830434"/>
                <a:gd name="connsiteY51" fmla="*/ 3473 h 169162"/>
                <a:gd name="connsiteX52" fmla="*/ 0 w 830434"/>
                <a:gd name="connsiteY52" fmla="*/ 0 h 16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830434" h="169162">
                  <a:moveTo>
                    <a:pt x="830435" y="169163"/>
                  </a:moveTo>
                  <a:cubicBezTo>
                    <a:pt x="822497" y="167674"/>
                    <a:pt x="822497" y="166682"/>
                    <a:pt x="814560" y="165194"/>
                  </a:cubicBezTo>
                  <a:cubicBezTo>
                    <a:pt x="806623" y="163706"/>
                    <a:pt x="806623" y="162714"/>
                    <a:pt x="798685" y="161225"/>
                  </a:cubicBezTo>
                  <a:cubicBezTo>
                    <a:pt x="790748" y="159737"/>
                    <a:pt x="790748" y="159737"/>
                    <a:pt x="782811" y="158249"/>
                  </a:cubicBezTo>
                  <a:cubicBezTo>
                    <a:pt x="774874" y="156761"/>
                    <a:pt x="774874" y="157753"/>
                    <a:pt x="766440" y="155769"/>
                  </a:cubicBezTo>
                  <a:cubicBezTo>
                    <a:pt x="758503" y="154280"/>
                    <a:pt x="758503" y="153288"/>
                    <a:pt x="750566" y="151304"/>
                  </a:cubicBezTo>
                  <a:cubicBezTo>
                    <a:pt x="742628" y="149816"/>
                    <a:pt x="742628" y="149816"/>
                    <a:pt x="734691" y="148327"/>
                  </a:cubicBezTo>
                  <a:cubicBezTo>
                    <a:pt x="726754" y="146839"/>
                    <a:pt x="726754" y="146839"/>
                    <a:pt x="718817" y="145351"/>
                  </a:cubicBezTo>
                  <a:cubicBezTo>
                    <a:pt x="710880" y="143863"/>
                    <a:pt x="710880" y="143367"/>
                    <a:pt x="702942" y="141878"/>
                  </a:cubicBezTo>
                  <a:cubicBezTo>
                    <a:pt x="695005" y="140390"/>
                    <a:pt x="695005" y="141382"/>
                    <a:pt x="686572" y="139398"/>
                  </a:cubicBezTo>
                  <a:cubicBezTo>
                    <a:pt x="678635" y="137910"/>
                    <a:pt x="678635" y="137910"/>
                    <a:pt x="670697" y="136421"/>
                  </a:cubicBezTo>
                  <a:cubicBezTo>
                    <a:pt x="662760" y="134933"/>
                    <a:pt x="662760" y="133445"/>
                    <a:pt x="654823" y="131957"/>
                  </a:cubicBezTo>
                  <a:cubicBezTo>
                    <a:pt x="646886" y="130469"/>
                    <a:pt x="646390" y="131957"/>
                    <a:pt x="638452" y="129972"/>
                  </a:cubicBezTo>
                  <a:cubicBezTo>
                    <a:pt x="630515" y="128484"/>
                    <a:pt x="630515" y="126996"/>
                    <a:pt x="622578" y="125508"/>
                  </a:cubicBezTo>
                  <a:cubicBezTo>
                    <a:pt x="614641" y="124019"/>
                    <a:pt x="614641" y="125012"/>
                    <a:pt x="606207" y="123027"/>
                  </a:cubicBezTo>
                  <a:cubicBezTo>
                    <a:pt x="598270" y="121539"/>
                    <a:pt x="598270" y="122035"/>
                    <a:pt x="590333" y="120547"/>
                  </a:cubicBezTo>
                  <a:cubicBezTo>
                    <a:pt x="582396" y="119059"/>
                    <a:pt x="582396" y="119059"/>
                    <a:pt x="574459" y="117570"/>
                  </a:cubicBezTo>
                  <a:cubicBezTo>
                    <a:pt x="566521" y="116082"/>
                    <a:pt x="566521" y="116082"/>
                    <a:pt x="558584" y="114098"/>
                  </a:cubicBezTo>
                  <a:cubicBezTo>
                    <a:pt x="550647" y="112610"/>
                    <a:pt x="551142" y="110625"/>
                    <a:pt x="543205" y="109137"/>
                  </a:cubicBezTo>
                  <a:cubicBezTo>
                    <a:pt x="535268" y="107649"/>
                    <a:pt x="534772" y="108641"/>
                    <a:pt x="526835" y="107153"/>
                  </a:cubicBezTo>
                  <a:cubicBezTo>
                    <a:pt x="518897" y="105665"/>
                    <a:pt x="518897" y="105169"/>
                    <a:pt x="510960" y="103184"/>
                  </a:cubicBezTo>
                  <a:cubicBezTo>
                    <a:pt x="503023" y="101200"/>
                    <a:pt x="503023" y="101696"/>
                    <a:pt x="495086" y="99712"/>
                  </a:cubicBezTo>
                  <a:cubicBezTo>
                    <a:pt x="487148" y="98223"/>
                    <a:pt x="487148" y="98720"/>
                    <a:pt x="479211" y="97231"/>
                  </a:cubicBezTo>
                  <a:cubicBezTo>
                    <a:pt x="471274" y="95743"/>
                    <a:pt x="471274" y="94255"/>
                    <a:pt x="463337" y="92767"/>
                  </a:cubicBezTo>
                  <a:cubicBezTo>
                    <a:pt x="455400" y="91278"/>
                    <a:pt x="455400" y="90782"/>
                    <a:pt x="447462" y="89294"/>
                  </a:cubicBezTo>
                  <a:cubicBezTo>
                    <a:pt x="439525" y="87806"/>
                    <a:pt x="439525" y="88302"/>
                    <a:pt x="431588" y="86814"/>
                  </a:cubicBezTo>
                  <a:cubicBezTo>
                    <a:pt x="423651" y="85325"/>
                    <a:pt x="423651" y="84829"/>
                    <a:pt x="415714" y="83341"/>
                  </a:cubicBezTo>
                  <a:cubicBezTo>
                    <a:pt x="407776" y="81853"/>
                    <a:pt x="407280" y="82845"/>
                    <a:pt x="399343" y="81357"/>
                  </a:cubicBezTo>
                  <a:cubicBezTo>
                    <a:pt x="391406" y="79869"/>
                    <a:pt x="391406" y="79869"/>
                    <a:pt x="383468" y="78380"/>
                  </a:cubicBezTo>
                  <a:cubicBezTo>
                    <a:pt x="375531" y="76892"/>
                    <a:pt x="375531" y="76396"/>
                    <a:pt x="367594" y="74908"/>
                  </a:cubicBezTo>
                  <a:cubicBezTo>
                    <a:pt x="359657" y="73420"/>
                    <a:pt x="359657" y="72427"/>
                    <a:pt x="351719" y="70939"/>
                  </a:cubicBezTo>
                  <a:cubicBezTo>
                    <a:pt x="343782" y="69451"/>
                    <a:pt x="343782" y="69451"/>
                    <a:pt x="335845" y="67467"/>
                  </a:cubicBezTo>
                  <a:cubicBezTo>
                    <a:pt x="327907" y="65978"/>
                    <a:pt x="327907" y="66474"/>
                    <a:pt x="319474" y="64986"/>
                  </a:cubicBezTo>
                  <a:cubicBezTo>
                    <a:pt x="311537" y="63498"/>
                    <a:pt x="311537" y="63994"/>
                    <a:pt x="303599" y="62010"/>
                  </a:cubicBezTo>
                  <a:cubicBezTo>
                    <a:pt x="295662" y="60521"/>
                    <a:pt x="296158" y="58041"/>
                    <a:pt x="288221" y="56553"/>
                  </a:cubicBezTo>
                  <a:cubicBezTo>
                    <a:pt x="280284" y="55065"/>
                    <a:pt x="279788" y="56553"/>
                    <a:pt x="271851" y="54569"/>
                  </a:cubicBezTo>
                  <a:cubicBezTo>
                    <a:pt x="263913" y="53080"/>
                    <a:pt x="263913" y="53576"/>
                    <a:pt x="255976" y="52088"/>
                  </a:cubicBezTo>
                  <a:cubicBezTo>
                    <a:pt x="248039" y="50600"/>
                    <a:pt x="248039" y="49112"/>
                    <a:pt x="240102" y="47624"/>
                  </a:cubicBezTo>
                  <a:cubicBezTo>
                    <a:pt x="232165" y="46135"/>
                    <a:pt x="231668" y="47624"/>
                    <a:pt x="223731" y="46135"/>
                  </a:cubicBezTo>
                  <a:cubicBezTo>
                    <a:pt x="215794" y="44647"/>
                    <a:pt x="216290" y="42663"/>
                    <a:pt x="208353" y="41174"/>
                  </a:cubicBezTo>
                  <a:cubicBezTo>
                    <a:pt x="200416" y="39686"/>
                    <a:pt x="200416" y="39190"/>
                    <a:pt x="192478" y="37702"/>
                  </a:cubicBezTo>
                  <a:cubicBezTo>
                    <a:pt x="184541" y="36214"/>
                    <a:pt x="184045" y="37702"/>
                    <a:pt x="176108" y="36214"/>
                  </a:cubicBezTo>
                  <a:cubicBezTo>
                    <a:pt x="168171" y="34725"/>
                    <a:pt x="168667" y="32741"/>
                    <a:pt x="160233" y="31253"/>
                  </a:cubicBezTo>
                  <a:cubicBezTo>
                    <a:pt x="152296" y="29765"/>
                    <a:pt x="151800" y="31253"/>
                    <a:pt x="143863" y="29765"/>
                  </a:cubicBezTo>
                  <a:cubicBezTo>
                    <a:pt x="135925" y="28276"/>
                    <a:pt x="135925" y="26788"/>
                    <a:pt x="127988" y="25300"/>
                  </a:cubicBezTo>
                  <a:cubicBezTo>
                    <a:pt x="120051" y="23812"/>
                    <a:pt x="120051" y="24308"/>
                    <a:pt x="111618" y="22820"/>
                  </a:cubicBezTo>
                  <a:cubicBezTo>
                    <a:pt x="103184" y="21331"/>
                    <a:pt x="103680" y="20339"/>
                    <a:pt x="95743" y="18851"/>
                  </a:cubicBezTo>
                  <a:cubicBezTo>
                    <a:pt x="87806" y="17363"/>
                    <a:pt x="87806" y="17363"/>
                    <a:pt x="79868" y="15874"/>
                  </a:cubicBezTo>
                  <a:cubicBezTo>
                    <a:pt x="71931" y="14386"/>
                    <a:pt x="71931" y="14882"/>
                    <a:pt x="63498" y="13394"/>
                  </a:cubicBezTo>
                  <a:cubicBezTo>
                    <a:pt x="55561" y="11906"/>
                    <a:pt x="55561" y="12402"/>
                    <a:pt x="47623" y="10914"/>
                  </a:cubicBezTo>
                  <a:cubicBezTo>
                    <a:pt x="39686" y="9426"/>
                    <a:pt x="39686" y="9426"/>
                    <a:pt x="31749" y="7441"/>
                  </a:cubicBezTo>
                  <a:cubicBezTo>
                    <a:pt x="23812" y="5953"/>
                    <a:pt x="23812" y="4961"/>
                    <a:pt x="15875" y="3473"/>
                  </a:cubicBezTo>
                  <a:cubicBezTo>
                    <a:pt x="7937" y="1984"/>
                    <a:pt x="7937" y="1488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AAB2061-F450-1554-9C13-7F8F4A65EE9A}"/>
                </a:ext>
              </a:extLst>
            </p:cNvPr>
            <p:cNvSpPr/>
            <p:nvPr/>
          </p:nvSpPr>
          <p:spPr>
            <a:xfrm>
              <a:off x="5682442" y="434564"/>
              <a:ext cx="832914" cy="554615"/>
            </a:xfrm>
            <a:custGeom>
              <a:avLst/>
              <a:gdLst>
                <a:gd name="connsiteX0" fmla="*/ 832915 w 832914"/>
                <a:gd name="connsiteY0" fmla="*/ 554615 h 554615"/>
                <a:gd name="connsiteX1" fmla="*/ 818529 w 832914"/>
                <a:gd name="connsiteY1" fmla="*/ 547174 h 554615"/>
                <a:gd name="connsiteX2" fmla="*/ 805134 w 832914"/>
                <a:gd name="connsiteY2" fmla="*/ 538245 h 554615"/>
                <a:gd name="connsiteX3" fmla="*/ 792732 w 832914"/>
                <a:gd name="connsiteY3" fmla="*/ 527827 h 554615"/>
                <a:gd name="connsiteX4" fmla="*/ 779339 w 832914"/>
                <a:gd name="connsiteY4" fmla="*/ 519394 h 554615"/>
                <a:gd name="connsiteX5" fmla="*/ 765944 w 832914"/>
                <a:gd name="connsiteY5" fmla="*/ 510960 h 554615"/>
                <a:gd name="connsiteX6" fmla="*/ 753046 w 832914"/>
                <a:gd name="connsiteY6" fmla="*/ 501039 h 554615"/>
                <a:gd name="connsiteX7" fmla="*/ 738660 w 832914"/>
                <a:gd name="connsiteY7" fmla="*/ 493598 h 554615"/>
                <a:gd name="connsiteX8" fmla="*/ 725762 w 832914"/>
                <a:gd name="connsiteY8" fmla="*/ 484172 h 554615"/>
                <a:gd name="connsiteX9" fmla="*/ 711872 w 832914"/>
                <a:gd name="connsiteY9" fmla="*/ 475739 h 554615"/>
                <a:gd name="connsiteX10" fmla="*/ 697982 w 832914"/>
                <a:gd name="connsiteY10" fmla="*/ 467305 h 554615"/>
                <a:gd name="connsiteX11" fmla="*/ 684588 w 832914"/>
                <a:gd name="connsiteY11" fmla="*/ 458376 h 554615"/>
                <a:gd name="connsiteX12" fmla="*/ 671689 w 832914"/>
                <a:gd name="connsiteY12" fmla="*/ 448454 h 554615"/>
                <a:gd name="connsiteX13" fmla="*/ 658296 w 832914"/>
                <a:gd name="connsiteY13" fmla="*/ 439525 h 554615"/>
                <a:gd name="connsiteX14" fmla="*/ 644902 w 832914"/>
                <a:gd name="connsiteY14" fmla="*/ 430596 h 554615"/>
                <a:gd name="connsiteX15" fmla="*/ 632003 w 832914"/>
                <a:gd name="connsiteY15" fmla="*/ 420674 h 554615"/>
                <a:gd name="connsiteX16" fmla="*/ 618113 w 832914"/>
                <a:gd name="connsiteY16" fmla="*/ 412241 h 554615"/>
                <a:gd name="connsiteX17" fmla="*/ 604719 w 832914"/>
                <a:gd name="connsiteY17" fmla="*/ 403311 h 554615"/>
                <a:gd name="connsiteX18" fmla="*/ 591325 w 832914"/>
                <a:gd name="connsiteY18" fmla="*/ 394382 h 554615"/>
                <a:gd name="connsiteX19" fmla="*/ 577435 w 832914"/>
                <a:gd name="connsiteY19" fmla="*/ 386445 h 554615"/>
                <a:gd name="connsiteX20" fmla="*/ 565033 w 832914"/>
                <a:gd name="connsiteY20" fmla="*/ 376027 h 554615"/>
                <a:gd name="connsiteX21" fmla="*/ 551143 w 832914"/>
                <a:gd name="connsiteY21" fmla="*/ 367594 h 554615"/>
                <a:gd name="connsiteX22" fmla="*/ 537252 w 832914"/>
                <a:gd name="connsiteY22" fmla="*/ 359160 h 554615"/>
                <a:gd name="connsiteX23" fmla="*/ 523363 w 832914"/>
                <a:gd name="connsiteY23" fmla="*/ 350727 h 554615"/>
                <a:gd name="connsiteX24" fmla="*/ 509968 w 832914"/>
                <a:gd name="connsiteY24" fmla="*/ 341798 h 554615"/>
                <a:gd name="connsiteX25" fmla="*/ 497070 w 832914"/>
                <a:gd name="connsiteY25" fmla="*/ 331876 h 554615"/>
                <a:gd name="connsiteX26" fmla="*/ 483676 w 832914"/>
                <a:gd name="connsiteY26" fmla="*/ 322947 h 554615"/>
                <a:gd name="connsiteX27" fmla="*/ 469786 w 832914"/>
                <a:gd name="connsiteY27" fmla="*/ 314513 h 554615"/>
                <a:gd name="connsiteX28" fmla="*/ 456392 w 832914"/>
                <a:gd name="connsiteY28" fmla="*/ 305584 h 554615"/>
                <a:gd name="connsiteX29" fmla="*/ 443494 w 832914"/>
                <a:gd name="connsiteY29" fmla="*/ 295662 h 554615"/>
                <a:gd name="connsiteX30" fmla="*/ 430596 w 832914"/>
                <a:gd name="connsiteY30" fmla="*/ 286237 h 554615"/>
                <a:gd name="connsiteX31" fmla="*/ 416706 w 832914"/>
                <a:gd name="connsiteY31" fmla="*/ 277804 h 554615"/>
                <a:gd name="connsiteX32" fmla="*/ 403807 w 832914"/>
                <a:gd name="connsiteY32" fmla="*/ 268378 h 554615"/>
                <a:gd name="connsiteX33" fmla="*/ 390413 w 832914"/>
                <a:gd name="connsiteY33" fmla="*/ 259449 h 554615"/>
                <a:gd name="connsiteX34" fmla="*/ 376523 w 832914"/>
                <a:gd name="connsiteY34" fmla="*/ 251015 h 554615"/>
                <a:gd name="connsiteX35" fmla="*/ 362137 w 832914"/>
                <a:gd name="connsiteY35" fmla="*/ 243574 h 554615"/>
                <a:gd name="connsiteX36" fmla="*/ 348743 w 832914"/>
                <a:gd name="connsiteY36" fmla="*/ 234645 h 554615"/>
                <a:gd name="connsiteX37" fmla="*/ 335845 w 832914"/>
                <a:gd name="connsiteY37" fmla="*/ 224723 h 554615"/>
                <a:gd name="connsiteX38" fmla="*/ 322947 w 832914"/>
                <a:gd name="connsiteY38" fmla="*/ 215298 h 554615"/>
                <a:gd name="connsiteX39" fmla="*/ 308561 w 832914"/>
                <a:gd name="connsiteY39" fmla="*/ 207857 h 554615"/>
                <a:gd name="connsiteX40" fmla="*/ 295663 w 832914"/>
                <a:gd name="connsiteY40" fmla="*/ 197935 h 554615"/>
                <a:gd name="connsiteX41" fmla="*/ 281276 w 832914"/>
                <a:gd name="connsiteY41" fmla="*/ 189998 h 554615"/>
                <a:gd name="connsiteX42" fmla="*/ 268874 w 832914"/>
                <a:gd name="connsiteY42" fmla="*/ 179580 h 554615"/>
                <a:gd name="connsiteX43" fmla="*/ 254488 w 832914"/>
                <a:gd name="connsiteY43" fmla="*/ 172139 h 554615"/>
                <a:gd name="connsiteX44" fmla="*/ 240598 w 832914"/>
                <a:gd name="connsiteY44" fmla="*/ 163706 h 554615"/>
                <a:gd name="connsiteX45" fmla="*/ 228196 w 832914"/>
                <a:gd name="connsiteY45" fmla="*/ 153288 h 554615"/>
                <a:gd name="connsiteX46" fmla="*/ 214306 w 832914"/>
                <a:gd name="connsiteY46" fmla="*/ 144855 h 554615"/>
                <a:gd name="connsiteX47" fmla="*/ 201408 w 832914"/>
                <a:gd name="connsiteY47" fmla="*/ 134933 h 554615"/>
                <a:gd name="connsiteX48" fmla="*/ 188013 w 832914"/>
                <a:gd name="connsiteY48" fmla="*/ 125508 h 554615"/>
                <a:gd name="connsiteX49" fmla="*/ 173628 w 832914"/>
                <a:gd name="connsiteY49" fmla="*/ 118067 h 554615"/>
                <a:gd name="connsiteX50" fmla="*/ 160729 w 832914"/>
                <a:gd name="connsiteY50" fmla="*/ 108641 h 554615"/>
                <a:gd name="connsiteX51" fmla="*/ 147335 w 832914"/>
                <a:gd name="connsiteY51" fmla="*/ 99216 h 554615"/>
                <a:gd name="connsiteX52" fmla="*/ 133445 w 832914"/>
                <a:gd name="connsiteY52" fmla="*/ 91278 h 554615"/>
                <a:gd name="connsiteX53" fmla="*/ 121043 w 832914"/>
                <a:gd name="connsiteY53" fmla="*/ 80861 h 554615"/>
                <a:gd name="connsiteX54" fmla="*/ 107649 w 832914"/>
                <a:gd name="connsiteY54" fmla="*/ 71931 h 554615"/>
                <a:gd name="connsiteX55" fmla="*/ 93263 w 832914"/>
                <a:gd name="connsiteY55" fmla="*/ 63994 h 554615"/>
                <a:gd name="connsiteX56" fmla="*/ 79869 w 832914"/>
                <a:gd name="connsiteY56" fmla="*/ 55065 h 554615"/>
                <a:gd name="connsiteX57" fmla="*/ 66475 w 832914"/>
                <a:gd name="connsiteY57" fmla="*/ 46135 h 554615"/>
                <a:gd name="connsiteX58" fmla="*/ 53080 w 832914"/>
                <a:gd name="connsiteY58" fmla="*/ 37206 h 554615"/>
                <a:gd name="connsiteX59" fmla="*/ 39190 w 832914"/>
                <a:gd name="connsiteY59" fmla="*/ 28773 h 554615"/>
                <a:gd name="connsiteX60" fmla="*/ 26788 w 832914"/>
                <a:gd name="connsiteY60" fmla="*/ 18355 h 554615"/>
                <a:gd name="connsiteX61" fmla="*/ 13394 w 832914"/>
                <a:gd name="connsiteY61" fmla="*/ 8929 h 554615"/>
                <a:gd name="connsiteX62" fmla="*/ 0 w 832914"/>
                <a:gd name="connsiteY62" fmla="*/ 0 h 55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832914" h="554615">
                  <a:moveTo>
                    <a:pt x="832915" y="554615"/>
                  </a:moveTo>
                  <a:cubicBezTo>
                    <a:pt x="825970" y="550150"/>
                    <a:pt x="824978" y="551639"/>
                    <a:pt x="818529" y="547174"/>
                  </a:cubicBezTo>
                  <a:cubicBezTo>
                    <a:pt x="811584" y="542709"/>
                    <a:pt x="812080" y="542709"/>
                    <a:pt x="805134" y="538245"/>
                  </a:cubicBezTo>
                  <a:cubicBezTo>
                    <a:pt x="798189" y="533780"/>
                    <a:pt x="799182" y="532292"/>
                    <a:pt x="792732" y="527827"/>
                  </a:cubicBezTo>
                  <a:cubicBezTo>
                    <a:pt x="785787" y="523362"/>
                    <a:pt x="785787" y="523858"/>
                    <a:pt x="779339" y="519394"/>
                  </a:cubicBezTo>
                  <a:cubicBezTo>
                    <a:pt x="772393" y="514929"/>
                    <a:pt x="772393" y="515425"/>
                    <a:pt x="765944" y="510960"/>
                  </a:cubicBezTo>
                  <a:cubicBezTo>
                    <a:pt x="759000" y="506496"/>
                    <a:pt x="759991" y="505503"/>
                    <a:pt x="753046" y="501039"/>
                  </a:cubicBezTo>
                  <a:cubicBezTo>
                    <a:pt x="746101" y="496574"/>
                    <a:pt x="745605" y="498062"/>
                    <a:pt x="738660" y="493598"/>
                  </a:cubicBezTo>
                  <a:cubicBezTo>
                    <a:pt x="731715" y="489133"/>
                    <a:pt x="732211" y="488637"/>
                    <a:pt x="725762" y="484172"/>
                  </a:cubicBezTo>
                  <a:cubicBezTo>
                    <a:pt x="718817" y="479707"/>
                    <a:pt x="718817" y="480203"/>
                    <a:pt x="711872" y="475739"/>
                  </a:cubicBezTo>
                  <a:cubicBezTo>
                    <a:pt x="704927" y="471274"/>
                    <a:pt x="704927" y="471770"/>
                    <a:pt x="697982" y="467305"/>
                  </a:cubicBezTo>
                  <a:cubicBezTo>
                    <a:pt x="691037" y="462841"/>
                    <a:pt x="691037" y="462841"/>
                    <a:pt x="684588" y="458376"/>
                  </a:cubicBezTo>
                  <a:cubicBezTo>
                    <a:pt x="677643" y="453911"/>
                    <a:pt x="678635" y="452919"/>
                    <a:pt x="671689" y="448454"/>
                  </a:cubicBezTo>
                  <a:cubicBezTo>
                    <a:pt x="664745" y="443990"/>
                    <a:pt x="664745" y="443990"/>
                    <a:pt x="658296" y="439525"/>
                  </a:cubicBezTo>
                  <a:cubicBezTo>
                    <a:pt x="651350" y="435060"/>
                    <a:pt x="651350" y="435060"/>
                    <a:pt x="644902" y="430596"/>
                  </a:cubicBezTo>
                  <a:cubicBezTo>
                    <a:pt x="637956" y="426131"/>
                    <a:pt x="638948" y="425139"/>
                    <a:pt x="632003" y="420674"/>
                  </a:cubicBezTo>
                  <a:cubicBezTo>
                    <a:pt x="625059" y="416209"/>
                    <a:pt x="625059" y="416706"/>
                    <a:pt x="618113" y="412241"/>
                  </a:cubicBezTo>
                  <a:cubicBezTo>
                    <a:pt x="611168" y="407776"/>
                    <a:pt x="611168" y="407776"/>
                    <a:pt x="604719" y="403311"/>
                  </a:cubicBezTo>
                  <a:cubicBezTo>
                    <a:pt x="597774" y="398847"/>
                    <a:pt x="598270" y="398847"/>
                    <a:pt x="591325" y="394382"/>
                  </a:cubicBezTo>
                  <a:cubicBezTo>
                    <a:pt x="584380" y="389917"/>
                    <a:pt x="583884" y="390909"/>
                    <a:pt x="577435" y="386445"/>
                  </a:cubicBezTo>
                  <a:cubicBezTo>
                    <a:pt x="570490" y="381980"/>
                    <a:pt x="571482" y="380492"/>
                    <a:pt x="565033" y="376027"/>
                  </a:cubicBezTo>
                  <a:cubicBezTo>
                    <a:pt x="558088" y="371562"/>
                    <a:pt x="558088" y="372058"/>
                    <a:pt x="551143" y="367594"/>
                  </a:cubicBezTo>
                  <a:cubicBezTo>
                    <a:pt x="544198" y="363129"/>
                    <a:pt x="544198" y="363625"/>
                    <a:pt x="537252" y="359160"/>
                  </a:cubicBezTo>
                  <a:cubicBezTo>
                    <a:pt x="530307" y="354696"/>
                    <a:pt x="530307" y="355192"/>
                    <a:pt x="523363" y="350727"/>
                  </a:cubicBezTo>
                  <a:cubicBezTo>
                    <a:pt x="516417" y="346262"/>
                    <a:pt x="516417" y="346262"/>
                    <a:pt x="509968" y="341798"/>
                  </a:cubicBezTo>
                  <a:cubicBezTo>
                    <a:pt x="503023" y="337333"/>
                    <a:pt x="504015" y="336341"/>
                    <a:pt x="497070" y="331876"/>
                  </a:cubicBezTo>
                  <a:cubicBezTo>
                    <a:pt x="490125" y="327411"/>
                    <a:pt x="490125" y="327411"/>
                    <a:pt x="483676" y="322947"/>
                  </a:cubicBezTo>
                  <a:cubicBezTo>
                    <a:pt x="476731" y="318482"/>
                    <a:pt x="476731" y="318978"/>
                    <a:pt x="469786" y="314513"/>
                  </a:cubicBezTo>
                  <a:cubicBezTo>
                    <a:pt x="462841" y="310049"/>
                    <a:pt x="463337" y="310049"/>
                    <a:pt x="456392" y="305584"/>
                  </a:cubicBezTo>
                  <a:cubicBezTo>
                    <a:pt x="449447" y="301119"/>
                    <a:pt x="450439" y="300127"/>
                    <a:pt x="443494" y="295662"/>
                  </a:cubicBezTo>
                  <a:cubicBezTo>
                    <a:pt x="436549" y="291198"/>
                    <a:pt x="437045" y="290702"/>
                    <a:pt x="430596" y="286237"/>
                  </a:cubicBezTo>
                  <a:cubicBezTo>
                    <a:pt x="423650" y="281772"/>
                    <a:pt x="423650" y="282268"/>
                    <a:pt x="416706" y="277804"/>
                  </a:cubicBezTo>
                  <a:cubicBezTo>
                    <a:pt x="409761" y="273339"/>
                    <a:pt x="410257" y="272843"/>
                    <a:pt x="403807" y="268378"/>
                  </a:cubicBezTo>
                  <a:cubicBezTo>
                    <a:pt x="396863" y="263913"/>
                    <a:pt x="396863" y="263913"/>
                    <a:pt x="390413" y="259449"/>
                  </a:cubicBezTo>
                  <a:cubicBezTo>
                    <a:pt x="383468" y="254984"/>
                    <a:pt x="383468" y="255480"/>
                    <a:pt x="376523" y="251015"/>
                  </a:cubicBezTo>
                  <a:cubicBezTo>
                    <a:pt x="369578" y="246551"/>
                    <a:pt x="369082" y="248039"/>
                    <a:pt x="362137" y="243574"/>
                  </a:cubicBezTo>
                  <a:cubicBezTo>
                    <a:pt x="355192" y="239110"/>
                    <a:pt x="355688" y="239110"/>
                    <a:pt x="348743" y="234645"/>
                  </a:cubicBezTo>
                  <a:cubicBezTo>
                    <a:pt x="341798" y="230180"/>
                    <a:pt x="342790" y="229188"/>
                    <a:pt x="335845" y="224723"/>
                  </a:cubicBezTo>
                  <a:cubicBezTo>
                    <a:pt x="328900" y="220259"/>
                    <a:pt x="329396" y="219763"/>
                    <a:pt x="322947" y="215298"/>
                  </a:cubicBezTo>
                  <a:cubicBezTo>
                    <a:pt x="316002" y="210833"/>
                    <a:pt x="315506" y="212321"/>
                    <a:pt x="308561" y="207857"/>
                  </a:cubicBezTo>
                  <a:cubicBezTo>
                    <a:pt x="301615" y="203392"/>
                    <a:pt x="302608" y="202400"/>
                    <a:pt x="295663" y="197935"/>
                  </a:cubicBezTo>
                  <a:cubicBezTo>
                    <a:pt x="288717" y="193470"/>
                    <a:pt x="288221" y="194463"/>
                    <a:pt x="281276" y="189998"/>
                  </a:cubicBezTo>
                  <a:cubicBezTo>
                    <a:pt x="274331" y="185533"/>
                    <a:pt x="275820" y="184045"/>
                    <a:pt x="268874" y="179580"/>
                  </a:cubicBezTo>
                  <a:cubicBezTo>
                    <a:pt x="261929" y="175116"/>
                    <a:pt x="261433" y="176604"/>
                    <a:pt x="254488" y="172139"/>
                  </a:cubicBezTo>
                  <a:cubicBezTo>
                    <a:pt x="247543" y="167674"/>
                    <a:pt x="247543" y="168170"/>
                    <a:pt x="240598" y="163706"/>
                  </a:cubicBezTo>
                  <a:cubicBezTo>
                    <a:pt x="233653" y="159241"/>
                    <a:pt x="234645" y="157753"/>
                    <a:pt x="228196" y="153288"/>
                  </a:cubicBezTo>
                  <a:cubicBezTo>
                    <a:pt x="221251" y="148823"/>
                    <a:pt x="221251" y="149319"/>
                    <a:pt x="214306" y="144855"/>
                  </a:cubicBezTo>
                  <a:cubicBezTo>
                    <a:pt x="207361" y="140390"/>
                    <a:pt x="208353" y="139398"/>
                    <a:pt x="201408" y="134933"/>
                  </a:cubicBezTo>
                  <a:cubicBezTo>
                    <a:pt x="194463" y="130469"/>
                    <a:pt x="194959" y="129972"/>
                    <a:pt x="188013" y="125508"/>
                  </a:cubicBezTo>
                  <a:cubicBezTo>
                    <a:pt x="181069" y="121043"/>
                    <a:pt x="180076" y="122531"/>
                    <a:pt x="173628" y="118067"/>
                  </a:cubicBezTo>
                  <a:cubicBezTo>
                    <a:pt x="166682" y="113602"/>
                    <a:pt x="167178" y="113106"/>
                    <a:pt x="160729" y="108641"/>
                  </a:cubicBezTo>
                  <a:cubicBezTo>
                    <a:pt x="153784" y="104176"/>
                    <a:pt x="154280" y="103680"/>
                    <a:pt x="147335" y="99216"/>
                  </a:cubicBezTo>
                  <a:cubicBezTo>
                    <a:pt x="140390" y="94751"/>
                    <a:pt x="139894" y="95743"/>
                    <a:pt x="133445" y="91278"/>
                  </a:cubicBezTo>
                  <a:cubicBezTo>
                    <a:pt x="126500" y="86814"/>
                    <a:pt x="127492" y="85325"/>
                    <a:pt x="121043" y="80861"/>
                  </a:cubicBezTo>
                  <a:cubicBezTo>
                    <a:pt x="114098" y="76396"/>
                    <a:pt x="114098" y="76396"/>
                    <a:pt x="107649" y="71931"/>
                  </a:cubicBezTo>
                  <a:cubicBezTo>
                    <a:pt x="100704" y="67467"/>
                    <a:pt x="100208" y="68459"/>
                    <a:pt x="93263" y="63994"/>
                  </a:cubicBezTo>
                  <a:cubicBezTo>
                    <a:pt x="86318" y="59529"/>
                    <a:pt x="86814" y="59529"/>
                    <a:pt x="79869" y="55065"/>
                  </a:cubicBezTo>
                  <a:cubicBezTo>
                    <a:pt x="72924" y="50600"/>
                    <a:pt x="73419" y="50600"/>
                    <a:pt x="66475" y="46135"/>
                  </a:cubicBezTo>
                  <a:cubicBezTo>
                    <a:pt x="59529" y="41671"/>
                    <a:pt x="59529" y="41671"/>
                    <a:pt x="53080" y="37206"/>
                  </a:cubicBezTo>
                  <a:cubicBezTo>
                    <a:pt x="46135" y="32741"/>
                    <a:pt x="46135" y="33237"/>
                    <a:pt x="39190" y="28773"/>
                  </a:cubicBezTo>
                  <a:cubicBezTo>
                    <a:pt x="32245" y="24308"/>
                    <a:pt x="33237" y="22820"/>
                    <a:pt x="26788" y="18355"/>
                  </a:cubicBezTo>
                  <a:cubicBezTo>
                    <a:pt x="19843" y="13890"/>
                    <a:pt x="20339" y="13394"/>
                    <a:pt x="13394" y="8929"/>
                  </a:cubicBezTo>
                  <a:cubicBezTo>
                    <a:pt x="6449" y="4465"/>
                    <a:pt x="6945" y="4465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F8B48D8F-7E89-0D67-961B-FDBD6301A7B5}"/>
                </a:ext>
              </a:extLst>
            </p:cNvPr>
            <p:cNvSpPr/>
            <p:nvPr/>
          </p:nvSpPr>
          <p:spPr>
            <a:xfrm>
              <a:off x="6317422" y="443989"/>
              <a:ext cx="313521" cy="445974"/>
            </a:xfrm>
            <a:custGeom>
              <a:avLst/>
              <a:gdLst>
                <a:gd name="connsiteX0" fmla="*/ 313521 w 313521"/>
                <a:gd name="connsiteY0" fmla="*/ 445974 h 445974"/>
                <a:gd name="connsiteX1" fmla="*/ 304095 w 313521"/>
                <a:gd name="connsiteY1" fmla="*/ 433076 h 445974"/>
                <a:gd name="connsiteX2" fmla="*/ 294670 w 313521"/>
                <a:gd name="connsiteY2" fmla="*/ 420178 h 445974"/>
                <a:gd name="connsiteX3" fmla="*/ 286237 w 313521"/>
                <a:gd name="connsiteY3" fmla="*/ 406288 h 445974"/>
                <a:gd name="connsiteX4" fmla="*/ 276811 w 313521"/>
                <a:gd name="connsiteY4" fmla="*/ 393390 h 445974"/>
                <a:gd name="connsiteX5" fmla="*/ 267386 w 313521"/>
                <a:gd name="connsiteY5" fmla="*/ 380492 h 445974"/>
                <a:gd name="connsiteX6" fmla="*/ 256968 w 313521"/>
                <a:gd name="connsiteY6" fmla="*/ 368090 h 445974"/>
                <a:gd name="connsiteX7" fmla="*/ 247542 w 313521"/>
                <a:gd name="connsiteY7" fmla="*/ 354696 h 445974"/>
                <a:gd name="connsiteX8" fmla="*/ 238117 w 313521"/>
                <a:gd name="connsiteY8" fmla="*/ 341798 h 445974"/>
                <a:gd name="connsiteX9" fmla="*/ 228692 w 313521"/>
                <a:gd name="connsiteY9" fmla="*/ 328900 h 445974"/>
                <a:gd name="connsiteX10" fmla="*/ 219762 w 313521"/>
                <a:gd name="connsiteY10" fmla="*/ 315506 h 445974"/>
                <a:gd name="connsiteX11" fmla="*/ 210337 w 313521"/>
                <a:gd name="connsiteY11" fmla="*/ 302608 h 445974"/>
                <a:gd name="connsiteX12" fmla="*/ 201408 w 313521"/>
                <a:gd name="connsiteY12" fmla="*/ 289213 h 445974"/>
                <a:gd name="connsiteX13" fmla="*/ 193470 w 313521"/>
                <a:gd name="connsiteY13" fmla="*/ 275323 h 445974"/>
                <a:gd name="connsiteX14" fmla="*/ 182556 w 313521"/>
                <a:gd name="connsiteY14" fmla="*/ 263417 h 445974"/>
                <a:gd name="connsiteX15" fmla="*/ 173627 w 313521"/>
                <a:gd name="connsiteY15" fmla="*/ 250023 h 445974"/>
                <a:gd name="connsiteX16" fmla="*/ 164202 w 313521"/>
                <a:gd name="connsiteY16" fmla="*/ 237125 h 445974"/>
                <a:gd name="connsiteX17" fmla="*/ 156265 w 313521"/>
                <a:gd name="connsiteY17" fmla="*/ 223235 h 445974"/>
                <a:gd name="connsiteX18" fmla="*/ 145846 w 313521"/>
                <a:gd name="connsiteY18" fmla="*/ 210833 h 445974"/>
                <a:gd name="connsiteX19" fmla="*/ 136421 w 313521"/>
                <a:gd name="connsiteY19" fmla="*/ 197935 h 445974"/>
                <a:gd name="connsiteX20" fmla="*/ 128484 w 313521"/>
                <a:gd name="connsiteY20" fmla="*/ 184045 h 445974"/>
                <a:gd name="connsiteX21" fmla="*/ 119555 w 313521"/>
                <a:gd name="connsiteY21" fmla="*/ 170651 h 445974"/>
                <a:gd name="connsiteX22" fmla="*/ 110625 w 313521"/>
                <a:gd name="connsiteY22" fmla="*/ 157257 h 445974"/>
                <a:gd name="connsiteX23" fmla="*/ 100208 w 313521"/>
                <a:gd name="connsiteY23" fmla="*/ 144855 h 445974"/>
                <a:gd name="connsiteX24" fmla="*/ 91774 w 313521"/>
                <a:gd name="connsiteY24" fmla="*/ 131461 h 445974"/>
                <a:gd name="connsiteX25" fmla="*/ 82845 w 313521"/>
                <a:gd name="connsiteY25" fmla="*/ 118067 h 445974"/>
                <a:gd name="connsiteX26" fmla="*/ 73419 w 313521"/>
                <a:gd name="connsiteY26" fmla="*/ 105169 h 445974"/>
                <a:gd name="connsiteX27" fmla="*/ 63498 w 313521"/>
                <a:gd name="connsiteY27" fmla="*/ 92767 h 445974"/>
                <a:gd name="connsiteX28" fmla="*/ 54072 w 313521"/>
                <a:gd name="connsiteY28" fmla="*/ 79869 h 445974"/>
                <a:gd name="connsiteX29" fmla="*/ 45639 w 313521"/>
                <a:gd name="connsiteY29" fmla="*/ 65978 h 445974"/>
                <a:gd name="connsiteX30" fmla="*/ 35221 w 313521"/>
                <a:gd name="connsiteY30" fmla="*/ 53576 h 445974"/>
                <a:gd name="connsiteX31" fmla="*/ 26292 w 313521"/>
                <a:gd name="connsiteY31" fmla="*/ 40182 h 445974"/>
                <a:gd name="connsiteX32" fmla="*/ 18355 w 313521"/>
                <a:gd name="connsiteY32" fmla="*/ 26292 h 445974"/>
                <a:gd name="connsiteX33" fmla="*/ 7441 w 313521"/>
                <a:gd name="connsiteY33" fmla="*/ 14386 h 445974"/>
                <a:gd name="connsiteX34" fmla="*/ 0 w 313521"/>
                <a:gd name="connsiteY34" fmla="*/ 0 h 445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13521" h="445974">
                  <a:moveTo>
                    <a:pt x="313521" y="445974"/>
                  </a:moveTo>
                  <a:cubicBezTo>
                    <a:pt x="309056" y="439525"/>
                    <a:pt x="308560" y="439525"/>
                    <a:pt x="304095" y="433076"/>
                  </a:cubicBezTo>
                  <a:cubicBezTo>
                    <a:pt x="299631" y="426627"/>
                    <a:pt x="299135" y="426627"/>
                    <a:pt x="294670" y="420178"/>
                  </a:cubicBezTo>
                  <a:cubicBezTo>
                    <a:pt x="290206" y="413729"/>
                    <a:pt x="291198" y="412737"/>
                    <a:pt x="286237" y="406288"/>
                  </a:cubicBezTo>
                  <a:cubicBezTo>
                    <a:pt x="281772" y="399839"/>
                    <a:pt x="281276" y="399839"/>
                    <a:pt x="276811" y="393390"/>
                  </a:cubicBezTo>
                  <a:cubicBezTo>
                    <a:pt x="272346" y="386941"/>
                    <a:pt x="271850" y="386941"/>
                    <a:pt x="267386" y="380492"/>
                  </a:cubicBezTo>
                  <a:cubicBezTo>
                    <a:pt x="262921" y="374043"/>
                    <a:pt x="261433" y="375035"/>
                    <a:pt x="256968" y="368090"/>
                  </a:cubicBezTo>
                  <a:cubicBezTo>
                    <a:pt x="252503" y="361641"/>
                    <a:pt x="252503" y="361641"/>
                    <a:pt x="247542" y="354696"/>
                  </a:cubicBezTo>
                  <a:cubicBezTo>
                    <a:pt x="243078" y="348247"/>
                    <a:pt x="243078" y="348247"/>
                    <a:pt x="238117" y="341798"/>
                  </a:cubicBezTo>
                  <a:cubicBezTo>
                    <a:pt x="233653" y="335349"/>
                    <a:pt x="233653" y="335349"/>
                    <a:pt x="228692" y="328900"/>
                  </a:cubicBezTo>
                  <a:cubicBezTo>
                    <a:pt x="224227" y="322451"/>
                    <a:pt x="224723" y="321955"/>
                    <a:pt x="219762" y="315506"/>
                  </a:cubicBezTo>
                  <a:cubicBezTo>
                    <a:pt x="215297" y="309057"/>
                    <a:pt x="215297" y="309057"/>
                    <a:pt x="210337" y="302608"/>
                  </a:cubicBezTo>
                  <a:cubicBezTo>
                    <a:pt x="205872" y="296159"/>
                    <a:pt x="205872" y="296159"/>
                    <a:pt x="201408" y="289213"/>
                  </a:cubicBezTo>
                  <a:cubicBezTo>
                    <a:pt x="196943" y="282764"/>
                    <a:pt x="198431" y="281772"/>
                    <a:pt x="193470" y="275323"/>
                  </a:cubicBezTo>
                  <a:cubicBezTo>
                    <a:pt x="189006" y="268874"/>
                    <a:pt x="187021" y="269866"/>
                    <a:pt x="182556" y="263417"/>
                  </a:cubicBezTo>
                  <a:cubicBezTo>
                    <a:pt x="178091" y="256968"/>
                    <a:pt x="178091" y="256968"/>
                    <a:pt x="173627" y="250023"/>
                  </a:cubicBezTo>
                  <a:cubicBezTo>
                    <a:pt x="169162" y="243574"/>
                    <a:pt x="169162" y="243574"/>
                    <a:pt x="164202" y="237125"/>
                  </a:cubicBezTo>
                  <a:cubicBezTo>
                    <a:pt x="159737" y="230676"/>
                    <a:pt x="160729" y="229684"/>
                    <a:pt x="156265" y="223235"/>
                  </a:cubicBezTo>
                  <a:cubicBezTo>
                    <a:pt x="151800" y="216786"/>
                    <a:pt x="150807" y="217282"/>
                    <a:pt x="145846" y="210833"/>
                  </a:cubicBezTo>
                  <a:cubicBezTo>
                    <a:pt x="141382" y="204384"/>
                    <a:pt x="140886" y="204384"/>
                    <a:pt x="136421" y="197935"/>
                  </a:cubicBezTo>
                  <a:cubicBezTo>
                    <a:pt x="131957" y="191486"/>
                    <a:pt x="132949" y="190494"/>
                    <a:pt x="128484" y="184045"/>
                  </a:cubicBezTo>
                  <a:cubicBezTo>
                    <a:pt x="124019" y="177596"/>
                    <a:pt x="124019" y="177596"/>
                    <a:pt x="119555" y="170651"/>
                  </a:cubicBezTo>
                  <a:cubicBezTo>
                    <a:pt x="115090" y="164202"/>
                    <a:pt x="115586" y="163706"/>
                    <a:pt x="110625" y="157257"/>
                  </a:cubicBezTo>
                  <a:cubicBezTo>
                    <a:pt x="106160" y="150808"/>
                    <a:pt x="105168" y="151304"/>
                    <a:pt x="100208" y="144855"/>
                  </a:cubicBezTo>
                  <a:cubicBezTo>
                    <a:pt x="95743" y="138406"/>
                    <a:pt x="96239" y="137910"/>
                    <a:pt x="91774" y="131461"/>
                  </a:cubicBezTo>
                  <a:cubicBezTo>
                    <a:pt x="87310" y="125012"/>
                    <a:pt x="87310" y="124516"/>
                    <a:pt x="82845" y="118067"/>
                  </a:cubicBezTo>
                  <a:cubicBezTo>
                    <a:pt x="78380" y="111618"/>
                    <a:pt x="77884" y="111618"/>
                    <a:pt x="73419" y="105169"/>
                  </a:cubicBezTo>
                  <a:cubicBezTo>
                    <a:pt x="68954" y="98720"/>
                    <a:pt x="67962" y="99216"/>
                    <a:pt x="63498" y="92767"/>
                  </a:cubicBezTo>
                  <a:cubicBezTo>
                    <a:pt x="59033" y="86318"/>
                    <a:pt x="59033" y="86318"/>
                    <a:pt x="54072" y="79869"/>
                  </a:cubicBezTo>
                  <a:cubicBezTo>
                    <a:pt x="49608" y="73420"/>
                    <a:pt x="50104" y="72923"/>
                    <a:pt x="45639" y="65978"/>
                  </a:cubicBezTo>
                  <a:cubicBezTo>
                    <a:pt x="41174" y="59529"/>
                    <a:pt x="40182" y="60025"/>
                    <a:pt x="35221" y="53576"/>
                  </a:cubicBezTo>
                  <a:cubicBezTo>
                    <a:pt x="30757" y="47127"/>
                    <a:pt x="31253" y="46631"/>
                    <a:pt x="26292" y="40182"/>
                  </a:cubicBezTo>
                  <a:cubicBezTo>
                    <a:pt x="21827" y="33733"/>
                    <a:pt x="22819" y="32741"/>
                    <a:pt x="18355" y="26292"/>
                  </a:cubicBezTo>
                  <a:cubicBezTo>
                    <a:pt x="13890" y="19843"/>
                    <a:pt x="11905" y="20835"/>
                    <a:pt x="7441" y="14386"/>
                  </a:cubicBezTo>
                  <a:cubicBezTo>
                    <a:pt x="2976" y="7937"/>
                    <a:pt x="4464" y="6449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EB4464BF-98E0-9E26-2502-648CB4AD8636}"/>
                </a:ext>
              </a:extLst>
            </p:cNvPr>
            <p:cNvSpPr/>
            <p:nvPr/>
          </p:nvSpPr>
          <p:spPr>
            <a:xfrm>
              <a:off x="6628463" y="471770"/>
              <a:ext cx="126499" cy="351719"/>
            </a:xfrm>
            <a:custGeom>
              <a:avLst/>
              <a:gdLst>
                <a:gd name="connsiteX0" fmla="*/ 126500 w 126499"/>
                <a:gd name="connsiteY0" fmla="*/ 351719 h 351719"/>
                <a:gd name="connsiteX1" fmla="*/ 121043 w 126499"/>
                <a:gd name="connsiteY1" fmla="*/ 336341 h 351719"/>
                <a:gd name="connsiteX2" fmla="*/ 115586 w 126499"/>
                <a:gd name="connsiteY2" fmla="*/ 320962 h 351719"/>
                <a:gd name="connsiteX3" fmla="*/ 108641 w 126499"/>
                <a:gd name="connsiteY3" fmla="*/ 306080 h 351719"/>
                <a:gd name="connsiteX4" fmla="*/ 103184 w 126499"/>
                <a:gd name="connsiteY4" fmla="*/ 290702 h 351719"/>
                <a:gd name="connsiteX5" fmla="*/ 98720 w 126499"/>
                <a:gd name="connsiteY5" fmla="*/ 274827 h 351719"/>
                <a:gd name="connsiteX6" fmla="*/ 92270 w 126499"/>
                <a:gd name="connsiteY6" fmla="*/ 259945 h 351719"/>
                <a:gd name="connsiteX7" fmla="*/ 87310 w 126499"/>
                <a:gd name="connsiteY7" fmla="*/ 244566 h 351719"/>
                <a:gd name="connsiteX8" fmla="*/ 83341 w 126499"/>
                <a:gd name="connsiteY8" fmla="*/ 228692 h 351719"/>
                <a:gd name="connsiteX9" fmla="*/ 77388 w 126499"/>
                <a:gd name="connsiteY9" fmla="*/ 213810 h 351719"/>
                <a:gd name="connsiteX10" fmla="*/ 71931 w 126499"/>
                <a:gd name="connsiteY10" fmla="*/ 198431 h 351719"/>
                <a:gd name="connsiteX11" fmla="*/ 67466 w 126499"/>
                <a:gd name="connsiteY11" fmla="*/ 183053 h 351719"/>
                <a:gd name="connsiteX12" fmla="*/ 61514 w 126499"/>
                <a:gd name="connsiteY12" fmla="*/ 168170 h 351719"/>
                <a:gd name="connsiteX13" fmla="*/ 56057 w 126499"/>
                <a:gd name="connsiteY13" fmla="*/ 152792 h 351719"/>
                <a:gd name="connsiteX14" fmla="*/ 50600 w 126499"/>
                <a:gd name="connsiteY14" fmla="*/ 137414 h 351719"/>
                <a:gd name="connsiteX15" fmla="*/ 45639 w 126499"/>
                <a:gd name="connsiteY15" fmla="*/ 122035 h 351719"/>
                <a:gd name="connsiteX16" fmla="*/ 39190 w 126499"/>
                <a:gd name="connsiteY16" fmla="*/ 107153 h 351719"/>
                <a:gd name="connsiteX17" fmla="*/ 33237 w 126499"/>
                <a:gd name="connsiteY17" fmla="*/ 91774 h 351719"/>
                <a:gd name="connsiteX18" fmla="*/ 29269 w 126499"/>
                <a:gd name="connsiteY18" fmla="*/ 75900 h 351719"/>
                <a:gd name="connsiteX19" fmla="*/ 23315 w 126499"/>
                <a:gd name="connsiteY19" fmla="*/ 60522 h 351719"/>
                <a:gd name="connsiteX20" fmla="*/ 17363 w 126499"/>
                <a:gd name="connsiteY20" fmla="*/ 45639 h 351719"/>
                <a:gd name="connsiteX21" fmla="*/ 11906 w 126499"/>
                <a:gd name="connsiteY21" fmla="*/ 30261 h 351719"/>
                <a:gd name="connsiteX22" fmla="*/ 5953 w 126499"/>
                <a:gd name="connsiteY22" fmla="*/ 14882 h 351719"/>
                <a:gd name="connsiteX23" fmla="*/ 0 w 126499"/>
                <a:gd name="connsiteY23" fmla="*/ 0 h 35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6499" h="351719">
                  <a:moveTo>
                    <a:pt x="126500" y="351719"/>
                  </a:moveTo>
                  <a:cubicBezTo>
                    <a:pt x="124019" y="344278"/>
                    <a:pt x="123524" y="344278"/>
                    <a:pt x="121043" y="336341"/>
                  </a:cubicBezTo>
                  <a:cubicBezTo>
                    <a:pt x="118563" y="328900"/>
                    <a:pt x="118067" y="328900"/>
                    <a:pt x="115586" y="320962"/>
                  </a:cubicBezTo>
                  <a:cubicBezTo>
                    <a:pt x="113106" y="313521"/>
                    <a:pt x="111122" y="314017"/>
                    <a:pt x="108641" y="306080"/>
                  </a:cubicBezTo>
                  <a:cubicBezTo>
                    <a:pt x="106161" y="298639"/>
                    <a:pt x="105665" y="298639"/>
                    <a:pt x="103184" y="290702"/>
                  </a:cubicBezTo>
                  <a:cubicBezTo>
                    <a:pt x="100704" y="283260"/>
                    <a:pt x="101696" y="282764"/>
                    <a:pt x="98720" y="274827"/>
                  </a:cubicBezTo>
                  <a:cubicBezTo>
                    <a:pt x="96239" y="267386"/>
                    <a:pt x="94751" y="267386"/>
                    <a:pt x="92270" y="259945"/>
                  </a:cubicBezTo>
                  <a:cubicBezTo>
                    <a:pt x="89790" y="252504"/>
                    <a:pt x="89790" y="252008"/>
                    <a:pt x="87310" y="244566"/>
                  </a:cubicBezTo>
                  <a:cubicBezTo>
                    <a:pt x="84829" y="237125"/>
                    <a:pt x="85822" y="236629"/>
                    <a:pt x="83341" y="228692"/>
                  </a:cubicBezTo>
                  <a:cubicBezTo>
                    <a:pt x="80861" y="221251"/>
                    <a:pt x="79868" y="221251"/>
                    <a:pt x="77388" y="213810"/>
                  </a:cubicBezTo>
                  <a:cubicBezTo>
                    <a:pt x="74908" y="206368"/>
                    <a:pt x="74412" y="206368"/>
                    <a:pt x="71931" y="198431"/>
                  </a:cubicBezTo>
                  <a:cubicBezTo>
                    <a:pt x="69451" y="190990"/>
                    <a:pt x="69947" y="190494"/>
                    <a:pt x="67466" y="183053"/>
                  </a:cubicBezTo>
                  <a:cubicBezTo>
                    <a:pt x="64986" y="175612"/>
                    <a:pt x="63994" y="175612"/>
                    <a:pt x="61514" y="168170"/>
                  </a:cubicBezTo>
                  <a:cubicBezTo>
                    <a:pt x="59033" y="160729"/>
                    <a:pt x="58537" y="160729"/>
                    <a:pt x="56057" y="152792"/>
                  </a:cubicBezTo>
                  <a:cubicBezTo>
                    <a:pt x="53577" y="145351"/>
                    <a:pt x="53080" y="145351"/>
                    <a:pt x="50600" y="137414"/>
                  </a:cubicBezTo>
                  <a:cubicBezTo>
                    <a:pt x="48119" y="129972"/>
                    <a:pt x="48119" y="129476"/>
                    <a:pt x="45639" y="122035"/>
                  </a:cubicBezTo>
                  <a:cubicBezTo>
                    <a:pt x="43159" y="114594"/>
                    <a:pt x="42167" y="114594"/>
                    <a:pt x="39190" y="107153"/>
                  </a:cubicBezTo>
                  <a:cubicBezTo>
                    <a:pt x="36214" y="99712"/>
                    <a:pt x="36214" y="99712"/>
                    <a:pt x="33237" y="91774"/>
                  </a:cubicBezTo>
                  <a:cubicBezTo>
                    <a:pt x="30757" y="84333"/>
                    <a:pt x="32245" y="83341"/>
                    <a:pt x="29269" y="75900"/>
                  </a:cubicBezTo>
                  <a:cubicBezTo>
                    <a:pt x="26788" y="68459"/>
                    <a:pt x="26292" y="68459"/>
                    <a:pt x="23315" y="60522"/>
                  </a:cubicBezTo>
                  <a:cubicBezTo>
                    <a:pt x="20835" y="53080"/>
                    <a:pt x="19843" y="53080"/>
                    <a:pt x="17363" y="45639"/>
                  </a:cubicBezTo>
                  <a:cubicBezTo>
                    <a:pt x="14882" y="38198"/>
                    <a:pt x="14386" y="38198"/>
                    <a:pt x="11906" y="30261"/>
                  </a:cubicBezTo>
                  <a:cubicBezTo>
                    <a:pt x="9426" y="22820"/>
                    <a:pt x="8930" y="22820"/>
                    <a:pt x="5953" y="14882"/>
                  </a:cubicBezTo>
                  <a:cubicBezTo>
                    <a:pt x="3472" y="7441"/>
                    <a:pt x="2480" y="744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4970963A-23BF-F8AE-47EF-9C34713D9511}"/>
                </a:ext>
              </a:extLst>
            </p:cNvPr>
            <p:cNvSpPr/>
            <p:nvPr/>
          </p:nvSpPr>
          <p:spPr>
            <a:xfrm>
              <a:off x="6900314" y="539236"/>
              <a:ext cx="39686" cy="250519"/>
            </a:xfrm>
            <a:custGeom>
              <a:avLst/>
              <a:gdLst>
                <a:gd name="connsiteX0" fmla="*/ 39686 w 39686"/>
                <a:gd name="connsiteY0" fmla="*/ 250519 h 250519"/>
                <a:gd name="connsiteX1" fmla="*/ 38198 w 39686"/>
                <a:gd name="connsiteY1" fmla="*/ 234645 h 250519"/>
                <a:gd name="connsiteX2" fmla="*/ 36709 w 39686"/>
                <a:gd name="connsiteY2" fmla="*/ 218770 h 250519"/>
                <a:gd name="connsiteX3" fmla="*/ 33237 w 39686"/>
                <a:gd name="connsiteY3" fmla="*/ 203392 h 250519"/>
                <a:gd name="connsiteX4" fmla="*/ 31253 w 39686"/>
                <a:gd name="connsiteY4" fmla="*/ 187517 h 250519"/>
                <a:gd name="connsiteX5" fmla="*/ 27780 w 39686"/>
                <a:gd name="connsiteY5" fmla="*/ 172139 h 250519"/>
                <a:gd name="connsiteX6" fmla="*/ 24804 w 39686"/>
                <a:gd name="connsiteY6" fmla="*/ 156265 h 250519"/>
                <a:gd name="connsiteX7" fmla="*/ 24804 w 39686"/>
                <a:gd name="connsiteY7" fmla="*/ 140390 h 250519"/>
                <a:gd name="connsiteX8" fmla="*/ 21331 w 39686"/>
                <a:gd name="connsiteY8" fmla="*/ 125012 h 250519"/>
                <a:gd name="connsiteX9" fmla="*/ 19843 w 39686"/>
                <a:gd name="connsiteY9" fmla="*/ 109137 h 250519"/>
                <a:gd name="connsiteX10" fmla="*/ 15378 w 39686"/>
                <a:gd name="connsiteY10" fmla="*/ 93759 h 250519"/>
                <a:gd name="connsiteX11" fmla="*/ 12402 w 39686"/>
                <a:gd name="connsiteY11" fmla="*/ 78380 h 250519"/>
                <a:gd name="connsiteX12" fmla="*/ 10913 w 39686"/>
                <a:gd name="connsiteY12" fmla="*/ 62506 h 250519"/>
                <a:gd name="connsiteX13" fmla="*/ 9425 w 39686"/>
                <a:gd name="connsiteY13" fmla="*/ 46631 h 250519"/>
                <a:gd name="connsiteX14" fmla="*/ 5953 w 39686"/>
                <a:gd name="connsiteY14" fmla="*/ 31253 h 250519"/>
                <a:gd name="connsiteX15" fmla="*/ 4464 w 39686"/>
                <a:gd name="connsiteY15" fmla="*/ 15378 h 250519"/>
                <a:gd name="connsiteX16" fmla="*/ 0 w 39686"/>
                <a:gd name="connsiteY16" fmla="*/ 0 h 25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686" h="250519">
                  <a:moveTo>
                    <a:pt x="39686" y="250519"/>
                  </a:moveTo>
                  <a:cubicBezTo>
                    <a:pt x="38694" y="242582"/>
                    <a:pt x="39190" y="242582"/>
                    <a:pt x="38198" y="234645"/>
                  </a:cubicBezTo>
                  <a:cubicBezTo>
                    <a:pt x="37206" y="226708"/>
                    <a:pt x="37702" y="226708"/>
                    <a:pt x="36709" y="218770"/>
                  </a:cubicBezTo>
                  <a:cubicBezTo>
                    <a:pt x="35717" y="210833"/>
                    <a:pt x="34229" y="211329"/>
                    <a:pt x="33237" y="203392"/>
                  </a:cubicBezTo>
                  <a:cubicBezTo>
                    <a:pt x="32245" y="195455"/>
                    <a:pt x="32245" y="195455"/>
                    <a:pt x="31253" y="187517"/>
                  </a:cubicBezTo>
                  <a:cubicBezTo>
                    <a:pt x="30261" y="179580"/>
                    <a:pt x="29268" y="179580"/>
                    <a:pt x="27780" y="172139"/>
                  </a:cubicBezTo>
                  <a:cubicBezTo>
                    <a:pt x="26788" y="164202"/>
                    <a:pt x="26292" y="164202"/>
                    <a:pt x="24804" y="156265"/>
                  </a:cubicBezTo>
                  <a:cubicBezTo>
                    <a:pt x="23811" y="148327"/>
                    <a:pt x="25796" y="147831"/>
                    <a:pt x="24804" y="140390"/>
                  </a:cubicBezTo>
                  <a:cubicBezTo>
                    <a:pt x="23811" y="132453"/>
                    <a:pt x="22819" y="132453"/>
                    <a:pt x="21331" y="125012"/>
                  </a:cubicBezTo>
                  <a:cubicBezTo>
                    <a:pt x="20339" y="117074"/>
                    <a:pt x="20835" y="117074"/>
                    <a:pt x="19843" y="109137"/>
                  </a:cubicBezTo>
                  <a:cubicBezTo>
                    <a:pt x="18851" y="101200"/>
                    <a:pt x="16866" y="101696"/>
                    <a:pt x="15378" y="93759"/>
                  </a:cubicBezTo>
                  <a:cubicBezTo>
                    <a:pt x="14386" y="85821"/>
                    <a:pt x="13890" y="85821"/>
                    <a:pt x="12402" y="78380"/>
                  </a:cubicBezTo>
                  <a:cubicBezTo>
                    <a:pt x="11409" y="70443"/>
                    <a:pt x="11905" y="70443"/>
                    <a:pt x="10913" y="62506"/>
                  </a:cubicBezTo>
                  <a:cubicBezTo>
                    <a:pt x="9922" y="54569"/>
                    <a:pt x="10913" y="54569"/>
                    <a:pt x="9425" y="46631"/>
                  </a:cubicBezTo>
                  <a:cubicBezTo>
                    <a:pt x="8433" y="38694"/>
                    <a:pt x="7441" y="38694"/>
                    <a:pt x="5953" y="31253"/>
                  </a:cubicBezTo>
                  <a:cubicBezTo>
                    <a:pt x="4961" y="23316"/>
                    <a:pt x="5457" y="23316"/>
                    <a:pt x="4464" y="15378"/>
                  </a:cubicBezTo>
                  <a:cubicBezTo>
                    <a:pt x="3472" y="7441"/>
                    <a:pt x="1488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4446E629-D961-2CF4-FFD5-9D4E13727109}"/>
                </a:ext>
              </a:extLst>
            </p:cNvPr>
            <p:cNvSpPr/>
            <p:nvPr/>
          </p:nvSpPr>
          <p:spPr>
            <a:xfrm>
              <a:off x="6077816" y="4117446"/>
              <a:ext cx="212817" cy="2480"/>
            </a:xfrm>
            <a:custGeom>
              <a:avLst/>
              <a:gdLst>
                <a:gd name="connsiteX0" fmla="*/ 0 w 212817"/>
                <a:gd name="connsiteY0" fmla="*/ 0 h 2480"/>
                <a:gd name="connsiteX1" fmla="*/ 16371 w 212817"/>
                <a:gd name="connsiteY1" fmla="*/ 992 h 2480"/>
                <a:gd name="connsiteX2" fmla="*/ 32741 w 212817"/>
                <a:gd name="connsiteY2" fmla="*/ 1984 h 2480"/>
                <a:gd name="connsiteX3" fmla="*/ 49112 w 212817"/>
                <a:gd name="connsiteY3" fmla="*/ 1488 h 2480"/>
                <a:gd name="connsiteX4" fmla="*/ 65482 w 212817"/>
                <a:gd name="connsiteY4" fmla="*/ 1984 h 2480"/>
                <a:gd name="connsiteX5" fmla="*/ 81853 w 212817"/>
                <a:gd name="connsiteY5" fmla="*/ 1488 h 2480"/>
                <a:gd name="connsiteX6" fmla="*/ 98224 w 212817"/>
                <a:gd name="connsiteY6" fmla="*/ 496 h 2480"/>
                <a:gd name="connsiteX7" fmla="*/ 114594 w 212817"/>
                <a:gd name="connsiteY7" fmla="*/ 1984 h 2480"/>
                <a:gd name="connsiteX8" fmla="*/ 130965 w 212817"/>
                <a:gd name="connsiteY8" fmla="*/ 992 h 2480"/>
                <a:gd name="connsiteX9" fmla="*/ 147335 w 212817"/>
                <a:gd name="connsiteY9" fmla="*/ 1984 h 2480"/>
                <a:gd name="connsiteX10" fmla="*/ 163706 w 212817"/>
                <a:gd name="connsiteY10" fmla="*/ 1984 h 2480"/>
                <a:gd name="connsiteX11" fmla="*/ 180077 w 212817"/>
                <a:gd name="connsiteY11" fmla="*/ 1984 h 2480"/>
                <a:gd name="connsiteX12" fmla="*/ 196447 w 212817"/>
                <a:gd name="connsiteY12" fmla="*/ 496 h 2480"/>
                <a:gd name="connsiteX13" fmla="*/ 212818 w 212817"/>
                <a:gd name="connsiteY13" fmla="*/ 2480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817" h="2480">
                  <a:moveTo>
                    <a:pt x="0" y="0"/>
                  </a:moveTo>
                  <a:cubicBezTo>
                    <a:pt x="7937" y="0"/>
                    <a:pt x="7937" y="992"/>
                    <a:pt x="16371" y="992"/>
                  </a:cubicBezTo>
                  <a:cubicBezTo>
                    <a:pt x="24308" y="992"/>
                    <a:pt x="24308" y="1984"/>
                    <a:pt x="32741" y="1984"/>
                  </a:cubicBezTo>
                  <a:cubicBezTo>
                    <a:pt x="40678" y="1984"/>
                    <a:pt x="40678" y="1488"/>
                    <a:pt x="49112" y="1488"/>
                  </a:cubicBezTo>
                  <a:cubicBezTo>
                    <a:pt x="57049" y="1488"/>
                    <a:pt x="57049" y="1984"/>
                    <a:pt x="65482" y="1984"/>
                  </a:cubicBezTo>
                  <a:cubicBezTo>
                    <a:pt x="73420" y="1984"/>
                    <a:pt x="73420" y="1488"/>
                    <a:pt x="81853" y="1488"/>
                  </a:cubicBezTo>
                  <a:cubicBezTo>
                    <a:pt x="89790" y="1488"/>
                    <a:pt x="89790" y="496"/>
                    <a:pt x="98224" y="496"/>
                  </a:cubicBezTo>
                  <a:cubicBezTo>
                    <a:pt x="106657" y="496"/>
                    <a:pt x="106161" y="1984"/>
                    <a:pt x="114594" y="1984"/>
                  </a:cubicBezTo>
                  <a:cubicBezTo>
                    <a:pt x="122531" y="1984"/>
                    <a:pt x="122531" y="992"/>
                    <a:pt x="130965" y="992"/>
                  </a:cubicBezTo>
                  <a:cubicBezTo>
                    <a:pt x="138902" y="992"/>
                    <a:pt x="138902" y="1984"/>
                    <a:pt x="147335" y="1984"/>
                  </a:cubicBezTo>
                  <a:cubicBezTo>
                    <a:pt x="155273" y="1984"/>
                    <a:pt x="155273" y="1984"/>
                    <a:pt x="163706" y="1984"/>
                  </a:cubicBezTo>
                  <a:cubicBezTo>
                    <a:pt x="171643" y="1984"/>
                    <a:pt x="171643" y="1984"/>
                    <a:pt x="180077" y="1984"/>
                  </a:cubicBezTo>
                  <a:cubicBezTo>
                    <a:pt x="188510" y="1984"/>
                    <a:pt x="188510" y="496"/>
                    <a:pt x="196447" y="496"/>
                  </a:cubicBezTo>
                  <a:cubicBezTo>
                    <a:pt x="204880" y="496"/>
                    <a:pt x="204880" y="2480"/>
                    <a:pt x="212818" y="248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DA3C0BC5-0FC0-382C-67EF-36BC6E0E942E}"/>
                </a:ext>
              </a:extLst>
            </p:cNvPr>
            <p:cNvSpPr/>
            <p:nvPr/>
          </p:nvSpPr>
          <p:spPr>
            <a:xfrm>
              <a:off x="6039122" y="4242458"/>
              <a:ext cx="261929" cy="2480"/>
            </a:xfrm>
            <a:custGeom>
              <a:avLst/>
              <a:gdLst>
                <a:gd name="connsiteX0" fmla="*/ 0 w 261929"/>
                <a:gd name="connsiteY0" fmla="*/ 496 h 2480"/>
                <a:gd name="connsiteX1" fmla="*/ 16371 w 261929"/>
                <a:gd name="connsiteY1" fmla="*/ 992 h 2480"/>
                <a:gd name="connsiteX2" fmla="*/ 32742 w 261929"/>
                <a:gd name="connsiteY2" fmla="*/ 992 h 2480"/>
                <a:gd name="connsiteX3" fmla="*/ 49112 w 261929"/>
                <a:gd name="connsiteY3" fmla="*/ 1488 h 2480"/>
                <a:gd name="connsiteX4" fmla="*/ 65483 w 261929"/>
                <a:gd name="connsiteY4" fmla="*/ 496 h 2480"/>
                <a:gd name="connsiteX5" fmla="*/ 81853 w 261929"/>
                <a:gd name="connsiteY5" fmla="*/ 496 h 2480"/>
                <a:gd name="connsiteX6" fmla="*/ 98224 w 261929"/>
                <a:gd name="connsiteY6" fmla="*/ 992 h 2480"/>
                <a:gd name="connsiteX7" fmla="*/ 114594 w 261929"/>
                <a:gd name="connsiteY7" fmla="*/ 1984 h 2480"/>
                <a:gd name="connsiteX8" fmla="*/ 130965 w 261929"/>
                <a:gd name="connsiteY8" fmla="*/ 0 h 2480"/>
                <a:gd name="connsiteX9" fmla="*/ 147336 w 261929"/>
                <a:gd name="connsiteY9" fmla="*/ 1984 h 2480"/>
                <a:gd name="connsiteX10" fmla="*/ 163706 w 261929"/>
                <a:gd name="connsiteY10" fmla="*/ 0 h 2480"/>
                <a:gd name="connsiteX11" fmla="*/ 180077 w 261929"/>
                <a:gd name="connsiteY11" fmla="*/ 1488 h 2480"/>
                <a:gd name="connsiteX12" fmla="*/ 196447 w 261929"/>
                <a:gd name="connsiteY12" fmla="*/ 496 h 2480"/>
                <a:gd name="connsiteX13" fmla="*/ 212818 w 261929"/>
                <a:gd name="connsiteY13" fmla="*/ 0 h 2480"/>
                <a:gd name="connsiteX14" fmla="*/ 229188 w 261929"/>
                <a:gd name="connsiteY14" fmla="*/ 1984 h 2480"/>
                <a:gd name="connsiteX15" fmla="*/ 245559 w 261929"/>
                <a:gd name="connsiteY15" fmla="*/ 2480 h 2480"/>
                <a:gd name="connsiteX16" fmla="*/ 261929 w 261929"/>
                <a:gd name="connsiteY16" fmla="*/ 1984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1929" h="2480">
                  <a:moveTo>
                    <a:pt x="0" y="496"/>
                  </a:moveTo>
                  <a:cubicBezTo>
                    <a:pt x="7938" y="496"/>
                    <a:pt x="7938" y="992"/>
                    <a:pt x="16371" y="992"/>
                  </a:cubicBezTo>
                  <a:cubicBezTo>
                    <a:pt x="24308" y="992"/>
                    <a:pt x="24308" y="992"/>
                    <a:pt x="32742" y="992"/>
                  </a:cubicBezTo>
                  <a:cubicBezTo>
                    <a:pt x="40679" y="992"/>
                    <a:pt x="40679" y="1488"/>
                    <a:pt x="49112" y="1488"/>
                  </a:cubicBezTo>
                  <a:cubicBezTo>
                    <a:pt x="57049" y="1488"/>
                    <a:pt x="57049" y="496"/>
                    <a:pt x="65483" y="496"/>
                  </a:cubicBezTo>
                  <a:cubicBezTo>
                    <a:pt x="73420" y="496"/>
                    <a:pt x="73420" y="496"/>
                    <a:pt x="81853" y="496"/>
                  </a:cubicBezTo>
                  <a:cubicBezTo>
                    <a:pt x="89791" y="496"/>
                    <a:pt x="89791" y="992"/>
                    <a:pt x="98224" y="992"/>
                  </a:cubicBezTo>
                  <a:cubicBezTo>
                    <a:pt x="106161" y="992"/>
                    <a:pt x="106161" y="1984"/>
                    <a:pt x="114594" y="1984"/>
                  </a:cubicBezTo>
                  <a:cubicBezTo>
                    <a:pt x="122532" y="1984"/>
                    <a:pt x="122532" y="0"/>
                    <a:pt x="130965" y="0"/>
                  </a:cubicBezTo>
                  <a:cubicBezTo>
                    <a:pt x="138902" y="0"/>
                    <a:pt x="138902" y="1984"/>
                    <a:pt x="147336" y="1984"/>
                  </a:cubicBezTo>
                  <a:cubicBezTo>
                    <a:pt x="155273" y="1984"/>
                    <a:pt x="155273" y="0"/>
                    <a:pt x="163706" y="0"/>
                  </a:cubicBezTo>
                  <a:cubicBezTo>
                    <a:pt x="171643" y="0"/>
                    <a:pt x="171643" y="1488"/>
                    <a:pt x="180077" y="1488"/>
                  </a:cubicBezTo>
                  <a:cubicBezTo>
                    <a:pt x="188014" y="1488"/>
                    <a:pt x="188014" y="496"/>
                    <a:pt x="196447" y="496"/>
                  </a:cubicBezTo>
                  <a:cubicBezTo>
                    <a:pt x="204384" y="496"/>
                    <a:pt x="204384" y="0"/>
                    <a:pt x="212818" y="0"/>
                  </a:cubicBezTo>
                  <a:cubicBezTo>
                    <a:pt x="220755" y="0"/>
                    <a:pt x="220755" y="1984"/>
                    <a:pt x="229188" y="1984"/>
                  </a:cubicBezTo>
                  <a:cubicBezTo>
                    <a:pt x="237125" y="1984"/>
                    <a:pt x="237125" y="2480"/>
                    <a:pt x="245559" y="2480"/>
                  </a:cubicBezTo>
                  <a:cubicBezTo>
                    <a:pt x="253992" y="2480"/>
                    <a:pt x="253496" y="1984"/>
                    <a:pt x="261929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EAE68F81-9EE6-E4F1-095C-DBA7A3AC8282}"/>
                </a:ext>
              </a:extLst>
            </p:cNvPr>
            <p:cNvSpPr/>
            <p:nvPr/>
          </p:nvSpPr>
          <p:spPr>
            <a:xfrm>
              <a:off x="6032177" y="4267758"/>
              <a:ext cx="269865" cy="2976"/>
            </a:xfrm>
            <a:custGeom>
              <a:avLst/>
              <a:gdLst>
                <a:gd name="connsiteX0" fmla="*/ 0 w 269865"/>
                <a:gd name="connsiteY0" fmla="*/ 2480 h 2976"/>
                <a:gd name="connsiteX1" fmla="*/ 15874 w 269865"/>
                <a:gd name="connsiteY1" fmla="*/ 496 h 2976"/>
                <a:gd name="connsiteX2" fmla="*/ 31749 w 269865"/>
                <a:gd name="connsiteY2" fmla="*/ 1984 h 2976"/>
                <a:gd name="connsiteX3" fmla="*/ 47623 w 269865"/>
                <a:gd name="connsiteY3" fmla="*/ 1984 h 2976"/>
                <a:gd name="connsiteX4" fmla="*/ 63498 w 269865"/>
                <a:gd name="connsiteY4" fmla="*/ 1984 h 2976"/>
                <a:gd name="connsiteX5" fmla="*/ 79372 w 269865"/>
                <a:gd name="connsiteY5" fmla="*/ 992 h 2976"/>
                <a:gd name="connsiteX6" fmla="*/ 95247 w 269865"/>
                <a:gd name="connsiteY6" fmla="*/ 1984 h 2976"/>
                <a:gd name="connsiteX7" fmla="*/ 111121 w 269865"/>
                <a:gd name="connsiteY7" fmla="*/ 0 h 2976"/>
                <a:gd name="connsiteX8" fmla="*/ 126996 w 269865"/>
                <a:gd name="connsiteY8" fmla="*/ 992 h 2976"/>
                <a:gd name="connsiteX9" fmla="*/ 142870 w 269865"/>
                <a:gd name="connsiteY9" fmla="*/ 1488 h 2976"/>
                <a:gd name="connsiteX10" fmla="*/ 158745 w 269865"/>
                <a:gd name="connsiteY10" fmla="*/ 1488 h 2976"/>
                <a:gd name="connsiteX11" fmla="*/ 174619 w 269865"/>
                <a:gd name="connsiteY11" fmla="*/ 496 h 2976"/>
                <a:gd name="connsiteX12" fmla="*/ 190493 w 269865"/>
                <a:gd name="connsiteY12" fmla="*/ 2480 h 2976"/>
                <a:gd name="connsiteX13" fmla="*/ 206368 w 269865"/>
                <a:gd name="connsiteY13" fmla="*/ 1488 h 2976"/>
                <a:gd name="connsiteX14" fmla="*/ 222243 w 269865"/>
                <a:gd name="connsiteY14" fmla="*/ 2977 h 2976"/>
                <a:gd name="connsiteX15" fmla="*/ 238117 w 269865"/>
                <a:gd name="connsiteY15" fmla="*/ 1984 h 2976"/>
                <a:gd name="connsiteX16" fmla="*/ 253992 w 269865"/>
                <a:gd name="connsiteY16" fmla="*/ 2977 h 2976"/>
                <a:gd name="connsiteX17" fmla="*/ 269866 w 269865"/>
                <a:gd name="connsiteY17" fmla="*/ 2977 h 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9865" h="2976">
                  <a:moveTo>
                    <a:pt x="0" y="2480"/>
                  </a:moveTo>
                  <a:cubicBezTo>
                    <a:pt x="7937" y="2480"/>
                    <a:pt x="7937" y="496"/>
                    <a:pt x="15874" y="496"/>
                  </a:cubicBezTo>
                  <a:cubicBezTo>
                    <a:pt x="23811" y="496"/>
                    <a:pt x="23811" y="1984"/>
                    <a:pt x="31749" y="1984"/>
                  </a:cubicBezTo>
                  <a:cubicBezTo>
                    <a:pt x="39686" y="1984"/>
                    <a:pt x="39686" y="1984"/>
                    <a:pt x="47623" y="1984"/>
                  </a:cubicBezTo>
                  <a:cubicBezTo>
                    <a:pt x="55560" y="1984"/>
                    <a:pt x="55560" y="1984"/>
                    <a:pt x="63498" y="1984"/>
                  </a:cubicBezTo>
                  <a:cubicBezTo>
                    <a:pt x="71435" y="1984"/>
                    <a:pt x="71435" y="992"/>
                    <a:pt x="79372" y="992"/>
                  </a:cubicBezTo>
                  <a:cubicBezTo>
                    <a:pt x="87310" y="992"/>
                    <a:pt x="87310" y="1984"/>
                    <a:pt x="95247" y="1984"/>
                  </a:cubicBezTo>
                  <a:cubicBezTo>
                    <a:pt x="103184" y="1984"/>
                    <a:pt x="103184" y="0"/>
                    <a:pt x="111121" y="0"/>
                  </a:cubicBezTo>
                  <a:cubicBezTo>
                    <a:pt x="119059" y="0"/>
                    <a:pt x="119059" y="992"/>
                    <a:pt x="126996" y="992"/>
                  </a:cubicBezTo>
                  <a:cubicBezTo>
                    <a:pt x="134933" y="992"/>
                    <a:pt x="134933" y="1488"/>
                    <a:pt x="142870" y="1488"/>
                  </a:cubicBezTo>
                  <a:cubicBezTo>
                    <a:pt x="150807" y="1488"/>
                    <a:pt x="150807" y="1488"/>
                    <a:pt x="158745" y="1488"/>
                  </a:cubicBezTo>
                  <a:cubicBezTo>
                    <a:pt x="166682" y="1488"/>
                    <a:pt x="166682" y="496"/>
                    <a:pt x="174619" y="496"/>
                  </a:cubicBezTo>
                  <a:cubicBezTo>
                    <a:pt x="182556" y="496"/>
                    <a:pt x="182556" y="2480"/>
                    <a:pt x="190493" y="2480"/>
                  </a:cubicBezTo>
                  <a:cubicBezTo>
                    <a:pt x="198431" y="2480"/>
                    <a:pt x="198431" y="1488"/>
                    <a:pt x="206368" y="1488"/>
                  </a:cubicBezTo>
                  <a:cubicBezTo>
                    <a:pt x="214305" y="1488"/>
                    <a:pt x="214305" y="2977"/>
                    <a:pt x="222243" y="2977"/>
                  </a:cubicBezTo>
                  <a:cubicBezTo>
                    <a:pt x="230180" y="2977"/>
                    <a:pt x="230180" y="1984"/>
                    <a:pt x="238117" y="1984"/>
                  </a:cubicBezTo>
                  <a:cubicBezTo>
                    <a:pt x="246055" y="1984"/>
                    <a:pt x="246055" y="2977"/>
                    <a:pt x="253992" y="2977"/>
                  </a:cubicBezTo>
                  <a:cubicBezTo>
                    <a:pt x="261929" y="2977"/>
                    <a:pt x="261929" y="2977"/>
                    <a:pt x="269866" y="297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CED5D182-D7D0-3712-4355-2489191B58EE}"/>
                </a:ext>
              </a:extLst>
            </p:cNvPr>
            <p:cNvSpPr/>
            <p:nvPr/>
          </p:nvSpPr>
          <p:spPr>
            <a:xfrm>
              <a:off x="5901904" y="3631705"/>
              <a:ext cx="822797" cy="799987"/>
            </a:xfrm>
            <a:custGeom>
              <a:avLst/>
              <a:gdLst>
                <a:gd name="connsiteX0" fmla="*/ 822798 w 822797"/>
                <a:gd name="connsiteY0" fmla="*/ 797278 h 799987"/>
                <a:gd name="connsiteX1" fmla="*/ 806427 w 822797"/>
                <a:gd name="connsiteY1" fmla="*/ 797774 h 799987"/>
                <a:gd name="connsiteX2" fmla="*/ 790057 w 822797"/>
                <a:gd name="connsiteY2" fmla="*/ 798270 h 799987"/>
                <a:gd name="connsiteX3" fmla="*/ 773686 w 822797"/>
                <a:gd name="connsiteY3" fmla="*/ 796286 h 799987"/>
                <a:gd name="connsiteX4" fmla="*/ 757315 w 822797"/>
                <a:gd name="connsiteY4" fmla="*/ 796286 h 799987"/>
                <a:gd name="connsiteX5" fmla="*/ 740945 w 822797"/>
                <a:gd name="connsiteY5" fmla="*/ 797774 h 799987"/>
                <a:gd name="connsiteX6" fmla="*/ 724574 w 822797"/>
                <a:gd name="connsiteY6" fmla="*/ 796286 h 799987"/>
                <a:gd name="connsiteX7" fmla="*/ 708204 w 822797"/>
                <a:gd name="connsiteY7" fmla="*/ 797278 h 799987"/>
                <a:gd name="connsiteX8" fmla="*/ 691833 w 822797"/>
                <a:gd name="connsiteY8" fmla="*/ 797278 h 799987"/>
                <a:gd name="connsiteX9" fmla="*/ 675462 w 822797"/>
                <a:gd name="connsiteY9" fmla="*/ 796782 h 799987"/>
                <a:gd name="connsiteX10" fmla="*/ 659092 w 822797"/>
                <a:gd name="connsiteY10" fmla="*/ 797774 h 799987"/>
                <a:gd name="connsiteX11" fmla="*/ 642721 w 822797"/>
                <a:gd name="connsiteY11" fmla="*/ 797774 h 799987"/>
                <a:gd name="connsiteX12" fmla="*/ 626351 w 822797"/>
                <a:gd name="connsiteY12" fmla="*/ 796782 h 799987"/>
                <a:gd name="connsiteX13" fmla="*/ 609980 w 822797"/>
                <a:gd name="connsiteY13" fmla="*/ 796782 h 799987"/>
                <a:gd name="connsiteX14" fmla="*/ 593609 w 822797"/>
                <a:gd name="connsiteY14" fmla="*/ 795790 h 799987"/>
                <a:gd name="connsiteX15" fmla="*/ 577239 w 822797"/>
                <a:gd name="connsiteY15" fmla="*/ 797278 h 799987"/>
                <a:gd name="connsiteX16" fmla="*/ 560868 w 822797"/>
                <a:gd name="connsiteY16" fmla="*/ 795790 h 799987"/>
                <a:gd name="connsiteX17" fmla="*/ 544498 w 822797"/>
                <a:gd name="connsiteY17" fmla="*/ 795294 h 799987"/>
                <a:gd name="connsiteX18" fmla="*/ 528127 w 822797"/>
                <a:gd name="connsiteY18" fmla="*/ 795790 h 799987"/>
                <a:gd name="connsiteX19" fmla="*/ 511756 w 822797"/>
                <a:gd name="connsiteY19" fmla="*/ 796782 h 799987"/>
                <a:gd name="connsiteX20" fmla="*/ 495386 w 822797"/>
                <a:gd name="connsiteY20" fmla="*/ 795294 h 799987"/>
                <a:gd name="connsiteX21" fmla="*/ 479015 w 822797"/>
                <a:gd name="connsiteY21" fmla="*/ 795294 h 799987"/>
                <a:gd name="connsiteX22" fmla="*/ 462645 w 822797"/>
                <a:gd name="connsiteY22" fmla="*/ 795294 h 799987"/>
                <a:gd name="connsiteX23" fmla="*/ 446274 w 822797"/>
                <a:gd name="connsiteY23" fmla="*/ 796782 h 799987"/>
                <a:gd name="connsiteX24" fmla="*/ 429904 w 822797"/>
                <a:gd name="connsiteY24" fmla="*/ 796782 h 799987"/>
                <a:gd name="connsiteX25" fmla="*/ 413533 w 822797"/>
                <a:gd name="connsiteY25" fmla="*/ 796782 h 799987"/>
                <a:gd name="connsiteX26" fmla="*/ 397163 w 822797"/>
                <a:gd name="connsiteY26" fmla="*/ 795790 h 799987"/>
                <a:gd name="connsiteX27" fmla="*/ 380792 w 822797"/>
                <a:gd name="connsiteY27" fmla="*/ 795790 h 799987"/>
                <a:gd name="connsiteX28" fmla="*/ 364422 w 822797"/>
                <a:gd name="connsiteY28" fmla="*/ 795790 h 799987"/>
                <a:gd name="connsiteX29" fmla="*/ 348051 w 822797"/>
                <a:gd name="connsiteY29" fmla="*/ 795294 h 799987"/>
                <a:gd name="connsiteX30" fmla="*/ 331681 w 822797"/>
                <a:gd name="connsiteY30" fmla="*/ 797774 h 799987"/>
                <a:gd name="connsiteX31" fmla="*/ 315310 w 822797"/>
                <a:gd name="connsiteY31" fmla="*/ 797278 h 799987"/>
                <a:gd name="connsiteX32" fmla="*/ 298940 w 822797"/>
                <a:gd name="connsiteY32" fmla="*/ 797278 h 799987"/>
                <a:gd name="connsiteX33" fmla="*/ 282569 w 822797"/>
                <a:gd name="connsiteY33" fmla="*/ 797278 h 799987"/>
                <a:gd name="connsiteX34" fmla="*/ 266198 w 822797"/>
                <a:gd name="connsiteY34" fmla="*/ 795790 h 799987"/>
                <a:gd name="connsiteX35" fmla="*/ 249828 w 822797"/>
                <a:gd name="connsiteY35" fmla="*/ 796782 h 799987"/>
                <a:gd name="connsiteX36" fmla="*/ 233457 w 822797"/>
                <a:gd name="connsiteY36" fmla="*/ 796286 h 799987"/>
                <a:gd name="connsiteX37" fmla="*/ 217087 w 822797"/>
                <a:gd name="connsiteY37" fmla="*/ 795790 h 799987"/>
                <a:gd name="connsiteX38" fmla="*/ 200716 w 822797"/>
                <a:gd name="connsiteY38" fmla="*/ 795294 h 799987"/>
                <a:gd name="connsiteX39" fmla="*/ 184345 w 822797"/>
                <a:gd name="connsiteY39" fmla="*/ 796286 h 799987"/>
                <a:gd name="connsiteX40" fmla="*/ 167975 w 822797"/>
                <a:gd name="connsiteY40" fmla="*/ 796782 h 799987"/>
                <a:gd name="connsiteX41" fmla="*/ 151604 w 822797"/>
                <a:gd name="connsiteY41" fmla="*/ 795790 h 799987"/>
                <a:gd name="connsiteX42" fmla="*/ 135234 w 822797"/>
                <a:gd name="connsiteY42" fmla="*/ 795294 h 799987"/>
                <a:gd name="connsiteX43" fmla="*/ 118863 w 822797"/>
                <a:gd name="connsiteY43" fmla="*/ 795294 h 799987"/>
                <a:gd name="connsiteX44" fmla="*/ 102492 w 822797"/>
                <a:gd name="connsiteY44" fmla="*/ 796286 h 799987"/>
                <a:gd name="connsiteX45" fmla="*/ 86122 w 822797"/>
                <a:gd name="connsiteY45" fmla="*/ 795790 h 799987"/>
                <a:gd name="connsiteX46" fmla="*/ 69751 w 822797"/>
                <a:gd name="connsiteY46" fmla="*/ 796782 h 799987"/>
                <a:gd name="connsiteX47" fmla="*/ 53381 w 822797"/>
                <a:gd name="connsiteY47" fmla="*/ 797774 h 799987"/>
                <a:gd name="connsiteX48" fmla="*/ 37010 w 822797"/>
                <a:gd name="connsiteY48" fmla="*/ 797774 h 799987"/>
                <a:gd name="connsiteX49" fmla="*/ 20639 w 822797"/>
                <a:gd name="connsiteY49" fmla="*/ 795790 h 799987"/>
                <a:gd name="connsiteX50" fmla="*/ 3277 w 822797"/>
                <a:gd name="connsiteY50" fmla="*/ 797774 h 799987"/>
                <a:gd name="connsiteX51" fmla="*/ 5261 w 822797"/>
                <a:gd name="connsiteY51" fmla="*/ 780907 h 799987"/>
                <a:gd name="connsiteX52" fmla="*/ 2781 w 822797"/>
                <a:gd name="connsiteY52" fmla="*/ 764537 h 799987"/>
                <a:gd name="connsiteX53" fmla="*/ 4269 w 822797"/>
                <a:gd name="connsiteY53" fmla="*/ 748662 h 799987"/>
                <a:gd name="connsiteX54" fmla="*/ 4765 w 822797"/>
                <a:gd name="connsiteY54" fmla="*/ 732788 h 799987"/>
                <a:gd name="connsiteX55" fmla="*/ 4269 w 822797"/>
                <a:gd name="connsiteY55" fmla="*/ 716913 h 799987"/>
                <a:gd name="connsiteX56" fmla="*/ 4765 w 822797"/>
                <a:gd name="connsiteY56" fmla="*/ 701039 h 799987"/>
                <a:gd name="connsiteX57" fmla="*/ 4269 w 822797"/>
                <a:gd name="connsiteY57" fmla="*/ 685164 h 799987"/>
                <a:gd name="connsiteX58" fmla="*/ 2781 w 822797"/>
                <a:gd name="connsiteY58" fmla="*/ 669290 h 799987"/>
                <a:gd name="connsiteX59" fmla="*/ 3773 w 822797"/>
                <a:gd name="connsiteY59" fmla="*/ 652919 h 799987"/>
                <a:gd name="connsiteX60" fmla="*/ 2781 w 822797"/>
                <a:gd name="connsiteY60" fmla="*/ 636549 h 799987"/>
                <a:gd name="connsiteX61" fmla="*/ 3277 w 822797"/>
                <a:gd name="connsiteY61" fmla="*/ 620674 h 799987"/>
                <a:gd name="connsiteX62" fmla="*/ 2781 w 822797"/>
                <a:gd name="connsiteY62" fmla="*/ 604800 h 799987"/>
                <a:gd name="connsiteX63" fmla="*/ 3277 w 822797"/>
                <a:gd name="connsiteY63" fmla="*/ 588925 h 799987"/>
                <a:gd name="connsiteX64" fmla="*/ 3277 w 822797"/>
                <a:gd name="connsiteY64" fmla="*/ 573050 h 799987"/>
                <a:gd name="connsiteX65" fmla="*/ 2781 w 822797"/>
                <a:gd name="connsiteY65" fmla="*/ 556680 h 799987"/>
                <a:gd name="connsiteX66" fmla="*/ 3773 w 822797"/>
                <a:gd name="connsiteY66" fmla="*/ 540309 h 799987"/>
                <a:gd name="connsiteX67" fmla="*/ 2285 w 822797"/>
                <a:gd name="connsiteY67" fmla="*/ 524435 h 799987"/>
                <a:gd name="connsiteX68" fmla="*/ 2781 w 822797"/>
                <a:gd name="connsiteY68" fmla="*/ 508560 h 799987"/>
                <a:gd name="connsiteX69" fmla="*/ 1789 w 822797"/>
                <a:gd name="connsiteY69" fmla="*/ 492190 h 799987"/>
                <a:gd name="connsiteX70" fmla="*/ 3277 w 822797"/>
                <a:gd name="connsiteY70" fmla="*/ 475819 h 799987"/>
                <a:gd name="connsiteX71" fmla="*/ 3277 w 822797"/>
                <a:gd name="connsiteY71" fmla="*/ 459449 h 799987"/>
                <a:gd name="connsiteX72" fmla="*/ 2285 w 822797"/>
                <a:gd name="connsiteY72" fmla="*/ 443078 h 799987"/>
                <a:gd name="connsiteX73" fmla="*/ 1789 w 822797"/>
                <a:gd name="connsiteY73" fmla="*/ 426707 h 799987"/>
                <a:gd name="connsiteX74" fmla="*/ 2781 w 822797"/>
                <a:gd name="connsiteY74" fmla="*/ 410337 h 799987"/>
                <a:gd name="connsiteX75" fmla="*/ 2781 w 822797"/>
                <a:gd name="connsiteY75" fmla="*/ 393966 h 799987"/>
                <a:gd name="connsiteX76" fmla="*/ 2781 w 822797"/>
                <a:gd name="connsiteY76" fmla="*/ 377596 h 799987"/>
                <a:gd name="connsiteX77" fmla="*/ 2285 w 822797"/>
                <a:gd name="connsiteY77" fmla="*/ 361225 h 799987"/>
                <a:gd name="connsiteX78" fmla="*/ 2285 w 822797"/>
                <a:gd name="connsiteY78" fmla="*/ 344855 h 799987"/>
                <a:gd name="connsiteX79" fmla="*/ 2781 w 822797"/>
                <a:gd name="connsiteY79" fmla="*/ 328484 h 799987"/>
                <a:gd name="connsiteX80" fmla="*/ 2285 w 822797"/>
                <a:gd name="connsiteY80" fmla="*/ 312114 h 799987"/>
                <a:gd name="connsiteX81" fmla="*/ 2285 w 822797"/>
                <a:gd name="connsiteY81" fmla="*/ 295743 h 799987"/>
                <a:gd name="connsiteX82" fmla="*/ 2285 w 822797"/>
                <a:gd name="connsiteY82" fmla="*/ 279373 h 799987"/>
                <a:gd name="connsiteX83" fmla="*/ 2285 w 822797"/>
                <a:gd name="connsiteY83" fmla="*/ 263498 h 799987"/>
                <a:gd name="connsiteX84" fmla="*/ 3773 w 822797"/>
                <a:gd name="connsiteY84" fmla="*/ 247623 h 799987"/>
                <a:gd name="connsiteX85" fmla="*/ 2781 w 822797"/>
                <a:gd name="connsiteY85" fmla="*/ 231253 h 799987"/>
                <a:gd name="connsiteX86" fmla="*/ 2285 w 822797"/>
                <a:gd name="connsiteY86" fmla="*/ 215378 h 799987"/>
                <a:gd name="connsiteX87" fmla="*/ 2781 w 822797"/>
                <a:gd name="connsiteY87" fmla="*/ 199008 h 799987"/>
                <a:gd name="connsiteX88" fmla="*/ 2285 w 822797"/>
                <a:gd name="connsiteY88" fmla="*/ 182637 h 799987"/>
                <a:gd name="connsiteX89" fmla="*/ 3277 w 822797"/>
                <a:gd name="connsiteY89" fmla="*/ 166267 h 799987"/>
                <a:gd name="connsiteX90" fmla="*/ 3773 w 822797"/>
                <a:gd name="connsiteY90" fmla="*/ 149896 h 799987"/>
                <a:gd name="connsiteX91" fmla="*/ 3277 w 822797"/>
                <a:gd name="connsiteY91" fmla="*/ 133526 h 799987"/>
                <a:gd name="connsiteX92" fmla="*/ 3277 w 822797"/>
                <a:gd name="connsiteY92" fmla="*/ 117155 h 799987"/>
                <a:gd name="connsiteX93" fmla="*/ 3773 w 822797"/>
                <a:gd name="connsiteY93" fmla="*/ 100785 h 799987"/>
                <a:gd name="connsiteX94" fmla="*/ 3277 w 822797"/>
                <a:gd name="connsiteY94" fmla="*/ 84414 h 799987"/>
                <a:gd name="connsiteX95" fmla="*/ 3277 w 822797"/>
                <a:gd name="connsiteY95" fmla="*/ 68043 h 799987"/>
                <a:gd name="connsiteX96" fmla="*/ 3277 w 822797"/>
                <a:gd name="connsiteY96" fmla="*/ 51673 h 799987"/>
                <a:gd name="connsiteX97" fmla="*/ 2285 w 822797"/>
                <a:gd name="connsiteY97" fmla="*/ 35302 h 799987"/>
                <a:gd name="connsiteX98" fmla="*/ 2285 w 822797"/>
                <a:gd name="connsiteY98" fmla="*/ 18932 h 799987"/>
                <a:gd name="connsiteX99" fmla="*/ 2781 w 822797"/>
                <a:gd name="connsiteY99" fmla="*/ 2561 h 799987"/>
                <a:gd name="connsiteX100" fmla="*/ 19151 w 822797"/>
                <a:gd name="connsiteY100" fmla="*/ 2065 h 799987"/>
                <a:gd name="connsiteX101" fmla="*/ 35026 w 822797"/>
                <a:gd name="connsiteY101" fmla="*/ 2561 h 799987"/>
                <a:gd name="connsiteX102" fmla="*/ 50901 w 822797"/>
                <a:gd name="connsiteY102" fmla="*/ 1569 h 799987"/>
                <a:gd name="connsiteX103" fmla="*/ 66775 w 822797"/>
                <a:gd name="connsiteY103" fmla="*/ 1569 h 799987"/>
                <a:gd name="connsiteX104" fmla="*/ 82649 w 822797"/>
                <a:gd name="connsiteY104" fmla="*/ 2065 h 799987"/>
                <a:gd name="connsiteX105" fmla="*/ 98524 w 822797"/>
                <a:gd name="connsiteY105" fmla="*/ 3553 h 799987"/>
                <a:gd name="connsiteX106" fmla="*/ 114398 w 822797"/>
                <a:gd name="connsiteY106" fmla="*/ 3057 h 799987"/>
                <a:gd name="connsiteX107" fmla="*/ 130273 w 822797"/>
                <a:gd name="connsiteY107" fmla="*/ 2561 h 799987"/>
                <a:gd name="connsiteX108" fmla="*/ 146147 w 822797"/>
                <a:gd name="connsiteY108" fmla="*/ 3057 h 799987"/>
                <a:gd name="connsiteX109" fmla="*/ 162022 w 822797"/>
                <a:gd name="connsiteY109" fmla="*/ 2561 h 799987"/>
                <a:gd name="connsiteX110" fmla="*/ 177896 w 822797"/>
                <a:gd name="connsiteY110" fmla="*/ 1569 h 799987"/>
                <a:gd name="connsiteX111" fmla="*/ 193771 w 822797"/>
                <a:gd name="connsiteY111" fmla="*/ 4049 h 799987"/>
                <a:gd name="connsiteX112" fmla="*/ 209646 w 822797"/>
                <a:gd name="connsiteY112" fmla="*/ 4049 h 799987"/>
                <a:gd name="connsiteX113" fmla="*/ 225520 w 822797"/>
                <a:gd name="connsiteY113" fmla="*/ 3553 h 799987"/>
                <a:gd name="connsiteX114" fmla="*/ 241394 w 822797"/>
                <a:gd name="connsiteY114" fmla="*/ 3553 h 799987"/>
                <a:gd name="connsiteX115" fmla="*/ 257269 w 822797"/>
                <a:gd name="connsiteY115" fmla="*/ 3553 h 799987"/>
                <a:gd name="connsiteX116" fmla="*/ 273143 w 822797"/>
                <a:gd name="connsiteY116" fmla="*/ 3057 h 799987"/>
                <a:gd name="connsiteX117" fmla="*/ 289018 w 822797"/>
                <a:gd name="connsiteY117" fmla="*/ 3553 h 799987"/>
                <a:gd name="connsiteX118" fmla="*/ 304892 w 822797"/>
                <a:gd name="connsiteY118" fmla="*/ 3057 h 799987"/>
                <a:gd name="connsiteX119" fmla="*/ 320766 w 822797"/>
                <a:gd name="connsiteY119" fmla="*/ 1073 h 799987"/>
                <a:gd name="connsiteX120" fmla="*/ 336641 w 822797"/>
                <a:gd name="connsiteY120" fmla="*/ 3057 h 799987"/>
                <a:gd name="connsiteX121" fmla="*/ 352516 w 822797"/>
                <a:gd name="connsiteY121" fmla="*/ 2065 h 799987"/>
                <a:gd name="connsiteX122" fmla="*/ 368390 w 822797"/>
                <a:gd name="connsiteY122" fmla="*/ 1569 h 799987"/>
                <a:gd name="connsiteX123" fmla="*/ 384265 w 822797"/>
                <a:gd name="connsiteY123" fmla="*/ 3553 h 799987"/>
                <a:gd name="connsiteX124" fmla="*/ 400139 w 822797"/>
                <a:gd name="connsiteY124" fmla="*/ 1569 h 799987"/>
                <a:gd name="connsiteX125" fmla="*/ 416014 w 822797"/>
                <a:gd name="connsiteY125" fmla="*/ 3553 h 799987"/>
                <a:gd name="connsiteX126" fmla="*/ 431888 w 822797"/>
                <a:gd name="connsiteY126" fmla="*/ 2561 h 79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822797" h="799987">
                  <a:moveTo>
                    <a:pt x="822798" y="797278"/>
                  </a:moveTo>
                  <a:cubicBezTo>
                    <a:pt x="814861" y="797278"/>
                    <a:pt x="814861" y="797774"/>
                    <a:pt x="806427" y="797774"/>
                  </a:cubicBezTo>
                  <a:cubicBezTo>
                    <a:pt x="797994" y="797774"/>
                    <a:pt x="797994" y="798270"/>
                    <a:pt x="790057" y="798270"/>
                  </a:cubicBezTo>
                  <a:cubicBezTo>
                    <a:pt x="781623" y="798270"/>
                    <a:pt x="781623" y="796286"/>
                    <a:pt x="773686" y="796286"/>
                  </a:cubicBezTo>
                  <a:cubicBezTo>
                    <a:pt x="765253" y="796286"/>
                    <a:pt x="765253" y="796286"/>
                    <a:pt x="757315" y="796286"/>
                  </a:cubicBezTo>
                  <a:cubicBezTo>
                    <a:pt x="748882" y="796286"/>
                    <a:pt x="748882" y="797774"/>
                    <a:pt x="740945" y="797774"/>
                  </a:cubicBezTo>
                  <a:cubicBezTo>
                    <a:pt x="733008" y="797774"/>
                    <a:pt x="733008" y="796286"/>
                    <a:pt x="724574" y="796286"/>
                  </a:cubicBezTo>
                  <a:cubicBezTo>
                    <a:pt x="716637" y="796286"/>
                    <a:pt x="716637" y="797278"/>
                    <a:pt x="708204" y="797278"/>
                  </a:cubicBezTo>
                  <a:cubicBezTo>
                    <a:pt x="700266" y="797278"/>
                    <a:pt x="700266" y="797278"/>
                    <a:pt x="691833" y="797278"/>
                  </a:cubicBezTo>
                  <a:cubicBezTo>
                    <a:pt x="683400" y="797278"/>
                    <a:pt x="683400" y="796782"/>
                    <a:pt x="675462" y="796782"/>
                  </a:cubicBezTo>
                  <a:cubicBezTo>
                    <a:pt x="667029" y="796782"/>
                    <a:pt x="667029" y="797774"/>
                    <a:pt x="659092" y="797774"/>
                  </a:cubicBezTo>
                  <a:cubicBezTo>
                    <a:pt x="650658" y="797774"/>
                    <a:pt x="650658" y="797774"/>
                    <a:pt x="642721" y="797774"/>
                  </a:cubicBezTo>
                  <a:cubicBezTo>
                    <a:pt x="634288" y="797774"/>
                    <a:pt x="634288" y="796782"/>
                    <a:pt x="626351" y="796782"/>
                  </a:cubicBezTo>
                  <a:cubicBezTo>
                    <a:pt x="617917" y="796782"/>
                    <a:pt x="617917" y="796782"/>
                    <a:pt x="609980" y="796782"/>
                  </a:cubicBezTo>
                  <a:cubicBezTo>
                    <a:pt x="602043" y="796782"/>
                    <a:pt x="601547" y="795790"/>
                    <a:pt x="593609" y="795790"/>
                  </a:cubicBezTo>
                  <a:cubicBezTo>
                    <a:pt x="585176" y="795790"/>
                    <a:pt x="585176" y="797278"/>
                    <a:pt x="577239" y="797278"/>
                  </a:cubicBezTo>
                  <a:cubicBezTo>
                    <a:pt x="568805" y="797278"/>
                    <a:pt x="568805" y="795790"/>
                    <a:pt x="560868" y="795790"/>
                  </a:cubicBezTo>
                  <a:cubicBezTo>
                    <a:pt x="552435" y="795790"/>
                    <a:pt x="552435" y="795294"/>
                    <a:pt x="544498" y="795294"/>
                  </a:cubicBezTo>
                  <a:cubicBezTo>
                    <a:pt x="536064" y="795294"/>
                    <a:pt x="536064" y="795790"/>
                    <a:pt x="528127" y="795790"/>
                  </a:cubicBezTo>
                  <a:cubicBezTo>
                    <a:pt x="520190" y="795790"/>
                    <a:pt x="519694" y="796782"/>
                    <a:pt x="511756" y="796782"/>
                  </a:cubicBezTo>
                  <a:cubicBezTo>
                    <a:pt x="503323" y="796782"/>
                    <a:pt x="503323" y="795294"/>
                    <a:pt x="495386" y="795294"/>
                  </a:cubicBezTo>
                  <a:cubicBezTo>
                    <a:pt x="486953" y="795294"/>
                    <a:pt x="486953" y="795294"/>
                    <a:pt x="479015" y="795294"/>
                  </a:cubicBezTo>
                  <a:cubicBezTo>
                    <a:pt x="470582" y="795294"/>
                    <a:pt x="470582" y="795294"/>
                    <a:pt x="462645" y="795294"/>
                  </a:cubicBezTo>
                  <a:cubicBezTo>
                    <a:pt x="454212" y="795294"/>
                    <a:pt x="454212" y="796782"/>
                    <a:pt x="446274" y="796782"/>
                  </a:cubicBezTo>
                  <a:cubicBezTo>
                    <a:pt x="437841" y="796782"/>
                    <a:pt x="437841" y="796782"/>
                    <a:pt x="429904" y="796782"/>
                  </a:cubicBezTo>
                  <a:cubicBezTo>
                    <a:pt x="421471" y="796782"/>
                    <a:pt x="421471" y="796782"/>
                    <a:pt x="413533" y="796782"/>
                  </a:cubicBezTo>
                  <a:cubicBezTo>
                    <a:pt x="405100" y="796782"/>
                    <a:pt x="405100" y="795790"/>
                    <a:pt x="397163" y="795790"/>
                  </a:cubicBezTo>
                  <a:cubicBezTo>
                    <a:pt x="388730" y="795790"/>
                    <a:pt x="388730" y="795790"/>
                    <a:pt x="380792" y="795790"/>
                  </a:cubicBezTo>
                  <a:cubicBezTo>
                    <a:pt x="372359" y="795790"/>
                    <a:pt x="372359" y="795790"/>
                    <a:pt x="364422" y="795790"/>
                  </a:cubicBezTo>
                  <a:cubicBezTo>
                    <a:pt x="355989" y="795790"/>
                    <a:pt x="355989" y="795294"/>
                    <a:pt x="348051" y="795294"/>
                  </a:cubicBezTo>
                  <a:cubicBezTo>
                    <a:pt x="339618" y="795294"/>
                    <a:pt x="339618" y="797774"/>
                    <a:pt x="331681" y="797774"/>
                  </a:cubicBezTo>
                  <a:cubicBezTo>
                    <a:pt x="323247" y="797774"/>
                    <a:pt x="323247" y="797278"/>
                    <a:pt x="315310" y="797278"/>
                  </a:cubicBezTo>
                  <a:cubicBezTo>
                    <a:pt x="306877" y="797278"/>
                    <a:pt x="306877" y="797278"/>
                    <a:pt x="298940" y="797278"/>
                  </a:cubicBezTo>
                  <a:cubicBezTo>
                    <a:pt x="290506" y="797278"/>
                    <a:pt x="290506" y="797278"/>
                    <a:pt x="282569" y="797278"/>
                  </a:cubicBezTo>
                  <a:cubicBezTo>
                    <a:pt x="274136" y="797278"/>
                    <a:pt x="274136" y="795790"/>
                    <a:pt x="266198" y="795790"/>
                  </a:cubicBezTo>
                  <a:cubicBezTo>
                    <a:pt x="257765" y="795790"/>
                    <a:pt x="257765" y="796782"/>
                    <a:pt x="249828" y="796782"/>
                  </a:cubicBezTo>
                  <a:cubicBezTo>
                    <a:pt x="241394" y="796782"/>
                    <a:pt x="241394" y="796286"/>
                    <a:pt x="233457" y="796286"/>
                  </a:cubicBezTo>
                  <a:cubicBezTo>
                    <a:pt x="225024" y="796286"/>
                    <a:pt x="225024" y="795790"/>
                    <a:pt x="217087" y="795790"/>
                  </a:cubicBezTo>
                  <a:cubicBezTo>
                    <a:pt x="208653" y="795790"/>
                    <a:pt x="208653" y="795294"/>
                    <a:pt x="200716" y="795294"/>
                  </a:cubicBezTo>
                  <a:cubicBezTo>
                    <a:pt x="192283" y="795294"/>
                    <a:pt x="192283" y="796286"/>
                    <a:pt x="184345" y="796286"/>
                  </a:cubicBezTo>
                  <a:cubicBezTo>
                    <a:pt x="175912" y="796286"/>
                    <a:pt x="175912" y="796782"/>
                    <a:pt x="167975" y="796782"/>
                  </a:cubicBezTo>
                  <a:cubicBezTo>
                    <a:pt x="159541" y="796782"/>
                    <a:pt x="159541" y="795790"/>
                    <a:pt x="151604" y="795790"/>
                  </a:cubicBezTo>
                  <a:cubicBezTo>
                    <a:pt x="143171" y="795790"/>
                    <a:pt x="143171" y="795294"/>
                    <a:pt x="135234" y="795294"/>
                  </a:cubicBezTo>
                  <a:cubicBezTo>
                    <a:pt x="126800" y="795294"/>
                    <a:pt x="126800" y="795294"/>
                    <a:pt x="118863" y="795294"/>
                  </a:cubicBezTo>
                  <a:cubicBezTo>
                    <a:pt x="110430" y="795294"/>
                    <a:pt x="110430" y="796286"/>
                    <a:pt x="102492" y="796286"/>
                  </a:cubicBezTo>
                  <a:cubicBezTo>
                    <a:pt x="94059" y="796286"/>
                    <a:pt x="94059" y="795790"/>
                    <a:pt x="86122" y="795790"/>
                  </a:cubicBezTo>
                  <a:cubicBezTo>
                    <a:pt x="77688" y="795790"/>
                    <a:pt x="77688" y="796782"/>
                    <a:pt x="69751" y="796782"/>
                  </a:cubicBezTo>
                  <a:cubicBezTo>
                    <a:pt x="61318" y="796782"/>
                    <a:pt x="61318" y="797774"/>
                    <a:pt x="53381" y="797774"/>
                  </a:cubicBezTo>
                  <a:cubicBezTo>
                    <a:pt x="44947" y="797774"/>
                    <a:pt x="44947" y="797774"/>
                    <a:pt x="37010" y="797774"/>
                  </a:cubicBezTo>
                  <a:cubicBezTo>
                    <a:pt x="28577" y="797774"/>
                    <a:pt x="28577" y="795790"/>
                    <a:pt x="20639" y="795790"/>
                  </a:cubicBezTo>
                  <a:cubicBezTo>
                    <a:pt x="12702" y="795790"/>
                    <a:pt x="9230" y="803727"/>
                    <a:pt x="3277" y="797774"/>
                  </a:cubicBezTo>
                  <a:cubicBezTo>
                    <a:pt x="-2676" y="792317"/>
                    <a:pt x="5261" y="788844"/>
                    <a:pt x="5261" y="780907"/>
                  </a:cubicBezTo>
                  <a:cubicBezTo>
                    <a:pt x="5261" y="772970"/>
                    <a:pt x="2781" y="772970"/>
                    <a:pt x="2781" y="764537"/>
                  </a:cubicBezTo>
                  <a:cubicBezTo>
                    <a:pt x="2781" y="756599"/>
                    <a:pt x="4269" y="756599"/>
                    <a:pt x="4269" y="748662"/>
                  </a:cubicBezTo>
                  <a:cubicBezTo>
                    <a:pt x="4269" y="740725"/>
                    <a:pt x="4765" y="740725"/>
                    <a:pt x="4765" y="732788"/>
                  </a:cubicBezTo>
                  <a:cubicBezTo>
                    <a:pt x="4765" y="724850"/>
                    <a:pt x="4269" y="724850"/>
                    <a:pt x="4269" y="716913"/>
                  </a:cubicBezTo>
                  <a:cubicBezTo>
                    <a:pt x="4269" y="708976"/>
                    <a:pt x="4765" y="708976"/>
                    <a:pt x="4765" y="701039"/>
                  </a:cubicBezTo>
                  <a:cubicBezTo>
                    <a:pt x="4765" y="693101"/>
                    <a:pt x="4269" y="693101"/>
                    <a:pt x="4269" y="685164"/>
                  </a:cubicBezTo>
                  <a:cubicBezTo>
                    <a:pt x="4269" y="677227"/>
                    <a:pt x="2781" y="677227"/>
                    <a:pt x="2781" y="669290"/>
                  </a:cubicBezTo>
                  <a:cubicBezTo>
                    <a:pt x="2781" y="661353"/>
                    <a:pt x="3773" y="661353"/>
                    <a:pt x="3773" y="652919"/>
                  </a:cubicBezTo>
                  <a:cubicBezTo>
                    <a:pt x="3773" y="644982"/>
                    <a:pt x="2781" y="644982"/>
                    <a:pt x="2781" y="636549"/>
                  </a:cubicBezTo>
                  <a:cubicBezTo>
                    <a:pt x="2781" y="628611"/>
                    <a:pt x="3277" y="628611"/>
                    <a:pt x="3277" y="620674"/>
                  </a:cubicBezTo>
                  <a:cubicBezTo>
                    <a:pt x="3277" y="612737"/>
                    <a:pt x="2781" y="612737"/>
                    <a:pt x="2781" y="604800"/>
                  </a:cubicBezTo>
                  <a:cubicBezTo>
                    <a:pt x="2781" y="596862"/>
                    <a:pt x="3277" y="596862"/>
                    <a:pt x="3277" y="588925"/>
                  </a:cubicBezTo>
                  <a:cubicBezTo>
                    <a:pt x="3277" y="580988"/>
                    <a:pt x="3277" y="580988"/>
                    <a:pt x="3277" y="573050"/>
                  </a:cubicBezTo>
                  <a:cubicBezTo>
                    <a:pt x="3277" y="565113"/>
                    <a:pt x="2781" y="565113"/>
                    <a:pt x="2781" y="556680"/>
                  </a:cubicBezTo>
                  <a:cubicBezTo>
                    <a:pt x="2781" y="548743"/>
                    <a:pt x="3773" y="548743"/>
                    <a:pt x="3773" y="540309"/>
                  </a:cubicBezTo>
                  <a:cubicBezTo>
                    <a:pt x="3773" y="532372"/>
                    <a:pt x="2285" y="532372"/>
                    <a:pt x="2285" y="524435"/>
                  </a:cubicBezTo>
                  <a:cubicBezTo>
                    <a:pt x="2285" y="516498"/>
                    <a:pt x="2781" y="516498"/>
                    <a:pt x="2781" y="508560"/>
                  </a:cubicBezTo>
                  <a:cubicBezTo>
                    <a:pt x="2781" y="500623"/>
                    <a:pt x="1789" y="500623"/>
                    <a:pt x="1789" y="492190"/>
                  </a:cubicBezTo>
                  <a:cubicBezTo>
                    <a:pt x="1789" y="484253"/>
                    <a:pt x="3277" y="484253"/>
                    <a:pt x="3277" y="475819"/>
                  </a:cubicBezTo>
                  <a:cubicBezTo>
                    <a:pt x="3277" y="467882"/>
                    <a:pt x="3277" y="467882"/>
                    <a:pt x="3277" y="459449"/>
                  </a:cubicBezTo>
                  <a:cubicBezTo>
                    <a:pt x="3277" y="451511"/>
                    <a:pt x="2285" y="451511"/>
                    <a:pt x="2285" y="443078"/>
                  </a:cubicBezTo>
                  <a:cubicBezTo>
                    <a:pt x="2285" y="435141"/>
                    <a:pt x="1789" y="435141"/>
                    <a:pt x="1789" y="426707"/>
                  </a:cubicBezTo>
                  <a:cubicBezTo>
                    <a:pt x="1789" y="418770"/>
                    <a:pt x="2781" y="418770"/>
                    <a:pt x="2781" y="410337"/>
                  </a:cubicBezTo>
                  <a:cubicBezTo>
                    <a:pt x="2781" y="402400"/>
                    <a:pt x="2781" y="402400"/>
                    <a:pt x="2781" y="393966"/>
                  </a:cubicBezTo>
                  <a:cubicBezTo>
                    <a:pt x="2781" y="386029"/>
                    <a:pt x="2781" y="386029"/>
                    <a:pt x="2781" y="377596"/>
                  </a:cubicBezTo>
                  <a:cubicBezTo>
                    <a:pt x="2781" y="369659"/>
                    <a:pt x="2285" y="369659"/>
                    <a:pt x="2285" y="361225"/>
                  </a:cubicBezTo>
                  <a:cubicBezTo>
                    <a:pt x="2285" y="353288"/>
                    <a:pt x="2285" y="353288"/>
                    <a:pt x="2285" y="344855"/>
                  </a:cubicBezTo>
                  <a:cubicBezTo>
                    <a:pt x="2285" y="336917"/>
                    <a:pt x="2781" y="336917"/>
                    <a:pt x="2781" y="328484"/>
                  </a:cubicBezTo>
                  <a:cubicBezTo>
                    <a:pt x="2781" y="320547"/>
                    <a:pt x="2285" y="320547"/>
                    <a:pt x="2285" y="312114"/>
                  </a:cubicBezTo>
                  <a:cubicBezTo>
                    <a:pt x="2285" y="304176"/>
                    <a:pt x="2285" y="304176"/>
                    <a:pt x="2285" y="295743"/>
                  </a:cubicBezTo>
                  <a:cubicBezTo>
                    <a:pt x="2285" y="287806"/>
                    <a:pt x="2285" y="287806"/>
                    <a:pt x="2285" y="279373"/>
                  </a:cubicBezTo>
                  <a:cubicBezTo>
                    <a:pt x="2285" y="271435"/>
                    <a:pt x="2285" y="271435"/>
                    <a:pt x="2285" y="263498"/>
                  </a:cubicBezTo>
                  <a:cubicBezTo>
                    <a:pt x="2285" y="255561"/>
                    <a:pt x="3773" y="255561"/>
                    <a:pt x="3773" y="247623"/>
                  </a:cubicBezTo>
                  <a:cubicBezTo>
                    <a:pt x="3773" y="239686"/>
                    <a:pt x="2781" y="239686"/>
                    <a:pt x="2781" y="231253"/>
                  </a:cubicBezTo>
                  <a:cubicBezTo>
                    <a:pt x="2781" y="223316"/>
                    <a:pt x="2285" y="223316"/>
                    <a:pt x="2285" y="215378"/>
                  </a:cubicBezTo>
                  <a:cubicBezTo>
                    <a:pt x="2285" y="207441"/>
                    <a:pt x="2781" y="207441"/>
                    <a:pt x="2781" y="199008"/>
                  </a:cubicBezTo>
                  <a:cubicBezTo>
                    <a:pt x="2781" y="191070"/>
                    <a:pt x="2285" y="191070"/>
                    <a:pt x="2285" y="182637"/>
                  </a:cubicBezTo>
                  <a:cubicBezTo>
                    <a:pt x="2285" y="174700"/>
                    <a:pt x="3277" y="174700"/>
                    <a:pt x="3277" y="166267"/>
                  </a:cubicBezTo>
                  <a:cubicBezTo>
                    <a:pt x="3277" y="158329"/>
                    <a:pt x="3773" y="158329"/>
                    <a:pt x="3773" y="149896"/>
                  </a:cubicBezTo>
                  <a:cubicBezTo>
                    <a:pt x="3773" y="141959"/>
                    <a:pt x="3277" y="141959"/>
                    <a:pt x="3277" y="133526"/>
                  </a:cubicBezTo>
                  <a:cubicBezTo>
                    <a:pt x="3277" y="125588"/>
                    <a:pt x="3277" y="125588"/>
                    <a:pt x="3277" y="117155"/>
                  </a:cubicBezTo>
                  <a:cubicBezTo>
                    <a:pt x="3277" y="108722"/>
                    <a:pt x="3773" y="109218"/>
                    <a:pt x="3773" y="100785"/>
                  </a:cubicBezTo>
                  <a:cubicBezTo>
                    <a:pt x="3773" y="92847"/>
                    <a:pt x="3277" y="92847"/>
                    <a:pt x="3277" y="84414"/>
                  </a:cubicBezTo>
                  <a:cubicBezTo>
                    <a:pt x="3277" y="76477"/>
                    <a:pt x="3277" y="76477"/>
                    <a:pt x="3277" y="68043"/>
                  </a:cubicBezTo>
                  <a:cubicBezTo>
                    <a:pt x="3277" y="60106"/>
                    <a:pt x="3277" y="60106"/>
                    <a:pt x="3277" y="51673"/>
                  </a:cubicBezTo>
                  <a:cubicBezTo>
                    <a:pt x="3277" y="43736"/>
                    <a:pt x="2285" y="43736"/>
                    <a:pt x="2285" y="35302"/>
                  </a:cubicBezTo>
                  <a:cubicBezTo>
                    <a:pt x="2285" y="27365"/>
                    <a:pt x="2285" y="27365"/>
                    <a:pt x="2285" y="18932"/>
                  </a:cubicBezTo>
                  <a:cubicBezTo>
                    <a:pt x="2285" y="10498"/>
                    <a:pt x="-3172" y="8018"/>
                    <a:pt x="2781" y="2561"/>
                  </a:cubicBezTo>
                  <a:cubicBezTo>
                    <a:pt x="8237" y="-2896"/>
                    <a:pt x="11214" y="2065"/>
                    <a:pt x="19151" y="2065"/>
                  </a:cubicBezTo>
                  <a:cubicBezTo>
                    <a:pt x="27089" y="2065"/>
                    <a:pt x="27089" y="2561"/>
                    <a:pt x="35026" y="2561"/>
                  </a:cubicBezTo>
                  <a:cubicBezTo>
                    <a:pt x="42963" y="2561"/>
                    <a:pt x="42963" y="1569"/>
                    <a:pt x="50901" y="1569"/>
                  </a:cubicBezTo>
                  <a:cubicBezTo>
                    <a:pt x="58838" y="1569"/>
                    <a:pt x="58838" y="1569"/>
                    <a:pt x="66775" y="1569"/>
                  </a:cubicBezTo>
                  <a:cubicBezTo>
                    <a:pt x="74712" y="1569"/>
                    <a:pt x="74712" y="2065"/>
                    <a:pt x="82649" y="2065"/>
                  </a:cubicBezTo>
                  <a:cubicBezTo>
                    <a:pt x="90587" y="2065"/>
                    <a:pt x="90587" y="3553"/>
                    <a:pt x="98524" y="3553"/>
                  </a:cubicBezTo>
                  <a:cubicBezTo>
                    <a:pt x="106461" y="3553"/>
                    <a:pt x="106461" y="3057"/>
                    <a:pt x="114398" y="3057"/>
                  </a:cubicBezTo>
                  <a:cubicBezTo>
                    <a:pt x="122335" y="3057"/>
                    <a:pt x="122335" y="2561"/>
                    <a:pt x="130273" y="2561"/>
                  </a:cubicBezTo>
                  <a:cubicBezTo>
                    <a:pt x="138210" y="2561"/>
                    <a:pt x="138210" y="3057"/>
                    <a:pt x="146147" y="3057"/>
                  </a:cubicBezTo>
                  <a:cubicBezTo>
                    <a:pt x="154084" y="3057"/>
                    <a:pt x="154084" y="2561"/>
                    <a:pt x="162022" y="2561"/>
                  </a:cubicBezTo>
                  <a:cubicBezTo>
                    <a:pt x="169959" y="2561"/>
                    <a:pt x="169959" y="1569"/>
                    <a:pt x="177896" y="1569"/>
                  </a:cubicBezTo>
                  <a:cubicBezTo>
                    <a:pt x="185834" y="1569"/>
                    <a:pt x="185834" y="4049"/>
                    <a:pt x="193771" y="4049"/>
                  </a:cubicBezTo>
                  <a:cubicBezTo>
                    <a:pt x="201708" y="4049"/>
                    <a:pt x="201708" y="4049"/>
                    <a:pt x="209646" y="4049"/>
                  </a:cubicBezTo>
                  <a:cubicBezTo>
                    <a:pt x="217583" y="4049"/>
                    <a:pt x="217583" y="3553"/>
                    <a:pt x="225520" y="3553"/>
                  </a:cubicBezTo>
                  <a:cubicBezTo>
                    <a:pt x="233457" y="3553"/>
                    <a:pt x="233457" y="3553"/>
                    <a:pt x="241394" y="3553"/>
                  </a:cubicBezTo>
                  <a:cubicBezTo>
                    <a:pt x="249332" y="3553"/>
                    <a:pt x="249332" y="3553"/>
                    <a:pt x="257269" y="3553"/>
                  </a:cubicBezTo>
                  <a:cubicBezTo>
                    <a:pt x="265206" y="3553"/>
                    <a:pt x="265206" y="3057"/>
                    <a:pt x="273143" y="3057"/>
                  </a:cubicBezTo>
                  <a:cubicBezTo>
                    <a:pt x="281080" y="3057"/>
                    <a:pt x="281080" y="3553"/>
                    <a:pt x="289018" y="3553"/>
                  </a:cubicBezTo>
                  <a:cubicBezTo>
                    <a:pt x="296955" y="3553"/>
                    <a:pt x="296955" y="3057"/>
                    <a:pt x="304892" y="3057"/>
                  </a:cubicBezTo>
                  <a:cubicBezTo>
                    <a:pt x="312829" y="3057"/>
                    <a:pt x="312829" y="1073"/>
                    <a:pt x="320766" y="1073"/>
                  </a:cubicBezTo>
                  <a:cubicBezTo>
                    <a:pt x="328704" y="1073"/>
                    <a:pt x="328704" y="3057"/>
                    <a:pt x="336641" y="3057"/>
                  </a:cubicBezTo>
                  <a:cubicBezTo>
                    <a:pt x="344578" y="3057"/>
                    <a:pt x="344578" y="2065"/>
                    <a:pt x="352516" y="2065"/>
                  </a:cubicBezTo>
                  <a:cubicBezTo>
                    <a:pt x="360453" y="2065"/>
                    <a:pt x="360453" y="1569"/>
                    <a:pt x="368390" y="1569"/>
                  </a:cubicBezTo>
                  <a:cubicBezTo>
                    <a:pt x="376328" y="1569"/>
                    <a:pt x="376328" y="3553"/>
                    <a:pt x="384265" y="3553"/>
                  </a:cubicBezTo>
                  <a:cubicBezTo>
                    <a:pt x="392202" y="3553"/>
                    <a:pt x="392202" y="1569"/>
                    <a:pt x="400139" y="1569"/>
                  </a:cubicBezTo>
                  <a:cubicBezTo>
                    <a:pt x="408077" y="1569"/>
                    <a:pt x="408077" y="3553"/>
                    <a:pt x="416014" y="3553"/>
                  </a:cubicBezTo>
                  <a:cubicBezTo>
                    <a:pt x="423951" y="3553"/>
                    <a:pt x="423951" y="2561"/>
                    <a:pt x="431888" y="256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A4B89E9E-AAA5-BDBA-EB37-766859D9D663}"/>
                </a:ext>
              </a:extLst>
            </p:cNvPr>
            <p:cNvSpPr/>
            <p:nvPr/>
          </p:nvSpPr>
          <p:spPr>
            <a:xfrm>
              <a:off x="5853589" y="3585651"/>
              <a:ext cx="2976" cy="720305"/>
            </a:xfrm>
            <a:custGeom>
              <a:avLst/>
              <a:gdLst>
                <a:gd name="connsiteX0" fmla="*/ 992 w 2976"/>
                <a:gd name="connsiteY0" fmla="*/ 0 h 720305"/>
                <a:gd name="connsiteX1" fmla="*/ 496 w 2976"/>
                <a:gd name="connsiteY1" fmla="*/ 16371 h 720305"/>
                <a:gd name="connsiteX2" fmla="*/ 992 w 2976"/>
                <a:gd name="connsiteY2" fmla="*/ 32741 h 720305"/>
                <a:gd name="connsiteX3" fmla="*/ 992 w 2976"/>
                <a:gd name="connsiteY3" fmla="*/ 49112 h 720305"/>
                <a:gd name="connsiteX4" fmla="*/ 496 w 2976"/>
                <a:gd name="connsiteY4" fmla="*/ 65482 h 720305"/>
                <a:gd name="connsiteX5" fmla="*/ 1488 w 2976"/>
                <a:gd name="connsiteY5" fmla="*/ 81853 h 720305"/>
                <a:gd name="connsiteX6" fmla="*/ 1984 w 2976"/>
                <a:gd name="connsiteY6" fmla="*/ 98223 h 720305"/>
                <a:gd name="connsiteX7" fmla="*/ 1488 w 2976"/>
                <a:gd name="connsiteY7" fmla="*/ 114594 h 720305"/>
                <a:gd name="connsiteX8" fmla="*/ 0 w 2976"/>
                <a:gd name="connsiteY8" fmla="*/ 130965 h 720305"/>
                <a:gd name="connsiteX9" fmla="*/ 0 w 2976"/>
                <a:gd name="connsiteY9" fmla="*/ 147335 h 720305"/>
                <a:gd name="connsiteX10" fmla="*/ 496 w 2976"/>
                <a:gd name="connsiteY10" fmla="*/ 163706 h 720305"/>
                <a:gd name="connsiteX11" fmla="*/ 496 w 2976"/>
                <a:gd name="connsiteY11" fmla="*/ 180076 h 720305"/>
                <a:gd name="connsiteX12" fmla="*/ 1488 w 2976"/>
                <a:gd name="connsiteY12" fmla="*/ 196447 h 720305"/>
                <a:gd name="connsiteX13" fmla="*/ 1488 w 2976"/>
                <a:gd name="connsiteY13" fmla="*/ 212818 h 720305"/>
                <a:gd name="connsiteX14" fmla="*/ 0 w 2976"/>
                <a:gd name="connsiteY14" fmla="*/ 229188 h 720305"/>
                <a:gd name="connsiteX15" fmla="*/ 0 w 2976"/>
                <a:gd name="connsiteY15" fmla="*/ 245559 h 720305"/>
                <a:gd name="connsiteX16" fmla="*/ 496 w 2976"/>
                <a:gd name="connsiteY16" fmla="*/ 261929 h 720305"/>
                <a:gd name="connsiteX17" fmla="*/ 992 w 2976"/>
                <a:gd name="connsiteY17" fmla="*/ 278300 h 720305"/>
                <a:gd name="connsiteX18" fmla="*/ 496 w 2976"/>
                <a:gd name="connsiteY18" fmla="*/ 294670 h 720305"/>
                <a:gd name="connsiteX19" fmla="*/ 0 w 2976"/>
                <a:gd name="connsiteY19" fmla="*/ 311041 h 720305"/>
                <a:gd name="connsiteX20" fmla="*/ 496 w 2976"/>
                <a:gd name="connsiteY20" fmla="*/ 327411 h 720305"/>
                <a:gd name="connsiteX21" fmla="*/ 2480 w 2976"/>
                <a:gd name="connsiteY21" fmla="*/ 343782 h 720305"/>
                <a:gd name="connsiteX22" fmla="*/ 2480 w 2976"/>
                <a:gd name="connsiteY22" fmla="*/ 360153 h 720305"/>
                <a:gd name="connsiteX23" fmla="*/ 2480 w 2976"/>
                <a:gd name="connsiteY23" fmla="*/ 376523 h 720305"/>
                <a:gd name="connsiteX24" fmla="*/ 2480 w 2976"/>
                <a:gd name="connsiteY24" fmla="*/ 392894 h 720305"/>
                <a:gd name="connsiteX25" fmla="*/ 496 w 2976"/>
                <a:gd name="connsiteY25" fmla="*/ 409264 h 720305"/>
                <a:gd name="connsiteX26" fmla="*/ 992 w 2976"/>
                <a:gd name="connsiteY26" fmla="*/ 425635 h 720305"/>
                <a:gd name="connsiteX27" fmla="*/ 1984 w 2976"/>
                <a:gd name="connsiteY27" fmla="*/ 442006 h 720305"/>
                <a:gd name="connsiteX28" fmla="*/ 2480 w 2976"/>
                <a:gd name="connsiteY28" fmla="*/ 458376 h 720305"/>
                <a:gd name="connsiteX29" fmla="*/ 496 w 2976"/>
                <a:gd name="connsiteY29" fmla="*/ 474747 h 720305"/>
                <a:gd name="connsiteX30" fmla="*/ 992 w 2976"/>
                <a:gd name="connsiteY30" fmla="*/ 491117 h 720305"/>
                <a:gd name="connsiteX31" fmla="*/ 992 w 2976"/>
                <a:gd name="connsiteY31" fmla="*/ 507488 h 720305"/>
                <a:gd name="connsiteX32" fmla="*/ 992 w 2976"/>
                <a:gd name="connsiteY32" fmla="*/ 523858 h 720305"/>
                <a:gd name="connsiteX33" fmla="*/ 1984 w 2976"/>
                <a:gd name="connsiteY33" fmla="*/ 540229 h 720305"/>
                <a:gd name="connsiteX34" fmla="*/ 1488 w 2976"/>
                <a:gd name="connsiteY34" fmla="*/ 556600 h 720305"/>
                <a:gd name="connsiteX35" fmla="*/ 1984 w 2976"/>
                <a:gd name="connsiteY35" fmla="*/ 572970 h 720305"/>
                <a:gd name="connsiteX36" fmla="*/ 2480 w 2976"/>
                <a:gd name="connsiteY36" fmla="*/ 589341 h 720305"/>
                <a:gd name="connsiteX37" fmla="*/ 1984 w 2976"/>
                <a:gd name="connsiteY37" fmla="*/ 605711 h 720305"/>
                <a:gd name="connsiteX38" fmla="*/ 2976 w 2976"/>
                <a:gd name="connsiteY38" fmla="*/ 622082 h 720305"/>
                <a:gd name="connsiteX39" fmla="*/ 496 w 2976"/>
                <a:gd name="connsiteY39" fmla="*/ 638452 h 720305"/>
                <a:gd name="connsiteX40" fmla="*/ 992 w 2976"/>
                <a:gd name="connsiteY40" fmla="*/ 654823 h 720305"/>
                <a:gd name="connsiteX41" fmla="*/ 2480 w 2976"/>
                <a:gd name="connsiteY41" fmla="*/ 671193 h 720305"/>
                <a:gd name="connsiteX42" fmla="*/ 2480 w 2976"/>
                <a:gd name="connsiteY42" fmla="*/ 687564 h 720305"/>
                <a:gd name="connsiteX43" fmla="*/ 1984 w 2976"/>
                <a:gd name="connsiteY43" fmla="*/ 703935 h 720305"/>
                <a:gd name="connsiteX44" fmla="*/ 1984 w 2976"/>
                <a:gd name="connsiteY44" fmla="*/ 720305 h 72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976" h="720305">
                  <a:moveTo>
                    <a:pt x="992" y="0"/>
                  </a:moveTo>
                  <a:cubicBezTo>
                    <a:pt x="992" y="7937"/>
                    <a:pt x="496" y="7937"/>
                    <a:pt x="496" y="16371"/>
                  </a:cubicBezTo>
                  <a:cubicBezTo>
                    <a:pt x="496" y="24308"/>
                    <a:pt x="992" y="24308"/>
                    <a:pt x="992" y="32741"/>
                  </a:cubicBezTo>
                  <a:cubicBezTo>
                    <a:pt x="992" y="40678"/>
                    <a:pt x="992" y="40678"/>
                    <a:pt x="992" y="49112"/>
                  </a:cubicBezTo>
                  <a:cubicBezTo>
                    <a:pt x="992" y="57049"/>
                    <a:pt x="496" y="57049"/>
                    <a:pt x="496" y="65482"/>
                  </a:cubicBezTo>
                  <a:cubicBezTo>
                    <a:pt x="496" y="73419"/>
                    <a:pt x="1488" y="73419"/>
                    <a:pt x="1488" y="81853"/>
                  </a:cubicBezTo>
                  <a:cubicBezTo>
                    <a:pt x="1488" y="89790"/>
                    <a:pt x="1984" y="89790"/>
                    <a:pt x="1984" y="98223"/>
                  </a:cubicBezTo>
                  <a:cubicBezTo>
                    <a:pt x="1984" y="106161"/>
                    <a:pt x="1488" y="106161"/>
                    <a:pt x="1488" y="114594"/>
                  </a:cubicBezTo>
                  <a:cubicBezTo>
                    <a:pt x="1488" y="122531"/>
                    <a:pt x="0" y="122531"/>
                    <a:pt x="0" y="130965"/>
                  </a:cubicBezTo>
                  <a:cubicBezTo>
                    <a:pt x="0" y="138902"/>
                    <a:pt x="0" y="138902"/>
                    <a:pt x="0" y="147335"/>
                  </a:cubicBezTo>
                  <a:cubicBezTo>
                    <a:pt x="0" y="155272"/>
                    <a:pt x="496" y="155272"/>
                    <a:pt x="496" y="163706"/>
                  </a:cubicBezTo>
                  <a:cubicBezTo>
                    <a:pt x="496" y="171643"/>
                    <a:pt x="496" y="171643"/>
                    <a:pt x="496" y="180076"/>
                  </a:cubicBezTo>
                  <a:cubicBezTo>
                    <a:pt x="496" y="188014"/>
                    <a:pt x="1488" y="188014"/>
                    <a:pt x="1488" y="196447"/>
                  </a:cubicBezTo>
                  <a:cubicBezTo>
                    <a:pt x="1488" y="204880"/>
                    <a:pt x="1488" y="204384"/>
                    <a:pt x="1488" y="212818"/>
                  </a:cubicBezTo>
                  <a:cubicBezTo>
                    <a:pt x="1488" y="220755"/>
                    <a:pt x="0" y="220755"/>
                    <a:pt x="0" y="229188"/>
                  </a:cubicBezTo>
                  <a:cubicBezTo>
                    <a:pt x="0" y="237125"/>
                    <a:pt x="0" y="237125"/>
                    <a:pt x="0" y="245559"/>
                  </a:cubicBezTo>
                  <a:cubicBezTo>
                    <a:pt x="0" y="253496"/>
                    <a:pt x="496" y="253496"/>
                    <a:pt x="496" y="261929"/>
                  </a:cubicBezTo>
                  <a:cubicBezTo>
                    <a:pt x="496" y="269867"/>
                    <a:pt x="992" y="269867"/>
                    <a:pt x="992" y="278300"/>
                  </a:cubicBezTo>
                  <a:cubicBezTo>
                    <a:pt x="992" y="286237"/>
                    <a:pt x="496" y="286237"/>
                    <a:pt x="496" y="294670"/>
                  </a:cubicBezTo>
                  <a:cubicBezTo>
                    <a:pt x="496" y="302608"/>
                    <a:pt x="0" y="302608"/>
                    <a:pt x="0" y="311041"/>
                  </a:cubicBezTo>
                  <a:cubicBezTo>
                    <a:pt x="0" y="318978"/>
                    <a:pt x="496" y="318978"/>
                    <a:pt x="496" y="327411"/>
                  </a:cubicBezTo>
                  <a:cubicBezTo>
                    <a:pt x="496" y="335349"/>
                    <a:pt x="2480" y="335349"/>
                    <a:pt x="2480" y="343782"/>
                  </a:cubicBezTo>
                  <a:cubicBezTo>
                    <a:pt x="2480" y="351719"/>
                    <a:pt x="2480" y="351719"/>
                    <a:pt x="2480" y="360153"/>
                  </a:cubicBezTo>
                  <a:cubicBezTo>
                    <a:pt x="2480" y="368090"/>
                    <a:pt x="2480" y="368090"/>
                    <a:pt x="2480" y="376523"/>
                  </a:cubicBezTo>
                  <a:cubicBezTo>
                    <a:pt x="2480" y="384460"/>
                    <a:pt x="2480" y="384460"/>
                    <a:pt x="2480" y="392894"/>
                  </a:cubicBezTo>
                  <a:cubicBezTo>
                    <a:pt x="2480" y="400831"/>
                    <a:pt x="496" y="400831"/>
                    <a:pt x="496" y="409264"/>
                  </a:cubicBezTo>
                  <a:cubicBezTo>
                    <a:pt x="496" y="417202"/>
                    <a:pt x="992" y="417202"/>
                    <a:pt x="992" y="425635"/>
                  </a:cubicBezTo>
                  <a:cubicBezTo>
                    <a:pt x="992" y="433572"/>
                    <a:pt x="1984" y="433572"/>
                    <a:pt x="1984" y="442006"/>
                  </a:cubicBezTo>
                  <a:cubicBezTo>
                    <a:pt x="1984" y="449943"/>
                    <a:pt x="2480" y="449943"/>
                    <a:pt x="2480" y="458376"/>
                  </a:cubicBezTo>
                  <a:cubicBezTo>
                    <a:pt x="2480" y="466313"/>
                    <a:pt x="496" y="466313"/>
                    <a:pt x="496" y="474747"/>
                  </a:cubicBezTo>
                  <a:cubicBezTo>
                    <a:pt x="496" y="482684"/>
                    <a:pt x="992" y="482684"/>
                    <a:pt x="992" y="491117"/>
                  </a:cubicBezTo>
                  <a:cubicBezTo>
                    <a:pt x="992" y="499055"/>
                    <a:pt x="992" y="499055"/>
                    <a:pt x="992" y="507488"/>
                  </a:cubicBezTo>
                  <a:cubicBezTo>
                    <a:pt x="992" y="515425"/>
                    <a:pt x="992" y="515425"/>
                    <a:pt x="992" y="523858"/>
                  </a:cubicBezTo>
                  <a:cubicBezTo>
                    <a:pt x="992" y="531796"/>
                    <a:pt x="1984" y="531796"/>
                    <a:pt x="1984" y="540229"/>
                  </a:cubicBezTo>
                  <a:cubicBezTo>
                    <a:pt x="1984" y="548166"/>
                    <a:pt x="1488" y="548166"/>
                    <a:pt x="1488" y="556600"/>
                  </a:cubicBezTo>
                  <a:cubicBezTo>
                    <a:pt x="1488" y="564537"/>
                    <a:pt x="1984" y="564537"/>
                    <a:pt x="1984" y="572970"/>
                  </a:cubicBezTo>
                  <a:cubicBezTo>
                    <a:pt x="1984" y="580907"/>
                    <a:pt x="2480" y="580907"/>
                    <a:pt x="2480" y="589341"/>
                  </a:cubicBezTo>
                  <a:cubicBezTo>
                    <a:pt x="2480" y="597278"/>
                    <a:pt x="1984" y="597278"/>
                    <a:pt x="1984" y="605711"/>
                  </a:cubicBezTo>
                  <a:cubicBezTo>
                    <a:pt x="1984" y="613648"/>
                    <a:pt x="2976" y="613648"/>
                    <a:pt x="2976" y="622082"/>
                  </a:cubicBezTo>
                  <a:cubicBezTo>
                    <a:pt x="2976" y="630019"/>
                    <a:pt x="496" y="630019"/>
                    <a:pt x="496" y="638452"/>
                  </a:cubicBezTo>
                  <a:cubicBezTo>
                    <a:pt x="496" y="646389"/>
                    <a:pt x="992" y="646389"/>
                    <a:pt x="992" y="654823"/>
                  </a:cubicBezTo>
                  <a:cubicBezTo>
                    <a:pt x="992" y="662760"/>
                    <a:pt x="2480" y="662760"/>
                    <a:pt x="2480" y="671193"/>
                  </a:cubicBezTo>
                  <a:cubicBezTo>
                    <a:pt x="2480" y="679131"/>
                    <a:pt x="2480" y="679131"/>
                    <a:pt x="2480" y="687564"/>
                  </a:cubicBezTo>
                  <a:cubicBezTo>
                    <a:pt x="2480" y="695501"/>
                    <a:pt x="1984" y="695501"/>
                    <a:pt x="1984" y="703935"/>
                  </a:cubicBezTo>
                  <a:cubicBezTo>
                    <a:pt x="1984" y="712368"/>
                    <a:pt x="1984" y="711872"/>
                    <a:pt x="1984" y="72030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19D35135-B56D-CFE3-36D3-F6BB09307AF9}"/>
                </a:ext>
              </a:extLst>
            </p:cNvPr>
            <p:cNvSpPr/>
            <p:nvPr/>
          </p:nvSpPr>
          <p:spPr>
            <a:xfrm>
              <a:off x="6327344" y="3638731"/>
              <a:ext cx="3472" cy="794220"/>
            </a:xfrm>
            <a:custGeom>
              <a:avLst/>
              <a:gdLst>
                <a:gd name="connsiteX0" fmla="*/ 2480 w 3472"/>
                <a:gd name="connsiteY0" fmla="*/ 0 h 794220"/>
                <a:gd name="connsiteX1" fmla="*/ 992 w 3472"/>
                <a:gd name="connsiteY1" fmla="*/ 15875 h 794220"/>
                <a:gd name="connsiteX2" fmla="*/ 2976 w 3472"/>
                <a:gd name="connsiteY2" fmla="*/ 32245 h 794220"/>
                <a:gd name="connsiteX3" fmla="*/ 1488 w 3472"/>
                <a:gd name="connsiteY3" fmla="*/ 48120 h 794220"/>
                <a:gd name="connsiteX4" fmla="*/ 992 w 3472"/>
                <a:gd name="connsiteY4" fmla="*/ 63994 h 794220"/>
                <a:gd name="connsiteX5" fmla="*/ 2976 w 3472"/>
                <a:gd name="connsiteY5" fmla="*/ 79868 h 794220"/>
                <a:gd name="connsiteX6" fmla="*/ 992 w 3472"/>
                <a:gd name="connsiteY6" fmla="*/ 95743 h 794220"/>
                <a:gd name="connsiteX7" fmla="*/ 2480 w 3472"/>
                <a:gd name="connsiteY7" fmla="*/ 111618 h 794220"/>
                <a:gd name="connsiteX8" fmla="*/ 1984 w 3472"/>
                <a:gd name="connsiteY8" fmla="*/ 127492 h 794220"/>
                <a:gd name="connsiteX9" fmla="*/ 1984 w 3472"/>
                <a:gd name="connsiteY9" fmla="*/ 143863 h 794220"/>
                <a:gd name="connsiteX10" fmla="*/ 1984 w 3472"/>
                <a:gd name="connsiteY10" fmla="*/ 160233 h 794220"/>
                <a:gd name="connsiteX11" fmla="*/ 1488 w 3472"/>
                <a:gd name="connsiteY11" fmla="*/ 176108 h 794220"/>
                <a:gd name="connsiteX12" fmla="*/ 992 w 3472"/>
                <a:gd name="connsiteY12" fmla="*/ 191982 h 794220"/>
                <a:gd name="connsiteX13" fmla="*/ 1488 w 3472"/>
                <a:gd name="connsiteY13" fmla="*/ 207857 h 794220"/>
                <a:gd name="connsiteX14" fmla="*/ 1488 w 3472"/>
                <a:gd name="connsiteY14" fmla="*/ 223731 h 794220"/>
                <a:gd name="connsiteX15" fmla="*/ 1984 w 3472"/>
                <a:gd name="connsiteY15" fmla="*/ 240102 h 794220"/>
                <a:gd name="connsiteX16" fmla="*/ 0 w 3472"/>
                <a:gd name="connsiteY16" fmla="*/ 256472 h 794220"/>
                <a:gd name="connsiteX17" fmla="*/ 0 w 3472"/>
                <a:gd name="connsiteY17" fmla="*/ 272347 h 794220"/>
                <a:gd name="connsiteX18" fmla="*/ 992 w 3472"/>
                <a:gd name="connsiteY18" fmla="*/ 288221 h 794220"/>
                <a:gd name="connsiteX19" fmla="*/ 1488 w 3472"/>
                <a:gd name="connsiteY19" fmla="*/ 304592 h 794220"/>
                <a:gd name="connsiteX20" fmla="*/ 0 w 3472"/>
                <a:gd name="connsiteY20" fmla="*/ 320962 h 794220"/>
                <a:gd name="connsiteX21" fmla="*/ 992 w 3472"/>
                <a:gd name="connsiteY21" fmla="*/ 337333 h 794220"/>
                <a:gd name="connsiteX22" fmla="*/ 496 w 3472"/>
                <a:gd name="connsiteY22" fmla="*/ 353704 h 794220"/>
                <a:gd name="connsiteX23" fmla="*/ 496 w 3472"/>
                <a:gd name="connsiteY23" fmla="*/ 370074 h 794220"/>
                <a:gd name="connsiteX24" fmla="*/ 1488 w 3472"/>
                <a:gd name="connsiteY24" fmla="*/ 386445 h 794220"/>
                <a:gd name="connsiteX25" fmla="*/ 992 w 3472"/>
                <a:gd name="connsiteY25" fmla="*/ 402815 h 794220"/>
                <a:gd name="connsiteX26" fmla="*/ 1984 w 3472"/>
                <a:gd name="connsiteY26" fmla="*/ 419186 h 794220"/>
                <a:gd name="connsiteX27" fmla="*/ 2480 w 3472"/>
                <a:gd name="connsiteY27" fmla="*/ 435556 h 794220"/>
                <a:gd name="connsiteX28" fmla="*/ 2480 w 3472"/>
                <a:gd name="connsiteY28" fmla="*/ 451927 h 794220"/>
                <a:gd name="connsiteX29" fmla="*/ 1488 w 3472"/>
                <a:gd name="connsiteY29" fmla="*/ 468298 h 794220"/>
                <a:gd name="connsiteX30" fmla="*/ 992 w 3472"/>
                <a:gd name="connsiteY30" fmla="*/ 484668 h 794220"/>
                <a:gd name="connsiteX31" fmla="*/ 992 w 3472"/>
                <a:gd name="connsiteY31" fmla="*/ 501039 h 794220"/>
                <a:gd name="connsiteX32" fmla="*/ 1984 w 3472"/>
                <a:gd name="connsiteY32" fmla="*/ 517409 h 794220"/>
                <a:gd name="connsiteX33" fmla="*/ 2480 w 3472"/>
                <a:gd name="connsiteY33" fmla="*/ 533284 h 794220"/>
                <a:gd name="connsiteX34" fmla="*/ 992 w 3472"/>
                <a:gd name="connsiteY34" fmla="*/ 549158 h 794220"/>
                <a:gd name="connsiteX35" fmla="*/ 992 w 3472"/>
                <a:gd name="connsiteY35" fmla="*/ 565529 h 794220"/>
                <a:gd name="connsiteX36" fmla="*/ 2480 w 3472"/>
                <a:gd name="connsiteY36" fmla="*/ 581403 h 794220"/>
                <a:gd name="connsiteX37" fmla="*/ 496 w 3472"/>
                <a:gd name="connsiteY37" fmla="*/ 597774 h 794220"/>
                <a:gd name="connsiteX38" fmla="*/ 1984 w 3472"/>
                <a:gd name="connsiteY38" fmla="*/ 614144 h 794220"/>
                <a:gd name="connsiteX39" fmla="*/ 1488 w 3472"/>
                <a:gd name="connsiteY39" fmla="*/ 630515 h 794220"/>
                <a:gd name="connsiteX40" fmla="*/ 1984 w 3472"/>
                <a:gd name="connsiteY40" fmla="*/ 646886 h 794220"/>
                <a:gd name="connsiteX41" fmla="*/ 2480 w 3472"/>
                <a:gd name="connsiteY41" fmla="*/ 663256 h 794220"/>
                <a:gd name="connsiteX42" fmla="*/ 1488 w 3472"/>
                <a:gd name="connsiteY42" fmla="*/ 679627 h 794220"/>
                <a:gd name="connsiteX43" fmla="*/ 1984 w 3472"/>
                <a:gd name="connsiteY43" fmla="*/ 695997 h 794220"/>
                <a:gd name="connsiteX44" fmla="*/ 2480 w 3472"/>
                <a:gd name="connsiteY44" fmla="*/ 712368 h 794220"/>
                <a:gd name="connsiteX45" fmla="*/ 992 w 3472"/>
                <a:gd name="connsiteY45" fmla="*/ 728739 h 794220"/>
                <a:gd name="connsiteX46" fmla="*/ 992 w 3472"/>
                <a:gd name="connsiteY46" fmla="*/ 745109 h 794220"/>
                <a:gd name="connsiteX47" fmla="*/ 992 w 3472"/>
                <a:gd name="connsiteY47" fmla="*/ 761480 h 794220"/>
                <a:gd name="connsiteX48" fmla="*/ 1984 w 3472"/>
                <a:gd name="connsiteY48" fmla="*/ 777850 h 794220"/>
                <a:gd name="connsiteX49" fmla="*/ 3472 w 3472"/>
                <a:gd name="connsiteY49" fmla="*/ 794221 h 794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472" h="794220">
                  <a:moveTo>
                    <a:pt x="2480" y="0"/>
                  </a:moveTo>
                  <a:cubicBezTo>
                    <a:pt x="2480" y="7937"/>
                    <a:pt x="992" y="7937"/>
                    <a:pt x="992" y="15875"/>
                  </a:cubicBezTo>
                  <a:cubicBezTo>
                    <a:pt x="992" y="23812"/>
                    <a:pt x="2976" y="23812"/>
                    <a:pt x="2976" y="32245"/>
                  </a:cubicBezTo>
                  <a:cubicBezTo>
                    <a:pt x="2976" y="40182"/>
                    <a:pt x="1488" y="40182"/>
                    <a:pt x="1488" y="48120"/>
                  </a:cubicBezTo>
                  <a:cubicBezTo>
                    <a:pt x="1488" y="56057"/>
                    <a:pt x="992" y="56057"/>
                    <a:pt x="992" y="63994"/>
                  </a:cubicBezTo>
                  <a:cubicBezTo>
                    <a:pt x="992" y="71931"/>
                    <a:pt x="2976" y="71931"/>
                    <a:pt x="2976" y="79868"/>
                  </a:cubicBezTo>
                  <a:cubicBezTo>
                    <a:pt x="2976" y="87806"/>
                    <a:pt x="992" y="87806"/>
                    <a:pt x="992" y="95743"/>
                  </a:cubicBezTo>
                  <a:cubicBezTo>
                    <a:pt x="992" y="103680"/>
                    <a:pt x="2480" y="103680"/>
                    <a:pt x="2480" y="111618"/>
                  </a:cubicBezTo>
                  <a:cubicBezTo>
                    <a:pt x="2480" y="119555"/>
                    <a:pt x="1984" y="119555"/>
                    <a:pt x="1984" y="127492"/>
                  </a:cubicBezTo>
                  <a:cubicBezTo>
                    <a:pt x="1984" y="135429"/>
                    <a:pt x="1984" y="135429"/>
                    <a:pt x="1984" y="143863"/>
                  </a:cubicBezTo>
                  <a:cubicBezTo>
                    <a:pt x="1984" y="151800"/>
                    <a:pt x="1984" y="151800"/>
                    <a:pt x="1984" y="160233"/>
                  </a:cubicBezTo>
                  <a:cubicBezTo>
                    <a:pt x="1984" y="168171"/>
                    <a:pt x="1488" y="168171"/>
                    <a:pt x="1488" y="176108"/>
                  </a:cubicBezTo>
                  <a:cubicBezTo>
                    <a:pt x="1488" y="184045"/>
                    <a:pt x="992" y="184045"/>
                    <a:pt x="992" y="191982"/>
                  </a:cubicBezTo>
                  <a:cubicBezTo>
                    <a:pt x="992" y="199919"/>
                    <a:pt x="1488" y="199919"/>
                    <a:pt x="1488" y="207857"/>
                  </a:cubicBezTo>
                  <a:cubicBezTo>
                    <a:pt x="1488" y="215794"/>
                    <a:pt x="1488" y="215794"/>
                    <a:pt x="1488" y="223731"/>
                  </a:cubicBezTo>
                  <a:cubicBezTo>
                    <a:pt x="1488" y="231668"/>
                    <a:pt x="1984" y="231668"/>
                    <a:pt x="1984" y="240102"/>
                  </a:cubicBezTo>
                  <a:cubicBezTo>
                    <a:pt x="1984" y="248039"/>
                    <a:pt x="0" y="248039"/>
                    <a:pt x="0" y="256472"/>
                  </a:cubicBezTo>
                  <a:cubicBezTo>
                    <a:pt x="0" y="264409"/>
                    <a:pt x="0" y="264409"/>
                    <a:pt x="0" y="272347"/>
                  </a:cubicBezTo>
                  <a:cubicBezTo>
                    <a:pt x="0" y="280284"/>
                    <a:pt x="992" y="280284"/>
                    <a:pt x="992" y="288221"/>
                  </a:cubicBezTo>
                  <a:cubicBezTo>
                    <a:pt x="992" y="296159"/>
                    <a:pt x="1488" y="296159"/>
                    <a:pt x="1488" y="304592"/>
                  </a:cubicBezTo>
                  <a:cubicBezTo>
                    <a:pt x="1488" y="312529"/>
                    <a:pt x="0" y="312529"/>
                    <a:pt x="0" y="320962"/>
                  </a:cubicBezTo>
                  <a:cubicBezTo>
                    <a:pt x="0" y="328900"/>
                    <a:pt x="992" y="328900"/>
                    <a:pt x="992" y="337333"/>
                  </a:cubicBezTo>
                  <a:cubicBezTo>
                    <a:pt x="992" y="345270"/>
                    <a:pt x="496" y="345270"/>
                    <a:pt x="496" y="353704"/>
                  </a:cubicBezTo>
                  <a:cubicBezTo>
                    <a:pt x="496" y="361641"/>
                    <a:pt x="496" y="361641"/>
                    <a:pt x="496" y="370074"/>
                  </a:cubicBezTo>
                  <a:cubicBezTo>
                    <a:pt x="496" y="378011"/>
                    <a:pt x="1488" y="378011"/>
                    <a:pt x="1488" y="386445"/>
                  </a:cubicBezTo>
                  <a:cubicBezTo>
                    <a:pt x="1488" y="394382"/>
                    <a:pt x="992" y="394382"/>
                    <a:pt x="992" y="402815"/>
                  </a:cubicBezTo>
                  <a:cubicBezTo>
                    <a:pt x="992" y="410752"/>
                    <a:pt x="1984" y="410752"/>
                    <a:pt x="1984" y="419186"/>
                  </a:cubicBezTo>
                  <a:cubicBezTo>
                    <a:pt x="1984" y="427123"/>
                    <a:pt x="2480" y="427123"/>
                    <a:pt x="2480" y="435556"/>
                  </a:cubicBezTo>
                  <a:cubicBezTo>
                    <a:pt x="2480" y="443494"/>
                    <a:pt x="2480" y="443494"/>
                    <a:pt x="2480" y="451927"/>
                  </a:cubicBezTo>
                  <a:cubicBezTo>
                    <a:pt x="2480" y="459864"/>
                    <a:pt x="1488" y="459864"/>
                    <a:pt x="1488" y="468298"/>
                  </a:cubicBezTo>
                  <a:cubicBezTo>
                    <a:pt x="1488" y="476235"/>
                    <a:pt x="992" y="476235"/>
                    <a:pt x="992" y="484668"/>
                  </a:cubicBezTo>
                  <a:cubicBezTo>
                    <a:pt x="992" y="492605"/>
                    <a:pt x="992" y="492605"/>
                    <a:pt x="992" y="501039"/>
                  </a:cubicBezTo>
                  <a:cubicBezTo>
                    <a:pt x="992" y="508976"/>
                    <a:pt x="1984" y="508976"/>
                    <a:pt x="1984" y="517409"/>
                  </a:cubicBezTo>
                  <a:cubicBezTo>
                    <a:pt x="1984" y="525347"/>
                    <a:pt x="2480" y="525347"/>
                    <a:pt x="2480" y="533284"/>
                  </a:cubicBezTo>
                  <a:cubicBezTo>
                    <a:pt x="2480" y="541221"/>
                    <a:pt x="992" y="541221"/>
                    <a:pt x="992" y="549158"/>
                  </a:cubicBezTo>
                  <a:cubicBezTo>
                    <a:pt x="992" y="557095"/>
                    <a:pt x="992" y="557095"/>
                    <a:pt x="992" y="565529"/>
                  </a:cubicBezTo>
                  <a:cubicBezTo>
                    <a:pt x="992" y="573466"/>
                    <a:pt x="2480" y="573466"/>
                    <a:pt x="2480" y="581403"/>
                  </a:cubicBezTo>
                  <a:cubicBezTo>
                    <a:pt x="2480" y="589341"/>
                    <a:pt x="496" y="589341"/>
                    <a:pt x="496" y="597774"/>
                  </a:cubicBezTo>
                  <a:cubicBezTo>
                    <a:pt x="496" y="605711"/>
                    <a:pt x="1984" y="605711"/>
                    <a:pt x="1984" y="614144"/>
                  </a:cubicBezTo>
                  <a:cubicBezTo>
                    <a:pt x="1984" y="622082"/>
                    <a:pt x="1488" y="622082"/>
                    <a:pt x="1488" y="630515"/>
                  </a:cubicBezTo>
                  <a:cubicBezTo>
                    <a:pt x="1488" y="638452"/>
                    <a:pt x="1984" y="638452"/>
                    <a:pt x="1984" y="646886"/>
                  </a:cubicBezTo>
                  <a:cubicBezTo>
                    <a:pt x="1984" y="654823"/>
                    <a:pt x="2480" y="654823"/>
                    <a:pt x="2480" y="663256"/>
                  </a:cubicBezTo>
                  <a:cubicBezTo>
                    <a:pt x="2480" y="671193"/>
                    <a:pt x="1488" y="671193"/>
                    <a:pt x="1488" y="679627"/>
                  </a:cubicBezTo>
                  <a:cubicBezTo>
                    <a:pt x="1488" y="687564"/>
                    <a:pt x="1984" y="687564"/>
                    <a:pt x="1984" y="695997"/>
                  </a:cubicBezTo>
                  <a:cubicBezTo>
                    <a:pt x="1984" y="703935"/>
                    <a:pt x="2480" y="703935"/>
                    <a:pt x="2480" y="712368"/>
                  </a:cubicBezTo>
                  <a:cubicBezTo>
                    <a:pt x="2480" y="720305"/>
                    <a:pt x="992" y="720305"/>
                    <a:pt x="992" y="728739"/>
                  </a:cubicBezTo>
                  <a:cubicBezTo>
                    <a:pt x="992" y="736676"/>
                    <a:pt x="992" y="736676"/>
                    <a:pt x="992" y="745109"/>
                  </a:cubicBezTo>
                  <a:cubicBezTo>
                    <a:pt x="992" y="753046"/>
                    <a:pt x="992" y="753046"/>
                    <a:pt x="992" y="761480"/>
                  </a:cubicBezTo>
                  <a:cubicBezTo>
                    <a:pt x="992" y="769417"/>
                    <a:pt x="1984" y="769417"/>
                    <a:pt x="1984" y="777850"/>
                  </a:cubicBezTo>
                  <a:cubicBezTo>
                    <a:pt x="1984" y="785788"/>
                    <a:pt x="3472" y="785788"/>
                    <a:pt x="3472" y="79422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88F28B17-B169-BFC9-B629-D814931FCA54}"/>
                </a:ext>
              </a:extLst>
            </p:cNvPr>
            <p:cNvSpPr/>
            <p:nvPr/>
          </p:nvSpPr>
          <p:spPr>
            <a:xfrm>
              <a:off x="6025232" y="3927448"/>
              <a:ext cx="634" cy="12897"/>
            </a:xfrm>
            <a:custGeom>
              <a:avLst/>
              <a:gdLst>
                <a:gd name="connsiteX0" fmla="*/ 496 w 634"/>
                <a:gd name="connsiteY0" fmla="*/ 0 h 12897"/>
                <a:gd name="connsiteX1" fmla="*/ 0 w 634"/>
                <a:gd name="connsiteY1" fmla="*/ 12898 h 12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4" h="12897">
                  <a:moveTo>
                    <a:pt x="496" y="0"/>
                  </a:moveTo>
                  <a:cubicBezTo>
                    <a:pt x="992" y="6449"/>
                    <a:pt x="0" y="6449"/>
                    <a:pt x="0" y="1289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F9C4A560-EF16-8869-81D9-B839185F6B8E}"/>
                </a:ext>
              </a:extLst>
            </p:cNvPr>
            <p:cNvSpPr/>
            <p:nvPr/>
          </p:nvSpPr>
          <p:spPr>
            <a:xfrm>
              <a:off x="5943751" y="3883794"/>
              <a:ext cx="108765" cy="147389"/>
            </a:xfrm>
            <a:custGeom>
              <a:avLst/>
              <a:gdLst>
                <a:gd name="connsiteX0" fmla="*/ 108765 w 108765"/>
                <a:gd name="connsiteY0" fmla="*/ 74908 h 147389"/>
                <a:gd name="connsiteX1" fmla="*/ 105292 w 108765"/>
                <a:gd name="connsiteY1" fmla="*/ 91278 h 147389"/>
                <a:gd name="connsiteX2" fmla="*/ 101820 w 108765"/>
                <a:gd name="connsiteY2" fmla="*/ 107649 h 147389"/>
                <a:gd name="connsiteX3" fmla="*/ 93387 w 108765"/>
                <a:gd name="connsiteY3" fmla="*/ 122035 h 147389"/>
                <a:gd name="connsiteX4" fmla="*/ 82473 w 108765"/>
                <a:gd name="connsiteY4" fmla="*/ 134437 h 147389"/>
                <a:gd name="connsiteX5" fmla="*/ 68583 w 108765"/>
                <a:gd name="connsiteY5" fmla="*/ 142870 h 147389"/>
                <a:gd name="connsiteX6" fmla="*/ 52212 w 108765"/>
                <a:gd name="connsiteY6" fmla="*/ 147335 h 147389"/>
                <a:gd name="connsiteX7" fmla="*/ 36338 w 108765"/>
                <a:gd name="connsiteY7" fmla="*/ 142374 h 147389"/>
                <a:gd name="connsiteX8" fmla="*/ 22943 w 108765"/>
                <a:gd name="connsiteY8" fmla="*/ 132453 h 147389"/>
                <a:gd name="connsiteX9" fmla="*/ 11534 w 108765"/>
                <a:gd name="connsiteY9" fmla="*/ 120051 h 147389"/>
                <a:gd name="connsiteX10" fmla="*/ 3596 w 108765"/>
                <a:gd name="connsiteY10" fmla="*/ 105168 h 147389"/>
                <a:gd name="connsiteX11" fmla="*/ 620 w 108765"/>
                <a:gd name="connsiteY11" fmla="*/ 88798 h 147389"/>
                <a:gd name="connsiteX12" fmla="*/ 124 w 108765"/>
                <a:gd name="connsiteY12" fmla="*/ 72427 h 147389"/>
                <a:gd name="connsiteX13" fmla="*/ 2108 w 108765"/>
                <a:gd name="connsiteY13" fmla="*/ 56057 h 147389"/>
                <a:gd name="connsiteX14" fmla="*/ 6573 w 108765"/>
                <a:gd name="connsiteY14" fmla="*/ 40182 h 147389"/>
                <a:gd name="connsiteX15" fmla="*/ 12526 w 108765"/>
                <a:gd name="connsiteY15" fmla="*/ 24308 h 147389"/>
                <a:gd name="connsiteX16" fmla="*/ 23936 w 108765"/>
                <a:gd name="connsiteY16" fmla="*/ 11906 h 147389"/>
                <a:gd name="connsiteX17" fmla="*/ 38818 w 108765"/>
                <a:gd name="connsiteY17" fmla="*/ 4465 h 147389"/>
                <a:gd name="connsiteX18" fmla="*/ 55189 w 108765"/>
                <a:gd name="connsiteY18" fmla="*/ 0 h 147389"/>
                <a:gd name="connsiteX19" fmla="*/ 71559 w 108765"/>
                <a:gd name="connsiteY19" fmla="*/ 4465 h 147389"/>
                <a:gd name="connsiteX20" fmla="*/ 85449 w 108765"/>
                <a:gd name="connsiteY20" fmla="*/ 13890 h 147389"/>
                <a:gd name="connsiteX21" fmla="*/ 94379 w 108765"/>
                <a:gd name="connsiteY21" fmla="*/ 27780 h 147389"/>
                <a:gd name="connsiteX22" fmla="*/ 103308 w 108765"/>
                <a:gd name="connsiteY22" fmla="*/ 42167 h 147389"/>
                <a:gd name="connsiteX23" fmla="*/ 107277 w 108765"/>
                <a:gd name="connsiteY23" fmla="*/ 58537 h 147389"/>
                <a:gd name="connsiteX24" fmla="*/ 108765 w 108765"/>
                <a:gd name="connsiteY24" fmla="*/ 74908 h 14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8765" h="147389">
                  <a:moveTo>
                    <a:pt x="108765" y="74908"/>
                  </a:moveTo>
                  <a:cubicBezTo>
                    <a:pt x="108765" y="80861"/>
                    <a:pt x="106781" y="85821"/>
                    <a:pt x="105292" y="91278"/>
                  </a:cubicBezTo>
                  <a:cubicBezTo>
                    <a:pt x="104300" y="96735"/>
                    <a:pt x="103804" y="102688"/>
                    <a:pt x="101820" y="107649"/>
                  </a:cubicBezTo>
                  <a:cubicBezTo>
                    <a:pt x="99836" y="113106"/>
                    <a:pt x="96363" y="117570"/>
                    <a:pt x="93387" y="122035"/>
                  </a:cubicBezTo>
                  <a:cubicBezTo>
                    <a:pt x="89914" y="126996"/>
                    <a:pt x="86442" y="130964"/>
                    <a:pt x="82473" y="134437"/>
                  </a:cubicBezTo>
                  <a:cubicBezTo>
                    <a:pt x="78008" y="138406"/>
                    <a:pt x="73544" y="140886"/>
                    <a:pt x="68583" y="142870"/>
                  </a:cubicBezTo>
                  <a:cubicBezTo>
                    <a:pt x="63622" y="144855"/>
                    <a:pt x="58165" y="147831"/>
                    <a:pt x="52212" y="147335"/>
                  </a:cubicBezTo>
                  <a:cubicBezTo>
                    <a:pt x="46755" y="147335"/>
                    <a:pt x="41299" y="144359"/>
                    <a:pt x="36338" y="142374"/>
                  </a:cubicBezTo>
                  <a:cubicBezTo>
                    <a:pt x="31377" y="140390"/>
                    <a:pt x="27408" y="136421"/>
                    <a:pt x="22943" y="132453"/>
                  </a:cubicBezTo>
                  <a:cubicBezTo>
                    <a:pt x="18975" y="128980"/>
                    <a:pt x="14510" y="125011"/>
                    <a:pt x="11534" y="120051"/>
                  </a:cubicBezTo>
                  <a:cubicBezTo>
                    <a:pt x="8557" y="115586"/>
                    <a:pt x="5581" y="110625"/>
                    <a:pt x="3596" y="105168"/>
                  </a:cubicBezTo>
                  <a:cubicBezTo>
                    <a:pt x="1612" y="100208"/>
                    <a:pt x="1612" y="94255"/>
                    <a:pt x="620" y="88798"/>
                  </a:cubicBezTo>
                  <a:cubicBezTo>
                    <a:pt x="-372" y="83341"/>
                    <a:pt x="124" y="77884"/>
                    <a:pt x="124" y="72427"/>
                  </a:cubicBezTo>
                  <a:cubicBezTo>
                    <a:pt x="124" y="66474"/>
                    <a:pt x="1116" y="61513"/>
                    <a:pt x="2108" y="56057"/>
                  </a:cubicBezTo>
                  <a:cubicBezTo>
                    <a:pt x="3100" y="50600"/>
                    <a:pt x="4589" y="45143"/>
                    <a:pt x="6573" y="40182"/>
                  </a:cubicBezTo>
                  <a:cubicBezTo>
                    <a:pt x="8557" y="34725"/>
                    <a:pt x="9054" y="28772"/>
                    <a:pt x="12526" y="24308"/>
                  </a:cubicBezTo>
                  <a:cubicBezTo>
                    <a:pt x="15998" y="19347"/>
                    <a:pt x="19967" y="15378"/>
                    <a:pt x="23936" y="11906"/>
                  </a:cubicBezTo>
                  <a:cubicBezTo>
                    <a:pt x="28400" y="7937"/>
                    <a:pt x="33858" y="6449"/>
                    <a:pt x="38818" y="4465"/>
                  </a:cubicBezTo>
                  <a:cubicBezTo>
                    <a:pt x="43779" y="2480"/>
                    <a:pt x="49236" y="0"/>
                    <a:pt x="55189" y="0"/>
                  </a:cubicBezTo>
                  <a:cubicBezTo>
                    <a:pt x="60645" y="0"/>
                    <a:pt x="66599" y="1984"/>
                    <a:pt x="71559" y="4465"/>
                  </a:cubicBezTo>
                  <a:cubicBezTo>
                    <a:pt x="76520" y="6449"/>
                    <a:pt x="81481" y="9922"/>
                    <a:pt x="85449" y="13890"/>
                  </a:cubicBezTo>
                  <a:cubicBezTo>
                    <a:pt x="89418" y="17363"/>
                    <a:pt x="91402" y="22819"/>
                    <a:pt x="94379" y="27780"/>
                  </a:cubicBezTo>
                  <a:cubicBezTo>
                    <a:pt x="97355" y="32245"/>
                    <a:pt x="101324" y="36710"/>
                    <a:pt x="103308" y="42167"/>
                  </a:cubicBezTo>
                  <a:cubicBezTo>
                    <a:pt x="105292" y="47127"/>
                    <a:pt x="106285" y="52584"/>
                    <a:pt x="107277" y="58537"/>
                  </a:cubicBezTo>
                  <a:cubicBezTo>
                    <a:pt x="108765" y="63498"/>
                    <a:pt x="108765" y="69451"/>
                    <a:pt x="108765" y="7490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B9DA8A03-7A64-8010-C28F-9C89B935F7DF}"/>
                </a:ext>
              </a:extLst>
            </p:cNvPr>
            <p:cNvSpPr/>
            <p:nvPr/>
          </p:nvSpPr>
          <p:spPr>
            <a:xfrm>
              <a:off x="5987530" y="3981025"/>
              <a:ext cx="61513" cy="13954"/>
            </a:xfrm>
            <a:custGeom>
              <a:avLst/>
              <a:gdLst>
                <a:gd name="connsiteX0" fmla="*/ 0 w 61513"/>
                <a:gd name="connsiteY0" fmla="*/ 0 h 13954"/>
                <a:gd name="connsiteX1" fmla="*/ 14882 w 61513"/>
                <a:gd name="connsiteY1" fmla="*/ 8929 h 13954"/>
                <a:gd name="connsiteX2" fmla="*/ 31749 w 61513"/>
                <a:gd name="connsiteY2" fmla="*/ 13890 h 13954"/>
                <a:gd name="connsiteX3" fmla="*/ 48119 w 61513"/>
                <a:gd name="connsiteY3" fmla="*/ 9426 h 13954"/>
                <a:gd name="connsiteX4" fmla="*/ 61513 w 61513"/>
                <a:gd name="connsiteY4" fmla="*/ 0 h 13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3" h="13954">
                  <a:moveTo>
                    <a:pt x="0" y="0"/>
                  </a:moveTo>
                  <a:cubicBezTo>
                    <a:pt x="6945" y="5457"/>
                    <a:pt x="6449" y="4961"/>
                    <a:pt x="14882" y="8929"/>
                  </a:cubicBezTo>
                  <a:cubicBezTo>
                    <a:pt x="19843" y="10914"/>
                    <a:pt x="25796" y="13394"/>
                    <a:pt x="31749" y="13890"/>
                  </a:cubicBezTo>
                  <a:cubicBezTo>
                    <a:pt x="37206" y="14386"/>
                    <a:pt x="42663" y="11906"/>
                    <a:pt x="48119" y="9426"/>
                  </a:cubicBezTo>
                  <a:cubicBezTo>
                    <a:pt x="52584" y="7441"/>
                    <a:pt x="57545" y="4961"/>
                    <a:pt x="6151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A68A8734-EC40-CC53-7156-A0E675B3E801}"/>
                </a:ext>
              </a:extLst>
            </p:cNvPr>
            <p:cNvSpPr/>
            <p:nvPr/>
          </p:nvSpPr>
          <p:spPr>
            <a:xfrm>
              <a:off x="5985546" y="4060893"/>
              <a:ext cx="97231" cy="148327"/>
            </a:xfrm>
            <a:custGeom>
              <a:avLst/>
              <a:gdLst>
                <a:gd name="connsiteX0" fmla="*/ 0 w 97231"/>
                <a:gd name="connsiteY0" fmla="*/ 0 h 148327"/>
                <a:gd name="connsiteX1" fmla="*/ 7441 w 97231"/>
                <a:gd name="connsiteY1" fmla="*/ 14386 h 148327"/>
                <a:gd name="connsiteX2" fmla="*/ 15874 w 97231"/>
                <a:gd name="connsiteY2" fmla="*/ 28277 h 148327"/>
                <a:gd name="connsiteX3" fmla="*/ 24804 w 97231"/>
                <a:gd name="connsiteY3" fmla="*/ 41671 h 148327"/>
                <a:gd name="connsiteX4" fmla="*/ 34230 w 97231"/>
                <a:gd name="connsiteY4" fmla="*/ 54569 h 148327"/>
                <a:gd name="connsiteX5" fmla="*/ 42663 w 97231"/>
                <a:gd name="connsiteY5" fmla="*/ 67963 h 148327"/>
                <a:gd name="connsiteX6" fmla="*/ 51592 w 97231"/>
                <a:gd name="connsiteY6" fmla="*/ 81357 h 148327"/>
                <a:gd name="connsiteX7" fmla="*/ 59529 w 97231"/>
                <a:gd name="connsiteY7" fmla="*/ 95743 h 148327"/>
                <a:gd name="connsiteX8" fmla="*/ 67466 w 97231"/>
                <a:gd name="connsiteY8" fmla="*/ 109633 h 148327"/>
                <a:gd name="connsiteX9" fmla="*/ 76892 w 97231"/>
                <a:gd name="connsiteY9" fmla="*/ 122531 h 148327"/>
                <a:gd name="connsiteX10" fmla="*/ 86814 w 97231"/>
                <a:gd name="connsiteY10" fmla="*/ 135430 h 148327"/>
                <a:gd name="connsiteX11" fmla="*/ 97231 w 97231"/>
                <a:gd name="connsiteY11" fmla="*/ 148327 h 148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7231" h="148327">
                  <a:moveTo>
                    <a:pt x="0" y="0"/>
                  </a:moveTo>
                  <a:cubicBezTo>
                    <a:pt x="4465" y="6945"/>
                    <a:pt x="1984" y="5953"/>
                    <a:pt x="7441" y="14386"/>
                  </a:cubicBezTo>
                  <a:cubicBezTo>
                    <a:pt x="9922" y="18355"/>
                    <a:pt x="12402" y="22820"/>
                    <a:pt x="15874" y="28277"/>
                  </a:cubicBezTo>
                  <a:cubicBezTo>
                    <a:pt x="18355" y="32741"/>
                    <a:pt x="21828" y="36710"/>
                    <a:pt x="24804" y="41671"/>
                  </a:cubicBezTo>
                  <a:cubicBezTo>
                    <a:pt x="27780" y="46135"/>
                    <a:pt x="31253" y="50104"/>
                    <a:pt x="34230" y="54569"/>
                  </a:cubicBezTo>
                  <a:cubicBezTo>
                    <a:pt x="37206" y="59033"/>
                    <a:pt x="40182" y="63498"/>
                    <a:pt x="42663" y="67963"/>
                  </a:cubicBezTo>
                  <a:cubicBezTo>
                    <a:pt x="45639" y="72428"/>
                    <a:pt x="48615" y="76892"/>
                    <a:pt x="51592" y="81357"/>
                  </a:cubicBezTo>
                  <a:cubicBezTo>
                    <a:pt x="54569" y="85822"/>
                    <a:pt x="56553" y="91278"/>
                    <a:pt x="59529" y="95743"/>
                  </a:cubicBezTo>
                  <a:cubicBezTo>
                    <a:pt x="62506" y="100208"/>
                    <a:pt x="64986" y="105665"/>
                    <a:pt x="67466" y="109633"/>
                  </a:cubicBezTo>
                  <a:cubicBezTo>
                    <a:pt x="70443" y="114594"/>
                    <a:pt x="73916" y="118563"/>
                    <a:pt x="76892" y="122531"/>
                  </a:cubicBezTo>
                  <a:cubicBezTo>
                    <a:pt x="80364" y="127492"/>
                    <a:pt x="83837" y="131461"/>
                    <a:pt x="86814" y="135430"/>
                  </a:cubicBezTo>
                  <a:cubicBezTo>
                    <a:pt x="92270" y="142374"/>
                    <a:pt x="95743" y="148327"/>
                    <a:pt x="97231" y="1483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937239CA-2B30-6580-C8ED-182161428291}"/>
                </a:ext>
              </a:extLst>
            </p:cNvPr>
            <p:cNvSpPr/>
            <p:nvPr/>
          </p:nvSpPr>
          <p:spPr>
            <a:xfrm>
              <a:off x="6019776" y="4051468"/>
              <a:ext cx="71931" cy="140389"/>
            </a:xfrm>
            <a:custGeom>
              <a:avLst/>
              <a:gdLst>
                <a:gd name="connsiteX0" fmla="*/ 0 w 71931"/>
                <a:gd name="connsiteY0" fmla="*/ 0 h 140389"/>
                <a:gd name="connsiteX1" fmla="*/ 5457 w 71931"/>
                <a:gd name="connsiteY1" fmla="*/ 14882 h 140389"/>
                <a:gd name="connsiteX2" fmla="*/ 14386 w 71931"/>
                <a:gd name="connsiteY2" fmla="*/ 27780 h 140389"/>
                <a:gd name="connsiteX3" fmla="*/ 19843 w 71931"/>
                <a:gd name="connsiteY3" fmla="*/ 42663 h 140389"/>
                <a:gd name="connsiteX4" fmla="*/ 29268 w 71931"/>
                <a:gd name="connsiteY4" fmla="*/ 55561 h 140389"/>
                <a:gd name="connsiteX5" fmla="*/ 35717 w 71931"/>
                <a:gd name="connsiteY5" fmla="*/ 69947 h 140389"/>
                <a:gd name="connsiteX6" fmla="*/ 42663 w 71931"/>
                <a:gd name="connsiteY6" fmla="*/ 83837 h 140389"/>
                <a:gd name="connsiteX7" fmla="*/ 50104 w 71931"/>
                <a:gd name="connsiteY7" fmla="*/ 97727 h 140389"/>
                <a:gd name="connsiteX8" fmla="*/ 58041 w 71931"/>
                <a:gd name="connsiteY8" fmla="*/ 111618 h 140389"/>
                <a:gd name="connsiteX9" fmla="*/ 63994 w 71931"/>
                <a:gd name="connsiteY9" fmla="*/ 126500 h 140389"/>
                <a:gd name="connsiteX10" fmla="*/ 71931 w 71931"/>
                <a:gd name="connsiteY10" fmla="*/ 140390 h 14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1931" h="140389">
                  <a:moveTo>
                    <a:pt x="0" y="0"/>
                  </a:moveTo>
                  <a:cubicBezTo>
                    <a:pt x="3472" y="6945"/>
                    <a:pt x="1984" y="7937"/>
                    <a:pt x="5457" y="14882"/>
                  </a:cubicBezTo>
                  <a:cubicBezTo>
                    <a:pt x="8929" y="21827"/>
                    <a:pt x="10913" y="20835"/>
                    <a:pt x="14386" y="27780"/>
                  </a:cubicBezTo>
                  <a:cubicBezTo>
                    <a:pt x="17859" y="34725"/>
                    <a:pt x="15874" y="35718"/>
                    <a:pt x="19843" y="42663"/>
                  </a:cubicBezTo>
                  <a:cubicBezTo>
                    <a:pt x="23315" y="49608"/>
                    <a:pt x="25300" y="48616"/>
                    <a:pt x="29268" y="55561"/>
                  </a:cubicBezTo>
                  <a:cubicBezTo>
                    <a:pt x="32741" y="62506"/>
                    <a:pt x="31749" y="63002"/>
                    <a:pt x="35717" y="69947"/>
                  </a:cubicBezTo>
                  <a:cubicBezTo>
                    <a:pt x="39190" y="76892"/>
                    <a:pt x="39190" y="76892"/>
                    <a:pt x="42663" y="83837"/>
                  </a:cubicBezTo>
                  <a:cubicBezTo>
                    <a:pt x="46135" y="90782"/>
                    <a:pt x="46135" y="90782"/>
                    <a:pt x="50104" y="97727"/>
                  </a:cubicBezTo>
                  <a:cubicBezTo>
                    <a:pt x="53576" y="104672"/>
                    <a:pt x="54569" y="104176"/>
                    <a:pt x="58041" y="111618"/>
                  </a:cubicBezTo>
                  <a:cubicBezTo>
                    <a:pt x="61513" y="118562"/>
                    <a:pt x="60521" y="119059"/>
                    <a:pt x="63994" y="126500"/>
                  </a:cubicBezTo>
                  <a:cubicBezTo>
                    <a:pt x="67466" y="133445"/>
                    <a:pt x="68458" y="132949"/>
                    <a:pt x="71931" y="1403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62C18F8C-2B27-CE4E-BB48-7C9AE3F5127E}"/>
                </a:ext>
              </a:extLst>
            </p:cNvPr>
            <p:cNvSpPr/>
            <p:nvPr/>
          </p:nvSpPr>
          <p:spPr>
            <a:xfrm>
              <a:off x="6084266" y="4174290"/>
              <a:ext cx="42696" cy="28977"/>
            </a:xfrm>
            <a:custGeom>
              <a:avLst/>
              <a:gdLst>
                <a:gd name="connsiteX0" fmla="*/ 15874 w 42696"/>
                <a:gd name="connsiteY0" fmla="*/ 28978 h 28977"/>
                <a:gd name="connsiteX1" fmla="*/ 31749 w 42696"/>
                <a:gd name="connsiteY1" fmla="*/ 19553 h 28977"/>
                <a:gd name="connsiteX2" fmla="*/ 42663 w 42696"/>
                <a:gd name="connsiteY2" fmla="*/ 5166 h 28977"/>
                <a:gd name="connsiteX3" fmla="*/ 29268 w 42696"/>
                <a:gd name="connsiteY3" fmla="*/ 205 h 28977"/>
                <a:gd name="connsiteX4" fmla="*/ 14386 w 42696"/>
                <a:gd name="connsiteY4" fmla="*/ 701 h 28977"/>
                <a:gd name="connsiteX5" fmla="*/ 0 w 42696"/>
                <a:gd name="connsiteY5" fmla="*/ 4670 h 28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96" h="28977">
                  <a:moveTo>
                    <a:pt x="15874" y="28978"/>
                  </a:moveTo>
                  <a:cubicBezTo>
                    <a:pt x="23315" y="23521"/>
                    <a:pt x="24804" y="25505"/>
                    <a:pt x="31749" y="19553"/>
                  </a:cubicBezTo>
                  <a:cubicBezTo>
                    <a:pt x="38198" y="14592"/>
                    <a:pt x="43159" y="7647"/>
                    <a:pt x="42663" y="5166"/>
                  </a:cubicBezTo>
                  <a:cubicBezTo>
                    <a:pt x="42167" y="2686"/>
                    <a:pt x="36709" y="701"/>
                    <a:pt x="29268" y="205"/>
                  </a:cubicBezTo>
                  <a:cubicBezTo>
                    <a:pt x="24804" y="-291"/>
                    <a:pt x="19347" y="205"/>
                    <a:pt x="14386" y="701"/>
                  </a:cubicBezTo>
                  <a:cubicBezTo>
                    <a:pt x="8929" y="1198"/>
                    <a:pt x="3472" y="2190"/>
                    <a:pt x="0" y="4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34019C3-8634-B10F-7DFC-3A802FD6A651}"/>
                </a:ext>
              </a:extLst>
            </p:cNvPr>
            <p:cNvSpPr/>
            <p:nvPr/>
          </p:nvSpPr>
          <p:spPr>
            <a:xfrm>
              <a:off x="6125440" y="4195826"/>
              <a:ext cx="12401" cy="17858"/>
            </a:xfrm>
            <a:custGeom>
              <a:avLst/>
              <a:gdLst>
                <a:gd name="connsiteX0" fmla="*/ 0 w 12401"/>
                <a:gd name="connsiteY0" fmla="*/ 0 h 17858"/>
                <a:gd name="connsiteX1" fmla="*/ 12402 w 12401"/>
                <a:gd name="connsiteY1" fmla="*/ 17859 h 17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01" h="17858">
                  <a:moveTo>
                    <a:pt x="0" y="0"/>
                  </a:moveTo>
                  <a:cubicBezTo>
                    <a:pt x="6945" y="8433"/>
                    <a:pt x="5953" y="9426"/>
                    <a:pt x="12402" y="17859"/>
                  </a:cubicBezTo>
                </a:path>
              </a:pathLst>
            </a:custGeom>
            <a:noFill/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7" name="Freeform: Shape 1486">
              <a:extLst>
                <a:ext uri="{FF2B5EF4-FFF2-40B4-BE49-F238E27FC236}">
                  <a16:creationId xmlns:a16="http://schemas.microsoft.com/office/drawing/2014/main" id="{7219C7F3-502B-201D-32E0-55237560090F}"/>
                </a:ext>
              </a:extLst>
            </p:cNvPr>
            <p:cNvSpPr/>
            <p:nvPr/>
          </p:nvSpPr>
          <p:spPr>
            <a:xfrm>
              <a:off x="6089226" y="4152172"/>
              <a:ext cx="15874" cy="22323"/>
            </a:xfrm>
            <a:custGeom>
              <a:avLst/>
              <a:gdLst>
                <a:gd name="connsiteX0" fmla="*/ 0 w 15874"/>
                <a:gd name="connsiteY0" fmla="*/ 0 h 22323"/>
                <a:gd name="connsiteX1" fmla="*/ 8433 w 15874"/>
                <a:gd name="connsiteY1" fmla="*/ 10914 h 22323"/>
                <a:gd name="connsiteX2" fmla="*/ 15874 w 15874"/>
                <a:gd name="connsiteY2" fmla="*/ 22324 h 2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74" h="22323">
                  <a:moveTo>
                    <a:pt x="0" y="0"/>
                  </a:moveTo>
                  <a:cubicBezTo>
                    <a:pt x="4464" y="5457"/>
                    <a:pt x="4464" y="5457"/>
                    <a:pt x="8433" y="10914"/>
                  </a:cubicBezTo>
                  <a:cubicBezTo>
                    <a:pt x="12898" y="16371"/>
                    <a:pt x="11409" y="17363"/>
                    <a:pt x="15874" y="2232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61F3BD0F-EE86-C2C1-EAEA-D1F623D0976A}"/>
                </a:ext>
              </a:extLst>
            </p:cNvPr>
            <p:cNvSpPr/>
            <p:nvPr/>
          </p:nvSpPr>
          <p:spPr>
            <a:xfrm>
              <a:off x="6137842" y="4212197"/>
              <a:ext cx="2675" cy="2806"/>
            </a:xfrm>
            <a:custGeom>
              <a:avLst/>
              <a:gdLst>
                <a:gd name="connsiteX0" fmla="*/ 1984 w 2675"/>
                <a:gd name="connsiteY0" fmla="*/ 2480 h 2806"/>
                <a:gd name="connsiteX1" fmla="*/ 0 w 2675"/>
                <a:gd name="connsiteY1" fmla="*/ 1984 h 2806"/>
                <a:gd name="connsiteX2" fmla="*/ 1488 w 2675"/>
                <a:gd name="connsiteY2" fmla="*/ 0 h 2806"/>
                <a:gd name="connsiteX3" fmla="*/ 1984 w 2675"/>
                <a:gd name="connsiteY3" fmla="*/ 2480 h 2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5" h="2806">
                  <a:moveTo>
                    <a:pt x="1984" y="2480"/>
                  </a:moveTo>
                  <a:cubicBezTo>
                    <a:pt x="1488" y="2977"/>
                    <a:pt x="0" y="2977"/>
                    <a:pt x="0" y="1984"/>
                  </a:cubicBezTo>
                  <a:cubicBezTo>
                    <a:pt x="0" y="496"/>
                    <a:pt x="0" y="0"/>
                    <a:pt x="1488" y="0"/>
                  </a:cubicBezTo>
                  <a:cubicBezTo>
                    <a:pt x="2976" y="0"/>
                    <a:pt x="2976" y="1984"/>
                    <a:pt x="1984" y="2480"/>
                  </a:cubicBezTo>
                  <a:close/>
                </a:path>
              </a:pathLst>
            </a:custGeom>
            <a:noFill/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8A681313-5302-F143-1ECB-F71F41EEF2BB}"/>
                </a:ext>
              </a:extLst>
            </p:cNvPr>
            <p:cNvSpPr/>
            <p:nvPr/>
          </p:nvSpPr>
          <p:spPr>
            <a:xfrm>
              <a:off x="6113038" y="4156283"/>
              <a:ext cx="166096" cy="76252"/>
            </a:xfrm>
            <a:custGeom>
              <a:avLst/>
              <a:gdLst>
                <a:gd name="connsiteX0" fmla="*/ 0 w 166096"/>
                <a:gd name="connsiteY0" fmla="*/ 76253 h 76252"/>
                <a:gd name="connsiteX1" fmla="*/ 16371 w 166096"/>
                <a:gd name="connsiteY1" fmla="*/ 75261 h 76252"/>
                <a:gd name="connsiteX2" fmla="*/ 32741 w 166096"/>
                <a:gd name="connsiteY2" fmla="*/ 72780 h 76252"/>
                <a:gd name="connsiteX3" fmla="*/ 49112 w 166096"/>
                <a:gd name="connsiteY3" fmla="*/ 71788 h 76252"/>
                <a:gd name="connsiteX4" fmla="*/ 65483 w 166096"/>
                <a:gd name="connsiteY4" fmla="*/ 69804 h 76252"/>
                <a:gd name="connsiteX5" fmla="*/ 81853 w 166096"/>
                <a:gd name="connsiteY5" fmla="*/ 66331 h 76252"/>
                <a:gd name="connsiteX6" fmla="*/ 98720 w 166096"/>
                <a:gd name="connsiteY6" fmla="*/ 66331 h 76252"/>
                <a:gd name="connsiteX7" fmla="*/ 115090 w 166096"/>
                <a:gd name="connsiteY7" fmla="*/ 62859 h 76252"/>
                <a:gd name="connsiteX8" fmla="*/ 131957 w 166096"/>
                <a:gd name="connsiteY8" fmla="*/ 62859 h 76252"/>
                <a:gd name="connsiteX9" fmla="*/ 148327 w 166096"/>
                <a:gd name="connsiteY9" fmla="*/ 60874 h 76252"/>
                <a:gd name="connsiteX10" fmla="*/ 165690 w 166096"/>
                <a:gd name="connsiteY10" fmla="*/ 58890 h 76252"/>
                <a:gd name="connsiteX11" fmla="*/ 152296 w 166096"/>
                <a:gd name="connsiteY11" fmla="*/ 49465 h 76252"/>
                <a:gd name="connsiteX12" fmla="*/ 138406 w 166096"/>
                <a:gd name="connsiteY12" fmla="*/ 43016 h 76252"/>
                <a:gd name="connsiteX13" fmla="*/ 126996 w 166096"/>
                <a:gd name="connsiteY13" fmla="*/ 33094 h 76252"/>
                <a:gd name="connsiteX14" fmla="*/ 113602 w 166096"/>
                <a:gd name="connsiteY14" fmla="*/ 26149 h 76252"/>
                <a:gd name="connsiteX15" fmla="*/ 101200 w 166096"/>
                <a:gd name="connsiteY15" fmla="*/ 17716 h 76252"/>
                <a:gd name="connsiteX16" fmla="*/ 88302 w 166096"/>
                <a:gd name="connsiteY16" fmla="*/ 9778 h 76252"/>
                <a:gd name="connsiteX17" fmla="*/ 75900 w 166096"/>
                <a:gd name="connsiteY17" fmla="*/ 849 h 76252"/>
                <a:gd name="connsiteX18" fmla="*/ 59033 w 166096"/>
                <a:gd name="connsiteY18" fmla="*/ 1841 h 76252"/>
                <a:gd name="connsiteX19" fmla="*/ 42167 w 166096"/>
                <a:gd name="connsiteY19" fmla="*/ 4818 h 76252"/>
                <a:gd name="connsiteX20" fmla="*/ 25300 w 166096"/>
                <a:gd name="connsiteY20" fmla="*/ 6802 h 76252"/>
                <a:gd name="connsiteX21" fmla="*/ 8434 w 166096"/>
                <a:gd name="connsiteY21" fmla="*/ 6802 h 76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6096" h="76252">
                  <a:moveTo>
                    <a:pt x="0" y="76253"/>
                  </a:moveTo>
                  <a:cubicBezTo>
                    <a:pt x="8434" y="75261"/>
                    <a:pt x="8434" y="76253"/>
                    <a:pt x="16371" y="75261"/>
                  </a:cubicBezTo>
                  <a:cubicBezTo>
                    <a:pt x="24804" y="74269"/>
                    <a:pt x="24308" y="73773"/>
                    <a:pt x="32741" y="72780"/>
                  </a:cubicBezTo>
                  <a:cubicBezTo>
                    <a:pt x="41175" y="71788"/>
                    <a:pt x="41175" y="72780"/>
                    <a:pt x="49112" y="71788"/>
                  </a:cubicBezTo>
                  <a:cubicBezTo>
                    <a:pt x="57545" y="70796"/>
                    <a:pt x="57545" y="70796"/>
                    <a:pt x="65483" y="69804"/>
                  </a:cubicBezTo>
                  <a:cubicBezTo>
                    <a:pt x="73916" y="68812"/>
                    <a:pt x="73420" y="67324"/>
                    <a:pt x="81853" y="66331"/>
                  </a:cubicBezTo>
                  <a:cubicBezTo>
                    <a:pt x="90287" y="65339"/>
                    <a:pt x="90287" y="67324"/>
                    <a:pt x="98720" y="66331"/>
                  </a:cubicBezTo>
                  <a:cubicBezTo>
                    <a:pt x="107153" y="65339"/>
                    <a:pt x="106657" y="63851"/>
                    <a:pt x="115090" y="62859"/>
                  </a:cubicBezTo>
                  <a:cubicBezTo>
                    <a:pt x="123524" y="61867"/>
                    <a:pt x="123524" y="63851"/>
                    <a:pt x="131957" y="62859"/>
                  </a:cubicBezTo>
                  <a:cubicBezTo>
                    <a:pt x="140390" y="61867"/>
                    <a:pt x="140390" y="61867"/>
                    <a:pt x="148327" y="60874"/>
                  </a:cubicBezTo>
                  <a:cubicBezTo>
                    <a:pt x="156761" y="59882"/>
                    <a:pt x="162714" y="66331"/>
                    <a:pt x="165690" y="58890"/>
                  </a:cubicBezTo>
                  <a:cubicBezTo>
                    <a:pt x="168171" y="51945"/>
                    <a:pt x="158745" y="53433"/>
                    <a:pt x="152296" y="49465"/>
                  </a:cubicBezTo>
                  <a:cubicBezTo>
                    <a:pt x="145847" y="45496"/>
                    <a:pt x="144855" y="46984"/>
                    <a:pt x="138406" y="43016"/>
                  </a:cubicBezTo>
                  <a:cubicBezTo>
                    <a:pt x="131957" y="39047"/>
                    <a:pt x="133445" y="37063"/>
                    <a:pt x="126996" y="33094"/>
                  </a:cubicBezTo>
                  <a:cubicBezTo>
                    <a:pt x="120547" y="29126"/>
                    <a:pt x="119555" y="30614"/>
                    <a:pt x="113602" y="26149"/>
                  </a:cubicBezTo>
                  <a:cubicBezTo>
                    <a:pt x="107153" y="22180"/>
                    <a:pt x="107649" y="21684"/>
                    <a:pt x="101200" y="17716"/>
                  </a:cubicBezTo>
                  <a:cubicBezTo>
                    <a:pt x="94751" y="13747"/>
                    <a:pt x="94751" y="13747"/>
                    <a:pt x="88302" y="9778"/>
                  </a:cubicBezTo>
                  <a:cubicBezTo>
                    <a:pt x="81853" y="5810"/>
                    <a:pt x="83341" y="2834"/>
                    <a:pt x="75900" y="849"/>
                  </a:cubicBezTo>
                  <a:cubicBezTo>
                    <a:pt x="67466" y="-1135"/>
                    <a:pt x="67466" y="849"/>
                    <a:pt x="59033" y="1841"/>
                  </a:cubicBezTo>
                  <a:cubicBezTo>
                    <a:pt x="50600" y="2834"/>
                    <a:pt x="50600" y="3825"/>
                    <a:pt x="42167" y="4818"/>
                  </a:cubicBezTo>
                  <a:cubicBezTo>
                    <a:pt x="33734" y="5810"/>
                    <a:pt x="33734" y="6306"/>
                    <a:pt x="25300" y="6802"/>
                  </a:cubicBezTo>
                  <a:cubicBezTo>
                    <a:pt x="16867" y="7794"/>
                    <a:pt x="16867" y="6306"/>
                    <a:pt x="8434" y="68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91F53D95-7C9E-6370-B333-C35D2A2CC4AB}"/>
                </a:ext>
              </a:extLst>
            </p:cNvPr>
            <p:cNvSpPr/>
            <p:nvPr/>
          </p:nvSpPr>
          <p:spPr>
            <a:xfrm>
              <a:off x="5920560" y="4006325"/>
              <a:ext cx="38197" cy="107153"/>
            </a:xfrm>
            <a:custGeom>
              <a:avLst/>
              <a:gdLst>
                <a:gd name="connsiteX0" fmla="*/ 38198 w 38197"/>
                <a:gd name="connsiteY0" fmla="*/ 0 h 107153"/>
                <a:gd name="connsiteX1" fmla="*/ 31749 w 38197"/>
                <a:gd name="connsiteY1" fmla="*/ 14882 h 107153"/>
                <a:gd name="connsiteX2" fmla="*/ 25796 w 38197"/>
                <a:gd name="connsiteY2" fmla="*/ 30261 h 107153"/>
                <a:gd name="connsiteX3" fmla="*/ 21827 w 38197"/>
                <a:gd name="connsiteY3" fmla="*/ 46135 h 107153"/>
                <a:gd name="connsiteX4" fmla="*/ 16370 w 38197"/>
                <a:gd name="connsiteY4" fmla="*/ 61514 h 107153"/>
                <a:gd name="connsiteX5" fmla="*/ 10418 w 38197"/>
                <a:gd name="connsiteY5" fmla="*/ 76396 h 107153"/>
                <a:gd name="connsiteX6" fmla="*/ 5457 w 38197"/>
                <a:gd name="connsiteY6" fmla="*/ 91774 h 107153"/>
                <a:gd name="connsiteX7" fmla="*/ 0 w 38197"/>
                <a:gd name="connsiteY7" fmla="*/ 107153 h 10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97" h="107153">
                  <a:moveTo>
                    <a:pt x="38198" y="0"/>
                  </a:moveTo>
                  <a:cubicBezTo>
                    <a:pt x="35717" y="7441"/>
                    <a:pt x="34229" y="7441"/>
                    <a:pt x="31749" y="14882"/>
                  </a:cubicBezTo>
                  <a:cubicBezTo>
                    <a:pt x="29268" y="22324"/>
                    <a:pt x="28772" y="22324"/>
                    <a:pt x="25796" y="30261"/>
                  </a:cubicBezTo>
                  <a:cubicBezTo>
                    <a:pt x="23315" y="37702"/>
                    <a:pt x="24804" y="38694"/>
                    <a:pt x="21827" y="46135"/>
                  </a:cubicBezTo>
                  <a:cubicBezTo>
                    <a:pt x="19347" y="53577"/>
                    <a:pt x="19347" y="54073"/>
                    <a:pt x="16370" y="61514"/>
                  </a:cubicBezTo>
                  <a:cubicBezTo>
                    <a:pt x="13890" y="68955"/>
                    <a:pt x="12898" y="68955"/>
                    <a:pt x="10418" y="76396"/>
                  </a:cubicBezTo>
                  <a:cubicBezTo>
                    <a:pt x="7937" y="83837"/>
                    <a:pt x="8433" y="84333"/>
                    <a:pt x="5457" y="91774"/>
                  </a:cubicBezTo>
                  <a:cubicBezTo>
                    <a:pt x="2480" y="99216"/>
                    <a:pt x="2976" y="99712"/>
                    <a:pt x="0" y="1071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6D281C96-BC53-05F4-CD9C-E2FE52E02FD5}"/>
                </a:ext>
              </a:extLst>
            </p:cNvPr>
            <p:cNvSpPr/>
            <p:nvPr/>
          </p:nvSpPr>
          <p:spPr>
            <a:xfrm>
              <a:off x="6004893" y="4100579"/>
              <a:ext cx="37205" cy="283756"/>
            </a:xfrm>
            <a:custGeom>
              <a:avLst/>
              <a:gdLst>
                <a:gd name="connsiteX0" fmla="*/ 496 w 37205"/>
                <a:gd name="connsiteY0" fmla="*/ 0 h 283756"/>
                <a:gd name="connsiteX1" fmla="*/ 0 w 37205"/>
                <a:gd name="connsiteY1" fmla="*/ 16867 h 283756"/>
                <a:gd name="connsiteX2" fmla="*/ 0 w 37205"/>
                <a:gd name="connsiteY2" fmla="*/ 33734 h 283756"/>
                <a:gd name="connsiteX3" fmla="*/ 0 w 37205"/>
                <a:gd name="connsiteY3" fmla="*/ 50600 h 283756"/>
                <a:gd name="connsiteX4" fmla="*/ 496 w 37205"/>
                <a:gd name="connsiteY4" fmla="*/ 67467 h 283756"/>
                <a:gd name="connsiteX5" fmla="*/ 496 w 37205"/>
                <a:gd name="connsiteY5" fmla="*/ 84333 h 283756"/>
                <a:gd name="connsiteX6" fmla="*/ 496 w 37205"/>
                <a:gd name="connsiteY6" fmla="*/ 101200 h 283756"/>
                <a:gd name="connsiteX7" fmla="*/ 1984 w 37205"/>
                <a:gd name="connsiteY7" fmla="*/ 118067 h 283756"/>
                <a:gd name="connsiteX8" fmla="*/ 1488 w 37205"/>
                <a:gd name="connsiteY8" fmla="*/ 134933 h 283756"/>
                <a:gd name="connsiteX9" fmla="*/ 1984 w 37205"/>
                <a:gd name="connsiteY9" fmla="*/ 151800 h 283756"/>
                <a:gd name="connsiteX10" fmla="*/ 4961 w 37205"/>
                <a:gd name="connsiteY10" fmla="*/ 168666 h 283756"/>
                <a:gd name="connsiteX11" fmla="*/ 8929 w 37205"/>
                <a:gd name="connsiteY11" fmla="*/ 185533 h 283756"/>
                <a:gd name="connsiteX12" fmla="*/ 13394 w 37205"/>
                <a:gd name="connsiteY12" fmla="*/ 201904 h 283756"/>
                <a:gd name="connsiteX13" fmla="*/ 18355 w 37205"/>
                <a:gd name="connsiteY13" fmla="*/ 218274 h 283756"/>
                <a:gd name="connsiteX14" fmla="*/ 22819 w 37205"/>
                <a:gd name="connsiteY14" fmla="*/ 234645 h 283756"/>
                <a:gd name="connsiteX15" fmla="*/ 27284 w 37205"/>
                <a:gd name="connsiteY15" fmla="*/ 251016 h 283756"/>
                <a:gd name="connsiteX16" fmla="*/ 32741 w 37205"/>
                <a:gd name="connsiteY16" fmla="*/ 267386 h 283756"/>
                <a:gd name="connsiteX17" fmla="*/ 37206 w 37205"/>
                <a:gd name="connsiteY17" fmla="*/ 283757 h 283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7205" h="283756">
                  <a:moveTo>
                    <a:pt x="496" y="0"/>
                  </a:moveTo>
                  <a:cubicBezTo>
                    <a:pt x="496" y="8433"/>
                    <a:pt x="0" y="8433"/>
                    <a:pt x="0" y="16867"/>
                  </a:cubicBezTo>
                  <a:cubicBezTo>
                    <a:pt x="0" y="25300"/>
                    <a:pt x="496" y="25300"/>
                    <a:pt x="0" y="33734"/>
                  </a:cubicBezTo>
                  <a:cubicBezTo>
                    <a:pt x="0" y="42167"/>
                    <a:pt x="0" y="42167"/>
                    <a:pt x="0" y="50600"/>
                  </a:cubicBezTo>
                  <a:cubicBezTo>
                    <a:pt x="0" y="59033"/>
                    <a:pt x="496" y="59033"/>
                    <a:pt x="496" y="67467"/>
                  </a:cubicBezTo>
                  <a:cubicBezTo>
                    <a:pt x="496" y="75900"/>
                    <a:pt x="496" y="75900"/>
                    <a:pt x="496" y="84333"/>
                  </a:cubicBezTo>
                  <a:cubicBezTo>
                    <a:pt x="496" y="92767"/>
                    <a:pt x="496" y="92767"/>
                    <a:pt x="496" y="101200"/>
                  </a:cubicBezTo>
                  <a:cubicBezTo>
                    <a:pt x="496" y="109633"/>
                    <a:pt x="1984" y="109633"/>
                    <a:pt x="1984" y="118067"/>
                  </a:cubicBezTo>
                  <a:cubicBezTo>
                    <a:pt x="1984" y="126500"/>
                    <a:pt x="1488" y="126500"/>
                    <a:pt x="1488" y="134933"/>
                  </a:cubicBezTo>
                  <a:cubicBezTo>
                    <a:pt x="1488" y="143367"/>
                    <a:pt x="992" y="143367"/>
                    <a:pt x="1984" y="151800"/>
                  </a:cubicBezTo>
                  <a:cubicBezTo>
                    <a:pt x="2976" y="160233"/>
                    <a:pt x="2480" y="160233"/>
                    <a:pt x="4961" y="168666"/>
                  </a:cubicBezTo>
                  <a:cubicBezTo>
                    <a:pt x="6945" y="177100"/>
                    <a:pt x="6449" y="177100"/>
                    <a:pt x="8929" y="185533"/>
                  </a:cubicBezTo>
                  <a:cubicBezTo>
                    <a:pt x="10913" y="193967"/>
                    <a:pt x="11409" y="193967"/>
                    <a:pt x="13394" y="201904"/>
                  </a:cubicBezTo>
                  <a:cubicBezTo>
                    <a:pt x="15378" y="210337"/>
                    <a:pt x="16370" y="209841"/>
                    <a:pt x="18355" y="218274"/>
                  </a:cubicBezTo>
                  <a:cubicBezTo>
                    <a:pt x="20339" y="226708"/>
                    <a:pt x="20835" y="226708"/>
                    <a:pt x="22819" y="234645"/>
                  </a:cubicBezTo>
                  <a:cubicBezTo>
                    <a:pt x="24804" y="243078"/>
                    <a:pt x="24804" y="243078"/>
                    <a:pt x="27284" y="251016"/>
                  </a:cubicBezTo>
                  <a:cubicBezTo>
                    <a:pt x="29268" y="259449"/>
                    <a:pt x="30757" y="258953"/>
                    <a:pt x="32741" y="267386"/>
                  </a:cubicBezTo>
                  <a:cubicBezTo>
                    <a:pt x="34725" y="275820"/>
                    <a:pt x="34725" y="275820"/>
                    <a:pt x="37206" y="28375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377C8FEF-D6C4-3054-234A-2AD62AA21748}"/>
                </a:ext>
              </a:extLst>
            </p:cNvPr>
            <p:cNvSpPr/>
            <p:nvPr/>
          </p:nvSpPr>
          <p:spPr>
            <a:xfrm>
              <a:off x="5935938" y="4237001"/>
              <a:ext cx="62505" cy="151303"/>
            </a:xfrm>
            <a:custGeom>
              <a:avLst/>
              <a:gdLst>
                <a:gd name="connsiteX0" fmla="*/ 62506 w 62505"/>
                <a:gd name="connsiteY0" fmla="*/ 151304 h 151303"/>
                <a:gd name="connsiteX1" fmla="*/ 57049 w 62505"/>
                <a:gd name="connsiteY1" fmla="*/ 135925 h 151303"/>
                <a:gd name="connsiteX2" fmla="*/ 50600 w 62505"/>
                <a:gd name="connsiteY2" fmla="*/ 121043 h 151303"/>
                <a:gd name="connsiteX3" fmla="*/ 43654 w 62505"/>
                <a:gd name="connsiteY3" fmla="*/ 106161 h 151303"/>
                <a:gd name="connsiteX4" fmla="*/ 38198 w 62505"/>
                <a:gd name="connsiteY4" fmla="*/ 90783 h 151303"/>
                <a:gd name="connsiteX5" fmla="*/ 31749 w 62505"/>
                <a:gd name="connsiteY5" fmla="*/ 75900 h 151303"/>
                <a:gd name="connsiteX6" fmla="*/ 25300 w 62505"/>
                <a:gd name="connsiteY6" fmla="*/ 60522 h 151303"/>
                <a:gd name="connsiteX7" fmla="*/ 18851 w 62505"/>
                <a:gd name="connsiteY7" fmla="*/ 45639 h 151303"/>
                <a:gd name="connsiteX8" fmla="*/ 11409 w 62505"/>
                <a:gd name="connsiteY8" fmla="*/ 30757 h 151303"/>
                <a:gd name="connsiteX9" fmla="*/ 5953 w 62505"/>
                <a:gd name="connsiteY9" fmla="*/ 15379 h 151303"/>
                <a:gd name="connsiteX10" fmla="*/ 0 w 62505"/>
                <a:gd name="connsiteY10" fmla="*/ 0 h 151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505" h="151303">
                  <a:moveTo>
                    <a:pt x="62506" y="151304"/>
                  </a:moveTo>
                  <a:cubicBezTo>
                    <a:pt x="59529" y="143863"/>
                    <a:pt x="60521" y="143367"/>
                    <a:pt x="57049" y="135925"/>
                  </a:cubicBezTo>
                  <a:cubicBezTo>
                    <a:pt x="54073" y="128484"/>
                    <a:pt x="53576" y="128484"/>
                    <a:pt x="50600" y="121043"/>
                  </a:cubicBezTo>
                  <a:cubicBezTo>
                    <a:pt x="47623" y="113602"/>
                    <a:pt x="47127" y="113602"/>
                    <a:pt x="43654" y="106161"/>
                  </a:cubicBezTo>
                  <a:cubicBezTo>
                    <a:pt x="40678" y="98720"/>
                    <a:pt x="41174" y="98224"/>
                    <a:pt x="38198" y="90783"/>
                  </a:cubicBezTo>
                  <a:cubicBezTo>
                    <a:pt x="35221" y="83341"/>
                    <a:pt x="34725" y="83341"/>
                    <a:pt x="31749" y="75900"/>
                  </a:cubicBezTo>
                  <a:cubicBezTo>
                    <a:pt x="28772" y="68459"/>
                    <a:pt x="28276" y="68459"/>
                    <a:pt x="25300" y="60522"/>
                  </a:cubicBezTo>
                  <a:cubicBezTo>
                    <a:pt x="22324" y="53080"/>
                    <a:pt x="21828" y="53080"/>
                    <a:pt x="18851" y="45639"/>
                  </a:cubicBezTo>
                  <a:cubicBezTo>
                    <a:pt x="15874" y="38198"/>
                    <a:pt x="14882" y="38694"/>
                    <a:pt x="11409" y="30757"/>
                  </a:cubicBezTo>
                  <a:cubicBezTo>
                    <a:pt x="8433" y="23316"/>
                    <a:pt x="8929" y="22820"/>
                    <a:pt x="5953" y="15379"/>
                  </a:cubicBezTo>
                  <a:cubicBezTo>
                    <a:pt x="2976" y="7937"/>
                    <a:pt x="2976" y="744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67C4EC2F-CC16-4AE1-EB4E-9A6C149D64DF}"/>
                </a:ext>
              </a:extLst>
            </p:cNvPr>
            <p:cNvSpPr/>
            <p:nvPr/>
          </p:nvSpPr>
          <p:spPr>
            <a:xfrm>
              <a:off x="5921056" y="4305956"/>
              <a:ext cx="25795" cy="67466"/>
            </a:xfrm>
            <a:custGeom>
              <a:avLst/>
              <a:gdLst>
                <a:gd name="connsiteX0" fmla="*/ 25796 w 25795"/>
                <a:gd name="connsiteY0" fmla="*/ 0 h 67466"/>
                <a:gd name="connsiteX1" fmla="*/ 19347 w 25795"/>
                <a:gd name="connsiteY1" fmla="*/ 16867 h 67466"/>
                <a:gd name="connsiteX2" fmla="*/ 13890 w 25795"/>
                <a:gd name="connsiteY2" fmla="*/ 34229 h 67466"/>
                <a:gd name="connsiteX3" fmla="*/ 7937 w 25795"/>
                <a:gd name="connsiteY3" fmla="*/ 51096 h 67466"/>
                <a:gd name="connsiteX4" fmla="*/ 0 w 25795"/>
                <a:gd name="connsiteY4" fmla="*/ 67466 h 67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95" h="67466">
                  <a:moveTo>
                    <a:pt x="25796" y="0"/>
                  </a:moveTo>
                  <a:cubicBezTo>
                    <a:pt x="22819" y="8433"/>
                    <a:pt x="22324" y="8433"/>
                    <a:pt x="19347" y="16867"/>
                  </a:cubicBezTo>
                  <a:cubicBezTo>
                    <a:pt x="16370" y="25300"/>
                    <a:pt x="16867" y="25796"/>
                    <a:pt x="13890" y="34229"/>
                  </a:cubicBezTo>
                  <a:cubicBezTo>
                    <a:pt x="10913" y="42663"/>
                    <a:pt x="10913" y="42663"/>
                    <a:pt x="7937" y="51096"/>
                  </a:cubicBezTo>
                  <a:cubicBezTo>
                    <a:pt x="4961" y="59529"/>
                    <a:pt x="2976" y="59033"/>
                    <a:pt x="0" y="6746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818AED8A-8222-5E58-C02D-850CB3C6FB5C}"/>
                </a:ext>
              </a:extLst>
            </p:cNvPr>
            <p:cNvSpPr/>
            <p:nvPr/>
          </p:nvSpPr>
          <p:spPr>
            <a:xfrm>
              <a:off x="5922048" y="4229560"/>
              <a:ext cx="83837" cy="22819"/>
            </a:xfrm>
            <a:custGeom>
              <a:avLst/>
              <a:gdLst>
                <a:gd name="connsiteX0" fmla="*/ 83837 w 83837"/>
                <a:gd name="connsiteY0" fmla="*/ 22820 h 22819"/>
                <a:gd name="connsiteX1" fmla="*/ 66475 w 83837"/>
                <a:gd name="connsiteY1" fmla="*/ 20339 h 22819"/>
                <a:gd name="connsiteX2" fmla="*/ 50104 w 83837"/>
                <a:gd name="connsiteY2" fmla="*/ 14882 h 22819"/>
                <a:gd name="connsiteX3" fmla="*/ 33238 w 83837"/>
                <a:gd name="connsiteY3" fmla="*/ 10418 h 22819"/>
                <a:gd name="connsiteX4" fmla="*/ 16867 w 83837"/>
                <a:gd name="connsiteY4" fmla="*/ 4961 h 22819"/>
                <a:gd name="connsiteX5" fmla="*/ 0 w 83837"/>
                <a:gd name="connsiteY5" fmla="*/ 0 h 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837" h="22819">
                  <a:moveTo>
                    <a:pt x="83837" y="22820"/>
                  </a:moveTo>
                  <a:cubicBezTo>
                    <a:pt x="75404" y="20339"/>
                    <a:pt x="74908" y="22324"/>
                    <a:pt x="66475" y="20339"/>
                  </a:cubicBezTo>
                  <a:cubicBezTo>
                    <a:pt x="58041" y="17859"/>
                    <a:pt x="58537" y="16867"/>
                    <a:pt x="50104" y="14882"/>
                  </a:cubicBezTo>
                  <a:cubicBezTo>
                    <a:pt x="41671" y="12402"/>
                    <a:pt x="41671" y="12898"/>
                    <a:pt x="33238" y="10418"/>
                  </a:cubicBezTo>
                  <a:cubicBezTo>
                    <a:pt x="24804" y="7937"/>
                    <a:pt x="25300" y="7441"/>
                    <a:pt x="16867" y="4961"/>
                  </a:cubicBezTo>
                  <a:cubicBezTo>
                    <a:pt x="8434" y="2480"/>
                    <a:pt x="8434" y="248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51BE21DB-A45C-A9F4-7215-51E8632174CF}"/>
                </a:ext>
              </a:extLst>
            </p:cNvPr>
            <p:cNvSpPr/>
            <p:nvPr/>
          </p:nvSpPr>
          <p:spPr>
            <a:xfrm>
              <a:off x="6062438" y="3904629"/>
              <a:ext cx="2976" cy="12401"/>
            </a:xfrm>
            <a:custGeom>
              <a:avLst/>
              <a:gdLst>
                <a:gd name="connsiteX0" fmla="*/ 0 w 2976"/>
                <a:gd name="connsiteY0" fmla="*/ 0 h 12401"/>
                <a:gd name="connsiteX1" fmla="*/ 2976 w 2976"/>
                <a:gd name="connsiteY1" fmla="*/ 12402 h 1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" h="12401">
                  <a:moveTo>
                    <a:pt x="0" y="0"/>
                  </a:moveTo>
                  <a:cubicBezTo>
                    <a:pt x="496" y="6449"/>
                    <a:pt x="2480" y="6449"/>
                    <a:pt x="2976" y="124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4E43C7F1-D53C-1DB7-988C-55D381DF975E}"/>
                </a:ext>
              </a:extLst>
            </p:cNvPr>
            <p:cNvSpPr/>
            <p:nvPr/>
          </p:nvSpPr>
          <p:spPr>
            <a:xfrm>
              <a:off x="6061446" y="5012867"/>
              <a:ext cx="2976" cy="238117"/>
            </a:xfrm>
            <a:custGeom>
              <a:avLst/>
              <a:gdLst>
                <a:gd name="connsiteX0" fmla="*/ 497 w 2976"/>
                <a:gd name="connsiteY0" fmla="*/ 0 h 238117"/>
                <a:gd name="connsiteX1" fmla="*/ 1488 w 2976"/>
                <a:gd name="connsiteY1" fmla="*/ 15875 h 238117"/>
                <a:gd name="connsiteX2" fmla="*/ 497 w 2976"/>
                <a:gd name="connsiteY2" fmla="*/ 31749 h 238117"/>
                <a:gd name="connsiteX3" fmla="*/ 497 w 2976"/>
                <a:gd name="connsiteY3" fmla="*/ 47623 h 238117"/>
                <a:gd name="connsiteX4" fmla="*/ 1984 w 2976"/>
                <a:gd name="connsiteY4" fmla="*/ 63498 h 238117"/>
                <a:gd name="connsiteX5" fmla="*/ 1984 w 2976"/>
                <a:gd name="connsiteY5" fmla="*/ 79372 h 238117"/>
                <a:gd name="connsiteX6" fmla="*/ 0 w 2976"/>
                <a:gd name="connsiteY6" fmla="*/ 95247 h 238117"/>
                <a:gd name="connsiteX7" fmla="*/ 1488 w 2976"/>
                <a:gd name="connsiteY7" fmla="*/ 111122 h 238117"/>
                <a:gd name="connsiteX8" fmla="*/ 497 w 2976"/>
                <a:gd name="connsiteY8" fmla="*/ 126996 h 238117"/>
                <a:gd name="connsiteX9" fmla="*/ 1488 w 2976"/>
                <a:gd name="connsiteY9" fmla="*/ 142871 h 238117"/>
                <a:gd name="connsiteX10" fmla="*/ 1488 w 2976"/>
                <a:gd name="connsiteY10" fmla="*/ 158745 h 238117"/>
                <a:gd name="connsiteX11" fmla="*/ 993 w 2976"/>
                <a:gd name="connsiteY11" fmla="*/ 174619 h 238117"/>
                <a:gd name="connsiteX12" fmla="*/ 1488 w 2976"/>
                <a:gd name="connsiteY12" fmla="*/ 190494 h 238117"/>
                <a:gd name="connsiteX13" fmla="*/ 2977 w 2976"/>
                <a:gd name="connsiteY13" fmla="*/ 206368 h 238117"/>
                <a:gd name="connsiteX14" fmla="*/ 2480 w 2976"/>
                <a:gd name="connsiteY14" fmla="*/ 222243 h 238117"/>
                <a:gd name="connsiteX15" fmla="*/ 1984 w 2976"/>
                <a:gd name="connsiteY15" fmla="*/ 238117 h 23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76" h="238117">
                  <a:moveTo>
                    <a:pt x="497" y="0"/>
                  </a:moveTo>
                  <a:cubicBezTo>
                    <a:pt x="497" y="7937"/>
                    <a:pt x="1488" y="7937"/>
                    <a:pt x="1488" y="15875"/>
                  </a:cubicBezTo>
                  <a:cubicBezTo>
                    <a:pt x="1488" y="23812"/>
                    <a:pt x="497" y="23812"/>
                    <a:pt x="497" y="31749"/>
                  </a:cubicBezTo>
                  <a:cubicBezTo>
                    <a:pt x="497" y="39686"/>
                    <a:pt x="497" y="39686"/>
                    <a:pt x="497" y="47623"/>
                  </a:cubicBezTo>
                  <a:cubicBezTo>
                    <a:pt x="497" y="55561"/>
                    <a:pt x="1984" y="55561"/>
                    <a:pt x="1984" y="63498"/>
                  </a:cubicBezTo>
                  <a:cubicBezTo>
                    <a:pt x="1984" y="71435"/>
                    <a:pt x="1984" y="71435"/>
                    <a:pt x="1984" y="79372"/>
                  </a:cubicBezTo>
                  <a:cubicBezTo>
                    <a:pt x="1984" y="87310"/>
                    <a:pt x="0" y="87310"/>
                    <a:pt x="0" y="95247"/>
                  </a:cubicBezTo>
                  <a:cubicBezTo>
                    <a:pt x="0" y="103184"/>
                    <a:pt x="1488" y="103184"/>
                    <a:pt x="1488" y="111122"/>
                  </a:cubicBezTo>
                  <a:cubicBezTo>
                    <a:pt x="1488" y="119059"/>
                    <a:pt x="497" y="119059"/>
                    <a:pt x="497" y="126996"/>
                  </a:cubicBezTo>
                  <a:cubicBezTo>
                    <a:pt x="497" y="134933"/>
                    <a:pt x="1488" y="134933"/>
                    <a:pt x="1488" y="142871"/>
                  </a:cubicBezTo>
                  <a:cubicBezTo>
                    <a:pt x="1488" y="150808"/>
                    <a:pt x="1488" y="150808"/>
                    <a:pt x="1488" y="158745"/>
                  </a:cubicBezTo>
                  <a:cubicBezTo>
                    <a:pt x="1488" y="166682"/>
                    <a:pt x="993" y="166682"/>
                    <a:pt x="993" y="174619"/>
                  </a:cubicBezTo>
                  <a:cubicBezTo>
                    <a:pt x="993" y="182557"/>
                    <a:pt x="1488" y="182557"/>
                    <a:pt x="1488" y="190494"/>
                  </a:cubicBezTo>
                  <a:cubicBezTo>
                    <a:pt x="1488" y="198431"/>
                    <a:pt x="2977" y="198431"/>
                    <a:pt x="2977" y="206368"/>
                  </a:cubicBezTo>
                  <a:cubicBezTo>
                    <a:pt x="2977" y="214305"/>
                    <a:pt x="2480" y="214305"/>
                    <a:pt x="2480" y="222243"/>
                  </a:cubicBezTo>
                  <a:cubicBezTo>
                    <a:pt x="2480" y="230180"/>
                    <a:pt x="1984" y="230180"/>
                    <a:pt x="1984" y="23811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1AC014F2-3858-D099-696B-D0ACEAAE0583}"/>
                </a:ext>
              </a:extLst>
            </p:cNvPr>
            <p:cNvSpPr/>
            <p:nvPr/>
          </p:nvSpPr>
          <p:spPr>
            <a:xfrm>
              <a:off x="5899724" y="5111091"/>
              <a:ext cx="1984" cy="138405"/>
            </a:xfrm>
            <a:custGeom>
              <a:avLst/>
              <a:gdLst>
                <a:gd name="connsiteX0" fmla="*/ 496 w 1984"/>
                <a:gd name="connsiteY0" fmla="*/ 0 h 138405"/>
                <a:gd name="connsiteX1" fmla="*/ 496 w 1984"/>
                <a:gd name="connsiteY1" fmla="*/ 15378 h 138405"/>
                <a:gd name="connsiteX2" fmla="*/ 1488 w 1984"/>
                <a:gd name="connsiteY2" fmla="*/ 30757 h 138405"/>
                <a:gd name="connsiteX3" fmla="*/ 0 w 1984"/>
                <a:gd name="connsiteY3" fmla="*/ 46135 h 138405"/>
                <a:gd name="connsiteX4" fmla="*/ 496 w 1984"/>
                <a:gd name="connsiteY4" fmla="*/ 61513 h 138405"/>
                <a:gd name="connsiteX5" fmla="*/ 496 w 1984"/>
                <a:gd name="connsiteY5" fmla="*/ 76892 h 138405"/>
                <a:gd name="connsiteX6" fmla="*/ 993 w 1984"/>
                <a:gd name="connsiteY6" fmla="*/ 92270 h 138405"/>
                <a:gd name="connsiteX7" fmla="*/ 1488 w 1984"/>
                <a:gd name="connsiteY7" fmla="*/ 107649 h 138405"/>
                <a:gd name="connsiteX8" fmla="*/ 1984 w 1984"/>
                <a:gd name="connsiteY8" fmla="*/ 123027 h 138405"/>
                <a:gd name="connsiteX9" fmla="*/ 496 w 1984"/>
                <a:gd name="connsiteY9" fmla="*/ 138405 h 13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4" h="138405">
                  <a:moveTo>
                    <a:pt x="496" y="0"/>
                  </a:moveTo>
                  <a:cubicBezTo>
                    <a:pt x="496" y="7937"/>
                    <a:pt x="496" y="7937"/>
                    <a:pt x="496" y="15378"/>
                  </a:cubicBezTo>
                  <a:cubicBezTo>
                    <a:pt x="496" y="23315"/>
                    <a:pt x="1488" y="23315"/>
                    <a:pt x="1488" y="30757"/>
                  </a:cubicBezTo>
                  <a:cubicBezTo>
                    <a:pt x="1488" y="38198"/>
                    <a:pt x="0" y="38694"/>
                    <a:pt x="0" y="46135"/>
                  </a:cubicBezTo>
                  <a:cubicBezTo>
                    <a:pt x="0" y="54072"/>
                    <a:pt x="496" y="54072"/>
                    <a:pt x="496" y="61513"/>
                  </a:cubicBezTo>
                  <a:cubicBezTo>
                    <a:pt x="496" y="69451"/>
                    <a:pt x="496" y="69451"/>
                    <a:pt x="496" y="76892"/>
                  </a:cubicBezTo>
                  <a:cubicBezTo>
                    <a:pt x="496" y="84829"/>
                    <a:pt x="993" y="84829"/>
                    <a:pt x="993" y="92270"/>
                  </a:cubicBezTo>
                  <a:cubicBezTo>
                    <a:pt x="993" y="100208"/>
                    <a:pt x="1488" y="100208"/>
                    <a:pt x="1488" y="107649"/>
                  </a:cubicBezTo>
                  <a:cubicBezTo>
                    <a:pt x="1488" y="115586"/>
                    <a:pt x="1984" y="115586"/>
                    <a:pt x="1984" y="123027"/>
                  </a:cubicBezTo>
                  <a:cubicBezTo>
                    <a:pt x="1984" y="130468"/>
                    <a:pt x="496" y="130964"/>
                    <a:pt x="496" y="13840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DEE1B01E-BF34-D505-9886-D8951655601A}"/>
                </a:ext>
              </a:extLst>
            </p:cNvPr>
            <p:cNvSpPr/>
            <p:nvPr/>
          </p:nvSpPr>
          <p:spPr>
            <a:xfrm>
              <a:off x="5899228" y="4888351"/>
              <a:ext cx="1984" cy="134932"/>
            </a:xfrm>
            <a:custGeom>
              <a:avLst/>
              <a:gdLst>
                <a:gd name="connsiteX0" fmla="*/ 1984 w 1984"/>
                <a:gd name="connsiteY0" fmla="*/ 0 h 134932"/>
                <a:gd name="connsiteX1" fmla="*/ 1488 w 1984"/>
                <a:gd name="connsiteY1" fmla="*/ 16866 h 134932"/>
                <a:gd name="connsiteX2" fmla="*/ 0 w 1984"/>
                <a:gd name="connsiteY2" fmla="*/ 33733 h 134932"/>
                <a:gd name="connsiteX3" fmla="*/ 496 w 1984"/>
                <a:gd name="connsiteY3" fmla="*/ 50600 h 134932"/>
                <a:gd name="connsiteX4" fmla="*/ 1984 w 1984"/>
                <a:gd name="connsiteY4" fmla="*/ 67466 h 134932"/>
                <a:gd name="connsiteX5" fmla="*/ 1488 w 1984"/>
                <a:gd name="connsiteY5" fmla="*/ 84333 h 134932"/>
                <a:gd name="connsiteX6" fmla="*/ 496 w 1984"/>
                <a:gd name="connsiteY6" fmla="*/ 101200 h 134932"/>
                <a:gd name="connsiteX7" fmla="*/ 496 w 1984"/>
                <a:gd name="connsiteY7" fmla="*/ 118066 h 134932"/>
                <a:gd name="connsiteX8" fmla="*/ 992 w 1984"/>
                <a:gd name="connsiteY8" fmla="*/ 134933 h 134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4" h="134932">
                  <a:moveTo>
                    <a:pt x="1984" y="0"/>
                  </a:moveTo>
                  <a:cubicBezTo>
                    <a:pt x="1984" y="8433"/>
                    <a:pt x="1488" y="8433"/>
                    <a:pt x="1488" y="16866"/>
                  </a:cubicBezTo>
                  <a:cubicBezTo>
                    <a:pt x="1488" y="25300"/>
                    <a:pt x="0" y="25300"/>
                    <a:pt x="0" y="33733"/>
                  </a:cubicBezTo>
                  <a:cubicBezTo>
                    <a:pt x="0" y="42167"/>
                    <a:pt x="496" y="42167"/>
                    <a:pt x="496" y="50600"/>
                  </a:cubicBezTo>
                  <a:cubicBezTo>
                    <a:pt x="496" y="59033"/>
                    <a:pt x="1984" y="59033"/>
                    <a:pt x="1984" y="67466"/>
                  </a:cubicBezTo>
                  <a:cubicBezTo>
                    <a:pt x="1984" y="75900"/>
                    <a:pt x="1488" y="75900"/>
                    <a:pt x="1488" y="84333"/>
                  </a:cubicBezTo>
                  <a:cubicBezTo>
                    <a:pt x="1488" y="92766"/>
                    <a:pt x="496" y="92766"/>
                    <a:pt x="496" y="101200"/>
                  </a:cubicBezTo>
                  <a:cubicBezTo>
                    <a:pt x="496" y="109633"/>
                    <a:pt x="496" y="109633"/>
                    <a:pt x="496" y="118066"/>
                  </a:cubicBezTo>
                  <a:cubicBezTo>
                    <a:pt x="496" y="126500"/>
                    <a:pt x="992" y="126500"/>
                    <a:pt x="992" y="1349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AD1D8723-31F0-A8ED-722B-CCEEC83AEC79}"/>
                </a:ext>
              </a:extLst>
            </p:cNvPr>
            <p:cNvSpPr/>
            <p:nvPr/>
          </p:nvSpPr>
          <p:spPr>
            <a:xfrm>
              <a:off x="5818415" y="4588269"/>
              <a:ext cx="75308" cy="66504"/>
            </a:xfrm>
            <a:custGeom>
              <a:avLst/>
              <a:gdLst>
                <a:gd name="connsiteX0" fmla="*/ 64939 w 75308"/>
                <a:gd name="connsiteY0" fmla="*/ 46587 h 66504"/>
                <a:gd name="connsiteX1" fmla="*/ 51049 w 75308"/>
                <a:gd name="connsiteY1" fmla="*/ 54524 h 66504"/>
                <a:gd name="connsiteX2" fmla="*/ 37655 w 75308"/>
                <a:gd name="connsiteY2" fmla="*/ 63453 h 66504"/>
                <a:gd name="connsiteX3" fmla="*/ 18804 w 75308"/>
                <a:gd name="connsiteY3" fmla="*/ 65934 h 66504"/>
                <a:gd name="connsiteX4" fmla="*/ 2929 w 75308"/>
                <a:gd name="connsiteY4" fmla="*/ 55516 h 66504"/>
                <a:gd name="connsiteX5" fmla="*/ 2929 w 75308"/>
                <a:gd name="connsiteY5" fmla="*/ 55516 h 66504"/>
                <a:gd name="connsiteX6" fmla="*/ 945 w 75308"/>
                <a:gd name="connsiteY6" fmla="*/ 36665 h 66504"/>
                <a:gd name="connsiteX7" fmla="*/ 11362 w 75308"/>
                <a:gd name="connsiteY7" fmla="*/ 21783 h 66504"/>
                <a:gd name="connsiteX8" fmla="*/ 24756 w 75308"/>
                <a:gd name="connsiteY8" fmla="*/ 12853 h 66504"/>
                <a:gd name="connsiteX9" fmla="*/ 37655 w 75308"/>
                <a:gd name="connsiteY9" fmla="*/ 3428 h 66504"/>
                <a:gd name="connsiteX10" fmla="*/ 57001 w 75308"/>
                <a:gd name="connsiteY10" fmla="*/ 451 h 66504"/>
                <a:gd name="connsiteX11" fmla="*/ 72380 w 75308"/>
                <a:gd name="connsiteY11" fmla="*/ 11861 h 66504"/>
                <a:gd name="connsiteX12" fmla="*/ 72380 w 75308"/>
                <a:gd name="connsiteY12" fmla="*/ 11861 h 66504"/>
                <a:gd name="connsiteX13" fmla="*/ 74364 w 75308"/>
                <a:gd name="connsiteY13" fmla="*/ 30216 h 66504"/>
                <a:gd name="connsiteX14" fmla="*/ 64939 w 75308"/>
                <a:gd name="connsiteY14" fmla="*/ 46587 h 66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5308" h="66504">
                  <a:moveTo>
                    <a:pt x="64939" y="46587"/>
                  </a:moveTo>
                  <a:cubicBezTo>
                    <a:pt x="57994" y="51051"/>
                    <a:pt x="57994" y="50555"/>
                    <a:pt x="51049" y="54524"/>
                  </a:cubicBezTo>
                  <a:cubicBezTo>
                    <a:pt x="44103" y="58493"/>
                    <a:pt x="44599" y="58989"/>
                    <a:pt x="37655" y="63453"/>
                  </a:cubicBezTo>
                  <a:cubicBezTo>
                    <a:pt x="31701" y="66926"/>
                    <a:pt x="24756" y="66926"/>
                    <a:pt x="18804" y="65934"/>
                  </a:cubicBezTo>
                  <a:cubicBezTo>
                    <a:pt x="12851" y="64446"/>
                    <a:pt x="6402" y="61469"/>
                    <a:pt x="2929" y="55516"/>
                  </a:cubicBezTo>
                  <a:cubicBezTo>
                    <a:pt x="2929" y="55516"/>
                    <a:pt x="2929" y="55516"/>
                    <a:pt x="2929" y="55516"/>
                  </a:cubicBezTo>
                  <a:cubicBezTo>
                    <a:pt x="-544" y="49563"/>
                    <a:pt x="-544" y="42618"/>
                    <a:pt x="945" y="36665"/>
                  </a:cubicBezTo>
                  <a:cubicBezTo>
                    <a:pt x="2433" y="30712"/>
                    <a:pt x="5906" y="25255"/>
                    <a:pt x="11362" y="21783"/>
                  </a:cubicBezTo>
                  <a:cubicBezTo>
                    <a:pt x="18308" y="17318"/>
                    <a:pt x="17812" y="17318"/>
                    <a:pt x="24756" y="12853"/>
                  </a:cubicBezTo>
                  <a:cubicBezTo>
                    <a:pt x="31701" y="8389"/>
                    <a:pt x="31205" y="7397"/>
                    <a:pt x="37655" y="3428"/>
                  </a:cubicBezTo>
                  <a:cubicBezTo>
                    <a:pt x="43607" y="-45"/>
                    <a:pt x="51049" y="-541"/>
                    <a:pt x="57001" y="451"/>
                  </a:cubicBezTo>
                  <a:cubicBezTo>
                    <a:pt x="62955" y="1940"/>
                    <a:pt x="68907" y="5908"/>
                    <a:pt x="72380" y="11861"/>
                  </a:cubicBezTo>
                  <a:cubicBezTo>
                    <a:pt x="72380" y="11861"/>
                    <a:pt x="72380" y="11861"/>
                    <a:pt x="72380" y="11861"/>
                  </a:cubicBezTo>
                  <a:cubicBezTo>
                    <a:pt x="75852" y="17814"/>
                    <a:pt x="75852" y="24263"/>
                    <a:pt x="74364" y="30216"/>
                  </a:cubicBezTo>
                  <a:cubicBezTo>
                    <a:pt x="72876" y="36169"/>
                    <a:pt x="70892" y="43114"/>
                    <a:pt x="64939" y="4658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37393450-16F3-AB5A-1988-8B2F43A18990}"/>
                </a:ext>
              </a:extLst>
            </p:cNvPr>
            <p:cNvSpPr/>
            <p:nvPr/>
          </p:nvSpPr>
          <p:spPr>
            <a:xfrm>
              <a:off x="5785241" y="4561862"/>
              <a:ext cx="52384" cy="45372"/>
            </a:xfrm>
            <a:custGeom>
              <a:avLst/>
              <a:gdLst>
                <a:gd name="connsiteX0" fmla="*/ 29158 w 52384"/>
                <a:gd name="connsiteY0" fmla="*/ 6519 h 45372"/>
                <a:gd name="connsiteX1" fmla="*/ 38584 w 52384"/>
                <a:gd name="connsiteY1" fmla="*/ 17433 h 45372"/>
                <a:gd name="connsiteX2" fmla="*/ 46025 w 52384"/>
                <a:gd name="connsiteY2" fmla="*/ 30331 h 45372"/>
                <a:gd name="connsiteX3" fmla="*/ 50489 w 52384"/>
                <a:gd name="connsiteY3" fmla="*/ 43229 h 45372"/>
                <a:gd name="connsiteX4" fmla="*/ 37095 w 52384"/>
                <a:gd name="connsiteY4" fmla="*/ 40252 h 45372"/>
                <a:gd name="connsiteX5" fmla="*/ 23205 w 52384"/>
                <a:gd name="connsiteY5" fmla="*/ 35787 h 45372"/>
                <a:gd name="connsiteX6" fmla="*/ 9811 w 52384"/>
                <a:gd name="connsiteY6" fmla="*/ 29834 h 45372"/>
                <a:gd name="connsiteX7" fmla="*/ 1378 w 52384"/>
                <a:gd name="connsiteY7" fmla="*/ 17929 h 45372"/>
                <a:gd name="connsiteX8" fmla="*/ 3362 w 52384"/>
                <a:gd name="connsiteY8" fmla="*/ 4535 h 45372"/>
                <a:gd name="connsiteX9" fmla="*/ 15764 w 52384"/>
                <a:gd name="connsiteY9" fmla="*/ 566 h 45372"/>
                <a:gd name="connsiteX10" fmla="*/ 29158 w 52384"/>
                <a:gd name="connsiteY10" fmla="*/ 6519 h 4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84" h="45372">
                  <a:moveTo>
                    <a:pt x="29158" y="6519"/>
                  </a:moveTo>
                  <a:cubicBezTo>
                    <a:pt x="32630" y="9495"/>
                    <a:pt x="35607" y="13464"/>
                    <a:pt x="38584" y="17433"/>
                  </a:cubicBezTo>
                  <a:cubicBezTo>
                    <a:pt x="41560" y="21401"/>
                    <a:pt x="44041" y="25866"/>
                    <a:pt x="46025" y="30331"/>
                  </a:cubicBezTo>
                  <a:cubicBezTo>
                    <a:pt x="49497" y="37772"/>
                    <a:pt x="55450" y="37772"/>
                    <a:pt x="50489" y="43229"/>
                  </a:cubicBezTo>
                  <a:cubicBezTo>
                    <a:pt x="46025" y="48686"/>
                    <a:pt x="45032" y="42236"/>
                    <a:pt x="37095" y="40252"/>
                  </a:cubicBezTo>
                  <a:cubicBezTo>
                    <a:pt x="32630" y="39260"/>
                    <a:pt x="28166" y="37772"/>
                    <a:pt x="23205" y="35787"/>
                  </a:cubicBezTo>
                  <a:cubicBezTo>
                    <a:pt x="18741" y="33803"/>
                    <a:pt x="13283" y="32315"/>
                    <a:pt x="9811" y="29834"/>
                  </a:cubicBezTo>
                  <a:cubicBezTo>
                    <a:pt x="4850" y="25866"/>
                    <a:pt x="2866" y="21401"/>
                    <a:pt x="1378" y="17929"/>
                  </a:cubicBezTo>
                  <a:cubicBezTo>
                    <a:pt x="-1102" y="12472"/>
                    <a:pt x="-111" y="8503"/>
                    <a:pt x="3362" y="4535"/>
                  </a:cubicBezTo>
                  <a:cubicBezTo>
                    <a:pt x="6339" y="566"/>
                    <a:pt x="10307" y="-922"/>
                    <a:pt x="15764" y="566"/>
                  </a:cubicBezTo>
                  <a:cubicBezTo>
                    <a:pt x="19733" y="1558"/>
                    <a:pt x="24197" y="2550"/>
                    <a:pt x="29158" y="651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C93E8AC2-97AE-186C-46CE-E0DA2555B552}"/>
                </a:ext>
              </a:extLst>
            </p:cNvPr>
            <p:cNvSpPr/>
            <p:nvPr/>
          </p:nvSpPr>
          <p:spPr>
            <a:xfrm>
              <a:off x="5820062" y="4537476"/>
              <a:ext cx="33824" cy="70686"/>
            </a:xfrm>
            <a:custGeom>
              <a:avLst/>
              <a:gdLst>
                <a:gd name="connsiteX0" fmla="*/ 33527 w 33824"/>
                <a:gd name="connsiteY0" fmla="*/ 21480 h 70686"/>
                <a:gd name="connsiteX1" fmla="*/ 32535 w 33824"/>
                <a:gd name="connsiteY1" fmla="*/ 38346 h 70686"/>
                <a:gd name="connsiteX2" fmla="*/ 28567 w 33824"/>
                <a:gd name="connsiteY2" fmla="*/ 54717 h 70686"/>
                <a:gd name="connsiteX3" fmla="*/ 21621 w 33824"/>
                <a:gd name="connsiteY3" fmla="*/ 70592 h 70686"/>
                <a:gd name="connsiteX4" fmla="*/ 11204 w 33824"/>
                <a:gd name="connsiteY4" fmla="*/ 56701 h 70686"/>
                <a:gd name="connsiteX5" fmla="*/ 4755 w 33824"/>
                <a:gd name="connsiteY5" fmla="*/ 41323 h 70686"/>
                <a:gd name="connsiteX6" fmla="*/ 786 w 33824"/>
                <a:gd name="connsiteY6" fmla="*/ 24952 h 70686"/>
                <a:gd name="connsiteX7" fmla="*/ 786 w 33824"/>
                <a:gd name="connsiteY7" fmla="*/ 8086 h 70686"/>
                <a:gd name="connsiteX8" fmla="*/ 14180 w 33824"/>
                <a:gd name="connsiteY8" fmla="*/ 148 h 70686"/>
                <a:gd name="connsiteX9" fmla="*/ 28567 w 33824"/>
                <a:gd name="connsiteY9" fmla="*/ 5605 h 70686"/>
                <a:gd name="connsiteX10" fmla="*/ 33527 w 33824"/>
                <a:gd name="connsiteY10" fmla="*/ 21480 h 7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824" h="70686">
                  <a:moveTo>
                    <a:pt x="33527" y="21480"/>
                  </a:moveTo>
                  <a:cubicBezTo>
                    <a:pt x="34023" y="26440"/>
                    <a:pt x="34023" y="32393"/>
                    <a:pt x="32535" y="38346"/>
                  </a:cubicBezTo>
                  <a:cubicBezTo>
                    <a:pt x="31543" y="43803"/>
                    <a:pt x="30055" y="49756"/>
                    <a:pt x="28567" y="54717"/>
                  </a:cubicBezTo>
                  <a:cubicBezTo>
                    <a:pt x="25590" y="63646"/>
                    <a:pt x="30055" y="69599"/>
                    <a:pt x="21621" y="70592"/>
                  </a:cubicBezTo>
                  <a:cubicBezTo>
                    <a:pt x="13188" y="71583"/>
                    <a:pt x="16165" y="64639"/>
                    <a:pt x="11204" y="56701"/>
                  </a:cubicBezTo>
                  <a:cubicBezTo>
                    <a:pt x="8724" y="52237"/>
                    <a:pt x="6739" y="46284"/>
                    <a:pt x="4755" y="41323"/>
                  </a:cubicBezTo>
                  <a:cubicBezTo>
                    <a:pt x="2274" y="35866"/>
                    <a:pt x="1778" y="30409"/>
                    <a:pt x="786" y="24952"/>
                  </a:cubicBezTo>
                  <a:cubicBezTo>
                    <a:pt x="290" y="17511"/>
                    <a:pt x="-702" y="12054"/>
                    <a:pt x="786" y="8086"/>
                  </a:cubicBezTo>
                  <a:cubicBezTo>
                    <a:pt x="3266" y="1637"/>
                    <a:pt x="8724" y="644"/>
                    <a:pt x="14180" y="148"/>
                  </a:cubicBezTo>
                  <a:cubicBezTo>
                    <a:pt x="20133" y="-348"/>
                    <a:pt x="25094" y="148"/>
                    <a:pt x="28567" y="5605"/>
                  </a:cubicBezTo>
                  <a:cubicBezTo>
                    <a:pt x="31047" y="9078"/>
                    <a:pt x="32535" y="14039"/>
                    <a:pt x="33527" y="21480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5B2B4B1D-A1A2-F608-7DC6-70CE3DB3A7CA}"/>
                </a:ext>
              </a:extLst>
            </p:cNvPr>
            <p:cNvSpPr/>
            <p:nvPr/>
          </p:nvSpPr>
          <p:spPr>
            <a:xfrm>
              <a:off x="5828786" y="4610548"/>
              <a:ext cx="26291" cy="41174"/>
            </a:xfrm>
            <a:custGeom>
              <a:avLst/>
              <a:gdLst>
                <a:gd name="connsiteX0" fmla="*/ 0 w 26291"/>
                <a:gd name="connsiteY0" fmla="*/ 0 h 41174"/>
                <a:gd name="connsiteX1" fmla="*/ 8929 w 26291"/>
                <a:gd name="connsiteY1" fmla="*/ 13394 h 41174"/>
                <a:gd name="connsiteX2" fmla="*/ 17363 w 26291"/>
                <a:gd name="connsiteY2" fmla="*/ 27284 h 41174"/>
                <a:gd name="connsiteX3" fmla="*/ 26292 w 26291"/>
                <a:gd name="connsiteY3" fmla="*/ 41174 h 4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91" h="41174">
                  <a:moveTo>
                    <a:pt x="0" y="0"/>
                  </a:moveTo>
                  <a:cubicBezTo>
                    <a:pt x="4464" y="6945"/>
                    <a:pt x="4961" y="6449"/>
                    <a:pt x="8929" y="13394"/>
                  </a:cubicBezTo>
                  <a:cubicBezTo>
                    <a:pt x="13394" y="20339"/>
                    <a:pt x="12898" y="20339"/>
                    <a:pt x="17363" y="27284"/>
                  </a:cubicBezTo>
                  <a:cubicBezTo>
                    <a:pt x="21827" y="34229"/>
                    <a:pt x="21827" y="34229"/>
                    <a:pt x="26292" y="4117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F87F9B91-F7EF-52F2-1DF9-82BA42781BA6}"/>
                </a:ext>
              </a:extLst>
            </p:cNvPr>
            <p:cNvSpPr/>
            <p:nvPr/>
          </p:nvSpPr>
          <p:spPr>
            <a:xfrm>
              <a:off x="5859542" y="4591201"/>
              <a:ext cx="24803" cy="42662"/>
            </a:xfrm>
            <a:custGeom>
              <a:avLst/>
              <a:gdLst>
                <a:gd name="connsiteX0" fmla="*/ 0 w 24803"/>
                <a:gd name="connsiteY0" fmla="*/ 0 h 42662"/>
                <a:gd name="connsiteX1" fmla="*/ 7937 w 24803"/>
                <a:gd name="connsiteY1" fmla="*/ 14386 h 42662"/>
                <a:gd name="connsiteX2" fmla="*/ 16867 w 24803"/>
                <a:gd name="connsiteY2" fmla="*/ 28277 h 42662"/>
                <a:gd name="connsiteX3" fmla="*/ 24804 w 24803"/>
                <a:gd name="connsiteY3" fmla="*/ 42663 h 4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03" h="42662">
                  <a:moveTo>
                    <a:pt x="0" y="0"/>
                  </a:moveTo>
                  <a:cubicBezTo>
                    <a:pt x="4465" y="6945"/>
                    <a:pt x="3472" y="7441"/>
                    <a:pt x="7937" y="14386"/>
                  </a:cubicBezTo>
                  <a:cubicBezTo>
                    <a:pt x="12402" y="21331"/>
                    <a:pt x="12402" y="21331"/>
                    <a:pt x="16867" y="28277"/>
                  </a:cubicBezTo>
                  <a:cubicBezTo>
                    <a:pt x="21332" y="35221"/>
                    <a:pt x="20339" y="35718"/>
                    <a:pt x="24804" y="4266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2E0E4A90-9CB6-E266-5DAD-EA09035FB8A3}"/>
                </a:ext>
              </a:extLst>
            </p:cNvPr>
            <p:cNvSpPr/>
            <p:nvPr/>
          </p:nvSpPr>
          <p:spPr>
            <a:xfrm>
              <a:off x="6021234" y="4736015"/>
              <a:ext cx="77825" cy="62744"/>
            </a:xfrm>
            <a:custGeom>
              <a:avLst/>
              <a:gdLst>
                <a:gd name="connsiteX0" fmla="*/ 14416 w 77825"/>
                <a:gd name="connsiteY0" fmla="*/ 45679 h 62744"/>
                <a:gd name="connsiteX1" fmla="*/ 28306 w 77825"/>
                <a:gd name="connsiteY1" fmla="*/ 54113 h 62744"/>
                <a:gd name="connsiteX2" fmla="*/ 43189 w 77825"/>
                <a:gd name="connsiteY2" fmla="*/ 60066 h 62744"/>
                <a:gd name="connsiteX3" fmla="*/ 61543 w 77825"/>
                <a:gd name="connsiteY3" fmla="*/ 61554 h 62744"/>
                <a:gd name="connsiteX4" fmla="*/ 75434 w 77825"/>
                <a:gd name="connsiteY4" fmla="*/ 49152 h 62744"/>
                <a:gd name="connsiteX5" fmla="*/ 74441 w 77825"/>
                <a:gd name="connsiteY5" fmla="*/ 48656 h 62744"/>
                <a:gd name="connsiteX6" fmla="*/ 76921 w 77825"/>
                <a:gd name="connsiteY6" fmla="*/ 30301 h 62744"/>
                <a:gd name="connsiteX7" fmla="*/ 64520 w 77825"/>
                <a:gd name="connsiteY7" fmla="*/ 15915 h 62744"/>
                <a:gd name="connsiteX8" fmla="*/ 49637 w 77825"/>
                <a:gd name="connsiteY8" fmla="*/ 9466 h 62744"/>
                <a:gd name="connsiteX9" fmla="*/ 34755 w 77825"/>
                <a:gd name="connsiteY9" fmla="*/ 3017 h 62744"/>
                <a:gd name="connsiteX10" fmla="*/ 15904 w 77825"/>
                <a:gd name="connsiteY10" fmla="*/ 1032 h 62744"/>
                <a:gd name="connsiteX11" fmla="*/ 2510 w 77825"/>
                <a:gd name="connsiteY11" fmla="*/ 13930 h 62744"/>
                <a:gd name="connsiteX12" fmla="*/ 1518 w 77825"/>
                <a:gd name="connsiteY12" fmla="*/ 13434 h 62744"/>
                <a:gd name="connsiteX13" fmla="*/ 2510 w 77825"/>
                <a:gd name="connsiteY13" fmla="*/ 32285 h 62744"/>
                <a:gd name="connsiteX14" fmla="*/ 14416 w 77825"/>
                <a:gd name="connsiteY14" fmla="*/ 45679 h 6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7825" h="62744">
                  <a:moveTo>
                    <a:pt x="14416" y="45679"/>
                  </a:moveTo>
                  <a:cubicBezTo>
                    <a:pt x="21857" y="49152"/>
                    <a:pt x="20865" y="50640"/>
                    <a:pt x="28306" y="54113"/>
                  </a:cubicBezTo>
                  <a:cubicBezTo>
                    <a:pt x="35747" y="57585"/>
                    <a:pt x="36243" y="56593"/>
                    <a:pt x="43189" y="60066"/>
                  </a:cubicBezTo>
                  <a:cubicBezTo>
                    <a:pt x="49141" y="63042"/>
                    <a:pt x="55590" y="63538"/>
                    <a:pt x="61543" y="61554"/>
                  </a:cubicBezTo>
                  <a:cubicBezTo>
                    <a:pt x="67496" y="59570"/>
                    <a:pt x="72457" y="55105"/>
                    <a:pt x="75434" y="49152"/>
                  </a:cubicBezTo>
                  <a:cubicBezTo>
                    <a:pt x="75434" y="49152"/>
                    <a:pt x="74441" y="48656"/>
                    <a:pt x="74441" y="48656"/>
                  </a:cubicBezTo>
                  <a:cubicBezTo>
                    <a:pt x="77417" y="42703"/>
                    <a:pt x="78906" y="36254"/>
                    <a:pt x="76921" y="30301"/>
                  </a:cubicBezTo>
                  <a:cubicBezTo>
                    <a:pt x="74937" y="24348"/>
                    <a:pt x="70473" y="18891"/>
                    <a:pt x="64520" y="15915"/>
                  </a:cubicBezTo>
                  <a:cubicBezTo>
                    <a:pt x="57078" y="12442"/>
                    <a:pt x="57078" y="12938"/>
                    <a:pt x="49637" y="9466"/>
                  </a:cubicBezTo>
                  <a:cubicBezTo>
                    <a:pt x="42196" y="5993"/>
                    <a:pt x="42196" y="6489"/>
                    <a:pt x="34755" y="3017"/>
                  </a:cubicBezTo>
                  <a:cubicBezTo>
                    <a:pt x="28802" y="40"/>
                    <a:pt x="21857" y="-952"/>
                    <a:pt x="15904" y="1032"/>
                  </a:cubicBezTo>
                  <a:cubicBezTo>
                    <a:pt x="9951" y="3017"/>
                    <a:pt x="5486" y="7977"/>
                    <a:pt x="2510" y="13930"/>
                  </a:cubicBezTo>
                  <a:cubicBezTo>
                    <a:pt x="2510" y="13930"/>
                    <a:pt x="1518" y="13434"/>
                    <a:pt x="1518" y="13434"/>
                  </a:cubicBezTo>
                  <a:cubicBezTo>
                    <a:pt x="-1458" y="19387"/>
                    <a:pt x="525" y="26332"/>
                    <a:pt x="2510" y="32285"/>
                  </a:cubicBezTo>
                  <a:cubicBezTo>
                    <a:pt x="4494" y="37742"/>
                    <a:pt x="8463" y="42703"/>
                    <a:pt x="14416" y="4567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F61DCF04-343A-AA3E-8FB3-449B99665B2E}"/>
                </a:ext>
              </a:extLst>
            </p:cNvPr>
            <p:cNvSpPr/>
            <p:nvPr/>
          </p:nvSpPr>
          <p:spPr>
            <a:xfrm>
              <a:off x="6077085" y="4701038"/>
              <a:ext cx="48433" cy="49527"/>
            </a:xfrm>
            <a:custGeom>
              <a:avLst/>
              <a:gdLst>
                <a:gd name="connsiteX0" fmla="*/ 19583 w 48433"/>
                <a:gd name="connsiteY0" fmla="*/ 8229 h 49527"/>
                <a:gd name="connsiteX1" fmla="*/ 10653 w 48433"/>
                <a:gd name="connsiteY1" fmla="*/ 20135 h 49527"/>
                <a:gd name="connsiteX2" fmla="*/ 5692 w 48433"/>
                <a:gd name="connsiteY2" fmla="*/ 34025 h 49527"/>
                <a:gd name="connsiteX3" fmla="*/ 2220 w 48433"/>
                <a:gd name="connsiteY3" fmla="*/ 47420 h 49527"/>
                <a:gd name="connsiteX4" fmla="*/ 16110 w 48433"/>
                <a:gd name="connsiteY4" fmla="*/ 44443 h 49527"/>
                <a:gd name="connsiteX5" fmla="*/ 29008 w 48433"/>
                <a:gd name="connsiteY5" fmla="*/ 37002 h 49527"/>
                <a:gd name="connsiteX6" fmla="*/ 41410 w 48433"/>
                <a:gd name="connsiteY6" fmla="*/ 29561 h 49527"/>
                <a:gd name="connsiteX7" fmla="*/ 47859 w 48433"/>
                <a:gd name="connsiteY7" fmla="*/ 16663 h 49527"/>
                <a:gd name="connsiteX8" fmla="*/ 44387 w 48433"/>
                <a:gd name="connsiteY8" fmla="*/ 4261 h 49527"/>
                <a:gd name="connsiteX9" fmla="*/ 31985 w 48433"/>
                <a:gd name="connsiteY9" fmla="*/ 788 h 49527"/>
                <a:gd name="connsiteX10" fmla="*/ 19583 w 48433"/>
                <a:gd name="connsiteY10" fmla="*/ 8229 h 4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433" h="49527">
                  <a:moveTo>
                    <a:pt x="19583" y="8229"/>
                  </a:moveTo>
                  <a:cubicBezTo>
                    <a:pt x="16606" y="11206"/>
                    <a:pt x="13134" y="15671"/>
                    <a:pt x="10653" y="20135"/>
                  </a:cubicBezTo>
                  <a:cubicBezTo>
                    <a:pt x="8173" y="24600"/>
                    <a:pt x="7181" y="29561"/>
                    <a:pt x="5692" y="34025"/>
                  </a:cubicBezTo>
                  <a:cubicBezTo>
                    <a:pt x="2716" y="41963"/>
                    <a:pt x="-3237" y="42459"/>
                    <a:pt x="2220" y="47420"/>
                  </a:cubicBezTo>
                  <a:cubicBezTo>
                    <a:pt x="7181" y="52380"/>
                    <a:pt x="8669" y="47420"/>
                    <a:pt x="16110" y="44443"/>
                  </a:cubicBezTo>
                  <a:cubicBezTo>
                    <a:pt x="20079" y="42955"/>
                    <a:pt x="24544" y="39482"/>
                    <a:pt x="29008" y="37002"/>
                  </a:cubicBezTo>
                  <a:cubicBezTo>
                    <a:pt x="33473" y="34521"/>
                    <a:pt x="38433" y="32537"/>
                    <a:pt x="41410" y="29561"/>
                  </a:cubicBezTo>
                  <a:cubicBezTo>
                    <a:pt x="45875" y="25096"/>
                    <a:pt x="46867" y="20135"/>
                    <a:pt x="47859" y="16663"/>
                  </a:cubicBezTo>
                  <a:cubicBezTo>
                    <a:pt x="49348" y="11206"/>
                    <a:pt x="47859" y="7733"/>
                    <a:pt x="44387" y="4261"/>
                  </a:cubicBezTo>
                  <a:cubicBezTo>
                    <a:pt x="40914" y="788"/>
                    <a:pt x="37442" y="-1196"/>
                    <a:pt x="31985" y="788"/>
                  </a:cubicBezTo>
                  <a:cubicBezTo>
                    <a:pt x="28016" y="2276"/>
                    <a:pt x="24047" y="3765"/>
                    <a:pt x="19583" y="822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AAA365D0-E75D-0C66-5F73-ED678BA618E6}"/>
                </a:ext>
              </a:extLst>
            </p:cNvPr>
            <p:cNvSpPr/>
            <p:nvPr/>
          </p:nvSpPr>
          <p:spPr>
            <a:xfrm>
              <a:off x="6055493" y="4680991"/>
              <a:ext cx="34725" cy="69947"/>
            </a:xfrm>
            <a:custGeom>
              <a:avLst/>
              <a:gdLst>
                <a:gd name="connsiteX0" fmla="*/ 0 w 34725"/>
                <a:gd name="connsiteY0" fmla="*/ 23316 h 69947"/>
                <a:gd name="connsiteX1" fmla="*/ 2976 w 34725"/>
                <a:gd name="connsiteY1" fmla="*/ 40182 h 69947"/>
                <a:gd name="connsiteX2" fmla="*/ 8930 w 34725"/>
                <a:gd name="connsiteY2" fmla="*/ 56057 h 69947"/>
                <a:gd name="connsiteX3" fmla="*/ 17859 w 34725"/>
                <a:gd name="connsiteY3" fmla="*/ 69947 h 69947"/>
                <a:gd name="connsiteX4" fmla="*/ 25796 w 34725"/>
                <a:gd name="connsiteY4" fmla="*/ 55561 h 69947"/>
                <a:gd name="connsiteX5" fmla="*/ 32245 w 34725"/>
                <a:gd name="connsiteY5" fmla="*/ 39686 h 69947"/>
                <a:gd name="connsiteX6" fmla="*/ 34725 w 34725"/>
                <a:gd name="connsiteY6" fmla="*/ 22820 h 69947"/>
                <a:gd name="connsiteX7" fmla="*/ 31253 w 34725"/>
                <a:gd name="connsiteY7" fmla="*/ 6449 h 69947"/>
                <a:gd name="connsiteX8" fmla="*/ 17363 w 34725"/>
                <a:gd name="connsiteY8" fmla="*/ 0 h 69947"/>
                <a:gd name="connsiteX9" fmla="*/ 2976 w 34725"/>
                <a:gd name="connsiteY9" fmla="*/ 6449 h 69947"/>
                <a:gd name="connsiteX10" fmla="*/ 0 w 34725"/>
                <a:gd name="connsiteY10" fmla="*/ 23316 h 6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725" h="69947">
                  <a:moveTo>
                    <a:pt x="0" y="23316"/>
                  </a:moveTo>
                  <a:cubicBezTo>
                    <a:pt x="0" y="28277"/>
                    <a:pt x="992" y="34229"/>
                    <a:pt x="2976" y="40182"/>
                  </a:cubicBezTo>
                  <a:cubicBezTo>
                    <a:pt x="4961" y="45639"/>
                    <a:pt x="6449" y="51592"/>
                    <a:pt x="8930" y="56057"/>
                  </a:cubicBezTo>
                  <a:cubicBezTo>
                    <a:pt x="12898" y="64490"/>
                    <a:pt x="9426" y="69947"/>
                    <a:pt x="17859" y="69947"/>
                  </a:cubicBezTo>
                  <a:cubicBezTo>
                    <a:pt x="26292" y="69947"/>
                    <a:pt x="21828" y="64490"/>
                    <a:pt x="25796" y="55561"/>
                  </a:cubicBezTo>
                  <a:cubicBezTo>
                    <a:pt x="27780" y="50600"/>
                    <a:pt x="30261" y="45639"/>
                    <a:pt x="32245" y="39686"/>
                  </a:cubicBezTo>
                  <a:cubicBezTo>
                    <a:pt x="33734" y="34229"/>
                    <a:pt x="34725" y="28277"/>
                    <a:pt x="34725" y="22820"/>
                  </a:cubicBezTo>
                  <a:cubicBezTo>
                    <a:pt x="34725" y="15379"/>
                    <a:pt x="33237" y="9922"/>
                    <a:pt x="31253" y="6449"/>
                  </a:cubicBezTo>
                  <a:cubicBezTo>
                    <a:pt x="28276" y="496"/>
                    <a:pt x="22819" y="0"/>
                    <a:pt x="17363" y="0"/>
                  </a:cubicBezTo>
                  <a:cubicBezTo>
                    <a:pt x="11410" y="0"/>
                    <a:pt x="5953" y="496"/>
                    <a:pt x="2976" y="6449"/>
                  </a:cubicBezTo>
                  <a:cubicBezTo>
                    <a:pt x="1488" y="10418"/>
                    <a:pt x="0" y="15875"/>
                    <a:pt x="0" y="23316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694B8857-7636-8680-25F1-74D0DC185053}"/>
                </a:ext>
              </a:extLst>
            </p:cNvPr>
            <p:cNvSpPr/>
            <p:nvPr/>
          </p:nvSpPr>
          <p:spPr>
            <a:xfrm>
              <a:off x="6064919" y="4752922"/>
              <a:ext cx="21827" cy="44151"/>
            </a:xfrm>
            <a:custGeom>
              <a:avLst/>
              <a:gdLst>
                <a:gd name="connsiteX0" fmla="*/ 21828 w 21827"/>
                <a:gd name="connsiteY0" fmla="*/ 0 h 44151"/>
                <a:gd name="connsiteX1" fmla="*/ 13890 w 21827"/>
                <a:gd name="connsiteY1" fmla="*/ 14386 h 44151"/>
                <a:gd name="connsiteX2" fmla="*/ 6945 w 21827"/>
                <a:gd name="connsiteY2" fmla="*/ 29269 h 44151"/>
                <a:gd name="connsiteX3" fmla="*/ 0 w 21827"/>
                <a:gd name="connsiteY3" fmla="*/ 44151 h 4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7" h="44151">
                  <a:moveTo>
                    <a:pt x="21828" y="0"/>
                  </a:moveTo>
                  <a:cubicBezTo>
                    <a:pt x="18355" y="7441"/>
                    <a:pt x="17363" y="6945"/>
                    <a:pt x="13890" y="14386"/>
                  </a:cubicBezTo>
                  <a:cubicBezTo>
                    <a:pt x="10418" y="21828"/>
                    <a:pt x="10418" y="21828"/>
                    <a:pt x="6945" y="29269"/>
                  </a:cubicBezTo>
                  <a:cubicBezTo>
                    <a:pt x="3472" y="36710"/>
                    <a:pt x="3472" y="36710"/>
                    <a:pt x="0" y="441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242DB136-8D04-7511-3752-2FA210474273}"/>
                </a:ext>
              </a:extLst>
            </p:cNvPr>
            <p:cNvSpPr/>
            <p:nvPr/>
          </p:nvSpPr>
          <p:spPr>
            <a:xfrm>
              <a:off x="6033665" y="4737544"/>
              <a:ext cx="21331" cy="44151"/>
            </a:xfrm>
            <a:custGeom>
              <a:avLst/>
              <a:gdLst>
                <a:gd name="connsiteX0" fmla="*/ 21332 w 21331"/>
                <a:gd name="connsiteY0" fmla="*/ 0 h 44151"/>
                <a:gd name="connsiteX1" fmla="*/ 13890 w 21331"/>
                <a:gd name="connsiteY1" fmla="*/ 14386 h 44151"/>
                <a:gd name="connsiteX2" fmla="*/ 6945 w 21331"/>
                <a:gd name="connsiteY2" fmla="*/ 29269 h 44151"/>
                <a:gd name="connsiteX3" fmla="*/ 0 w 21331"/>
                <a:gd name="connsiteY3" fmla="*/ 44151 h 4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31" h="44151">
                  <a:moveTo>
                    <a:pt x="21332" y="0"/>
                  </a:moveTo>
                  <a:cubicBezTo>
                    <a:pt x="17859" y="7441"/>
                    <a:pt x="17363" y="6945"/>
                    <a:pt x="13890" y="14386"/>
                  </a:cubicBezTo>
                  <a:cubicBezTo>
                    <a:pt x="10418" y="21828"/>
                    <a:pt x="10418" y="21828"/>
                    <a:pt x="6945" y="29269"/>
                  </a:cubicBezTo>
                  <a:cubicBezTo>
                    <a:pt x="3473" y="36710"/>
                    <a:pt x="3473" y="36710"/>
                    <a:pt x="0" y="441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F40F8F28-B3CC-601E-6EFE-1BD423E76A91}"/>
                </a:ext>
              </a:extLst>
            </p:cNvPr>
            <p:cNvSpPr/>
            <p:nvPr/>
          </p:nvSpPr>
          <p:spPr>
            <a:xfrm>
              <a:off x="5512784" y="4635848"/>
              <a:ext cx="174619" cy="165690"/>
            </a:xfrm>
            <a:custGeom>
              <a:avLst/>
              <a:gdLst>
                <a:gd name="connsiteX0" fmla="*/ 167178 w 174619"/>
                <a:gd name="connsiteY0" fmla="*/ 0 h 165690"/>
                <a:gd name="connsiteX1" fmla="*/ 171643 w 174619"/>
                <a:gd name="connsiteY1" fmla="*/ 14386 h 165690"/>
                <a:gd name="connsiteX2" fmla="*/ 171643 w 174619"/>
                <a:gd name="connsiteY2" fmla="*/ 29269 h 165690"/>
                <a:gd name="connsiteX3" fmla="*/ 174619 w 174619"/>
                <a:gd name="connsiteY3" fmla="*/ 44151 h 165690"/>
                <a:gd name="connsiteX4" fmla="*/ 171643 w 174619"/>
                <a:gd name="connsiteY4" fmla="*/ 60522 h 165690"/>
                <a:gd name="connsiteX5" fmla="*/ 170155 w 174619"/>
                <a:gd name="connsiteY5" fmla="*/ 77388 h 165690"/>
                <a:gd name="connsiteX6" fmla="*/ 165194 w 174619"/>
                <a:gd name="connsiteY6" fmla="*/ 93263 h 165690"/>
                <a:gd name="connsiteX7" fmla="*/ 159241 w 174619"/>
                <a:gd name="connsiteY7" fmla="*/ 108641 h 165690"/>
                <a:gd name="connsiteX8" fmla="*/ 150808 w 174619"/>
                <a:gd name="connsiteY8" fmla="*/ 123027 h 165690"/>
                <a:gd name="connsiteX9" fmla="*/ 140390 w 174619"/>
                <a:gd name="connsiteY9" fmla="*/ 135925 h 165690"/>
                <a:gd name="connsiteX10" fmla="*/ 128980 w 174619"/>
                <a:gd name="connsiteY10" fmla="*/ 148327 h 165690"/>
                <a:gd name="connsiteX11" fmla="*/ 115090 w 174619"/>
                <a:gd name="connsiteY11" fmla="*/ 158249 h 165690"/>
                <a:gd name="connsiteX12" fmla="*/ 99216 w 174619"/>
                <a:gd name="connsiteY12" fmla="*/ 163706 h 165690"/>
                <a:gd name="connsiteX13" fmla="*/ 82349 w 174619"/>
                <a:gd name="connsiteY13" fmla="*/ 165690 h 165690"/>
                <a:gd name="connsiteX14" fmla="*/ 66475 w 174619"/>
                <a:gd name="connsiteY14" fmla="*/ 162714 h 165690"/>
                <a:gd name="connsiteX15" fmla="*/ 50600 w 174619"/>
                <a:gd name="connsiteY15" fmla="*/ 157753 h 165690"/>
                <a:gd name="connsiteX16" fmla="*/ 36710 w 174619"/>
                <a:gd name="connsiteY16" fmla="*/ 148823 h 165690"/>
                <a:gd name="connsiteX17" fmla="*/ 25300 w 174619"/>
                <a:gd name="connsiteY17" fmla="*/ 136917 h 165690"/>
                <a:gd name="connsiteX18" fmla="*/ 13890 w 174619"/>
                <a:gd name="connsiteY18" fmla="*/ 125012 h 165690"/>
                <a:gd name="connsiteX19" fmla="*/ 7441 w 174619"/>
                <a:gd name="connsiteY19" fmla="*/ 109633 h 165690"/>
                <a:gd name="connsiteX20" fmla="*/ 0 w 174619"/>
                <a:gd name="connsiteY20" fmla="*/ 94751 h 16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4619" h="165690">
                  <a:moveTo>
                    <a:pt x="167178" y="0"/>
                  </a:moveTo>
                  <a:cubicBezTo>
                    <a:pt x="168667" y="4465"/>
                    <a:pt x="170651" y="9426"/>
                    <a:pt x="171643" y="14386"/>
                  </a:cubicBezTo>
                  <a:cubicBezTo>
                    <a:pt x="172635" y="19347"/>
                    <a:pt x="171147" y="24308"/>
                    <a:pt x="171643" y="29269"/>
                  </a:cubicBezTo>
                  <a:cubicBezTo>
                    <a:pt x="172139" y="34229"/>
                    <a:pt x="174619" y="39190"/>
                    <a:pt x="174619" y="44151"/>
                  </a:cubicBezTo>
                  <a:cubicBezTo>
                    <a:pt x="174619" y="49608"/>
                    <a:pt x="172139" y="55065"/>
                    <a:pt x="171643" y="60522"/>
                  </a:cubicBezTo>
                  <a:cubicBezTo>
                    <a:pt x="171147" y="65978"/>
                    <a:pt x="171147" y="71931"/>
                    <a:pt x="170155" y="77388"/>
                  </a:cubicBezTo>
                  <a:cubicBezTo>
                    <a:pt x="169163" y="82845"/>
                    <a:pt x="166682" y="88302"/>
                    <a:pt x="165194" y="93263"/>
                  </a:cubicBezTo>
                  <a:cubicBezTo>
                    <a:pt x="163210" y="98720"/>
                    <a:pt x="161722" y="103680"/>
                    <a:pt x="159241" y="108641"/>
                  </a:cubicBezTo>
                  <a:cubicBezTo>
                    <a:pt x="156761" y="113602"/>
                    <a:pt x="153784" y="118563"/>
                    <a:pt x="150808" y="123027"/>
                  </a:cubicBezTo>
                  <a:cubicBezTo>
                    <a:pt x="147831" y="127988"/>
                    <a:pt x="144359" y="131957"/>
                    <a:pt x="140390" y="135925"/>
                  </a:cubicBezTo>
                  <a:cubicBezTo>
                    <a:pt x="136421" y="140390"/>
                    <a:pt x="133445" y="144855"/>
                    <a:pt x="128980" y="148327"/>
                  </a:cubicBezTo>
                  <a:cubicBezTo>
                    <a:pt x="124516" y="151800"/>
                    <a:pt x="120051" y="155769"/>
                    <a:pt x="115090" y="158249"/>
                  </a:cubicBezTo>
                  <a:cubicBezTo>
                    <a:pt x="110129" y="160729"/>
                    <a:pt x="104673" y="162218"/>
                    <a:pt x="99216" y="163706"/>
                  </a:cubicBezTo>
                  <a:cubicBezTo>
                    <a:pt x="93759" y="165194"/>
                    <a:pt x="88302" y="165690"/>
                    <a:pt x="82349" y="165690"/>
                  </a:cubicBezTo>
                  <a:cubicBezTo>
                    <a:pt x="76892" y="165690"/>
                    <a:pt x="71435" y="164202"/>
                    <a:pt x="66475" y="162714"/>
                  </a:cubicBezTo>
                  <a:cubicBezTo>
                    <a:pt x="61018" y="161225"/>
                    <a:pt x="55561" y="160233"/>
                    <a:pt x="50600" y="157753"/>
                  </a:cubicBezTo>
                  <a:cubicBezTo>
                    <a:pt x="45639" y="155272"/>
                    <a:pt x="41175" y="152296"/>
                    <a:pt x="36710" y="148823"/>
                  </a:cubicBezTo>
                  <a:cubicBezTo>
                    <a:pt x="32245" y="145351"/>
                    <a:pt x="29269" y="141382"/>
                    <a:pt x="25300" y="136917"/>
                  </a:cubicBezTo>
                  <a:cubicBezTo>
                    <a:pt x="21828" y="132949"/>
                    <a:pt x="16867" y="129476"/>
                    <a:pt x="13890" y="125012"/>
                  </a:cubicBezTo>
                  <a:cubicBezTo>
                    <a:pt x="10914" y="120547"/>
                    <a:pt x="9922" y="114594"/>
                    <a:pt x="7441" y="109633"/>
                  </a:cubicBezTo>
                  <a:cubicBezTo>
                    <a:pt x="4961" y="104672"/>
                    <a:pt x="1984" y="100208"/>
                    <a:pt x="0" y="947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229002AC-839D-06E6-1628-C091AC71BA8C}"/>
                </a:ext>
              </a:extLst>
            </p:cNvPr>
            <p:cNvSpPr/>
            <p:nvPr/>
          </p:nvSpPr>
          <p:spPr>
            <a:xfrm>
              <a:off x="5455424" y="4771773"/>
              <a:ext cx="165321" cy="300657"/>
            </a:xfrm>
            <a:custGeom>
              <a:avLst/>
              <a:gdLst>
                <a:gd name="connsiteX0" fmla="*/ 81172 w 165321"/>
                <a:gd name="connsiteY0" fmla="*/ 0 h 300657"/>
                <a:gd name="connsiteX1" fmla="*/ 72242 w 165321"/>
                <a:gd name="connsiteY1" fmla="*/ 12898 h 300657"/>
                <a:gd name="connsiteX2" fmla="*/ 61328 w 165321"/>
                <a:gd name="connsiteY2" fmla="*/ 24308 h 300657"/>
                <a:gd name="connsiteX3" fmla="*/ 52895 w 165321"/>
                <a:gd name="connsiteY3" fmla="*/ 37702 h 300657"/>
                <a:gd name="connsiteX4" fmla="*/ 42974 w 165321"/>
                <a:gd name="connsiteY4" fmla="*/ 50104 h 300657"/>
                <a:gd name="connsiteX5" fmla="*/ 35532 w 165321"/>
                <a:gd name="connsiteY5" fmla="*/ 63994 h 300657"/>
                <a:gd name="connsiteX6" fmla="*/ 27099 w 165321"/>
                <a:gd name="connsiteY6" fmla="*/ 77388 h 300657"/>
                <a:gd name="connsiteX7" fmla="*/ 18666 w 165321"/>
                <a:gd name="connsiteY7" fmla="*/ 90782 h 300657"/>
                <a:gd name="connsiteX8" fmla="*/ 10728 w 165321"/>
                <a:gd name="connsiteY8" fmla="*/ 104176 h 300657"/>
                <a:gd name="connsiteX9" fmla="*/ 3287 w 165321"/>
                <a:gd name="connsiteY9" fmla="*/ 118066 h 300657"/>
                <a:gd name="connsiteX10" fmla="*/ 311 w 165321"/>
                <a:gd name="connsiteY10" fmla="*/ 133941 h 300657"/>
                <a:gd name="connsiteX11" fmla="*/ 7752 w 165321"/>
                <a:gd name="connsiteY11" fmla="*/ 148823 h 300657"/>
                <a:gd name="connsiteX12" fmla="*/ 17673 w 165321"/>
                <a:gd name="connsiteY12" fmla="*/ 162217 h 300657"/>
                <a:gd name="connsiteX13" fmla="*/ 26603 w 165321"/>
                <a:gd name="connsiteY13" fmla="*/ 176108 h 300657"/>
                <a:gd name="connsiteX14" fmla="*/ 37517 w 165321"/>
                <a:gd name="connsiteY14" fmla="*/ 188510 h 300657"/>
                <a:gd name="connsiteX15" fmla="*/ 47438 w 165321"/>
                <a:gd name="connsiteY15" fmla="*/ 201903 h 300657"/>
                <a:gd name="connsiteX16" fmla="*/ 57360 w 165321"/>
                <a:gd name="connsiteY16" fmla="*/ 215298 h 300657"/>
                <a:gd name="connsiteX17" fmla="*/ 69762 w 165321"/>
                <a:gd name="connsiteY17" fmla="*/ 226211 h 300657"/>
                <a:gd name="connsiteX18" fmla="*/ 80179 w 165321"/>
                <a:gd name="connsiteY18" fmla="*/ 239606 h 300657"/>
                <a:gd name="connsiteX19" fmla="*/ 92581 w 165321"/>
                <a:gd name="connsiteY19" fmla="*/ 251015 h 300657"/>
                <a:gd name="connsiteX20" fmla="*/ 104487 w 165321"/>
                <a:gd name="connsiteY20" fmla="*/ 262425 h 300657"/>
                <a:gd name="connsiteX21" fmla="*/ 115401 w 165321"/>
                <a:gd name="connsiteY21" fmla="*/ 275323 h 300657"/>
                <a:gd name="connsiteX22" fmla="*/ 128795 w 165321"/>
                <a:gd name="connsiteY22" fmla="*/ 285245 h 300657"/>
                <a:gd name="connsiteX23" fmla="*/ 142685 w 165321"/>
                <a:gd name="connsiteY23" fmla="*/ 294174 h 300657"/>
                <a:gd name="connsiteX24" fmla="*/ 158064 w 165321"/>
                <a:gd name="connsiteY24" fmla="*/ 300623 h 300657"/>
                <a:gd name="connsiteX25" fmla="*/ 164513 w 165321"/>
                <a:gd name="connsiteY25" fmla="*/ 289213 h 300657"/>
                <a:gd name="connsiteX26" fmla="*/ 157071 w 165321"/>
                <a:gd name="connsiteY26" fmla="*/ 275323 h 300657"/>
                <a:gd name="connsiteX27" fmla="*/ 150126 w 165321"/>
                <a:gd name="connsiteY27" fmla="*/ 260937 h 300657"/>
                <a:gd name="connsiteX28" fmla="*/ 141197 w 165321"/>
                <a:gd name="connsiteY28" fmla="*/ 248039 h 300657"/>
                <a:gd name="connsiteX29" fmla="*/ 132268 w 165321"/>
                <a:gd name="connsiteY29" fmla="*/ 235141 h 300657"/>
                <a:gd name="connsiteX30" fmla="*/ 121850 w 165321"/>
                <a:gd name="connsiteY30" fmla="*/ 223235 h 300657"/>
                <a:gd name="connsiteX31" fmla="*/ 113417 w 165321"/>
                <a:gd name="connsiteY31" fmla="*/ 209841 h 300657"/>
                <a:gd name="connsiteX32" fmla="*/ 103495 w 165321"/>
                <a:gd name="connsiteY32" fmla="*/ 197439 h 300657"/>
                <a:gd name="connsiteX33" fmla="*/ 92581 w 165321"/>
                <a:gd name="connsiteY33" fmla="*/ 186029 h 300657"/>
                <a:gd name="connsiteX34" fmla="*/ 81668 w 165321"/>
                <a:gd name="connsiteY34" fmla="*/ 174123 h 300657"/>
                <a:gd name="connsiteX35" fmla="*/ 71746 w 165321"/>
                <a:gd name="connsiteY35" fmla="*/ 162217 h 300657"/>
                <a:gd name="connsiteX36" fmla="*/ 60832 w 165321"/>
                <a:gd name="connsiteY36" fmla="*/ 149815 h 300657"/>
                <a:gd name="connsiteX37" fmla="*/ 74226 w 165321"/>
                <a:gd name="connsiteY37" fmla="*/ 138902 h 300657"/>
                <a:gd name="connsiteX38" fmla="*/ 84148 w 165321"/>
                <a:gd name="connsiteY38" fmla="*/ 125508 h 300657"/>
                <a:gd name="connsiteX39" fmla="*/ 96054 w 165321"/>
                <a:gd name="connsiteY39" fmla="*/ 114098 h 300657"/>
                <a:gd name="connsiteX40" fmla="*/ 105976 w 165321"/>
                <a:gd name="connsiteY40" fmla="*/ 100704 h 30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65321" h="300657">
                  <a:moveTo>
                    <a:pt x="81172" y="0"/>
                  </a:moveTo>
                  <a:cubicBezTo>
                    <a:pt x="76211" y="5953"/>
                    <a:pt x="78195" y="5457"/>
                    <a:pt x="72242" y="12898"/>
                  </a:cubicBezTo>
                  <a:cubicBezTo>
                    <a:pt x="69266" y="16371"/>
                    <a:pt x="64801" y="19843"/>
                    <a:pt x="61328" y="24308"/>
                  </a:cubicBezTo>
                  <a:cubicBezTo>
                    <a:pt x="58352" y="28276"/>
                    <a:pt x="55871" y="33237"/>
                    <a:pt x="52895" y="37702"/>
                  </a:cubicBezTo>
                  <a:cubicBezTo>
                    <a:pt x="49918" y="41670"/>
                    <a:pt x="45950" y="45639"/>
                    <a:pt x="42974" y="50104"/>
                  </a:cubicBezTo>
                  <a:cubicBezTo>
                    <a:pt x="39997" y="54569"/>
                    <a:pt x="38509" y="59529"/>
                    <a:pt x="35532" y="63994"/>
                  </a:cubicBezTo>
                  <a:cubicBezTo>
                    <a:pt x="32556" y="68459"/>
                    <a:pt x="30075" y="72923"/>
                    <a:pt x="27099" y="77388"/>
                  </a:cubicBezTo>
                  <a:cubicBezTo>
                    <a:pt x="24123" y="81853"/>
                    <a:pt x="21642" y="86317"/>
                    <a:pt x="18666" y="90782"/>
                  </a:cubicBezTo>
                  <a:cubicBezTo>
                    <a:pt x="15689" y="95743"/>
                    <a:pt x="12713" y="99712"/>
                    <a:pt x="10728" y="104176"/>
                  </a:cubicBezTo>
                  <a:cubicBezTo>
                    <a:pt x="8248" y="109137"/>
                    <a:pt x="5271" y="114098"/>
                    <a:pt x="3287" y="118066"/>
                  </a:cubicBezTo>
                  <a:cubicBezTo>
                    <a:pt x="807" y="124515"/>
                    <a:pt x="-681" y="129972"/>
                    <a:pt x="311" y="133941"/>
                  </a:cubicBezTo>
                  <a:cubicBezTo>
                    <a:pt x="807" y="137413"/>
                    <a:pt x="3783" y="142374"/>
                    <a:pt x="7752" y="148823"/>
                  </a:cubicBezTo>
                  <a:cubicBezTo>
                    <a:pt x="10232" y="152792"/>
                    <a:pt x="14201" y="157256"/>
                    <a:pt x="17673" y="162217"/>
                  </a:cubicBezTo>
                  <a:cubicBezTo>
                    <a:pt x="20650" y="166682"/>
                    <a:pt x="23130" y="171643"/>
                    <a:pt x="26603" y="176108"/>
                  </a:cubicBezTo>
                  <a:cubicBezTo>
                    <a:pt x="29579" y="180572"/>
                    <a:pt x="34044" y="184045"/>
                    <a:pt x="37517" y="188510"/>
                  </a:cubicBezTo>
                  <a:cubicBezTo>
                    <a:pt x="40989" y="192974"/>
                    <a:pt x="43469" y="197439"/>
                    <a:pt x="47438" y="201903"/>
                  </a:cubicBezTo>
                  <a:cubicBezTo>
                    <a:pt x="50911" y="205872"/>
                    <a:pt x="53887" y="210833"/>
                    <a:pt x="57360" y="215298"/>
                  </a:cubicBezTo>
                  <a:cubicBezTo>
                    <a:pt x="60832" y="219266"/>
                    <a:pt x="66289" y="222243"/>
                    <a:pt x="69762" y="226211"/>
                  </a:cubicBezTo>
                  <a:cubicBezTo>
                    <a:pt x="73234" y="230180"/>
                    <a:pt x="76211" y="235141"/>
                    <a:pt x="80179" y="239606"/>
                  </a:cubicBezTo>
                  <a:cubicBezTo>
                    <a:pt x="84148" y="243574"/>
                    <a:pt x="88613" y="247047"/>
                    <a:pt x="92581" y="251015"/>
                  </a:cubicBezTo>
                  <a:cubicBezTo>
                    <a:pt x="96550" y="254984"/>
                    <a:pt x="101015" y="258456"/>
                    <a:pt x="104487" y="262425"/>
                  </a:cubicBezTo>
                  <a:cubicBezTo>
                    <a:pt x="108456" y="266394"/>
                    <a:pt x="111432" y="271851"/>
                    <a:pt x="115401" y="275323"/>
                  </a:cubicBezTo>
                  <a:cubicBezTo>
                    <a:pt x="119866" y="279292"/>
                    <a:pt x="124826" y="282268"/>
                    <a:pt x="128795" y="285245"/>
                  </a:cubicBezTo>
                  <a:cubicBezTo>
                    <a:pt x="133756" y="288717"/>
                    <a:pt x="138221" y="291694"/>
                    <a:pt x="142685" y="294174"/>
                  </a:cubicBezTo>
                  <a:cubicBezTo>
                    <a:pt x="148638" y="297647"/>
                    <a:pt x="154095" y="300127"/>
                    <a:pt x="158064" y="300623"/>
                  </a:cubicBezTo>
                  <a:cubicBezTo>
                    <a:pt x="165009" y="301119"/>
                    <a:pt x="166497" y="296158"/>
                    <a:pt x="164513" y="289213"/>
                  </a:cubicBezTo>
                  <a:cubicBezTo>
                    <a:pt x="163520" y="285245"/>
                    <a:pt x="160544" y="280780"/>
                    <a:pt x="157071" y="275323"/>
                  </a:cubicBezTo>
                  <a:cubicBezTo>
                    <a:pt x="154591" y="271354"/>
                    <a:pt x="153103" y="265898"/>
                    <a:pt x="150126" y="260937"/>
                  </a:cubicBezTo>
                  <a:cubicBezTo>
                    <a:pt x="147646" y="256968"/>
                    <a:pt x="144173" y="252503"/>
                    <a:pt x="141197" y="248039"/>
                  </a:cubicBezTo>
                  <a:cubicBezTo>
                    <a:pt x="138221" y="244070"/>
                    <a:pt x="135740" y="239109"/>
                    <a:pt x="132268" y="235141"/>
                  </a:cubicBezTo>
                  <a:cubicBezTo>
                    <a:pt x="129291" y="231172"/>
                    <a:pt x="124826" y="227700"/>
                    <a:pt x="121850" y="223235"/>
                  </a:cubicBezTo>
                  <a:cubicBezTo>
                    <a:pt x="118377" y="219266"/>
                    <a:pt x="116393" y="213809"/>
                    <a:pt x="113417" y="209841"/>
                  </a:cubicBezTo>
                  <a:cubicBezTo>
                    <a:pt x="109944" y="205872"/>
                    <a:pt x="106471" y="201408"/>
                    <a:pt x="103495" y="197439"/>
                  </a:cubicBezTo>
                  <a:cubicBezTo>
                    <a:pt x="100023" y="192974"/>
                    <a:pt x="95558" y="189998"/>
                    <a:pt x="92581" y="186029"/>
                  </a:cubicBezTo>
                  <a:cubicBezTo>
                    <a:pt x="89109" y="181564"/>
                    <a:pt x="85140" y="178092"/>
                    <a:pt x="81668" y="174123"/>
                  </a:cubicBezTo>
                  <a:cubicBezTo>
                    <a:pt x="77699" y="169658"/>
                    <a:pt x="74722" y="165194"/>
                    <a:pt x="71746" y="162217"/>
                  </a:cubicBezTo>
                  <a:cubicBezTo>
                    <a:pt x="65297" y="154776"/>
                    <a:pt x="59840" y="157753"/>
                    <a:pt x="60832" y="149815"/>
                  </a:cubicBezTo>
                  <a:cubicBezTo>
                    <a:pt x="61824" y="141382"/>
                    <a:pt x="67777" y="145351"/>
                    <a:pt x="74226" y="138902"/>
                  </a:cubicBezTo>
                  <a:cubicBezTo>
                    <a:pt x="77699" y="135429"/>
                    <a:pt x="80179" y="129972"/>
                    <a:pt x="84148" y="125508"/>
                  </a:cubicBezTo>
                  <a:cubicBezTo>
                    <a:pt x="88117" y="121539"/>
                    <a:pt x="93077" y="118066"/>
                    <a:pt x="96054" y="114098"/>
                  </a:cubicBezTo>
                  <a:cubicBezTo>
                    <a:pt x="102007" y="107153"/>
                    <a:pt x="106471" y="101696"/>
                    <a:pt x="105976" y="10070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D69A347-1EC3-5799-BBEB-17365E69B7CE}"/>
                </a:ext>
              </a:extLst>
            </p:cNvPr>
            <p:cNvSpPr/>
            <p:nvPr/>
          </p:nvSpPr>
          <p:spPr>
            <a:xfrm>
              <a:off x="5675993" y="4736055"/>
              <a:ext cx="217282" cy="294670"/>
            </a:xfrm>
            <a:custGeom>
              <a:avLst/>
              <a:gdLst>
                <a:gd name="connsiteX0" fmla="*/ 0 w 217282"/>
                <a:gd name="connsiteY0" fmla="*/ 0 h 294670"/>
                <a:gd name="connsiteX1" fmla="*/ 8929 w 217282"/>
                <a:gd name="connsiteY1" fmla="*/ 13394 h 294670"/>
                <a:gd name="connsiteX2" fmla="*/ 16867 w 217282"/>
                <a:gd name="connsiteY2" fmla="*/ 27284 h 294670"/>
                <a:gd name="connsiteX3" fmla="*/ 24308 w 217282"/>
                <a:gd name="connsiteY3" fmla="*/ 41174 h 294670"/>
                <a:gd name="connsiteX4" fmla="*/ 32245 w 217282"/>
                <a:gd name="connsiteY4" fmla="*/ 54569 h 294670"/>
                <a:gd name="connsiteX5" fmla="*/ 40678 w 217282"/>
                <a:gd name="connsiteY5" fmla="*/ 67963 h 294670"/>
                <a:gd name="connsiteX6" fmla="*/ 48120 w 217282"/>
                <a:gd name="connsiteY6" fmla="*/ 81853 h 294670"/>
                <a:gd name="connsiteX7" fmla="*/ 56057 w 217282"/>
                <a:gd name="connsiteY7" fmla="*/ 95743 h 294670"/>
                <a:gd name="connsiteX8" fmla="*/ 65978 w 217282"/>
                <a:gd name="connsiteY8" fmla="*/ 108145 h 294670"/>
                <a:gd name="connsiteX9" fmla="*/ 72427 w 217282"/>
                <a:gd name="connsiteY9" fmla="*/ 123027 h 294670"/>
                <a:gd name="connsiteX10" fmla="*/ 82349 w 217282"/>
                <a:gd name="connsiteY10" fmla="*/ 135429 h 294670"/>
                <a:gd name="connsiteX11" fmla="*/ 90286 w 217282"/>
                <a:gd name="connsiteY11" fmla="*/ 149319 h 294670"/>
                <a:gd name="connsiteX12" fmla="*/ 99216 w 217282"/>
                <a:gd name="connsiteY12" fmla="*/ 161721 h 294670"/>
                <a:gd name="connsiteX13" fmla="*/ 109137 w 217282"/>
                <a:gd name="connsiteY13" fmla="*/ 174619 h 294670"/>
                <a:gd name="connsiteX14" fmla="*/ 120051 w 217282"/>
                <a:gd name="connsiteY14" fmla="*/ 186525 h 294670"/>
                <a:gd name="connsiteX15" fmla="*/ 130469 w 217282"/>
                <a:gd name="connsiteY15" fmla="*/ 198927 h 294670"/>
                <a:gd name="connsiteX16" fmla="*/ 141382 w 217282"/>
                <a:gd name="connsiteY16" fmla="*/ 210833 h 294670"/>
                <a:gd name="connsiteX17" fmla="*/ 151800 w 217282"/>
                <a:gd name="connsiteY17" fmla="*/ 223235 h 294670"/>
                <a:gd name="connsiteX18" fmla="*/ 162217 w 217282"/>
                <a:gd name="connsiteY18" fmla="*/ 235637 h 294670"/>
                <a:gd name="connsiteX19" fmla="*/ 173131 w 217282"/>
                <a:gd name="connsiteY19" fmla="*/ 247543 h 294670"/>
                <a:gd name="connsiteX20" fmla="*/ 183053 w 217282"/>
                <a:gd name="connsiteY20" fmla="*/ 259945 h 294670"/>
                <a:gd name="connsiteX21" fmla="*/ 194959 w 217282"/>
                <a:gd name="connsiteY21" fmla="*/ 270858 h 294670"/>
                <a:gd name="connsiteX22" fmla="*/ 205872 w 217282"/>
                <a:gd name="connsiteY22" fmla="*/ 282764 h 294670"/>
                <a:gd name="connsiteX23" fmla="*/ 217282 w 217282"/>
                <a:gd name="connsiteY23" fmla="*/ 294670 h 29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7282" h="294670">
                  <a:moveTo>
                    <a:pt x="0" y="0"/>
                  </a:moveTo>
                  <a:cubicBezTo>
                    <a:pt x="3969" y="6945"/>
                    <a:pt x="3473" y="4961"/>
                    <a:pt x="8929" y="13394"/>
                  </a:cubicBezTo>
                  <a:cubicBezTo>
                    <a:pt x="11410" y="17363"/>
                    <a:pt x="13890" y="21827"/>
                    <a:pt x="16867" y="27284"/>
                  </a:cubicBezTo>
                  <a:cubicBezTo>
                    <a:pt x="19347" y="31253"/>
                    <a:pt x="21828" y="36214"/>
                    <a:pt x="24308" y="41174"/>
                  </a:cubicBezTo>
                  <a:cubicBezTo>
                    <a:pt x="26788" y="45639"/>
                    <a:pt x="29765" y="50104"/>
                    <a:pt x="32245" y="54569"/>
                  </a:cubicBezTo>
                  <a:cubicBezTo>
                    <a:pt x="34725" y="59033"/>
                    <a:pt x="38198" y="63002"/>
                    <a:pt x="40678" y="67963"/>
                  </a:cubicBezTo>
                  <a:cubicBezTo>
                    <a:pt x="43159" y="72427"/>
                    <a:pt x="45143" y="77388"/>
                    <a:pt x="48120" y="81853"/>
                  </a:cubicBezTo>
                  <a:cubicBezTo>
                    <a:pt x="50600" y="86317"/>
                    <a:pt x="53576" y="91278"/>
                    <a:pt x="56057" y="95743"/>
                  </a:cubicBezTo>
                  <a:cubicBezTo>
                    <a:pt x="59033" y="100208"/>
                    <a:pt x="63498" y="103680"/>
                    <a:pt x="65978" y="108145"/>
                  </a:cubicBezTo>
                  <a:cubicBezTo>
                    <a:pt x="68955" y="112610"/>
                    <a:pt x="69947" y="118562"/>
                    <a:pt x="72427" y="123027"/>
                  </a:cubicBezTo>
                  <a:cubicBezTo>
                    <a:pt x="75404" y="127988"/>
                    <a:pt x="79868" y="131461"/>
                    <a:pt x="82349" y="135429"/>
                  </a:cubicBezTo>
                  <a:cubicBezTo>
                    <a:pt x="85325" y="140390"/>
                    <a:pt x="87806" y="145351"/>
                    <a:pt x="90286" y="149319"/>
                  </a:cubicBezTo>
                  <a:cubicBezTo>
                    <a:pt x="95247" y="157257"/>
                    <a:pt x="98720" y="161225"/>
                    <a:pt x="99216" y="161721"/>
                  </a:cubicBezTo>
                  <a:cubicBezTo>
                    <a:pt x="100208" y="162218"/>
                    <a:pt x="103184" y="167674"/>
                    <a:pt x="109137" y="174619"/>
                  </a:cubicBezTo>
                  <a:cubicBezTo>
                    <a:pt x="112113" y="178092"/>
                    <a:pt x="116082" y="181564"/>
                    <a:pt x="120051" y="186525"/>
                  </a:cubicBezTo>
                  <a:cubicBezTo>
                    <a:pt x="123524" y="190494"/>
                    <a:pt x="126500" y="194463"/>
                    <a:pt x="130469" y="198927"/>
                  </a:cubicBezTo>
                  <a:cubicBezTo>
                    <a:pt x="133941" y="202896"/>
                    <a:pt x="137910" y="206368"/>
                    <a:pt x="141382" y="210833"/>
                  </a:cubicBezTo>
                  <a:cubicBezTo>
                    <a:pt x="144855" y="214802"/>
                    <a:pt x="148327" y="218770"/>
                    <a:pt x="151800" y="223235"/>
                  </a:cubicBezTo>
                  <a:cubicBezTo>
                    <a:pt x="155273" y="227204"/>
                    <a:pt x="158745" y="231668"/>
                    <a:pt x="162217" y="235637"/>
                  </a:cubicBezTo>
                  <a:cubicBezTo>
                    <a:pt x="165690" y="239606"/>
                    <a:pt x="169658" y="243574"/>
                    <a:pt x="173131" y="247543"/>
                  </a:cubicBezTo>
                  <a:cubicBezTo>
                    <a:pt x="176604" y="251512"/>
                    <a:pt x="179580" y="256472"/>
                    <a:pt x="183053" y="259945"/>
                  </a:cubicBezTo>
                  <a:cubicBezTo>
                    <a:pt x="187021" y="264409"/>
                    <a:pt x="191486" y="267386"/>
                    <a:pt x="194959" y="270858"/>
                  </a:cubicBezTo>
                  <a:cubicBezTo>
                    <a:pt x="198927" y="275323"/>
                    <a:pt x="202896" y="279292"/>
                    <a:pt x="205872" y="282764"/>
                  </a:cubicBezTo>
                  <a:cubicBezTo>
                    <a:pt x="212322" y="289213"/>
                    <a:pt x="215794" y="294670"/>
                    <a:pt x="217282" y="294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94441BB0-ADF3-379E-5259-39AE81993659}"/>
                </a:ext>
              </a:extLst>
            </p:cNvPr>
            <p:cNvSpPr/>
            <p:nvPr/>
          </p:nvSpPr>
          <p:spPr>
            <a:xfrm>
              <a:off x="5702782" y="4899761"/>
              <a:ext cx="182556" cy="156264"/>
            </a:xfrm>
            <a:custGeom>
              <a:avLst/>
              <a:gdLst>
                <a:gd name="connsiteX0" fmla="*/ 182556 w 182556"/>
                <a:gd name="connsiteY0" fmla="*/ 156265 h 156264"/>
                <a:gd name="connsiteX1" fmla="*/ 170154 w 182556"/>
                <a:gd name="connsiteY1" fmla="*/ 146343 h 156264"/>
                <a:gd name="connsiteX2" fmla="*/ 159241 w 182556"/>
                <a:gd name="connsiteY2" fmla="*/ 134933 h 156264"/>
                <a:gd name="connsiteX3" fmla="*/ 147335 w 182556"/>
                <a:gd name="connsiteY3" fmla="*/ 124515 h 156264"/>
                <a:gd name="connsiteX4" fmla="*/ 135429 w 182556"/>
                <a:gd name="connsiteY4" fmla="*/ 113602 h 156264"/>
                <a:gd name="connsiteX5" fmla="*/ 122035 w 182556"/>
                <a:gd name="connsiteY5" fmla="*/ 104672 h 156264"/>
                <a:gd name="connsiteX6" fmla="*/ 110129 w 182556"/>
                <a:gd name="connsiteY6" fmla="*/ 94255 h 156264"/>
                <a:gd name="connsiteX7" fmla="*/ 98223 w 182556"/>
                <a:gd name="connsiteY7" fmla="*/ 83341 h 156264"/>
                <a:gd name="connsiteX8" fmla="*/ 86814 w 182556"/>
                <a:gd name="connsiteY8" fmla="*/ 72427 h 156264"/>
                <a:gd name="connsiteX9" fmla="*/ 74412 w 182556"/>
                <a:gd name="connsiteY9" fmla="*/ 62506 h 156264"/>
                <a:gd name="connsiteX10" fmla="*/ 62506 w 182556"/>
                <a:gd name="connsiteY10" fmla="*/ 52088 h 156264"/>
                <a:gd name="connsiteX11" fmla="*/ 50600 w 182556"/>
                <a:gd name="connsiteY11" fmla="*/ 41670 h 156264"/>
                <a:gd name="connsiteX12" fmla="*/ 37206 w 182556"/>
                <a:gd name="connsiteY12" fmla="*/ 32245 h 156264"/>
                <a:gd name="connsiteX13" fmla="*/ 25300 w 182556"/>
                <a:gd name="connsiteY13" fmla="*/ 20835 h 156264"/>
                <a:gd name="connsiteX14" fmla="*/ 12402 w 182556"/>
                <a:gd name="connsiteY14" fmla="*/ 10914 h 156264"/>
                <a:gd name="connsiteX15" fmla="*/ 0 w 182556"/>
                <a:gd name="connsiteY15" fmla="*/ 0 h 156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2556" h="156264">
                  <a:moveTo>
                    <a:pt x="182556" y="156265"/>
                  </a:moveTo>
                  <a:cubicBezTo>
                    <a:pt x="176604" y="151304"/>
                    <a:pt x="176108" y="151800"/>
                    <a:pt x="170154" y="146343"/>
                  </a:cubicBezTo>
                  <a:cubicBezTo>
                    <a:pt x="164202" y="141382"/>
                    <a:pt x="165194" y="139894"/>
                    <a:pt x="159241" y="134933"/>
                  </a:cubicBezTo>
                  <a:cubicBezTo>
                    <a:pt x="153288" y="129972"/>
                    <a:pt x="153288" y="129476"/>
                    <a:pt x="147335" y="124515"/>
                  </a:cubicBezTo>
                  <a:cubicBezTo>
                    <a:pt x="141382" y="119555"/>
                    <a:pt x="141382" y="119059"/>
                    <a:pt x="135429" y="113602"/>
                  </a:cubicBezTo>
                  <a:cubicBezTo>
                    <a:pt x="129476" y="108641"/>
                    <a:pt x="128484" y="109633"/>
                    <a:pt x="122035" y="104672"/>
                  </a:cubicBezTo>
                  <a:cubicBezTo>
                    <a:pt x="116082" y="99712"/>
                    <a:pt x="116082" y="99216"/>
                    <a:pt x="110129" y="94255"/>
                  </a:cubicBezTo>
                  <a:cubicBezTo>
                    <a:pt x="104176" y="89294"/>
                    <a:pt x="104672" y="88798"/>
                    <a:pt x="98223" y="83341"/>
                  </a:cubicBezTo>
                  <a:cubicBezTo>
                    <a:pt x="92270" y="78380"/>
                    <a:pt x="92766" y="77388"/>
                    <a:pt x="86814" y="72427"/>
                  </a:cubicBezTo>
                  <a:cubicBezTo>
                    <a:pt x="80860" y="67466"/>
                    <a:pt x="80364" y="67963"/>
                    <a:pt x="74412" y="62506"/>
                  </a:cubicBezTo>
                  <a:cubicBezTo>
                    <a:pt x="68459" y="57545"/>
                    <a:pt x="68459" y="57049"/>
                    <a:pt x="62506" y="52088"/>
                  </a:cubicBezTo>
                  <a:cubicBezTo>
                    <a:pt x="56553" y="47127"/>
                    <a:pt x="56553" y="46631"/>
                    <a:pt x="50600" y="41670"/>
                  </a:cubicBezTo>
                  <a:cubicBezTo>
                    <a:pt x="44151" y="36214"/>
                    <a:pt x="43655" y="37206"/>
                    <a:pt x="37206" y="32245"/>
                  </a:cubicBezTo>
                  <a:cubicBezTo>
                    <a:pt x="30757" y="27284"/>
                    <a:pt x="31749" y="25796"/>
                    <a:pt x="25300" y="20835"/>
                  </a:cubicBezTo>
                  <a:cubicBezTo>
                    <a:pt x="18851" y="15875"/>
                    <a:pt x="18851" y="15875"/>
                    <a:pt x="12402" y="10914"/>
                  </a:cubicBezTo>
                  <a:cubicBezTo>
                    <a:pt x="5953" y="5953"/>
                    <a:pt x="6449" y="496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31713AEB-BD1D-2341-E406-F61AD23E9016}"/>
                </a:ext>
              </a:extLst>
            </p:cNvPr>
            <p:cNvSpPr/>
            <p:nvPr/>
          </p:nvSpPr>
          <p:spPr>
            <a:xfrm>
              <a:off x="5455354" y="4555483"/>
              <a:ext cx="260201" cy="180076"/>
            </a:xfrm>
            <a:custGeom>
              <a:avLst/>
              <a:gdLst>
                <a:gd name="connsiteX0" fmla="*/ 151188 w 260201"/>
                <a:gd name="connsiteY0" fmla="*/ 22820 h 180076"/>
                <a:gd name="connsiteX1" fmla="*/ 165574 w 260201"/>
                <a:gd name="connsiteY1" fmla="*/ 14882 h 180076"/>
                <a:gd name="connsiteX2" fmla="*/ 180953 w 260201"/>
                <a:gd name="connsiteY2" fmla="*/ 9426 h 180076"/>
                <a:gd name="connsiteX3" fmla="*/ 196827 w 260201"/>
                <a:gd name="connsiteY3" fmla="*/ 6449 h 180076"/>
                <a:gd name="connsiteX4" fmla="*/ 212205 w 260201"/>
                <a:gd name="connsiteY4" fmla="*/ 1984 h 180076"/>
                <a:gd name="connsiteX5" fmla="*/ 228080 w 260201"/>
                <a:gd name="connsiteY5" fmla="*/ 0 h 180076"/>
                <a:gd name="connsiteX6" fmla="*/ 243955 w 260201"/>
                <a:gd name="connsiteY6" fmla="*/ 1984 h 180076"/>
                <a:gd name="connsiteX7" fmla="*/ 256852 w 260201"/>
                <a:gd name="connsiteY7" fmla="*/ 10418 h 180076"/>
                <a:gd name="connsiteX8" fmla="*/ 259829 w 260201"/>
                <a:gd name="connsiteY8" fmla="*/ 26292 h 180076"/>
                <a:gd name="connsiteX9" fmla="*/ 252884 w 260201"/>
                <a:gd name="connsiteY9" fmla="*/ 41174 h 180076"/>
                <a:gd name="connsiteX10" fmla="*/ 244947 w 260201"/>
                <a:gd name="connsiteY10" fmla="*/ 55561 h 180076"/>
                <a:gd name="connsiteX11" fmla="*/ 234529 w 260201"/>
                <a:gd name="connsiteY11" fmla="*/ 68459 h 180076"/>
                <a:gd name="connsiteX12" fmla="*/ 222127 w 260201"/>
                <a:gd name="connsiteY12" fmla="*/ 79869 h 180076"/>
                <a:gd name="connsiteX13" fmla="*/ 211213 w 260201"/>
                <a:gd name="connsiteY13" fmla="*/ 92271 h 180076"/>
                <a:gd name="connsiteX14" fmla="*/ 198315 w 260201"/>
                <a:gd name="connsiteY14" fmla="*/ 103184 h 180076"/>
                <a:gd name="connsiteX15" fmla="*/ 184921 w 260201"/>
                <a:gd name="connsiteY15" fmla="*/ 113602 h 180076"/>
                <a:gd name="connsiteX16" fmla="*/ 171031 w 260201"/>
                <a:gd name="connsiteY16" fmla="*/ 123027 h 180076"/>
                <a:gd name="connsiteX17" fmla="*/ 156645 w 260201"/>
                <a:gd name="connsiteY17" fmla="*/ 131461 h 180076"/>
                <a:gd name="connsiteX18" fmla="*/ 142755 w 260201"/>
                <a:gd name="connsiteY18" fmla="*/ 141382 h 180076"/>
                <a:gd name="connsiteX19" fmla="*/ 127872 w 260201"/>
                <a:gd name="connsiteY19" fmla="*/ 148823 h 180076"/>
                <a:gd name="connsiteX20" fmla="*/ 112494 w 260201"/>
                <a:gd name="connsiteY20" fmla="*/ 155769 h 180076"/>
                <a:gd name="connsiteX21" fmla="*/ 98108 w 260201"/>
                <a:gd name="connsiteY21" fmla="*/ 164202 h 180076"/>
                <a:gd name="connsiteX22" fmla="*/ 81737 w 260201"/>
                <a:gd name="connsiteY22" fmla="*/ 168171 h 180076"/>
                <a:gd name="connsiteX23" fmla="*/ 66359 w 260201"/>
                <a:gd name="connsiteY23" fmla="*/ 175115 h 180076"/>
                <a:gd name="connsiteX24" fmla="*/ 49988 w 260201"/>
                <a:gd name="connsiteY24" fmla="*/ 178588 h 180076"/>
                <a:gd name="connsiteX25" fmla="*/ 33121 w 260201"/>
                <a:gd name="connsiteY25" fmla="*/ 180076 h 180076"/>
                <a:gd name="connsiteX26" fmla="*/ 16255 w 260201"/>
                <a:gd name="connsiteY26" fmla="*/ 178588 h 180076"/>
                <a:gd name="connsiteX27" fmla="*/ 2860 w 260201"/>
                <a:gd name="connsiteY27" fmla="*/ 169163 h 180076"/>
                <a:gd name="connsiteX28" fmla="*/ 380 w 260201"/>
                <a:gd name="connsiteY28" fmla="*/ 153784 h 180076"/>
                <a:gd name="connsiteX29" fmla="*/ 5837 w 260201"/>
                <a:gd name="connsiteY29" fmla="*/ 139398 h 180076"/>
                <a:gd name="connsiteX30" fmla="*/ 13278 w 260201"/>
                <a:gd name="connsiteY30" fmla="*/ 126004 h 180076"/>
                <a:gd name="connsiteX31" fmla="*/ 23200 w 260201"/>
                <a:gd name="connsiteY31" fmla="*/ 114098 h 180076"/>
                <a:gd name="connsiteX32" fmla="*/ 32129 w 260201"/>
                <a:gd name="connsiteY32" fmla="*/ 101200 h 180076"/>
                <a:gd name="connsiteX33" fmla="*/ 43539 w 260201"/>
                <a:gd name="connsiteY33" fmla="*/ 90286 h 18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60201" h="180076">
                  <a:moveTo>
                    <a:pt x="151188" y="22820"/>
                  </a:moveTo>
                  <a:cubicBezTo>
                    <a:pt x="156149" y="20339"/>
                    <a:pt x="160614" y="16867"/>
                    <a:pt x="165574" y="14882"/>
                  </a:cubicBezTo>
                  <a:cubicBezTo>
                    <a:pt x="170535" y="12898"/>
                    <a:pt x="175992" y="11410"/>
                    <a:pt x="180953" y="9426"/>
                  </a:cubicBezTo>
                  <a:cubicBezTo>
                    <a:pt x="186409" y="7441"/>
                    <a:pt x="191866" y="7937"/>
                    <a:pt x="196827" y="6449"/>
                  </a:cubicBezTo>
                  <a:cubicBezTo>
                    <a:pt x="202284" y="4961"/>
                    <a:pt x="207245" y="2977"/>
                    <a:pt x="212205" y="1984"/>
                  </a:cubicBezTo>
                  <a:cubicBezTo>
                    <a:pt x="218158" y="992"/>
                    <a:pt x="223615" y="496"/>
                    <a:pt x="228080" y="0"/>
                  </a:cubicBezTo>
                  <a:cubicBezTo>
                    <a:pt x="234033" y="0"/>
                    <a:pt x="239490" y="992"/>
                    <a:pt x="243955" y="1984"/>
                  </a:cubicBezTo>
                  <a:cubicBezTo>
                    <a:pt x="249908" y="3473"/>
                    <a:pt x="253876" y="6449"/>
                    <a:pt x="256852" y="10418"/>
                  </a:cubicBezTo>
                  <a:cubicBezTo>
                    <a:pt x="259829" y="14882"/>
                    <a:pt x="260821" y="19843"/>
                    <a:pt x="259829" y="26292"/>
                  </a:cubicBezTo>
                  <a:cubicBezTo>
                    <a:pt x="258837" y="31253"/>
                    <a:pt x="255860" y="35718"/>
                    <a:pt x="252884" y="41174"/>
                  </a:cubicBezTo>
                  <a:cubicBezTo>
                    <a:pt x="250403" y="45639"/>
                    <a:pt x="248419" y="50600"/>
                    <a:pt x="244947" y="55561"/>
                  </a:cubicBezTo>
                  <a:cubicBezTo>
                    <a:pt x="241970" y="59529"/>
                    <a:pt x="238498" y="63994"/>
                    <a:pt x="234529" y="68459"/>
                  </a:cubicBezTo>
                  <a:cubicBezTo>
                    <a:pt x="231056" y="72428"/>
                    <a:pt x="226096" y="75404"/>
                    <a:pt x="222127" y="79869"/>
                  </a:cubicBezTo>
                  <a:cubicBezTo>
                    <a:pt x="218158" y="83837"/>
                    <a:pt x="215182" y="88798"/>
                    <a:pt x="211213" y="92271"/>
                  </a:cubicBezTo>
                  <a:cubicBezTo>
                    <a:pt x="207245" y="95743"/>
                    <a:pt x="202780" y="99712"/>
                    <a:pt x="198315" y="103184"/>
                  </a:cubicBezTo>
                  <a:cubicBezTo>
                    <a:pt x="193850" y="106657"/>
                    <a:pt x="189882" y="110129"/>
                    <a:pt x="184921" y="113602"/>
                  </a:cubicBezTo>
                  <a:cubicBezTo>
                    <a:pt x="180457" y="117075"/>
                    <a:pt x="175992" y="120051"/>
                    <a:pt x="171031" y="123027"/>
                  </a:cubicBezTo>
                  <a:cubicBezTo>
                    <a:pt x="166566" y="126004"/>
                    <a:pt x="161109" y="128484"/>
                    <a:pt x="156645" y="131461"/>
                  </a:cubicBezTo>
                  <a:cubicBezTo>
                    <a:pt x="151684" y="134437"/>
                    <a:pt x="147715" y="138406"/>
                    <a:pt x="142755" y="141382"/>
                  </a:cubicBezTo>
                  <a:cubicBezTo>
                    <a:pt x="137794" y="144359"/>
                    <a:pt x="132337" y="146343"/>
                    <a:pt x="127872" y="148823"/>
                  </a:cubicBezTo>
                  <a:cubicBezTo>
                    <a:pt x="122911" y="151304"/>
                    <a:pt x="117455" y="153288"/>
                    <a:pt x="112494" y="155769"/>
                  </a:cubicBezTo>
                  <a:cubicBezTo>
                    <a:pt x="107533" y="158249"/>
                    <a:pt x="103068" y="162218"/>
                    <a:pt x="98108" y="164202"/>
                  </a:cubicBezTo>
                  <a:cubicBezTo>
                    <a:pt x="92651" y="166186"/>
                    <a:pt x="86698" y="166186"/>
                    <a:pt x="81737" y="168171"/>
                  </a:cubicBezTo>
                  <a:cubicBezTo>
                    <a:pt x="76280" y="170155"/>
                    <a:pt x="71815" y="174124"/>
                    <a:pt x="66359" y="175115"/>
                  </a:cubicBezTo>
                  <a:cubicBezTo>
                    <a:pt x="60902" y="176604"/>
                    <a:pt x="54949" y="177596"/>
                    <a:pt x="49988" y="178588"/>
                  </a:cubicBezTo>
                  <a:cubicBezTo>
                    <a:pt x="44035" y="179580"/>
                    <a:pt x="38578" y="180076"/>
                    <a:pt x="33121" y="180076"/>
                  </a:cubicBezTo>
                  <a:cubicBezTo>
                    <a:pt x="26672" y="180076"/>
                    <a:pt x="21215" y="180076"/>
                    <a:pt x="16255" y="178588"/>
                  </a:cubicBezTo>
                  <a:cubicBezTo>
                    <a:pt x="10302" y="177100"/>
                    <a:pt x="5341" y="173131"/>
                    <a:pt x="2860" y="169163"/>
                  </a:cubicBezTo>
                  <a:cubicBezTo>
                    <a:pt x="380" y="165194"/>
                    <a:pt x="-612" y="159737"/>
                    <a:pt x="380" y="153784"/>
                  </a:cubicBezTo>
                  <a:cubicBezTo>
                    <a:pt x="876" y="149320"/>
                    <a:pt x="3357" y="144855"/>
                    <a:pt x="5837" y="139398"/>
                  </a:cubicBezTo>
                  <a:cubicBezTo>
                    <a:pt x="7821" y="134933"/>
                    <a:pt x="10302" y="130468"/>
                    <a:pt x="13278" y="126004"/>
                  </a:cubicBezTo>
                  <a:cubicBezTo>
                    <a:pt x="16255" y="122035"/>
                    <a:pt x="19727" y="118563"/>
                    <a:pt x="23200" y="114098"/>
                  </a:cubicBezTo>
                  <a:cubicBezTo>
                    <a:pt x="26176" y="110129"/>
                    <a:pt x="28657" y="105169"/>
                    <a:pt x="32129" y="101200"/>
                  </a:cubicBezTo>
                  <a:cubicBezTo>
                    <a:pt x="35602" y="97727"/>
                    <a:pt x="39570" y="94255"/>
                    <a:pt x="43539" y="9028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AB27C431-06BC-3150-28B5-0DF37C9BF313}"/>
                </a:ext>
              </a:extLst>
            </p:cNvPr>
            <p:cNvSpPr/>
            <p:nvPr/>
          </p:nvSpPr>
          <p:spPr>
            <a:xfrm>
              <a:off x="5501374" y="4547546"/>
              <a:ext cx="119554" cy="116578"/>
            </a:xfrm>
            <a:custGeom>
              <a:avLst/>
              <a:gdLst>
                <a:gd name="connsiteX0" fmla="*/ 0 w 119554"/>
                <a:gd name="connsiteY0" fmla="*/ 116578 h 116578"/>
                <a:gd name="connsiteX1" fmla="*/ 992 w 119554"/>
                <a:gd name="connsiteY1" fmla="*/ 99712 h 116578"/>
                <a:gd name="connsiteX2" fmla="*/ 496 w 119554"/>
                <a:gd name="connsiteY2" fmla="*/ 82845 h 116578"/>
                <a:gd name="connsiteX3" fmla="*/ 0 w 119554"/>
                <a:gd name="connsiteY3" fmla="*/ 65978 h 116578"/>
                <a:gd name="connsiteX4" fmla="*/ 992 w 119554"/>
                <a:gd name="connsiteY4" fmla="*/ 49112 h 116578"/>
                <a:gd name="connsiteX5" fmla="*/ 3969 w 119554"/>
                <a:gd name="connsiteY5" fmla="*/ 34229 h 116578"/>
                <a:gd name="connsiteX6" fmla="*/ 10418 w 119554"/>
                <a:gd name="connsiteY6" fmla="*/ 20339 h 116578"/>
                <a:gd name="connsiteX7" fmla="*/ 21828 w 119554"/>
                <a:gd name="connsiteY7" fmla="*/ 9922 h 116578"/>
                <a:gd name="connsiteX8" fmla="*/ 35718 w 119554"/>
                <a:gd name="connsiteY8" fmla="*/ 3473 h 116578"/>
                <a:gd name="connsiteX9" fmla="*/ 50600 w 119554"/>
                <a:gd name="connsiteY9" fmla="*/ 0 h 116578"/>
                <a:gd name="connsiteX10" fmla="*/ 65978 w 119554"/>
                <a:gd name="connsiteY10" fmla="*/ 2976 h 116578"/>
                <a:gd name="connsiteX11" fmla="*/ 79372 w 119554"/>
                <a:gd name="connsiteY11" fmla="*/ 10914 h 116578"/>
                <a:gd name="connsiteX12" fmla="*/ 92271 w 119554"/>
                <a:gd name="connsiteY12" fmla="*/ 21827 h 116578"/>
                <a:gd name="connsiteX13" fmla="*/ 105665 w 119554"/>
                <a:gd name="connsiteY13" fmla="*/ 32245 h 116578"/>
                <a:gd name="connsiteX14" fmla="*/ 119555 w 119554"/>
                <a:gd name="connsiteY14" fmla="*/ 41670 h 116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9554" h="116578">
                  <a:moveTo>
                    <a:pt x="0" y="116578"/>
                  </a:moveTo>
                  <a:cubicBezTo>
                    <a:pt x="0" y="108145"/>
                    <a:pt x="992" y="108145"/>
                    <a:pt x="992" y="99712"/>
                  </a:cubicBezTo>
                  <a:cubicBezTo>
                    <a:pt x="992" y="91278"/>
                    <a:pt x="496" y="91278"/>
                    <a:pt x="496" y="82845"/>
                  </a:cubicBezTo>
                  <a:cubicBezTo>
                    <a:pt x="496" y="74412"/>
                    <a:pt x="0" y="74412"/>
                    <a:pt x="0" y="65978"/>
                  </a:cubicBezTo>
                  <a:cubicBezTo>
                    <a:pt x="0" y="57545"/>
                    <a:pt x="992" y="57545"/>
                    <a:pt x="992" y="49112"/>
                  </a:cubicBezTo>
                  <a:cubicBezTo>
                    <a:pt x="992" y="43655"/>
                    <a:pt x="2480" y="38694"/>
                    <a:pt x="3969" y="34229"/>
                  </a:cubicBezTo>
                  <a:cubicBezTo>
                    <a:pt x="5457" y="29268"/>
                    <a:pt x="7441" y="24308"/>
                    <a:pt x="10418" y="20339"/>
                  </a:cubicBezTo>
                  <a:cubicBezTo>
                    <a:pt x="13394" y="16371"/>
                    <a:pt x="17363" y="12898"/>
                    <a:pt x="21828" y="9922"/>
                  </a:cubicBezTo>
                  <a:cubicBezTo>
                    <a:pt x="26292" y="6945"/>
                    <a:pt x="30757" y="4961"/>
                    <a:pt x="35718" y="3473"/>
                  </a:cubicBezTo>
                  <a:cubicBezTo>
                    <a:pt x="40678" y="1984"/>
                    <a:pt x="45639" y="0"/>
                    <a:pt x="50600" y="0"/>
                  </a:cubicBezTo>
                  <a:cubicBezTo>
                    <a:pt x="55561" y="0"/>
                    <a:pt x="61018" y="992"/>
                    <a:pt x="65978" y="2976"/>
                  </a:cubicBezTo>
                  <a:cubicBezTo>
                    <a:pt x="70443" y="4961"/>
                    <a:pt x="74908" y="7937"/>
                    <a:pt x="79372" y="10914"/>
                  </a:cubicBezTo>
                  <a:cubicBezTo>
                    <a:pt x="85821" y="16371"/>
                    <a:pt x="85821" y="16371"/>
                    <a:pt x="92271" y="21827"/>
                  </a:cubicBezTo>
                  <a:cubicBezTo>
                    <a:pt x="98720" y="27284"/>
                    <a:pt x="98720" y="27284"/>
                    <a:pt x="105665" y="32245"/>
                  </a:cubicBezTo>
                  <a:cubicBezTo>
                    <a:pt x="112114" y="37702"/>
                    <a:pt x="113106" y="36710"/>
                    <a:pt x="119555" y="41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D2D5D8DC-F207-3576-85EC-ADDC69376875}"/>
                </a:ext>
              </a:extLst>
            </p:cNvPr>
            <p:cNvSpPr/>
            <p:nvPr/>
          </p:nvSpPr>
          <p:spPr>
            <a:xfrm>
              <a:off x="5583227" y="4693393"/>
              <a:ext cx="72427" cy="64473"/>
            </a:xfrm>
            <a:custGeom>
              <a:avLst/>
              <a:gdLst>
                <a:gd name="connsiteX0" fmla="*/ 72428 w 72427"/>
                <a:gd name="connsiteY0" fmla="*/ 0 h 64473"/>
                <a:gd name="connsiteX1" fmla="*/ 69947 w 72427"/>
                <a:gd name="connsiteY1" fmla="*/ 14882 h 64473"/>
                <a:gd name="connsiteX2" fmla="*/ 66475 w 72427"/>
                <a:gd name="connsiteY2" fmla="*/ 29765 h 64473"/>
                <a:gd name="connsiteX3" fmla="*/ 60522 w 72427"/>
                <a:gd name="connsiteY3" fmla="*/ 43655 h 64473"/>
                <a:gd name="connsiteX4" fmla="*/ 51592 w 72427"/>
                <a:gd name="connsiteY4" fmla="*/ 56057 h 64473"/>
                <a:gd name="connsiteX5" fmla="*/ 39190 w 72427"/>
                <a:gd name="connsiteY5" fmla="*/ 63994 h 64473"/>
                <a:gd name="connsiteX6" fmla="*/ 24308 w 72427"/>
                <a:gd name="connsiteY6" fmla="*/ 62010 h 64473"/>
                <a:gd name="connsiteX7" fmla="*/ 12402 w 72427"/>
                <a:gd name="connsiteY7" fmla="*/ 52088 h 64473"/>
                <a:gd name="connsiteX8" fmla="*/ 0 w 72427"/>
                <a:gd name="connsiteY8" fmla="*/ 42663 h 64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427" h="64473">
                  <a:moveTo>
                    <a:pt x="72428" y="0"/>
                  </a:moveTo>
                  <a:cubicBezTo>
                    <a:pt x="71435" y="7441"/>
                    <a:pt x="71931" y="6449"/>
                    <a:pt x="69947" y="14882"/>
                  </a:cubicBezTo>
                  <a:cubicBezTo>
                    <a:pt x="68955" y="19347"/>
                    <a:pt x="68459" y="24804"/>
                    <a:pt x="66475" y="29765"/>
                  </a:cubicBezTo>
                  <a:cubicBezTo>
                    <a:pt x="64986" y="34725"/>
                    <a:pt x="62506" y="39190"/>
                    <a:pt x="60522" y="43655"/>
                  </a:cubicBezTo>
                  <a:cubicBezTo>
                    <a:pt x="58041" y="48616"/>
                    <a:pt x="55065" y="52584"/>
                    <a:pt x="51592" y="56057"/>
                  </a:cubicBezTo>
                  <a:cubicBezTo>
                    <a:pt x="48120" y="60026"/>
                    <a:pt x="44151" y="63498"/>
                    <a:pt x="39190" y="63994"/>
                  </a:cubicBezTo>
                  <a:cubicBezTo>
                    <a:pt x="34725" y="64986"/>
                    <a:pt x="29765" y="64490"/>
                    <a:pt x="24308" y="62010"/>
                  </a:cubicBezTo>
                  <a:cubicBezTo>
                    <a:pt x="20339" y="60026"/>
                    <a:pt x="17363" y="56057"/>
                    <a:pt x="12402" y="52088"/>
                  </a:cubicBezTo>
                  <a:cubicBezTo>
                    <a:pt x="8929" y="49112"/>
                    <a:pt x="3969" y="47127"/>
                    <a:pt x="0" y="4266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B56CCEC7-1008-6E02-E056-EE1F49EA26F3}"/>
                </a:ext>
              </a:extLst>
            </p:cNvPr>
            <p:cNvSpPr/>
            <p:nvPr/>
          </p:nvSpPr>
          <p:spPr>
            <a:xfrm>
              <a:off x="5884842" y="5020308"/>
              <a:ext cx="43159" cy="68954"/>
            </a:xfrm>
            <a:custGeom>
              <a:avLst/>
              <a:gdLst>
                <a:gd name="connsiteX0" fmla="*/ 43159 w 43159"/>
                <a:gd name="connsiteY0" fmla="*/ 35718 h 68954"/>
                <a:gd name="connsiteX1" fmla="*/ 41671 w 43159"/>
                <a:gd name="connsiteY1" fmla="*/ 50104 h 68954"/>
                <a:gd name="connsiteX2" fmla="*/ 35718 w 43159"/>
                <a:gd name="connsiteY2" fmla="*/ 63498 h 68954"/>
                <a:gd name="connsiteX3" fmla="*/ 22324 w 43159"/>
                <a:gd name="connsiteY3" fmla="*/ 68955 h 68954"/>
                <a:gd name="connsiteX4" fmla="*/ 8930 w 43159"/>
                <a:gd name="connsiteY4" fmla="*/ 63498 h 68954"/>
                <a:gd name="connsiteX5" fmla="*/ 2976 w 43159"/>
                <a:gd name="connsiteY5" fmla="*/ 49608 h 68954"/>
                <a:gd name="connsiteX6" fmla="*/ 0 w 43159"/>
                <a:gd name="connsiteY6" fmla="*/ 34725 h 68954"/>
                <a:gd name="connsiteX7" fmla="*/ 1984 w 43159"/>
                <a:gd name="connsiteY7" fmla="*/ 19843 h 68954"/>
                <a:gd name="connsiteX8" fmla="*/ 9922 w 43159"/>
                <a:gd name="connsiteY8" fmla="*/ 7441 h 68954"/>
                <a:gd name="connsiteX9" fmla="*/ 22819 w 43159"/>
                <a:gd name="connsiteY9" fmla="*/ 0 h 68954"/>
                <a:gd name="connsiteX10" fmla="*/ 34725 w 43159"/>
                <a:gd name="connsiteY10" fmla="*/ 7937 h 68954"/>
                <a:gd name="connsiteX11" fmla="*/ 41671 w 43159"/>
                <a:gd name="connsiteY11" fmla="*/ 20339 h 68954"/>
                <a:gd name="connsiteX12" fmla="*/ 43159 w 43159"/>
                <a:gd name="connsiteY12" fmla="*/ 35718 h 6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159" h="68954">
                  <a:moveTo>
                    <a:pt x="43159" y="35718"/>
                  </a:moveTo>
                  <a:cubicBezTo>
                    <a:pt x="43159" y="41174"/>
                    <a:pt x="43159" y="45639"/>
                    <a:pt x="41671" y="50104"/>
                  </a:cubicBezTo>
                  <a:cubicBezTo>
                    <a:pt x="40182" y="55561"/>
                    <a:pt x="38198" y="60025"/>
                    <a:pt x="35718" y="63498"/>
                  </a:cubicBezTo>
                  <a:cubicBezTo>
                    <a:pt x="32245" y="67466"/>
                    <a:pt x="27284" y="68955"/>
                    <a:pt x="22324" y="68955"/>
                  </a:cubicBezTo>
                  <a:cubicBezTo>
                    <a:pt x="17363" y="68955"/>
                    <a:pt x="12402" y="67962"/>
                    <a:pt x="8930" y="63498"/>
                  </a:cubicBezTo>
                  <a:cubicBezTo>
                    <a:pt x="5953" y="60025"/>
                    <a:pt x="4465" y="55065"/>
                    <a:pt x="2976" y="49608"/>
                  </a:cubicBezTo>
                  <a:cubicBezTo>
                    <a:pt x="1488" y="45143"/>
                    <a:pt x="0" y="40182"/>
                    <a:pt x="0" y="34725"/>
                  </a:cubicBezTo>
                  <a:cubicBezTo>
                    <a:pt x="0" y="29269"/>
                    <a:pt x="496" y="24308"/>
                    <a:pt x="1984" y="19843"/>
                  </a:cubicBezTo>
                  <a:cubicBezTo>
                    <a:pt x="3473" y="14386"/>
                    <a:pt x="6945" y="10418"/>
                    <a:pt x="9922" y="7441"/>
                  </a:cubicBezTo>
                  <a:cubicBezTo>
                    <a:pt x="13394" y="3473"/>
                    <a:pt x="17859" y="0"/>
                    <a:pt x="22819" y="0"/>
                  </a:cubicBezTo>
                  <a:cubicBezTo>
                    <a:pt x="27780" y="0"/>
                    <a:pt x="31253" y="3969"/>
                    <a:pt x="34725" y="7937"/>
                  </a:cubicBezTo>
                  <a:cubicBezTo>
                    <a:pt x="37702" y="11410"/>
                    <a:pt x="39686" y="15378"/>
                    <a:pt x="41671" y="20339"/>
                  </a:cubicBezTo>
                  <a:cubicBezTo>
                    <a:pt x="42167" y="25796"/>
                    <a:pt x="43159" y="30757"/>
                    <a:pt x="43159" y="3571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8878E675-D956-A24E-785C-59B398623BF0}"/>
                </a:ext>
              </a:extLst>
            </p:cNvPr>
            <p:cNvSpPr/>
            <p:nvPr/>
          </p:nvSpPr>
          <p:spPr>
            <a:xfrm>
              <a:off x="5375866" y="5213781"/>
              <a:ext cx="992651" cy="48265"/>
            </a:xfrm>
            <a:custGeom>
              <a:avLst/>
              <a:gdLst>
                <a:gd name="connsiteX0" fmla="*/ 0 w 992651"/>
                <a:gd name="connsiteY0" fmla="*/ 39683 h 48265"/>
                <a:gd name="connsiteX1" fmla="*/ 16371 w 992651"/>
                <a:gd name="connsiteY1" fmla="*/ 39683 h 48265"/>
                <a:gd name="connsiteX2" fmla="*/ 32741 w 992651"/>
                <a:gd name="connsiteY2" fmla="*/ 39683 h 48265"/>
                <a:gd name="connsiteX3" fmla="*/ 49112 w 992651"/>
                <a:gd name="connsiteY3" fmla="*/ 40179 h 48265"/>
                <a:gd name="connsiteX4" fmla="*/ 65482 w 992651"/>
                <a:gd name="connsiteY4" fmla="*/ 40179 h 48265"/>
                <a:gd name="connsiteX5" fmla="*/ 81853 w 992651"/>
                <a:gd name="connsiteY5" fmla="*/ 40179 h 48265"/>
                <a:gd name="connsiteX6" fmla="*/ 98223 w 992651"/>
                <a:gd name="connsiteY6" fmla="*/ 38691 h 48265"/>
                <a:gd name="connsiteX7" fmla="*/ 114594 w 992651"/>
                <a:gd name="connsiteY7" fmla="*/ 40675 h 48265"/>
                <a:gd name="connsiteX8" fmla="*/ 130965 w 992651"/>
                <a:gd name="connsiteY8" fmla="*/ 41172 h 48265"/>
                <a:gd name="connsiteX9" fmla="*/ 147335 w 992651"/>
                <a:gd name="connsiteY9" fmla="*/ 39683 h 48265"/>
                <a:gd name="connsiteX10" fmla="*/ 163706 w 992651"/>
                <a:gd name="connsiteY10" fmla="*/ 40675 h 48265"/>
                <a:gd name="connsiteX11" fmla="*/ 180076 w 992651"/>
                <a:gd name="connsiteY11" fmla="*/ 39187 h 48265"/>
                <a:gd name="connsiteX12" fmla="*/ 196447 w 992651"/>
                <a:gd name="connsiteY12" fmla="*/ 40179 h 48265"/>
                <a:gd name="connsiteX13" fmla="*/ 212818 w 992651"/>
                <a:gd name="connsiteY13" fmla="*/ 40675 h 48265"/>
                <a:gd name="connsiteX14" fmla="*/ 229188 w 992651"/>
                <a:gd name="connsiteY14" fmla="*/ 41172 h 48265"/>
                <a:gd name="connsiteX15" fmla="*/ 245559 w 992651"/>
                <a:gd name="connsiteY15" fmla="*/ 40675 h 48265"/>
                <a:gd name="connsiteX16" fmla="*/ 261929 w 992651"/>
                <a:gd name="connsiteY16" fmla="*/ 39187 h 48265"/>
                <a:gd name="connsiteX17" fmla="*/ 278300 w 992651"/>
                <a:gd name="connsiteY17" fmla="*/ 39187 h 48265"/>
                <a:gd name="connsiteX18" fmla="*/ 294670 w 992651"/>
                <a:gd name="connsiteY18" fmla="*/ 41172 h 48265"/>
                <a:gd name="connsiteX19" fmla="*/ 311041 w 992651"/>
                <a:gd name="connsiteY19" fmla="*/ 40675 h 48265"/>
                <a:gd name="connsiteX20" fmla="*/ 327411 w 992651"/>
                <a:gd name="connsiteY20" fmla="*/ 40675 h 48265"/>
                <a:gd name="connsiteX21" fmla="*/ 343782 w 992651"/>
                <a:gd name="connsiteY21" fmla="*/ 39187 h 48265"/>
                <a:gd name="connsiteX22" fmla="*/ 360152 w 992651"/>
                <a:gd name="connsiteY22" fmla="*/ 38691 h 48265"/>
                <a:gd name="connsiteX23" fmla="*/ 376523 w 992651"/>
                <a:gd name="connsiteY23" fmla="*/ 40179 h 48265"/>
                <a:gd name="connsiteX24" fmla="*/ 392894 w 992651"/>
                <a:gd name="connsiteY24" fmla="*/ 40675 h 48265"/>
                <a:gd name="connsiteX25" fmla="*/ 409264 w 992651"/>
                <a:gd name="connsiteY25" fmla="*/ 38691 h 48265"/>
                <a:gd name="connsiteX26" fmla="*/ 425635 w 992651"/>
                <a:gd name="connsiteY26" fmla="*/ 40675 h 48265"/>
                <a:gd name="connsiteX27" fmla="*/ 442005 w 992651"/>
                <a:gd name="connsiteY27" fmla="*/ 39187 h 48265"/>
                <a:gd name="connsiteX28" fmla="*/ 458376 w 992651"/>
                <a:gd name="connsiteY28" fmla="*/ 39187 h 48265"/>
                <a:gd name="connsiteX29" fmla="*/ 474746 w 992651"/>
                <a:gd name="connsiteY29" fmla="*/ 40179 h 48265"/>
                <a:gd name="connsiteX30" fmla="*/ 491117 w 992651"/>
                <a:gd name="connsiteY30" fmla="*/ 40179 h 48265"/>
                <a:gd name="connsiteX31" fmla="*/ 507488 w 992651"/>
                <a:gd name="connsiteY31" fmla="*/ 40675 h 48265"/>
                <a:gd name="connsiteX32" fmla="*/ 523858 w 992651"/>
                <a:gd name="connsiteY32" fmla="*/ 39187 h 48265"/>
                <a:gd name="connsiteX33" fmla="*/ 540229 w 992651"/>
                <a:gd name="connsiteY33" fmla="*/ 39187 h 48265"/>
                <a:gd name="connsiteX34" fmla="*/ 556599 w 992651"/>
                <a:gd name="connsiteY34" fmla="*/ 40179 h 48265"/>
                <a:gd name="connsiteX35" fmla="*/ 572970 w 992651"/>
                <a:gd name="connsiteY35" fmla="*/ 40675 h 48265"/>
                <a:gd name="connsiteX36" fmla="*/ 589341 w 992651"/>
                <a:gd name="connsiteY36" fmla="*/ 38691 h 48265"/>
                <a:gd name="connsiteX37" fmla="*/ 605711 w 992651"/>
                <a:gd name="connsiteY37" fmla="*/ 40179 h 48265"/>
                <a:gd name="connsiteX38" fmla="*/ 622082 w 992651"/>
                <a:gd name="connsiteY38" fmla="*/ 39683 h 48265"/>
                <a:gd name="connsiteX39" fmla="*/ 638452 w 992651"/>
                <a:gd name="connsiteY39" fmla="*/ 39683 h 48265"/>
                <a:gd name="connsiteX40" fmla="*/ 654823 w 992651"/>
                <a:gd name="connsiteY40" fmla="*/ 40179 h 48265"/>
                <a:gd name="connsiteX41" fmla="*/ 671194 w 992651"/>
                <a:gd name="connsiteY41" fmla="*/ 40179 h 48265"/>
                <a:gd name="connsiteX42" fmla="*/ 687564 w 992651"/>
                <a:gd name="connsiteY42" fmla="*/ 40675 h 48265"/>
                <a:gd name="connsiteX43" fmla="*/ 702446 w 992651"/>
                <a:gd name="connsiteY43" fmla="*/ 30258 h 48265"/>
                <a:gd name="connsiteX44" fmla="*/ 717825 w 992651"/>
                <a:gd name="connsiteY44" fmla="*/ 20832 h 48265"/>
                <a:gd name="connsiteX45" fmla="*/ 732707 w 992651"/>
                <a:gd name="connsiteY45" fmla="*/ 10910 h 48265"/>
                <a:gd name="connsiteX46" fmla="*/ 748086 w 992651"/>
                <a:gd name="connsiteY46" fmla="*/ 989 h 48265"/>
                <a:gd name="connsiteX47" fmla="*/ 739652 w 992651"/>
                <a:gd name="connsiteY47" fmla="*/ 13887 h 48265"/>
                <a:gd name="connsiteX48" fmla="*/ 731715 w 992651"/>
                <a:gd name="connsiteY48" fmla="*/ 26785 h 48265"/>
                <a:gd name="connsiteX49" fmla="*/ 723778 w 992651"/>
                <a:gd name="connsiteY49" fmla="*/ 39187 h 48265"/>
                <a:gd name="connsiteX50" fmla="*/ 737172 w 992651"/>
                <a:gd name="connsiteY50" fmla="*/ 35218 h 48265"/>
                <a:gd name="connsiteX51" fmla="*/ 751558 w 992651"/>
                <a:gd name="connsiteY51" fmla="*/ 32738 h 48265"/>
                <a:gd name="connsiteX52" fmla="*/ 765449 w 992651"/>
                <a:gd name="connsiteY52" fmla="*/ 29266 h 48265"/>
                <a:gd name="connsiteX53" fmla="*/ 757015 w 992651"/>
                <a:gd name="connsiteY53" fmla="*/ 37699 h 48265"/>
                <a:gd name="connsiteX54" fmla="*/ 747589 w 992651"/>
                <a:gd name="connsiteY54" fmla="*/ 45636 h 48265"/>
                <a:gd name="connsiteX55" fmla="*/ 763464 w 992651"/>
                <a:gd name="connsiteY55" fmla="*/ 44644 h 48265"/>
                <a:gd name="connsiteX56" fmla="*/ 779834 w 992651"/>
                <a:gd name="connsiteY56" fmla="*/ 45140 h 48265"/>
                <a:gd name="connsiteX57" fmla="*/ 796205 w 992651"/>
                <a:gd name="connsiteY57" fmla="*/ 45636 h 48265"/>
                <a:gd name="connsiteX58" fmla="*/ 812576 w 992651"/>
                <a:gd name="connsiteY58" fmla="*/ 45140 h 48265"/>
                <a:gd name="connsiteX59" fmla="*/ 828946 w 992651"/>
                <a:gd name="connsiteY59" fmla="*/ 46132 h 48265"/>
                <a:gd name="connsiteX60" fmla="*/ 845317 w 992651"/>
                <a:gd name="connsiteY60" fmla="*/ 45636 h 48265"/>
                <a:gd name="connsiteX61" fmla="*/ 861687 w 992651"/>
                <a:gd name="connsiteY61" fmla="*/ 47124 h 48265"/>
                <a:gd name="connsiteX62" fmla="*/ 878058 w 992651"/>
                <a:gd name="connsiteY62" fmla="*/ 46628 h 48265"/>
                <a:gd name="connsiteX63" fmla="*/ 894429 w 992651"/>
                <a:gd name="connsiteY63" fmla="*/ 47124 h 48265"/>
                <a:gd name="connsiteX64" fmla="*/ 910799 w 992651"/>
                <a:gd name="connsiteY64" fmla="*/ 47124 h 48265"/>
                <a:gd name="connsiteX65" fmla="*/ 927170 w 992651"/>
                <a:gd name="connsiteY65" fmla="*/ 45140 h 48265"/>
                <a:gd name="connsiteX66" fmla="*/ 943540 w 992651"/>
                <a:gd name="connsiteY66" fmla="*/ 47124 h 48265"/>
                <a:gd name="connsiteX67" fmla="*/ 959911 w 992651"/>
                <a:gd name="connsiteY67" fmla="*/ 46628 h 48265"/>
                <a:gd name="connsiteX68" fmla="*/ 976282 w 992651"/>
                <a:gd name="connsiteY68" fmla="*/ 46628 h 48265"/>
                <a:gd name="connsiteX69" fmla="*/ 992652 w 992651"/>
                <a:gd name="connsiteY69" fmla="*/ 47620 h 48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992651" h="48265">
                  <a:moveTo>
                    <a:pt x="0" y="39683"/>
                  </a:moveTo>
                  <a:cubicBezTo>
                    <a:pt x="7937" y="39683"/>
                    <a:pt x="7937" y="39683"/>
                    <a:pt x="16371" y="39683"/>
                  </a:cubicBezTo>
                  <a:cubicBezTo>
                    <a:pt x="24308" y="39683"/>
                    <a:pt x="24308" y="39683"/>
                    <a:pt x="32741" y="39683"/>
                  </a:cubicBezTo>
                  <a:cubicBezTo>
                    <a:pt x="40678" y="39683"/>
                    <a:pt x="40678" y="40179"/>
                    <a:pt x="49112" y="40179"/>
                  </a:cubicBezTo>
                  <a:cubicBezTo>
                    <a:pt x="57049" y="40179"/>
                    <a:pt x="57049" y="40179"/>
                    <a:pt x="65482" y="40179"/>
                  </a:cubicBezTo>
                  <a:cubicBezTo>
                    <a:pt x="73419" y="40179"/>
                    <a:pt x="73419" y="40179"/>
                    <a:pt x="81853" y="40179"/>
                  </a:cubicBezTo>
                  <a:cubicBezTo>
                    <a:pt x="89790" y="40179"/>
                    <a:pt x="89790" y="38691"/>
                    <a:pt x="98223" y="38691"/>
                  </a:cubicBezTo>
                  <a:cubicBezTo>
                    <a:pt x="106161" y="38691"/>
                    <a:pt x="106161" y="40675"/>
                    <a:pt x="114594" y="40675"/>
                  </a:cubicBezTo>
                  <a:cubicBezTo>
                    <a:pt x="122531" y="40675"/>
                    <a:pt x="122531" y="41172"/>
                    <a:pt x="130965" y="41172"/>
                  </a:cubicBezTo>
                  <a:cubicBezTo>
                    <a:pt x="138902" y="41172"/>
                    <a:pt x="138902" y="39683"/>
                    <a:pt x="147335" y="39683"/>
                  </a:cubicBezTo>
                  <a:cubicBezTo>
                    <a:pt x="155272" y="39683"/>
                    <a:pt x="155272" y="40675"/>
                    <a:pt x="163706" y="40675"/>
                  </a:cubicBezTo>
                  <a:cubicBezTo>
                    <a:pt x="171643" y="40675"/>
                    <a:pt x="171643" y="39187"/>
                    <a:pt x="180076" y="39187"/>
                  </a:cubicBezTo>
                  <a:cubicBezTo>
                    <a:pt x="188014" y="39187"/>
                    <a:pt x="188014" y="40179"/>
                    <a:pt x="196447" y="40179"/>
                  </a:cubicBezTo>
                  <a:cubicBezTo>
                    <a:pt x="204384" y="40179"/>
                    <a:pt x="204384" y="40675"/>
                    <a:pt x="212818" y="40675"/>
                  </a:cubicBezTo>
                  <a:cubicBezTo>
                    <a:pt x="220755" y="40675"/>
                    <a:pt x="220755" y="41172"/>
                    <a:pt x="229188" y="41172"/>
                  </a:cubicBezTo>
                  <a:cubicBezTo>
                    <a:pt x="237125" y="41172"/>
                    <a:pt x="237125" y="40675"/>
                    <a:pt x="245559" y="40675"/>
                  </a:cubicBezTo>
                  <a:cubicBezTo>
                    <a:pt x="253496" y="40675"/>
                    <a:pt x="253496" y="39187"/>
                    <a:pt x="261929" y="39187"/>
                  </a:cubicBezTo>
                  <a:cubicBezTo>
                    <a:pt x="269867" y="39187"/>
                    <a:pt x="269867" y="39187"/>
                    <a:pt x="278300" y="39187"/>
                  </a:cubicBezTo>
                  <a:cubicBezTo>
                    <a:pt x="286237" y="39187"/>
                    <a:pt x="286237" y="41172"/>
                    <a:pt x="294670" y="41172"/>
                  </a:cubicBezTo>
                  <a:cubicBezTo>
                    <a:pt x="302608" y="41172"/>
                    <a:pt x="302608" y="40675"/>
                    <a:pt x="311041" y="40675"/>
                  </a:cubicBezTo>
                  <a:cubicBezTo>
                    <a:pt x="318978" y="40675"/>
                    <a:pt x="318978" y="40675"/>
                    <a:pt x="327411" y="40675"/>
                  </a:cubicBezTo>
                  <a:cubicBezTo>
                    <a:pt x="335349" y="40675"/>
                    <a:pt x="335349" y="39187"/>
                    <a:pt x="343782" y="39187"/>
                  </a:cubicBezTo>
                  <a:cubicBezTo>
                    <a:pt x="351719" y="39187"/>
                    <a:pt x="351719" y="38691"/>
                    <a:pt x="360152" y="38691"/>
                  </a:cubicBezTo>
                  <a:cubicBezTo>
                    <a:pt x="368090" y="38691"/>
                    <a:pt x="368090" y="40179"/>
                    <a:pt x="376523" y="40179"/>
                  </a:cubicBezTo>
                  <a:cubicBezTo>
                    <a:pt x="384460" y="40179"/>
                    <a:pt x="384460" y="40675"/>
                    <a:pt x="392894" y="40675"/>
                  </a:cubicBezTo>
                  <a:cubicBezTo>
                    <a:pt x="400831" y="40675"/>
                    <a:pt x="400831" y="38691"/>
                    <a:pt x="409264" y="38691"/>
                  </a:cubicBezTo>
                  <a:cubicBezTo>
                    <a:pt x="417201" y="38691"/>
                    <a:pt x="417201" y="40675"/>
                    <a:pt x="425635" y="40675"/>
                  </a:cubicBezTo>
                  <a:cubicBezTo>
                    <a:pt x="433572" y="40675"/>
                    <a:pt x="433572" y="39187"/>
                    <a:pt x="442005" y="39187"/>
                  </a:cubicBezTo>
                  <a:cubicBezTo>
                    <a:pt x="449942" y="39187"/>
                    <a:pt x="449942" y="39187"/>
                    <a:pt x="458376" y="39187"/>
                  </a:cubicBezTo>
                  <a:cubicBezTo>
                    <a:pt x="466313" y="39187"/>
                    <a:pt x="466313" y="40179"/>
                    <a:pt x="474746" y="40179"/>
                  </a:cubicBezTo>
                  <a:cubicBezTo>
                    <a:pt x="482684" y="40179"/>
                    <a:pt x="482684" y="40179"/>
                    <a:pt x="491117" y="40179"/>
                  </a:cubicBezTo>
                  <a:cubicBezTo>
                    <a:pt x="499054" y="40179"/>
                    <a:pt x="499054" y="40675"/>
                    <a:pt x="507488" y="40675"/>
                  </a:cubicBezTo>
                  <a:cubicBezTo>
                    <a:pt x="515425" y="40675"/>
                    <a:pt x="515425" y="39187"/>
                    <a:pt x="523858" y="39187"/>
                  </a:cubicBezTo>
                  <a:cubicBezTo>
                    <a:pt x="531795" y="39187"/>
                    <a:pt x="531795" y="39187"/>
                    <a:pt x="540229" y="39187"/>
                  </a:cubicBezTo>
                  <a:cubicBezTo>
                    <a:pt x="548166" y="39187"/>
                    <a:pt x="548166" y="40179"/>
                    <a:pt x="556599" y="40179"/>
                  </a:cubicBezTo>
                  <a:cubicBezTo>
                    <a:pt x="564537" y="40179"/>
                    <a:pt x="564537" y="40675"/>
                    <a:pt x="572970" y="40675"/>
                  </a:cubicBezTo>
                  <a:cubicBezTo>
                    <a:pt x="581403" y="40675"/>
                    <a:pt x="580907" y="38691"/>
                    <a:pt x="589341" y="38691"/>
                  </a:cubicBezTo>
                  <a:cubicBezTo>
                    <a:pt x="597278" y="38691"/>
                    <a:pt x="597278" y="40179"/>
                    <a:pt x="605711" y="40179"/>
                  </a:cubicBezTo>
                  <a:cubicBezTo>
                    <a:pt x="613648" y="40179"/>
                    <a:pt x="613648" y="39683"/>
                    <a:pt x="622082" y="39683"/>
                  </a:cubicBezTo>
                  <a:cubicBezTo>
                    <a:pt x="630019" y="39683"/>
                    <a:pt x="630019" y="39683"/>
                    <a:pt x="638452" y="39683"/>
                  </a:cubicBezTo>
                  <a:cubicBezTo>
                    <a:pt x="646390" y="39683"/>
                    <a:pt x="646390" y="40179"/>
                    <a:pt x="654823" y="40179"/>
                  </a:cubicBezTo>
                  <a:cubicBezTo>
                    <a:pt x="662760" y="40179"/>
                    <a:pt x="662760" y="40179"/>
                    <a:pt x="671194" y="40179"/>
                  </a:cubicBezTo>
                  <a:cubicBezTo>
                    <a:pt x="679131" y="40179"/>
                    <a:pt x="680123" y="42660"/>
                    <a:pt x="687564" y="40675"/>
                  </a:cubicBezTo>
                  <a:cubicBezTo>
                    <a:pt x="695998" y="38195"/>
                    <a:pt x="695005" y="35218"/>
                    <a:pt x="702446" y="30258"/>
                  </a:cubicBezTo>
                  <a:cubicBezTo>
                    <a:pt x="709887" y="25297"/>
                    <a:pt x="710383" y="25793"/>
                    <a:pt x="717825" y="20832"/>
                  </a:cubicBezTo>
                  <a:cubicBezTo>
                    <a:pt x="725266" y="15871"/>
                    <a:pt x="725266" y="15375"/>
                    <a:pt x="732707" y="10910"/>
                  </a:cubicBezTo>
                  <a:cubicBezTo>
                    <a:pt x="740148" y="5950"/>
                    <a:pt x="739652" y="-2979"/>
                    <a:pt x="748086" y="989"/>
                  </a:cubicBezTo>
                  <a:cubicBezTo>
                    <a:pt x="755030" y="3966"/>
                    <a:pt x="743621" y="7438"/>
                    <a:pt x="739652" y="13887"/>
                  </a:cubicBezTo>
                  <a:cubicBezTo>
                    <a:pt x="735684" y="20336"/>
                    <a:pt x="735684" y="20336"/>
                    <a:pt x="731715" y="26785"/>
                  </a:cubicBezTo>
                  <a:cubicBezTo>
                    <a:pt x="727746" y="33234"/>
                    <a:pt x="719809" y="32738"/>
                    <a:pt x="723778" y="39187"/>
                  </a:cubicBezTo>
                  <a:cubicBezTo>
                    <a:pt x="727746" y="45140"/>
                    <a:pt x="730226" y="36707"/>
                    <a:pt x="737172" y="35218"/>
                  </a:cubicBezTo>
                  <a:cubicBezTo>
                    <a:pt x="744117" y="33234"/>
                    <a:pt x="744613" y="34722"/>
                    <a:pt x="751558" y="32738"/>
                  </a:cubicBezTo>
                  <a:cubicBezTo>
                    <a:pt x="758503" y="30754"/>
                    <a:pt x="760488" y="24305"/>
                    <a:pt x="765449" y="29266"/>
                  </a:cubicBezTo>
                  <a:cubicBezTo>
                    <a:pt x="769913" y="33730"/>
                    <a:pt x="761480" y="33730"/>
                    <a:pt x="757015" y="37699"/>
                  </a:cubicBezTo>
                  <a:cubicBezTo>
                    <a:pt x="752550" y="41668"/>
                    <a:pt x="743621" y="40675"/>
                    <a:pt x="747589" y="45636"/>
                  </a:cubicBezTo>
                  <a:cubicBezTo>
                    <a:pt x="753047" y="52085"/>
                    <a:pt x="755527" y="44644"/>
                    <a:pt x="763464" y="44644"/>
                  </a:cubicBezTo>
                  <a:cubicBezTo>
                    <a:pt x="771401" y="44644"/>
                    <a:pt x="771401" y="45140"/>
                    <a:pt x="779834" y="45140"/>
                  </a:cubicBezTo>
                  <a:cubicBezTo>
                    <a:pt x="787772" y="45140"/>
                    <a:pt x="787772" y="45636"/>
                    <a:pt x="796205" y="45636"/>
                  </a:cubicBezTo>
                  <a:cubicBezTo>
                    <a:pt x="804142" y="45636"/>
                    <a:pt x="804142" y="45140"/>
                    <a:pt x="812576" y="45140"/>
                  </a:cubicBezTo>
                  <a:cubicBezTo>
                    <a:pt x="820513" y="45140"/>
                    <a:pt x="820513" y="46132"/>
                    <a:pt x="828946" y="46132"/>
                  </a:cubicBezTo>
                  <a:cubicBezTo>
                    <a:pt x="836883" y="46132"/>
                    <a:pt x="836883" y="45636"/>
                    <a:pt x="845317" y="45636"/>
                  </a:cubicBezTo>
                  <a:cubicBezTo>
                    <a:pt x="853254" y="45636"/>
                    <a:pt x="853254" y="47124"/>
                    <a:pt x="861687" y="47124"/>
                  </a:cubicBezTo>
                  <a:cubicBezTo>
                    <a:pt x="869625" y="47124"/>
                    <a:pt x="869625" y="46628"/>
                    <a:pt x="878058" y="46628"/>
                  </a:cubicBezTo>
                  <a:cubicBezTo>
                    <a:pt x="885995" y="46628"/>
                    <a:pt x="885995" y="47124"/>
                    <a:pt x="894429" y="47124"/>
                  </a:cubicBezTo>
                  <a:cubicBezTo>
                    <a:pt x="902366" y="47124"/>
                    <a:pt x="902366" y="47124"/>
                    <a:pt x="910799" y="47124"/>
                  </a:cubicBezTo>
                  <a:cubicBezTo>
                    <a:pt x="918736" y="47124"/>
                    <a:pt x="918736" y="45140"/>
                    <a:pt x="927170" y="45140"/>
                  </a:cubicBezTo>
                  <a:cubicBezTo>
                    <a:pt x="935107" y="45140"/>
                    <a:pt x="935107" y="47124"/>
                    <a:pt x="943540" y="47124"/>
                  </a:cubicBezTo>
                  <a:cubicBezTo>
                    <a:pt x="951478" y="47124"/>
                    <a:pt x="951478" y="46628"/>
                    <a:pt x="959911" y="46628"/>
                  </a:cubicBezTo>
                  <a:cubicBezTo>
                    <a:pt x="967848" y="46628"/>
                    <a:pt x="967848" y="46628"/>
                    <a:pt x="976282" y="46628"/>
                  </a:cubicBezTo>
                  <a:cubicBezTo>
                    <a:pt x="984715" y="46628"/>
                    <a:pt x="984219" y="47620"/>
                    <a:pt x="992652" y="4762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8" name="Freeform: Shape 1517">
              <a:extLst>
                <a:ext uri="{FF2B5EF4-FFF2-40B4-BE49-F238E27FC236}">
                  <a16:creationId xmlns:a16="http://schemas.microsoft.com/office/drawing/2014/main" id="{874FAC1E-BE55-2407-AAC0-06EAE70EA882}"/>
                </a:ext>
              </a:extLst>
            </p:cNvPr>
            <p:cNvSpPr/>
            <p:nvPr/>
          </p:nvSpPr>
          <p:spPr>
            <a:xfrm>
              <a:off x="5580221" y="5074877"/>
              <a:ext cx="21856" cy="32245"/>
            </a:xfrm>
            <a:custGeom>
              <a:avLst/>
              <a:gdLst>
                <a:gd name="connsiteX0" fmla="*/ 10447 w 21856"/>
                <a:gd name="connsiteY0" fmla="*/ 0 h 32245"/>
                <a:gd name="connsiteX1" fmla="*/ 29 w 21856"/>
                <a:gd name="connsiteY1" fmla="*/ 9426 h 32245"/>
                <a:gd name="connsiteX2" fmla="*/ 10447 w 21856"/>
                <a:gd name="connsiteY2" fmla="*/ 21332 h 32245"/>
                <a:gd name="connsiteX3" fmla="*/ 21856 w 21856"/>
                <a:gd name="connsiteY3" fmla="*/ 32245 h 32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56" h="32245">
                  <a:moveTo>
                    <a:pt x="10447" y="0"/>
                  </a:moveTo>
                  <a:cubicBezTo>
                    <a:pt x="5486" y="4961"/>
                    <a:pt x="-467" y="2480"/>
                    <a:pt x="29" y="9426"/>
                  </a:cubicBezTo>
                  <a:cubicBezTo>
                    <a:pt x="525" y="17363"/>
                    <a:pt x="4990" y="15378"/>
                    <a:pt x="10447" y="21332"/>
                  </a:cubicBezTo>
                  <a:cubicBezTo>
                    <a:pt x="15904" y="27284"/>
                    <a:pt x="16400" y="26292"/>
                    <a:pt x="21856" y="3224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B9293EE-6F52-E756-1F98-D5321B49C6D4}"/>
                </a:ext>
              </a:extLst>
            </p:cNvPr>
            <p:cNvSpPr/>
            <p:nvPr/>
          </p:nvSpPr>
          <p:spPr>
            <a:xfrm>
              <a:off x="5615968" y="5040120"/>
              <a:ext cx="25795" cy="10448"/>
            </a:xfrm>
            <a:custGeom>
              <a:avLst/>
              <a:gdLst>
                <a:gd name="connsiteX0" fmla="*/ 25796 w 25795"/>
                <a:gd name="connsiteY0" fmla="*/ 10449 h 10448"/>
                <a:gd name="connsiteX1" fmla="*/ 8929 w 25795"/>
                <a:gd name="connsiteY1" fmla="*/ 31 h 10448"/>
                <a:gd name="connsiteX2" fmla="*/ 0 w 25795"/>
                <a:gd name="connsiteY2" fmla="*/ 9953 h 1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795" h="10448">
                  <a:moveTo>
                    <a:pt x="25796" y="10449"/>
                  </a:moveTo>
                  <a:cubicBezTo>
                    <a:pt x="17363" y="4496"/>
                    <a:pt x="18851" y="1024"/>
                    <a:pt x="8929" y="31"/>
                  </a:cubicBezTo>
                  <a:cubicBezTo>
                    <a:pt x="1984" y="-464"/>
                    <a:pt x="4465" y="4992"/>
                    <a:pt x="0" y="99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32C15867-21D6-991D-4640-843BA4CBF6CE}"/>
                </a:ext>
              </a:extLst>
            </p:cNvPr>
            <p:cNvSpPr/>
            <p:nvPr/>
          </p:nvSpPr>
          <p:spPr>
            <a:xfrm>
              <a:off x="5576778" y="5051537"/>
              <a:ext cx="209111" cy="151327"/>
            </a:xfrm>
            <a:custGeom>
              <a:avLst/>
              <a:gdLst>
                <a:gd name="connsiteX0" fmla="*/ 89790 w 209111"/>
                <a:gd name="connsiteY0" fmla="*/ 24 h 151327"/>
                <a:gd name="connsiteX1" fmla="*/ 77388 w 209111"/>
                <a:gd name="connsiteY1" fmla="*/ 12426 h 151327"/>
                <a:gd name="connsiteX2" fmla="*/ 64490 w 209111"/>
                <a:gd name="connsiteY2" fmla="*/ 23339 h 151327"/>
                <a:gd name="connsiteX3" fmla="*/ 51592 w 209111"/>
                <a:gd name="connsiteY3" fmla="*/ 34749 h 151327"/>
                <a:gd name="connsiteX4" fmla="*/ 39190 w 209111"/>
                <a:gd name="connsiteY4" fmla="*/ 46655 h 151327"/>
                <a:gd name="connsiteX5" fmla="*/ 26292 w 209111"/>
                <a:gd name="connsiteY5" fmla="*/ 57569 h 151327"/>
                <a:gd name="connsiteX6" fmla="*/ 12402 w 209111"/>
                <a:gd name="connsiteY6" fmla="*/ 67490 h 151327"/>
                <a:gd name="connsiteX7" fmla="*/ 0 w 209111"/>
                <a:gd name="connsiteY7" fmla="*/ 79396 h 151327"/>
                <a:gd name="connsiteX8" fmla="*/ 12402 w 209111"/>
                <a:gd name="connsiteY8" fmla="*/ 91798 h 151327"/>
                <a:gd name="connsiteX9" fmla="*/ 25300 w 209111"/>
                <a:gd name="connsiteY9" fmla="*/ 103208 h 151327"/>
                <a:gd name="connsiteX10" fmla="*/ 37206 w 209111"/>
                <a:gd name="connsiteY10" fmla="*/ 115610 h 151327"/>
                <a:gd name="connsiteX11" fmla="*/ 50600 w 209111"/>
                <a:gd name="connsiteY11" fmla="*/ 127020 h 151327"/>
                <a:gd name="connsiteX12" fmla="*/ 63002 w 209111"/>
                <a:gd name="connsiteY12" fmla="*/ 138926 h 151327"/>
                <a:gd name="connsiteX13" fmla="*/ 74908 w 209111"/>
                <a:gd name="connsiteY13" fmla="*/ 151328 h 151327"/>
                <a:gd name="connsiteX14" fmla="*/ 84333 w 209111"/>
                <a:gd name="connsiteY14" fmla="*/ 139422 h 151327"/>
                <a:gd name="connsiteX15" fmla="*/ 96239 w 209111"/>
                <a:gd name="connsiteY15" fmla="*/ 129004 h 151327"/>
                <a:gd name="connsiteX16" fmla="*/ 105665 w 209111"/>
                <a:gd name="connsiteY16" fmla="*/ 115610 h 151327"/>
                <a:gd name="connsiteX17" fmla="*/ 123524 w 209111"/>
                <a:gd name="connsiteY17" fmla="*/ 116106 h 151327"/>
                <a:gd name="connsiteX18" fmla="*/ 140886 w 209111"/>
                <a:gd name="connsiteY18" fmla="*/ 116106 h 151327"/>
                <a:gd name="connsiteX19" fmla="*/ 158249 w 209111"/>
                <a:gd name="connsiteY19" fmla="*/ 117098 h 151327"/>
                <a:gd name="connsiteX20" fmla="*/ 175612 w 209111"/>
                <a:gd name="connsiteY20" fmla="*/ 117594 h 151327"/>
                <a:gd name="connsiteX21" fmla="*/ 189006 w 209111"/>
                <a:gd name="connsiteY21" fmla="*/ 129996 h 151327"/>
                <a:gd name="connsiteX22" fmla="*/ 206864 w 209111"/>
                <a:gd name="connsiteY22" fmla="*/ 136445 h 151327"/>
                <a:gd name="connsiteX23" fmla="*/ 205872 w 209111"/>
                <a:gd name="connsiteY23" fmla="*/ 121066 h 151327"/>
                <a:gd name="connsiteX24" fmla="*/ 205872 w 209111"/>
                <a:gd name="connsiteY24" fmla="*/ 106184 h 151327"/>
                <a:gd name="connsiteX25" fmla="*/ 205872 w 209111"/>
                <a:gd name="connsiteY25" fmla="*/ 91302 h 151327"/>
                <a:gd name="connsiteX26" fmla="*/ 206368 w 209111"/>
                <a:gd name="connsiteY26" fmla="*/ 76916 h 151327"/>
                <a:gd name="connsiteX27" fmla="*/ 189998 w 209111"/>
                <a:gd name="connsiteY27" fmla="*/ 81380 h 151327"/>
                <a:gd name="connsiteX28" fmla="*/ 178092 w 209111"/>
                <a:gd name="connsiteY28" fmla="*/ 93286 h 151327"/>
                <a:gd name="connsiteX29" fmla="*/ 162714 w 209111"/>
                <a:gd name="connsiteY29" fmla="*/ 89318 h 151327"/>
                <a:gd name="connsiteX30" fmla="*/ 146839 w 209111"/>
                <a:gd name="connsiteY30" fmla="*/ 88325 h 151327"/>
                <a:gd name="connsiteX31" fmla="*/ 131957 w 209111"/>
                <a:gd name="connsiteY31" fmla="*/ 87829 h 151327"/>
                <a:gd name="connsiteX32" fmla="*/ 142374 w 209111"/>
                <a:gd name="connsiteY32" fmla="*/ 74436 h 151327"/>
                <a:gd name="connsiteX33" fmla="*/ 154776 w 209111"/>
                <a:gd name="connsiteY33" fmla="*/ 61041 h 151327"/>
                <a:gd name="connsiteX34" fmla="*/ 140390 w 209111"/>
                <a:gd name="connsiteY34" fmla="*/ 49632 h 151327"/>
                <a:gd name="connsiteX35" fmla="*/ 127988 w 209111"/>
                <a:gd name="connsiteY35" fmla="*/ 37230 h 151327"/>
                <a:gd name="connsiteX36" fmla="*/ 115586 w 209111"/>
                <a:gd name="connsiteY36" fmla="*/ 25324 h 151327"/>
                <a:gd name="connsiteX37" fmla="*/ 103680 w 209111"/>
                <a:gd name="connsiteY37" fmla="*/ 12922 h 151327"/>
                <a:gd name="connsiteX38" fmla="*/ 89790 w 209111"/>
                <a:gd name="connsiteY38" fmla="*/ 24 h 15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09111" h="151327">
                  <a:moveTo>
                    <a:pt x="89790" y="24"/>
                  </a:moveTo>
                  <a:cubicBezTo>
                    <a:pt x="81357" y="-472"/>
                    <a:pt x="83341" y="6969"/>
                    <a:pt x="77388" y="12426"/>
                  </a:cubicBezTo>
                  <a:cubicBezTo>
                    <a:pt x="70939" y="17883"/>
                    <a:pt x="70939" y="17883"/>
                    <a:pt x="64490" y="23339"/>
                  </a:cubicBezTo>
                  <a:cubicBezTo>
                    <a:pt x="58041" y="28796"/>
                    <a:pt x="58041" y="28796"/>
                    <a:pt x="51592" y="34749"/>
                  </a:cubicBezTo>
                  <a:cubicBezTo>
                    <a:pt x="45143" y="40206"/>
                    <a:pt x="45639" y="40702"/>
                    <a:pt x="39190" y="46655"/>
                  </a:cubicBezTo>
                  <a:cubicBezTo>
                    <a:pt x="32741" y="52112"/>
                    <a:pt x="32741" y="52112"/>
                    <a:pt x="26292" y="57569"/>
                  </a:cubicBezTo>
                  <a:cubicBezTo>
                    <a:pt x="19843" y="63026"/>
                    <a:pt x="18851" y="62034"/>
                    <a:pt x="12402" y="67490"/>
                  </a:cubicBezTo>
                  <a:cubicBezTo>
                    <a:pt x="5953" y="72947"/>
                    <a:pt x="0" y="70963"/>
                    <a:pt x="0" y="79396"/>
                  </a:cubicBezTo>
                  <a:cubicBezTo>
                    <a:pt x="0" y="87829"/>
                    <a:pt x="6449" y="85845"/>
                    <a:pt x="12402" y="91798"/>
                  </a:cubicBezTo>
                  <a:cubicBezTo>
                    <a:pt x="18851" y="97751"/>
                    <a:pt x="18851" y="97255"/>
                    <a:pt x="25300" y="103208"/>
                  </a:cubicBezTo>
                  <a:cubicBezTo>
                    <a:pt x="31749" y="109161"/>
                    <a:pt x="31253" y="109657"/>
                    <a:pt x="37206" y="115610"/>
                  </a:cubicBezTo>
                  <a:cubicBezTo>
                    <a:pt x="43655" y="121563"/>
                    <a:pt x="44151" y="120570"/>
                    <a:pt x="50600" y="127020"/>
                  </a:cubicBezTo>
                  <a:cubicBezTo>
                    <a:pt x="57049" y="132972"/>
                    <a:pt x="57049" y="132972"/>
                    <a:pt x="63002" y="138926"/>
                  </a:cubicBezTo>
                  <a:cubicBezTo>
                    <a:pt x="69451" y="144878"/>
                    <a:pt x="65978" y="151328"/>
                    <a:pt x="74908" y="151328"/>
                  </a:cubicBezTo>
                  <a:cubicBezTo>
                    <a:pt x="82845" y="151328"/>
                    <a:pt x="79372" y="145374"/>
                    <a:pt x="84333" y="139422"/>
                  </a:cubicBezTo>
                  <a:cubicBezTo>
                    <a:pt x="89294" y="133468"/>
                    <a:pt x="91278" y="134957"/>
                    <a:pt x="96239" y="129004"/>
                  </a:cubicBezTo>
                  <a:cubicBezTo>
                    <a:pt x="101200" y="123051"/>
                    <a:pt x="98223" y="118586"/>
                    <a:pt x="105665" y="115610"/>
                  </a:cubicBezTo>
                  <a:cubicBezTo>
                    <a:pt x="113602" y="112137"/>
                    <a:pt x="114594" y="116106"/>
                    <a:pt x="123524" y="116106"/>
                  </a:cubicBezTo>
                  <a:cubicBezTo>
                    <a:pt x="132453" y="116106"/>
                    <a:pt x="132453" y="116106"/>
                    <a:pt x="140886" y="116106"/>
                  </a:cubicBezTo>
                  <a:cubicBezTo>
                    <a:pt x="149816" y="116106"/>
                    <a:pt x="149816" y="117098"/>
                    <a:pt x="158249" y="117098"/>
                  </a:cubicBezTo>
                  <a:cubicBezTo>
                    <a:pt x="167178" y="117098"/>
                    <a:pt x="167178" y="115114"/>
                    <a:pt x="175612" y="117594"/>
                  </a:cubicBezTo>
                  <a:cubicBezTo>
                    <a:pt x="184541" y="120074"/>
                    <a:pt x="181068" y="124539"/>
                    <a:pt x="189006" y="129996"/>
                  </a:cubicBezTo>
                  <a:cubicBezTo>
                    <a:pt x="193966" y="133468"/>
                    <a:pt x="201408" y="136445"/>
                    <a:pt x="206864" y="136445"/>
                  </a:cubicBezTo>
                  <a:cubicBezTo>
                    <a:pt x="206864" y="133965"/>
                    <a:pt x="205872" y="128012"/>
                    <a:pt x="205872" y="121066"/>
                  </a:cubicBezTo>
                  <a:cubicBezTo>
                    <a:pt x="205872" y="116602"/>
                    <a:pt x="205872" y="111641"/>
                    <a:pt x="205872" y="106184"/>
                  </a:cubicBezTo>
                  <a:cubicBezTo>
                    <a:pt x="205872" y="101223"/>
                    <a:pt x="205872" y="95767"/>
                    <a:pt x="205872" y="91302"/>
                  </a:cubicBezTo>
                  <a:cubicBezTo>
                    <a:pt x="205872" y="82869"/>
                    <a:pt x="212818" y="80884"/>
                    <a:pt x="206368" y="76916"/>
                  </a:cubicBezTo>
                  <a:cubicBezTo>
                    <a:pt x="198927" y="72451"/>
                    <a:pt x="197935" y="77412"/>
                    <a:pt x="189998" y="81380"/>
                  </a:cubicBezTo>
                  <a:cubicBezTo>
                    <a:pt x="185037" y="83861"/>
                    <a:pt x="180076" y="87829"/>
                    <a:pt x="178092" y="93286"/>
                  </a:cubicBezTo>
                  <a:cubicBezTo>
                    <a:pt x="172635" y="91798"/>
                    <a:pt x="167674" y="90310"/>
                    <a:pt x="162714" y="89318"/>
                  </a:cubicBezTo>
                  <a:cubicBezTo>
                    <a:pt x="156761" y="88325"/>
                    <a:pt x="151304" y="88821"/>
                    <a:pt x="146839" y="88325"/>
                  </a:cubicBezTo>
                  <a:cubicBezTo>
                    <a:pt x="137414" y="87333"/>
                    <a:pt x="128980" y="95271"/>
                    <a:pt x="131957" y="87829"/>
                  </a:cubicBezTo>
                  <a:cubicBezTo>
                    <a:pt x="134933" y="79892"/>
                    <a:pt x="136917" y="80884"/>
                    <a:pt x="142374" y="74436"/>
                  </a:cubicBezTo>
                  <a:cubicBezTo>
                    <a:pt x="147831" y="67986"/>
                    <a:pt x="155272" y="69971"/>
                    <a:pt x="154776" y="61041"/>
                  </a:cubicBezTo>
                  <a:cubicBezTo>
                    <a:pt x="154280" y="52112"/>
                    <a:pt x="146839" y="55584"/>
                    <a:pt x="140390" y="49632"/>
                  </a:cubicBezTo>
                  <a:cubicBezTo>
                    <a:pt x="133941" y="43678"/>
                    <a:pt x="134437" y="43678"/>
                    <a:pt x="127988" y="37230"/>
                  </a:cubicBezTo>
                  <a:cubicBezTo>
                    <a:pt x="121539" y="31276"/>
                    <a:pt x="121539" y="31276"/>
                    <a:pt x="115586" y="25324"/>
                  </a:cubicBezTo>
                  <a:cubicBezTo>
                    <a:pt x="109137" y="19371"/>
                    <a:pt x="108145" y="19867"/>
                    <a:pt x="103680" y="12922"/>
                  </a:cubicBezTo>
                  <a:cubicBezTo>
                    <a:pt x="97231" y="5481"/>
                    <a:pt x="98720" y="520"/>
                    <a:pt x="89790" y="2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D86A49DF-1215-4A27-AE8C-B542670E11BD}"/>
                </a:ext>
              </a:extLst>
            </p:cNvPr>
            <p:cNvSpPr/>
            <p:nvPr/>
          </p:nvSpPr>
          <p:spPr>
            <a:xfrm>
              <a:off x="5634323" y="5081822"/>
              <a:ext cx="30260" cy="26788"/>
            </a:xfrm>
            <a:custGeom>
              <a:avLst/>
              <a:gdLst>
                <a:gd name="connsiteX0" fmla="*/ 30261 w 30260"/>
                <a:gd name="connsiteY0" fmla="*/ 0 h 26788"/>
                <a:gd name="connsiteX1" fmla="*/ 15875 w 30260"/>
                <a:gd name="connsiteY1" fmla="*/ 14386 h 26788"/>
                <a:gd name="connsiteX2" fmla="*/ 0 w 30260"/>
                <a:gd name="connsiteY2" fmla="*/ 26788 h 2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260" h="26788">
                  <a:moveTo>
                    <a:pt x="30261" y="0"/>
                  </a:moveTo>
                  <a:cubicBezTo>
                    <a:pt x="22324" y="6449"/>
                    <a:pt x="23812" y="7937"/>
                    <a:pt x="15875" y="14386"/>
                  </a:cubicBezTo>
                  <a:cubicBezTo>
                    <a:pt x="7937" y="20835"/>
                    <a:pt x="7937" y="20339"/>
                    <a:pt x="0" y="267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F82CFBC2-C8F4-BFB3-B011-F77963D0CFA7}"/>
                </a:ext>
              </a:extLst>
            </p:cNvPr>
            <p:cNvSpPr/>
            <p:nvPr/>
          </p:nvSpPr>
          <p:spPr>
            <a:xfrm>
              <a:off x="5813407" y="5157721"/>
              <a:ext cx="34725" cy="60521"/>
            </a:xfrm>
            <a:custGeom>
              <a:avLst/>
              <a:gdLst>
                <a:gd name="connsiteX0" fmla="*/ 0 w 34725"/>
                <a:gd name="connsiteY0" fmla="*/ 0 h 60521"/>
                <a:gd name="connsiteX1" fmla="*/ 5457 w 34725"/>
                <a:gd name="connsiteY1" fmla="*/ 0 h 60521"/>
                <a:gd name="connsiteX2" fmla="*/ 19347 w 34725"/>
                <a:gd name="connsiteY2" fmla="*/ 4961 h 60521"/>
                <a:gd name="connsiteX3" fmla="*/ 29765 w 34725"/>
                <a:gd name="connsiteY3" fmla="*/ 14882 h 60521"/>
                <a:gd name="connsiteX4" fmla="*/ 32742 w 34725"/>
                <a:gd name="connsiteY4" fmla="*/ 28773 h 60521"/>
                <a:gd name="connsiteX5" fmla="*/ 34725 w 34725"/>
                <a:gd name="connsiteY5" fmla="*/ 44647 h 60521"/>
                <a:gd name="connsiteX6" fmla="*/ 34230 w 34725"/>
                <a:gd name="connsiteY6" fmla="*/ 60522 h 60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25" h="60521">
                  <a:moveTo>
                    <a:pt x="0" y="0"/>
                  </a:moveTo>
                  <a:cubicBezTo>
                    <a:pt x="2977" y="0"/>
                    <a:pt x="2977" y="0"/>
                    <a:pt x="5457" y="0"/>
                  </a:cubicBezTo>
                  <a:cubicBezTo>
                    <a:pt x="10418" y="0"/>
                    <a:pt x="14882" y="2977"/>
                    <a:pt x="19347" y="4961"/>
                  </a:cubicBezTo>
                  <a:cubicBezTo>
                    <a:pt x="23812" y="7441"/>
                    <a:pt x="27284" y="10914"/>
                    <a:pt x="29765" y="14882"/>
                  </a:cubicBezTo>
                  <a:cubicBezTo>
                    <a:pt x="32245" y="18851"/>
                    <a:pt x="32742" y="23812"/>
                    <a:pt x="32742" y="28773"/>
                  </a:cubicBezTo>
                  <a:cubicBezTo>
                    <a:pt x="32742" y="36710"/>
                    <a:pt x="34725" y="36710"/>
                    <a:pt x="34725" y="44647"/>
                  </a:cubicBezTo>
                  <a:cubicBezTo>
                    <a:pt x="34725" y="52585"/>
                    <a:pt x="34230" y="52585"/>
                    <a:pt x="34230" y="605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5392B638-439F-AEF9-9CB9-D7D09BEA4B11}"/>
                </a:ext>
              </a:extLst>
            </p:cNvPr>
            <p:cNvSpPr/>
            <p:nvPr/>
          </p:nvSpPr>
          <p:spPr>
            <a:xfrm>
              <a:off x="5803485" y="5182029"/>
              <a:ext cx="20339" cy="35221"/>
            </a:xfrm>
            <a:custGeom>
              <a:avLst/>
              <a:gdLst>
                <a:gd name="connsiteX0" fmla="*/ 0 w 20339"/>
                <a:gd name="connsiteY0" fmla="*/ 0 h 35221"/>
                <a:gd name="connsiteX1" fmla="*/ 0 w 20339"/>
                <a:gd name="connsiteY1" fmla="*/ 0 h 35221"/>
                <a:gd name="connsiteX2" fmla="*/ 13890 w 20339"/>
                <a:gd name="connsiteY2" fmla="*/ 3969 h 35221"/>
                <a:gd name="connsiteX3" fmla="*/ 20340 w 20339"/>
                <a:gd name="connsiteY3" fmla="*/ 17859 h 35221"/>
                <a:gd name="connsiteX4" fmla="*/ 19843 w 20339"/>
                <a:gd name="connsiteY4" fmla="*/ 35221 h 3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39" h="3522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457" y="0"/>
                    <a:pt x="10418" y="496"/>
                    <a:pt x="13890" y="3969"/>
                  </a:cubicBezTo>
                  <a:cubicBezTo>
                    <a:pt x="17363" y="7441"/>
                    <a:pt x="20340" y="12402"/>
                    <a:pt x="20340" y="17859"/>
                  </a:cubicBezTo>
                  <a:cubicBezTo>
                    <a:pt x="20340" y="26788"/>
                    <a:pt x="19843" y="26788"/>
                    <a:pt x="19843" y="3522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9C2BB8AB-4231-F808-9E69-BA754C26FEE9}"/>
                </a:ext>
              </a:extLst>
            </p:cNvPr>
            <p:cNvSpPr/>
            <p:nvPr/>
          </p:nvSpPr>
          <p:spPr>
            <a:xfrm>
              <a:off x="5827297" y="5135398"/>
              <a:ext cx="46135" cy="83837"/>
            </a:xfrm>
            <a:custGeom>
              <a:avLst/>
              <a:gdLst>
                <a:gd name="connsiteX0" fmla="*/ 0 w 46135"/>
                <a:gd name="connsiteY0" fmla="*/ 0 h 83837"/>
                <a:gd name="connsiteX1" fmla="*/ 0 w 46135"/>
                <a:gd name="connsiteY1" fmla="*/ 0 h 83837"/>
                <a:gd name="connsiteX2" fmla="*/ 17859 w 46135"/>
                <a:gd name="connsiteY2" fmla="*/ 1984 h 83837"/>
                <a:gd name="connsiteX3" fmla="*/ 31749 w 46135"/>
                <a:gd name="connsiteY3" fmla="*/ 12899 h 83837"/>
                <a:gd name="connsiteX4" fmla="*/ 42663 w 46135"/>
                <a:gd name="connsiteY4" fmla="*/ 26788 h 83837"/>
                <a:gd name="connsiteX5" fmla="*/ 45143 w 46135"/>
                <a:gd name="connsiteY5" fmla="*/ 44151 h 83837"/>
                <a:gd name="connsiteX6" fmla="*/ 44647 w 46135"/>
                <a:gd name="connsiteY6" fmla="*/ 63994 h 83837"/>
                <a:gd name="connsiteX7" fmla="*/ 46135 w 46135"/>
                <a:gd name="connsiteY7" fmla="*/ 83837 h 8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135" h="8383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953" y="0"/>
                    <a:pt x="12402" y="0"/>
                    <a:pt x="17859" y="1984"/>
                  </a:cubicBezTo>
                  <a:cubicBezTo>
                    <a:pt x="23315" y="4465"/>
                    <a:pt x="27780" y="8930"/>
                    <a:pt x="31749" y="12899"/>
                  </a:cubicBezTo>
                  <a:cubicBezTo>
                    <a:pt x="35717" y="16867"/>
                    <a:pt x="40182" y="21332"/>
                    <a:pt x="42663" y="26788"/>
                  </a:cubicBezTo>
                  <a:cubicBezTo>
                    <a:pt x="44647" y="32245"/>
                    <a:pt x="45143" y="38198"/>
                    <a:pt x="45143" y="44151"/>
                  </a:cubicBezTo>
                  <a:cubicBezTo>
                    <a:pt x="45143" y="54073"/>
                    <a:pt x="44647" y="54073"/>
                    <a:pt x="44647" y="63994"/>
                  </a:cubicBezTo>
                  <a:cubicBezTo>
                    <a:pt x="44647" y="73916"/>
                    <a:pt x="46135" y="73916"/>
                    <a:pt x="46135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A539AECA-9FB1-2E6A-57AE-331C42C5D620}"/>
                </a:ext>
              </a:extLst>
            </p:cNvPr>
            <p:cNvSpPr/>
            <p:nvPr/>
          </p:nvSpPr>
          <p:spPr>
            <a:xfrm>
              <a:off x="5800385" y="4700710"/>
              <a:ext cx="191734" cy="190028"/>
            </a:xfrm>
            <a:custGeom>
              <a:avLst/>
              <a:gdLst>
                <a:gd name="connsiteX0" fmla="*/ 142995 w 191734"/>
                <a:gd name="connsiteY0" fmla="*/ 142002 h 190028"/>
                <a:gd name="connsiteX1" fmla="*/ 155892 w 191734"/>
                <a:gd name="connsiteY1" fmla="*/ 143987 h 190028"/>
                <a:gd name="connsiteX2" fmla="*/ 169783 w 191734"/>
                <a:gd name="connsiteY2" fmla="*/ 142995 h 190028"/>
                <a:gd name="connsiteX3" fmla="*/ 181688 w 191734"/>
                <a:gd name="connsiteY3" fmla="*/ 136049 h 190028"/>
                <a:gd name="connsiteX4" fmla="*/ 190618 w 191734"/>
                <a:gd name="connsiteY4" fmla="*/ 121167 h 190028"/>
                <a:gd name="connsiteX5" fmla="*/ 190618 w 191734"/>
                <a:gd name="connsiteY5" fmla="*/ 103804 h 190028"/>
                <a:gd name="connsiteX6" fmla="*/ 181688 w 191734"/>
                <a:gd name="connsiteY6" fmla="*/ 88426 h 190028"/>
                <a:gd name="connsiteX7" fmla="*/ 170279 w 191734"/>
                <a:gd name="connsiteY7" fmla="*/ 82473 h 190028"/>
                <a:gd name="connsiteX8" fmla="*/ 157381 w 191734"/>
                <a:gd name="connsiteY8" fmla="*/ 79993 h 190028"/>
                <a:gd name="connsiteX9" fmla="*/ 165318 w 191734"/>
                <a:gd name="connsiteY9" fmla="*/ 75032 h 190028"/>
                <a:gd name="connsiteX10" fmla="*/ 173255 w 191734"/>
                <a:gd name="connsiteY10" fmla="*/ 59157 h 190028"/>
                <a:gd name="connsiteX11" fmla="*/ 174247 w 191734"/>
                <a:gd name="connsiteY11" fmla="*/ 41795 h 190028"/>
                <a:gd name="connsiteX12" fmla="*/ 164822 w 191734"/>
                <a:gd name="connsiteY12" fmla="*/ 26912 h 190028"/>
                <a:gd name="connsiteX13" fmla="*/ 149443 w 191734"/>
                <a:gd name="connsiteY13" fmla="*/ 19471 h 190028"/>
                <a:gd name="connsiteX14" fmla="*/ 132080 w 191734"/>
                <a:gd name="connsiteY14" fmla="*/ 17487 h 190028"/>
                <a:gd name="connsiteX15" fmla="*/ 117695 w 191734"/>
                <a:gd name="connsiteY15" fmla="*/ 27408 h 190028"/>
                <a:gd name="connsiteX16" fmla="*/ 112237 w 191734"/>
                <a:gd name="connsiteY16" fmla="*/ 33857 h 190028"/>
                <a:gd name="connsiteX17" fmla="*/ 109757 w 191734"/>
                <a:gd name="connsiteY17" fmla="*/ 21456 h 190028"/>
                <a:gd name="connsiteX18" fmla="*/ 102812 w 191734"/>
                <a:gd name="connsiteY18" fmla="*/ 11038 h 190028"/>
                <a:gd name="connsiteX19" fmla="*/ 88426 w 191734"/>
                <a:gd name="connsiteY19" fmla="*/ 1116 h 190028"/>
                <a:gd name="connsiteX20" fmla="*/ 71063 w 191734"/>
                <a:gd name="connsiteY20" fmla="*/ 1116 h 190028"/>
                <a:gd name="connsiteX21" fmla="*/ 57173 w 191734"/>
                <a:gd name="connsiteY21" fmla="*/ 11534 h 190028"/>
                <a:gd name="connsiteX22" fmla="*/ 49732 w 191734"/>
                <a:gd name="connsiteY22" fmla="*/ 22944 h 190028"/>
                <a:gd name="connsiteX23" fmla="*/ 47747 w 191734"/>
                <a:gd name="connsiteY23" fmla="*/ 36834 h 190028"/>
                <a:gd name="connsiteX24" fmla="*/ 50228 w 191734"/>
                <a:gd name="connsiteY24" fmla="*/ 49732 h 190028"/>
                <a:gd name="connsiteX25" fmla="*/ 37330 w 191734"/>
                <a:gd name="connsiteY25" fmla="*/ 45763 h 190028"/>
                <a:gd name="connsiteX26" fmla="*/ 23440 w 191734"/>
                <a:gd name="connsiteY26" fmla="*/ 48740 h 190028"/>
                <a:gd name="connsiteX27" fmla="*/ 10045 w 191734"/>
                <a:gd name="connsiteY27" fmla="*/ 54692 h 190028"/>
                <a:gd name="connsiteX28" fmla="*/ 1116 w 191734"/>
                <a:gd name="connsiteY28" fmla="*/ 70071 h 190028"/>
                <a:gd name="connsiteX29" fmla="*/ 1116 w 191734"/>
                <a:gd name="connsiteY29" fmla="*/ 87930 h 190028"/>
                <a:gd name="connsiteX30" fmla="*/ 11534 w 191734"/>
                <a:gd name="connsiteY30" fmla="*/ 101820 h 190028"/>
                <a:gd name="connsiteX31" fmla="*/ 21455 w 191734"/>
                <a:gd name="connsiteY31" fmla="*/ 109757 h 190028"/>
                <a:gd name="connsiteX32" fmla="*/ 33857 w 191734"/>
                <a:gd name="connsiteY32" fmla="*/ 112238 h 190028"/>
                <a:gd name="connsiteX33" fmla="*/ 26912 w 191734"/>
                <a:gd name="connsiteY33" fmla="*/ 116702 h 190028"/>
                <a:gd name="connsiteX34" fmla="*/ 18479 w 191734"/>
                <a:gd name="connsiteY34" fmla="*/ 132081 h 190028"/>
                <a:gd name="connsiteX35" fmla="*/ 18479 w 191734"/>
                <a:gd name="connsiteY35" fmla="*/ 149444 h 190028"/>
                <a:gd name="connsiteX36" fmla="*/ 27408 w 191734"/>
                <a:gd name="connsiteY36" fmla="*/ 164326 h 190028"/>
                <a:gd name="connsiteX37" fmla="*/ 42290 w 191734"/>
                <a:gd name="connsiteY37" fmla="*/ 172759 h 190028"/>
                <a:gd name="connsiteX38" fmla="*/ 59157 w 191734"/>
                <a:gd name="connsiteY38" fmla="*/ 172263 h 190028"/>
                <a:gd name="connsiteX39" fmla="*/ 74536 w 191734"/>
                <a:gd name="connsiteY39" fmla="*/ 164822 h 190028"/>
                <a:gd name="connsiteX40" fmla="*/ 79496 w 191734"/>
                <a:gd name="connsiteY40" fmla="*/ 157381 h 190028"/>
                <a:gd name="connsiteX41" fmla="*/ 81977 w 191734"/>
                <a:gd name="connsiteY41" fmla="*/ 169783 h 190028"/>
                <a:gd name="connsiteX42" fmla="*/ 89418 w 191734"/>
                <a:gd name="connsiteY42" fmla="*/ 179704 h 190028"/>
                <a:gd name="connsiteX43" fmla="*/ 103308 w 191734"/>
                <a:gd name="connsiteY43" fmla="*/ 189130 h 190028"/>
                <a:gd name="connsiteX44" fmla="*/ 120671 w 191734"/>
                <a:gd name="connsiteY44" fmla="*/ 188634 h 190028"/>
                <a:gd name="connsiteX45" fmla="*/ 135553 w 191734"/>
                <a:gd name="connsiteY45" fmla="*/ 180200 h 190028"/>
                <a:gd name="connsiteX46" fmla="*/ 143490 w 191734"/>
                <a:gd name="connsiteY46" fmla="*/ 168790 h 190028"/>
                <a:gd name="connsiteX47" fmla="*/ 145971 w 191734"/>
                <a:gd name="connsiteY47" fmla="*/ 154900 h 190028"/>
                <a:gd name="connsiteX48" fmla="*/ 142995 w 191734"/>
                <a:gd name="connsiteY48" fmla="*/ 142002 h 190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91734" h="190028">
                  <a:moveTo>
                    <a:pt x="142995" y="142002"/>
                  </a:moveTo>
                  <a:cubicBezTo>
                    <a:pt x="146963" y="144483"/>
                    <a:pt x="150932" y="143987"/>
                    <a:pt x="155892" y="143987"/>
                  </a:cubicBezTo>
                  <a:cubicBezTo>
                    <a:pt x="160357" y="144483"/>
                    <a:pt x="165318" y="144483"/>
                    <a:pt x="169783" y="142995"/>
                  </a:cubicBezTo>
                  <a:cubicBezTo>
                    <a:pt x="174247" y="141506"/>
                    <a:pt x="178216" y="139522"/>
                    <a:pt x="181688" y="136049"/>
                  </a:cubicBezTo>
                  <a:cubicBezTo>
                    <a:pt x="186153" y="131585"/>
                    <a:pt x="189129" y="126624"/>
                    <a:pt x="190618" y="121167"/>
                  </a:cubicBezTo>
                  <a:cubicBezTo>
                    <a:pt x="192106" y="115710"/>
                    <a:pt x="192106" y="109261"/>
                    <a:pt x="190618" y="103804"/>
                  </a:cubicBezTo>
                  <a:cubicBezTo>
                    <a:pt x="189129" y="98348"/>
                    <a:pt x="186153" y="92891"/>
                    <a:pt x="181688" y="88426"/>
                  </a:cubicBezTo>
                  <a:cubicBezTo>
                    <a:pt x="178712" y="85449"/>
                    <a:pt x="174247" y="83961"/>
                    <a:pt x="170279" y="82473"/>
                  </a:cubicBezTo>
                  <a:cubicBezTo>
                    <a:pt x="166310" y="80985"/>
                    <a:pt x="161845" y="80489"/>
                    <a:pt x="157381" y="79993"/>
                  </a:cubicBezTo>
                  <a:cubicBezTo>
                    <a:pt x="159861" y="78504"/>
                    <a:pt x="163334" y="77016"/>
                    <a:pt x="165318" y="75032"/>
                  </a:cubicBezTo>
                  <a:cubicBezTo>
                    <a:pt x="169783" y="70567"/>
                    <a:pt x="171767" y="64614"/>
                    <a:pt x="173255" y="59157"/>
                  </a:cubicBezTo>
                  <a:cubicBezTo>
                    <a:pt x="174744" y="53701"/>
                    <a:pt x="175736" y="47251"/>
                    <a:pt x="174247" y="41795"/>
                  </a:cubicBezTo>
                  <a:cubicBezTo>
                    <a:pt x="172759" y="36338"/>
                    <a:pt x="168790" y="31377"/>
                    <a:pt x="164822" y="26912"/>
                  </a:cubicBezTo>
                  <a:cubicBezTo>
                    <a:pt x="160357" y="22447"/>
                    <a:pt x="154901" y="20959"/>
                    <a:pt x="149443" y="19471"/>
                  </a:cubicBezTo>
                  <a:cubicBezTo>
                    <a:pt x="143986" y="17983"/>
                    <a:pt x="138034" y="15998"/>
                    <a:pt x="132080" y="17487"/>
                  </a:cubicBezTo>
                  <a:cubicBezTo>
                    <a:pt x="126624" y="18975"/>
                    <a:pt x="122159" y="22944"/>
                    <a:pt x="117695" y="27408"/>
                  </a:cubicBezTo>
                  <a:cubicBezTo>
                    <a:pt x="115710" y="29393"/>
                    <a:pt x="113726" y="31873"/>
                    <a:pt x="112237" y="33857"/>
                  </a:cubicBezTo>
                  <a:cubicBezTo>
                    <a:pt x="112237" y="29393"/>
                    <a:pt x="111741" y="25424"/>
                    <a:pt x="109757" y="21456"/>
                  </a:cubicBezTo>
                  <a:cubicBezTo>
                    <a:pt x="108269" y="17487"/>
                    <a:pt x="105789" y="14510"/>
                    <a:pt x="102812" y="11038"/>
                  </a:cubicBezTo>
                  <a:cubicBezTo>
                    <a:pt x="98348" y="6573"/>
                    <a:pt x="93883" y="2604"/>
                    <a:pt x="88426" y="1116"/>
                  </a:cubicBezTo>
                  <a:cubicBezTo>
                    <a:pt x="82969" y="-372"/>
                    <a:pt x="76520" y="-372"/>
                    <a:pt x="71063" y="1116"/>
                  </a:cubicBezTo>
                  <a:cubicBezTo>
                    <a:pt x="65606" y="2604"/>
                    <a:pt x="61638" y="7069"/>
                    <a:pt x="57173" y="11534"/>
                  </a:cubicBezTo>
                  <a:cubicBezTo>
                    <a:pt x="53700" y="15006"/>
                    <a:pt x="51220" y="18479"/>
                    <a:pt x="49732" y="22944"/>
                  </a:cubicBezTo>
                  <a:cubicBezTo>
                    <a:pt x="48244" y="27408"/>
                    <a:pt x="47251" y="31873"/>
                    <a:pt x="47747" y="36834"/>
                  </a:cubicBezTo>
                  <a:cubicBezTo>
                    <a:pt x="48244" y="41795"/>
                    <a:pt x="47747" y="45763"/>
                    <a:pt x="50228" y="49732"/>
                  </a:cubicBezTo>
                  <a:cubicBezTo>
                    <a:pt x="45763" y="47251"/>
                    <a:pt x="42290" y="46259"/>
                    <a:pt x="37330" y="45763"/>
                  </a:cubicBezTo>
                  <a:cubicBezTo>
                    <a:pt x="32369" y="45267"/>
                    <a:pt x="27904" y="47251"/>
                    <a:pt x="23440" y="48740"/>
                  </a:cubicBezTo>
                  <a:cubicBezTo>
                    <a:pt x="18975" y="50228"/>
                    <a:pt x="13518" y="51220"/>
                    <a:pt x="10045" y="54692"/>
                  </a:cubicBezTo>
                  <a:cubicBezTo>
                    <a:pt x="5581" y="59157"/>
                    <a:pt x="2604" y="64614"/>
                    <a:pt x="1116" y="70071"/>
                  </a:cubicBezTo>
                  <a:cubicBezTo>
                    <a:pt x="-372" y="75528"/>
                    <a:pt x="-372" y="81977"/>
                    <a:pt x="1116" y="87930"/>
                  </a:cubicBezTo>
                  <a:cubicBezTo>
                    <a:pt x="2604" y="93387"/>
                    <a:pt x="7069" y="97355"/>
                    <a:pt x="11534" y="101820"/>
                  </a:cubicBezTo>
                  <a:cubicBezTo>
                    <a:pt x="14510" y="104797"/>
                    <a:pt x="17487" y="108269"/>
                    <a:pt x="21455" y="109757"/>
                  </a:cubicBezTo>
                  <a:cubicBezTo>
                    <a:pt x="25424" y="111245"/>
                    <a:pt x="29889" y="112238"/>
                    <a:pt x="33857" y="112238"/>
                  </a:cubicBezTo>
                  <a:cubicBezTo>
                    <a:pt x="31377" y="113726"/>
                    <a:pt x="28897" y="114718"/>
                    <a:pt x="26912" y="116702"/>
                  </a:cubicBezTo>
                  <a:cubicBezTo>
                    <a:pt x="22447" y="121167"/>
                    <a:pt x="19967" y="126624"/>
                    <a:pt x="18479" y="132081"/>
                  </a:cubicBezTo>
                  <a:cubicBezTo>
                    <a:pt x="16991" y="137538"/>
                    <a:pt x="16991" y="143987"/>
                    <a:pt x="18479" y="149444"/>
                  </a:cubicBezTo>
                  <a:cubicBezTo>
                    <a:pt x="19967" y="154900"/>
                    <a:pt x="22943" y="159861"/>
                    <a:pt x="27408" y="164326"/>
                  </a:cubicBezTo>
                  <a:cubicBezTo>
                    <a:pt x="31873" y="168790"/>
                    <a:pt x="36834" y="171271"/>
                    <a:pt x="42290" y="172759"/>
                  </a:cubicBezTo>
                  <a:cubicBezTo>
                    <a:pt x="47747" y="174247"/>
                    <a:pt x="53700" y="173751"/>
                    <a:pt x="59157" y="172263"/>
                  </a:cubicBezTo>
                  <a:cubicBezTo>
                    <a:pt x="64614" y="170775"/>
                    <a:pt x="70567" y="168790"/>
                    <a:pt x="74536" y="164822"/>
                  </a:cubicBezTo>
                  <a:cubicBezTo>
                    <a:pt x="76520" y="162838"/>
                    <a:pt x="78008" y="159365"/>
                    <a:pt x="79496" y="157381"/>
                  </a:cubicBezTo>
                  <a:cubicBezTo>
                    <a:pt x="79496" y="161349"/>
                    <a:pt x="80489" y="166310"/>
                    <a:pt x="81977" y="169783"/>
                  </a:cubicBezTo>
                  <a:cubicBezTo>
                    <a:pt x="83465" y="173751"/>
                    <a:pt x="85946" y="176728"/>
                    <a:pt x="89418" y="179704"/>
                  </a:cubicBezTo>
                  <a:cubicBezTo>
                    <a:pt x="93883" y="184169"/>
                    <a:pt x="98348" y="187642"/>
                    <a:pt x="103308" y="189130"/>
                  </a:cubicBezTo>
                  <a:cubicBezTo>
                    <a:pt x="108765" y="190618"/>
                    <a:pt x="114718" y="190122"/>
                    <a:pt x="120671" y="188634"/>
                  </a:cubicBezTo>
                  <a:cubicBezTo>
                    <a:pt x="126128" y="187145"/>
                    <a:pt x="131089" y="184169"/>
                    <a:pt x="135553" y="180200"/>
                  </a:cubicBezTo>
                  <a:cubicBezTo>
                    <a:pt x="139026" y="176728"/>
                    <a:pt x="142002" y="172759"/>
                    <a:pt x="143490" y="168790"/>
                  </a:cubicBezTo>
                  <a:cubicBezTo>
                    <a:pt x="144979" y="164326"/>
                    <a:pt x="146467" y="159365"/>
                    <a:pt x="145971" y="154900"/>
                  </a:cubicBezTo>
                  <a:cubicBezTo>
                    <a:pt x="146467" y="149940"/>
                    <a:pt x="144979" y="146467"/>
                    <a:pt x="142995" y="142002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4A05D540-0F4A-8782-32E0-ECFF65EEC64A}"/>
                </a:ext>
              </a:extLst>
            </p:cNvPr>
            <p:cNvSpPr/>
            <p:nvPr/>
          </p:nvSpPr>
          <p:spPr>
            <a:xfrm>
              <a:off x="5867573" y="4766410"/>
              <a:ext cx="68605" cy="67775"/>
            </a:xfrm>
            <a:custGeom>
              <a:avLst/>
              <a:gdLst>
                <a:gd name="connsiteX0" fmla="*/ 58444 w 68605"/>
                <a:gd name="connsiteY0" fmla="*/ 56459 h 67775"/>
                <a:gd name="connsiteX1" fmla="*/ 66877 w 68605"/>
                <a:gd name="connsiteY1" fmla="*/ 41577 h 67775"/>
                <a:gd name="connsiteX2" fmla="*/ 67869 w 68605"/>
                <a:gd name="connsiteY2" fmla="*/ 24214 h 67775"/>
                <a:gd name="connsiteX3" fmla="*/ 58940 w 68605"/>
                <a:gd name="connsiteY3" fmla="*/ 8836 h 67775"/>
                <a:gd name="connsiteX4" fmla="*/ 43065 w 68605"/>
                <a:gd name="connsiteY4" fmla="*/ 1395 h 67775"/>
                <a:gd name="connsiteX5" fmla="*/ 25703 w 68605"/>
                <a:gd name="connsiteY5" fmla="*/ 899 h 67775"/>
                <a:gd name="connsiteX6" fmla="*/ 11316 w 68605"/>
                <a:gd name="connsiteY6" fmla="*/ 10324 h 67775"/>
                <a:gd name="connsiteX7" fmla="*/ 899 w 68605"/>
                <a:gd name="connsiteY7" fmla="*/ 24710 h 67775"/>
                <a:gd name="connsiteX8" fmla="*/ 1395 w 68605"/>
                <a:gd name="connsiteY8" fmla="*/ 42569 h 67775"/>
                <a:gd name="connsiteX9" fmla="*/ 9828 w 68605"/>
                <a:gd name="connsiteY9" fmla="*/ 57948 h 67775"/>
                <a:gd name="connsiteX10" fmla="*/ 25206 w 68605"/>
                <a:gd name="connsiteY10" fmla="*/ 66877 h 67775"/>
                <a:gd name="connsiteX11" fmla="*/ 43065 w 68605"/>
                <a:gd name="connsiteY11" fmla="*/ 66381 h 67775"/>
                <a:gd name="connsiteX12" fmla="*/ 58444 w 68605"/>
                <a:gd name="connsiteY12" fmla="*/ 56459 h 6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605" h="67775">
                  <a:moveTo>
                    <a:pt x="58444" y="56459"/>
                  </a:moveTo>
                  <a:cubicBezTo>
                    <a:pt x="62909" y="51995"/>
                    <a:pt x="65389" y="47034"/>
                    <a:pt x="66877" y="41577"/>
                  </a:cubicBezTo>
                  <a:cubicBezTo>
                    <a:pt x="68365" y="35624"/>
                    <a:pt x="69357" y="29671"/>
                    <a:pt x="67869" y="24214"/>
                  </a:cubicBezTo>
                  <a:cubicBezTo>
                    <a:pt x="66381" y="18757"/>
                    <a:pt x="63405" y="13301"/>
                    <a:pt x="58940" y="8836"/>
                  </a:cubicBezTo>
                  <a:cubicBezTo>
                    <a:pt x="54475" y="4371"/>
                    <a:pt x="48522" y="2883"/>
                    <a:pt x="43065" y="1395"/>
                  </a:cubicBezTo>
                  <a:cubicBezTo>
                    <a:pt x="37112" y="-94"/>
                    <a:pt x="31655" y="-590"/>
                    <a:pt x="25703" y="899"/>
                  </a:cubicBezTo>
                  <a:cubicBezTo>
                    <a:pt x="20245" y="2387"/>
                    <a:pt x="15781" y="5859"/>
                    <a:pt x="11316" y="10324"/>
                  </a:cubicBezTo>
                  <a:cubicBezTo>
                    <a:pt x="6852" y="14789"/>
                    <a:pt x="2387" y="18757"/>
                    <a:pt x="899" y="24710"/>
                  </a:cubicBezTo>
                  <a:cubicBezTo>
                    <a:pt x="-590" y="30663"/>
                    <a:pt x="-94" y="36616"/>
                    <a:pt x="1395" y="42569"/>
                  </a:cubicBezTo>
                  <a:cubicBezTo>
                    <a:pt x="2883" y="48026"/>
                    <a:pt x="5860" y="53979"/>
                    <a:pt x="9828" y="57948"/>
                  </a:cubicBezTo>
                  <a:cubicBezTo>
                    <a:pt x="13797" y="61916"/>
                    <a:pt x="19749" y="65389"/>
                    <a:pt x="25206" y="66877"/>
                  </a:cubicBezTo>
                  <a:cubicBezTo>
                    <a:pt x="31159" y="68365"/>
                    <a:pt x="37112" y="67869"/>
                    <a:pt x="43065" y="66381"/>
                  </a:cubicBezTo>
                  <a:cubicBezTo>
                    <a:pt x="49018" y="64397"/>
                    <a:pt x="53979" y="60924"/>
                    <a:pt x="58444" y="5645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8A6A4496-3261-95B0-DD80-4589CD39FEE6}"/>
                </a:ext>
              </a:extLst>
            </p:cNvPr>
            <p:cNvSpPr/>
            <p:nvPr/>
          </p:nvSpPr>
          <p:spPr>
            <a:xfrm>
              <a:off x="6017295" y="4902242"/>
              <a:ext cx="104672" cy="112113"/>
            </a:xfrm>
            <a:custGeom>
              <a:avLst/>
              <a:gdLst>
                <a:gd name="connsiteX0" fmla="*/ 90286 w 104672"/>
                <a:gd name="connsiteY0" fmla="*/ 54569 h 112113"/>
                <a:gd name="connsiteX1" fmla="*/ 99216 w 104672"/>
                <a:gd name="connsiteY1" fmla="*/ 47623 h 112113"/>
                <a:gd name="connsiteX2" fmla="*/ 104672 w 104672"/>
                <a:gd name="connsiteY2" fmla="*/ 36710 h 112113"/>
                <a:gd name="connsiteX3" fmla="*/ 97727 w 104672"/>
                <a:gd name="connsiteY3" fmla="*/ 23812 h 112113"/>
                <a:gd name="connsiteX4" fmla="*/ 84829 w 104672"/>
                <a:gd name="connsiteY4" fmla="*/ 17363 h 112113"/>
                <a:gd name="connsiteX5" fmla="*/ 70939 w 104672"/>
                <a:gd name="connsiteY5" fmla="*/ 22324 h 112113"/>
                <a:gd name="connsiteX6" fmla="*/ 71435 w 104672"/>
                <a:gd name="connsiteY6" fmla="*/ 18355 h 112113"/>
                <a:gd name="connsiteX7" fmla="*/ 66474 w 104672"/>
                <a:gd name="connsiteY7" fmla="*/ 4465 h 112113"/>
                <a:gd name="connsiteX8" fmla="*/ 52584 w 104672"/>
                <a:gd name="connsiteY8" fmla="*/ 0 h 112113"/>
                <a:gd name="connsiteX9" fmla="*/ 38694 w 104672"/>
                <a:gd name="connsiteY9" fmla="*/ 4961 h 112113"/>
                <a:gd name="connsiteX10" fmla="*/ 33237 w 104672"/>
                <a:gd name="connsiteY10" fmla="*/ 18851 h 112113"/>
                <a:gd name="connsiteX11" fmla="*/ 34229 w 104672"/>
                <a:gd name="connsiteY11" fmla="*/ 22819 h 112113"/>
                <a:gd name="connsiteX12" fmla="*/ 20339 w 104672"/>
                <a:gd name="connsiteY12" fmla="*/ 18851 h 112113"/>
                <a:gd name="connsiteX13" fmla="*/ 6945 w 104672"/>
                <a:gd name="connsiteY13" fmla="*/ 23812 h 112113"/>
                <a:gd name="connsiteX14" fmla="*/ 0 w 104672"/>
                <a:gd name="connsiteY14" fmla="*/ 37206 h 112113"/>
                <a:gd name="connsiteX15" fmla="*/ 5457 w 104672"/>
                <a:gd name="connsiteY15" fmla="*/ 48616 h 112113"/>
                <a:gd name="connsiteX16" fmla="*/ 13890 w 104672"/>
                <a:gd name="connsiteY16" fmla="*/ 56057 h 112113"/>
                <a:gd name="connsiteX17" fmla="*/ 3968 w 104672"/>
                <a:gd name="connsiteY17" fmla="*/ 62506 h 112113"/>
                <a:gd name="connsiteX18" fmla="*/ 992 w 104672"/>
                <a:gd name="connsiteY18" fmla="*/ 74908 h 112113"/>
                <a:gd name="connsiteX19" fmla="*/ 6449 w 104672"/>
                <a:gd name="connsiteY19" fmla="*/ 88302 h 112113"/>
                <a:gd name="connsiteX20" fmla="*/ 19843 w 104672"/>
                <a:gd name="connsiteY20" fmla="*/ 94255 h 112113"/>
                <a:gd name="connsiteX21" fmla="*/ 32741 w 104672"/>
                <a:gd name="connsiteY21" fmla="*/ 88302 h 112113"/>
                <a:gd name="connsiteX22" fmla="*/ 31749 w 104672"/>
                <a:gd name="connsiteY22" fmla="*/ 93263 h 112113"/>
                <a:gd name="connsiteX23" fmla="*/ 37206 w 104672"/>
                <a:gd name="connsiteY23" fmla="*/ 107649 h 112113"/>
                <a:gd name="connsiteX24" fmla="*/ 51592 w 104672"/>
                <a:gd name="connsiteY24" fmla="*/ 112113 h 112113"/>
                <a:gd name="connsiteX25" fmla="*/ 64490 w 104672"/>
                <a:gd name="connsiteY25" fmla="*/ 106160 h 112113"/>
                <a:gd name="connsiteX26" fmla="*/ 70939 w 104672"/>
                <a:gd name="connsiteY26" fmla="*/ 93263 h 112113"/>
                <a:gd name="connsiteX27" fmla="*/ 70443 w 104672"/>
                <a:gd name="connsiteY27" fmla="*/ 88302 h 112113"/>
                <a:gd name="connsiteX28" fmla="*/ 83837 w 104672"/>
                <a:gd name="connsiteY28" fmla="*/ 93263 h 112113"/>
                <a:gd name="connsiteX29" fmla="*/ 96735 w 104672"/>
                <a:gd name="connsiteY29" fmla="*/ 87310 h 112113"/>
                <a:gd name="connsiteX30" fmla="*/ 102192 w 104672"/>
                <a:gd name="connsiteY30" fmla="*/ 74412 h 112113"/>
                <a:gd name="connsiteX31" fmla="*/ 90286 w 104672"/>
                <a:gd name="connsiteY31" fmla="*/ 54569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4672" h="112113">
                  <a:moveTo>
                    <a:pt x="90286" y="54569"/>
                  </a:moveTo>
                  <a:cubicBezTo>
                    <a:pt x="94255" y="53576"/>
                    <a:pt x="96735" y="50600"/>
                    <a:pt x="99216" y="47623"/>
                  </a:cubicBezTo>
                  <a:cubicBezTo>
                    <a:pt x="101696" y="44647"/>
                    <a:pt x="104672" y="41174"/>
                    <a:pt x="104672" y="36710"/>
                  </a:cubicBezTo>
                  <a:cubicBezTo>
                    <a:pt x="104672" y="31253"/>
                    <a:pt x="101199" y="27284"/>
                    <a:pt x="97727" y="23812"/>
                  </a:cubicBezTo>
                  <a:cubicBezTo>
                    <a:pt x="94255" y="20339"/>
                    <a:pt x="89790" y="17363"/>
                    <a:pt x="84829" y="17363"/>
                  </a:cubicBezTo>
                  <a:cubicBezTo>
                    <a:pt x="79868" y="17363"/>
                    <a:pt x="74412" y="18851"/>
                    <a:pt x="70939" y="22324"/>
                  </a:cubicBezTo>
                  <a:cubicBezTo>
                    <a:pt x="71435" y="20835"/>
                    <a:pt x="71435" y="19843"/>
                    <a:pt x="71435" y="18355"/>
                  </a:cubicBezTo>
                  <a:cubicBezTo>
                    <a:pt x="71435" y="12898"/>
                    <a:pt x="69947" y="7937"/>
                    <a:pt x="66474" y="4465"/>
                  </a:cubicBezTo>
                  <a:cubicBezTo>
                    <a:pt x="63002" y="992"/>
                    <a:pt x="58041" y="0"/>
                    <a:pt x="52584" y="0"/>
                  </a:cubicBezTo>
                  <a:cubicBezTo>
                    <a:pt x="47127" y="0"/>
                    <a:pt x="42167" y="1488"/>
                    <a:pt x="38694" y="4961"/>
                  </a:cubicBezTo>
                  <a:cubicBezTo>
                    <a:pt x="35221" y="8433"/>
                    <a:pt x="33237" y="13394"/>
                    <a:pt x="33237" y="18851"/>
                  </a:cubicBezTo>
                  <a:cubicBezTo>
                    <a:pt x="33237" y="20339"/>
                    <a:pt x="34229" y="21331"/>
                    <a:pt x="34229" y="22819"/>
                  </a:cubicBezTo>
                  <a:cubicBezTo>
                    <a:pt x="30757" y="19347"/>
                    <a:pt x="25796" y="18851"/>
                    <a:pt x="20339" y="18851"/>
                  </a:cubicBezTo>
                  <a:cubicBezTo>
                    <a:pt x="14882" y="18851"/>
                    <a:pt x="10418" y="20339"/>
                    <a:pt x="6945" y="23812"/>
                  </a:cubicBezTo>
                  <a:cubicBezTo>
                    <a:pt x="3472" y="27284"/>
                    <a:pt x="0" y="31749"/>
                    <a:pt x="0" y="37206"/>
                  </a:cubicBezTo>
                  <a:cubicBezTo>
                    <a:pt x="0" y="41670"/>
                    <a:pt x="2976" y="45143"/>
                    <a:pt x="5457" y="48616"/>
                  </a:cubicBezTo>
                  <a:cubicBezTo>
                    <a:pt x="7937" y="52088"/>
                    <a:pt x="9922" y="54569"/>
                    <a:pt x="13890" y="56057"/>
                  </a:cubicBezTo>
                  <a:cubicBezTo>
                    <a:pt x="9922" y="57049"/>
                    <a:pt x="6449" y="59033"/>
                    <a:pt x="3968" y="62506"/>
                  </a:cubicBezTo>
                  <a:cubicBezTo>
                    <a:pt x="1488" y="65482"/>
                    <a:pt x="992" y="70443"/>
                    <a:pt x="992" y="74908"/>
                  </a:cubicBezTo>
                  <a:cubicBezTo>
                    <a:pt x="992" y="80365"/>
                    <a:pt x="2976" y="84829"/>
                    <a:pt x="6449" y="88302"/>
                  </a:cubicBezTo>
                  <a:cubicBezTo>
                    <a:pt x="9922" y="91774"/>
                    <a:pt x="14882" y="94255"/>
                    <a:pt x="19843" y="94255"/>
                  </a:cubicBezTo>
                  <a:cubicBezTo>
                    <a:pt x="24804" y="94255"/>
                    <a:pt x="29268" y="91774"/>
                    <a:pt x="32741" y="88302"/>
                  </a:cubicBezTo>
                  <a:cubicBezTo>
                    <a:pt x="32245" y="89790"/>
                    <a:pt x="31749" y="91774"/>
                    <a:pt x="31749" y="93263"/>
                  </a:cubicBezTo>
                  <a:cubicBezTo>
                    <a:pt x="31749" y="98719"/>
                    <a:pt x="33733" y="104176"/>
                    <a:pt x="37206" y="107649"/>
                  </a:cubicBezTo>
                  <a:cubicBezTo>
                    <a:pt x="40678" y="111121"/>
                    <a:pt x="46135" y="112113"/>
                    <a:pt x="51592" y="112113"/>
                  </a:cubicBezTo>
                  <a:cubicBezTo>
                    <a:pt x="57049" y="112113"/>
                    <a:pt x="61017" y="109633"/>
                    <a:pt x="64490" y="106160"/>
                  </a:cubicBezTo>
                  <a:cubicBezTo>
                    <a:pt x="67962" y="102688"/>
                    <a:pt x="70939" y="98719"/>
                    <a:pt x="70939" y="93263"/>
                  </a:cubicBezTo>
                  <a:cubicBezTo>
                    <a:pt x="70939" y="91774"/>
                    <a:pt x="70939" y="89790"/>
                    <a:pt x="70443" y="88302"/>
                  </a:cubicBezTo>
                  <a:cubicBezTo>
                    <a:pt x="73915" y="91774"/>
                    <a:pt x="78380" y="93263"/>
                    <a:pt x="83837" y="93263"/>
                  </a:cubicBezTo>
                  <a:cubicBezTo>
                    <a:pt x="89294" y="93263"/>
                    <a:pt x="93262" y="90782"/>
                    <a:pt x="96735" y="87310"/>
                  </a:cubicBezTo>
                  <a:cubicBezTo>
                    <a:pt x="100208" y="83837"/>
                    <a:pt x="102192" y="79868"/>
                    <a:pt x="102192" y="74412"/>
                  </a:cubicBezTo>
                  <a:cubicBezTo>
                    <a:pt x="102688" y="64490"/>
                    <a:pt x="98223" y="57049"/>
                    <a:pt x="90286" y="5456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8" name="Freeform: Shape 1527">
              <a:extLst>
                <a:ext uri="{FF2B5EF4-FFF2-40B4-BE49-F238E27FC236}">
                  <a16:creationId xmlns:a16="http://schemas.microsoft.com/office/drawing/2014/main" id="{40D7CDBC-36E3-FA2D-BCFA-E4EB6B346BC2}"/>
                </a:ext>
              </a:extLst>
            </p:cNvPr>
            <p:cNvSpPr/>
            <p:nvPr/>
          </p:nvSpPr>
          <p:spPr>
            <a:xfrm>
              <a:off x="6054004" y="4935975"/>
              <a:ext cx="39190" cy="39686"/>
            </a:xfrm>
            <a:custGeom>
              <a:avLst/>
              <a:gdLst>
                <a:gd name="connsiteX0" fmla="*/ 39190 w 39190"/>
                <a:gd name="connsiteY0" fmla="*/ 19843 h 39686"/>
                <a:gd name="connsiteX1" fmla="*/ 33238 w 39190"/>
                <a:gd name="connsiteY1" fmla="*/ 5953 h 39686"/>
                <a:gd name="connsiteX2" fmla="*/ 19347 w 39190"/>
                <a:gd name="connsiteY2" fmla="*/ 0 h 39686"/>
                <a:gd name="connsiteX3" fmla="*/ 4961 w 39190"/>
                <a:gd name="connsiteY3" fmla="*/ 5953 h 39686"/>
                <a:gd name="connsiteX4" fmla="*/ 0 w 39190"/>
                <a:gd name="connsiteY4" fmla="*/ 20339 h 39686"/>
                <a:gd name="connsiteX5" fmla="*/ 4961 w 39190"/>
                <a:gd name="connsiteY5" fmla="*/ 34229 h 39686"/>
                <a:gd name="connsiteX6" fmla="*/ 18851 w 39190"/>
                <a:gd name="connsiteY6" fmla="*/ 39686 h 39686"/>
                <a:gd name="connsiteX7" fmla="*/ 32245 w 39190"/>
                <a:gd name="connsiteY7" fmla="*/ 33733 h 39686"/>
                <a:gd name="connsiteX8" fmla="*/ 39190 w 39190"/>
                <a:gd name="connsiteY8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190" h="39686">
                  <a:moveTo>
                    <a:pt x="39190" y="19843"/>
                  </a:moveTo>
                  <a:cubicBezTo>
                    <a:pt x="39190" y="14386"/>
                    <a:pt x="37206" y="9426"/>
                    <a:pt x="33238" y="5953"/>
                  </a:cubicBezTo>
                  <a:cubicBezTo>
                    <a:pt x="29765" y="2480"/>
                    <a:pt x="24804" y="0"/>
                    <a:pt x="19347" y="0"/>
                  </a:cubicBezTo>
                  <a:cubicBezTo>
                    <a:pt x="13890" y="0"/>
                    <a:pt x="8930" y="1984"/>
                    <a:pt x="4961" y="5953"/>
                  </a:cubicBezTo>
                  <a:cubicBezTo>
                    <a:pt x="1488" y="9426"/>
                    <a:pt x="0" y="14882"/>
                    <a:pt x="0" y="20339"/>
                  </a:cubicBezTo>
                  <a:cubicBezTo>
                    <a:pt x="0" y="25796"/>
                    <a:pt x="1488" y="30757"/>
                    <a:pt x="4961" y="34229"/>
                  </a:cubicBezTo>
                  <a:cubicBezTo>
                    <a:pt x="8434" y="37702"/>
                    <a:pt x="13394" y="39686"/>
                    <a:pt x="18851" y="39686"/>
                  </a:cubicBezTo>
                  <a:cubicBezTo>
                    <a:pt x="24308" y="39686"/>
                    <a:pt x="28773" y="37206"/>
                    <a:pt x="32245" y="33733"/>
                  </a:cubicBezTo>
                  <a:cubicBezTo>
                    <a:pt x="36710" y="29765"/>
                    <a:pt x="39190" y="25300"/>
                    <a:pt x="39190" y="19843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102FE8AB-E85C-4294-A5B7-4B9EDCE20618}"/>
                </a:ext>
              </a:extLst>
            </p:cNvPr>
            <p:cNvSpPr/>
            <p:nvPr/>
          </p:nvSpPr>
          <p:spPr>
            <a:xfrm>
              <a:off x="6060681" y="5089165"/>
              <a:ext cx="53654" cy="53275"/>
            </a:xfrm>
            <a:custGeom>
              <a:avLst/>
              <a:gdLst>
                <a:gd name="connsiteX0" fmla="*/ 2749 w 53654"/>
                <a:gd name="connsiteY0" fmla="*/ 50698 h 53275"/>
                <a:gd name="connsiteX1" fmla="*/ 2253 w 53654"/>
                <a:gd name="connsiteY1" fmla="*/ 37800 h 53275"/>
                <a:gd name="connsiteX2" fmla="*/ 6222 w 53654"/>
                <a:gd name="connsiteY2" fmla="*/ 24902 h 53275"/>
                <a:gd name="connsiteX3" fmla="*/ 13166 w 53654"/>
                <a:gd name="connsiteY3" fmla="*/ 12996 h 53275"/>
                <a:gd name="connsiteX4" fmla="*/ 25072 w 53654"/>
                <a:gd name="connsiteY4" fmla="*/ 6547 h 53275"/>
                <a:gd name="connsiteX5" fmla="*/ 37970 w 53654"/>
                <a:gd name="connsiteY5" fmla="*/ 1586 h 53275"/>
                <a:gd name="connsiteX6" fmla="*/ 50869 w 53654"/>
                <a:gd name="connsiteY6" fmla="*/ 2578 h 53275"/>
                <a:gd name="connsiteX7" fmla="*/ 51861 w 53654"/>
                <a:gd name="connsiteY7" fmla="*/ 15476 h 53275"/>
                <a:gd name="connsiteX8" fmla="*/ 48388 w 53654"/>
                <a:gd name="connsiteY8" fmla="*/ 28870 h 53275"/>
                <a:gd name="connsiteX9" fmla="*/ 39459 w 53654"/>
                <a:gd name="connsiteY9" fmla="*/ 39288 h 53275"/>
                <a:gd name="connsiteX10" fmla="*/ 28545 w 53654"/>
                <a:gd name="connsiteY10" fmla="*/ 46729 h 53275"/>
                <a:gd name="connsiteX11" fmla="*/ 15647 w 53654"/>
                <a:gd name="connsiteY11" fmla="*/ 51690 h 53275"/>
                <a:gd name="connsiteX12" fmla="*/ 2749 w 53654"/>
                <a:gd name="connsiteY12" fmla="*/ 50698 h 53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654" h="53275">
                  <a:moveTo>
                    <a:pt x="2749" y="50698"/>
                  </a:moveTo>
                  <a:cubicBezTo>
                    <a:pt x="-2212" y="45737"/>
                    <a:pt x="764" y="45737"/>
                    <a:pt x="2253" y="37800"/>
                  </a:cubicBezTo>
                  <a:cubicBezTo>
                    <a:pt x="2749" y="33831"/>
                    <a:pt x="4733" y="29367"/>
                    <a:pt x="6222" y="24902"/>
                  </a:cubicBezTo>
                  <a:cubicBezTo>
                    <a:pt x="7710" y="20933"/>
                    <a:pt x="9694" y="16468"/>
                    <a:pt x="13166" y="12996"/>
                  </a:cubicBezTo>
                  <a:cubicBezTo>
                    <a:pt x="16639" y="9523"/>
                    <a:pt x="21104" y="8035"/>
                    <a:pt x="25072" y="6547"/>
                  </a:cubicBezTo>
                  <a:cubicBezTo>
                    <a:pt x="29537" y="4563"/>
                    <a:pt x="34002" y="2082"/>
                    <a:pt x="37970" y="1586"/>
                  </a:cubicBezTo>
                  <a:cubicBezTo>
                    <a:pt x="45411" y="594"/>
                    <a:pt x="46404" y="-1887"/>
                    <a:pt x="50869" y="2578"/>
                  </a:cubicBezTo>
                  <a:cubicBezTo>
                    <a:pt x="55830" y="7539"/>
                    <a:pt x="52853" y="8035"/>
                    <a:pt x="51861" y="15476"/>
                  </a:cubicBezTo>
                  <a:cubicBezTo>
                    <a:pt x="51365" y="19445"/>
                    <a:pt x="50372" y="24406"/>
                    <a:pt x="48388" y="28870"/>
                  </a:cubicBezTo>
                  <a:cubicBezTo>
                    <a:pt x="46900" y="32839"/>
                    <a:pt x="42931" y="35815"/>
                    <a:pt x="39459" y="39288"/>
                  </a:cubicBezTo>
                  <a:cubicBezTo>
                    <a:pt x="35986" y="42760"/>
                    <a:pt x="32514" y="44745"/>
                    <a:pt x="28545" y="46729"/>
                  </a:cubicBezTo>
                  <a:cubicBezTo>
                    <a:pt x="24080" y="48713"/>
                    <a:pt x="20112" y="51194"/>
                    <a:pt x="15647" y="51690"/>
                  </a:cubicBezTo>
                  <a:cubicBezTo>
                    <a:pt x="8206" y="52682"/>
                    <a:pt x="7710" y="55162"/>
                    <a:pt x="2749" y="50698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66705881-2BB2-2E4E-F36A-C5A3B6470CEA}"/>
                </a:ext>
              </a:extLst>
            </p:cNvPr>
            <p:cNvSpPr/>
            <p:nvPr/>
          </p:nvSpPr>
          <p:spPr>
            <a:xfrm>
              <a:off x="5898648" y="4922400"/>
              <a:ext cx="74680" cy="75187"/>
            </a:xfrm>
            <a:custGeom>
              <a:avLst/>
              <a:gdLst>
                <a:gd name="connsiteX0" fmla="*/ 2068 w 74680"/>
                <a:gd name="connsiteY0" fmla="*/ 73104 h 75187"/>
                <a:gd name="connsiteX1" fmla="*/ 3060 w 74680"/>
                <a:gd name="connsiteY1" fmla="*/ 58222 h 75187"/>
                <a:gd name="connsiteX2" fmla="*/ 6037 w 74680"/>
                <a:gd name="connsiteY2" fmla="*/ 44332 h 75187"/>
                <a:gd name="connsiteX3" fmla="*/ 11493 w 74680"/>
                <a:gd name="connsiteY3" fmla="*/ 30938 h 75187"/>
                <a:gd name="connsiteX4" fmla="*/ 18935 w 74680"/>
                <a:gd name="connsiteY4" fmla="*/ 19032 h 75187"/>
                <a:gd name="connsiteX5" fmla="*/ 30345 w 74680"/>
                <a:gd name="connsiteY5" fmla="*/ 10599 h 75187"/>
                <a:gd name="connsiteX6" fmla="*/ 43738 w 74680"/>
                <a:gd name="connsiteY6" fmla="*/ 5638 h 75187"/>
                <a:gd name="connsiteX7" fmla="*/ 58125 w 74680"/>
                <a:gd name="connsiteY7" fmla="*/ 2661 h 75187"/>
                <a:gd name="connsiteX8" fmla="*/ 72511 w 74680"/>
                <a:gd name="connsiteY8" fmla="*/ 2661 h 75187"/>
                <a:gd name="connsiteX9" fmla="*/ 71519 w 74680"/>
                <a:gd name="connsiteY9" fmla="*/ 17048 h 75187"/>
                <a:gd name="connsiteX10" fmla="*/ 70031 w 74680"/>
                <a:gd name="connsiteY10" fmla="*/ 31434 h 75187"/>
                <a:gd name="connsiteX11" fmla="*/ 63582 w 74680"/>
                <a:gd name="connsiteY11" fmla="*/ 44332 h 75187"/>
                <a:gd name="connsiteX12" fmla="*/ 55644 w 74680"/>
                <a:gd name="connsiteY12" fmla="*/ 56237 h 75187"/>
                <a:gd name="connsiteX13" fmla="*/ 43738 w 74680"/>
                <a:gd name="connsiteY13" fmla="*/ 64175 h 75187"/>
                <a:gd name="connsiteX14" fmla="*/ 30841 w 74680"/>
                <a:gd name="connsiteY14" fmla="*/ 70624 h 75187"/>
                <a:gd name="connsiteX15" fmla="*/ 16454 w 74680"/>
                <a:gd name="connsiteY15" fmla="*/ 72608 h 75187"/>
                <a:gd name="connsiteX16" fmla="*/ 2068 w 74680"/>
                <a:gd name="connsiteY16" fmla="*/ 73104 h 75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4680" h="75187">
                  <a:moveTo>
                    <a:pt x="2068" y="73104"/>
                  </a:moveTo>
                  <a:cubicBezTo>
                    <a:pt x="-2892" y="68143"/>
                    <a:pt x="2564" y="66655"/>
                    <a:pt x="3060" y="58222"/>
                  </a:cubicBezTo>
                  <a:cubicBezTo>
                    <a:pt x="3556" y="53757"/>
                    <a:pt x="4549" y="49293"/>
                    <a:pt x="6037" y="44332"/>
                  </a:cubicBezTo>
                  <a:cubicBezTo>
                    <a:pt x="7029" y="39867"/>
                    <a:pt x="9013" y="35402"/>
                    <a:pt x="11493" y="30938"/>
                  </a:cubicBezTo>
                  <a:cubicBezTo>
                    <a:pt x="13478" y="26969"/>
                    <a:pt x="15462" y="22504"/>
                    <a:pt x="18935" y="19032"/>
                  </a:cubicBezTo>
                  <a:cubicBezTo>
                    <a:pt x="22407" y="15559"/>
                    <a:pt x="26376" y="12583"/>
                    <a:pt x="30345" y="10599"/>
                  </a:cubicBezTo>
                  <a:cubicBezTo>
                    <a:pt x="34809" y="8118"/>
                    <a:pt x="39274" y="6630"/>
                    <a:pt x="43738" y="5638"/>
                  </a:cubicBezTo>
                  <a:cubicBezTo>
                    <a:pt x="48699" y="4149"/>
                    <a:pt x="53660" y="3157"/>
                    <a:pt x="58125" y="2661"/>
                  </a:cubicBezTo>
                  <a:cubicBezTo>
                    <a:pt x="66558" y="1669"/>
                    <a:pt x="67550" y="-2796"/>
                    <a:pt x="72511" y="2661"/>
                  </a:cubicBezTo>
                  <a:cubicBezTo>
                    <a:pt x="77472" y="7622"/>
                    <a:pt x="72511" y="8614"/>
                    <a:pt x="71519" y="17048"/>
                  </a:cubicBezTo>
                  <a:cubicBezTo>
                    <a:pt x="71023" y="21512"/>
                    <a:pt x="71519" y="26473"/>
                    <a:pt x="70031" y="31434"/>
                  </a:cubicBezTo>
                  <a:cubicBezTo>
                    <a:pt x="69039" y="35898"/>
                    <a:pt x="66062" y="39867"/>
                    <a:pt x="63582" y="44332"/>
                  </a:cubicBezTo>
                  <a:cubicBezTo>
                    <a:pt x="61598" y="48300"/>
                    <a:pt x="59117" y="52765"/>
                    <a:pt x="55644" y="56237"/>
                  </a:cubicBezTo>
                  <a:cubicBezTo>
                    <a:pt x="52172" y="59710"/>
                    <a:pt x="48203" y="61695"/>
                    <a:pt x="43738" y="64175"/>
                  </a:cubicBezTo>
                  <a:cubicBezTo>
                    <a:pt x="39274" y="66655"/>
                    <a:pt x="35305" y="69136"/>
                    <a:pt x="30841" y="70624"/>
                  </a:cubicBezTo>
                  <a:cubicBezTo>
                    <a:pt x="25880" y="72112"/>
                    <a:pt x="20919" y="72112"/>
                    <a:pt x="16454" y="72608"/>
                  </a:cubicBezTo>
                  <a:cubicBezTo>
                    <a:pt x="8517" y="72608"/>
                    <a:pt x="7029" y="78065"/>
                    <a:pt x="2068" y="73104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E3ABD7F7-FB19-7FE5-F925-A308E91BF390}"/>
                </a:ext>
              </a:extLst>
            </p:cNvPr>
            <p:cNvSpPr/>
            <p:nvPr/>
          </p:nvSpPr>
          <p:spPr>
            <a:xfrm>
              <a:off x="6009839" y="5155772"/>
              <a:ext cx="53660" cy="52863"/>
            </a:xfrm>
            <a:custGeom>
              <a:avLst/>
              <a:gdLst>
                <a:gd name="connsiteX0" fmla="*/ 2991 w 53660"/>
                <a:gd name="connsiteY0" fmla="*/ 1949 h 52863"/>
                <a:gd name="connsiteX1" fmla="*/ 1503 w 53660"/>
                <a:gd name="connsiteY1" fmla="*/ 14848 h 52863"/>
                <a:gd name="connsiteX2" fmla="*/ 5472 w 53660"/>
                <a:gd name="connsiteY2" fmla="*/ 28242 h 52863"/>
                <a:gd name="connsiteX3" fmla="*/ 13409 w 53660"/>
                <a:gd name="connsiteY3" fmla="*/ 39155 h 52863"/>
                <a:gd name="connsiteX4" fmla="*/ 25315 w 53660"/>
                <a:gd name="connsiteY4" fmla="*/ 45604 h 52863"/>
                <a:gd name="connsiteX5" fmla="*/ 38213 w 53660"/>
                <a:gd name="connsiteY5" fmla="*/ 50069 h 52863"/>
                <a:gd name="connsiteX6" fmla="*/ 51607 w 53660"/>
                <a:gd name="connsiteY6" fmla="*/ 50565 h 52863"/>
                <a:gd name="connsiteX7" fmla="*/ 50119 w 53660"/>
                <a:gd name="connsiteY7" fmla="*/ 37171 h 52863"/>
                <a:gd name="connsiteX8" fmla="*/ 47638 w 53660"/>
                <a:gd name="connsiteY8" fmla="*/ 24273 h 52863"/>
                <a:gd name="connsiteX9" fmla="*/ 40197 w 53660"/>
                <a:gd name="connsiteY9" fmla="*/ 13359 h 52863"/>
                <a:gd name="connsiteX10" fmla="*/ 29780 w 53660"/>
                <a:gd name="connsiteY10" fmla="*/ 4430 h 52863"/>
                <a:gd name="connsiteX11" fmla="*/ 16385 w 53660"/>
                <a:gd name="connsiteY11" fmla="*/ 2942 h 52863"/>
                <a:gd name="connsiteX12" fmla="*/ 2991 w 53660"/>
                <a:gd name="connsiteY12" fmla="*/ 1949 h 5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660" h="52863">
                  <a:moveTo>
                    <a:pt x="2991" y="1949"/>
                  </a:moveTo>
                  <a:cubicBezTo>
                    <a:pt x="-1969" y="6910"/>
                    <a:pt x="511" y="7407"/>
                    <a:pt x="1503" y="14848"/>
                  </a:cubicBezTo>
                  <a:cubicBezTo>
                    <a:pt x="1999" y="18816"/>
                    <a:pt x="3487" y="23777"/>
                    <a:pt x="5472" y="28242"/>
                  </a:cubicBezTo>
                  <a:cubicBezTo>
                    <a:pt x="6960" y="32210"/>
                    <a:pt x="9937" y="36179"/>
                    <a:pt x="13409" y="39155"/>
                  </a:cubicBezTo>
                  <a:cubicBezTo>
                    <a:pt x="16881" y="42628"/>
                    <a:pt x="21346" y="43620"/>
                    <a:pt x="25315" y="45604"/>
                  </a:cubicBezTo>
                  <a:cubicBezTo>
                    <a:pt x="29780" y="47589"/>
                    <a:pt x="33748" y="49573"/>
                    <a:pt x="38213" y="50069"/>
                  </a:cubicBezTo>
                  <a:cubicBezTo>
                    <a:pt x="45654" y="51061"/>
                    <a:pt x="47142" y="55526"/>
                    <a:pt x="51607" y="50565"/>
                  </a:cubicBezTo>
                  <a:cubicBezTo>
                    <a:pt x="56567" y="45604"/>
                    <a:pt x="51111" y="44612"/>
                    <a:pt x="50119" y="37171"/>
                  </a:cubicBezTo>
                  <a:cubicBezTo>
                    <a:pt x="49623" y="33202"/>
                    <a:pt x="49126" y="28738"/>
                    <a:pt x="47638" y="24273"/>
                  </a:cubicBezTo>
                  <a:cubicBezTo>
                    <a:pt x="46150" y="20304"/>
                    <a:pt x="43174" y="16832"/>
                    <a:pt x="40197" y="13359"/>
                  </a:cubicBezTo>
                  <a:cubicBezTo>
                    <a:pt x="36724" y="9887"/>
                    <a:pt x="33748" y="6414"/>
                    <a:pt x="29780" y="4430"/>
                  </a:cubicBezTo>
                  <a:cubicBezTo>
                    <a:pt x="25315" y="2446"/>
                    <a:pt x="20354" y="3438"/>
                    <a:pt x="16385" y="2942"/>
                  </a:cubicBezTo>
                  <a:cubicBezTo>
                    <a:pt x="8448" y="1949"/>
                    <a:pt x="7952" y="-2515"/>
                    <a:pt x="2991" y="1949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9CBE4CC3-AE66-1868-DCB7-CD97D5FE3862}"/>
                </a:ext>
              </a:extLst>
            </p:cNvPr>
            <p:cNvSpPr/>
            <p:nvPr/>
          </p:nvSpPr>
          <p:spPr>
            <a:xfrm>
              <a:off x="5893276" y="4787151"/>
              <a:ext cx="991" cy="13890"/>
            </a:xfrm>
            <a:custGeom>
              <a:avLst/>
              <a:gdLst>
                <a:gd name="connsiteX0" fmla="*/ 992 w 991"/>
                <a:gd name="connsiteY0" fmla="*/ 0 h 13890"/>
                <a:gd name="connsiteX1" fmla="*/ 0 w 991"/>
                <a:gd name="connsiteY1" fmla="*/ 13890 h 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" h="13890">
                  <a:moveTo>
                    <a:pt x="992" y="0"/>
                  </a:moveTo>
                  <a:cubicBezTo>
                    <a:pt x="992" y="6945"/>
                    <a:pt x="0" y="6945"/>
                    <a:pt x="0" y="138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5411F258-CB7A-07E4-849C-ECB37C30E7D7}"/>
                </a:ext>
              </a:extLst>
            </p:cNvPr>
            <p:cNvSpPr/>
            <p:nvPr/>
          </p:nvSpPr>
          <p:spPr>
            <a:xfrm>
              <a:off x="5909646" y="4787151"/>
              <a:ext cx="1984" cy="13890"/>
            </a:xfrm>
            <a:custGeom>
              <a:avLst/>
              <a:gdLst>
                <a:gd name="connsiteX0" fmla="*/ 1984 w 1984"/>
                <a:gd name="connsiteY0" fmla="*/ 0 h 13890"/>
                <a:gd name="connsiteX1" fmla="*/ 0 w 1984"/>
                <a:gd name="connsiteY1" fmla="*/ 13890 h 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" h="13890">
                  <a:moveTo>
                    <a:pt x="1984" y="0"/>
                  </a:moveTo>
                  <a:cubicBezTo>
                    <a:pt x="1984" y="6945"/>
                    <a:pt x="0" y="6945"/>
                    <a:pt x="0" y="138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1205CCDA-9127-A40E-B9ED-15DB403E1FE9}"/>
                </a:ext>
              </a:extLst>
            </p:cNvPr>
            <p:cNvSpPr/>
            <p:nvPr/>
          </p:nvSpPr>
          <p:spPr>
            <a:xfrm>
              <a:off x="5882362" y="4799553"/>
              <a:ext cx="40182" cy="22323"/>
            </a:xfrm>
            <a:custGeom>
              <a:avLst/>
              <a:gdLst>
                <a:gd name="connsiteX0" fmla="*/ 0 w 40182"/>
                <a:gd name="connsiteY0" fmla="*/ 0 h 22323"/>
                <a:gd name="connsiteX1" fmla="*/ 5457 w 40182"/>
                <a:gd name="connsiteY1" fmla="*/ 14882 h 22323"/>
                <a:gd name="connsiteX2" fmla="*/ 20339 w 40182"/>
                <a:gd name="connsiteY2" fmla="*/ 22324 h 22323"/>
                <a:gd name="connsiteX3" fmla="*/ 35718 w 40182"/>
                <a:gd name="connsiteY3" fmla="*/ 15875 h 22323"/>
                <a:gd name="connsiteX4" fmla="*/ 40182 w 40182"/>
                <a:gd name="connsiteY4" fmla="*/ 496 h 2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82" h="22323">
                  <a:moveTo>
                    <a:pt x="0" y="0"/>
                  </a:moveTo>
                  <a:cubicBezTo>
                    <a:pt x="0" y="5953"/>
                    <a:pt x="1488" y="10914"/>
                    <a:pt x="5457" y="14882"/>
                  </a:cubicBezTo>
                  <a:cubicBezTo>
                    <a:pt x="9426" y="18851"/>
                    <a:pt x="14386" y="22324"/>
                    <a:pt x="20339" y="22324"/>
                  </a:cubicBezTo>
                  <a:cubicBezTo>
                    <a:pt x="26292" y="22324"/>
                    <a:pt x="32245" y="19843"/>
                    <a:pt x="35718" y="15875"/>
                  </a:cubicBezTo>
                  <a:cubicBezTo>
                    <a:pt x="39686" y="11906"/>
                    <a:pt x="40182" y="5953"/>
                    <a:pt x="40182" y="4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535" name="Graphic 10">
              <a:extLst>
                <a:ext uri="{FF2B5EF4-FFF2-40B4-BE49-F238E27FC236}">
                  <a16:creationId xmlns:a16="http://schemas.microsoft.com/office/drawing/2014/main" id="{52CD060A-9B25-5E14-D0C9-41544D1B4C22}"/>
                </a:ext>
              </a:extLst>
            </p:cNvPr>
            <p:cNvGrpSpPr/>
            <p:nvPr/>
          </p:nvGrpSpPr>
          <p:grpSpPr>
            <a:xfrm>
              <a:off x="5992987" y="2459253"/>
              <a:ext cx="483180" cy="560372"/>
              <a:chOff x="5992987" y="2459253"/>
              <a:chExt cx="483180" cy="560372"/>
            </a:xfrm>
            <a:noFill/>
          </p:grpSpPr>
          <p:grpSp>
            <p:nvGrpSpPr>
              <p:cNvPr id="1573" name="Graphic 10">
                <a:extLst>
                  <a:ext uri="{FF2B5EF4-FFF2-40B4-BE49-F238E27FC236}">
                    <a16:creationId xmlns:a16="http://schemas.microsoft.com/office/drawing/2014/main" id="{F7C12332-067B-2437-9B66-332EA829C3B0}"/>
                  </a:ext>
                </a:extLst>
              </p:cNvPr>
              <p:cNvGrpSpPr/>
              <p:nvPr/>
            </p:nvGrpSpPr>
            <p:grpSpPr>
              <a:xfrm>
                <a:off x="6064315" y="2459253"/>
                <a:ext cx="332645" cy="331184"/>
                <a:chOff x="6064315" y="2459253"/>
                <a:chExt cx="332645" cy="331184"/>
              </a:xfrm>
              <a:noFill/>
            </p:grpSpPr>
            <p:grpSp>
              <p:nvGrpSpPr>
                <p:cNvPr id="1598" name="Graphic 10">
                  <a:extLst>
                    <a:ext uri="{FF2B5EF4-FFF2-40B4-BE49-F238E27FC236}">
                      <a16:creationId xmlns:a16="http://schemas.microsoft.com/office/drawing/2014/main" id="{C5E69711-38F7-50B1-989E-A7DC2E103767}"/>
                    </a:ext>
                  </a:extLst>
                </p:cNvPr>
                <p:cNvGrpSpPr/>
                <p:nvPr/>
              </p:nvGrpSpPr>
              <p:grpSpPr>
                <a:xfrm>
                  <a:off x="6064315" y="2459253"/>
                  <a:ext cx="332645" cy="331184"/>
                  <a:chOff x="6064315" y="2459253"/>
                  <a:chExt cx="332645" cy="331184"/>
                </a:xfrm>
                <a:noFill/>
              </p:grpSpPr>
              <p:sp>
                <p:nvSpPr>
                  <p:cNvPr id="1601" name="Freeform: Shape 1600">
                    <a:extLst>
                      <a:ext uri="{FF2B5EF4-FFF2-40B4-BE49-F238E27FC236}">
                        <a16:creationId xmlns:a16="http://schemas.microsoft.com/office/drawing/2014/main" id="{4C0BFC34-9892-D4CA-42C2-7AE05E53D23D}"/>
                      </a:ext>
                    </a:extLst>
                  </p:cNvPr>
                  <p:cNvSpPr/>
                  <p:nvPr/>
                </p:nvSpPr>
                <p:spPr>
                  <a:xfrm>
                    <a:off x="6064315" y="2459253"/>
                    <a:ext cx="332645" cy="330688"/>
                  </a:xfrm>
                  <a:custGeom>
                    <a:avLst/>
                    <a:gdLst>
                      <a:gd name="connsiteX0" fmla="*/ 1596 w 332645"/>
                      <a:gd name="connsiteY0" fmla="*/ 330688 h 330688"/>
                      <a:gd name="connsiteX1" fmla="*/ 2092 w 332645"/>
                      <a:gd name="connsiteY1" fmla="*/ 314318 h 330688"/>
                      <a:gd name="connsiteX2" fmla="*/ 2588 w 332645"/>
                      <a:gd name="connsiteY2" fmla="*/ 297947 h 330688"/>
                      <a:gd name="connsiteX3" fmla="*/ 1596 w 332645"/>
                      <a:gd name="connsiteY3" fmla="*/ 281577 h 330688"/>
                      <a:gd name="connsiteX4" fmla="*/ 1596 w 332645"/>
                      <a:gd name="connsiteY4" fmla="*/ 265206 h 330688"/>
                      <a:gd name="connsiteX5" fmla="*/ 2092 w 332645"/>
                      <a:gd name="connsiteY5" fmla="*/ 248836 h 330688"/>
                      <a:gd name="connsiteX6" fmla="*/ 3580 w 332645"/>
                      <a:gd name="connsiteY6" fmla="*/ 232465 h 330688"/>
                      <a:gd name="connsiteX7" fmla="*/ 2092 w 332645"/>
                      <a:gd name="connsiteY7" fmla="*/ 216094 h 330688"/>
                      <a:gd name="connsiteX8" fmla="*/ 2588 w 332645"/>
                      <a:gd name="connsiteY8" fmla="*/ 199724 h 330688"/>
                      <a:gd name="connsiteX9" fmla="*/ 3580 w 332645"/>
                      <a:gd name="connsiteY9" fmla="*/ 183353 h 330688"/>
                      <a:gd name="connsiteX10" fmla="*/ 1596 w 332645"/>
                      <a:gd name="connsiteY10" fmla="*/ 166983 h 330688"/>
                      <a:gd name="connsiteX11" fmla="*/ 1100 w 332645"/>
                      <a:gd name="connsiteY11" fmla="*/ 150612 h 330688"/>
                      <a:gd name="connsiteX12" fmla="*/ 1100 w 332645"/>
                      <a:gd name="connsiteY12" fmla="*/ 134241 h 330688"/>
                      <a:gd name="connsiteX13" fmla="*/ 3084 w 332645"/>
                      <a:gd name="connsiteY13" fmla="*/ 117871 h 330688"/>
                      <a:gd name="connsiteX14" fmla="*/ 3084 w 332645"/>
                      <a:gd name="connsiteY14" fmla="*/ 101500 h 330688"/>
                      <a:gd name="connsiteX15" fmla="*/ 2092 w 332645"/>
                      <a:gd name="connsiteY15" fmla="*/ 85130 h 330688"/>
                      <a:gd name="connsiteX16" fmla="*/ 2092 w 332645"/>
                      <a:gd name="connsiteY16" fmla="*/ 68759 h 330688"/>
                      <a:gd name="connsiteX17" fmla="*/ 3580 w 332645"/>
                      <a:gd name="connsiteY17" fmla="*/ 52389 h 330688"/>
                      <a:gd name="connsiteX18" fmla="*/ 2092 w 332645"/>
                      <a:gd name="connsiteY18" fmla="*/ 36018 h 330688"/>
                      <a:gd name="connsiteX19" fmla="*/ 3580 w 332645"/>
                      <a:gd name="connsiteY19" fmla="*/ 19647 h 330688"/>
                      <a:gd name="connsiteX20" fmla="*/ 2092 w 332645"/>
                      <a:gd name="connsiteY20" fmla="*/ 2781 h 330688"/>
                      <a:gd name="connsiteX21" fmla="*/ 18958 w 332645"/>
                      <a:gd name="connsiteY21" fmla="*/ 3277 h 330688"/>
                      <a:gd name="connsiteX22" fmla="*/ 35329 w 332645"/>
                      <a:gd name="connsiteY22" fmla="*/ 2781 h 330688"/>
                      <a:gd name="connsiteX23" fmla="*/ 51699 w 332645"/>
                      <a:gd name="connsiteY23" fmla="*/ 3277 h 330688"/>
                      <a:gd name="connsiteX24" fmla="*/ 68070 w 332645"/>
                      <a:gd name="connsiteY24" fmla="*/ 2285 h 330688"/>
                      <a:gd name="connsiteX25" fmla="*/ 84441 w 332645"/>
                      <a:gd name="connsiteY25" fmla="*/ 2285 h 330688"/>
                      <a:gd name="connsiteX26" fmla="*/ 100811 w 332645"/>
                      <a:gd name="connsiteY26" fmla="*/ 1789 h 330688"/>
                      <a:gd name="connsiteX27" fmla="*/ 117182 w 332645"/>
                      <a:gd name="connsiteY27" fmla="*/ 3277 h 330688"/>
                      <a:gd name="connsiteX28" fmla="*/ 133552 w 332645"/>
                      <a:gd name="connsiteY28" fmla="*/ 2781 h 330688"/>
                      <a:gd name="connsiteX29" fmla="*/ 149923 w 332645"/>
                      <a:gd name="connsiteY29" fmla="*/ 3277 h 330688"/>
                      <a:gd name="connsiteX30" fmla="*/ 166294 w 332645"/>
                      <a:gd name="connsiteY30" fmla="*/ 2781 h 330688"/>
                      <a:gd name="connsiteX31" fmla="*/ 182664 w 332645"/>
                      <a:gd name="connsiteY31" fmla="*/ 3277 h 330688"/>
                      <a:gd name="connsiteX32" fmla="*/ 199035 w 332645"/>
                      <a:gd name="connsiteY32" fmla="*/ 1789 h 330688"/>
                      <a:gd name="connsiteX33" fmla="*/ 215405 w 332645"/>
                      <a:gd name="connsiteY33" fmla="*/ 3773 h 330688"/>
                      <a:gd name="connsiteX34" fmla="*/ 231776 w 332645"/>
                      <a:gd name="connsiteY34" fmla="*/ 2285 h 330688"/>
                      <a:gd name="connsiteX35" fmla="*/ 248147 w 332645"/>
                      <a:gd name="connsiteY35" fmla="*/ 2285 h 330688"/>
                      <a:gd name="connsiteX36" fmla="*/ 264517 w 332645"/>
                      <a:gd name="connsiteY36" fmla="*/ 2781 h 330688"/>
                      <a:gd name="connsiteX37" fmla="*/ 280888 w 332645"/>
                      <a:gd name="connsiteY37" fmla="*/ 3773 h 330688"/>
                      <a:gd name="connsiteX38" fmla="*/ 297258 w 332645"/>
                      <a:gd name="connsiteY38" fmla="*/ 2285 h 330688"/>
                      <a:gd name="connsiteX39" fmla="*/ 313629 w 332645"/>
                      <a:gd name="connsiteY39" fmla="*/ 2285 h 330688"/>
                      <a:gd name="connsiteX40" fmla="*/ 330000 w 332645"/>
                      <a:gd name="connsiteY40" fmla="*/ 2781 h 330688"/>
                      <a:gd name="connsiteX41" fmla="*/ 330000 w 332645"/>
                      <a:gd name="connsiteY41" fmla="*/ 18655 h 330688"/>
                      <a:gd name="connsiteX42" fmla="*/ 329503 w 332645"/>
                      <a:gd name="connsiteY42" fmla="*/ 35026 h 330688"/>
                      <a:gd name="connsiteX43" fmla="*/ 330000 w 332645"/>
                      <a:gd name="connsiteY43" fmla="*/ 51396 h 330688"/>
                      <a:gd name="connsiteX44" fmla="*/ 331487 w 332645"/>
                      <a:gd name="connsiteY44" fmla="*/ 67767 h 330688"/>
                      <a:gd name="connsiteX45" fmla="*/ 330991 w 332645"/>
                      <a:gd name="connsiteY45" fmla="*/ 84138 h 330688"/>
                      <a:gd name="connsiteX46" fmla="*/ 330000 w 332645"/>
                      <a:gd name="connsiteY46" fmla="*/ 100508 h 330688"/>
                      <a:gd name="connsiteX47" fmla="*/ 331487 w 332645"/>
                      <a:gd name="connsiteY47" fmla="*/ 116879 h 330688"/>
                      <a:gd name="connsiteX48" fmla="*/ 331983 w 332645"/>
                      <a:gd name="connsiteY48" fmla="*/ 133249 h 330688"/>
                      <a:gd name="connsiteX49" fmla="*/ 330495 w 332645"/>
                      <a:gd name="connsiteY49" fmla="*/ 149620 h 330688"/>
                      <a:gd name="connsiteX50" fmla="*/ 330991 w 332645"/>
                      <a:gd name="connsiteY50" fmla="*/ 165990 h 330688"/>
                      <a:gd name="connsiteX51" fmla="*/ 329503 w 332645"/>
                      <a:gd name="connsiteY51" fmla="*/ 182361 h 330688"/>
                      <a:gd name="connsiteX52" fmla="*/ 331487 w 332645"/>
                      <a:gd name="connsiteY52" fmla="*/ 198731 h 330688"/>
                      <a:gd name="connsiteX53" fmla="*/ 330000 w 332645"/>
                      <a:gd name="connsiteY53" fmla="*/ 215102 h 330688"/>
                      <a:gd name="connsiteX54" fmla="*/ 329503 w 332645"/>
                      <a:gd name="connsiteY54" fmla="*/ 231473 h 330688"/>
                      <a:gd name="connsiteX55" fmla="*/ 330495 w 332645"/>
                      <a:gd name="connsiteY55" fmla="*/ 247843 h 330688"/>
                      <a:gd name="connsiteX56" fmla="*/ 329503 w 332645"/>
                      <a:gd name="connsiteY56" fmla="*/ 264214 h 330688"/>
                      <a:gd name="connsiteX57" fmla="*/ 330991 w 332645"/>
                      <a:gd name="connsiteY57" fmla="*/ 280584 h 330688"/>
                      <a:gd name="connsiteX58" fmla="*/ 329503 w 332645"/>
                      <a:gd name="connsiteY58" fmla="*/ 296955 h 330688"/>
                      <a:gd name="connsiteX59" fmla="*/ 330991 w 332645"/>
                      <a:gd name="connsiteY59" fmla="*/ 313326 h 330688"/>
                      <a:gd name="connsiteX60" fmla="*/ 329503 w 332645"/>
                      <a:gd name="connsiteY60" fmla="*/ 329696 h 330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</a:cxnLst>
                    <a:rect l="l" t="t" r="r" b="b"/>
                    <a:pathLst>
                      <a:path w="332645" h="330688">
                        <a:moveTo>
                          <a:pt x="1596" y="330688"/>
                        </a:moveTo>
                        <a:cubicBezTo>
                          <a:pt x="1596" y="322751"/>
                          <a:pt x="2092" y="322751"/>
                          <a:pt x="2092" y="314318"/>
                        </a:cubicBezTo>
                        <a:cubicBezTo>
                          <a:pt x="2092" y="306380"/>
                          <a:pt x="2588" y="306380"/>
                          <a:pt x="2588" y="297947"/>
                        </a:cubicBezTo>
                        <a:cubicBezTo>
                          <a:pt x="2588" y="290010"/>
                          <a:pt x="1596" y="290010"/>
                          <a:pt x="1596" y="281577"/>
                        </a:cubicBezTo>
                        <a:cubicBezTo>
                          <a:pt x="1596" y="273639"/>
                          <a:pt x="1596" y="273639"/>
                          <a:pt x="1596" y="265206"/>
                        </a:cubicBezTo>
                        <a:cubicBezTo>
                          <a:pt x="1596" y="257269"/>
                          <a:pt x="2092" y="257269"/>
                          <a:pt x="2092" y="248836"/>
                        </a:cubicBezTo>
                        <a:cubicBezTo>
                          <a:pt x="2092" y="240898"/>
                          <a:pt x="3580" y="240898"/>
                          <a:pt x="3580" y="232465"/>
                        </a:cubicBezTo>
                        <a:cubicBezTo>
                          <a:pt x="3580" y="224528"/>
                          <a:pt x="2092" y="224528"/>
                          <a:pt x="2092" y="216094"/>
                        </a:cubicBezTo>
                        <a:cubicBezTo>
                          <a:pt x="2092" y="208157"/>
                          <a:pt x="2588" y="208157"/>
                          <a:pt x="2588" y="199724"/>
                        </a:cubicBezTo>
                        <a:cubicBezTo>
                          <a:pt x="2588" y="191787"/>
                          <a:pt x="3580" y="191787"/>
                          <a:pt x="3580" y="183353"/>
                        </a:cubicBezTo>
                        <a:cubicBezTo>
                          <a:pt x="3580" y="175416"/>
                          <a:pt x="1596" y="175416"/>
                          <a:pt x="1596" y="166983"/>
                        </a:cubicBezTo>
                        <a:cubicBezTo>
                          <a:pt x="1596" y="159045"/>
                          <a:pt x="1100" y="159045"/>
                          <a:pt x="1100" y="150612"/>
                        </a:cubicBezTo>
                        <a:cubicBezTo>
                          <a:pt x="1100" y="142675"/>
                          <a:pt x="1100" y="142675"/>
                          <a:pt x="1100" y="134241"/>
                        </a:cubicBezTo>
                        <a:cubicBezTo>
                          <a:pt x="1100" y="126304"/>
                          <a:pt x="3084" y="126304"/>
                          <a:pt x="3084" y="117871"/>
                        </a:cubicBezTo>
                        <a:cubicBezTo>
                          <a:pt x="3084" y="109934"/>
                          <a:pt x="3084" y="109934"/>
                          <a:pt x="3084" y="101500"/>
                        </a:cubicBezTo>
                        <a:cubicBezTo>
                          <a:pt x="3084" y="93563"/>
                          <a:pt x="2092" y="93563"/>
                          <a:pt x="2092" y="85130"/>
                        </a:cubicBezTo>
                        <a:cubicBezTo>
                          <a:pt x="2092" y="77192"/>
                          <a:pt x="2092" y="77192"/>
                          <a:pt x="2092" y="68759"/>
                        </a:cubicBezTo>
                        <a:cubicBezTo>
                          <a:pt x="2092" y="60822"/>
                          <a:pt x="3580" y="60822"/>
                          <a:pt x="3580" y="52389"/>
                        </a:cubicBezTo>
                        <a:cubicBezTo>
                          <a:pt x="3580" y="44451"/>
                          <a:pt x="2092" y="44451"/>
                          <a:pt x="2092" y="36018"/>
                        </a:cubicBezTo>
                        <a:cubicBezTo>
                          <a:pt x="2092" y="28081"/>
                          <a:pt x="3580" y="28081"/>
                          <a:pt x="3580" y="19647"/>
                        </a:cubicBezTo>
                        <a:cubicBezTo>
                          <a:pt x="3580" y="11214"/>
                          <a:pt x="-3365" y="8734"/>
                          <a:pt x="2092" y="2781"/>
                        </a:cubicBezTo>
                        <a:cubicBezTo>
                          <a:pt x="8045" y="-3172"/>
                          <a:pt x="11021" y="3277"/>
                          <a:pt x="18958" y="3277"/>
                        </a:cubicBezTo>
                        <a:cubicBezTo>
                          <a:pt x="27392" y="3277"/>
                          <a:pt x="27392" y="2781"/>
                          <a:pt x="35329" y="2781"/>
                        </a:cubicBezTo>
                        <a:cubicBezTo>
                          <a:pt x="43762" y="2781"/>
                          <a:pt x="43762" y="3277"/>
                          <a:pt x="51699" y="3277"/>
                        </a:cubicBezTo>
                        <a:cubicBezTo>
                          <a:pt x="60133" y="3277"/>
                          <a:pt x="60133" y="2285"/>
                          <a:pt x="68070" y="2285"/>
                        </a:cubicBezTo>
                        <a:cubicBezTo>
                          <a:pt x="76503" y="2285"/>
                          <a:pt x="76503" y="2285"/>
                          <a:pt x="84441" y="2285"/>
                        </a:cubicBezTo>
                        <a:cubicBezTo>
                          <a:pt x="92874" y="2285"/>
                          <a:pt x="92874" y="1789"/>
                          <a:pt x="100811" y="1789"/>
                        </a:cubicBezTo>
                        <a:cubicBezTo>
                          <a:pt x="109245" y="1789"/>
                          <a:pt x="109245" y="3277"/>
                          <a:pt x="117182" y="3277"/>
                        </a:cubicBezTo>
                        <a:cubicBezTo>
                          <a:pt x="125615" y="3277"/>
                          <a:pt x="125615" y="2781"/>
                          <a:pt x="133552" y="2781"/>
                        </a:cubicBezTo>
                        <a:cubicBezTo>
                          <a:pt x="141986" y="2781"/>
                          <a:pt x="141986" y="3277"/>
                          <a:pt x="149923" y="3277"/>
                        </a:cubicBezTo>
                        <a:cubicBezTo>
                          <a:pt x="158356" y="3277"/>
                          <a:pt x="158356" y="2781"/>
                          <a:pt x="166294" y="2781"/>
                        </a:cubicBezTo>
                        <a:cubicBezTo>
                          <a:pt x="174727" y="2781"/>
                          <a:pt x="174727" y="3277"/>
                          <a:pt x="182664" y="3277"/>
                        </a:cubicBezTo>
                        <a:cubicBezTo>
                          <a:pt x="191098" y="3277"/>
                          <a:pt x="191098" y="1789"/>
                          <a:pt x="199035" y="1789"/>
                        </a:cubicBezTo>
                        <a:cubicBezTo>
                          <a:pt x="207468" y="1789"/>
                          <a:pt x="207468" y="3773"/>
                          <a:pt x="215405" y="3773"/>
                        </a:cubicBezTo>
                        <a:cubicBezTo>
                          <a:pt x="223839" y="3773"/>
                          <a:pt x="223839" y="2285"/>
                          <a:pt x="231776" y="2285"/>
                        </a:cubicBezTo>
                        <a:cubicBezTo>
                          <a:pt x="240209" y="2285"/>
                          <a:pt x="240209" y="2285"/>
                          <a:pt x="248147" y="2285"/>
                        </a:cubicBezTo>
                        <a:cubicBezTo>
                          <a:pt x="256580" y="2285"/>
                          <a:pt x="256580" y="2781"/>
                          <a:pt x="264517" y="2781"/>
                        </a:cubicBezTo>
                        <a:cubicBezTo>
                          <a:pt x="272951" y="2781"/>
                          <a:pt x="272951" y="3773"/>
                          <a:pt x="280888" y="3773"/>
                        </a:cubicBezTo>
                        <a:cubicBezTo>
                          <a:pt x="289321" y="3773"/>
                          <a:pt x="289321" y="2285"/>
                          <a:pt x="297258" y="2285"/>
                        </a:cubicBezTo>
                        <a:cubicBezTo>
                          <a:pt x="305692" y="2285"/>
                          <a:pt x="305692" y="2285"/>
                          <a:pt x="313629" y="2285"/>
                        </a:cubicBezTo>
                        <a:cubicBezTo>
                          <a:pt x="322062" y="2285"/>
                          <a:pt x="324046" y="-3172"/>
                          <a:pt x="330000" y="2781"/>
                        </a:cubicBezTo>
                        <a:cubicBezTo>
                          <a:pt x="335952" y="8238"/>
                          <a:pt x="330000" y="10718"/>
                          <a:pt x="330000" y="18655"/>
                        </a:cubicBezTo>
                        <a:cubicBezTo>
                          <a:pt x="330000" y="26593"/>
                          <a:pt x="329503" y="26593"/>
                          <a:pt x="329503" y="35026"/>
                        </a:cubicBezTo>
                        <a:cubicBezTo>
                          <a:pt x="329503" y="42963"/>
                          <a:pt x="330000" y="42963"/>
                          <a:pt x="330000" y="51396"/>
                        </a:cubicBezTo>
                        <a:cubicBezTo>
                          <a:pt x="330000" y="59334"/>
                          <a:pt x="331487" y="59334"/>
                          <a:pt x="331487" y="67767"/>
                        </a:cubicBezTo>
                        <a:cubicBezTo>
                          <a:pt x="331487" y="75704"/>
                          <a:pt x="330991" y="75704"/>
                          <a:pt x="330991" y="84138"/>
                        </a:cubicBezTo>
                        <a:cubicBezTo>
                          <a:pt x="330991" y="92075"/>
                          <a:pt x="330000" y="92075"/>
                          <a:pt x="330000" y="100508"/>
                        </a:cubicBezTo>
                        <a:cubicBezTo>
                          <a:pt x="330000" y="108445"/>
                          <a:pt x="331487" y="108445"/>
                          <a:pt x="331487" y="116879"/>
                        </a:cubicBezTo>
                        <a:cubicBezTo>
                          <a:pt x="331487" y="124816"/>
                          <a:pt x="331983" y="124816"/>
                          <a:pt x="331983" y="133249"/>
                        </a:cubicBezTo>
                        <a:cubicBezTo>
                          <a:pt x="331983" y="141187"/>
                          <a:pt x="330495" y="141187"/>
                          <a:pt x="330495" y="149620"/>
                        </a:cubicBezTo>
                        <a:cubicBezTo>
                          <a:pt x="330495" y="157557"/>
                          <a:pt x="330991" y="157557"/>
                          <a:pt x="330991" y="165990"/>
                        </a:cubicBezTo>
                        <a:cubicBezTo>
                          <a:pt x="330991" y="173928"/>
                          <a:pt x="329503" y="173928"/>
                          <a:pt x="329503" y="182361"/>
                        </a:cubicBezTo>
                        <a:cubicBezTo>
                          <a:pt x="329503" y="190298"/>
                          <a:pt x="331487" y="190298"/>
                          <a:pt x="331487" y="198731"/>
                        </a:cubicBezTo>
                        <a:cubicBezTo>
                          <a:pt x="331487" y="206669"/>
                          <a:pt x="330000" y="206669"/>
                          <a:pt x="330000" y="215102"/>
                        </a:cubicBezTo>
                        <a:cubicBezTo>
                          <a:pt x="330000" y="223039"/>
                          <a:pt x="329503" y="223039"/>
                          <a:pt x="329503" y="231473"/>
                        </a:cubicBezTo>
                        <a:cubicBezTo>
                          <a:pt x="329503" y="239410"/>
                          <a:pt x="330495" y="239410"/>
                          <a:pt x="330495" y="247843"/>
                        </a:cubicBezTo>
                        <a:cubicBezTo>
                          <a:pt x="330495" y="255780"/>
                          <a:pt x="329503" y="255780"/>
                          <a:pt x="329503" y="264214"/>
                        </a:cubicBezTo>
                        <a:cubicBezTo>
                          <a:pt x="329503" y="272151"/>
                          <a:pt x="330991" y="272151"/>
                          <a:pt x="330991" y="280584"/>
                        </a:cubicBezTo>
                        <a:cubicBezTo>
                          <a:pt x="330991" y="288522"/>
                          <a:pt x="329503" y="288522"/>
                          <a:pt x="329503" y="296955"/>
                        </a:cubicBezTo>
                        <a:cubicBezTo>
                          <a:pt x="329503" y="304892"/>
                          <a:pt x="330991" y="304892"/>
                          <a:pt x="330991" y="313326"/>
                        </a:cubicBezTo>
                        <a:cubicBezTo>
                          <a:pt x="330991" y="321263"/>
                          <a:pt x="329503" y="321263"/>
                          <a:pt x="329503" y="32969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2" name="Freeform: Shape 1601">
                    <a:extLst>
                      <a:ext uri="{FF2B5EF4-FFF2-40B4-BE49-F238E27FC236}">
                        <a16:creationId xmlns:a16="http://schemas.microsoft.com/office/drawing/2014/main" id="{ABFD80F2-0781-8FEC-8455-00A0793B9EF3}"/>
                      </a:ext>
                    </a:extLst>
                  </p:cNvPr>
                  <p:cNvSpPr/>
                  <p:nvPr/>
                </p:nvSpPr>
                <p:spPr>
                  <a:xfrm>
                    <a:off x="6255909" y="2599129"/>
                    <a:ext cx="126444" cy="40047"/>
                  </a:xfrm>
                  <a:custGeom>
                    <a:avLst/>
                    <a:gdLst>
                      <a:gd name="connsiteX0" fmla="*/ 0 w 126444"/>
                      <a:gd name="connsiteY0" fmla="*/ 1807 h 40047"/>
                      <a:gd name="connsiteX1" fmla="*/ 15378 w 126444"/>
                      <a:gd name="connsiteY1" fmla="*/ 1311 h 40047"/>
                      <a:gd name="connsiteX2" fmla="*/ 30757 w 126444"/>
                      <a:gd name="connsiteY2" fmla="*/ 3295 h 40047"/>
                      <a:gd name="connsiteX3" fmla="*/ 46135 w 126444"/>
                      <a:gd name="connsiteY3" fmla="*/ 2799 h 40047"/>
                      <a:gd name="connsiteX4" fmla="*/ 61514 w 126444"/>
                      <a:gd name="connsiteY4" fmla="*/ 2799 h 40047"/>
                      <a:gd name="connsiteX5" fmla="*/ 76892 w 126444"/>
                      <a:gd name="connsiteY5" fmla="*/ 1807 h 40047"/>
                      <a:gd name="connsiteX6" fmla="*/ 92270 w 126444"/>
                      <a:gd name="connsiteY6" fmla="*/ 2799 h 40047"/>
                      <a:gd name="connsiteX7" fmla="*/ 107649 w 126444"/>
                      <a:gd name="connsiteY7" fmla="*/ 2799 h 40047"/>
                      <a:gd name="connsiteX8" fmla="*/ 123027 w 126444"/>
                      <a:gd name="connsiteY8" fmla="*/ 2303 h 40047"/>
                      <a:gd name="connsiteX9" fmla="*/ 124019 w 126444"/>
                      <a:gd name="connsiteY9" fmla="*/ 19666 h 40047"/>
                      <a:gd name="connsiteX10" fmla="*/ 124019 w 126444"/>
                      <a:gd name="connsiteY10" fmla="*/ 37525 h 40047"/>
                      <a:gd name="connsiteX11" fmla="*/ 108145 w 126444"/>
                      <a:gd name="connsiteY11" fmla="*/ 37029 h 40047"/>
                      <a:gd name="connsiteX12" fmla="*/ 92766 w 126444"/>
                      <a:gd name="connsiteY12" fmla="*/ 37525 h 40047"/>
                      <a:gd name="connsiteX13" fmla="*/ 77388 w 126444"/>
                      <a:gd name="connsiteY13" fmla="*/ 37525 h 40047"/>
                      <a:gd name="connsiteX14" fmla="*/ 62010 w 126444"/>
                      <a:gd name="connsiteY14" fmla="*/ 36036 h 40047"/>
                      <a:gd name="connsiteX15" fmla="*/ 46631 w 126444"/>
                      <a:gd name="connsiteY15" fmla="*/ 37029 h 40047"/>
                      <a:gd name="connsiteX16" fmla="*/ 31253 w 126444"/>
                      <a:gd name="connsiteY16" fmla="*/ 37525 h 40047"/>
                      <a:gd name="connsiteX17" fmla="*/ 15874 w 126444"/>
                      <a:gd name="connsiteY17" fmla="*/ 37525 h 40047"/>
                      <a:gd name="connsiteX18" fmla="*/ 496 w 126444"/>
                      <a:gd name="connsiteY18" fmla="*/ 36532 h 400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26444" h="40047">
                        <a:moveTo>
                          <a:pt x="0" y="1807"/>
                        </a:moveTo>
                        <a:cubicBezTo>
                          <a:pt x="7441" y="1807"/>
                          <a:pt x="7441" y="1311"/>
                          <a:pt x="15378" y="1311"/>
                        </a:cubicBezTo>
                        <a:cubicBezTo>
                          <a:pt x="22819" y="1311"/>
                          <a:pt x="22819" y="3295"/>
                          <a:pt x="30757" y="3295"/>
                        </a:cubicBezTo>
                        <a:cubicBezTo>
                          <a:pt x="38198" y="3295"/>
                          <a:pt x="38198" y="2799"/>
                          <a:pt x="46135" y="2799"/>
                        </a:cubicBezTo>
                        <a:cubicBezTo>
                          <a:pt x="53576" y="2799"/>
                          <a:pt x="53576" y="2799"/>
                          <a:pt x="61514" y="2799"/>
                        </a:cubicBezTo>
                        <a:cubicBezTo>
                          <a:pt x="68955" y="2799"/>
                          <a:pt x="68955" y="1807"/>
                          <a:pt x="76892" y="1807"/>
                        </a:cubicBezTo>
                        <a:cubicBezTo>
                          <a:pt x="84333" y="1807"/>
                          <a:pt x="84333" y="2799"/>
                          <a:pt x="92270" y="2799"/>
                        </a:cubicBezTo>
                        <a:cubicBezTo>
                          <a:pt x="99712" y="2799"/>
                          <a:pt x="99712" y="2799"/>
                          <a:pt x="107649" y="2799"/>
                        </a:cubicBezTo>
                        <a:cubicBezTo>
                          <a:pt x="115586" y="2799"/>
                          <a:pt x="117570" y="-3154"/>
                          <a:pt x="123027" y="2303"/>
                        </a:cubicBezTo>
                        <a:cubicBezTo>
                          <a:pt x="128980" y="8752"/>
                          <a:pt x="124019" y="10736"/>
                          <a:pt x="124019" y="19666"/>
                        </a:cubicBezTo>
                        <a:cubicBezTo>
                          <a:pt x="124019" y="28595"/>
                          <a:pt x="129476" y="31076"/>
                          <a:pt x="124019" y="37525"/>
                        </a:cubicBezTo>
                        <a:cubicBezTo>
                          <a:pt x="119059" y="43478"/>
                          <a:pt x="115586" y="37029"/>
                          <a:pt x="108145" y="37029"/>
                        </a:cubicBezTo>
                        <a:cubicBezTo>
                          <a:pt x="100703" y="37029"/>
                          <a:pt x="100703" y="37525"/>
                          <a:pt x="92766" y="37525"/>
                        </a:cubicBezTo>
                        <a:cubicBezTo>
                          <a:pt x="85325" y="37525"/>
                          <a:pt x="85325" y="37525"/>
                          <a:pt x="77388" y="37525"/>
                        </a:cubicBezTo>
                        <a:cubicBezTo>
                          <a:pt x="69947" y="37525"/>
                          <a:pt x="69947" y="36036"/>
                          <a:pt x="62010" y="36036"/>
                        </a:cubicBezTo>
                        <a:cubicBezTo>
                          <a:pt x="54569" y="36036"/>
                          <a:pt x="54569" y="37029"/>
                          <a:pt x="46631" y="37029"/>
                        </a:cubicBezTo>
                        <a:cubicBezTo>
                          <a:pt x="39190" y="37029"/>
                          <a:pt x="39190" y="37525"/>
                          <a:pt x="31253" y="37525"/>
                        </a:cubicBezTo>
                        <a:cubicBezTo>
                          <a:pt x="23811" y="37525"/>
                          <a:pt x="23811" y="37525"/>
                          <a:pt x="15874" y="37525"/>
                        </a:cubicBezTo>
                        <a:cubicBezTo>
                          <a:pt x="7937" y="37525"/>
                          <a:pt x="8433" y="36532"/>
                          <a:pt x="496" y="36532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3" name="Freeform: Shape 1602">
                    <a:extLst>
                      <a:ext uri="{FF2B5EF4-FFF2-40B4-BE49-F238E27FC236}">
                        <a16:creationId xmlns:a16="http://schemas.microsoft.com/office/drawing/2014/main" id="{C7A1E8E8-1758-AF52-A56A-9BE0DF8FB235}"/>
                      </a:ext>
                    </a:extLst>
                  </p:cNvPr>
                  <p:cNvSpPr/>
                  <p:nvPr/>
                </p:nvSpPr>
                <p:spPr>
                  <a:xfrm>
                    <a:off x="6080366" y="2599147"/>
                    <a:ext cx="130399" cy="40029"/>
                  </a:xfrm>
                  <a:custGeom>
                    <a:avLst/>
                    <a:gdLst>
                      <a:gd name="connsiteX0" fmla="*/ 130399 w 130399"/>
                      <a:gd name="connsiteY0" fmla="*/ 37010 h 40029"/>
                      <a:gd name="connsiteX1" fmla="*/ 114524 w 130399"/>
                      <a:gd name="connsiteY1" fmla="*/ 37506 h 40029"/>
                      <a:gd name="connsiteX2" fmla="*/ 98650 w 130399"/>
                      <a:gd name="connsiteY2" fmla="*/ 36514 h 40029"/>
                      <a:gd name="connsiteX3" fmla="*/ 82775 w 130399"/>
                      <a:gd name="connsiteY3" fmla="*/ 36018 h 40029"/>
                      <a:gd name="connsiteX4" fmla="*/ 66901 w 130399"/>
                      <a:gd name="connsiteY4" fmla="*/ 37010 h 40029"/>
                      <a:gd name="connsiteX5" fmla="*/ 51027 w 130399"/>
                      <a:gd name="connsiteY5" fmla="*/ 35522 h 40029"/>
                      <a:gd name="connsiteX6" fmla="*/ 35152 w 130399"/>
                      <a:gd name="connsiteY6" fmla="*/ 36018 h 40029"/>
                      <a:gd name="connsiteX7" fmla="*/ 19278 w 130399"/>
                      <a:gd name="connsiteY7" fmla="*/ 37010 h 40029"/>
                      <a:gd name="connsiteX8" fmla="*/ 2411 w 130399"/>
                      <a:gd name="connsiteY8" fmla="*/ 37506 h 40029"/>
                      <a:gd name="connsiteX9" fmla="*/ 3403 w 130399"/>
                      <a:gd name="connsiteY9" fmla="*/ 19151 h 40029"/>
                      <a:gd name="connsiteX10" fmla="*/ 3899 w 130399"/>
                      <a:gd name="connsiteY10" fmla="*/ 2781 h 40029"/>
                      <a:gd name="connsiteX11" fmla="*/ 18782 w 130399"/>
                      <a:gd name="connsiteY11" fmla="*/ 2285 h 40029"/>
                      <a:gd name="connsiteX12" fmla="*/ 34656 w 130399"/>
                      <a:gd name="connsiteY12" fmla="*/ 2781 h 40029"/>
                      <a:gd name="connsiteX13" fmla="*/ 50530 w 130399"/>
                      <a:gd name="connsiteY13" fmla="*/ 2781 h 40029"/>
                      <a:gd name="connsiteX14" fmla="*/ 66405 w 130399"/>
                      <a:gd name="connsiteY14" fmla="*/ 1789 h 40029"/>
                      <a:gd name="connsiteX15" fmla="*/ 82279 w 130399"/>
                      <a:gd name="connsiteY15" fmla="*/ 1789 h 40029"/>
                      <a:gd name="connsiteX16" fmla="*/ 98154 w 130399"/>
                      <a:gd name="connsiteY16" fmla="*/ 2781 h 40029"/>
                      <a:gd name="connsiteX17" fmla="*/ 114028 w 130399"/>
                      <a:gd name="connsiteY17" fmla="*/ 1789 h 40029"/>
                      <a:gd name="connsiteX18" fmla="*/ 129903 w 130399"/>
                      <a:gd name="connsiteY18" fmla="*/ 1789 h 400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0399" h="40029">
                        <a:moveTo>
                          <a:pt x="130399" y="37010"/>
                        </a:moveTo>
                        <a:cubicBezTo>
                          <a:pt x="122462" y="37010"/>
                          <a:pt x="122462" y="37506"/>
                          <a:pt x="114524" y="37506"/>
                        </a:cubicBezTo>
                        <a:cubicBezTo>
                          <a:pt x="106587" y="37506"/>
                          <a:pt x="106587" y="36514"/>
                          <a:pt x="98650" y="36514"/>
                        </a:cubicBezTo>
                        <a:cubicBezTo>
                          <a:pt x="90713" y="36514"/>
                          <a:pt x="90713" y="36018"/>
                          <a:pt x="82775" y="36018"/>
                        </a:cubicBezTo>
                        <a:cubicBezTo>
                          <a:pt x="74838" y="36018"/>
                          <a:pt x="74838" y="37010"/>
                          <a:pt x="66901" y="37010"/>
                        </a:cubicBezTo>
                        <a:cubicBezTo>
                          <a:pt x="58964" y="37010"/>
                          <a:pt x="58964" y="35522"/>
                          <a:pt x="51027" y="35522"/>
                        </a:cubicBezTo>
                        <a:cubicBezTo>
                          <a:pt x="43089" y="35522"/>
                          <a:pt x="43089" y="36018"/>
                          <a:pt x="35152" y="36018"/>
                        </a:cubicBezTo>
                        <a:cubicBezTo>
                          <a:pt x="27215" y="36018"/>
                          <a:pt x="27215" y="37010"/>
                          <a:pt x="19278" y="37010"/>
                        </a:cubicBezTo>
                        <a:cubicBezTo>
                          <a:pt x="11341" y="37010"/>
                          <a:pt x="7868" y="43459"/>
                          <a:pt x="2411" y="37506"/>
                        </a:cubicBezTo>
                        <a:cubicBezTo>
                          <a:pt x="-3542" y="31057"/>
                          <a:pt x="3403" y="28081"/>
                          <a:pt x="3403" y="19151"/>
                        </a:cubicBezTo>
                        <a:cubicBezTo>
                          <a:pt x="3403" y="10222"/>
                          <a:pt x="-2054" y="8734"/>
                          <a:pt x="3899" y="2781"/>
                        </a:cubicBezTo>
                        <a:cubicBezTo>
                          <a:pt x="9356" y="-3172"/>
                          <a:pt x="10844" y="2285"/>
                          <a:pt x="18782" y="2285"/>
                        </a:cubicBezTo>
                        <a:cubicBezTo>
                          <a:pt x="26719" y="2285"/>
                          <a:pt x="26719" y="2781"/>
                          <a:pt x="34656" y="2781"/>
                        </a:cubicBezTo>
                        <a:cubicBezTo>
                          <a:pt x="42593" y="2781"/>
                          <a:pt x="42593" y="2781"/>
                          <a:pt x="50530" y="2781"/>
                        </a:cubicBezTo>
                        <a:cubicBezTo>
                          <a:pt x="58468" y="2781"/>
                          <a:pt x="58468" y="1789"/>
                          <a:pt x="66405" y="1789"/>
                        </a:cubicBezTo>
                        <a:cubicBezTo>
                          <a:pt x="74342" y="1789"/>
                          <a:pt x="74342" y="1789"/>
                          <a:pt x="82279" y="1789"/>
                        </a:cubicBezTo>
                        <a:cubicBezTo>
                          <a:pt x="90216" y="1789"/>
                          <a:pt x="90216" y="2781"/>
                          <a:pt x="98154" y="2781"/>
                        </a:cubicBezTo>
                        <a:cubicBezTo>
                          <a:pt x="106091" y="2781"/>
                          <a:pt x="106091" y="1789"/>
                          <a:pt x="114028" y="1789"/>
                        </a:cubicBezTo>
                        <a:cubicBezTo>
                          <a:pt x="121966" y="1789"/>
                          <a:pt x="121966" y="1789"/>
                          <a:pt x="129903" y="1789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4" name="Freeform: Shape 1603">
                    <a:extLst>
                      <a:ext uri="{FF2B5EF4-FFF2-40B4-BE49-F238E27FC236}">
                        <a16:creationId xmlns:a16="http://schemas.microsoft.com/office/drawing/2014/main" id="{A4972B30-151D-277A-9F59-8A3350574BD3}"/>
                      </a:ext>
                    </a:extLst>
                  </p:cNvPr>
                  <p:cNvSpPr/>
                  <p:nvPr/>
                </p:nvSpPr>
                <p:spPr>
                  <a:xfrm>
                    <a:off x="6079360" y="2492491"/>
                    <a:ext cx="299122" cy="297947"/>
                  </a:xfrm>
                  <a:custGeom>
                    <a:avLst/>
                    <a:gdLst>
                      <a:gd name="connsiteX0" fmla="*/ 2425 w 299122"/>
                      <a:gd name="connsiteY0" fmla="*/ 297451 h 297947"/>
                      <a:gd name="connsiteX1" fmla="*/ 3417 w 299122"/>
                      <a:gd name="connsiteY1" fmla="*/ 281080 h 297947"/>
                      <a:gd name="connsiteX2" fmla="*/ 2921 w 299122"/>
                      <a:gd name="connsiteY2" fmla="*/ 264710 h 297947"/>
                      <a:gd name="connsiteX3" fmla="*/ 2921 w 299122"/>
                      <a:gd name="connsiteY3" fmla="*/ 248339 h 297947"/>
                      <a:gd name="connsiteX4" fmla="*/ 3913 w 299122"/>
                      <a:gd name="connsiteY4" fmla="*/ 231969 h 297947"/>
                      <a:gd name="connsiteX5" fmla="*/ 2921 w 299122"/>
                      <a:gd name="connsiteY5" fmla="*/ 215598 h 297947"/>
                      <a:gd name="connsiteX6" fmla="*/ 3417 w 299122"/>
                      <a:gd name="connsiteY6" fmla="*/ 199228 h 297947"/>
                      <a:gd name="connsiteX7" fmla="*/ 3913 w 299122"/>
                      <a:gd name="connsiteY7" fmla="*/ 182857 h 297947"/>
                      <a:gd name="connsiteX8" fmla="*/ 3417 w 299122"/>
                      <a:gd name="connsiteY8" fmla="*/ 166487 h 297947"/>
                      <a:gd name="connsiteX9" fmla="*/ 2921 w 299122"/>
                      <a:gd name="connsiteY9" fmla="*/ 150116 h 297947"/>
                      <a:gd name="connsiteX10" fmla="*/ 3417 w 299122"/>
                      <a:gd name="connsiteY10" fmla="*/ 133746 h 297947"/>
                      <a:gd name="connsiteX11" fmla="*/ 3417 w 299122"/>
                      <a:gd name="connsiteY11" fmla="*/ 117375 h 297947"/>
                      <a:gd name="connsiteX12" fmla="*/ 3913 w 299122"/>
                      <a:gd name="connsiteY12" fmla="*/ 101004 h 297947"/>
                      <a:gd name="connsiteX13" fmla="*/ 3417 w 299122"/>
                      <a:gd name="connsiteY13" fmla="*/ 84634 h 297947"/>
                      <a:gd name="connsiteX14" fmla="*/ 2425 w 299122"/>
                      <a:gd name="connsiteY14" fmla="*/ 68263 h 297947"/>
                      <a:gd name="connsiteX15" fmla="*/ 2425 w 299122"/>
                      <a:gd name="connsiteY15" fmla="*/ 51893 h 297947"/>
                      <a:gd name="connsiteX16" fmla="*/ 3417 w 299122"/>
                      <a:gd name="connsiteY16" fmla="*/ 35522 h 297947"/>
                      <a:gd name="connsiteX17" fmla="*/ 2425 w 299122"/>
                      <a:gd name="connsiteY17" fmla="*/ 19151 h 297947"/>
                      <a:gd name="connsiteX18" fmla="*/ 2425 w 299122"/>
                      <a:gd name="connsiteY18" fmla="*/ 2781 h 297947"/>
                      <a:gd name="connsiteX19" fmla="*/ 18300 w 299122"/>
                      <a:gd name="connsiteY19" fmla="*/ 2285 h 297947"/>
                      <a:gd name="connsiteX20" fmla="*/ 34671 w 299122"/>
                      <a:gd name="connsiteY20" fmla="*/ 2285 h 297947"/>
                      <a:gd name="connsiteX21" fmla="*/ 51041 w 299122"/>
                      <a:gd name="connsiteY21" fmla="*/ 2781 h 297947"/>
                      <a:gd name="connsiteX22" fmla="*/ 67412 w 299122"/>
                      <a:gd name="connsiteY22" fmla="*/ 2285 h 297947"/>
                      <a:gd name="connsiteX23" fmla="*/ 83782 w 299122"/>
                      <a:gd name="connsiteY23" fmla="*/ 2781 h 297947"/>
                      <a:gd name="connsiteX24" fmla="*/ 100153 w 299122"/>
                      <a:gd name="connsiteY24" fmla="*/ 1789 h 297947"/>
                      <a:gd name="connsiteX25" fmla="*/ 116523 w 299122"/>
                      <a:gd name="connsiteY25" fmla="*/ 1789 h 297947"/>
                      <a:gd name="connsiteX26" fmla="*/ 132894 w 299122"/>
                      <a:gd name="connsiteY26" fmla="*/ 2781 h 297947"/>
                      <a:gd name="connsiteX27" fmla="*/ 149264 w 299122"/>
                      <a:gd name="connsiteY27" fmla="*/ 3277 h 297947"/>
                      <a:gd name="connsiteX28" fmla="*/ 165635 w 299122"/>
                      <a:gd name="connsiteY28" fmla="*/ 2285 h 297947"/>
                      <a:gd name="connsiteX29" fmla="*/ 182005 w 299122"/>
                      <a:gd name="connsiteY29" fmla="*/ 1789 h 297947"/>
                      <a:gd name="connsiteX30" fmla="*/ 198376 w 299122"/>
                      <a:gd name="connsiteY30" fmla="*/ 3277 h 297947"/>
                      <a:gd name="connsiteX31" fmla="*/ 214746 w 299122"/>
                      <a:gd name="connsiteY31" fmla="*/ 3773 h 297947"/>
                      <a:gd name="connsiteX32" fmla="*/ 231117 w 299122"/>
                      <a:gd name="connsiteY32" fmla="*/ 2285 h 297947"/>
                      <a:gd name="connsiteX33" fmla="*/ 247488 w 299122"/>
                      <a:gd name="connsiteY33" fmla="*/ 2781 h 297947"/>
                      <a:gd name="connsiteX34" fmla="*/ 263858 w 299122"/>
                      <a:gd name="connsiteY34" fmla="*/ 3773 h 297947"/>
                      <a:gd name="connsiteX35" fmla="*/ 280229 w 299122"/>
                      <a:gd name="connsiteY35" fmla="*/ 2781 h 297947"/>
                      <a:gd name="connsiteX36" fmla="*/ 296599 w 299122"/>
                      <a:gd name="connsiteY36" fmla="*/ 3277 h 297947"/>
                      <a:gd name="connsiteX37" fmla="*/ 296103 w 299122"/>
                      <a:gd name="connsiteY37" fmla="*/ 19647 h 297947"/>
                      <a:gd name="connsiteX38" fmla="*/ 296599 w 299122"/>
                      <a:gd name="connsiteY38" fmla="*/ 36018 h 297947"/>
                      <a:gd name="connsiteX39" fmla="*/ 296103 w 299122"/>
                      <a:gd name="connsiteY39" fmla="*/ 52389 h 297947"/>
                      <a:gd name="connsiteX40" fmla="*/ 297592 w 299122"/>
                      <a:gd name="connsiteY40" fmla="*/ 68759 h 297947"/>
                      <a:gd name="connsiteX41" fmla="*/ 297592 w 299122"/>
                      <a:gd name="connsiteY41" fmla="*/ 85130 h 297947"/>
                      <a:gd name="connsiteX42" fmla="*/ 296599 w 299122"/>
                      <a:gd name="connsiteY42" fmla="*/ 101500 h 297947"/>
                      <a:gd name="connsiteX43" fmla="*/ 296103 w 299122"/>
                      <a:gd name="connsiteY43" fmla="*/ 117871 h 297947"/>
                      <a:gd name="connsiteX44" fmla="*/ 296103 w 299122"/>
                      <a:gd name="connsiteY44" fmla="*/ 134241 h 297947"/>
                      <a:gd name="connsiteX45" fmla="*/ 297592 w 299122"/>
                      <a:gd name="connsiteY45" fmla="*/ 150612 h 297947"/>
                      <a:gd name="connsiteX46" fmla="*/ 296599 w 299122"/>
                      <a:gd name="connsiteY46" fmla="*/ 166982 h 297947"/>
                      <a:gd name="connsiteX47" fmla="*/ 296103 w 299122"/>
                      <a:gd name="connsiteY47" fmla="*/ 183353 h 297947"/>
                      <a:gd name="connsiteX48" fmla="*/ 296103 w 299122"/>
                      <a:gd name="connsiteY48" fmla="*/ 199724 h 297947"/>
                      <a:gd name="connsiteX49" fmla="*/ 295607 w 299122"/>
                      <a:gd name="connsiteY49" fmla="*/ 216094 h 297947"/>
                      <a:gd name="connsiteX50" fmla="*/ 297095 w 299122"/>
                      <a:gd name="connsiteY50" fmla="*/ 232465 h 297947"/>
                      <a:gd name="connsiteX51" fmla="*/ 295607 w 299122"/>
                      <a:gd name="connsiteY51" fmla="*/ 248835 h 297947"/>
                      <a:gd name="connsiteX52" fmla="*/ 295607 w 299122"/>
                      <a:gd name="connsiteY52" fmla="*/ 265206 h 297947"/>
                      <a:gd name="connsiteX53" fmla="*/ 296103 w 299122"/>
                      <a:gd name="connsiteY53" fmla="*/ 281577 h 297947"/>
                      <a:gd name="connsiteX54" fmla="*/ 297095 w 299122"/>
                      <a:gd name="connsiteY54" fmla="*/ 297947 h 2979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</a:cxnLst>
                    <a:rect l="l" t="t" r="r" b="b"/>
                    <a:pathLst>
                      <a:path w="299122" h="297947">
                        <a:moveTo>
                          <a:pt x="2425" y="297451"/>
                        </a:moveTo>
                        <a:cubicBezTo>
                          <a:pt x="2425" y="289018"/>
                          <a:pt x="3417" y="289018"/>
                          <a:pt x="3417" y="281080"/>
                        </a:cubicBezTo>
                        <a:cubicBezTo>
                          <a:pt x="3417" y="272647"/>
                          <a:pt x="2921" y="272647"/>
                          <a:pt x="2921" y="264710"/>
                        </a:cubicBezTo>
                        <a:cubicBezTo>
                          <a:pt x="2921" y="256277"/>
                          <a:pt x="2921" y="256277"/>
                          <a:pt x="2921" y="248339"/>
                        </a:cubicBezTo>
                        <a:cubicBezTo>
                          <a:pt x="2921" y="239906"/>
                          <a:pt x="3913" y="239906"/>
                          <a:pt x="3913" y="231969"/>
                        </a:cubicBezTo>
                        <a:cubicBezTo>
                          <a:pt x="3913" y="223535"/>
                          <a:pt x="2921" y="223535"/>
                          <a:pt x="2921" y="215598"/>
                        </a:cubicBezTo>
                        <a:cubicBezTo>
                          <a:pt x="2921" y="207165"/>
                          <a:pt x="3417" y="207165"/>
                          <a:pt x="3417" y="199228"/>
                        </a:cubicBezTo>
                        <a:cubicBezTo>
                          <a:pt x="3417" y="190794"/>
                          <a:pt x="3913" y="190794"/>
                          <a:pt x="3913" y="182857"/>
                        </a:cubicBezTo>
                        <a:cubicBezTo>
                          <a:pt x="3913" y="174424"/>
                          <a:pt x="3417" y="174424"/>
                          <a:pt x="3417" y="166487"/>
                        </a:cubicBezTo>
                        <a:cubicBezTo>
                          <a:pt x="3417" y="158053"/>
                          <a:pt x="2921" y="158053"/>
                          <a:pt x="2921" y="150116"/>
                        </a:cubicBezTo>
                        <a:cubicBezTo>
                          <a:pt x="2921" y="141683"/>
                          <a:pt x="3417" y="141683"/>
                          <a:pt x="3417" y="133746"/>
                        </a:cubicBezTo>
                        <a:cubicBezTo>
                          <a:pt x="3417" y="125312"/>
                          <a:pt x="3417" y="125312"/>
                          <a:pt x="3417" y="117375"/>
                        </a:cubicBezTo>
                        <a:cubicBezTo>
                          <a:pt x="3417" y="108942"/>
                          <a:pt x="3913" y="108942"/>
                          <a:pt x="3913" y="101004"/>
                        </a:cubicBezTo>
                        <a:cubicBezTo>
                          <a:pt x="3913" y="92571"/>
                          <a:pt x="3417" y="92571"/>
                          <a:pt x="3417" y="84634"/>
                        </a:cubicBezTo>
                        <a:cubicBezTo>
                          <a:pt x="3417" y="76200"/>
                          <a:pt x="2425" y="76200"/>
                          <a:pt x="2425" y="68263"/>
                        </a:cubicBezTo>
                        <a:cubicBezTo>
                          <a:pt x="2425" y="59830"/>
                          <a:pt x="2425" y="59830"/>
                          <a:pt x="2425" y="51893"/>
                        </a:cubicBezTo>
                        <a:cubicBezTo>
                          <a:pt x="2425" y="43459"/>
                          <a:pt x="3417" y="43459"/>
                          <a:pt x="3417" y="35522"/>
                        </a:cubicBezTo>
                        <a:cubicBezTo>
                          <a:pt x="3417" y="27089"/>
                          <a:pt x="2425" y="27089"/>
                          <a:pt x="2425" y="19151"/>
                        </a:cubicBezTo>
                        <a:cubicBezTo>
                          <a:pt x="2425" y="11214"/>
                          <a:pt x="-3032" y="8734"/>
                          <a:pt x="2425" y="2781"/>
                        </a:cubicBezTo>
                        <a:cubicBezTo>
                          <a:pt x="8378" y="-3172"/>
                          <a:pt x="10363" y="2285"/>
                          <a:pt x="18300" y="2285"/>
                        </a:cubicBezTo>
                        <a:cubicBezTo>
                          <a:pt x="26237" y="2285"/>
                          <a:pt x="26237" y="2285"/>
                          <a:pt x="34671" y="2285"/>
                        </a:cubicBezTo>
                        <a:cubicBezTo>
                          <a:pt x="42608" y="2285"/>
                          <a:pt x="42608" y="2781"/>
                          <a:pt x="51041" y="2781"/>
                        </a:cubicBezTo>
                        <a:cubicBezTo>
                          <a:pt x="59474" y="2781"/>
                          <a:pt x="59474" y="2285"/>
                          <a:pt x="67412" y="2285"/>
                        </a:cubicBezTo>
                        <a:cubicBezTo>
                          <a:pt x="75349" y="2285"/>
                          <a:pt x="75349" y="2781"/>
                          <a:pt x="83782" y="2781"/>
                        </a:cubicBezTo>
                        <a:cubicBezTo>
                          <a:pt x="92215" y="2781"/>
                          <a:pt x="92215" y="1789"/>
                          <a:pt x="100153" y="1789"/>
                        </a:cubicBezTo>
                        <a:cubicBezTo>
                          <a:pt x="108090" y="1789"/>
                          <a:pt x="108090" y="1789"/>
                          <a:pt x="116523" y="1789"/>
                        </a:cubicBezTo>
                        <a:cubicBezTo>
                          <a:pt x="124956" y="1789"/>
                          <a:pt x="124956" y="2781"/>
                          <a:pt x="132894" y="2781"/>
                        </a:cubicBezTo>
                        <a:cubicBezTo>
                          <a:pt x="141327" y="2781"/>
                          <a:pt x="141327" y="3277"/>
                          <a:pt x="149264" y="3277"/>
                        </a:cubicBezTo>
                        <a:cubicBezTo>
                          <a:pt x="157698" y="3277"/>
                          <a:pt x="157698" y="2285"/>
                          <a:pt x="165635" y="2285"/>
                        </a:cubicBezTo>
                        <a:cubicBezTo>
                          <a:pt x="174068" y="2285"/>
                          <a:pt x="174068" y="1789"/>
                          <a:pt x="182005" y="1789"/>
                        </a:cubicBezTo>
                        <a:cubicBezTo>
                          <a:pt x="189943" y="1789"/>
                          <a:pt x="190439" y="3277"/>
                          <a:pt x="198376" y="3277"/>
                        </a:cubicBezTo>
                        <a:cubicBezTo>
                          <a:pt x="206809" y="3277"/>
                          <a:pt x="206809" y="3773"/>
                          <a:pt x="214746" y="3773"/>
                        </a:cubicBezTo>
                        <a:cubicBezTo>
                          <a:pt x="223180" y="3773"/>
                          <a:pt x="223180" y="2285"/>
                          <a:pt x="231117" y="2285"/>
                        </a:cubicBezTo>
                        <a:cubicBezTo>
                          <a:pt x="239550" y="2285"/>
                          <a:pt x="239550" y="2781"/>
                          <a:pt x="247488" y="2781"/>
                        </a:cubicBezTo>
                        <a:cubicBezTo>
                          <a:pt x="255921" y="2781"/>
                          <a:pt x="255921" y="3773"/>
                          <a:pt x="263858" y="3773"/>
                        </a:cubicBezTo>
                        <a:cubicBezTo>
                          <a:pt x="272291" y="3773"/>
                          <a:pt x="272291" y="2781"/>
                          <a:pt x="280229" y="2781"/>
                        </a:cubicBezTo>
                        <a:cubicBezTo>
                          <a:pt x="288166" y="2781"/>
                          <a:pt x="290647" y="-2676"/>
                          <a:pt x="296599" y="3277"/>
                        </a:cubicBezTo>
                        <a:cubicBezTo>
                          <a:pt x="302553" y="9230"/>
                          <a:pt x="296103" y="11214"/>
                          <a:pt x="296103" y="19647"/>
                        </a:cubicBezTo>
                        <a:cubicBezTo>
                          <a:pt x="296103" y="28081"/>
                          <a:pt x="296599" y="28081"/>
                          <a:pt x="296599" y="36018"/>
                        </a:cubicBezTo>
                        <a:cubicBezTo>
                          <a:pt x="296599" y="44451"/>
                          <a:pt x="296103" y="44451"/>
                          <a:pt x="296103" y="52389"/>
                        </a:cubicBezTo>
                        <a:cubicBezTo>
                          <a:pt x="296103" y="60822"/>
                          <a:pt x="297592" y="60822"/>
                          <a:pt x="297592" y="68759"/>
                        </a:cubicBezTo>
                        <a:cubicBezTo>
                          <a:pt x="297592" y="77193"/>
                          <a:pt x="297592" y="77193"/>
                          <a:pt x="297592" y="85130"/>
                        </a:cubicBezTo>
                        <a:cubicBezTo>
                          <a:pt x="297592" y="93563"/>
                          <a:pt x="296599" y="93563"/>
                          <a:pt x="296599" y="101500"/>
                        </a:cubicBezTo>
                        <a:cubicBezTo>
                          <a:pt x="296599" y="109934"/>
                          <a:pt x="296103" y="109934"/>
                          <a:pt x="296103" y="117871"/>
                        </a:cubicBezTo>
                        <a:cubicBezTo>
                          <a:pt x="296103" y="126304"/>
                          <a:pt x="296103" y="126304"/>
                          <a:pt x="296103" y="134241"/>
                        </a:cubicBezTo>
                        <a:cubicBezTo>
                          <a:pt x="296103" y="142675"/>
                          <a:pt x="297592" y="142675"/>
                          <a:pt x="297592" y="150612"/>
                        </a:cubicBezTo>
                        <a:cubicBezTo>
                          <a:pt x="297592" y="159045"/>
                          <a:pt x="296599" y="159045"/>
                          <a:pt x="296599" y="166982"/>
                        </a:cubicBezTo>
                        <a:cubicBezTo>
                          <a:pt x="296599" y="175416"/>
                          <a:pt x="296103" y="175416"/>
                          <a:pt x="296103" y="183353"/>
                        </a:cubicBezTo>
                        <a:cubicBezTo>
                          <a:pt x="296103" y="191786"/>
                          <a:pt x="296103" y="191786"/>
                          <a:pt x="296103" y="199724"/>
                        </a:cubicBezTo>
                        <a:cubicBezTo>
                          <a:pt x="296103" y="208157"/>
                          <a:pt x="295607" y="208157"/>
                          <a:pt x="295607" y="216094"/>
                        </a:cubicBezTo>
                        <a:cubicBezTo>
                          <a:pt x="295607" y="224528"/>
                          <a:pt x="297095" y="224528"/>
                          <a:pt x="297095" y="232465"/>
                        </a:cubicBezTo>
                        <a:cubicBezTo>
                          <a:pt x="297095" y="240898"/>
                          <a:pt x="295607" y="240898"/>
                          <a:pt x="295607" y="248835"/>
                        </a:cubicBezTo>
                        <a:cubicBezTo>
                          <a:pt x="295607" y="257269"/>
                          <a:pt x="295607" y="257269"/>
                          <a:pt x="295607" y="265206"/>
                        </a:cubicBezTo>
                        <a:cubicBezTo>
                          <a:pt x="295607" y="273639"/>
                          <a:pt x="296103" y="273639"/>
                          <a:pt x="296103" y="281577"/>
                        </a:cubicBezTo>
                        <a:cubicBezTo>
                          <a:pt x="296103" y="289514"/>
                          <a:pt x="297095" y="290010"/>
                          <a:pt x="297095" y="297947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sp>
              <p:nvSpPr>
                <p:cNvPr id="1599" name="Freeform: Shape 1598">
                  <a:extLst>
                    <a:ext uri="{FF2B5EF4-FFF2-40B4-BE49-F238E27FC236}">
                      <a16:creationId xmlns:a16="http://schemas.microsoft.com/office/drawing/2014/main" id="{FECE4F92-732F-9D4B-D580-3667C15EC553}"/>
                    </a:ext>
                  </a:extLst>
                </p:cNvPr>
                <p:cNvSpPr/>
                <p:nvPr/>
              </p:nvSpPr>
              <p:spPr>
                <a:xfrm>
                  <a:off x="6208781" y="2495271"/>
                  <a:ext cx="2480" cy="294670"/>
                </a:xfrm>
                <a:custGeom>
                  <a:avLst/>
                  <a:gdLst>
                    <a:gd name="connsiteX0" fmla="*/ 1488 w 2480"/>
                    <a:gd name="connsiteY0" fmla="*/ 294670 h 294670"/>
                    <a:gd name="connsiteX1" fmla="*/ 2480 w 2480"/>
                    <a:gd name="connsiteY1" fmla="*/ 278300 h 294670"/>
                    <a:gd name="connsiteX2" fmla="*/ 1984 w 2480"/>
                    <a:gd name="connsiteY2" fmla="*/ 261929 h 294670"/>
                    <a:gd name="connsiteX3" fmla="*/ 2480 w 2480"/>
                    <a:gd name="connsiteY3" fmla="*/ 245559 h 294670"/>
                    <a:gd name="connsiteX4" fmla="*/ 1488 w 2480"/>
                    <a:gd name="connsiteY4" fmla="*/ 229188 h 294670"/>
                    <a:gd name="connsiteX5" fmla="*/ 2480 w 2480"/>
                    <a:gd name="connsiteY5" fmla="*/ 212818 h 294670"/>
                    <a:gd name="connsiteX6" fmla="*/ 992 w 2480"/>
                    <a:gd name="connsiteY6" fmla="*/ 196447 h 294670"/>
                    <a:gd name="connsiteX7" fmla="*/ 2480 w 2480"/>
                    <a:gd name="connsiteY7" fmla="*/ 180076 h 294670"/>
                    <a:gd name="connsiteX8" fmla="*/ 2480 w 2480"/>
                    <a:gd name="connsiteY8" fmla="*/ 163706 h 294670"/>
                    <a:gd name="connsiteX9" fmla="*/ 992 w 2480"/>
                    <a:gd name="connsiteY9" fmla="*/ 147335 h 294670"/>
                    <a:gd name="connsiteX10" fmla="*/ 2480 w 2480"/>
                    <a:gd name="connsiteY10" fmla="*/ 130965 h 294670"/>
                    <a:gd name="connsiteX11" fmla="*/ 992 w 2480"/>
                    <a:gd name="connsiteY11" fmla="*/ 114594 h 294670"/>
                    <a:gd name="connsiteX12" fmla="*/ 496 w 2480"/>
                    <a:gd name="connsiteY12" fmla="*/ 98223 h 294670"/>
                    <a:gd name="connsiteX13" fmla="*/ 496 w 2480"/>
                    <a:gd name="connsiteY13" fmla="*/ 81853 h 294670"/>
                    <a:gd name="connsiteX14" fmla="*/ 1984 w 2480"/>
                    <a:gd name="connsiteY14" fmla="*/ 65482 h 294670"/>
                    <a:gd name="connsiteX15" fmla="*/ 1984 w 2480"/>
                    <a:gd name="connsiteY15" fmla="*/ 49112 h 294670"/>
                    <a:gd name="connsiteX16" fmla="*/ 1984 w 2480"/>
                    <a:gd name="connsiteY16" fmla="*/ 32741 h 294670"/>
                    <a:gd name="connsiteX17" fmla="*/ 0 w 2480"/>
                    <a:gd name="connsiteY17" fmla="*/ 16371 h 294670"/>
                    <a:gd name="connsiteX18" fmla="*/ 1488 w 2480"/>
                    <a:gd name="connsiteY18" fmla="*/ 0 h 294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480" h="294670">
                      <a:moveTo>
                        <a:pt x="1488" y="294670"/>
                      </a:moveTo>
                      <a:cubicBezTo>
                        <a:pt x="1488" y="286237"/>
                        <a:pt x="2480" y="286237"/>
                        <a:pt x="2480" y="278300"/>
                      </a:cubicBezTo>
                      <a:cubicBezTo>
                        <a:pt x="2480" y="269867"/>
                        <a:pt x="1984" y="269867"/>
                        <a:pt x="1984" y="261929"/>
                      </a:cubicBezTo>
                      <a:cubicBezTo>
                        <a:pt x="1984" y="253496"/>
                        <a:pt x="2480" y="253496"/>
                        <a:pt x="2480" y="245559"/>
                      </a:cubicBezTo>
                      <a:cubicBezTo>
                        <a:pt x="2480" y="237125"/>
                        <a:pt x="1488" y="237125"/>
                        <a:pt x="1488" y="229188"/>
                      </a:cubicBezTo>
                      <a:cubicBezTo>
                        <a:pt x="1488" y="220755"/>
                        <a:pt x="2480" y="220755"/>
                        <a:pt x="2480" y="212818"/>
                      </a:cubicBezTo>
                      <a:cubicBezTo>
                        <a:pt x="2480" y="204384"/>
                        <a:pt x="992" y="204384"/>
                        <a:pt x="992" y="196447"/>
                      </a:cubicBezTo>
                      <a:cubicBezTo>
                        <a:pt x="992" y="188014"/>
                        <a:pt x="2480" y="188014"/>
                        <a:pt x="2480" y="180076"/>
                      </a:cubicBezTo>
                      <a:cubicBezTo>
                        <a:pt x="2480" y="171643"/>
                        <a:pt x="2480" y="171643"/>
                        <a:pt x="2480" y="163706"/>
                      </a:cubicBezTo>
                      <a:cubicBezTo>
                        <a:pt x="2480" y="155272"/>
                        <a:pt x="992" y="155272"/>
                        <a:pt x="992" y="147335"/>
                      </a:cubicBezTo>
                      <a:cubicBezTo>
                        <a:pt x="992" y="138902"/>
                        <a:pt x="2480" y="138902"/>
                        <a:pt x="2480" y="130965"/>
                      </a:cubicBezTo>
                      <a:cubicBezTo>
                        <a:pt x="2480" y="122531"/>
                        <a:pt x="992" y="122531"/>
                        <a:pt x="992" y="114594"/>
                      </a:cubicBezTo>
                      <a:cubicBezTo>
                        <a:pt x="992" y="106161"/>
                        <a:pt x="496" y="106161"/>
                        <a:pt x="496" y="98223"/>
                      </a:cubicBezTo>
                      <a:cubicBezTo>
                        <a:pt x="496" y="89790"/>
                        <a:pt x="496" y="89790"/>
                        <a:pt x="496" y="81853"/>
                      </a:cubicBezTo>
                      <a:cubicBezTo>
                        <a:pt x="496" y="73419"/>
                        <a:pt x="1984" y="73419"/>
                        <a:pt x="1984" y="65482"/>
                      </a:cubicBezTo>
                      <a:cubicBezTo>
                        <a:pt x="1984" y="57049"/>
                        <a:pt x="1984" y="57049"/>
                        <a:pt x="1984" y="49112"/>
                      </a:cubicBezTo>
                      <a:cubicBezTo>
                        <a:pt x="1984" y="40678"/>
                        <a:pt x="1984" y="40678"/>
                        <a:pt x="1984" y="32741"/>
                      </a:cubicBezTo>
                      <a:cubicBezTo>
                        <a:pt x="1984" y="24308"/>
                        <a:pt x="0" y="24308"/>
                        <a:pt x="0" y="16371"/>
                      </a:cubicBezTo>
                      <a:cubicBezTo>
                        <a:pt x="0" y="8433"/>
                        <a:pt x="1488" y="7937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00" name="Freeform: Shape 1599">
                  <a:extLst>
                    <a:ext uri="{FF2B5EF4-FFF2-40B4-BE49-F238E27FC236}">
                      <a16:creationId xmlns:a16="http://schemas.microsoft.com/office/drawing/2014/main" id="{01879ED0-5AAB-F628-9326-C91AE2CEEB50}"/>
                    </a:ext>
                  </a:extLst>
                </p:cNvPr>
                <p:cNvSpPr/>
                <p:nvPr/>
              </p:nvSpPr>
              <p:spPr>
                <a:xfrm>
                  <a:off x="6255413" y="2493287"/>
                  <a:ext cx="1983" cy="294670"/>
                </a:xfrm>
                <a:custGeom>
                  <a:avLst/>
                  <a:gdLst>
                    <a:gd name="connsiteX0" fmla="*/ 0 w 1983"/>
                    <a:gd name="connsiteY0" fmla="*/ 0 h 294670"/>
                    <a:gd name="connsiteX1" fmla="*/ 1488 w 1983"/>
                    <a:gd name="connsiteY1" fmla="*/ 16371 h 294670"/>
                    <a:gd name="connsiteX2" fmla="*/ 1488 w 1983"/>
                    <a:gd name="connsiteY2" fmla="*/ 32741 h 294670"/>
                    <a:gd name="connsiteX3" fmla="*/ 496 w 1983"/>
                    <a:gd name="connsiteY3" fmla="*/ 49112 h 294670"/>
                    <a:gd name="connsiteX4" fmla="*/ 496 w 1983"/>
                    <a:gd name="connsiteY4" fmla="*/ 65482 h 294670"/>
                    <a:gd name="connsiteX5" fmla="*/ 0 w 1983"/>
                    <a:gd name="connsiteY5" fmla="*/ 81853 h 294670"/>
                    <a:gd name="connsiteX6" fmla="*/ 992 w 1983"/>
                    <a:gd name="connsiteY6" fmla="*/ 98224 h 294670"/>
                    <a:gd name="connsiteX7" fmla="*/ 992 w 1983"/>
                    <a:gd name="connsiteY7" fmla="*/ 114594 h 294670"/>
                    <a:gd name="connsiteX8" fmla="*/ 1488 w 1983"/>
                    <a:gd name="connsiteY8" fmla="*/ 130965 h 294670"/>
                    <a:gd name="connsiteX9" fmla="*/ 496 w 1983"/>
                    <a:gd name="connsiteY9" fmla="*/ 147335 h 294670"/>
                    <a:gd name="connsiteX10" fmla="*/ 0 w 1983"/>
                    <a:gd name="connsiteY10" fmla="*/ 163706 h 294670"/>
                    <a:gd name="connsiteX11" fmla="*/ 1488 w 1983"/>
                    <a:gd name="connsiteY11" fmla="*/ 180076 h 294670"/>
                    <a:gd name="connsiteX12" fmla="*/ 1488 w 1983"/>
                    <a:gd name="connsiteY12" fmla="*/ 196447 h 294670"/>
                    <a:gd name="connsiteX13" fmla="*/ 496 w 1983"/>
                    <a:gd name="connsiteY13" fmla="*/ 212817 h 294670"/>
                    <a:gd name="connsiteX14" fmla="*/ 1984 w 1983"/>
                    <a:gd name="connsiteY14" fmla="*/ 229188 h 294670"/>
                    <a:gd name="connsiteX15" fmla="*/ 0 w 1983"/>
                    <a:gd name="connsiteY15" fmla="*/ 245558 h 294670"/>
                    <a:gd name="connsiteX16" fmla="*/ 992 w 1983"/>
                    <a:gd name="connsiteY16" fmla="*/ 261929 h 294670"/>
                    <a:gd name="connsiteX17" fmla="*/ 1488 w 1983"/>
                    <a:gd name="connsiteY17" fmla="*/ 278300 h 294670"/>
                    <a:gd name="connsiteX18" fmla="*/ 1984 w 1983"/>
                    <a:gd name="connsiteY18" fmla="*/ 294670 h 294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983" h="294670">
                      <a:moveTo>
                        <a:pt x="0" y="0"/>
                      </a:moveTo>
                      <a:cubicBezTo>
                        <a:pt x="0" y="8433"/>
                        <a:pt x="1488" y="8433"/>
                        <a:pt x="1488" y="16371"/>
                      </a:cubicBezTo>
                      <a:cubicBezTo>
                        <a:pt x="1488" y="24804"/>
                        <a:pt x="1488" y="24804"/>
                        <a:pt x="1488" y="32741"/>
                      </a:cubicBezTo>
                      <a:cubicBezTo>
                        <a:pt x="1488" y="41174"/>
                        <a:pt x="496" y="41174"/>
                        <a:pt x="496" y="49112"/>
                      </a:cubicBezTo>
                      <a:cubicBezTo>
                        <a:pt x="496" y="57545"/>
                        <a:pt x="496" y="57545"/>
                        <a:pt x="496" y="65482"/>
                      </a:cubicBezTo>
                      <a:cubicBezTo>
                        <a:pt x="496" y="73916"/>
                        <a:pt x="0" y="73916"/>
                        <a:pt x="0" y="81853"/>
                      </a:cubicBezTo>
                      <a:cubicBezTo>
                        <a:pt x="0" y="90286"/>
                        <a:pt x="992" y="90286"/>
                        <a:pt x="992" y="98224"/>
                      </a:cubicBezTo>
                      <a:cubicBezTo>
                        <a:pt x="992" y="106657"/>
                        <a:pt x="992" y="106657"/>
                        <a:pt x="992" y="114594"/>
                      </a:cubicBezTo>
                      <a:cubicBezTo>
                        <a:pt x="992" y="123027"/>
                        <a:pt x="1488" y="123027"/>
                        <a:pt x="1488" y="130965"/>
                      </a:cubicBezTo>
                      <a:cubicBezTo>
                        <a:pt x="1488" y="139398"/>
                        <a:pt x="496" y="139398"/>
                        <a:pt x="496" y="147335"/>
                      </a:cubicBezTo>
                      <a:cubicBezTo>
                        <a:pt x="496" y="155768"/>
                        <a:pt x="0" y="155768"/>
                        <a:pt x="0" y="163706"/>
                      </a:cubicBezTo>
                      <a:cubicBezTo>
                        <a:pt x="0" y="172139"/>
                        <a:pt x="1488" y="172139"/>
                        <a:pt x="1488" y="180076"/>
                      </a:cubicBezTo>
                      <a:cubicBezTo>
                        <a:pt x="1488" y="188509"/>
                        <a:pt x="1488" y="188509"/>
                        <a:pt x="1488" y="196447"/>
                      </a:cubicBezTo>
                      <a:cubicBezTo>
                        <a:pt x="1488" y="204880"/>
                        <a:pt x="496" y="204880"/>
                        <a:pt x="496" y="212817"/>
                      </a:cubicBezTo>
                      <a:cubicBezTo>
                        <a:pt x="496" y="221251"/>
                        <a:pt x="1984" y="221251"/>
                        <a:pt x="1984" y="229188"/>
                      </a:cubicBezTo>
                      <a:cubicBezTo>
                        <a:pt x="1984" y="237621"/>
                        <a:pt x="0" y="237621"/>
                        <a:pt x="0" y="245558"/>
                      </a:cubicBezTo>
                      <a:cubicBezTo>
                        <a:pt x="0" y="253992"/>
                        <a:pt x="992" y="253992"/>
                        <a:pt x="992" y="261929"/>
                      </a:cubicBezTo>
                      <a:cubicBezTo>
                        <a:pt x="992" y="270362"/>
                        <a:pt x="1488" y="270362"/>
                        <a:pt x="1488" y="278300"/>
                      </a:cubicBezTo>
                      <a:cubicBezTo>
                        <a:pt x="1488" y="286237"/>
                        <a:pt x="1984" y="286733"/>
                        <a:pt x="1984" y="29467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574" name="Graphic 10">
                <a:extLst>
                  <a:ext uri="{FF2B5EF4-FFF2-40B4-BE49-F238E27FC236}">
                    <a16:creationId xmlns:a16="http://schemas.microsoft.com/office/drawing/2014/main" id="{F5C95152-F50C-842C-D5EF-15A425BF216A}"/>
                  </a:ext>
                </a:extLst>
              </p:cNvPr>
              <p:cNvGrpSpPr/>
              <p:nvPr/>
            </p:nvGrpSpPr>
            <p:grpSpPr>
              <a:xfrm>
                <a:off x="5992987" y="2786965"/>
                <a:ext cx="483180" cy="232660"/>
                <a:chOff x="5992987" y="2786965"/>
                <a:chExt cx="483180" cy="232660"/>
              </a:xfrm>
              <a:noFill/>
            </p:grpSpPr>
            <p:sp>
              <p:nvSpPr>
                <p:cNvPr id="1575" name="Freeform: Shape 1574">
                  <a:extLst>
                    <a:ext uri="{FF2B5EF4-FFF2-40B4-BE49-F238E27FC236}">
                      <a16:creationId xmlns:a16="http://schemas.microsoft.com/office/drawing/2014/main" id="{A457BA4C-D76C-C6A7-4D85-ED2657748C62}"/>
                    </a:ext>
                  </a:extLst>
                </p:cNvPr>
                <p:cNvSpPr/>
                <p:nvPr/>
              </p:nvSpPr>
              <p:spPr>
                <a:xfrm>
                  <a:off x="6003731" y="2980436"/>
                  <a:ext cx="463721" cy="39190"/>
                </a:xfrm>
                <a:custGeom>
                  <a:avLst/>
                  <a:gdLst>
                    <a:gd name="connsiteX0" fmla="*/ 447136 w 463721"/>
                    <a:gd name="connsiteY0" fmla="*/ 36710 h 39190"/>
                    <a:gd name="connsiteX1" fmla="*/ 454577 w 463721"/>
                    <a:gd name="connsiteY1" fmla="*/ 25300 h 39190"/>
                    <a:gd name="connsiteX2" fmla="*/ 461026 w 463721"/>
                    <a:gd name="connsiteY2" fmla="*/ 13394 h 39190"/>
                    <a:gd name="connsiteX3" fmla="*/ 461522 w 463721"/>
                    <a:gd name="connsiteY3" fmla="*/ 1984 h 39190"/>
                    <a:gd name="connsiteX4" fmla="*/ 444655 w 463721"/>
                    <a:gd name="connsiteY4" fmla="*/ 1984 h 39190"/>
                    <a:gd name="connsiteX5" fmla="*/ 428285 w 463721"/>
                    <a:gd name="connsiteY5" fmla="*/ 3473 h 39190"/>
                    <a:gd name="connsiteX6" fmla="*/ 411914 w 463721"/>
                    <a:gd name="connsiteY6" fmla="*/ 3968 h 39190"/>
                    <a:gd name="connsiteX7" fmla="*/ 395544 w 463721"/>
                    <a:gd name="connsiteY7" fmla="*/ 3473 h 39190"/>
                    <a:gd name="connsiteX8" fmla="*/ 379173 w 463721"/>
                    <a:gd name="connsiteY8" fmla="*/ 1984 h 39190"/>
                    <a:gd name="connsiteX9" fmla="*/ 362802 w 463721"/>
                    <a:gd name="connsiteY9" fmla="*/ 2480 h 39190"/>
                    <a:gd name="connsiteX10" fmla="*/ 346432 w 463721"/>
                    <a:gd name="connsiteY10" fmla="*/ 3473 h 39190"/>
                    <a:gd name="connsiteX11" fmla="*/ 330061 w 463721"/>
                    <a:gd name="connsiteY11" fmla="*/ 3968 h 39190"/>
                    <a:gd name="connsiteX12" fmla="*/ 313691 w 463721"/>
                    <a:gd name="connsiteY12" fmla="*/ 3968 h 39190"/>
                    <a:gd name="connsiteX13" fmla="*/ 297320 w 463721"/>
                    <a:gd name="connsiteY13" fmla="*/ 3473 h 39190"/>
                    <a:gd name="connsiteX14" fmla="*/ 280949 w 463721"/>
                    <a:gd name="connsiteY14" fmla="*/ 2480 h 39190"/>
                    <a:gd name="connsiteX15" fmla="*/ 264579 w 463721"/>
                    <a:gd name="connsiteY15" fmla="*/ 3968 h 39190"/>
                    <a:gd name="connsiteX16" fmla="*/ 248208 w 463721"/>
                    <a:gd name="connsiteY16" fmla="*/ 3473 h 39190"/>
                    <a:gd name="connsiteX17" fmla="*/ 231838 w 463721"/>
                    <a:gd name="connsiteY17" fmla="*/ 4465 h 39190"/>
                    <a:gd name="connsiteX18" fmla="*/ 215467 w 463721"/>
                    <a:gd name="connsiteY18" fmla="*/ 3473 h 39190"/>
                    <a:gd name="connsiteX19" fmla="*/ 199097 w 463721"/>
                    <a:gd name="connsiteY19" fmla="*/ 2977 h 39190"/>
                    <a:gd name="connsiteX20" fmla="*/ 182726 w 463721"/>
                    <a:gd name="connsiteY20" fmla="*/ 3968 h 39190"/>
                    <a:gd name="connsiteX21" fmla="*/ 166356 w 463721"/>
                    <a:gd name="connsiteY21" fmla="*/ 3473 h 39190"/>
                    <a:gd name="connsiteX22" fmla="*/ 149985 w 463721"/>
                    <a:gd name="connsiteY22" fmla="*/ 1984 h 39190"/>
                    <a:gd name="connsiteX23" fmla="*/ 133614 w 463721"/>
                    <a:gd name="connsiteY23" fmla="*/ 1984 h 39190"/>
                    <a:gd name="connsiteX24" fmla="*/ 117244 w 463721"/>
                    <a:gd name="connsiteY24" fmla="*/ 2977 h 39190"/>
                    <a:gd name="connsiteX25" fmla="*/ 100873 w 463721"/>
                    <a:gd name="connsiteY25" fmla="*/ 3473 h 39190"/>
                    <a:gd name="connsiteX26" fmla="*/ 84503 w 463721"/>
                    <a:gd name="connsiteY26" fmla="*/ 3968 h 39190"/>
                    <a:gd name="connsiteX27" fmla="*/ 68132 w 463721"/>
                    <a:gd name="connsiteY27" fmla="*/ 3473 h 39190"/>
                    <a:gd name="connsiteX28" fmla="*/ 51762 w 463721"/>
                    <a:gd name="connsiteY28" fmla="*/ 2977 h 39190"/>
                    <a:gd name="connsiteX29" fmla="*/ 35391 w 463721"/>
                    <a:gd name="connsiteY29" fmla="*/ 2977 h 39190"/>
                    <a:gd name="connsiteX30" fmla="*/ 19021 w 463721"/>
                    <a:gd name="connsiteY30" fmla="*/ 3473 h 39190"/>
                    <a:gd name="connsiteX31" fmla="*/ 2154 w 463721"/>
                    <a:gd name="connsiteY31" fmla="*/ 2480 h 39190"/>
                    <a:gd name="connsiteX32" fmla="*/ 3642 w 463721"/>
                    <a:gd name="connsiteY32" fmla="*/ 13890 h 39190"/>
                    <a:gd name="connsiteX33" fmla="*/ 13067 w 463721"/>
                    <a:gd name="connsiteY33" fmla="*/ 25300 h 39190"/>
                    <a:gd name="connsiteX34" fmla="*/ 22989 w 463721"/>
                    <a:gd name="connsiteY34" fmla="*/ 36710 h 39190"/>
                    <a:gd name="connsiteX35" fmla="*/ 37375 w 463721"/>
                    <a:gd name="connsiteY35" fmla="*/ 38694 h 39190"/>
                    <a:gd name="connsiteX36" fmla="*/ 52258 w 463721"/>
                    <a:gd name="connsiteY36" fmla="*/ 38694 h 39190"/>
                    <a:gd name="connsiteX37" fmla="*/ 67140 w 463721"/>
                    <a:gd name="connsiteY37" fmla="*/ 39190 h 39190"/>
                    <a:gd name="connsiteX38" fmla="*/ 82022 w 463721"/>
                    <a:gd name="connsiteY38" fmla="*/ 38198 h 39190"/>
                    <a:gd name="connsiteX39" fmla="*/ 96905 w 463721"/>
                    <a:gd name="connsiteY39" fmla="*/ 38694 h 39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463721" h="39190">
                      <a:moveTo>
                        <a:pt x="447136" y="36710"/>
                      </a:moveTo>
                      <a:cubicBezTo>
                        <a:pt x="450608" y="30757"/>
                        <a:pt x="451104" y="31253"/>
                        <a:pt x="454577" y="25300"/>
                      </a:cubicBezTo>
                      <a:cubicBezTo>
                        <a:pt x="458050" y="19347"/>
                        <a:pt x="459041" y="19843"/>
                        <a:pt x="461026" y="13394"/>
                      </a:cubicBezTo>
                      <a:cubicBezTo>
                        <a:pt x="462514" y="7937"/>
                        <a:pt x="465987" y="4961"/>
                        <a:pt x="461522" y="1984"/>
                      </a:cubicBezTo>
                      <a:cubicBezTo>
                        <a:pt x="454577" y="-2480"/>
                        <a:pt x="453089" y="1984"/>
                        <a:pt x="444655" y="1984"/>
                      </a:cubicBezTo>
                      <a:cubicBezTo>
                        <a:pt x="436222" y="1984"/>
                        <a:pt x="436222" y="3473"/>
                        <a:pt x="428285" y="3473"/>
                      </a:cubicBezTo>
                      <a:cubicBezTo>
                        <a:pt x="419851" y="3473"/>
                        <a:pt x="419851" y="3968"/>
                        <a:pt x="411914" y="3968"/>
                      </a:cubicBezTo>
                      <a:cubicBezTo>
                        <a:pt x="403481" y="3968"/>
                        <a:pt x="403481" y="3473"/>
                        <a:pt x="395544" y="3473"/>
                      </a:cubicBezTo>
                      <a:cubicBezTo>
                        <a:pt x="387110" y="3473"/>
                        <a:pt x="387110" y="1984"/>
                        <a:pt x="379173" y="1984"/>
                      </a:cubicBezTo>
                      <a:cubicBezTo>
                        <a:pt x="370740" y="1984"/>
                        <a:pt x="370740" y="2480"/>
                        <a:pt x="362802" y="2480"/>
                      </a:cubicBezTo>
                      <a:cubicBezTo>
                        <a:pt x="354369" y="2480"/>
                        <a:pt x="354369" y="3473"/>
                        <a:pt x="346432" y="3473"/>
                      </a:cubicBezTo>
                      <a:cubicBezTo>
                        <a:pt x="337998" y="3473"/>
                        <a:pt x="337998" y="3968"/>
                        <a:pt x="330061" y="3968"/>
                      </a:cubicBezTo>
                      <a:cubicBezTo>
                        <a:pt x="321628" y="3968"/>
                        <a:pt x="321628" y="3968"/>
                        <a:pt x="313691" y="3968"/>
                      </a:cubicBezTo>
                      <a:cubicBezTo>
                        <a:pt x="305257" y="3968"/>
                        <a:pt x="305257" y="3473"/>
                        <a:pt x="297320" y="3473"/>
                      </a:cubicBezTo>
                      <a:cubicBezTo>
                        <a:pt x="288887" y="3473"/>
                        <a:pt x="288887" y="2480"/>
                        <a:pt x="280949" y="2480"/>
                      </a:cubicBezTo>
                      <a:cubicBezTo>
                        <a:pt x="272516" y="2480"/>
                        <a:pt x="272516" y="3968"/>
                        <a:pt x="264579" y="3968"/>
                      </a:cubicBezTo>
                      <a:cubicBezTo>
                        <a:pt x="256145" y="3968"/>
                        <a:pt x="256145" y="3473"/>
                        <a:pt x="248208" y="3473"/>
                      </a:cubicBezTo>
                      <a:cubicBezTo>
                        <a:pt x="239775" y="3473"/>
                        <a:pt x="239775" y="4465"/>
                        <a:pt x="231838" y="4465"/>
                      </a:cubicBezTo>
                      <a:cubicBezTo>
                        <a:pt x="223404" y="4465"/>
                        <a:pt x="223404" y="3473"/>
                        <a:pt x="215467" y="3473"/>
                      </a:cubicBezTo>
                      <a:cubicBezTo>
                        <a:pt x="207034" y="3473"/>
                        <a:pt x="207034" y="2977"/>
                        <a:pt x="199097" y="2977"/>
                      </a:cubicBezTo>
                      <a:cubicBezTo>
                        <a:pt x="190663" y="2977"/>
                        <a:pt x="190663" y="3968"/>
                        <a:pt x="182726" y="3968"/>
                      </a:cubicBezTo>
                      <a:cubicBezTo>
                        <a:pt x="174293" y="3968"/>
                        <a:pt x="174293" y="3473"/>
                        <a:pt x="166356" y="3473"/>
                      </a:cubicBezTo>
                      <a:cubicBezTo>
                        <a:pt x="157922" y="3473"/>
                        <a:pt x="157922" y="1984"/>
                        <a:pt x="149985" y="1984"/>
                      </a:cubicBezTo>
                      <a:cubicBezTo>
                        <a:pt x="141552" y="1984"/>
                        <a:pt x="141552" y="1984"/>
                        <a:pt x="133614" y="1984"/>
                      </a:cubicBezTo>
                      <a:cubicBezTo>
                        <a:pt x="125181" y="1984"/>
                        <a:pt x="125181" y="2977"/>
                        <a:pt x="117244" y="2977"/>
                      </a:cubicBezTo>
                      <a:cubicBezTo>
                        <a:pt x="108811" y="2977"/>
                        <a:pt x="108811" y="3473"/>
                        <a:pt x="100873" y="3473"/>
                      </a:cubicBezTo>
                      <a:cubicBezTo>
                        <a:pt x="92440" y="3473"/>
                        <a:pt x="92440" y="3968"/>
                        <a:pt x="84503" y="3968"/>
                      </a:cubicBezTo>
                      <a:cubicBezTo>
                        <a:pt x="76070" y="3968"/>
                        <a:pt x="76070" y="3473"/>
                        <a:pt x="68132" y="3473"/>
                      </a:cubicBezTo>
                      <a:cubicBezTo>
                        <a:pt x="59699" y="3473"/>
                        <a:pt x="59699" y="2977"/>
                        <a:pt x="51762" y="2977"/>
                      </a:cubicBezTo>
                      <a:cubicBezTo>
                        <a:pt x="43329" y="2977"/>
                        <a:pt x="43329" y="2977"/>
                        <a:pt x="35391" y="2977"/>
                      </a:cubicBezTo>
                      <a:cubicBezTo>
                        <a:pt x="26958" y="2977"/>
                        <a:pt x="26958" y="3473"/>
                        <a:pt x="19021" y="3473"/>
                      </a:cubicBezTo>
                      <a:cubicBezTo>
                        <a:pt x="10587" y="3473"/>
                        <a:pt x="8603" y="-2480"/>
                        <a:pt x="2154" y="2480"/>
                      </a:cubicBezTo>
                      <a:cubicBezTo>
                        <a:pt x="-2311" y="5457"/>
                        <a:pt x="1162" y="8929"/>
                        <a:pt x="3642" y="13890"/>
                      </a:cubicBezTo>
                      <a:cubicBezTo>
                        <a:pt x="6619" y="20835"/>
                        <a:pt x="8107" y="19843"/>
                        <a:pt x="13067" y="25300"/>
                      </a:cubicBezTo>
                      <a:cubicBezTo>
                        <a:pt x="18028" y="31253"/>
                        <a:pt x="16044" y="33237"/>
                        <a:pt x="22989" y="36710"/>
                      </a:cubicBezTo>
                      <a:cubicBezTo>
                        <a:pt x="29934" y="39686"/>
                        <a:pt x="29934" y="38694"/>
                        <a:pt x="37375" y="38694"/>
                      </a:cubicBezTo>
                      <a:cubicBezTo>
                        <a:pt x="44816" y="38694"/>
                        <a:pt x="44816" y="38694"/>
                        <a:pt x="52258" y="38694"/>
                      </a:cubicBezTo>
                      <a:cubicBezTo>
                        <a:pt x="59699" y="38694"/>
                        <a:pt x="59699" y="39190"/>
                        <a:pt x="67140" y="39190"/>
                      </a:cubicBezTo>
                      <a:cubicBezTo>
                        <a:pt x="74581" y="39190"/>
                        <a:pt x="74581" y="38198"/>
                        <a:pt x="82022" y="38198"/>
                      </a:cubicBezTo>
                      <a:cubicBezTo>
                        <a:pt x="89463" y="38198"/>
                        <a:pt x="89463" y="38694"/>
                        <a:pt x="96905" y="38694"/>
                      </a:cubicBezTo>
                    </a:path>
                  </a:pathLst>
                </a:custGeom>
                <a:solidFill>
                  <a:srgbClr val="B6C2D6"/>
                </a:solidFill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576" name="Freeform: Shape 1575">
                  <a:extLst>
                    <a:ext uri="{FF2B5EF4-FFF2-40B4-BE49-F238E27FC236}">
                      <a16:creationId xmlns:a16="http://schemas.microsoft.com/office/drawing/2014/main" id="{7CB34D15-2D57-C307-FAE1-BF7724237AA0}"/>
                    </a:ext>
                  </a:extLst>
                </p:cNvPr>
                <p:cNvSpPr/>
                <p:nvPr/>
              </p:nvSpPr>
              <p:spPr>
                <a:xfrm>
                  <a:off x="5992987" y="2786965"/>
                  <a:ext cx="483180" cy="26788"/>
                </a:xfrm>
                <a:custGeom>
                  <a:avLst/>
                  <a:gdLst>
                    <a:gd name="connsiteX0" fmla="*/ 470282 w 483180"/>
                    <a:gd name="connsiteY0" fmla="*/ 25796 h 26788"/>
                    <a:gd name="connsiteX1" fmla="*/ 453911 w 483180"/>
                    <a:gd name="connsiteY1" fmla="*/ 25300 h 26788"/>
                    <a:gd name="connsiteX2" fmla="*/ 437541 w 483180"/>
                    <a:gd name="connsiteY2" fmla="*/ 26788 h 26788"/>
                    <a:gd name="connsiteX3" fmla="*/ 421170 w 483180"/>
                    <a:gd name="connsiteY3" fmla="*/ 26292 h 26788"/>
                    <a:gd name="connsiteX4" fmla="*/ 404799 w 483180"/>
                    <a:gd name="connsiteY4" fmla="*/ 25796 h 26788"/>
                    <a:gd name="connsiteX5" fmla="*/ 388429 w 483180"/>
                    <a:gd name="connsiteY5" fmla="*/ 26788 h 26788"/>
                    <a:gd name="connsiteX6" fmla="*/ 372058 w 483180"/>
                    <a:gd name="connsiteY6" fmla="*/ 25796 h 26788"/>
                    <a:gd name="connsiteX7" fmla="*/ 355688 w 483180"/>
                    <a:gd name="connsiteY7" fmla="*/ 25796 h 26788"/>
                    <a:gd name="connsiteX8" fmla="*/ 339317 w 483180"/>
                    <a:gd name="connsiteY8" fmla="*/ 26788 h 26788"/>
                    <a:gd name="connsiteX9" fmla="*/ 322947 w 483180"/>
                    <a:gd name="connsiteY9" fmla="*/ 25796 h 26788"/>
                    <a:gd name="connsiteX10" fmla="*/ 306576 w 483180"/>
                    <a:gd name="connsiteY10" fmla="*/ 26292 h 26788"/>
                    <a:gd name="connsiteX11" fmla="*/ 290206 w 483180"/>
                    <a:gd name="connsiteY11" fmla="*/ 25796 h 26788"/>
                    <a:gd name="connsiteX12" fmla="*/ 273835 w 483180"/>
                    <a:gd name="connsiteY12" fmla="*/ 26788 h 26788"/>
                    <a:gd name="connsiteX13" fmla="*/ 257465 w 483180"/>
                    <a:gd name="connsiteY13" fmla="*/ 26292 h 26788"/>
                    <a:gd name="connsiteX14" fmla="*/ 241094 w 483180"/>
                    <a:gd name="connsiteY14" fmla="*/ 25300 h 26788"/>
                    <a:gd name="connsiteX15" fmla="*/ 224723 w 483180"/>
                    <a:gd name="connsiteY15" fmla="*/ 26788 h 26788"/>
                    <a:gd name="connsiteX16" fmla="*/ 208353 w 483180"/>
                    <a:gd name="connsiteY16" fmla="*/ 25300 h 26788"/>
                    <a:gd name="connsiteX17" fmla="*/ 191982 w 483180"/>
                    <a:gd name="connsiteY17" fmla="*/ 25300 h 26788"/>
                    <a:gd name="connsiteX18" fmla="*/ 175612 w 483180"/>
                    <a:gd name="connsiteY18" fmla="*/ 25300 h 26788"/>
                    <a:gd name="connsiteX19" fmla="*/ 159241 w 483180"/>
                    <a:gd name="connsiteY19" fmla="*/ 25796 h 26788"/>
                    <a:gd name="connsiteX20" fmla="*/ 142870 w 483180"/>
                    <a:gd name="connsiteY20" fmla="*/ 25300 h 26788"/>
                    <a:gd name="connsiteX21" fmla="*/ 126500 w 483180"/>
                    <a:gd name="connsiteY21" fmla="*/ 26292 h 26788"/>
                    <a:gd name="connsiteX22" fmla="*/ 110129 w 483180"/>
                    <a:gd name="connsiteY22" fmla="*/ 25796 h 26788"/>
                    <a:gd name="connsiteX23" fmla="*/ 93759 w 483180"/>
                    <a:gd name="connsiteY23" fmla="*/ 25796 h 26788"/>
                    <a:gd name="connsiteX24" fmla="*/ 77388 w 483180"/>
                    <a:gd name="connsiteY24" fmla="*/ 25300 h 26788"/>
                    <a:gd name="connsiteX25" fmla="*/ 61017 w 483180"/>
                    <a:gd name="connsiteY25" fmla="*/ 25796 h 26788"/>
                    <a:gd name="connsiteX26" fmla="*/ 44647 w 483180"/>
                    <a:gd name="connsiteY26" fmla="*/ 25796 h 26788"/>
                    <a:gd name="connsiteX27" fmla="*/ 28276 w 483180"/>
                    <a:gd name="connsiteY27" fmla="*/ 25796 h 26788"/>
                    <a:gd name="connsiteX28" fmla="*/ 11906 w 483180"/>
                    <a:gd name="connsiteY28" fmla="*/ 26788 h 26788"/>
                    <a:gd name="connsiteX29" fmla="*/ 0 w 483180"/>
                    <a:gd name="connsiteY29" fmla="*/ 14386 h 26788"/>
                    <a:gd name="connsiteX30" fmla="*/ 992 w 483180"/>
                    <a:gd name="connsiteY30" fmla="*/ 14386 h 26788"/>
                    <a:gd name="connsiteX31" fmla="*/ 12402 w 483180"/>
                    <a:gd name="connsiteY31" fmla="*/ 3969 h 26788"/>
                    <a:gd name="connsiteX32" fmla="*/ 28772 w 483180"/>
                    <a:gd name="connsiteY32" fmla="*/ 2480 h 26788"/>
                    <a:gd name="connsiteX33" fmla="*/ 45143 w 483180"/>
                    <a:gd name="connsiteY33" fmla="*/ 3473 h 26788"/>
                    <a:gd name="connsiteX34" fmla="*/ 61514 w 483180"/>
                    <a:gd name="connsiteY34" fmla="*/ 2480 h 26788"/>
                    <a:gd name="connsiteX35" fmla="*/ 77884 w 483180"/>
                    <a:gd name="connsiteY35" fmla="*/ 1984 h 26788"/>
                    <a:gd name="connsiteX36" fmla="*/ 94255 w 483180"/>
                    <a:gd name="connsiteY36" fmla="*/ 1984 h 26788"/>
                    <a:gd name="connsiteX37" fmla="*/ 110625 w 483180"/>
                    <a:gd name="connsiteY37" fmla="*/ 1488 h 26788"/>
                    <a:gd name="connsiteX38" fmla="*/ 126996 w 483180"/>
                    <a:gd name="connsiteY38" fmla="*/ 2977 h 26788"/>
                    <a:gd name="connsiteX39" fmla="*/ 143367 w 483180"/>
                    <a:gd name="connsiteY39" fmla="*/ 2977 h 26788"/>
                    <a:gd name="connsiteX40" fmla="*/ 159737 w 483180"/>
                    <a:gd name="connsiteY40" fmla="*/ 3473 h 26788"/>
                    <a:gd name="connsiteX41" fmla="*/ 176108 w 483180"/>
                    <a:gd name="connsiteY41" fmla="*/ 1984 h 26788"/>
                    <a:gd name="connsiteX42" fmla="*/ 192478 w 483180"/>
                    <a:gd name="connsiteY42" fmla="*/ 992 h 26788"/>
                    <a:gd name="connsiteX43" fmla="*/ 208849 w 483180"/>
                    <a:gd name="connsiteY43" fmla="*/ 2480 h 26788"/>
                    <a:gd name="connsiteX44" fmla="*/ 225220 w 483180"/>
                    <a:gd name="connsiteY44" fmla="*/ 1488 h 26788"/>
                    <a:gd name="connsiteX45" fmla="*/ 241590 w 483180"/>
                    <a:gd name="connsiteY45" fmla="*/ 2977 h 26788"/>
                    <a:gd name="connsiteX46" fmla="*/ 257961 w 483180"/>
                    <a:gd name="connsiteY46" fmla="*/ 2977 h 26788"/>
                    <a:gd name="connsiteX47" fmla="*/ 274331 w 483180"/>
                    <a:gd name="connsiteY47" fmla="*/ 2977 h 26788"/>
                    <a:gd name="connsiteX48" fmla="*/ 290702 w 483180"/>
                    <a:gd name="connsiteY48" fmla="*/ 1488 h 26788"/>
                    <a:gd name="connsiteX49" fmla="*/ 307072 w 483180"/>
                    <a:gd name="connsiteY49" fmla="*/ 496 h 26788"/>
                    <a:gd name="connsiteX50" fmla="*/ 323443 w 483180"/>
                    <a:gd name="connsiteY50" fmla="*/ 496 h 26788"/>
                    <a:gd name="connsiteX51" fmla="*/ 339813 w 483180"/>
                    <a:gd name="connsiteY51" fmla="*/ 1984 h 26788"/>
                    <a:gd name="connsiteX52" fmla="*/ 356184 w 483180"/>
                    <a:gd name="connsiteY52" fmla="*/ 992 h 26788"/>
                    <a:gd name="connsiteX53" fmla="*/ 372554 w 483180"/>
                    <a:gd name="connsiteY53" fmla="*/ 2480 h 26788"/>
                    <a:gd name="connsiteX54" fmla="*/ 388925 w 483180"/>
                    <a:gd name="connsiteY54" fmla="*/ 1488 h 26788"/>
                    <a:gd name="connsiteX55" fmla="*/ 405295 w 483180"/>
                    <a:gd name="connsiteY55" fmla="*/ 496 h 26788"/>
                    <a:gd name="connsiteX56" fmla="*/ 421666 w 483180"/>
                    <a:gd name="connsiteY56" fmla="*/ 0 h 26788"/>
                    <a:gd name="connsiteX57" fmla="*/ 438036 w 483180"/>
                    <a:gd name="connsiteY57" fmla="*/ 496 h 26788"/>
                    <a:gd name="connsiteX58" fmla="*/ 454407 w 483180"/>
                    <a:gd name="connsiteY58" fmla="*/ 1488 h 26788"/>
                    <a:gd name="connsiteX59" fmla="*/ 470778 w 483180"/>
                    <a:gd name="connsiteY59" fmla="*/ 992 h 26788"/>
                    <a:gd name="connsiteX60" fmla="*/ 483180 w 483180"/>
                    <a:gd name="connsiteY60" fmla="*/ 12402 h 26788"/>
                    <a:gd name="connsiteX61" fmla="*/ 482188 w 483180"/>
                    <a:gd name="connsiteY61" fmla="*/ 12402 h 26788"/>
                    <a:gd name="connsiteX62" fmla="*/ 470282 w 483180"/>
                    <a:gd name="connsiteY62" fmla="*/ 25796 h 26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</a:cxnLst>
                  <a:rect l="l" t="t" r="r" b="b"/>
                  <a:pathLst>
                    <a:path w="483180" h="26788">
                      <a:moveTo>
                        <a:pt x="470282" y="25796"/>
                      </a:moveTo>
                      <a:cubicBezTo>
                        <a:pt x="461848" y="25796"/>
                        <a:pt x="461848" y="25300"/>
                        <a:pt x="453911" y="25300"/>
                      </a:cubicBezTo>
                      <a:cubicBezTo>
                        <a:pt x="445478" y="25300"/>
                        <a:pt x="445478" y="26788"/>
                        <a:pt x="437541" y="26788"/>
                      </a:cubicBezTo>
                      <a:cubicBezTo>
                        <a:pt x="429107" y="26788"/>
                        <a:pt x="429107" y="26292"/>
                        <a:pt x="421170" y="26292"/>
                      </a:cubicBezTo>
                      <a:cubicBezTo>
                        <a:pt x="412737" y="26292"/>
                        <a:pt x="412737" y="25796"/>
                        <a:pt x="404799" y="25796"/>
                      </a:cubicBezTo>
                      <a:cubicBezTo>
                        <a:pt x="396366" y="25796"/>
                        <a:pt x="396366" y="26788"/>
                        <a:pt x="388429" y="26788"/>
                      </a:cubicBezTo>
                      <a:cubicBezTo>
                        <a:pt x="379996" y="26788"/>
                        <a:pt x="379996" y="25796"/>
                        <a:pt x="372058" y="25796"/>
                      </a:cubicBezTo>
                      <a:cubicBezTo>
                        <a:pt x="363625" y="25796"/>
                        <a:pt x="363625" y="25796"/>
                        <a:pt x="355688" y="25796"/>
                      </a:cubicBezTo>
                      <a:cubicBezTo>
                        <a:pt x="347255" y="25796"/>
                        <a:pt x="347255" y="26788"/>
                        <a:pt x="339317" y="26788"/>
                      </a:cubicBezTo>
                      <a:cubicBezTo>
                        <a:pt x="330884" y="26788"/>
                        <a:pt x="330884" y="25796"/>
                        <a:pt x="322947" y="25796"/>
                      </a:cubicBezTo>
                      <a:cubicBezTo>
                        <a:pt x="314514" y="25796"/>
                        <a:pt x="314514" y="26292"/>
                        <a:pt x="306576" y="26292"/>
                      </a:cubicBezTo>
                      <a:cubicBezTo>
                        <a:pt x="298639" y="26292"/>
                        <a:pt x="298143" y="25796"/>
                        <a:pt x="290206" y="25796"/>
                      </a:cubicBezTo>
                      <a:cubicBezTo>
                        <a:pt x="281772" y="25796"/>
                        <a:pt x="281772" y="26788"/>
                        <a:pt x="273835" y="26788"/>
                      </a:cubicBezTo>
                      <a:cubicBezTo>
                        <a:pt x="265402" y="26788"/>
                        <a:pt x="265402" y="26292"/>
                        <a:pt x="257465" y="26292"/>
                      </a:cubicBezTo>
                      <a:cubicBezTo>
                        <a:pt x="249031" y="26292"/>
                        <a:pt x="249031" y="25300"/>
                        <a:pt x="241094" y="25300"/>
                      </a:cubicBezTo>
                      <a:cubicBezTo>
                        <a:pt x="232661" y="25300"/>
                        <a:pt x="232661" y="26788"/>
                        <a:pt x="224723" y="26788"/>
                      </a:cubicBezTo>
                      <a:cubicBezTo>
                        <a:pt x="216290" y="26788"/>
                        <a:pt x="216290" y="25300"/>
                        <a:pt x="208353" y="25300"/>
                      </a:cubicBezTo>
                      <a:cubicBezTo>
                        <a:pt x="199919" y="25300"/>
                        <a:pt x="199919" y="25300"/>
                        <a:pt x="191982" y="25300"/>
                      </a:cubicBezTo>
                      <a:cubicBezTo>
                        <a:pt x="183549" y="25300"/>
                        <a:pt x="183549" y="25300"/>
                        <a:pt x="175612" y="25300"/>
                      </a:cubicBezTo>
                      <a:cubicBezTo>
                        <a:pt x="167178" y="25300"/>
                        <a:pt x="167178" y="25796"/>
                        <a:pt x="159241" y="25796"/>
                      </a:cubicBezTo>
                      <a:cubicBezTo>
                        <a:pt x="150808" y="25796"/>
                        <a:pt x="150808" y="25300"/>
                        <a:pt x="142870" y="25300"/>
                      </a:cubicBezTo>
                      <a:cubicBezTo>
                        <a:pt x="134437" y="25300"/>
                        <a:pt x="134437" y="26292"/>
                        <a:pt x="126500" y="26292"/>
                      </a:cubicBezTo>
                      <a:cubicBezTo>
                        <a:pt x="118563" y="26292"/>
                        <a:pt x="118066" y="25796"/>
                        <a:pt x="110129" y="25796"/>
                      </a:cubicBezTo>
                      <a:cubicBezTo>
                        <a:pt x="101696" y="25796"/>
                        <a:pt x="101696" y="25796"/>
                        <a:pt x="93759" y="25796"/>
                      </a:cubicBezTo>
                      <a:cubicBezTo>
                        <a:pt x="85325" y="25796"/>
                        <a:pt x="85325" y="25300"/>
                        <a:pt x="77388" y="25300"/>
                      </a:cubicBezTo>
                      <a:cubicBezTo>
                        <a:pt x="68955" y="25300"/>
                        <a:pt x="68955" y="25796"/>
                        <a:pt x="61017" y="25796"/>
                      </a:cubicBezTo>
                      <a:cubicBezTo>
                        <a:pt x="52584" y="25796"/>
                        <a:pt x="52584" y="25796"/>
                        <a:pt x="44647" y="25796"/>
                      </a:cubicBezTo>
                      <a:cubicBezTo>
                        <a:pt x="36213" y="25796"/>
                        <a:pt x="36213" y="25796"/>
                        <a:pt x="28276" y="25796"/>
                      </a:cubicBezTo>
                      <a:cubicBezTo>
                        <a:pt x="20339" y="25796"/>
                        <a:pt x="19843" y="26788"/>
                        <a:pt x="11906" y="26788"/>
                      </a:cubicBezTo>
                      <a:cubicBezTo>
                        <a:pt x="5457" y="26788"/>
                        <a:pt x="0" y="20835"/>
                        <a:pt x="0" y="14386"/>
                      </a:cubicBezTo>
                      <a:cubicBezTo>
                        <a:pt x="0" y="14386"/>
                        <a:pt x="992" y="14386"/>
                        <a:pt x="992" y="14386"/>
                      </a:cubicBezTo>
                      <a:cubicBezTo>
                        <a:pt x="992" y="7937"/>
                        <a:pt x="5953" y="3969"/>
                        <a:pt x="12402" y="3969"/>
                      </a:cubicBezTo>
                      <a:cubicBezTo>
                        <a:pt x="20835" y="3969"/>
                        <a:pt x="20835" y="2480"/>
                        <a:pt x="28772" y="2480"/>
                      </a:cubicBezTo>
                      <a:cubicBezTo>
                        <a:pt x="37206" y="2480"/>
                        <a:pt x="37206" y="3473"/>
                        <a:pt x="45143" y="3473"/>
                      </a:cubicBezTo>
                      <a:cubicBezTo>
                        <a:pt x="53576" y="3473"/>
                        <a:pt x="53576" y="2480"/>
                        <a:pt x="61514" y="2480"/>
                      </a:cubicBezTo>
                      <a:cubicBezTo>
                        <a:pt x="69947" y="2480"/>
                        <a:pt x="69947" y="1984"/>
                        <a:pt x="77884" y="1984"/>
                      </a:cubicBezTo>
                      <a:cubicBezTo>
                        <a:pt x="86318" y="1984"/>
                        <a:pt x="86318" y="1984"/>
                        <a:pt x="94255" y="1984"/>
                      </a:cubicBezTo>
                      <a:cubicBezTo>
                        <a:pt x="102688" y="1984"/>
                        <a:pt x="102688" y="1488"/>
                        <a:pt x="110625" y="1488"/>
                      </a:cubicBezTo>
                      <a:cubicBezTo>
                        <a:pt x="119059" y="1488"/>
                        <a:pt x="119059" y="2977"/>
                        <a:pt x="126996" y="2977"/>
                      </a:cubicBezTo>
                      <a:cubicBezTo>
                        <a:pt x="135429" y="2977"/>
                        <a:pt x="135429" y="2977"/>
                        <a:pt x="143367" y="2977"/>
                      </a:cubicBezTo>
                      <a:cubicBezTo>
                        <a:pt x="151800" y="2977"/>
                        <a:pt x="151800" y="3473"/>
                        <a:pt x="159737" y="3473"/>
                      </a:cubicBezTo>
                      <a:cubicBezTo>
                        <a:pt x="168171" y="3473"/>
                        <a:pt x="168171" y="1984"/>
                        <a:pt x="176108" y="1984"/>
                      </a:cubicBezTo>
                      <a:cubicBezTo>
                        <a:pt x="184045" y="1984"/>
                        <a:pt x="184541" y="992"/>
                        <a:pt x="192478" y="992"/>
                      </a:cubicBezTo>
                      <a:cubicBezTo>
                        <a:pt x="200912" y="992"/>
                        <a:pt x="200912" y="2480"/>
                        <a:pt x="208849" y="2480"/>
                      </a:cubicBezTo>
                      <a:cubicBezTo>
                        <a:pt x="217282" y="2480"/>
                        <a:pt x="217282" y="1488"/>
                        <a:pt x="225220" y="1488"/>
                      </a:cubicBezTo>
                      <a:cubicBezTo>
                        <a:pt x="233653" y="1488"/>
                        <a:pt x="233653" y="2977"/>
                        <a:pt x="241590" y="2977"/>
                      </a:cubicBezTo>
                      <a:cubicBezTo>
                        <a:pt x="250023" y="2977"/>
                        <a:pt x="250023" y="2977"/>
                        <a:pt x="257961" y="2977"/>
                      </a:cubicBezTo>
                      <a:cubicBezTo>
                        <a:pt x="266394" y="2977"/>
                        <a:pt x="266394" y="2977"/>
                        <a:pt x="274331" y="2977"/>
                      </a:cubicBezTo>
                      <a:cubicBezTo>
                        <a:pt x="282764" y="2977"/>
                        <a:pt x="282764" y="1488"/>
                        <a:pt x="290702" y="1488"/>
                      </a:cubicBezTo>
                      <a:cubicBezTo>
                        <a:pt x="299135" y="1488"/>
                        <a:pt x="299135" y="496"/>
                        <a:pt x="307072" y="496"/>
                      </a:cubicBezTo>
                      <a:cubicBezTo>
                        <a:pt x="315505" y="496"/>
                        <a:pt x="315505" y="496"/>
                        <a:pt x="323443" y="496"/>
                      </a:cubicBezTo>
                      <a:cubicBezTo>
                        <a:pt x="331876" y="496"/>
                        <a:pt x="331876" y="1984"/>
                        <a:pt x="339813" y="1984"/>
                      </a:cubicBezTo>
                      <a:cubicBezTo>
                        <a:pt x="348246" y="1984"/>
                        <a:pt x="348246" y="992"/>
                        <a:pt x="356184" y="992"/>
                      </a:cubicBezTo>
                      <a:cubicBezTo>
                        <a:pt x="364121" y="992"/>
                        <a:pt x="364617" y="2480"/>
                        <a:pt x="372554" y="2480"/>
                      </a:cubicBezTo>
                      <a:cubicBezTo>
                        <a:pt x="380988" y="2480"/>
                        <a:pt x="380988" y="1488"/>
                        <a:pt x="388925" y="1488"/>
                      </a:cubicBezTo>
                      <a:cubicBezTo>
                        <a:pt x="397358" y="1488"/>
                        <a:pt x="397358" y="496"/>
                        <a:pt x="405295" y="496"/>
                      </a:cubicBezTo>
                      <a:cubicBezTo>
                        <a:pt x="413729" y="496"/>
                        <a:pt x="413729" y="0"/>
                        <a:pt x="421666" y="0"/>
                      </a:cubicBezTo>
                      <a:cubicBezTo>
                        <a:pt x="430099" y="0"/>
                        <a:pt x="430099" y="496"/>
                        <a:pt x="438036" y="496"/>
                      </a:cubicBezTo>
                      <a:cubicBezTo>
                        <a:pt x="446470" y="496"/>
                        <a:pt x="446470" y="1488"/>
                        <a:pt x="454407" y="1488"/>
                      </a:cubicBezTo>
                      <a:cubicBezTo>
                        <a:pt x="462344" y="1488"/>
                        <a:pt x="462840" y="992"/>
                        <a:pt x="470778" y="992"/>
                      </a:cubicBezTo>
                      <a:cubicBezTo>
                        <a:pt x="477227" y="992"/>
                        <a:pt x="483180" y="5953"/>
                        <a:pt x="483180" y="12402"/>
                      </a:cubicBezTo>
                      <a:cubicBezTo>
                        <a:pt x="483180" y="12402"/>
                        <a:pt x="482188" y="12402"/>
                        <a:pt x="482188" y="12402"/>
                      </a:cubicBezTo>
                      <a:cubicBezTo>
                        <a:pt x="481196" y="20835"/>
                        <a:pt x="476731" y="25796"/>
                        <a:pt x="470282" y="25796"/>
                      </a:cubicBezTo>
                      <a:close/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grpSp>
              <p:nvGrpSpPr>
                <p:cNvPr id="1577" name="Graphic 10">
                  <a:extLst>
                    <a:ext uri="{FF2B5EF4-FFF2-40B4-BE49-F238E27FC236}">
                      <a16:creationId xmlns:a16="http://schemas.microsoft.com/office/drawing/2014/main" id="{451673FA-F114-63CC-081E-9953D6E96DE2}"/>
                    </a:ext>
                  </a:extLst>
                </p:cNvPr>
                <p:cNvGrpSpPr/>
                <p:nvPr/>
              </p:nvGrpSpPr>
              <p:grpSpPr>
                <a:xfrm>
                  <a:off x="6010846" y="2813257"/>
                  <a:ext cx="19347" cy="169658"/>
                  <a:chOff x="6010846" y="2813257"/>
                  <a:chExt cx="19347" cy="169658"/>
                </a:xfrm>
                <a:noFill/>
              </p:grpSpPr>
              <p:sp>
                <p:nvSpPr>
                  <p:cNvPr id="1596" name="Freeform: Shape 1595">
                    <a:extLst>
                      <a:ext uri="{FF2B5EF4-FFF2-40B4-BE49-F238E27FC236}">
                        <a16:creationId xmlns:a16="http://schemas.microsoft.com/office/drawing/2014/main" id="{193B7843-892C-BEAF-5104-CD5611773C68}"/>
                      </a:ext>
                    </a:extLst>
                  </p:cNvPr>
                  <p:cNvSpPr/>
                  <p:nvPr/>
                </p:nvSpPr>
                <p:spPr>
                  <a:xfrm>
                    <a:off x="6010846" y="2814249"/>
                    <a:ext cx="2480" cy="168666"/>
                  </a:xfrm>
                  <a:custGeom>
                    <a:avLst/>
                    <a:gdLst>
                      <a:gd name="connsiteX0" fmla="*/ 1488 w 2480"/>
                      <a:gd name="connsiteY0" fmla="*/ 168666 h 168666"/>
                      <a:gd name="connsiteX1" fmla="*/ 1488 w 2480"/>
                      <a:gd name="connsiteY1" fmla="*/ 151800 h 168666"/>
                      <a:gd name="connsiteX2" fmla="*/ 992 w 2480"/>
                      <a:gd name="connsiteY2" fmla="*/ 134933 h 168666"/>
                      <a:gd name="connsiteX3" fmla="*/ 0 w 2480"/>
                      <a:gd name="connsiteY3" fmla="*/ 118066 h 168666"/>
                      <a:gd name="connsiteX4" fmla="*/ 1984 w 2480"/>
                      <a:gd name="connsiteY4" fmla="*/ 101200 h 168666"/>
                      <a:gd name="connsiteX5" fmla="*/ 1488 w 2480"/>
                      <a:gd name="connsiteY5" fmla="*/ 84333 h 168666"/>
                      <a:gd name="connsiteX6" fmla="*/ 1488 w 2480"/>
                      <a:gd name="connsiteY6" fmla="*/ 67467 h 168666"/>
                      <a:gd name="connsiteX7" fmla="*/ 1984 w 2480"/>
                      <a:gd name="connsiteY7" fmla="*/ 50600 h 168666"/>
                      <a:gd name="connsiteX8" fmla="*/ 496 w 2480"/>
                      <a:gd name="connsiteY8" fmla="*/ 33733 h 168666"/>
                      <a:gd name="connsiteX9" fmla="*/ 1488 w 2480"/>
                      <a:gd name="connsiteY9" fmla="*/ 16867 h 168666"/>
                      <a:gd name="connsiteX10" fmla="*/ 248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488" y="168666"/>
                        </a:moveTo>
                        <a:cubicBezTo>
                          <a:pt x="1488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992" y="143367"/>
                          <a:pt x="992" y="134933"/>
                        </a:cubicBezTo>
                        <a:cubicBezTo>
                          <a:pt x="992" y="126500"/>
                          <a:pt x="0" y="126500"/>
                          <a:pt x="0" y="118066"/>
                        </a:cubicBezTo>
                        <a:cubicBezTo>
                          <a:pt x="0" y="109633"/>
                          <a:pt x="1984" y="109633"/>
                          <a:pt x="1984" y="101200"/>
                        </a:cubicBezTo>
                        <a:cubicBezTo>
                          <a:pt x="1984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1488" y="75900"/>
                          <a:pt x="1488" y="67467"/>
                        </a:cubicBezTo>
                        <a:cubicBezTo>
                          <a:pt x="1488" y="59033"/>
                          <a:pt x="1984" y="59033"/>
                          <a:pt x="1984" y="50600"/>
                        </a:cubicBezTo>
                        <a:cubicBezTo>
                          <a:pt x="1984" y="42167"/>
                          <a:pt x="496" y="42167"/>
                          <a:pt x="496" y="33733"/>
                        </a:cubicBezTo>
                        <a:cubicBezTo>
                          <a:pt x="496" y="25300"/>
                          <a:pt x="1488" y="25300"/>
                          <a:pt x="1488" y="16867"/>
                        </a:cubicBezTo>
                        <a:cubicBezTo>
                          <a:pt x="1488" y="8433"/>
                          <a:pt x="2480" y="8433"/>
                          <a:pt x="248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7" name="Freeform: Shape 1596">
                    <a:extLst>
                      <a:ext uri="{FF2B5EF4-FFF2-40B4-BE49-F238E27FC236}">
                        <a16:creationId xmlns:a16="http://schemas.microsoft.com/office/drawing/2014/main" id="{38990D3C-7DA7-9874-95F4-7D350ECC8F3C}"/>
                      </a:ext>
                    </a:extLst>
                  </p:cNvPr>
                  <p:cNvSpPr/>
                  <p:nvPr/>
                </p:nvSpPr>
                <p:spPr>
                  <a:xfrm>
                    <a:off x="6027217" y="2813257"/>
                    <a:ext cx="2976" cy="168666"/>
                  </a:xfrm>
                  <a:custGeom>
                    <a:avLst/>
                    <a:gdLst>
                      <a:gd name="connsiteX0" fmla="*/ 2976 w 2976"/>
                      <a:gd name="connsiteY0" fmla="*/ 0 h 168666"/>
                      <a:gd name="connsiteX1" fmla="*/ 2480 w 2976"/>
                      <a:gd name="connsiteY1" fmla="*/ 16867 h 168666"/>
                      <a:gd name="connsiteX2" fmla="*/ 1984 w 2976"/>
                      <a:gd name="connsiteY2" fmla="*/ 33734 h 168666"/>
                      <a:gd name="connsiteX3" fmla="*/ 496 w 2976"/>
                      <a:gd name="connsiteY3" fmla="*/ 50600 h 168666"/>
                      <a:gd name="connsiteX4" fmla="*/ 1488 w 2976"/>
                      <a:gd name="connsiteY4" fmla="*/ 67467 h 168666"/>
                      <a:gd name="connsiteX5" fmla="*/ 0 w 2976"/>
                      <a:gd name="connsiteY5" fmla="*/ 84333 h 168666"/>
                      <a:gd name="connsiteX6" fmla="*/ 992 w 2976"/>
                      <a:gd name="connsiteY6" fmla="*/ 101200 h 168666"/>
                      <a:gd name="connsiteX7" fmla="*/ 992 w 2976"/>
                      <a:gd name="connsiteY7" fmla="*/ 118067 h 168666"/>
                      <a:gd name="connsiteX8" fmla="*/ 1488 w 2976"/>
                      <a:gd name="connsiteY8" fmla="*/ 134933 h 168666"/>
                      <a:gd name="connsiteX9" fmla="*/ 1984 w 2976"/>
                      <a:gd name="connsiteY9" fmla="*/ 151800 h 168666"/>
                      <a:gd name="connsiteX10" fmla="*/ 1488 w 2976"/>
                      <a:gd name="connsiteY10" fmla="*/ 168666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976" h="168666">
                        <a:moveTo>
                          <a:pt x="2976" y="0"/>
                        </a:moveTo>
                        <a:cubicBezTo>
                          <a:pt x="2976" y="8433"/>
                          <a:pt x="2480" y="8433"/>
                          <a:pt x="2480" y="16867"/>
                        </a:cubicBezTo>
                        <a:cubicBezTo>
                          <a:pt x="2480" y="25300"/>
                          <a:pt x="1984" y="25300"/>
                          <a:pt x="1984" y="33734"/>
                        </a:cubicBezTo>
                        <a:cubicBezTo>
                          <a:pt x="1984" y="42167"/>
                          <a:pt x="496" y="42167"/>
                          <a:pt x="496" y="50600"/>
                        </a:cubicBezTo>
                        <a:cubicBezTo>
                          <a:pt x="496" y="59033"/>
                          <a:pt x="1488" y="59033"/>
                          <a:pt x="1488" y="67467"/>
                        </a:cubicBezTo>
                        <a:cubicBezTo>
                          <a:pt x="1488" y="75900"/>
                          <a:pt x="0" y="75900"/>
                          <a:pt x="0" y="84333"/>
                        </a:cubicBezTo>
                        <a:cubicBezTo>
                          <a:pt x="0" y="92767"/>
                          <a:pt x="992" y="92767"/>
                          <a:pt x="992" y="101200"/>
                        </a:cubicBezTo>
                        <a:cubicBezTo>
                          <a:pt x="992" y="109633"/>
                          <a:pt x="992" y="109633"/>
                          <a:pt x="992" y="118067"/>
                        </a:cubicBezTo>
                        <a:cubicBezTo>
                          <a:pt x="992" y="126500"/>
                          <a:pt x="1488" y="126500"/>
                          <a:pt x="1488" y="134933"/>
                        </a:cubicBezTo>
                        <a:cubicBezTo>
                          <a:pt x="1488" y="143367"/>
                          <a:pt x="1984" y="143367"/>
                          <a:pt x="1984" y="151800"/>
                        </a:cubicBezTo>
                        <a:cubicBezTo>
                          <a:pt x="1984" y="160233"/>
                          <a:pt x="1488" y="160233"/>
                          <a:pt x="1488" y="16866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78" name="Graphic 10">
                  <a:extLst>
                    <a:ext uri="{FF2B5EF4-FFF2-40B4-BE49-F238E27FC236}">
                      <a16:creationId xmlns:a16="http://schemas.microsoft.com/office/drawing/2014/main" id="{CE16CE46-642C-FA77-9140-81946F8492E1}"/>
                    </a:ext>
                  </a:extLst>
                </p:cNvPr>
                <p:cNvGrpSpPr/>
                <p:nvPr/>
              </p:nvGrpSpPr>
              <p:grpSpPr>
                <a:xfrm>
                  <a:off x="6080793" y="2814249"/>
                  <a:ext cx="19347" cy="170650"/>
                  <a:chOff x="6080793" y="2814249"/>
                  <a:chExt cx="19347" cy="170650"/>
                </a:xfrm>
                <a:noFill/>
              </p:grpSpPr>
              <p:sp>
                <p:nvSpPr>
                  <p:cNvPr id="1594" name="Freeform: Shape 1593">
                    <a:extLst>
                      <a:ext uri="{FF2B5EF4-FFF2-40B4-BE49-F238E27FC236}">
                        <a16:creationId xmlns:a16="http://schemas.microsoft.com/office/drawing/2014/main" id="{5989A068-A268-2F18-D7D8-A23B53A3D59B}"/>
                      </a:ext>
                    </a:extLst>
                  </p:cNvPr>
                  <p:cNvSpPr/>
                  <p:nvPr/>
                </p:nvSpPr>
                <p:spPr>
                  <a:xfrm>
                    <a:off x="6080793" y="2814249"/>
                    <a:ext cx="2480" cy="168666"/>
                  </a:xfrm>
                  <a:custGeom>
                    <a:avLst/>
                    <a:gdLst>
                      <a:gd name="connsiteX0" fmla="*/ 993 w 2480"/>
                      <a:gd name="connsiteY0" fmla="*/ 168666 h 168666"/>
                      <a:gd name="connsiteX1" fmla="*/ 2480 w 2480"/>
                      <a:gd name="connsiteY1" fmla="*/ 151800 h 168666"/>
                      <a:gd name="connsiteX2" fmla="*/ 1488 w 2480"/>
                      <a:gd name="connsiteY2" fmla="*/ 134933 h 168666"/>
                      <a:gd name="connsiteX3" fmla="*/ 2480 w 2480"/>
                      <a:gd name="connsiteY3" fmla="*/ 118066 h 168666"/>
                      <a:gd name="connsiteX4" fmla="*/ 1984 w 2480"/>
                      <a:gd name="connsiteY4" fmla="*/ 101200 h 168666"/>
                      <a:gd name="connsiteX5" fmla="*/ 2480 w 2480"/>
                      <a:gd name="connsiteY5" fmla="*/ 84333 h 168666"/>
                      <a:gd name="connsiteX6" fmla="*/ 993 w 2480"/>
                      <a:gd name="connsiteY6" fmla="*/ 67467 h 168666"/>
                      <a:gd name="connsiteX7" fmla="*/ 2480 w 2480"/>
                      <a:gd name="connsiteY7" fmla="*/ 50600 h 168666"/>
                      <a:gd name="connsiteX8" fmla="*/ 2480 w 2480"/>
                      <a:gd name="connsiteY8" fmla="*/ 33733 h 168666"/>
                      <a:gd name="connsiteX9" fmla="*/ 2480 w 2480"/>
                      <a:gd name="connsiteY9" fmla="*/ 16867 h 168666"/>
                      <a:gd name="connsiteX10" fmla="*/ 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993" y="168666"/>
                        </a:moveTo>
                        <a:cubicBezTo>
                          <a:pt x="993" y="160233"/>
                          <a:pt x="2480" y="160233"/>
                          <a:pt x="2480" y="151800"/>
                        </a:cubicBezTo>
                        <a:cubicBezTo>
                          <a:pt x="2480" y="143367"/>
                          <a:pt x="1488" y="143367"/>
                          <a:pt x="1488" y="134933"/>
                        </a:cubicBezTo>
                        <a:cubicBezTo>
                          <a:pt x="1488" y="126500"/>
                          <a:pt x="2480" y="126500"/>
                          <a:pt x="2480" y="118066"/>
                        </a:cubicBezTo>
                        <a:cubicBezTo>
                          <a:pt x="2480" y="109633"/>
                          <a:pt x="1984" y="109633"/>
                          <a:pt x="1984" y="101200"/>
                        </a:cubicBezTo>
                        <a:cubicBezTo>
                          <a:pt x="1984" y="92767"/>
                          <a:pt x="2480" y="92767"/>
                          <a:pt x="2480" y="84333"/>
                        </a:cubicBezTo>
                        <a:cubicBezTo>
                          <a:pt x="2480" y="75900"/>
                          <a:pt x="993" y="75900"/>
                          <a:pt x="993" y="67467"/>
                        </a:cubicBezTo>
                        <a:cubicBezTo>
                          <a:pt x="993" y="59033"/>
                          <a:pt x="2480" y="59033"/>
                          <a:pt x="2480" y="50600"/>
                        </a:cubicBezTo>
                        <a:cubicBezTo>
                          <a:pt x="2480" y="42167"/>
                          <a:pt x="2480" y="42167"/>
                          <a:pt x="2480" y="33733"/>
                        </a:cubicBezTo>
                        <a:cubicBezTo>
                          <a:pt x="2480" y="25300"/>
                          <a:pt x="2480" y="25300"/>
                          <a:pt x="2480" y="16867"/>
                        </a:cubicBezTo>
                        <a:cubicBezTo>
                          <a:pt x="2480" y="8433"/>
                          <a:pt x="0" y="8433"/>
                          <a:pt x="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5" name="Freeform: Shape 1594">
                    <a:extLst>
                      <a:ext uri="{FF2B5EF4-FFF2-40B4-BE49-F238E27FC236}">
                        <a16:creationId xmlns:a16="http://schemas.microsoft.com/office/drawing/2014/main" id="{DF83FE7E-2108-9687-6B0C-6B04B8F0BE23}"/>
                      </a:ext>
                    </a:extLst>
                  </p:cNvPr>
                  <p:cNvSpPr/>
                  <p:nvPr/>
                </p:nvSpPr>
                <p:spPr>
                  <a:xfrm>
                    <a:off x="6098155" y="2833100"/>
                    <a:ext cx="1984" cy="151800"/>
                  </a:xfrm>
                  <a:custGeom>
                    <a:avLst/>
                    <a:gdLst>
                      <a:gd name="connsiteX0" fmla="*/ 1984 w 1984"/>
                      <a:gd name="connsiteY0" fmla="*/ 0 h 151800"/>
                      <a:gd name="connsiteX1" fmla="*/ 496 w 1984"/>
                      <a:gd name="connsiteY1" fmla="*/ 16867 h 151800"/>
                      <a:gd name="connsiteX2" fmla="*/ 1984 w 1984"/>
                      <a:gd name="connsiteY2" fmla="*/ 33734 h 151800"/>
                      <a:gd name="connsiteX3" fmla="*/ 0 w 1984"/>
                      <a:gd name="connsiteY3" fmla="*/ 50600 h 151800"/>
                      <a:gd name="connsiteX4" fmla="*/ 0 w 1984"/>
                      <a:gd name="connsiteY4" fmla="*/ 67467 h 151800"/>
                      <a:gd name="connsiteX5" fmla="*/ 496 w 1984"/>
                      <a:gd name="connsiteY5" fmla="*/ 84333 h 151800"/>
                      <a:gd name="connsiteX6" fmla="*/ 993 w 1984"/>
                      <a:gd name="connsiteY6" fmla="*/ 101200 h 151800"/>
                      <a:gd name="connsiteX7" fmla="*/ 1984 w 1984"/>
                      <a:gd name="connsiteY7" fmla="*/ 118067 h 151800"/>
                      <a:gd name="connsiteX8" fmla="*/ 496 w 1984"/>
                      <a:gd name="connsiteY8" fmla="*/ 134933 h 151800"/>
                      <a:gd name="connsiteX9" fmla="*/ 1984 w 1984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984" h="151800">
                        <a:moveTo>
                          <a:pt x="1984" y="0"/>
                        </a:moveTo>
                        <a:cubicBezTo>
                          <a:pt x="1984" y="8433"/>
                          <a:pt x="496" y="8433"/>
                          <a:pt x="496" y="16867"/>
                        </a:cubicBezTo>
                        <a:cubicBezTo>
                          <a:pt x="496" y="25300"/>
                          <a:pt x="1984" y="25300"/>
                          <a:pt x="1984" y="33734"/>
                        </a:cubicBezTo>
                        <a:cubicBezTo>
                          <a:pt x="1984" y="42167"/>
                          <a:pt x="0" y="42167"/>
                          <a:pt x="0" y="50600"/>
                        </a:cubicBezTo>
                        <a:cubicBezTo>
                          <a:pt x="0" y="59033"/>
                          <a:pt x="0" y="59033"/>
                          <a:pt x="0" y="67467"/>
                        </a:cubicBezTo>
                        <a:cubicBezTo>
                          <a:pt x="0" y="75900"/>
                          <a:pt x="496" y="75900"/>
                          <a:pt x="496" y="84333"/>
                        </a:cubicBezTo>
                        <a:cubicBezTo>
                          <a:pt x="496" y="92767"/>
                          <a:pt x="993" y="92767"/>
                          <a:pt x="993" y="101200"/>
                        </a:cubicBezTo>
                        <a:cubicBezTo>
                          <a:pt x="993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496" y="126500"/>
                          <a:pt x="496" y="134933"/>
                        </a:cubicBezTo>
                        <a:cubicBezTo>
                          <a:pt x="496" y="143367"/>
                          <a:pt x="1984" y="143367"/>
                          <a:pt x="1984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79" name="Graphic 10">
                  <a:extLst>
                    <a:ext uri="{FF2B5EF4-FFF2-40B4-BE49-F238E27FC236}">
                      <a16:creationId xmlns:a16="http://schemas.microsoft.com/office/drawing/2014/main" id="{4FE666FC-A0E0-3DD3-8C38-AFBAD1468B1E}"/>
                    </a:ext>
                  </a:extLst>
                </p:cNvPr>
                <p:cNvGrpSpPr/>
                <p:nvPr/>
              </p:nvGrpSpPr>
              <p:grpSpPr>
                <a:xfrm>
                  <a:off x="6151732" y="2814249"/>
                  <a:ext cx="18850" cy="170650"/>
                  <a:chOff x="6151732" y="2814249"/>
                  <a:chExt cx="18850" cy="170650"/>
                </a:xfrm>
                <a:noFill/>
              </p:grpSpPr>
              <p:sp>
                <p:nvSpPr>
                  <p:cNvPr id="1592" name="Freeform: Shape 1591">
                    <a:extLst>
                      <a:ext uri="{FF2B5EF4-FFF2-40B4-BE49-F238E27FC236}">
                        <a16:creationId xmlns:a16="http://schemas.microsoft.com/office/drawing/2014/main" id="{1F7FA43D-A262-77E9-85C5-FD5E5FBFAE0E}"/>
                      </a:ext>
                    </a:extLst>
                  </p:cNvPr>
                  <p:cNvSpPr/>
                  <p:nvPr/>
                </p:nvSpPr>
                <p:spPr>
                  <a:xfrm>
                    <a:off x="6151732" y="2814249"/>
                    <a:ext cx="2480" cy="168666"/>
                  </a:xfrm>
                  <a:custGeom>
                    <a:avLst/>
                    <a:gdLst>
                      <a:gd name="connsiteX0" fmla="*/ 1488 w 2480"/>
                      <a:gd name="connsiteY0" fmla="*/ 168666 h 168666"/>
                      <a:gd name="connsiteX1" fmla="*/ 1984 w 2480"/>
                      <a:gd name="connsiteY1" fmla="*/ 151800 h 168666"/>
                      <a:gd name="connsiteX2" fmla="*/ 1488 w 2480"/>
                      <a:gd name="connsiteY2" fmla="*/ 134933 h 168666"/>
                      <a:gd name="connsiteX3" fmla="*/ 496 w 2480"/>
                      <a:gd name="connsiteY3" fmla="*/ 118066 h 168666"/>
                      <a:gd name="connsiteX4" fmla="*/ 0 w 2480"/>
                      <a:gd name="connsiteY4" fmla="*/ 101200 h 168666"/>
                      <a:gd name="connsiteX5" fmla="*/ 992 w 2480"/>
                      <a:gd name="connsiteY5" fmla="*/ 84333 h 168666"/>
                      <a:gd name="connsiteX6" fmla="*/ 1488 w 2480"/>
                      <a:gd name="connsiteY6" fmla="*/ 67467 h 168666"/>
                      <a:gd name="connsiteX7" fmla="*/ 992 w 2480"/>
                      <a:gd name="connsiteY7" fmla="*/ 50600 h 168666"/>
                      <a:gd name="connsiteX8" fmla="*/ 1488 w 2480"/>
                      <a:gd name="connsiteY8" fmla="*/ 33733 h 168666"/>
                      <a:gd name="connsiteX9" fmla="*/ 1984 w 2480"/>
                      <a:gd name="connsiteY9" fmla="*/ 16867 h 168666"/>
                      <a:gd name="connsiteX10" fmla="*/ 248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488" y="168666"/>
                        </a:moveTo>
                        <a:cubicBezTo>
                          <a:pt x="1488" y="160233"/>
                          <a:pt x="1984" y="160233"/>
                          <a:pt x="1984" y="151800"/>
                        </a:cubicBezTo>
                        <a:cubicBezTo>
                          <a:pt x="1984" y="143367"/>
                          <a:pt x="1488" y="143367"/>
                          <a:pt x="1488" y="134933"/>
                        </a:cubicBezTo>
                        <a:cubicBezTo>
                          <a:pt x="1488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0" y="109633"/>
                          <a:pt x="0" y="101200"/>
                        </a:cubicBezTo>
                        <a:cubicBezTo>
                          <a:pt x="0" y="92767"/>
                          <a:pt x="992" y="92767"/>
                          <a:pt x="992" y="84333"/>
                        </a:cubicBezTo>
                        <a:cubicBezTo>
                          <a:pt x="992" y="75900"/>
                          <a:pt x="1488" y="75900"/>
                          <a:pt x="1488" y="67467"/>
                        </a:cubicBezTo>
                        <a:cubicBezTo>
                          <a:pt x="1488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1488" y="42167"/>
                          <a:pt x="1488" y="33733"/>
                        </a:cubicBezTo>
                        <a:cubicBezTo>
                          <a:pt x="1488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2480" y="8433"/>
                          <a:pt x="248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3" name="Freeform: Shape 1592">
                    <a:extLst>
                      <a:ext uri="{FF2B5EF4-FFF2-40B4-BE49-F238E27FC236}">
                        <a16:creationId xmlns:a16="http://schemas.microsoft.com/office/drawing/2014/main" id="{96A8AA3C-E754-ACEA-10CB-55126CFCF515}"/>
                      </a:ext>
                    </a:extLst>
                  </p:cNvPr>
                  <p:cNvSpPr/>
                  <p:nvPr/>
                </p:nvSpPr>
                <p:spPr>
                  <a:xfrm>
                    <a:off x="6168102" y="2833100"/>
                    <a:ext cx="2480" cy="151800"/>
                  </a:xfrm>
                  <a:custGeom>
                    <a:avLst/>
                    <a:gdLst>
                      <a:gd name="connsiteX0" fmla="*/ 1488 w 2480"/>
                      <a:gd name="connsiteY0" fmla="*/ 0 h 151800"/>
                      <a:gd name="connsiteX1" fmla="*/ 1984 w 2480"/>
                      <a:gd name="connsiteY1" fmla="*/ 16867 h 151800"/>
                      <a:gd name="connsiteX2" fmla="*/ 1488 w 2480"/>
                      <a:gd name="connsiteY2" fmla="*/ 33734 h 151800"/>
                      <a:gd name="connsiteX3" fmla="*/ 993 w 2480"/>
                      <a:gd name="connsiteY3" fmla="*/ 50600 h 151800"/>
                      <a:gd name="connsiteX4" fmla="*/ 497 w 2480"/>
                      <a:gd name="connsiteY4" fmla="*/ 67467 h 151800"/>
                      <a:gd name="connsiteX5" fmla="*/ 2480 w 2480"/>
                      <a:gd name="connsiteY5" fmla="*/ 84333 h 151800"/>
                      <a:gd name="connsiteX6" fmla="*/ 993 w 2480"/>
                      <a:gd name="connsiteY6" fmla="*/ 101200 h 151800"/>
                      <a:gd name="connsiteX7" fmla="*/ 993 w 2480"/>
                      <a:gd name="connsiteY7" fmla="*/ 118067 h 151800"/>
                      <a:gd name="connsiteX8" fmla="*/ 0 w 2480"/>
                      <a:gd name="connsiteY8" fmla="*/ 134933 h 151800"/>
                      <a:gd name="connsiteX9" fmla="*/ 497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1488" y="0"/>
                        </a:moveTo>
                        <a:cubicBezTo>
                          <a:pt x="1488" y="8433"/>
                          <a:pt x="1984" y="8433"/>
                          <a:pt x="1984" y="16867"/>
                        </a:cubicBezTo>
                        <a:cubicBezTo>
                          <a:pt x="1984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993" y="42167"/>
                          <a:pt x="993" y="50600"/>
                        </a:cubicBezTo>
                        <a:cubicBezTo>
                          <a:pt x="993" y="59033"/>
                          <a:pt x="497" y="59033"/>
                          <a:pt x="497" y="67467"/>
                        </a:cubicBezTo>
                        <a:cubicBezTo>
                          <a:pt x="497" y="75900"/>
                          <a:pt x="2480" y="75900"/>
                          <a:pt x="2480" y="84333"/>
                        </a:cubicBezTo>
                        <a:cubicBezTo>
                          <a:pt x="2480" y="92767"/>
                          <a:pt x="993" y="92767"/>
                          <a:pt x="993" y="101200"/>
                        </a:cubicBezTo>
                        <a:cubicBezTo>
                          <a:pt x="993" y="109633"/>
                          <a:pt x="993" y="109633"/>
                          <a:pt x="993" y="118067"/>
                        </a:cubicBezTo>
                        <a:cubicBezTo>
                          <a:pt x="993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497" y="143367"/>
                          <a:pt x="497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0" name="Graphic 10">
                  <a:extLst>
                    <a:ext uri="{FF2B5EF4-FFF2-40B4-BE49-F238E27FC236}">
                      <a16:creationId xmlns:a16="http://schemas.microsoft.com/office/drawing/2014/main" id="{39100B04-01D4-AEC7-DF5D-28640C66743F}"/>
                    </a:ext>
                  </a:extLst>
                </p:cNvPr>
                <p:cNvGrpSpPr/>
                <p:nvPr/>
              </p:nvGrpSpPr>
              <p:grpSpPr>
                <a:xfrm>
                  <a:off x="6221679" y="2814249"/>
                  <a:ext cx="19347" cy="170650"/>
                  <a:chOff x="6221679" y="2814249"/>
                  <a:chExt cx="19347" cy="170650"/>
                </a:xfrm>
                <a:noFill/>
              </p:grpSpPr>
              <p:sp>
                <p:nvSpPr>
                  <p:cNvPr id="1590" name="Freeform: Shape 1589">
                    <a:extLst>
                      <a:ext uri="{FF2B5EF4-FFF2-40B4-BE49-F238E27FC236}">
                        <a16:creationId xmlns:a16="http://schemas.microsoft.com/office/drawing/2014/main" id="{7596F632-3243-11C3-D3B9-F14859D20021}"/>
                      </a:ext>
                    </a:extLst>
                  </p:cNvPr>
                  <p:cNvSpPr/>
                  <p:nvPr/>
                </p:nvSpPr>
                <p:spPr>
                  <a:xfrm>
                    <a:off x="6221679" y="2814249"/>
                    <a:ext cx="2480" cy="168666"/>
                  </a:xfrm>
                  <a:custGeom>
                    <a:avLst/>
                    <a:gdLst>
                      <a:gd name="connsiteX0" fmla="*/ 1984 w 2480"/>
                      <a:gd name="connsiteY0" fmla="*/ 168666 h 168666"/>
                      <a:gd name="connsiteX1" fmla="*/ 1488 w 2480"/>
                      <a:gd name="connsiteY1" fmla="*/ 151800 h 168666"/>
                      <a:gd name="connsiteX2" fmla="*/ 496 w 2480"/>
                      <a:gd name="connsiteY2" fmla="*/ 134933 h 168666"/>
                      <a:gd name="connsiteX3" fmla="*/ 496 w 2480"/>
                      <a:gd name="connsiteY3" fmla="*/ 118066 h 168666"/>
                      <a:gd name="connsiteX4" fmla="*/ 1488 w 2480"/>
                      <a:gd name="connsiteY4" fmla="*/ 101200 h 168666"/>
                      <a:gd name="connsiteX5" fmla="*/ 2480 w 2480"/>
                      <a:gd name="connsiteY5" fmla="*/ 84333 h 168666"/>
                      <a:gd name="connsiteX6" fmla="*/ 0 w 2480"/>
                      <a:gd name="connsiteY6" fmla="*/ 67467 h 168666"/>
                      <a:gd name="connsiteX7" fmla="*/ 1984 w 2480"/>
                      <a:gd name="connsiteY7" fmla="*/ 50600 h 168666"/>
                      <a:gd name="connsiteX8" fmla="*/ 1488 w 2480"/>
                      <a:gd name="connsiteY8" fmla="*/ 33733 h 168666"/>
                      <a:gd name="connsiteX9" fmla="*/ 1984 w 2480"/>
                      <a:gd name="connsiteY9" fmla="*/ 16867 h 168666"/>
                      <a:gd name="connsiteX10" fmla="*/ 496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984" y="168666"/>
                        </a:moveTo>
                        <a:cubicBezTo>
                          <a:pt x="1984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496" y="143367"/>
                          <a:pt x="496" y="134933"/>
                        </a:cubicBezTo>
                        <a:cubicBezTo>
                          <a:pt x="496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1488" y="109633"/>
                          <a:pt x="1488" y="101200"/>
                        </a:cubicBezTo>
                        <a:cubicBezTo>
                          <a:pt x="1488" y="92767"/>
                          <a:pt x="2480" y="92767"/>
                          <a:pt x="2480" y="84333"/>
                        </a:cubicBezTo>
                        <a:cubicBezTo>
                          <a:pt x="2480" y="75900"/>
                          <a:pt x="0" y="75900"/>
                          <a:pt x="0" y="67467"/>
                        </a:cubicBezTo>
                        <a:cubicBezTo>
                          <a:pt x="0" y="59033"/>
                          <a:pt x="1984" y="59033"/>
                          <a:pt x="1984" y="50600"/>
                        </a:cubicBezTo>
                        <a:cubicBezTo>
                          <a:pt x="1984" y="42167"/>
                          <a:pt x="1488" y="42167"/>
                          <a:pt x="1488" y="33733"/>
                        </a:cubicBezTo>
                        <a:cubicBezTo>
                          <a:pt x="1488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1" name="Freeform: Shape 1590">
                    <a:extLst>
                      <a:ext uri="{FF2B5EF4-FFF2-40B4-BE49-F238E27FC236}">
                        <a16:creationId xmlns:a16="http://schemas.microsoft.com/office/drawing/2014/main" id="{DAE8081B-461C-44A6-7F82-EF6246DA7C33}"/>
                      </a:ext>
                    </a:extLst>
                  </p:cNvPr>
                  <p:cNvSpPr/>
                  <p:nvPr/>
                </p:nvSpPr>
                <p:spPr>
                  <a:xfrm>
                    <a:off x="6238546" y="2833100"/>
                    <a:ext cx="2480" cy="151800"/>
                  </a:xfrm>
                  <a:custGeom>
                    <a:avLst/>
                    <a:gdLst>
                      <a:gd name="connsiteX0" fmla="*/ 496 w 2480"/>
                      <a:gd name="connsiteY0" fmla="*/ 0 h 151800"/>
                      <a:gd name="connsiteX1" fmla="*/ 992 w 2480"/>
                      <a:gd name="connsiteY1" fmla="*/ 16867 h 151800"/>
                      <a:gd name="connsiteX2" fmla="*/ 1488 w 2480"/>
                      <a:gd name="connsiteY2" fmla="*/ 33734 h 151800"/>
                      <a:gd name="connsiteX3" fmla="*/ 1984 w 2480"/>
                      <a:gd name="connsiteY3" fmla="*/ 50600 h 151800"/>
                      <a:gd name="connsiteX4" fmla="*/ 2480 w 2480"/>
                      <a:gd name="connsiteY4" fmla="*/ 67467 h 151800"/>
                      <a:gd name="connsiteX5" fmla="*/ 2480 w 2480"/>
                      <a:gd name="connsiteY5" fmla="*/ 84333 h 151800"/>
                      <a:gd name="connsiteX6" fmla="*/ 496 w 2480"/>
                      <a:gd name="connsiteY6" fmla="*/ 101200 h 151800"/>
                      <a:gd name="connsiteX7" fmla="*/ 496 w 2480"/>
                      <a:gd name="connsiteY7" fmla="*/ 118067 h 151800"/>
                      <a:gd name="connsiteX8" fmla="*/ 0 w 2480"/>
                      <a:gd name="connsiteY8" fmla="*/ 134933 h 151800"/>
                      <a:gd name="connsiteX9" fmla="*/ 1488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496" y="0"/>
                        </a:moveTo>
                        <a:cubicBezTo>
                          <a:pt x="496" y="8433"/>
                          <a:pt x="992" y="8433"/>
                          <a:pt x="992" y="16867"/>
                        </a:cubicBezTo>
                        <a:cubicBezTo>
                          <a:pt x="992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1984" y="42167"/>
                          <a:pt x="1984" y="50600"/>
                        </a:cubicBezTo>
                        <a:cubicBezTo>
                          <a:pt x="1984" y="59033"/>
                          <a:pt x="2480" y="59033"/>
                          <a:pt x="2480" y="67467"/>
                        </a:cubicBezTo>
                        <a:cubicBezTo>
                          <a:pt x="2480" y="75900"/>
                          <a:pt x="2480" y="75900"/>
                          <a:pt x="2480" y="84333"/>
                        </a:cubicBezTo>
                        <a:cubicBezTo>
                          <a:pt x="2480" y="92767"/>
                          <a:pt x="496" y="92767"/>
                          <a:pt x="496" y="101200"/>
                        </a:cubicBezTo>
                        <a:cubicBezTo>
                          <a:pt x="496" y="109633"/>
                          <a:pt x="496" y="109633"/>
                          <a:pt x="496" y="118067"/>
                        </a:cubicBezTo>
                        <a:cubicBezTo>
                          <a:pt x="496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1488" y="143367"/>
                          <a:pt x="1488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1" name="Graphic 10">
                  <a:extLst>
                    <a:ext uri="{FF2B5EF4-FFF2-40B4-BE49-F238E27FC236}">
                      <a16:creationId xmlns:a16="http://schemas.microsoft.com/office/drawing/2014/main" id="{84B95AB3-F297-9E7A-80F5-CFC38E75F3FC}"/>
                    </a:ext>
                  </a:extLst>
                </p:cNvPr>
                <p:cNvGrpSpPr/>
                <p:nvPr/>
              </p:nvGrpSpPr>
              <p:grpSpPr>
                <a:xfrm>
                  <a:off x="6292618" y="2814249"/>
                  <a:ext cx="18850" cy="170650"/>
                  <a:chOff x="6292618" y="2814249"/>
                  <a:chExt cx="18850" cy="170650"/>
                </a:xfrm>
                <a:noFill/>
              </p:grpSpPr>
              <p:sp>
                <p:nvSpPr>
                  <p:cNvPr id="1588" name="Freeform: Shape 1587">
                    <a:extLst>
                      <a:ext uri="{FF2B5EF4-FFF2-40B4-BE49-F238E27FC236}">
                        <a16:creationId xmlns:a16="http://schemas.microsoft.com/office/drawing/2014/main" id="{EB0EE5CA-591D-BA66-036E-2809F7948C40}"/>
                      </a:ext>
                    </a:extLst>
                  </p:cNvPr>
                  <p:cNvSpPr/>
                  <p:nvPr/>
                </p:nvSpPr>
                <p:spPr>
                  <a:xfrm>
                    <a:off x="6292618" y="2814249"/>
                    <a:ext cx="1487" cy="168666"/>
                  </a:xfrm>
                  <a:custGeom>
                    <a:avLst/>
                    <a:gdLst>
                      <a:gd name="connsiteX0" fmla="*/ 496 w 1487"/>
                      <a:gd name="connsiteY0" fmla="*/ 168666 h 168666"/>
                      <a:gd name="connsiteX1" fmla="*/ 1488 w 1487"/>
                      <a:gd name="connsiteY1" fmla="*/ 151800 h 168666"/>
                      <a:gd name="connsiteX2" fmla="*/ 0 w 1487"/>
                      <a:gd name="connsiteY2" fmla="*/ 134933 h 168666"/>
                      <a:gd name="connsiteX3" fmla="*/ 1488 w 1487"/>
                      <a:gd name="connsiteY3" fmla="*/ 118066 h 168666"/>
                      <a:gd name="connsiteX4" fmla="*/ 496 w 1487"/>
                      <a:gd name="connsiteY4" fmla="*/ 101200 h 168666"/>
                      <a:gd name="connsiteX5" fmla="*/ 496 w 1487"/>
                      <a:gd name="connsiteY5" fmla="*/ 84333 h 168666"/>
                      <a:gd name="connsiteX6" fmla="*/ 496 w 1487"/>
                      <a:gd name="connsiteY6" fmla="*/ 67467 h 168666"/>
                      <a:gd name="connsiteX7" fmla="*/ 992 w 1487"/>
                      <a:gd name="connsiteY7" fmla="*/ 50600 h 168666"/>
                      <a:gd name="connsiteX8" fmla="*/ 496 w 1487"/>
                      <a:gd name="connsiteY8" fmla="*/ 33733 h 168666"/>
                      <a:gd name="connsiteX9" fmla="*/ 992 w 1487"/>
                      <a:gd name="connsiteY9" fmla="*/ 16867 h 168666"/>
                      <a:gd name="connsiteX10" fmla="*/ 496 w 1487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487" h="168666">
                        <a:moveTo>
                          <a:pt x="496" y="168666"/>
                        </a:moveTo>
                        <a:cubicBezTo>
                          <a:pt x="496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0" y="143367"/>
                          <a:pt x="0" y="134933"/>
                        </a:cubicBezTo>
                        <a:cubicBezTo>
                          <a:pt x="0" y="126500"/>
                          <a:pt x="1488" y="126500"/>
                          <a:pt x="1488" y="118066"/>
                        </a:cubicBezTo>
                        <a:cubicBezTo>
                          <a:pt x="1488" y="109633"/>
                          <a:pt x="496" y="109633"/>
                          <a:pt x="496" y="101200"/>
                        </a:cubicBezTo>
                        <a:cubicBezTo>
                          <a:pt x="496" y="92767"/>
                          <a:pt x="496" y="92767"/>
                          <a:pt x="496" y="84333"/>
                        </a:cubicBezTo>
                        <a:cubicBezTo>
                          <a:pt x="496" y="75900"/>
                          <a:pt x="496" y="75900"/>
                          <a:pt x="496" y="67467"/>
                        </a:cubicBezTo>
                        <a:cubicBezTo>
                          <a:pt x="496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496" y="42167"/>
                          <a:pt x="496" y="33733"/>
                        </a:cubicBezTo>
                        <a:cubicBezTo>
                          <a:pt x="496" y="25300"/>
                          <a:pt x="992" y="25300"/>
                          <a:pt x="992" y="16867"/>
                        </a:cubicBezTo>
                        <a:cubicBezTo>
                          <a:pt x="992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9" name="Freeform: Shape 1588">
                    <a:extLst>
                      <a:ext uri="{FF2B5EF4-FFF2-40B4-BE49-F238E27FC236}">
                        <a16:creationId xmlns:a16="http://schemas.microsoft.com/office/drawing/2014/main" id="{CF902D36-9983-5009-AE28-567159C9D6F9}"/>
                      </a:ext>
                    </a:extLst>
                  </p:cNvPr>
                  <p:cNvSpPr/>
                  <p:nvPr/>
                </p:nvSpPr>
                <p:spPr>
                  <a:xfrm>
                    <a:off x="6308989" y="2833100"/>
                    <a:ext cx="2480" cy="151800"/>
                  </a:xfrm>
                  <a:custGeom>
                    <a:avLst/>
                    <a:gdLst>
                      <a:gd name="connsiteX0" fmla="*/ 2480 w 2480"/>
                      <a:gd name="connsiteY0" fmla="*/ 0 h 151800"/>
                      <a:gd name="connsiteX1" fmla="*/ 0 w 2480"/>
                      <a:gd name="connsiteY1" fmla="*/ 16867 h 151800"/>
                      <a:gd name="connsiteX2" fmla="*/ 496 w 2480"/>
                      <a:gd name="connsiteY2" fmla="*/ 33734 h 151800"/>
                      <a:gd name="connsiteX3" fmla="*/ 0 w 2480"/>
                      <a:gd name="connsiteY3" fmla="*/ 50600 h 151800"/>
                      <a:gd name="connsiteX4" fmla="*/ 993 w 2480"/>
                      <a:gd name="connsiteY4" fmla="*/ 67467 h 151800"/>
                      <a:gd name="connsiteX5" fmla="*/ 993 w 2480"/>
                      <a:gd name="connsiteY5" fmla="*/ 84333 h 151800"/>
                      <a:gd name="connsiteX6" fmla="*/ 496 w 2480"/>
                      <a:gd name="connsiteY6" fmla="*/ 101200 h 151800"/>
                      <a:gd name="connsiteX7" fmla="*/ 1984 w 2480"/>
                      <a:gd name="connsiteY7" fmla="*/ 118067 h 151800"/>
                      <a:gd name="connsiteX8" fmla="*/ 496 w 2480"/>
                      <a:gd name="connsiteY8" fmla="*/ 134933 h 151800"/>
                      <a:gd name="connsiteX9" fmla="*/ 1488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2480" y="0"/>
                        </a:moveTo>
                        <a:cubicBezTo>
                          <a:pt x="2480" y="8433"/>
                          <a:pt x="0" y="8433"/>
                          <a:pt x="0" y="16867"/>
                        </a:cubicBezTo>
                        <a:cubicBezTo>
                          <a:pt x="0" y="25300"/>
                          <a:pt x="496" y="25300"/>
                          <a:pt x="496" y="33734"/>
                        </a:cubicBezTo>
                        <a:cubicBezTo>
                          <a:pt x="496" y="42167"/>
                          <a:pt x="0" y="42167"/>
                          <a:pt x="0" y="50600"/>
                        </a:cubicBezTo>
                        <a:cubicBezTo>
                          <a:pt x="0" y="59033"/>
                          <a:pt x="993" y="59033"/>
                          <a:pt x="993" y="67467"/>
                        </a:cubicBezTo>
                        <a:cubicBezTo>
                          <a:pt x="993" y="75900"/>
                          <a:pt x="993" y="75900"/>
                          <a:pt x="993" y="84333"/>
                        </a:cubicBezTo>
                        <a:cubicBezTo>
                          <a:pt x="993" y="92767"/>
                          <a:pt x="496" y="92767"/>
                          <a:pt x="496" y="101200"/>
                        </a:cubicBezTo>
                        <a:cubicBezTo>
                          <a:pt x="496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496" y="126500"/>
                          <a:pt x="496" y="134933"/>
                        </a:cubicBezTo>
                        <a:cubicBezTo>
                          <a:pt x="496" y="143367"/>
                          <a:pt x="1488" y="143367"/>
                          <a:pt x="1488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2" name="Graphic 10">
                  <a:extLst>
                    <a:ext uri="{FF2B5EF4-FFF2-40B4-BE49-F238E27FC236}">
                      <a16:creationId xmlns:a16="http://schemas.microsoft.com/office/drawing/2014/main" id="{72252E47-7169-12D7-3234-C5F168D7096F}"/>
                    </a:ext>
                  </a:extLst>
                </p:cNvPr>
                <p:cNvGrpSpPr/>
                <p:nvPr/>
              </p:nvGrpSpPr>
              <p:grpSpPr>
                <a:xfrm>
                  <a:off x="6362565" y="2814249"/>
                  <a:ext cx="18354" cy="170650"/>
                  <a:chOff x="6362565" y="2814249"/>
                  <a:chExt cx="18354" cy="170650"/>
                </a:xfrm>
                <a:noFill/>
              </p:grpSpPr>
              <p:sp>
                <p:nvSpPr>
                  <p:cNvPr id="1586" name="Freeform: Shape 1585">
                    <a:extLst>
                      <a:ext uri="{FF2B5EF4-FFF2-40B4-BE49-F238E27FC236}">
                        <a16:creationId xmlns:a16="http://schemas.microsoft.com/office/drawing/2014/main" id="{49CFE53A-47B9-E3BE-F708-64A02F2C2B01}"/>
                      </a:ext>
                    </a:extLst>
                  </p:cNvPr>
                  <p:cNvSpPr/>
                  <p:nvPr/>
                </p:nvSpPr>
                <p:spPr>
                  <a:xfrm>
                    <a:off x="6362565" y="2814249"/>
                    <a:ext cx="1487" cy="168666"/>
                  </a:xfrm>
                  <a:custGeom>
                    <a:avLst/>
                    <a:gdLst>
                      <a:gd name="connsiteX0" fmla="*/ 0 w 1487"/>
                      <a:gd name="connsiteY0" fmla="*/ 168666 h 168666"/>
                      <a:gd name="connsiteX1" fmla="*/ 1488 w 1487"/>
                      <a:gd name="connsiteY1" fmla="*/ 151800 h 168666"/>
                      <a:gd name="connsiteX2" fmla="*/ 0 w 1487"/>
                      <a:gd name="connsiteY2" fmla="*/ 134933 h 168666"/>
                      <a:gd name="connsiteX3" fmla="*/ 496 w 1487"/>
                      <a:gd name="connsiteY3" fmla="*/ 118066 h 168666"/>
                      <a:gd name="connsiteX4" fmla="*/ 1488 w 1487"/>
                      <a:gd name="connsiteY4" fmla="*/ 101200 h 168666"/>
                      <a:gd name="connsiteX5" fmla="*/ 1488 w 1487"/>
                      <a:gd name="connsiteY5" fmla="*/ 84333 h 168666"/>
                      <a:gd name="connsiteX6" fmla="*/ 0 w 1487"/>
                      <a:gd name="connsiteY6" fmla="*/ 67467 h 168666"/>
                      <a:gd name="connsiteX7" fmla="*/ 496 w 1487"/>
                      <a:gd name="connsiteY7" fmla="*/ 50600 h 168666"/>
                      <a:gd name="connsiteX8" fmla="*/ 992 w 1487"/>
                      <a:gd name="connsiteY8" fmla="*/ 33733 h 168666"/>
                      <a:gd name="connsiteX9" fmla="*/ 0 w 1487"/>
                      <a:gd name="connsiteY9" fmla="*/ 16867 h 168666"/>
                      <a:gd name="connsiteX10" fmla="*/ 992 w 1487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487" h="168666">
                        <a:moveTo>
                          <a:pt x="0" y="168666"/>
                        </a:moveTo>
                        <a:cubicBezTo>
                          <a:pt x="0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0" y="143367"/>
                          <a:pt x="0" y="134933"/>
                        </a:cubicBezTo>
                        <a:cubicBezTo>
                          <a:pt x="0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1488" y="109633"/>
                          <a:pt x="1488" y="101200"/>
                        </a:cubicBezTo>
                        <a:cubicBezTo>
                          <a:pt x="1488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0" y="75900"/>
                          <a:pt x="0" y="67467"/>
                        </a:cubicBezTo>
                        <a:cubicBezTo>
                          <a:pt x="0" y="59033"/>
                          <a:pt x="496" y="59033"/>
                          <a:pt x="496" y="50600"/>
                        </a:cubicBezTo>
                        <a:cubicBezTo>
                          <a:pt x="496" y="42167"/>
                          <a:pt x="992" y="42167"/>
                          <a:pt x="992" y="33733"/>
                        </a:cubicBezTo>
                        <a:cubicBezTo>
                          <a:pt x="992" y="25300"/>
                          <a:pt x="0" y="25300"/>
                          <a:pt x="0" y="16867"/>
                        </a:cubicBezTo>
                        <a:cubicBezTo>
                          <a:pt x="0" y="8433"/>
                          <a:pt x="992" y="8433"/>
                          <a:pt x="992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7" name="Freeform: Shape 1586">
                    <a:extLst>
                      <a:ext uri="{FF2B5EF4-FFF2-40B4-BE49-F238E27FC236}">
                        <a16:creationId xmlns:a16="http://schemas.microsoft.com/office/drawing/2014/main" id="{7B3DD097-B783-2874-C022-C4BDEC4B059F}"/>
                      </a:ext>
                    </a:extLst>
                  </p:cNvPr>
                  <p:cNvSpPr/>
                  <p:nvPr/>
                </p:nvSpPr>
                <p:spPr>
                  <a:xfrm>
                    <a:off x="6378935" y="2833100"/>
                    <a:ext cx="1984" cy="151800"/>
                  </a:xfrm>
                  <a:custGeom>
                    <a:avLst/>
                    <a:gdLst>
                      <a:gd name="connsiteX0" fmla="*/ 497 w 1984"/>
                      <a:gd name="connsiteY0" fmla="*/ 0 h 151800"/>
                      <a:gd name="connsiteX1" fmla="*/ 993 w 1984"/>
                      <a:gd name="connsiteY1" fmla="*/ 16867 h 151800"/>
                      <a:gd name="connsiteX2" fmla="*/ 1488 w 1984"/>
                      <a:gd name="connsiteY2" fmla="*/ 33734 h 151800"/>
                      <a:gd name="connsiteX3" fmla="*/ 1984 w 1984"/>
                      <a:gd name="connsiteY3" fmla="*/ 50600 h 151800"/>
                      <a:gd name="connsiteX4" fmla="*/ 1984 w 1984"/>
                      <a:gd name="connsiteY4" fmla="*/ 67467 h 151800"/>
                      <a:gd name="connsiteX5" fmla="*/ 497 w 1984"/>
                      <a:gd name="connsiteY5" fmla="*/ 84333 h 151800"/>
                      <a:gd name="connsiteX6" fmla="*/ 1984 w 1984"/>
                      <a:gd name="connsiteY6" fmla="*/ 101200 h 151800"/>
                      <a:gd name="connsiteX7" fmla="*/ 1984 w 1984"/>
                      <a:gd name="connsiteY7" fmla="*/ 118067 h 151800"/>
                      <a:gd name="connsiteX8" fmla="*/ 0 w 1984"/>
                      <a:gd name="connsiteY8" fmla="*/ 134933 h 151800"/>
                      <a:gd name="connsiteX9" fmla="*/ 993 w 1984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984" h="151800">
                        <a:moveTo>
                          <a:pt x="497" y="0"/>
                        </a:moveTo>
                        <a:cubicBezTo>
                          <a:pt x="497" y="8433"/>
                          <a:pt x="993" y="8433"/>
                          <a:pt x="993" y="16867"/>
                        </a:cubicBezTo>
                        <a:cubicBezTo>
                          <a:pt x="993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1984" y="42167"/>
                          <a:pt x="1984" y="50600"/>
                        </a:cubicBezTo>
                        <a:cubicBezTo>
                          <a:pt x="1984" y="59033"/>
                          <a:pt x="1984" y="59033"/>
                          <a:pt x="1984" y="67467"/>
                        </a:cubicBezTo>
                        <a:cubicBezTo>
                          <a:pt x="1984" y="75900"/>
                          <a:pt x="497" y="75900"/>
                          <a:pt x="497" y="84333"/>
                        </a:cubicBezTo>
                        <a:cubicBezTo>
                          <a:pt x="497" y="92767"/>
                          <a:pt x="1984" y="92767"/>
                          <a:pt x="1984" y="101200"/>
                        </a:cubicBezTo>
                        <a:cubicBezTo>
                          <a:pt x="1984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993" y="143367"/>
                          <a:pt x="993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3" name="Graphic 10">
                  <a:extLst>
                    <a:ext uri="{FF2B5EF4-FFF2-40B4-BE49-F238E27FC236}">
                      <a16:creationId xmlns:a16="http://schemas.microsoft.com/office/drawing/2014/main" id="{A52ECA90-8C94-57DF-159A-6D5CD2E2142A}"/>
                    </a:ext>
                  </a:extLst>
                </p:cNvPr>
                <p:cNvGrpSpPr/>
                <p:nvPr/>
              </p:nvGrpSpPr>
              <p:grpSpPr>
                <a:xfrm>
                  <a:off x="6432512" y="2813257"/>
                  <a:ext cx="19347" cy="169658"/>
                  <a:chOff x="6432512" y="2813257"/>
                  <a:chExt cx="19347" cy="169658"/>
                </a:xfrm>
                <a:noFill/>
              </p:grpSpPr>
              <p:sp>
                <p:nvSpPr>
                  <p:cNvPr id="1584" name="Freeform: Shape 1583">
                    <a:extLst>
                      <a:ext uri="{FF2B5EF4-FFF2-40B4-BE49-F238E27FC236}">
                        <a16:creationId xmlns:a16="http://schemas.microsoft.com/office/drawing/2014/main" id="{4CDAEED6-A5E0-4577-5D86-01C097E257B9}"/>
                      </a:ext>
                    </a:extLst>
                  </p:cNvPr>
                  <p:cNvSpPr/>
                  <p:nvPr/>
                </p:nvSpPr>
                <p:spPr>
                  <a:xfrm>
                    <a:off x="6432512" y="2814249"/>
                    <a:ext cx="1984" cy="168666"/>
                  </a:xfrm>
                  <a:custGeom>
                    <a:avLst/>
                    <a:gdLst>
                      <a:gd name="connsiteX0" fmla="*/ 0 w 1984"/>
                      <a:gd name="connsiteY0" fmla="*/ 168666 h 168666"/>
                      <a:gd name="connsiteX1" fmla="*/ 496 w 1984"/>
                      <a:gd name="connsiteY1" fmla="*/ 151800 h 168666"/>
                      <a:gd name="connsiteX2" fmla="*/ 1984 w 1984"/>
                      <a:gd name="connsiteY2" fmla="*/ 134933 h 168666"/>
                      <a:gd name="connsiteX3" fmla="*/ 496 w 1984"/>
                      <a:gd name="connsiteY3" fmla="*/ 118066 h 168666"/>
                      <a:gd name="connsiteX4" fmla="*/ 0 w 1984"/>
                      <a:gd name="connsiteY4" fmla="*/ 101200 h 168666"/>
                      <a:gd name="connsiteX5" fmla="*/ 1488 w 1984"/>
                      <a:gd name="connsiteY5" fmla="*/ 84333 h 168666"/>
                      <a:gd name="connsiteX6" fmla="*/ 992 w 1984"/>
                      <a:gd name="connsiteY6" fmla="*/ 67467 h 168666"/>
                      <a:gd name="connsiteX7" fmla="*/ 992 w 1984"/>
                      <a:gd name="connsiteY7" fmla="*/ 50600 h 168666"/>
                      <a:gd name="connsiteX8" fmla="*/ 1984 w 1984"/>
                      <a:gd name="connsiteY8" fmla="*/ 33733 h 168666"/>
                      <a:gd name="connsiteX9" fmla="*/ 1984 w 1984"/>
                      <a:gd name="connsiteY9" fmla="*/ 16867 h 168666"/>
                      <a:gd name="connsiteX10" fmla="*/ 496 w 1984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984" h="168666">
                        <a:moveTo>
                          <a:pt x="0" y="168666"/>
                        </a:moveTo>
                        <a:cubicBezTo>
                          <a:pt x="0" y="160233"/>
                          <a:pt x="496" y="160233"/>
                          <a:pt x="496" y="151800"/>
                        </a:cubicBezTo>
                        <a:cubicBezTo>
                          <a:pt x="496" y="143367"/>
                          <a:pt x="1984" y="143367"/>
                          <a:pt x="1984" y="134933"/>
                        </a:cubicBezTo>
                        <a:cubicBezTo>
                          <a:pt x="1984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0" y="109633"/>
                          <a:pt x="0" y="101200"/>
                        </a:cubicBezTo>
                        <a:cubicBezTo>
                          <a:pt x="0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992" y="75900"/>
                          <a:pt x="992" y="67467"/>
                        </a:cubicBezTo>
                        <a:cubicBezTo>
                          <a:pt x="992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1984" y="42167"/>
                          <a:pt x="1984" y="33733"/>
                        </a:cubicBezTo>
                        <a:cubicBezTo>
                          <a:pt x="1984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5" name="Freeform: Shape 1584">
                    <a:extLst>
                      <a:ext uri="{FF2B5EF4-FFF2-40B4-BE49-F238E27FC236}">
                        <a16:creationId xmlns:a16="http://schemas.microsoft.com/office/drawing/2014/main" id="{AD0C6B5F-22D1-377F-8695-530C896E959A}"/>
                      </a:ext>
                    </a:extLst>
                  </p:cNvPr>
                  <p:cNvSpPr/>
                  <p:nvPr/>
                </p:nvSpPr>
                <p:spPr>
                  <a:xfrm>
                    <a:off x="6449379" y="2813257"/>
                    <a:ext cx="2480" cy="168666"/>
                  </a:xfrm>
                  <a:custGeom>
                    <a:avLst/>
                    <a:gdLst>
                      <a:gd name="connsiteX0" fmla="*/ 1984 w 2480"/>
                      <a:gd name="connsiteY0" fmla="*/ 0 h 168666"/>
                      <a:gd name="connsiteX1" fmla="*/ 1984 w 2480"/>
                      <a:gd name="connsiteY1" fmla="*/ 16867 h 168666"/>
                      <a:gd name="connsiteX2" fmla="*/ 1488 w 2480"/>
                      <a:gd name="connsiteY2" fmla="*/ 33734 h 168666"/>
                      <a:gd name="connsiteX3" fmla="*/ 2480 w 2480"/>
                      <a:gd name="connsiteY3" fmla="*/ 50600 h 168666"/>
                      <a:gd name="connsiteX4" fmla="*/ 1984 w 2480"/>
                      <a:gd name="connsiteY4" fmla="*/ 67467 h 168666"/>
                      <a:gd name="connsiteX5" fmla="*/ 992 w 2480"/>
                      <a:gd name="connsiteY5" fmla="*/ 84333 h 168666"/>
                      <a:gd name="connsiteX6" fmla="*/ 992 w 2480"/>
                      <a:gd name="connsiteY6" fmla="*/ 101200 h 168666"/>
                      <a:gd name="connsiteX7" fmla="*/ 1984 w 2480"/>
                      <a:gd name="connsiteY7" fmla="*/ 118067 h 168666"/>
                      <a:gd name="connsiteX8" fmla="*/ 1488 w 2480"/>
                      <a:gd name="connsiteY8" fmla="*/ 134933 h 168666"/>
                      <a:gd name="connsiteX9" fmla="*/ 0 w 2480"/>
                      <a:gd name="connsiteY9" fmla="*/ 151800 h 168666"/>
                      <a:gd name="connsiteX10" fmla="*/ 0 w 2480"/>
                      <a:gd name="connsiteY10" fmla="*/ 168666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984" y="0"/>
                        </a:moveTo>
                        <a:cubicBezTo>
                          <a:pt x="1984" y="8433"/>
                          <a:pt x="1984" y="8433"/>
                          <a:pt x="1984" y="16867"/>
                        </a:cubicBezTo>
                        <a:cubicBezTo>
                          <a:pt x="1984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2480" y="42167"/>
                          <a:pt x="2480" y="50600"/>
                        </a:cubicBezTo>
                        <a:cubicBezTo>
                          <a:pt x="2480" y="59033"/>
                          <a:pt x="1984" y="59033"/>
                          <a:pt x="1984" y="67467"/>
                        </a:cubicBezTo>
                        <a:cubicBezTo>
                          <a:pt x="1984" y="75900"/>
                          <a:pt x="992" y="75900"/>
                          <a:pt x="992" y="84333"/>
                        </a:cubicBezTo>
                        <a:cubicBezTo>
                          <a:pt x="992" y="92767"/>
                          <a:pt x="992" y="92767"/>
                          <a:pt x="992" y="101200"/>
                        </a:cubicBezTo>
                        <a:cubicBezTo>
                          <a:pt x="992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1488" y="126500"/>
                          <a:pt x="1488" y="134933"/>
                        </a:cubicBezTo>
                        <a:cubicBezTo>
                          <a:pt x="1488" y="143367"/>
                          <a:pt x="0" y="143367"/>
                          <a:pt x="0" y="151800"/>
                        </a:cubicBezTo>
                        <a:cubicBezTo>
                          <a:pt x="0" y="160233"/>
                          <a:pt x="0" y="160233"/>
                          <a:pt x="0" y="16866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</p:grpSp>
        </p:grp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88302901-B9F6-AAC4-CD1E-026C59D33C1B}"/>
                </a:ext>
              </a:extLst>
            </p:cNvPr>
            <p:cNvSpPr/>
            <p:nvPr/>
          </p:nvSpPr>
          <p:spPr>
            <a:xfrm>
              <a:off x="6284681" y="2655505"/>
              <a:ext cx="59033" cy="58537"/>
            </a:xfrm>
            <a:custGeom>
              <a:avLst/>
              <a:gdLst>
                <a:gd name="connsiteX0" fmla="*/ 59033 w 59033"/>
                <a:gd name="connsiteY0" fmla="*/ 0 h 58537"/>
                <a:gd name="connsiteX1" fmla="*/ 48120 w 59033"/>
                <a:gd name="connsiteY1" fmla="*/ 12402 h 58537"/>
                <a:gd name="connsiteX2" fmla="*/ 35718 w 59033"/>
                <a:gd name="connsiteY2" fmla="*/ 23316 h 58537"/>
                <a:gd name="connsiteX3" fmla="*/ 23812 w 59033"/>
                <a:gd name="connsiteY3" fmla="*/ 35222 h 58537"/>
                <a:gd name="connsiteX4" fmla="*/ 12402 w 59033"/>
                <a:gd name="connsiteY4" fmla="*/ 47624 h 58537"/>
                <a:gd name="connsiteX5" fmla="*/ 0 w 59033"/>
                <a:gd name="connsiteY5" fmla="*/ 58537 h 5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033" h="58537">
                  <a:moveTo>
                    <a:pt x="59033" y="0"/>
                  </a:moveTo>
                  <a:cubicBezTo>
                    <a:pt x="53081" y="5953"/>
                    <a:pt x="54073" y="6945"/>
                    <a:pt x="48120" y="12402"/>
                  </a:cubicBezTo>
                  <a:cubicBezTo>
                    <a:pt x="42167" y="18355"/>
                    <a:pt x="41671" y="17363"/>
                    <a:pt x="35718" y="23316"/>
                  </a:cubicBezTo>
                  <a:cubicBezTo>
                    <a:pt x="29765" y="29269"/>
                    <a:pt x="29765" y="29269"/>
                    <a:pt x="23812" y="35222"/>
                  </a:cubicBezTo>
                  <a:cubicBezTo>
                    <a:pt x="17859" y="41174"/>
                    <a:pt x="18355" y="41671"/>
                    <a:pt x="12402" y="47624"/>
                  </a:cubicBezTo>
                  <a:cubicBezTo>
                    <a:pt x="6449" y="53576"/>
                    <a:pt x="5953" y="52584"/>
                    <a:pt x="0" y="585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7C6FB53-283B-B6AA-11EF-C6AF011696F7}"/>
                </a:ext>
              </a:extLst>
            </p:cNvPr>
            <p:cNvSpPr/>
            <p:nvPr/>
          </p:nvSpPr>
          <p:spPr>
            <a:xfrm>
              <a:off x="6322383" y="2700152"/>
              <a:ext cx="13393" cy="13394"/>
            </a:xfrm>
            <a:custGeom>
              <a:avLst/>
              <a:gdLst>
                <a:gd name="connsiteX0" fmla="*/ 13394 w 13393"/>
                <a:gd name="connsiteY0" fmla="*/ 0 h 13394"/>
                <a:gd name="connsiteX1" fmla="*/ 0 w 13393"/>
                <a:gd name="connsiteY1" fmla="*/ 13394 h 13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93" h="13394">
                  <a:moveTo>
                    <a:pt x="13394" y="0"/>
                  </a:moveTo>
                  <a:cubicBezTo>
                    <a:pt x="6945" y="6449"/>
                    <a:pt x="6449" y="6449"/>
                    <a:pt x="0" y="1339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2922F940-143E-0705-C508-0F28F344208F}"/>
                </a:ext>
              </a:extLst>
            </p:cNvPr>
            <p:cNvSpPr/>
            <p:nvPr/>
          </p:nvSpPr>
          <p:spPr>
            <a:xfrm>
              <a:off x="6118991" y="2671875"/>
              <a:ext cx="46134" cy="47127"/>
            </a:xfrm>
            <a:custGeom>
              <a:avLst/>
              <a:gdLst>
                <a:gd name="connsiteX0" fmla="*/ 46135 w 46134"/>
                <a:gd name="connsiteY0" fmla="*/ 0 h 47127"/>
                <a:gd name="connsiteX1" fmla="*/ 34725 w 46134"/>
                <a:gd name="connsiteY1" fmla="*/ 11906 h 47127"/>
                <a:gd name="connsiteX2" fmla="*/ 23315 w 46134"/>
                <a:gd name="connsiteY2" fmla="*/ 23812 h 47127"/>
                <a:gd name="connsiteX3" fmla="*/ 11905 w 46134"/>
                <a:gd name="connsiteY3" fmla="*/ 35718 h 47127"/>
                <a:gd name="connsiteX4" fmla="*/ 0 w 46134"/>
                <a:gd name="connsiteY4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134" h="47127">
                  <a:moveTo>
                    <a:pt x="46135" y="0"/>
                  </a:moveTo>
                  <a:cubicBezTo>
                    <a:pt x="40182" y="5953"/>
                    <a:pt x="40678" y="5953"/>
                    <a:pt x="34725" y="11906"/>
                  </a:cubicBezTo>
                  <a:cubicBezTo>
                    <a:pt x="28772" y="17859"/>
                    <a:pt x="29268" y="17859"/>
                    <a:pt x="23315" y="23812"/>
                  </a:cubicBezTo>
                  <a:cubicBezTo>
                    <a:pt x="17363" y="29765"/>
                    <a:pt x="17859" y="29765"/>
                    <a:pt x="11905" y="35718"/>
                  </a:cubicBezTo>
                  <a:cubicBezTo>
                    <a:pt x="5953" y="41671"/>
                    <a:pt x="5953" y="41175"/>
                    <a:pt x="0" y="471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33C245E0-650D-8B5E-65E5-838B363B31C8}"/>
                </a:ext>
              </a:extLst>
            </p:cNvPr>
            <p:cNvSpPr/>
            <p:nvPr/>
          </p:nvSpPr>
          <p:spPr>
            <a:xfrm>
              <a:off x="6292618" y="2505689"/>
              <a:ext cx="35221" cy="35717"/>
            </a:xfrm>
            <a:custGeom>
              <a:avLst/>
              <a:gdLst>
                <a:gd name="connsiteX0" fmla="*/ 35221 w 35221"/>
                <a:gd name="connsiteY0" fmla="*/ 0 h 35717"/>
                <a:gd name="connsiteX1" fmla="*/ 22819 w 35221"/>
                <a:gd name="connsiteY1" fmla="*/ 10914 h 35717"/>
                <a:gd name="connsiteX2" fmla="*/ 11905 w 35221"/>
                <a:gd name="connsiteY2" fmla="*/ 23812 h 35717"/>
                <a:gd name="connsiteX3" fmla="*/ 0 w 35221"/>
                <a:gd name="connsiteY3" fmla="*/ 35718 h 3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21" h="35717">
                  <a:moveTo>
                    <a:pt x="35221" y="0"/>
                  </a:moveTo>
                  <a:cubicBezTo>
                    <a:pt x="29268" y="5953"/>
                    <a:pt x="28772" y="4961"/>
                    <a:pt x="22819" y="10914"/>
                  </a:cubicBezTo>
                  <a:cubicBezTo>
                    <a:pt x="16866" y="16867"/>
                    <a:pt x="17859" y="17859"/>
                    <a:pt x="11905" y="23812"/>
                  </a:cubicBezTo>
                  <a:cubicBezTo>
                    <a:pt x="5953" y="29765"/>
                    <a:pt x="5953" y="29765"/>
                    <a:pt x="0" y="3571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12A8C1D4-E28B-D2A7-F39D-A85831692CC0}"/>
                </a:ext>
              </a:extLst>
            </p:cNvPr>
            <p:cNvSpPr/>
            <p:nvPr/>
          </p:nvSpPr>
          <p:spPr>
            <a:xfrm>
              <a:off x="6288154" y="2505193"/>
              <a:ext cx="70938" cy="70443"/>
            </a:xfrm>
            <a:custGeom>
              <a:avLst/>
              <a:gdLst>
                <a:gd name="connsiteX0" fmla="*/ 70939 w 70938"/>
                <a:gd name="connsiteY0" fmla="*/ 0 h 70443"/>
                <a:gd name="connsiteX1" fmla="*/ 59033 w 70938"/>
                <a:gd name="connsiteY1" fmla="*/ 11410 h 70443"/>
                <a:gd name="connsiteX2" fmla="*/ 48119 w 70938"/>
                <a:gd name="connsiteY2" fmla="*/ 23812 h 70443"/>
                <a:gd name="connsiteX3" fmla="*/ 36710 w 70938"/>
                <a:gd name="connsiteY3" fmla="*/ 35718 h 70443"/>
                <a:gd name="connsiteX4" fmla="*/ 24308 w 70938"/>
                <a:gd name="connsiteY4" fmla="*/ 47127 h 70443"/>
                <a:gd name="connsiteX5" fmla="*/ 13394 w 70938"/>
                <a:gd name="connsiteY5" fmla="*/ 60025 h 70443"/>
                <a:gd name="connsiteX6" fmla="*/ 0 w 70938"/>
                <a:gd name="connsiteY6" fmla="*/ 70443 h 7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38" h="70443">
                  <a:moveTo>
                    <a:pt x="70939" y="0"/>
                  </a:moveTo>
                  <a:cubicBezTo>
                    <a:pt x="64986" y="5953"/>
                    <a:pt x="64986" y="5457"/>
                    <a:pt x="59033" y="11410"/>
                  </a:cubicBezTo>
                  <a:cubicBezTo>
                    <a:pt x="53080" y="17363"/>
                    <a:pt x="54073" y="17859"/>
                    <a:pt x="48119" y="23812"/>
                  </a:cubicBezTo>
                  <a:cubicBezTo>
                    <a:pt x="42167" y="29765"/>
                    <a:pt x="42663" y="29765"/>
                    <a:pt x="36710" y="35718"/>
                  </a:cubicBezTo>
                  <a:cubicBezTo>
                    <a:pt x="30757" y="41671"/>
                    <a:pt x="30261" y="41174"/>
                    <a:pt x="24308" y="47127"/>
                  </a:cubicBezTo>
                  <a:cubicBezTo>
                    <a:pt x="18355" y="53080"/>
                    <a:pt x="19347" y="54073"/>
                    <a:pt x="13394" y="60025"/>
                  </a:cubicBezTo>
                  <a:cubicBezTo>
                    <a:pt x="7441" y="65978"/>
                    <a:pt x="5953" y="64490"/>
                    <a:pt x="0" y="704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84F92A56-5390-16CE-2DDB-D91E69D839A5}"/>
                </a:ext>
              </a:extLst>
            </p:cNvPr>
            <p:cNvSpPr/>
            <p:nvPr/>
          </p:nvSpPr>
          <p:spPr>
            <a:xfrm>
              <a:off x="3179729" y="4543081"/>
              <a:ext cx="206368" cy="1984"/>
            </a:xfrm>
            <a:custGeom>
              <a:avLst/>
              <a:gdLst>
                <a:gd name="connsiteX0" fmla="*/ 0 w 206368"/>
                <a:gd name="connsiteY0" fmla="*/ 0 h 1984"/>
                <a:gd name="connsiteX1" fmla="*/ 15875 w 206368"/>
                <a:gd name="connsiteY1" fmla="*/ 992 h 1984"/>
                <a:gd name="connsiteX2" fmla="*/ 31749 w 206368"/>
                <a:gd name="connsiteY2" fmla="*/ 1984 h 1984"/>
                <a:gd name="connsiteX3" fmla="*/ 47624 w 206368"/>
                <a:gd name="connsiteY3" fmla="*/ 1488 h 1984"/>
                <a:gd name="connsiteX4" fmla="*/ 63498 w 206368"/>
                <a:gd name="connsiteY4" fmla="*/ 496 h 1984"/>
                <a:gd name="connsiteX5" fmla="*/ 79372 w 206368"/>
                <a:gd name="connsiteY5" fmla="*/ 0 h 1984"/>
                <a:gd name="connsiteX6" fmla="*/ 95247 w 206368"/>
                <a:gd name="connsiteY6" fmla="*/ 1984 h 1984"/>
                <a:gd name="connsiteX7" fmla="*/ 111122 w 206368"/>
                <a:gd name="connsiteY7" fmla="*/ 992 h 1984"/>
                <a:gd name="connsiteX8" fmla="*/ 126996 w 206368"/>
                <a:gd name="connsiteY8" fmla="*/ 0 h 1984"/>
                <a:gd name="connsiteX9" fmla="*/ 142870 w 206368"/>
                <a:gd name="connsiteY9" fmla="*/ 1984 h 1984"/>
                <a:gd name="connsiteX10" fmla="*/ 158745 w 206368"/>
                <a:gd name="connsiteY10" fmla="*/ 992 h 1984"/>
                <a:gd name="connsiteX11" fmla="*/ 174619 w 206368"/>
                <a:gd name="connsiteY11" fmla="*/ 1488 h 1984"/>
                <a:gd name="connsiteX12" fmla="*/ 190494 w 206368"/>
                <a:gd name="connsiteY12" fmla="*/ 0 h 1984"/>
                <a:gd name="connsiteX13" fmla="*/ 206369 w 206368"/>
                <a:gd name="connsiteY13" fmla="*/ 1984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6368" h="1984">
                  <a:moveTo>
                    <a:pt x="0" y="0"/>
                  </a:moveTo>
                  <a:cubicBezTo>
                    <a:pt x="7937" y="0"/>
                    <a:pt x="7937" y="992"/>
                    <a:pt x="15875" y="992"/>
                  </a:cubicBezTo>
                  <a:cubicBezTo>
                    <a:pt x="23812" y="992"/>
                    <a:pt x="23812" y="1984"/>
                    <a:pt x="31749" y="1984"/>
                  </a:cubicBezTo>
                  <a:cubicBezTo>
                    <a:pt x="39686" y="1984"/>
                    <a:pt x="39686" y="1488"/>
                    <a:pt x="47624" y="1488"/>
                  </a:cubicBezTo>
                  <a:cubicBezTo>
                    <a:pt x="55561" y="1488"/>
                    <a:pt x="55561" y="496"/>
                    <a:pt x="63498" y="496"/>
                  </a:cubicBezTo>
                  <a:cubicBezTo>
                    <a:pt x="71435" y="496"/>
                    <a:pt x="71435" y="0"/>
                    <a:pt x="79372" y="0"/>
                  </a:cubicBezTo>
                  <a:cubicBezTo>
                    <a:pt x="87310" y="0"/>
                    <a:pt x="87310" y="1984"/>
                    <a:pt x="95247" y="1984"/>
                  </a:cubicBezTo>
                  <a:cubicBezTo>
                    <a:pt x="103184" y="1984"/>
                    <a:pt x="103184" y="992"/>
                    <a:pt x="111122" y="992"/>
                  </a:cubicBezTo>
                  <a:cubicBezTo>
                    <a:pt x="119059" y="992"/>
                    <a:pt x="119059" y="0"/>
                    <a:pt x="126996" y="0"/>
                  </a:cubicBezTo>
                  <a:cubicBezTo>
                    <a:pt x="134933" y="0"/>
                    <a:pt x="134933" y="1984"/>
                    <a:pt x="142870" y="1984"/>
                  </a:cubicBezTo>
                  <a:cubicBezTo>
                    <a:pt x="150808" y="1984"/>
                    <a:pt x="150808" y="992"/>
                    <a:pt x="158745" y="992"/>
                  </a:cubicBezTo>
                  <a:cubicBezTo>
                    <a:pt x="166682" y="992"/>
                    <a:pt x="166682" y="1488"/>
                    <a:pt x="174619" y="1488"/>
                  </a:cubicBezTo>
                  <a:cubicBezTo>
                    <a:pt x="182557" y="1488"/>
                    <a:pt x="182557" y="0"/>
                    <a:pt x="190494" y="0"/>
                  </a:cubicBezTo>
                  <a:cubicBezTo>
                    <a:pt x="198431" y="0"/>
                    <a:pt x="198431" y="1984"/>
                    <a:pt x="206369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B55FD553-56AB-E356-A31B-ABFE0881DDEB}"/>
                </a:ext>
              </a:extLst>
            </p:cNvPr>
            <p:cNvSpPr/>
            <p:nvPr/>
          </p:nvSpPr>
          <p:spPr>
            <a:xfrm>
              <a:off x="2321514" y="4543081"/>
              <a:ext cx="785291" cy="678634"/>
            </a:xfrm>
            <a:custGeom>
              <a:avLst/>
              <a:gdLst>
                <a:gd name="connsiteX0" fmla="*/ 785291 w 785291"/>
                <a:gd name="connsiteY0" fmla="*/ 675658 h 678634"/>
                <a:gd name="connsiteX1" fmla="*/ 768921 w 785291"/>
                <a:gd name="connsiteY1" fmla="*/ 676154 h 678634"/>
                <a:gd name="connsiteX2" fmla="*/ 752550 w 785291"/>
                <a:gd name="connsiteY2" fmla="*/ 676650 h 678634"/>
                <a:gd name="connsiteX3" fmla="*/ 736180 w 785291"/>
                <a:gd name="connsiteY3" fmla="*/ 676154 h 678634"/>
                <a:gd name="connsiteX4" fmla="*/ 719809 w 785291"/>
                <a:gd name="connsiteY4" fmla="*/ 676650 h 678634"/>
                <a:gd name="connsiteX5" fmla="*/ 703439 w 785291"/>
                <a:gd name="connsiteY5" fmla="*/ 677147 h 678634"/>
                <a:gd name="connsiteX6" fmla="*/ 687068 w 785291"/>
                <a:gd name="connsiteY6" fmla="*/ 676650 h 678634"/>
                <a:gd name="connsiteX7" fmla="*/ 670697 w 785291"/>
                <a:gd name="connsiteY7" fmla="*/ 675658 h 678634"/>
                <a:gd name="connsiteX8" fmla="*/ 654327 w 785291"/>
                <a:gd name="connsiteY8" fmla="*/ 676650 h 678634"/>
                <a:gd name="connsiteX9" fmla="*/ 637956 w 785291"/>
                <a:gd name="connsiteY9" fmla="*/ 677147 h 678634"/>
                <a:gd name="connsiteX10" fmla="*/ 621586 w 785291"/>
                <a:gd name="connsiteY10" fmla="*/ 678139 h 678634"/>
                <a:gd name="connsiteX11" fmla="*/ 605215 w 785291"/>
                <a:gd name="connsiteY11" fmla="*/ 677643 h 678634"/>
                <a:gd name="connsiteX12" fmla="*/ 588845 w 785291"/>
                <a:gd name="connsiteY12" fmla="*/ 677643 h 678634"/>
                <a:gd name="connsiteX13" fmla="*/ 572474 w 785291"/>
                <a:gd name="connsiteY13" fmla="*/ 678635 h 678634"/>
                <a:gd name="connsiteX14" fmla="*/ 556103 w 785291"/>
                <a:gd name="connsiteY14" fmla="*/ 677643 h 678634"/>
                <a:gd name="connsiteX15" fmla="*/ 539733 w 785291"/>
                <a:gd name="connsiteY15" fmla="*/ 676650 h 678634"/>
                <a:gd name="connsiteX16" fmla="*/ 523362 w 785291"/>
                <a:gd name="connsiteY16" fmla="*/ 677643 h 678634"/>
                <a:gd name="connsiteX17" fmla="*/ 506992 w 785291"/>
                <a:gd name="connsiteY17" fmla="*/ 677643 h 678634"/>
                <a:gd name="connsiteX18" fmla="*/ 490621 w 785291"/>
                <a:gd name="connsiteY18" fmla="*/ 676650 h 678634"/>
                <a:gd name="connsiteX19" fmla="*/ 474251 w 785291"/>
                <a:gd name="connsiteY19" fmla="*/ 678139 h 678634"/>
                <a:gd name="connsiteX20" fmla="*/ 457880 w 785291"/>
                <a:gd name="connsiteY20" fmla="*/ 677643 h 678634"/>
                <a:gd name="connsiteX21" fmla="*/ 441509 w 785291"/>
                <a:gd name="connsiteY21" fmla="*/ 677147 h 678634"/>
                <a:gd name="connsiteX22" fmla="*/ 425139 w 785291"/>
                <a:gd name="connsiteY22" fmla="*/ 678139 h 678634"/>
                <a:gd name="connsiteX23" fmla="*/ 408768 w 785291"/>
                <a:gd name="connsiteY23" fmla="*/ 677147 h 678634"/>
                <a:gd name="connsiteX24" fmla="*/ 392398 w 785291"/>
                <a:gd name="connsiteY24" fmla="*/ 676154 h 678634"/>
                <a:gd name="connsiteX25" fmla="*/ 376027 w 785291"/>
                <a:gd name="connsiteY25" fmla="*/ 676650 h 678634"/>
                <a:gd name="connsiteX26" fmla="*/ 359657 w 785291"/>
                <a:gd name="connsiteY26" fmla="*/ 678139 h 678634"/>
                <a:gd name="connsiteX27" fmla="*/ 343286 w 785291"/>
                <a:gd name="connsiteY27" fmla="*/ 678139 h 678634"/>
                <a:gd name="connsiteX28" fmla="*/ 326915 w 785291"/>
                <a:gd name="connsiteY28" fmla="*/ 678139 h 678634"/>
                <a:gd name="connsiteX29" fmla="*/ 310545 w 785291"/>
                <a:gd name="connsiteY29" fmla="*/ 675658 h 678634"/>
                <a:gd name="connsiteX30" fmla="*/ 294174 w 785291"/>
                <a:gd name="connsiteY30" fmla="*/ 676650 h 678634"/>
                <a:gd name="connsiteX31" fmla="*/ 277804 w 785291"/>
                <a:gd name="connsiteY31" fmla="*/ 677147 h 678634"/>
                <a:gd name="connsiteX32" fmla="*/ 261433 w 785291"/>
                <a:gd name="connsiteY32" fmla="*/ 676154 h 678634"/>
                <a:gd name="connsiteX33" fmla="*/ 245559 w 785291"/>
                <a:gd name="connsiteY33" fmla="*/ 675162 h 678634"/>
                <a:gd name="connsiteX34" fmla="*/ 229188 w 785291"/>
                <a:gd name="connsiteY34" fmla="*/ 674170 h 678634"/>
                <a:gd name="connsiteX35" fmla="*/ 213314 w 785291"/>
                <a:gd name="connsiteY35" fmla="*/ 669706 h 678634"/>
                <a:gd name="connsiteX36" fmla="*/ 196943 w 785291"/>
                <a:gd name="connsiteY36" fmla="*/ 668713 h 678634"/>
                <a:gd name="connsiteX37" fmla="*/ 181565 w 785291"/>
                <a:gd name="connsiteY37" fmla="*/ 663256 h 678634"/>
                <a:gd name="connsiteX38" fmla="*/ 165690 w 785291"/>
                <a:gd name="connsiteY38" fmla="*/ 660776 h 678634"/>
                <a:gd name="connsiteX39" fmla="*/ 150312 w 785291"/>
                <a:gd name="connsiteY39" fmla="*/ 655319 h 678634"/>
                <a:gd name="connsiteX40" fmla="*/ 135429 w 785291"/>
                <a:gd name="connsiteY40" fmla="*/ 649366 h 678634"/>
                <a:gd name="connsiteX41" fmla="*/ 120547 w 785291"/>
                <a:gd name="connsiteY41" fmla="*/ 643413 h 678634"/>
                <a:gd name="connsiteX42" fmla="*/ 106161 w 785291"/>
                <a:gd name="connsiteY42" fmla="*/ 635476 h 678634"/>
                <a:gd name="connsiteX43" fmla="*/ 92271 w 785291"/>
                <a:gd name="connsiteY43" fmla="*/ 627539 h 678634"/>
                <a:gd name="connsiteX44" fmla="*/ 78877 w 785291"/>
                <a:gd name="connsiteY44" fmla="*/ 618113 h 678634"/>
                <a:gd name="connsiteX45" fmla="*/ 66971 w 785291"/>
                <a:gd name="connsiteY45" fmla="*/ 607199 h 678634"/>
                <a:gd name="connsiteX46" fmla="*/ 54073 w 785291"/>
                <a:gd name="connsiteY46" fmla="*/ 597278 h 678634"/>
                <a:gd name="connsiteX47" fmla="*/ 42167 w 785291"/>
                <a:gd name="connsiteY47" fmla="*/ 586364 h 678634"/>
                <a:gd name="connsiteX48" fmla="*/ 31749 w 785291"/>
                <a:gd name="connsiteY48" fmla="*/ 573962 h 678634"/>
                <a:gd name="connsiteX49" fmla="*/ 23316 w 785291"/>
                <a:gd name="connsiteY49" fmla="*/ 560072 h 678634"/>
                <a:gd name="connsiteX50" fmla="*/ 15378 w 785291"/>
                <a:gd name="connsiteY50" fmla="*/ 546182 h 678634"/>
                <a:gd name="connsiteX51" fmla="*/ 8433 w 785291"/>
                <a:gd name="connsiteY51" fmla="*/ 531300 h 678634"/>
                <a:gd name="connsiteX52" fmla="*/ 5457 w 785291"/>
                <a:gd name="connsiteY52" fmla="*/ 515425 h 678634"/>
                <a:gd name="connsiteX53" fmla="*/ 496 w 785291"/>
                <a:gd name="connsiteY53" fmla="*/ 500046 h 678634"/>
                <a:gd name="connsiteX54" fmla="*/ 992 w 785291"/>
                <a:gd name="connsiteY54" fmla="*/ 483676 h 678634"/>
                <a:gd name="connsiteX55" fmla="*/ 0 w 785291"/>
                <a:gd name="connsiteY55" fmla="*/ 483676 h 678634"/>
                <a:gd name="connsiteX56" fmla="*/ 2480 w 785291"/>
                <a:gd name="connsiteY56" fmla="*/ 467801 h 678634"/>
                <a:gd name="connsiteX57" fmla="*/ 3473 w 785291"/>
                <a:gd name="connsiteY57" fmla="*/ 451431 h 678634"/>
                <a:gd name="connsiteX58" fmla="*/ 8433 w 785291"/>
                <a:gd name="connsiteY58" fmla="*/ 436053 h 678634"/>
                <a:gd name="connsiteX59" fmla="*/ 16371 w 785291"/>
                <a:gd name="connsiteY59" fmla="*/ 421666 h 678634"/>
                <a:gd name="connsiteX60" fmla="*/ 24308 w 785291"/>
                <a:gd name="connsiteY60" fmla="*/ 407776 h 678634"/>
                <a:gd name="connsiteX61" fmla="*/ 32245 w 785291"/>
                <a:gd name="connsiteY61" fmla="*/ 393886 h 678634"/>
                <a:gd name="connsiteX62" fmla="*/ 42167 w 785291"/>
                <a:gd name="connsiteY62" fmla="*/ 381484 h 678634"/>
                <a:gd name="connsiteX63" fmla="*/ 55065 w 785291"/>
                <a:gd name="connsiteY63" fmla="*/ 371562 h 678634"/>
                <a:gd name="connsiteX64" fmla="*/ 65978 w 785291"/>
                <a:gd name="connsiteY64" fmla="*/ 359657 h 678634"/>
                <a:gd name="connsiteX65" fmla="*/ 79372 w 785291"/>
                <a:gd name="connsiteY65" fmla="*/ 350727 h 678634"/>
                <a:gd name="connsiteX66" fmla="*/ 92271 w 785291"/>
                <a:gd name="connsiteY66" fmla="*/ 340806 h 678634"/>
                <a:gd name="connsiteX67" fmla="*/ 107153 w 785291"/>
                <a:gd name="connsiteY67" fmla="*/ 334357 h 678634"/>
                <a:gd name="connsiteX68" fmla="*/ 120547 w 785291"/>
                <a:gd name="connsiteY68" fmla="*/ 325427 h 678634"/>
                <a:gd name="connsiteX69" fmla="*/ 135429 w 785291"/>
                <a:gd name="connsiteY69" fmla="*/ 319474 h 678634"/>
                <a:gd name="connsiteX70" fmla="*/ 150808 w 785291"/>
                <a:gd name="connsiteY70" fmla="*/ 315009 h 678634"/>
                <a:gd name="connsiteX71" fmla="*/ 166186 w 785291"/>
                <a:gd name="connsiteY71" fmla="*/ 310049 h 678634"/>
                <a:gd name="connsiteX72" fmla="*/ 181068 w 785291"/>
                <a:gd name="connsiteY72" fmla="*/ 303600 h 678634"/>
                <a:gd name="connsiteX73" fmla="*/ 196943 w 785291"/>
                <a:gd name="connsiteY73" fmla="*/ 300127 h 678634"/>
                <a:gd name="connsiteX74" fmla="*/ 212818 w 785291"/>
                <a:gd name="connsiteY74" fmla="*/ 298639 h 678634"/>
                <a:gd name="connsiteX75" fmla="*/ 228692 w 785291"/>
                <a:gd name="connsiteY75" fmla="*/ 296159 h 678634"/>
                <a:gd name="connsiteX76" fmla="*/ 244567 w 785291"/>
                <a:gd name="connsiteY76" fmla="*/ 293182 h 678634"/>
                <a:gd name="connsiteX77" fmla="*/ 260937 w 785291"/>
                <a:gd name="connsiteY77" fmla="*/ 293678 h 678634"/>
                <a:gd name="connsiteX78" fmla="*/ 276812 w 785291"/>
                <a:gd name="connsiteY78" fmla="*/ 293182 h 678634"/>
                <a:gd name="connsiteX79" fmla="*/ 293182 w 785291"/>
                <a:gd name="connsiteY79" fmla="*/ 293182 h 678634"/>
                <a:gd name="connsiteX80" fmla="*/ 309553 w 785291"/>
                <a:gd name="connsiteY80" fmla="*/ 292190 h 678634"/>
                <a:gd name="connsiteX81" fmla="*/ 325923 w 785291"/>
                <a:gd name="connsiteY81" fmla="*/ 294174 h 678634"/>
                <a:gd name="connsiteX82" fmla="*/ 342294 w 785291"/>
                <a:gd name="connsiteY82" fmla="*/ 293678 h 678634"/>
                <a:gd name="connsiteX83" fmla="*/ 358664 w 785291"/>
                <a:gd name="connsiteY83" fmla="*/ 291694 h 678634"/>
                <a:gd name="connsiteX84" fmla="*/ 375035 w 785291"/>
                <a:gd name="connsiteY84" fmla="*/ 293182 h 678634"/>
                <a:gd name="connsiteX85" fmla="*/ 391406 w 785291"/>
                <a:gd name="connsiteY85" fmla="*/ 293678 h 678634"/>
                <a:gd name="connsiteX86" fmla="*/ 407776 w 785291"/>
                <a:gd name="connsiteY86" fmla="*/ 293182 h 678634"/>
                <a:gd name="connsiteX87" fmla="*/ 424147 w 785291"/>
                <a:gd name="connsiteY87" fmla="*/ 292190 h 678634"/>
                <a:gd name="connsiteX88" fmla="*/ 440517 w 785291"/>
                <a:gd name="connsiteY88" fmla="*/ 292686 h 678634"/>
                <a:gd name="connsiteX89" fmla="*/ 456888 w 785291"/>
                <a:gd name="connsiteY89" fmla="*/ 293182 h 678634"/>
                <a:gd name="connsiteX90" fmla="*/ 473258 w 785291"/>
                <a:gd name="connsiteY90" fmla="*/ 291694 h 678634"/>
                <a:gd name="connsiteX91" fmla="*/ 489629 w 785291"/>
                <a:gd name="connsiteY91" fmla="*/ 292190 h 678634"/>
                <a:gd name="connsiteX92" fmla="*/ 506000 w 785291"/>
                <a:gd name="connsiteY92" fmla="*/ 293182 h 678634"/>
                <a:gd name="connsiteX93" fmla="*/ 522370 w 785291"/>
                <a:gd name="connsiteY93" fmla="*/ 292686 h 678634"/>
                <a:gd name="connsiteX94" fmla="*/ 537749 w 785291"/>
                <a:gd name="connsiteY94" fmla="*/ 290206 h 678634"/>
                <a:gd name="connsiteX95" fmla="*/ 551143 w 785291"/>
                <a:gd name="connsiteY95" fmla="*/ 282268 h 678634"/>
                <a:gd name="connsiteX96" fmla="*/ 557096 w 785291"/>
                <a:gd name="connsiteY96" fmla="*/ 268378 h 678634"/>
                <a:gd name="connsiteX97" fmla="*/ 558584 w 785291"/>
                <a:gd name="connsiteY97" fmla="*/ 268378 h 678634"/>
                <a:gd name="connsiteX98" fmla="*/ 551143 w 785291"/>
                <a:gd name="connsiteY98" fmla="*/ 254984 h 678634"/>
                <a:gd name="connsiteX99" fmla="*/ 538245 w 785291"/>
                <a:gd name="connsiteY99" fmla="*/ 246055 h 678634"/>
                <a:gd name="connsiteX100" fmla="*/ 522370 w 785291"/>
                <a:gd name="connsiteY100" fmla="*/ 244566 h 678634"/>
                <a:gd name="connsiteX101" fmla="*/ 515921 w 785291"/>
                <a:gd name="connsiteY101" fmla="*/ 243574 h 678634"/>
                <a:gd name="connsiteX102" fmla="*/ 499054 w 785291"/>
                <a:gd name="connsiteY102" fmla="*/ 244070 h 678634"/>
                <a:gd name="connsiteX103" fmla="*/ 482684 w 785291"/>
                <a:gd name="connsiteY103" fmla="*/ 241094 h 678634"/>
                <a:gd name="connsiteX104" fmla="*/ 465817 w 785291"/>
                <a:gd name="connsiteY104" fmla="*/ 240102 h 678634"/>
                <a:gd name="connsiteX105" fmla="*/ 449943 w 785291"/>
                <a:gd name="connsiteY105" fmla="*/ 234645 h 678634"/>
                <a:gd name="connsiteX106" fmla="*/ 434068 w 785291"/>
                <a:gd name="connsiteY106" fmla="*/ 229684 h 678634"/>
                <a:gd name="connsiteX107" fmla="*/ 418690 w 785291"/>
                <a:gd name="connsiteY107" fmla="*/ 223235 h 678634"/>
                <a:gd name="connsiteX108" fmla="*/ 403311 w 785291"/>
                <a:gd name="connsiteY108" fmla="*/ 216290 h 678634"/>
                <a:gd name="connsiteX109" fmla="*/ 388429 w 785291"/>
                <a:gd name="connsiteY109" fmla="*/ 207857 h 678634"/>
                <a:gd name="connsiteX110" fmla="*/ 375531 w 785291"/>
                <a:gd name="connsiteY110" fmla="*/ 196943 h 678634"/>
                <a:gd name="connsiteX111" fmla="*/ 364121 w 785291"/>
                <a:gd name="connsiteY111" fmla="*/ 184541 h 678634"/>
                <a:gd name="connsiteX112" fmla="*/ 355688 w 785291"/>
                <a:gd name="connsiteY112" fmla="*/ 170155 h 678634"/>
                <a:gd name="connsiteX113" fmla="*/ 346263 w 785291"/>
                <a:gd name="connsiteY113" fmla="*/ 156265 h 678634"/>
                <a:gd name="connsiteX114" fmla="*/ 343782 w 785291"/>
                <a:gd name="connsiteY114" fmla="*/ 139398 h 678634"/>
                <a:gd name="connsiteX115" fmla="*/ 340310 w 785291"/>
                <a:gd name="connsiteY115" fmla="*/ 123027 h 678634"/>
                <a:gd name="connsiteX116" fmla="*/ 341798 w 785291"/>
                <a:gd name="connsiteY116" fmla="*/ 123027 h 678634"/>
                <a:gd name="connsiteX117" fmla="*/ 342790 w 785291"/>
                <a:gd name="connsiteY117" fmla="*/ 106161 h 678634"/>
                <a:gd name="connsiteX118" fmla="*/ 347255 w 785291"/>
                <a:gd name="connsiteY118" fmla="*/ 89790 h 678634"/>
                <a:gd name="connsiteX119" fmla="*/ 355688 w 785291"/>
                <a:gd name="connsiteY119" fmla="*/ 75404 h 678634"/>
                <a:gd name="connsiteX120" fmla="*/ 364121 w 785291"/>
                <a:gd name="connsiteY120" fmla="*/ 61018 h 678634"/>
                <a:gd name="connsiteX121" fmla="*/ 377019 w 785291"/>
                <a:gd name="connsiteY121" fmla="*/ 50600 h 678634"/>
                <a:gd name="connsiteX122" fmla="*/ 388429 w 785291"/>
                <a:gd name="connsiteY122" fmla="*/ 38198 h 678634"/>
                <a:gd name="connsiteX123" fmla="*/ 402815 w 785291"/>
                <a:gd name="connsiteY123" fmla="*/ 29765 h 678634"/>
                <a:gd name="connsiteX124" fmla="*/ 417202 w 785291"/>
                <a:gd name="connsiteY124" fmla="*/ 21331 h 678634"/>
                <a:gd name="connsiteX125" fmla="*/ 433076 w 785291"/>
                <a:gd name="connsiteY125" fmla="*/ 15379 h 678634"/>
                <a:gd name="connsiteX126" fmla="*/ 448951 w 785291"/>
                <a:gd name="connsiteY126" fmla="*/ 9426 h 678634"/>
                <a:gd name="connsiteX127" fmla="*/ 465321 w 785291"/>
                <a:gd name="connsiteY127" fmla="*/ 5953 h 678634"/>
                <a:gd name="connsiteX128" fmla="*/ 481692 w 785291"/>
                <a:gd name="connsiteY128" fmla="*/ 3473 h 678634"/>
                <a:gd name="connsiteX129" fmla="*/ 498558 w 785291"/>
                <a:gd name="connsiteY129" fmla="*/ 1984 h 678634"/>
                <a:gd name="connsiteX130" fmla="*/ 515425 w 785291"/>
                <a:gd name="connsiteY130" fmla="*/ 496 h 678634"/>
                <a:gd name="connsiteX131" fmla="*/ 531796 w 785291"/>
                <a:gd name="connsiteY131" fmla="*/ 1488 h 678634"/>
                <a:gd name="connsiteX132" fmla="*/ 548662 w 785291"/>
                <a:gd name="connsiteY132" fmla="*/ 1488 h 678634"/>
                <a:gd name="connsiteX133" fmla="*/ 565529 w 785291"/>
                <a:gd name="connsiteY133" fmla="*/ 496 h 678634"/>
                <a:gd name="connsiteX134" fmla="*/ 582396 w 785291"/>
                <a:gd name="connsiteY134" fmla="*/ 1984 h 678634"/>
                <a:gd name="connsiteX135" fmla="*/ 599262 w 785291"/>
                <a:gd name="connsiteY135" fmla="*/ 496 h 678634"/>
                <a:gd name="connsiteX136" fmla="*/ 616129 w 785291"/>
                <a:gd name="connsiteY136" fmla="*/ 992 h 678634"/>
                <a:gd name="connsiteX137" fmla="*/ 632995 w 785291"/>
                <a:gd name="connsiteY137" fmla="*/ 1488 h 678634"/>
                <a:gd name="connsiteX138" fmla="*/ 649862 w 785291"/>
                <a:gd name="connsiteY138" fmla="*/ 992 h 678634"/>
                <a:gd name="connsiteX139" fmla="*/ 666729 w 785291"/>
                <a:gd name="connsiteY139" fmla="*/ 0 h 678634"/>
                <a:gd name="connsiteX140" fmla="*/ 683596 w 785291"/>
                <a:gd name="connsiteY140" fmla="*/ 0 h 678634"/>
                <a:gd name="connsiteX141" fmla="*/ 700462 w 785291"/>
                <a:gd name="connsiteY141" fmla="*/ 992 h 678634"/>
                <a:gd name="connsiteX142" fmla="*/ 717329 w 785291"/>
                <a:gd name="connsiteY142" fmla="*/ 2480 h 678634"/>
                <a:gd name="connsiteX143" fmla="*/ 734195 w 785291"/>
                <a:gd name="connsiteY143" fmla="*/ 1488 h 678634"/>
                <a:gd name="connsiteX144" fmla="*/ 751062 w 785291"/>
                <a:gd name="connsiteY144" fmla="*/ 496 h 67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5291" h="678634">
                  <a:moveTo>
                    <a:pt x="785291" y="675658"/>
                  </a:moveTo>
                  <a:cubicBezTo>
                    <a:pt x="777354" y="675658"/>
                    <a:pt x="777354" y="676154"/>
                    <a:pt x="768921" y="676154"/>
                  </a:cubicBezTo>
                  <a:cubicBezTo>
                    <a:pt x="760984" y="676154"/>
                    <a:pt x="760984" y="676650"/>
                    <a:pt x="752550" y="676650"/>
                  </a:cubicBezTo>
                  <a:cubicBezTo>
                    <a:pt x="744613" y="676650"/>
                    <a:pt x="744613" y="676154"/>
                    <a:pt x="736180" y="676154"/>
                  </a:cubicBezTo>
                  <a:cubicBezTo>
                    <a:pt x="728243" y="676154"/>
                    <a:pt x="728243" y="676650"/>
                    <a:pt x="719809" y="676650"/>
                  </a:cubicBezTo>
                  <a:cubicBezTo>
                    <a:pt x="711872" y="676650"/>
                    <a:pt x="711872" y="677147"/>
                    <a:pt x="703439" y="677147"/>
                  </a:cubicBezTo>
                  <a:cubicBezTo>
                    <a:pt x="695501" y="677147"/>
                    <a:pt x="695501" y="676650"/>
                    <a:pt x="687068" y="676650"/>
                  </a:cubicBezTo>
                  <a:cubicBezTo>
                    <a:pt x="679131" y="676650"/>
                    <a:pt x="679131" y="675658"/>
                    <a:pt x="670697" y="675658"/>
                  </a:cubicBezTo>
                  <a:cubicBezTo>
                    <a:pt x="662760" y="675658"/>
                    <a:pt x="662760" y="676650"/>
                    <a:pt x="654327" y="676650"/>
                  </a:cubicBezTo>
                  <a:cubicBezTo>
                    <a:pt x="646390" y="676650"/>
                    <a:pt x="646390" y="677147"/>
                    <a:pt x="637956" y="677147"/>
                  </a:cubicBezTo>
                  <a:cubicBezTo>
                    <a:pt x="630019" y="677147"/>
                    <a:pt x="630019" y="678139"/>
                    <a:pt x="621586" y="678139"/>
                  </a:cubicBezTo>
                  <a:cubicBezTo>
                    <a:pt x="613648" y="678139"/>
                    <a:pt x="613648" y="677643"/>
                    <a:pt x="605215" y="677643"/>
                  </a:cubicBezTo>
                  <a:cubicBezTo>
                    <a:pt x="597278" y="677643"/>
                    <a:pt x="597278" y="677643"/>
                    <a:pt x="588845" y="677643"/>
                  </a:cubicBezTo>
                  <a:cubicBezTo>
                    <a:pt x="580907" y="677643"/>
                    <a:pt x="580907" y="678635"/>
                    <a:pt x="572474" y="678635"/>
                  </a:cubicBezTo>
                  <a:cubicBezTo>
                    <a:pt x="564537" y="678635"/>
                    <a:pt x="564537" y="677643"/>
                    <a:pt x="556103" y="677643"/>
                  </a:cubicBezTo>
                  <a:cubicBezTo>
                    <a:pt x="548166" y="677643"/>
                    <a:pt x="548166" y="676650"/>
                    <a:pt x="539733" y="676650"/>
                  </a:cubicBezTo>
                  <a:cubicBezTo>
                    <a:pt x="531796" y="676650"/>
                    <a:pt x="531796" y="677643"/>
                    <a:pt x="523362" y="677643"/>
                  </a:cubicBezTo>
                  <a:cubicBezTo>
                    <a:pt x="515425" y="677643"/>
                    <a:pt x="515425" y="677643"/>
                    <a:pt x="506992" y="677643"/>
                  </a:cubicBezTo>
                  <a:cubicBezTo>
                    <a:pt x="499054" y="677643"/>
                    <a:pt x="499054" y="676650"/>
                    <a:pt x="490621" y="676650"/>
                  </a:cubicBezTo>
                  <a:cubicBezTo>
                    <a:pt x="482684" y="676650"/>
                    <a:pt x="482684" y="678139"/>
                    <a:pt x="474251" y="678139"/>
                  </a:cubicBezTo>
                  <a:cubicBezTo>
                    <a:pt x="466313" y="678139"/>
                    <a:pt x="466313" y="677643"/>
                    <a:pt x="457880" y="677643"/>
                  </a:cubicBezTo>
                  <a:cubicBezTo>
                    <a:pt x="449943" y="677643"/>
                    <a:pt x="449943" y="677147"/>
                    <a:pt x="441509" y="677147"/>
                  </a:cubicBezTo>
                  <a:cubicBezTo>
                    <a:pt x="433572" y="677147"/>
                    <a:pt x="433572" y="678139"/>
                    <a:pt x="425139" y="678139"/>
                  </a:cubicBezTo>
                  <a:cubicBezTo>
                    <a:pt x="417202" y="678139"/>
                    <a:pt x="417202" y="677147"/>
                    <a:pt x="408768" y="677147"/>
                  </a:cubicBezTo>
                  <a:cubicBezTo>
                    <a:pt x="400831" y="677147"/>
                    <a:pt x="400831" y="676154"/>
                    <a:pt x="392398" y="676154"/>
                  </a:cubicBezTo>
                  <a:cubicBezTo>
                    <a:pt x="384460" y="676154"/>
                    <a:pt x="384460" y="676650"/>
                    <a:pt x="376027" y="676650"/>
                  </a:cubicBezTo>
                  <a:cubicBezTo>
                    <a:pt x="368090" y="676650"/>
                    <a:pt x="368090" y="678139"/>
                    <a:pt x="359657" y="678139"/>
                  </a:cubicBezTo>
                  <a:cubicBezTo>
                    <a:pt x="351719" y="678139"/>
                    <a:pt x="351719" y="678139"/>
                    <a:pt x="343286" y="678139"/>
                  </a:cubicBezTo>
                  <a:cubicBezTo>
                    <a:pt x="335349" y="678139"/>
                    <a:pt x="335349" y="678139"/>
                    <a:pt x="326915" y="678139"/>
                  </a:cubicBezTo>
                  <a:cubicBezTo>
                    <a:pt x="318978" y="678139"/>
                    <a:pt x="318978" y="675658"/>
                    <a:pt x="310545" y="675658"/>
                  </a:cubicBezTo>
                  <a:cubicBezTo>
                    <a:pt x="302608" y="675658"/>
                    <a:pt x="302608" y="676650"/>
                    <a:pt x="294174" y="676650"/>
                  </a:cubicBezTo>
                  <a:cubicBezTo>
                    <a:pt x="285741" y="676650"/>
                    <a:pt x="286237" y="677147"/>
                    <a:pt x="277804" y="677147"/>
                  </a:cubicBezTo>
                  <a:cubicBezTo>
                    <a:pt x="272347" y="677147"/>
                    <a:pt x="266890" y="676650"/>
                    <a:pt x="261433" y="676154"/>
                  </a:cubicBezTo>
                  <a:cubicBezTo>
                    <a:pt x="255976" y="676154"/>
                    <a:pt x="250519" y="675658"/>
                    <a:pt x="245559" y="675162"/>
                  </a:cubicBezTo>
                  <a:cubicBezTo>
                    <a:pt x="240102" y="674666"/>
                    <a:pt x="234645" y="674666"/>
                    <a:pt x="229188" y="674170"/>
                  </a:cubicBezTo>
                  <a:cubicBezTo>
                    <a:pt x="223731" y="673674"/>
                    <a:pt x="218770" y="670697"/>
                    <a:pt x="213314" y="669706"/>
                  </a:cubicBezTo>
                  <a:cubicBezTo>
                    <a:pt x="207857" y="668713"/>
                    <a:pt x="202400" y="669706"/>
                    <a:pt x="196943" y="668713"/>
                  </a:cubicBezTo>
                  <a:cubicBezTo>
                    <a:pt x="191486" y="667721"/>
                    <a:pt x="186525" y="664745"/>
                    <a:pt x="181565" y="663256"/>
                  </a:cubicBezTo>
                  <a:cubicBezTo>
                    <a:pt x="176108" y="661768"/>
                    <a:pt x="170651" y="662264"/>
                    <a:pt x="165690" y="660776"/>
                  </a:cubicBezTo>
                  <a:cubicBezTo>
                    <a:pt x="160729" y="659287"/>
                    <a:pt x="155769" y="656807"/>
                    <a:pt x="150312" y="655319"/>
                  </a:cubicBezTo>
                  <a:cubicBezTo>
                    <a:pt x="145351" y="653335"/>
                    <a:pt x="140390" y="651350"/>
                    <a:pt x="135429" y="649366"/>
                  </a:cubicBezTo>
                  <a:cubicBezTo>
                    <a:pt x="130469" y="647382"/>
                    <a:pt x="125012" y="645398"/>
                    <a:pt x="120547" y="643413"/>
                  </a:cubicBezTo>
                  <a:cubicBezTo>
                    <a:pt x="115586" y="640933"/>
                    <a:pt x="111122" y="638452"/>
                    <a:pt x="106161" y="635476"/>
                  </a:cubicBezTo>
                  <a:cubicBezTo>
                    <a:pt x="101200" y="632996"/>
                    <a:pt x="96735" y="630515"/>
                    <a:pt x="92271" y="627539"/>
                  </a:cubicBezTo>
                  <a:cubicBezTo>
                    <a:pt x="87806" y="624562"/>
                    <a:pt x="83341" y="621090"/>
                    <a:pt x="78877" y="618113"/>
                  </a:cubicBezTo>
                  <a:cubicBezTo>
                    <a:pt x="74412" y="615137"/>
                    <a:pt x="70939" y="610672"/>
                    <a:pt x="66971" y="607199"/>
                  </a:cubicBezTo>
                  <a:cubicBezTo>
                    <a:pt x="63002" y="603727"/>
                    <a:pt x="58041" y="601247"/>
                    <a:pt x="54073" y="597278"/>
                  </a:cubicBezTo>
                  <a:cubicBezTo>
                    <a:pt x="50104" y="593309"/>
                    <a:pt x="45639" y="590333"/>
                    <a:pt x="42167" y="586364"/>
                  </a:cubicBezTo>
                  <a:cubicBezTo>
                    <a:pt x="38694" y="582395"/>
                    <a:pt x="35222" y="577931"/>
                    <a:pt x="31749" y="573962"/>
                  </a:cubicBezTo>
                  <a:cubicBezTo>
                    <a:pt x="28277" y="569497"/>
                    <a:pt x="25796" y="564537"/>
                    <a:pt x="23316" y="560072"/>
                  </a:cubicBezTo>
                  <a:cubicBezTo>
                    <a:pt x="20339" y="555608"/>
                    <a:pt x="17859" y="550647"/>
                    <a:pt x="15378" y="546182"/>
                  </a:cubicBezTo>
                  <a:cubicBezTo>
                    <a:pt x="12898" y="541221"/>
                    <a:pt x="10418" y="536756"/>
                    <a:pt x="8433" y="531300"/>
                  </a:cubicBezTo>
                  <a:cubicBezTo>
                    <a:pt x="6449" y="526339"/>
                    <a:pt x="6945" y="520386"/>
                    <a:pt x="5457" y="515425"/>
                  </a:cubicBezTo>
                  <a:cubicBezTo>
                    <a:pt x="3969" y="509968"/>
                    <a:pt x="992" y="505504"/>
                    <a:pt x="496" y="500046"/>
                  </a:cubicBezTo>
                  <a:cubicBezTo>
                    <a:pt x="0" y="494590"/>
                    <a:pt x="992" y="489133"/>
                    <a:pt x="992" y="483676"/>
                  </a:cubicBezTo>
                  <a:cubicBezTo>
                    <a:pt x="992" y="483676"/>
                    <a:pt x="0" y="483676"/>
                    <a:pt x="0" y="483676"/>
                  </a:cubicBezTo>
                  <a:cubicBezTo>
                    <a:pt x="0" y="478219"/>
                    <a:pt x="1984" y="472762"/>
                    <a:pt x="2480" y="467801"/>
                  </a:cubicBezTo>
                  <a:cubicBezTo>
                    <a:pt x="2976" y="462345"/>
                    <a:pt x="2480" y="456888"/>
                    <a:pt x="3473" y="451431"/>
                  </a:cubicBezTo>
                  <a:cubicBezTo>
                    <a:pt x="4961" y="445974"/>
                    <a:pt x="6449" y="441013"/>
                    <a:pt x="8433" y="436053"/>
                  </a:cubicBezTo>
                  <a:cubicBezTo>
                    <a:pt x="10418" y="431092"/>
                    <a:pt x="13890" y="426627"/>
                    <a:pt x="16371" y="421666"/>
                  </a:cubicBezTo>
                  <a:cubicBezTo>
                    <a:pt x="18851" y="416705"/>
                    <a:pt x="21331" y="412241"/>
                    <a:pt x="24308" y="407776"/>
                  </a:cubicBezTo>
                  <a:cubicBezTo>
                    <a:pt x="27284" y="403311"/>
                    <a:pt x="28773" y="397855"/>
                    <a:pt x="32245" y="393886"/>
                  </a:cubicBezTo>
                  <a:cubicBezTo>
                    <a:pt x="35222" y="389421"/>
                    <a:pt x="38694" y="385453"/>
                    <a:pt x="42167" y="381484"/>
                  </a:cubicBezTo>
                  <a:cubicBezTo>
                    <a:pt x="45639" y="377515"/>
                    <a:pt x="51096" y="375035"/>
                    <a:pt x="55065" y="371562"/>
                  </a:cubicBezTo>
                  <a:cubicBezTo>
                    <a:pt x="59033" y="368090"/>
                    <a:pt x="62010" y="363129"/>
                    <a:pt x="65978" y="359657"/>
                  </a:cubicBezTo>
                  <a:cubicBezTo>
                    <a:pt x="69947" y="356184"/>
                    <a:pt x="74908" y="353704"/>
                    <a:pt x="79372" y="350727"/>
                  </a:cubicBezTo>
                  <a:cubicBezTo>
                    <a:pt x="83837" y="347751"/>
                    <a:pt x="87310" y="343782"/>
                    <a:pt x="92271" y="340806"/>
                  </a:cubicBezTo>
                  <a:cubicBezTo>
                    <a:pt x="96735" y="337829"/>
                    <a:pt x="102192" y="336837"/>
                    <a:pt x="107153" y="334357"/>
                  </a:cubicBezTo>
                  <a:cubicBezTo>
                    <a:pt x="111618" y="331876"/>
                    <a:pt x="115586" y="327411"/>
                    <a:pt x="120547" y="325427"/>
                  </a:cubicBezTo>
                  <a:cubicBezTo>
                    <a:pt x="125508" y="322947"/>
                    <a:pt x="130469" y="321458"/>
                    <a:pt x="135429" y="319474"/>
                  </a:cubicBezTo>
                  <a:cubicBezTo>
                    <a:pt x="140390" y="317490"/>
                    <a:pt x="145847" y="316498"/>
                    <a:pt x="150808" y="315009"/>
                  </a:cubicBezTo>
                  <a:cubicBezTo>
                    <a:pt x="155769" y="313025"/>
                    <a:pt x="160729" y="311537"/>
                    <a:pt x="166186" y="310049"/>
                  </a:cubicBezTo>
                  <a:cubicBezTo>
                    <a:pt x="171147" y="308561"/>
                    <a:pt x="176108" y="305088"/>
                    <a:pt x="181068" y="303600"/>
                  </a:cubicBezTo>
                  <a:cubicBezTo>
                    <a:pt x="186029" y="302112"/>
                    <a:pt x="191486" y="301119"/>
                    <a:pt x="196943" y="300127"/>
                  </a:cubicBezTo>
                  <a:cubicBezTo>
                    <a:pt x="202400" y="299135"/>
                    <a:pt x="207857" y="299135"/>
                    <a:pt x="212818" y="298639"/>
                  </a:cubicBezTo>
                  <a:cubicBezTo>
                    <a:pt x="218274" y="297647"/>
                    <a:pt x="223235" y="296655"/>
                    <a:pt x="228692" y="296159"/>
                  </a:cubicBezTo>
                  <a:cubicBezTo>
                    <a:pt x="234149" y="295663"/>
                    <a:pt x="239110" y="293678"/>
                    <a:pt x="244567" y="293182"/>
                  </a:cubicBezTo>
                  <a:cubicBezTo>
                    <a:pt x="250023" y="292686"/>
                    <a:pt x="255480" y="294174"/>
                    <a:pt x="260937" y="293678"/>
                  </a:cubicBezTo>
                  <a:cubicBezTo>
                    <a:pt x="266394" y="293678"/>
                    <a:pt x="271851" y="293182"/>
                    <a:pt x="276812" y="293182"/>
                  </a:cubicBezTo>
                  <a:cubicBezTo>
                    <a:pt x="284749" y="293182"/>
                    <a:pt x="284749" y="293182"/>
                    <a:pt x="293182" y="293182"/>
                  </a:cubicBezTo>
                  <a:cubicBezTo>
                    <a:pt x="301119" y="293182"/>
                    <a:pt x="301119" y="292190"/>
                    <a:pt x="309553" y="292190"/>
                  </a:cubicBezTo>
                  <a:cubicBezTo>
                    <a:pt x="317490" y="292190"/>
                    <a:pt x="317490" y="294174"/>
                    <a:pt x="325923" y="294174"/>
                  </a:cubicBezTo>
                  <a:cubicBezTo>
                    <a:pt x="333861" y="294174"/>
                    <a:pt x="333861" y="293678"/>
                    <a:pt x="342294" y="293678"/>
                  </a:cubicBezTo>
                  <a:cubicBezTo>
                    <a:pt x="350231" y="293678"/>
                    <a:pt x="350231" y="291694"/>
                    <a:pt x="358664" y="291694"/>
                  </a:cubicBezTo>
                  <a:cubicBezTo>
                    <a:pt x="366602" y="291694"/>
                    <a:pt x="366602" y="293182"/>
                    <a:pt x="375035" y="293182"/>
                  </a:cubicBezTo>
                  <a:cubicBezTo>
                    <a:pt x="382972" y="293182"/>
                    <a:pt x="382972" y="293678"/>
                    <a:pt x="391406" y="293678"/>
                  </a:cubicBezTo>
                  <a:cubicBezTo>
                    <a:pt x="399343" y="293678"/>
                    <a:pt x="399343" y="293182"/>
                    <a:pt x="407776" y="293182"/>
                  </a:cubicBezTo>
                  <a:cubicBezTo>
                    <a:pt x="415713" y="293182"/>
                    <a:pt x="415713" y="292190"/>
                    <a:pt x="424147" y="292190"/>
                  </a:cubicBezTo>
                  <a:cubicBezTo>
                    <a:pt x="432084" y="292190"/>
                    <a:pt x="432084" y="292686"/>
                    <a:pt x="440517" y="292686"/>
                  </a:cubicBezTo>
                  <a:cubicBezTo>
                    <a:pt x="448455" y="292686"/>
                    <a:pt x="448455" y="293182"/>
                    <a:pt x="456888" y="293182"/>
                  </a:cubicBezTo>
                  <a:cubicBezTo>
                    <a:pt x="464825" y="293182"/>
                    <a:pt x="464825" y="291694"/>
                    <a:pt x="473258" y="291694"/>
                  </a:cubicBezTo>
                  <a:cubicBezTo>
                    <a:pt x="481196" y="291694"/>
                    <a:pt x="481196" y="292190"/>
                    <a:pt x="489629" y="292190"/>
                  </a:cubicBezTo>
                  <a:cubicBezTo>
                    <a:pt x="497566" y="292190"/>
                    <a:pt x="497566" y="293182"/>
                    <a:pt x="506000" y="293182"/>
                  </a:cubicBezTo>
                  <a:cubicBezTo>
                    <a:pt x="513937" y="293182"/>
                    <a:pt x="513937" y="292686"/>
                    <a:pt x="522370" y="292686"/>
                  </a:cubicBezTo>
                  <a:cubicBezTo>
                    <a:pt x="527827" y="292686"/>
                    <a:pt x="532788" y="291694"/>
                    <a:pt x="537749" y="290206"/>
                  </a:cubicBezTo>
                  <a:cubicBezTo>
                    <a:pt x="543205" y="288221"/>
                    <a:pt x="547670" y="285741"/>
                    <a:pt x="551143" y="282268"/>
                  </a:cubicBezTo>
                  <a:cubicBezTo>
                    <a:pt x="555111" y="278300"/>
                    <a:pt x="557096" y="273835"/>
                    <a:pt x="557096" y="268378"/>
                  </a:cubicBezTo>
                  <a:cubicBezTo>
                    <a:pt x="557096" y="268378"/>
                    <a:pt x="558584" y="268378"/>
                    <a:pt x="558584" y="268378"/>
                  </a:cubicBezTo>
                  <a:cubicBezTo>
                    <a:pt x="558584" y="262921"/>
                    <a:pt x="555111" y="258953"/>
                    <a:pt x="551143" y="254984"/>
                  </a:cubicBezTo>
                  <a:cubicBezTo>
                    <a:pt x="547670" y="251512"/>
                    <a:pt x="543701" y="248039"/>
                    <a:pt x="538245" y="246055"/>
                  </a:cubicBezTo>
                  <a:cubicBezTo>
                    <a:pt x="533780" y="244566"/>
                    <a:pt x="528323" y="244566"/>
                    <a:pt x="522370" y="244566"/>
                  </a:cubicBezTo>
                  <a:cubicBezTo>
                    <a:pt x="518898" y="244566"/>
                    <a:pt x="518898" y="243574"/>
                    <a:pt x="515921" y="243574"/>
                  </a:cubicBezTo>
                  <a:cubicBezTo>
                    <a:pt x="510464" y="243574"/>
                    <a:pt x="504511" y="244566"/>
                    <a:pt x="499054" y="244070"/>
                  </a:cubicBezTo>
                  <a:cubicBezTo>
                    <a:pt x="493598" y="243574"/>
                    <a:pt x="488141" y="241590"/>
                    <a:pt x="482684" y="241094"/>
                  </a:cubicBezTo>
                  <a:cubicBezTo>
                    <a:pt x="477227" y="240102"/>
                    <a:pt x="471274" y="241094"/>
                    <a:pt x="465817" y="240102"/>
                  </a:cubicBezTo>
                  <a:cubicBezTo>
                    <a:pt x="460360" y="239110"/>
                    <a:pt x="455400" y="236133"/>
                    <a:pt x="449943" y="234645"/>
                  </a:cubicBezTo>
                  <a:cubicBezTo>
                    <a:pt x="444486" y="233157"/>
                    <a:pt x="439029" y="231668"/>
                    <a:pt x="434068" y="229684"/>
                  </a:cubicBezTo>
                  <a:cubicBezTo>
                    <a:pt x="428611" y="227700"/>
                    <a:pt x="423651" y="225220"/>
                    <a:pt x="418690" y="223235"/>
                  </a:cubicBezTo>
                  <a:cubicBezTo>
                    <a:pt x="413729" y="220755"/>
                    <a:pt x="408272" y="219267"/>
                    <a:pt x="403311" y="216290"/>
                  </a:cubicBezTo>
                  <a:cubicBezTo>
                    <a:pt x="398351" y="213314"/>
                    <a:pt x="392894" y="211329"/>
                    <a:pt x="388429" y="207857"/>
                  </a:cubicBezTo>
                  <a:cubicBezTo>
                    <a:pt x="383964" y="204384"/>
                    <a:pt x="379500" y="200416"/>
                    <a:pt x="375531" y="196943"/>
                  </a:cubicBezTo>
                  <a:cubicBezTo>
                    <a:pt x="371563" y="192974"/>
                    <a:pt x="367594" y="189006"/>
                    <a:pt x="364121" y="184541"/>
                  </a:cubicBezTo>
                  <a:cubicBezTo>
                    <a:pt x="360649" y="180076"/>
                    <a:pt x="358664" y="174619"/>
                    <a:pt x="355688" y="170155"/>
                  </a:cubicBezTo>
                  <a:cubicBezTo>
                    <a:pt x="352711" y="165194"/>
                    <a:pt x="348743" y="161225"/>
                    <a:pt x="346263" y="156265"/>
                  </a:cubicBezTo>
                  <a:cubicBezTo>
                    <a:pt x="344278" y="150808"/>
                    <a:pt x="344774" y="144855"/>
                    <a:pt x="343782" y="139398"/>
                  </a:cubicBezTo>
                  <a:cubicBezTo>
                    <a:pt x="342790" y="133941"/>
                    <a:pt x="340310" y="128484"/>
                    <a:pt x="340310" y="123027"/>
                  </a:cubicBezTo>
                  <a:cubicBezTo>
                    <a:pt x="340310" y="123027"/>
                    <a:pt x="341798" y="123027"/>
                    <a:pt x="341798" y="123027"/>
                  </a:cubicBezTo>
                  <a:cubicBezTo>
                    <a:pt x="341798" y="117571"/>
                    <a:pt x="341798" y="111618"/>
                    <a:pt x="342790" y="106161"/>
                  </a:cubicBezTo>
                  <a:cubicBezTo>
                    <a:pt x="343782" y="100704"/>
                    <a:pt x="345270" y="95247"/>
                    <a:pt x="347255" y="89790"/>
                  </a:cubicBezTo>
                  <a:cubicBezTo>
                    <a:pt x="349239" y="84830"/>
                    <a:pt x="352711" y="80365"/>
                    <a:pt x="355688" y="75404"/>
                  </a:cubicBezTo>
                  <a:cubicBezTo>
                    <a:pt x="358664" y="70939"/>
                    <a:pt x="360649" y="65482"/>
                    <a:pt x="364121" y="61018"/>
                  </a:cubicBezTo>
                  <a:cubicBezTo>
                    <a:pt x="367594" y="57049"/>
                    <a:pt x="373051" y="54073"/>
                    <a:pt x="377019" y="50600"/>
                  </a:cubicBezTo>
                  <a:cubicBezTo>
                    <a:pt x="380988" y="47127"/>
                    <a:pt x="383964" y="41671"/>
                    <a:pt x="388429" y="38198"/>
                  </a:cubicBezTo>
                  <a:cubicBezTo>
                    <a:pt x="392894" y="35222"/>
                    <a:pt x="398351" y="32741"/>
                    <a:pt x="402815" y="29765"/>
                  </a:cubicBezTo>
                  <a:cubicBezTo>
                    <a:pt x="407776" y="26788"/>
                    <a:pt x="412241" y="23812"/>
                    <a:pt x="417202" y="21331"/>
                  </a:cubicBezTo>
                  <a:cubicBezTo>
                    <a:pt x="422162" y="18851"/>
                    <a:pt x="427619" y="17363"/>
                    <a:pt x="433076" y="15379"/>
                  </a:cubicBezTo>
                  <a:cubicBezTo>
                    <a:pt x="438037" y="13394"/>
                    <a:pt x="443494" y="10914"/>
                    <a:pt x="448951" y="9426"/>
                  </a:cubicBezTo>
                  <a:cubicBezTo>
                    <a:pt x="454407" y="7937"/>
                    <a:pt x="459864" y="6945"/>
                    <a:pt x="465321" y="5953"/>
                  </a:cubicBezTo>
                  <a:cubicBezTo>
                    <a:pt x="470778" y="4961"/>
                    <a:pt x="476235" y="3969"/>
                    <a:pt x="481692" y="3473"/>
                  </a:cubicBezTo>
                  <a:cubicBezTo>
                    <a:pt x="487149" y="2977"/>
                    <a:pt x="492605" y="2480"/>
                    <a:pt x="498558" y="1984"/>
                  </a:cubicBezTo>
                  <a:cubicBezTo>
                    <a:pt x="504015" y="1488"/>
                    <a:pt x="509472" y="496"/>
                    <a:pt x="515425" y="496"/>
                  </a:cubicBezTo>
                  <a:cubicBezTo>
                    <a:pt x="523858" y="496"/>
                    <a:pt x="523858" y="1488"/>
                    <a:pt x="531796" y="1488"/>
                  </a:cubicBezTo>
                  <a:cubicBezTo>
                    <a:pt x="540229" y="1488"/>
                    <a:pt x="540229" y="1488"/>
                    <a:pt x="548662" y="1488"/>
                  </a:cubicBezTo>
                  <a:cubicBezTo>
                    <a:pt x="557096" y="1488"/>
                    <a:pt x="557096" y="496"/>
                    <a:pt x="565529" y="496"/>
                  </a:cubicBezTo>
                  <a:cubicBezTo>
                    <a:pt x="573962" y="496"/>
                    <a:pt x="573962" y="1984"/>
                    <a:pt x="582396" y="1984"/>
                  </a:cubicBezTo>
                  <a:cubicBezTo>
                    <a:pt x="590829" y="1984"/>
                    <a:pt x="590829" y="496"/>
                    <a:pt x="599262" y="496"/>
                  </a:cubicBezTo>
                  <a:cubicBezTo>
                    <a:pt x="607695" y="496"/>
                    <a:pt x="607695" y="992"/>
                    <a:pt x="616129" y="992"/>
                  </a:cubicBezTo>
                  <a:cubicBezTo>
                    <a:pt x="624562" y="992"/>
                    <a:pt x="624562" y="1488"/>
                    <a:pt x="632995" y="1488"/>
                  </a:cubicBezTo>
                  <a:cubicBezTo>
                    <a:pt x="641429" y="1488"/>
                    <a:pt x="641429" y="992"/>
                    <a:pt x="649862" y="992"/>
                  </a:cubicBezTo>
                  <a:cubicBezTo>
                    <a:pt x="658296" y="992"/>
                    <a:pt x="658296" y="0"/>
                    <a:pt x="666729" y="0"/>
                  </a:cubicBezTo>
                  <a:cubicBezTo>
                    <a:pt x="675162" y="0"/>
                    <a:pt x="675162" y="0"/>
                    <a:pt x="683596" y="0"/>
                  </a:cubicBezTo>
                  <a:cubicBezTo>
                    <a:pt x="692029" y="0"/>
                    <a:pt x="692029" y="992"/>
                    <a:pt x="700462" y="992"/>
                  </a:cubicBezTo>
                  <a:cubicBezTo>
                    <a:pt x="708896" y="992"/>
                    <a:pt x="708896" y="2480"/>
                    <a:pt x="717329" y="2480"/>
                  </a:cubicBezTo>
                  <a:cubicBezTo>
                    <a:pt x="725762" y="2480"/>
                    <a:pt x="725762" y="1488"/>
                    <a:pt x="734195" y="1488"/>
                  </a:cubicBezTo>
                  <a:cubicBezTo>
                    <a:pt x="742629" y="1488"/>
                    <a:pt x="742629" y="496"/>
                    <a:pt x="751062" y="4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079970FD-7F9B-87A2-AFB2-9F9990D6AC39}"/>
                </a:ext>
              </a:extLst>
            </p:cNvPr>
            <p:cNvSpPr/>
            <p:nvPr/>
          </p:nvSpPr>
          <p:spPr>
            <a:xfrm>
              <a:off x="2536812" y="4953338"/>
              <a:ext cx="306576" cy="25299"/>
            </a:xfrm>
            <a:custGeom>
              <a:avLst/>
              <a:gdLst>
                <a:gd name="connsiteX0" fmla="*/ 306576 w 306576"/>
                <a:gd name="connsiteY0" fmla="*/ 24308 h 25299"/>
                <a:gd name="connsiteX1" fmla="*/ 292686 w 306576"/>
                <a:gd name="connsiteY1" fmla="*/ 20339 h 25299"/>
                <a:gd name="connsiteX2" fmla="*/ 280780 w 306576"/>
                <a:gd name="connsiteY2" fmla="*/ 12402 h 25299"/>
                <a:gd name="connsiteX3" fmla="*/ 269370 w 306576"/>
                <a:gd name="connsiteY3" fmla="*/ 3969 h 25299"/>
                <a:gd name="connsiteX4" fmla="*/ 255480 w 306576"/>
                <a:gd name="connsiteY4" fmla="*/ 992 h 25299"/>
                <a:gd name="connsiteX5" fmla="*/ 241590 w 306576"/>
                <a:gd name="connsiteY5" fmla="*/ 3473 h 25299"/>
                <a:gd name="connsiteX6" fmla="*/ 229684 w 306576"/>
                <a:gd name="connsiteY6" fmla="*/ 12402 h 25299"/>
                <a:gd name="connsiteX7" fmla="*/ 218770 w 306576"/>
                <a:gd name="connsiteY7" fmla="*/ 21828 h 25299"/>
                <a:gd name="connsiteX8" fmla="*/ 204384 w 306576"/>
                <a:gd name="connsiteY8" fmla="*/ 24308 h 25299"/>
                <a:gd name="connsiteX9" fmla="*/ 190494 w 306576"/>
                <a:gd name="connsiteY9" fmla="*/ 20835 h 25299"/>
                <a:gd name="connsiteX10" fmla="*/ 179084 w 306576"/>
                <a:gd name="connsiteY10" fmla="*/ 12402 h 25299"/>
                <a:gd name="connsiteX11" fmla="*/ 167674 w 306576"/>
                <a:gd name="connsiteY11" fmla="*/ 2976 h 25299"/>
                <a:gd name="connsiteX12" fmla="*/ 153288 w 306576"/>
                <a:gd name="connsiteY12" fmla="*/ 1488 h 25299"/>
                <a:gd name="connsiteX13" fmla="*/ 138902 w 306576"/>
                <a:gd name="connsiteY13" fmla="*/ 2976 h 25299"/>
                <a:gd name="connsiteX14" fmla="*/ 127492 w 306576"/>
                <a:gd name="connsiteY14" fmla="*/ 11906 h 25299"/>
                <a:gd name="connsiteX15" fmla="*/ 116578 w 306576"/>
                <a:gd name="connsiteY15" fmla="*/ 21331 h 25299"/>
                <a:gd name="connsiteX16" fmla="*/ 102192 w 306576"/>
                <a:gd name="connsiteY16" fmla="*/ 23812 h 25299"/>
                <a:gd name="connsiteX17" fmla="*/ 88302 w 306576"/>
                <a:gd name="connsiteY17" fmla="*/ 20835 h 25299"/>
                <a:gd name="connsiteX18" fmla="*/ 77388 w 306576"/>
                <a:gd name="connsiteY18" fmla="*/ 11410 h 25299"/>
                <a:gd name="connsiteX19" fmla="*/ 65482 w 306576"/>
                <a:gd name="connsiteY19" fmla="*/ 2480 h 25299"/>
                <a:gd name="connsiteX20" fmla="*/ 51096 w 306576"/>
                <a:gd name="connsiteY20" fmla="*/ 0 h 25299"/>
                <a:gd name="connsiteX21" fmla="*/ 37206 w 306576"/>
                <a:gd name="connsiteY21" fmla="*/ 3473 h 25299"/>
                <a:gd name="connsiteX22" fmla="*/ 25796 w 306576"/>
                <a:gd name="connsiteY22" fmla="*/ 12402 h 25299"/>
                <a:gd name="connsiteX23" fmla="*/ 13890 w 306576"/>
                <a:gd name="connsiteY23" fmla="*/ 20835 h 25299"/>
                <a:gd name="connsiteX24" fmla="*/ 0 w 306576"/>
                <a:gd name="connsiteY24" fmla="*/ 25300 h 2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6576" h="25299">
                  <a:moveTo>
                    <a:pt x="306576" y="24308"/>
                  </a:moveTo>
                  <a:cubicBezTo>
                    <a:pt x="300623" y="24308"/>
                    <a:pt x="296655" y="22324"/>
                    <a:pt x="292686" y="20339"/>
                  </a:cubicBezTo>
                  <a:cubicBezTo>
                    <a:pt x="288221" y="17859"/>
                    <a:pt x="284253" y="15378"/>
                    <a:pt x="280780" y="12402"/>
                  </a:cubicBezTo>
                  <a:cubicBezTo>
                    <a:pt x="277308" y="8929"/>
                    <a:pt x="273835" y="6449"/>
                    <a:pt x="269370" y="3969"/>
                  </a:cubicBezTo>
                  <a:cubicBezTo>
                    <a:pt x="265402" y="1984"/>
                    <a:pt x="261433" y="992"/>
                    <a:pt x="255480" y="992"/>
                  </a:cubicBezTo>
                  <a:cubicBezTo>
                    <a:pt x="249527" y="992"/>
                    <a:pt x="245062" y="1488"/>
                    <a:pt x="241590" y="3473"/>
                  </a:cubicBezTo>
                  <a:cubicBezTo>
                    <a:pt x="237125" y="5953"/>
                    <a:pt x="233157" y="8929"/>
                    <a:pt x="229684" y="12402"/>
                  </a:cubicBezTo>
                  <a:cubicBezTo>
                    <a:pt x="226211" y="15875"/>
                    <a:pt x="223235" y="19843"/>
                    <a:pt x="218770" y="21828"/>
                  </a:cubicBezTo>
                  <a:cubicBezTo>
                    <a:pt x="214802" y="23812"/>
                    <a:pt x="210337" y="24308"/>
                    <a:pt x="204384" y="24308"/>
                  </a:cubicBezTo>
                  <a:cubicBezTo>
                    <a:pt x="198431" y="24308"/>
                    <a:pt x="194462" y="22819"/>
                    <a:pt x="190494" y="20835"/>
                  </a:cubicBezTo>
                  <a:cubicBezTo>
                    <a:pt x="186029" y="18355"/>
                    <a:pt x="182557" y="15875"/>
                    <a:pt x="179084" y="12402"/>
                  </a:cubicBezTo>
                  <a:cubicBezTo>
                    <a:pt x="175612" y="8929"/>
                    <a:pt x="172139" y="5457"/>
                    <a:pt x="167674" y="2976"/>
                  </a:cubicBezTo>
                  <a:cubicBezTo>
                    <a:pt x="163706" y="992"/>
                    <a:pt x="159241" y="1488"/>
                    <a:pt x="153288" y="1488"/>
                  </a:cubicBezTo>
                  <a:cubicBezTo>
                    <a:pt x="147335" y="1488"/>
                    <a:pt x="142870" y="992"/>
                    <a:pt x="138902" y="2976"/>
                  </a:cubicBezTo>
                  <a:cubicBezTo>
                    <a:pt x="134437" y="5457"/>
                    <a:pt x="130965" y="8929"/>
                    <a:pt x="127492" y="11906"/>
                  </a:cubicBezTo>
                  <a:cubicBezTo>
                    <a:pt x="124019" y="15378"/>
                    <a:pt x="121043" y="19347"/>
                    <a:pt x="116578" y="21331"/>
                  </a:cubicBezTo>
                  <a:cubicBezTo>
                    <a:pt x="112610" y="23316"/>
                    <a:pt x="108145" y="23812"/>
                    <a:pt x="102192" y="23812"/>
                  </a:cubicBezTo>
                  <a:cubicBezTo>
                    <a:pt x="96239" y="23812"/>
                    <a:pt x="92270" y="22819"/>
                    <a:pt x="88302" y="20835"/>
                  </a:cubicBezTo>
                  <a:cubicBezTo>
                    <a:pt x="83837" y="18355"/>
                    <a:pt x="80861" y="14882"/>
                    <a:pt x="77388" y="11410"/>
                  </a:cubicBezTo>
                  <a:cubicBezTo>
                    <a:pt x="73916" y="7937"/>
                    <a:pt x="69947" y="4961"/>
                    <a:pt x="65482" y="2480"/>
                  </a:cubicBezTo>
                  <a:cubicBezTo>
                    <a:pt x="61514" y="496"/>
                    <a:pt x="57049" y="0"/>
                    <a:pt x="51096" y="0"/>
                  </a:cubicBezTo>
                  <a:cubicBezTo>
                    <a:pt x="45143" y="0"/>
                    <a:pt x="41174" y="1984"/>
                    <a:pt x="37206" y="3473"/>
                  </a:cubicBezTo>
                  <a:cubicBezTo>
                    <a:pt x="32741" y="5953"/>
                    <a:pt x="29269" y="8929"/>
                    <a:pt x="25796" y="12402"/>
                  </a:cubicBezTo>
                  <a:cubicBezTo>
                    <a:pt x="22324" y="15875"/>
                    <a:pt x="18355" y="18355"/>
                    <a:pt x="13890" y="20835"/>
                  </a:cubicBezTo>
                  <a:cubicBezTo>
                    <a:pt x="9922" y="22819"/>
                    <a:pt x="5953" y="25300"/>
                    <a:pt x="0" y="2530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BD4CB746-1643-DEAA-F601-D6A8C4F6474C}"/>
                </a:ext>
              </a:extLst>
            </p:cNvPr>
            <p:cNvSpPr/>
            <p:nvPr/>
          </p:nvSpPr>
          <p:spPr>
            <a:xfrm>
              <a:off x="2814120" y="5030726"/>
              <a:ext cx="305584" cy="25796"/>
            </a:xfrm>
            <a:custGeom>
              <a:avLst/>
              <a:gdLst>
                <a:gd name="connsiteX0" fmla="*/ 305584 w 305584"/>
                <a:gd name="connsiteY0" fmla="*/ 25796 h 25796"/>
                <a:gd name="connsiteX1" fmla="*/ 291694 w 305584"/>
                <a:gd name="connsiteY1" fmla="*/ 21332 h 25796"/>
                <a:gd name="connsiteX2" fmla="*/ 280780 w 305584"/>
                <a:gd name="connsiteY2" fmla="*/ 11906 h 25796"/>
                <a:gd name="connsiteX3" fmla="*/ 268874 w 305584"/>
                <a:gd name="connsiteY3" fmla="*/ 3473 h 25796"/>
                <a:gd name="connsiteX4" fmla="*/ 254488 w 305584"/>
                <a:gd name="connsiteY4" fmla="*/ 0 h 25796"/>
                <a:gd name="connsiteX5" fmla="*/ 240102 w 305584"/>
                <a:gd name="connsiteY5" fmla="*/ 2977 h 25796"/>
                <a:gd name="connsiteX6" fmla="*/ 229684 w 305584"/>
                <a:gd name="connsiteY6" fmla="*/ 12898 h 25796"/>
                <a:gd name="connsiteX7" fmla="*/ 217778 w 305584"/>
                <a:gd name="connsiteY7" fmla="*/ 21332 h 25796"/>
                <a:gd name="connsiteX8" fmla="*/ 203888 w 305584"/>
                <a:gd name="connsiteY8" fmla="*/ 25796 h 25796"/>
                <a:gd name="connsiteX9" fmla="*/ 190494 w 305584"/>
                <a:gd name="connsiteY9" fmla="*/ 20339 h 25796"/>
                <a:gd name="connsiteX10" fmla="*/ 178588 w 305584"/>
                <a:gd name="connsiteY10" fmla="*/ 12402 h 25796"/>
                <a:gd name="connsiteX11" fmla="*/ 167674 w 305584"/>
                <a:gd name="connsiteY11" fmla="*/ 2977 h 25796"/>
                <a:gd name="connsiteX12" fmla="*/ 153288 w 305584"/>
                <a:gd name="connsiteY12" fmla="*/ 496 h 25796"/>
                <a:gd name="connsiteX13" fmla="*/ 139398 w 305584"/>
                <a:gd name="connsiteY13" fmla="*/ 3473 h 25796"/>
                <a:gd name="connsiteX14" fmla="*/ 128484 w 305584"/>
                <a:gd name="connsiteY14" fmla="*/ 12898 h 25796"/>
                <a:gd name="connsiteX15" fmla="*/ 116578 w 305584"/>
                <a:gd name="connsiteY15" fmla="*/ 21828 h 25796"/>
                <a:gd name="connsiteX16" fmla="*/ 102192 w 305584"/>
                <a:gd name="connsiteY16" fmla="*/ 23316 h 25796"/>
                <a:gd name="connsiteX17" fmla="*/ 87806 w 305584"/>
                <a:gd name="connsiteY17" fmla="*/ 21332 h 25796"/>
                <a:gd name="connsiteX18" fmla="*/ 75900 w 305584"/>
                <a:gd name="connsiteY18" fmla="*/ 12898 h 25796"/>
                <a:gd name="connsiteX19" fmla="*/ 65482 w 305584"/>
                <a:gd name="connsiteY19" fmla="*/ 2480 h 25796"/>
                <a:gd name="connsiteX20" fmla="*/ 51096 w 305584"/>
                <a:gd name="connsiteY20" fmla="*/ 0 h 25796"/>
                <a:gd name="connsiteX21" fmla="*/ 37702 w 305584"/>
                <a:gd name="connsiteY21" fmla="*/ 3969 h 25796"/>
                <a:gd name="connsiteX22" fmla="*/ 25300 w 305584"/>
                <a:gd name="connsiteY22" fmla="*/ 11410 h 25796"/>
                <a:gd name="connsiteX23" fmla="*/ 13890 w 305584"/>
                <a:gd name="connsiteY23" fmla="*/ 20339 h 25796"/>
                <a:gd name="connsiteX24" fmla="*/ 0 w 305584"/>
                <a:gd name="connsiteY24" fmla="*/ 24308 h 2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5584" h="25796">
                  <a:moveTo>
                    <a:pt x="305584" y="25796"/>
                  </a:moveTo>
                  <a:cubicBezTo>
                    <a:pt x="299631" y="25796"/>
                    <a:pt x="295662" y="23316"/>
                    <a:pt x="291694" y="21332"/>
                  </a:cubicBezTo>
                  <a:cubicBezTo>
                    <a:pt x="287229" y="18851"/>
                    <a:pt x="284253" y="15379"/>
                    <a:pt x="280780" y="11906"/>
                  </a:cubicBezTo>
                  <a:cubicBezTo>
                    <a:pt x="277308" y="8433"/>
                    <a:pt x="273339" y="5953"/>
                    <a:pt x="268874" y="3473"/>
                  </a:cubicBezTo>
                  <a:cubicBezTo>
                    <a:pt x="264906" y="1488"/>
                    <a:pt x="260441" y="0"/>
                    <a:pt x="254488" y="0"/>
                  </a:cubicBezTo>
                  <a:cubicBezTo>
                    <a:pt x="248535" y="0"/>
                    <a:pt x="244070" y="992"/>
                    <a:pt x="240102" y="2977"/>
                  </a:cubicBezTo>
                  <a:cubicBezTo>
                    <a:pt x="235637" y="5457"/>
                    <a:pt x="233157" y="9922"/>
                    <a:pt x="229684" y="12898"/>
                  </a:cubicBezTo>
                  <a:cubicBezTo>
                    <a:pt x="226212" y="16371"/>
                    <a:pt x="222243" y="18851"/>
                    <a:pt x="217778" y="21332"/>
                  </a:cubicBezTo>
                  <a:cubicBezTo>
                    <a:pt x="213810" y="23316"/>
                    <a:pt x="209841" y="25796"/>
                    <a:pt x="203888" y="25796"/>
                  </a:cubicBezTo>
                  <a:cubicBezTo>
                    <a:pt x="197935" y="25796"/>
                    <a:pt x="193967" y="22324"/>
                    <a:pt x="190494" y="20339"/>
                  </a:cubicBezTo>
                  <a:cubicBezTo>
                    <a:pt x="186029" y="17859"/>
                    <a:pt x="182061" y="15875"/>
                    <a:pt x="178588" y="12402"/>
                  </a:cubicBezTo>
                  <a:cubicBezTo>
                    <a:pt x="175115" y="8930"/>
                    <a:pt x="172139" y="4961"/>
                    <a:pt x="167674" y="2977"/>
                  </a:cubicBezTo>
                  <a:cubicBezTo>
                    <a:pt x="163706" y="992"/>
                    <a:pt x="159241" y="496"/>
                    <a:pt x="153288" y="496"/>
                  </a:cubicBezTo>
                  <a:cubicBezTo>
                    <a:pt x="147335" y="496"/>
                    <a:pt x="142870" y="1984"/>
                    <a:pt x="139398" y="3473"/>
                  </a:cubicBezTo>
                  <a:cubicBezTo>
                    <a:pt x="134933" y="5953"/>
                    <a:pt x="131957" y="9426"/>
                    <a:pt x="128484" y="12898"/>
                  </a:cubicBezTo>
                  <a:cubicBezTo>
                    <a:pt x="125012" y="16371"/>
                    <a:pt x="121043" y="19347"/>
                    <a:pt x="116578" y="21828"/>
                  </a:cubicBezTo>
                  <a:cubicBezTo>
                    <a:pt x="112610" y="23812"/>
                    <a:pt x="108145" y="23316"/>
                    <a:pt x="102192" y="23316"/>
                  </a:cubicBezTo>
                  <a:cubicBezTo>
                    <a:pt x="96239" y="23316"/>
                    <a:pt x="91774" y="23316"/>
                    <a:pt x="87806" y="21332"/>
                  </a:cubicBezTo>
                  <a:cubicBezTo>
                    <a:pt x="83341" y="18851"/>
                    <a:pt x="79372" y="16371"/>
                    <a:pt x="75900" y="12898"/>
                  </a:cubicBezTo>
                  <a:cubicBezTo>
                    <a:pt x="72427" y="9426"/>
                    <a:pt x="69947" y="4961"/>
                    <a:pt x="65482" y="2480"/>
                  </a:cubicBezTo>
                  <a:cubicBezTo>
                    <a:pt x="61514" y="496"/>
                    <a:pt x="57049" y="0"/>
                    <a:pt x="51096" y="0"/>
                  </a:cubicBezTo>
                  <a:cubicBezTo>
                    <a:pt x="45143" y="0"/>
                    <a:pt x="41174" y="1984"/>
                    <a:pt x="37702" y="3969"/>
                  </a:cubicBezTo>
                  <a:cubicBezTo>
                    <a:pt x="33237" y="6449"/>
                    <a:pt x="28772" y="7937"/>
                    <a:pt x="25300" y="11410"/>
                  </a:cubicBezTo>
                  <a:cubicBezTo>
                    <a:pt x="21827" y="14882"/>
                    <a:pt x="18355" y="17859"/>
                    <a:pt x="13890" y="20339"/>
                  </a:cubicBezTo>
                  <a:cubicBezTo>
                    <a:pt x="9922" y="22324"/>
                    <a:pt x="5953" y="24308"/>
                    <a:pt x="0" y="2430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93A4E20F-328D-DDED-4FCC-FA8192108DF8}"/>
                </a:ext>
              </a:extLst>
            </p:cNvPr>
            <p:cNvSpPr/>
            <p:nvPr/>
          </p:nvSpPr>
          <p:spPr>
            <a:xfrm>
              <a:off x="3056702" y="4791616"/>
              <a:ext cx="306080" cy="26788"/>
            </a:xfrm>
            <a:custGeom>
              <a:avLst/>
              <a:gdLst>
                <a:gd name="connsiteX0" fmla="*/ 306080 w 306080"/>
                <a:gd name="connsiteY0" fmla="*/ 25300 h 26788"/>
                <a:gd name="connsiteX1" fmla="*/ 292190 w 306080"/>
                <a:gd name="connsiteY1" fmla="*/ 22324 h 26788"/>
                <a:gd name="connsiteX2" fmla="*/ 280284 w 306080"/>
                <a:gd name="connsiteY2" fmla="*/ 13890 h 26788"/>
                <a:gd name="connsiteX3" fmla="*/ 268874 w 306080"/>
                <a:gd name="connsiteY3" fmla="*/ 4961 h 26788"/>
                <a:gd name="connsiteX4" fmla="*/ 254984 w 306080"/>
                <a:gd name="connsiteY4" fmla="*/ 992 h 26788"/>
                <a:gd name="connsiteX5" fmla="*/ 240102 w 306080"/>
                <a:gd name="connsiteY5" fmla="*/ 3969 h 26788"/>
                <a:gd name="connsiteX6" fmla="*/ 229188 w 306080"/>
                <a:gd name="connsiteY6" fmla="*/ 13890 h 26788"/>
                <a:gd name="connsiteX7" fmla="*/ 217282 w 306080"/>
                <a:gd name="connsiteY7" fmla="*/ 21827 h 26788"/>
                <a:gd name="connsiteX8" fmla="*/ 203888 w 306080"/>
                <a:gd name="connsiteY8" fmla="*/ 24804 h 26788"/>
                <a:gd name="connsiteX9" fmla="*/ 189998 w 306080"/>
                <a:gd name="connsiteY9" fmla="*/ 22324 h 26788"/>
                <a:gd name="connsiteX10" fmla="*/ 178588 w 306080"/>
                <a:gd name="connsiteY10" fmla="*/ 13394 h 26788"/>
                <a:gd name="connsiteX11" fmla="*/ 167178 w 306080"/>
                <a:gd name="connsiteY11" fmla="*/ 4961 h 26788"/>
                <a:gd name="connsiteX12" fmla="*/ 153288 w 306080"/>
                <a:gd name="connsiteY12" fmla="*/ 0 h 26788"/>
                <a:gd name="connsiteX13" fmla="*/ 138902 w 306080"/>
                <a:gd name="connsiteY13" fmla="*/ 3969 h 26788"/>
                <a:gd name="connsiteX14" fmla="*/ 127492 w 306080"/>
                <a:gd name="connsiteY14" fmla="*/ 13394 h 26788"/>
                <a:gd name="connsiteX15" fmla="*/ 116578 w 306080"/>
                <a:gd name="connsiteY15" fmla="*/ 22819 h 26788"/>
                <a:gd name="connsiteX16" fmla="*/ 102192 w 306080"/>
                <a:gd name="connsiteY16" fmla="*/ 26788 h 26788"/>
                <a:gd name="connsiteX17" fmla="*/ 88302 w 306080"/>
                <a:gd name="connsiteY17" fmla="*/ 22324 h 26788"/>
                <a:gd name="connsiteX18" fmla="*/ 75900 w 306080"/>
                <a:gd name="connsiteY18" fmla="*/ 14386 h 26788"/>
                <a:gd name="connsiteX19" fmla="*/ 65482 w 306080"/>
                <a:gd name="connsiteY19" fmla="*/ 3969 h 26788"/>
                <a:gd name="connsiteX20" fmla="*/ 51096 w 306080"/>
                <a:gd name="connsiteY20" fmla="*/ 1984 h 26788"/>
                <a:gd name="connsiteX21" fmla="*/ 37702 w 306080"/>
                <a:gd name="connsiteY21" fmla="*/ 5953 h 26788"/>
                <a:gd name="connsiteX22" fmla="*/ 26292 w 306080"/>
                <a:gd name="connsiteY22" fmla="*/ 14882 h 26788"/>
                <a:gd name="connsiteX23" fmla="*/ 13890 w 306080"/>
                <a:gd name="connsiteY23" fmla="*/ 22324 h 26788"/>
                <a:gd name="connsiteX24" fmla="*/ 0 w 306080"/>
                <a:gd name="connsiteY24" fmla="*/ 26292 h 2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6080" h="26788">
                  <a:moveTo>
                    <a:pt x="306080" y="25300"/>
                  </a:moveTo>
                  <a:cubicBezTo>
                    <a:pt x="300127" y="25300"/>
                    <a:pt x="295662" y="24308"/>
                    <a:pt x="292190" y="22324"/>
                  </a:cubicBezTo>
                  <a:cubicBezTo>
                    <a:pt x="287725" y="19843"/>
                    <a:pt x="283757" y="16866"/>
                    <a:pt x="280284" y="13890"/>
                  </a:cubicBezTo>
                  <a:cubicBezTo>
                    <a:pt x="276811" y="10418"/>
                    <a:pt x="273339" y="6945"/>
                    <a:pt x="268874" y="4961"/>
                  </a:cubicBezTo>
                  <a:cubicBezTo>
                    <a:pt x="264906" y="2976"/>
                    <a:pt x="260937" y="992"/>
                    <a:pt x="254984" y="992"/>
                  </a:cubicBezTo>
                  <a:cubicBezTo>
                    <a:pt x="249031" y="992"/>
                    <a:pt x="244070" y="1984"/>
                    <a:pt x="240102" y="3969"/>
                  </a:cubicBezTo>
                  <a:cubicBezTo>
                    <a:pt x="235637" y="6449"/>
                    <a:pt x="232661" y="10418"/>
                    <a:pt x="229188" y="13890"/>
                  </a:cubicBezTo>
                  <a:cubicBezTo>
                    <a:pt x="225715" y="17363"/>
                    <a:pt x="221747" y="19843"/>
                    <a:pt x="217282" y="21827"/>
                  </a:cubicBezTo>
                  <a:cubicBezTo>
                    <a:pt x="213314" y="23812"/>
                    <a:pt x="209345" y="24804"/>
                    <a:pt x="203888" y="24804"/>
                  </a:cubicBezTo>
                  <a:cubicBezTo>
                    <a:pt x="197935" y="24804"/>
                    <a:pt x="193470" y="24308"/>
                    <a:pt x="189998" y="22324"/>
                  </a:cubicBezTo>
                  <a:cubicBezTo>
                    <a:pt x="185533" y="19843"/>
                    <a:pt x="182061" y="16866"/>
                    <a:pt x="178588" y="13394"/>
                  </a:cubicBezTo>
                  <a:cubicBezTo>
                    <a:pt x="175115" y="9922"/>
                    <a:pt x="171643" y="6945"/>
                    <a:pt x="167178" y="4961"/>
                  </a:cubicBezTo>
                  <a:cubicBezTo>
                    <a:pt x="163210" y="2976"/>
                    <a:pt x="159241" y="0"/>
                    <a:pt x="153288" y="0"/>
                  </a:cubicBezTo>
                  <a:cubicBezTo>
                    <a:pt x="147335" y="0"/>
                    <a:pt x="142870" y="1984"/>
                    <a:pt x="138902" y="3969"/>
                  </a:cubicBezTo>
                  <a:cubicBezTo>
                    <a:pt x="134437" y="6449"/>
                    <a:pt x="130965" y="9922"/>
                    <a:pt x="127492" y="13394"/>
                  </a:cubicBezTo>
                  <a:cubicBezTo>
                    <a:pt x="124019" y="16866"/>
                    <a:pt x="121043" y="20835"/>
                    <a:pt x="116578" y="22819"/>
                  </a:cubicBezTo>
                  <a:cubicBezTo>
                    <a:pt x="112610" y="24804"/>
                    <a:pt x="108145" y="26788"/>
                    <a:pt x="102192" y="26788"/>
                  </a:cubicBezTo>
                  <a:cubicBezTo>
                    <a:pt x="96239" y="26788"/>
                    <a:pt x="92271" y="24308"/>
                    <a:pt x="88302" y="22324"/>
                  </a:cubicBezTo>
                  <a:cubicBezTo>
                    <a:pt x="83837" y="19843"/>
                    <a:pt x="79372" y="17859"/>
                    <a:pt x="75900" y="14386"/>
                  </a:cubicBezTo>
                  <a:cubicBezTo>
                    <a:pt x="72427" y="10913"/>
                    <a:pt x="69947" y="6449"/>
                    <a:pt x="65482" y="3969"/>
                  </a:cubicBezTo>
                  <a:cubicBezTo>
                    <a:pt x="61514" y="1984"/>
                    <a:pt x="57049" y="1984"/>
                    <a:pt x="51096" y="1984"/>
                  </a:cubicBezTo>
                  <a:cubicBezTo>
                    <a:pt x="45143" y="1984"/>
                    <a:pt x="41174" y="3969"/>
                    <a:pt x="37702" y="5953"/>
                  </a:cubicBezTo>
                  <a:cubicBezTo>
                    <a:pt x="33237" y="8433"/>
                    <a:pt x="29765" y="11410"/>
                    <a:pt x="26292" y="14882"/>
                  </a:cubicBezTo>
                  <a:cubicBezTo>
                    <a:pt x="22820" y="18355"/>
                    <a:pt x="18355" y="19843"/>
                    <a:pt x="13890" y="22324"/>
                  </a:cubicBezTo>
                  <a:cubicBezTo>
                    <a:pt x="9922" y="24308"/>
                    <a:pt x="5953" y="26292"/>
                    <a:pt x="0" y="262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546" name="Graphic 10">
              <a:extLst>
                <a:ext uri="{FF2B5EF4-FFF2-40B4-BE49-F238E27FC236}">
                  <a16:creationId xmlns:a16="http://schemas.microsoft.com/office/drawing/2014/main" id="{4CD1E156-13B8-17F9-79AA-5B4D69F43F9C}"/>
                </a:ext>
              </a:extLst>
            </p:cNvPr>
            <p:cNvGrpSpPr/>
            <p:nvPr/>
          </p:nvGrpSpPr>
          <p:grpSpPr>
            <a:xfrm>
              <a:off x="3175264" y="3922778"/>
              <a:ext cx="260519" cy="615838"/>
              <a:chOff x="3175264" y="3922778"/>
              <a:chExt cx="260519" cy="615838"/>
            </a:xfrm>
            <a:noFill/>
          </p:grpSpPr>
          <p:sp>
            <p:nvSpPr>
              <p:cNvPr id="1568" name="Freeform: Shape 1567">
                <a:extLst>
                  <a:ext uri="{FF2B5EF4-FFF2-40B4-BE49-F238E27FC236}">
                    <a16:creationId xmlns:a16="http://schemas.microsoft.com/office/drawing/2014/main" id="{EF0388FF-E08E-AA7B-FF34-A868EE4A726B}"/>
                  </a:ext>
                </a:extLst>
              </p:cNvPr>
              <p:cNvSpPr/>
              <p:nvPr/>
            </p:nvSpPr>
            <p:spPr>
              <a:xfrm>
                <a:off x="3305733" y="4063870"/>
                <a:ext cx="1984" cy="474746"/>
              </a:xfrm>
              <a:custGeom>
                <a:avLst/>
                <a:gdLst>
                  <a:gd name="connsiteX0" fmla="*/ 992 w 1984"/>
                  <a:gd name="connsiteY0" fmla="*/ 0 h 474746"/>
                  <a:gd name="connsiteX1" fmla="*/ 1984 w 1984"/>
                  <a:gd name="connsiteY1" fmla="*/ 16371 h 474746"/>
                  <a:gd name="connsiteX2" fmla="*/ 1488 w 1984"/>
                  <a:gd name="connsiteY2" fmla="*/ 32741 h 474746"/>
                  <a:gd name="connsiteX3" fmla="*/ 1984 w 1984"/>
                  <a:gd name="connsiteY3" fmla="*/ 49112 h 474746"/>
                  <a:gd name="connsiteX4" fmla="*/ 0 w 1984"/>
                  <a:gd name="connsiteY4" fmla="*/ 65482 h 474746"/>
                  <a:gd name="connsiteX5" fmla="*/ 496 w 1984"/>
                  <a:gd name="connsiteY5" fmla="*/ 81853 h 474746"/>
                  <a:gd name="connsiteX6" fmla="*/ 496 w 1984"/>
                  <a:gd name="connsiteY6" fmla="*/ 98223 h 474746"/>
                  <a:gd name="connsiteX7" fmla="*/ 0 w 1984"/>
                  <a:gd name="connsiteY7" fmla="*/ 114594 h 474746"/>
                  <a:gd name="connsiteX8" fmla="*/ 0 w 1984"/>
                  <a:gd name="connsiteY8" fmla="*/ 130964 h 474746"/>
                  <a:gd name="connsiteX9" fmla="*/ 1984 w 1984"/>
                  <a:gd name="connsiteY9" fmla="*/ 147335 h 474746"/>
                  <a:gd name="connsiteX10" fmla="*/ 992 w 1984"/>
                  <a:gd name="connsiteY10" fmla="*/ 163706 h 474746"/>
                  <a:gd name="connsiteX11" fmla="*/ 992 w 1984"/>
                  <a:gd name="connsiteY11" fmla="*/ 180076 h 474746"/>
                  <a:gd name="connsiteX12" fmla="*/ 1984 w 1984"/>
                  <a:gd name="connsiteY12" fmla="*/ 196447 h 474746"/>
                  <a:gd name="connsiteX13" fmla="*/ 1488 w 1984"/>
                  <a:gd name="connsiteY13" fmla="*/ 212817 h 474746"/>
                  <a:gd name="connsiteX14" fmla="*/ 496 w 1984"/>
                  <a:gd name="connsiteY14" fmla="*/ 229188 h 474746"/>
                  <a:gd name="connsiteX15" fmla="*/ 1984 w 1984"/>
                  <a:gd name="connsiteY15" fmla="*/ 245559 h 474746"/>
                  <a:gd name="connsiteX16" fmla="*/ 0 w 1984"/>
                  <a:gd name="connsiteY16" fmla="*/ 261929 h 474746"/>
                  <a:gd name="connsiteX17" fmla="*/ 992 w 1984"/>
                  <a:gd name="connsiteY17" fmla="*/ 278300 h 474746"/>
                  <a:gd name="connsiteX18" fmla="*/ 1984 w 1984"/>
                  <a:gd name="connsiteY18" fmla="*/ 294670 h 474746"/>
                  <a:gd name="connsiteX19" fmla="*/ 1488 w 1984"/>
                  <a:gd name="connsiteY19" fmla="*/ 311041 h 474746"/>
                  <a:gd name="connsiteX20" fmla="*/ 1488 w 1984"/>
                  <a:gd name="connsiteY20" fmla="*/ 327411 h 474746"/>
                  <a:gd name="connsiteX21" fmla="*/ 496 w 1984"/>
                  <a:gd name="connsiteY21" fmla="*/ 343782 h 474746"/>
                  <a:gd name="connsiteX22" fmla="*/ 992 w 1984"/>
                  <a:gd name="connsiteY22" fmla="*/ 360152 h 474746"/>
                  <a:gd name="connsiteX23" fmla="*/ 496 w 1984"/>
                  <a:gd name="connsiteY23" fmla="*/ 376523 h 474746"/>
                  <a:gd name="connsiteX24" fmla="*/ 992 w 1984"/>
                  <a:gd name="connsiteY24" fmla="*/ 392894 h 474746"/>
                  <a:gd name="connsiteX25" fmla="*/ 0 w 1984"/>
                  <a:gd name="connsiteY25" fmla="*/ 409264 h 474746"/>
                  <a:gd name="connsiteX26" fmla="*/ 496 w 1984"/>
                  <a:gd name="connsiteY26" fmla="*/ 425635 h 474746"/>
                  <a:gd name="connsiteX27" fmla="*/ 1984 w 1984"/>
                  <a:gd name="connsiteY27" fmla="*/ 442005 h 474746"/>
                  <a:gd name="connsiteX28" fmla="*/ 496 w 1984"/>
                  <a:gd name="connsiteY28" fmla="*/ 458376 h 474746"/>
                  <a:gd name="connsiteX29" fmla="*/ 1984 w 1984"/>
                  <a:gd name="connsiteY29" fmla="*/ 474747 h 474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984" h="474746">
                    <a:moveTo>
                      <a:pt x="992" y="0"/>
                    </a:moveTo>
                    <a:cubicBezTo>
                      <a:pt x="992" y="8433"/>
                      <a:pt x="1984" y="8433"/>
                      <a:pt x="1984" y="16371"/>
                    </a:cubicBezTo>
                    <a:cubicBezTo>
                      <a:pt x="1984" y="24804"/>
                      <a:pt x="1488" y="24804"/>
                      <a:pt x="1488" y="32741"/>
                    </a:cubicBezTo>
                    <a:cubicBezTo>
                      <a:pt x="1488" y="41174"/>
                      <a:pt x="1984" y="41174"/>
                      <a:pt x="1984" y="49112"/>
                    </a:cubicBezTo>
                    <a:cubicBezTo>
                      <a:pt x="1984" y="57545"/>
                      <a:pt x="0" y="57545"/>
                      <a:pt x="0" y="65482"/>
                    </a:cubicBezTo>
                    <a:cubicBezTo>
                      <a:pt x="0" y="73915"/>
                      <a:pt x="496" y="73915"/>
                      <a:pt x="496" y="81853"/>
                    </a:cubicBezTo>
                    <a:cubicBezTo>
                      <a:pt x="496" y="90286"/>
                      <a:pt x="496" y="90286"/>
                      <a:pt x="496" y="98223"/>
                    </a:cubicBezTo>
                    <a:cubicBezTo>
                      <a:pt x="496" y="106657"/>
                      <a:pt x="0" y="106657"/>
                      <a:pt x="0" y="114594"/>
                    </a:cubicBezTo>
                    <a:cubicBezTo>
                      <a:pt x="0" y="123027"/>
                      <a:pt x="0" y="123027"/>
                      <a:pt x="0" y="130964"/>
                    </a:cubicBezTo>
                    <a:cubicBezTo>
                      <a:pt x="0" y="139398"/>
                      <a:pt x="1984" y="139398"/>
                      <a:pt x="1984" y="147335"/>
                    </a:cubicBezTo>
                    <a:cubicBezTo>
                      <a:pt x="1984" y="155768"/>
                      <a:pt x="992" y="155768"/>
                      <a:pt x="992" y="163706"/>
                    </a:cubicBezTo>
                    <a:cubicBezTo>
                      <a:pt x="992" y="172139"/>
                      <a:pt x="992" y="172139"/>
                      <a:pt x="992" y="180076"/>
                    </a:cubicBezTo>
                    <a:cubicBezTo>
                      <a:pt x="992" y="188510"/>
                      <a:pt x="1984" y="188510"/>
                      <a:pt x="1984" y="196447"/>
                    </a:cubicBezTo>
                    <a:cubicBezTo>
                      <a:pt x="1984" y="204880"/>
                      <a:pt x="1488" y="204880"/>
                      <a:pt x="1488" y="212817"/>
                    </a:cubicBezTo>
                    <a:cubicBezTo>
                      <a:pt x="1488" y="221251"/>
                      <a:pt x="496" y="221251"/>
                      <a:pt x="496" y="229188"/>
                    </a:cubicBezTo>
                    <a:cubicBezTo>
                      <a:pt x="496" y="237621"/>
                      <a:pt x="1984" y="237621"/>
                      <a:pt x="1984" y="245559"/>
                    </a:cubicBezTo>
                    <a:cubicBezTo>
                      <a:pt x="1984" y="253992"/>
                      <a:pt x="0" y="253992"/>
                      <a:pt x="0" y="261929"/>
                    </a:cubicBezTo>
                    <a:cubicBezTo>
                      <a:pt x="0" y="270362"/>
                      <a:pt x="992" y="270362"/>
                      <a:pt x="992" y="278300"/>
                    </a:cubicBezTo>
                    <a:cubicBezTo>
                      <a:pt x="992" y="286733"/>
                      <a:pt x="1984" y="286733"/>
                      <a:pt x="1984" y="294670"/>
                    </a:cubicBezTo>
                    <a:cubicBezTo>
                      <a:pt x="1984" y="303104"/>
                      <a:pt x="1488" y="303104"/>
                      <a:pt x="1488" y="311041"/>
                    </a:cubicBezTo>
                    <a:cubicBezTo>
                      <a:pt x="1488" y="319474"/>
                      <a:pt x="1488" y="319474"/>
                      <a:pt x="1488" y="327411"/>
                    </a:cubicBezTo>
                    <a:cubicBezTo>
                      <a:pt x="1488" y="335845"/>
                      <a:pt x="496" y="335845"/>
                      <a:pt x="496" y="343782"/>
                    </a:cubicBezTo>
                    <a:cubicBezTo>
                      <a:pt x="496" y="352215"/>
                      <a:pt x="992" y="352215"/>
                      <a:pt x="992" y="360152"/>
                    </a:cubicBezTo>
                    <a:cubicBezTo>
                      <a:pt x="992" y="368090"/>
                      <a:pt x="496" y="368586"/>
                      <a:pt x="496" y="376523"/>
                    </a:cubicBezTo>
                    <a:cubicBezTo>
                      <a:pt x="496" y="384956"/>
                      <a:pt x="992" y="384956"/>
                      <a:pt x="992" y="392894"/>
                    </a:cubicBezTo>
                    <a:cubicBezTo>
                      <a:pt x="992" y="401327"/>
                      <a:pt x="0" y="401327"/>
                      <a:pt x="0" y="409264"/>
                    </a:cubicBezTo>
                    <a:cubicBezTo>
                      <a:pt x="0" y="417698"/>
                      <a:pt x="496" y="417698"/>
                      <a:pt x="496" y="425635"/>
                    </a:cubicBezTo>
                    <a:cubicBezTo>
                      <a:pt x="496" y="434068"/>
                      <a:pt x="1984" y="434068"/>
                      <a:pt x="1984" y="442005"/>
                    </a:cubicBezTo>
                    <a:cubicBezTo>
                      <a:pt x="1984" y="450439"/>
                      <a:pt x="496" y="450439"/>
                      <a:pt x="496" y="458376"/>
                    </a:cubicBezTo>
                    <a:cubicBezTo>
                      <a:pt x="496" y="466809"/>
                      <a:pt x="1984" y="466809"/>
                      <a:pt x="1984" y="47474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69" name="Freeform: Shape 1568">
                <a:extLst>
                  <a:ext uri="{FF2B5EF4-FFF2-40B4-BE49-F238E27FC236}">
                    <a16:creationId xmlns:a16="http://schemas.microsoft.com/office/drawing/2014/main" id="{D601E19B-6DB1-720B-B432-1D13F5674974}"/>
                  </a:ext>
                </a:extLst>
              </p:cNvPr>
              <p:cNvSpPr/>
              <p:nvPr/>
            </p:nvSpPr>
            <p:spPr>
              <a:xfrm>
                <a:off x="3251660" y="4147211"/>
                <a:ext cx="55560" cy="53080"/>
              </a:xfrm>
              <a:custGeom>
                <a:avLst/>
                <a:gdLst>
                  <a:gd name="connsiteX0" fmla="*/ 0 w 55560"/>
                  <a:gd name="connsiteY0" fmla="*/ 0 h 53080"/>
                  <a:gd name="connsiteX1" fmla="*/ 11410 w 55560"/>
                  <a:gd name="connsiteY1" fmla="*/ 10418 h 53080"/>
                  <a:gd name="connsiteX2" fmla="*/ 22324 w 55560"/>
                  <a:gd name="connsiteY2" fmla="*/ 20835 h 53080"/>
                  <a:gd name="connsiteX3" fmla="*/ 32741 w 55560"/>
                  <a:gd name="connsiteY3" fmla="*/ 32245 h 53080"/>
                  <a:gd name="connsiteX4" fmla="*/ 44647 w 55560"/>
                  <a:gd name="connsiteY4" fmla="*/ 42167 h 53080"/>
                  <a:gd name="connsiteX5" fmla="*/ 55561 w 55560"/>
                  <a:gd name="connsiteY5" fmla="*/ 53080 h 53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560" h="53080">
                    <a:moveTo>
                      <a:pt x="0" y="0"/>
                    </a:moveTo>
                    <a:cubicBezTo>
                      <a:pt x="5457" y="5457"/>
                      <a:pt x="5953" y="4961"/>
                      <a:pt x="11410" y="10418"/>
                    </a:cubicBezTo>
                    <a:cubicBezTo>
                      <a:pt x="16867" y="15875"/>
                      <a:pt x="17363" y="15378"/>
                      <a:pt x="22324" y="20835"/>
                    </a:cubicBezTo>
                    <a:cubicBezTo>
                      <a:pt x="27781" y="26292"/>
                      <a:pt x="27284" y="26788"/>
                      <a:pt x="32741" y="32245"/>
                    </a:cubicBezTo>
                    <a:cubicBezTo>
                      <a:pt x="38198" y="37702"/>
                      <a:pt x="39190" y="36710"/>
                      <a:pt x="44647" y="42167"/>
                    </a:cubicBezTo>
                    <a:cubicBezTo>
                      <a:pt x="50104" y="47623"/>
                      <a:pt x="50104" y="47623"/>
                      <a:pt x="55561" y="530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0" name="Freeform: Shape 1569">
                <a:extLst>
                  <a:ext uri="{FF2B5EF4-FFF2-40B4-BE49-F238E27FC236}">
                    <a16:creationId xmlns:a16="http://schemas.microsoft.com/office/drawing/2014/main" id="{1411C8C2-E7C1-CA4B-14AD-E876D73A9225}"/>
                  </a:ext>
                </a:extLst>
              </p:cNvPr>
              <p:cNvSpPr/>
              <p:nvPr/>
            </p:nvSpPr>
            <p:spPr>
              <a:xfrm>
                <a:off x="3305733" y="4223111"/>
                <a:ext cx="48119" cy="47127"/>
              </a:xfrm>
              <a:custGeom>
                <a:avLst/>
                <a:gdLst>
                  <a:gd name="connsiteX0" fmla="*/ 48120 w 48119"/>
                  <a:gd name="connsiteY0" fmla="*/ 0 h 47127"/>
                  <a:gd name="connsiteX1" fmla="*/ 35718 w 48119"/>
                  <a:gd name="connsiteY1" fmla="*/ 11410 h 47127"/>
                  <a:gd name="connsiteX2" fmla="*/ 24804 w 48119"/>
                  <a:gd name="connsiteY2" fmla="*/ 24308 h 47127"/>
                  <a:gd name="connsiteX3" fmla="*/ 12402 w 48119"/>
                  <a:gd name="connsiteY3" fmla="*/ 35718 h 47127"/>
                  <a:gd name="connsiteX4" fmla="*/ 0 w 48119"/>
                  <a:gd name="connsiteY4" fmla="*/ 47127 h 47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119" h="47127">
                    <a:moveTo>
                      <a:pt x="48120" y="0"/>
                    </a:moveTo>
                    <a:cubicBezTo>
                      <a:pt x="42167" y="5953"/>
                      <a:pt x="41670" y="5457"/>
                      <a:pt x="35718" y="11410"/>
                    </a:cubicBezTo>
                    <a:cubicBezTo>
                      <a:pt x="29765" y="17363"/>
                      <a:pt x="30757" y="18355"/>
                      <a:pt x="24804" y="24308"/>
                    </a:cubicBezTo>
                    <a:cubicBezTo>
                      <a:pt x="18851" y="30261"/>
                      <a:pt x="18355" y="29765"/>
                      <a:pt x="12402" y="35718"/>
                    </a:cubicBezTo>
                    <a:cubicBezTo>
                      <a:pt x="6449" y="41671"/>
                      <a:pt x="5953" y="41174"/>
                      <a:pt x="0" y="4712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1" name="Freeform: Shape 1570">
                <a:extLst>
                  <a:ext uri="{FF2B5EF4-FFF2-40B4-BE49-F238E27FC236}">
                    <a16:creationId xmlns:a16="http://schemas.microsoft.com/office/drawing/2014/main" id="{1E557951-3AEE-9F23-04F0-BAB3A8DC5B46}"/>
                  </a:ext>
                </a:extLst>
              </p:cNvPr>
              <p:cNvSpPr/>
              <p:nvPr/>
            </p:nvSpPr>
            <p:spPr>
              <a:xfrm>
                <a:off x="3257117" y="4266766"/>
                <a:ext cx="50103" cy="48119"/>
              </a:xfrm>
              <a:custGeom>
                <a:avLst/>
                <a:gdLst>
                  <a:gd name="connsiteX0" fmla="*/ 0 w 50103"/>
                  <a:gd name="connsiteY0" fmla="*/ 0 h 48119"/>
                  <a:gd name="connsiteX1" fmla="*/ 12402 w 50103"/>
                  <a:gd name="connsiteY1" fmla="*/ 11906 h 48119"/>
                  <a:gd name="connsiteX2" fmla="*/ 24308 w 50103"/>
                  <a:gd name="connsiteY2" fmla="*/ 24308 h 48119"/>
                  <a:gd name="connsiteX3" fmla="*/ 37206 w 50103"/>
                  <a:gd name="connsiteY3" fmla="*/ 36214 h 48119"/>
                  <a:gd name="connsiteX4" fmla="*/ 50104 w 50103"/>
                  <a:gd name="connsiteY4" fmla="*/ 48120 h 4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103" h="48119">
                    <a:moveTo>
                      <a:pt x="0" y="0"/>
                    </a:moveTo>
                    <a:cubicBezTo>
                      <a:pt x="5953" y="5953"/>
                      <a:pt x="6449" y="5953"/>
                      <a:pt x="12402" y="11906"/>
                    </a:cubicBezTo>
                    <a:cubicBezTo>
                      <a:pt x="18355" y="17859"/>
                      <a:pt x="18355" y="18355"/>
                      <a:pt x="24308" y="24308"/>
                    </a:cubicBezTo>
                    <a:cubicBezTo>
                      <a:pt x="30261" y="30261"/>
                      <a:pt x="30757" y="29765"/>
                      <a:pt x="37206" y="36214"/>
                    </a:cubicBezTo>
                    <a:cubicBezTo>
                      <a:pt x="43159" y="42167"/>
                      <a:pt x="43655" y="41671"/>
                      <a:pt x="50104" y="4812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2" name="Freeform: Shape 1571">
                <a:extLst>
                  <a:ext uri="{FF2B5EF4-FFF2-40B4-BE49-F238E27FC236}">
                    <a16:creationId xmlns:a16="http://schemas.microsoft.com/office/drawing/2014/main" id="{74B38F58-8550-48DC-71CF-6CF7002D9977}"/>
                  </a:ext>
                </a:extLst>
              </p:cNvPr>
              <p:cNvSpPr/>
              <p:nvPr/>
            </p:nvSpPr>
            <p:spPr>
              <a:xfrm>
                <a:off x="3175264" y="3922778"/>
                <a:ext cx="260519" cy="493802"/>
              </a:xfrm>
              <a:custGeom>
                <a:avLst/>
                <a:gdLst>
                  <a:gd name="connsiteX0" fmla="*/ 130965 w 260519"/>
                  <a:gd name="connsiteY0" fmla="*/ 493803 h 493802"/>
                  <a:gd name="connsiteX1" fmla="*/ 142374 w 260519"/>
                  <a:gd name="connsiteY1" fmla="*/ 482889 h 493802"/>
                  <a:gd name="connsiteX2" fmla="*/ 154280 w 260519"/>
                  <a:gd name="connsiteY2" fmla="*/ 472472 h 493802"/>
                  <a:gd name="connsiteX3" fmla="*/ 164698 w 260519"/>
                  <a:gd name="connsiteY3" fmla="*/ 460566 h 493802"/>
                  <a:gd name="connsiteX4" fmla="*/ 176108 w 260519"/>
                  <a:gd name="connsiteY4" fmla="*/ 449652 h 493802"/>
                  <a:gd name="connsiteX5" fmla="*/ 187021 w 260519"/>
                  <a:gd name="connsiteY5" fmla="*/ 438242 h 493802"/>
                  <a:gd name="connsiteX6" fmla="*/ 198927 w 260519"/>
                  <a:gd name="connsiteY6" fmla="*/ 427825 h 493802"/>
                  <a:gd name="connsiteX7" fmla="*/ 209841 w 260519"/>
                  <a:gd name="connsiteY7" fmla="*/ 416415 h 493802"/>
                  <a:gd name="connsiteX8" fmla="*/ 220259 w 260519"/>
                  <a:gd name="connsiteY8" fmla="*/ 404509 h 493802"/>
                  <a:gd name="connsiteX9" fmla="*/ 231668 w 260519"/>
                  <a:gd name="connsiteY9" fmla="*/ 392603 h 493802"/>
                  <a:gd name="connsiteX10" fmla="*/ 239606 w 260519"/>
                  <a:gd name="connsiteY10" fmla="*/ 378217 h 493802"/>
                  <a:gd name="connsiteX11" fmla="*/ 247543 w 260519"/>
                  <a:gd name="connsiteY11" fmla="*/ 363830 h 493802"/>
                  <a:gd name="connsiteX12" fmla="*/ 252504 w 260519"/>
                  <a:gd name="connsiteY12" fmla="*/ 347956 h 493802"/>
                  <a:gd name="connsiteX13" fmla="*/ 256968 w 260519"/>
                  <a:gd name="connsiteY13" fmla="*/ 332082 h 493802"/>
                  <a:gd name="connsiteX14" fmla="*/ 258457 w 260519"/>
                  <a:gd name="connsiteY14" fmla="*/ 315711 h 493802"/>
                  <a:gd name="connsiteX15" fmla="*/ 260441 w 260519"/>
                  <a:gd name="connsiteY15" fmla="*/ 299340 h 493802"/>
                  <a:gd name="connsiteX16" fmla="*/ 256968 w 260519"/>
                  <a:gd name="connsiteY16" fmla="*/ 282970 h 493802"/>
                  <a:gd name="connsiteX17" fmla="*/ 253496 w 260519"/>
                  <a:gd name="connsiteY17" fmla="*/ 266599 h 493802"/>
                  <a:gd name="connsiteX18" fmla="*/ 247543 w 260519"/>
                  <a:gd name="connsiteY18" fmla="*/ 251221 h 493802"/>
                  <a:gd name="connsiteX19" fmla="*/ 240102 w 260519"/>
                  <a:gd name="connsiteY19" fmla="*/ 236835 h 493802"/>
                  <a:gd name="connsiteX20" fmla="*/ 233653 w 260519"/>
                  <a:gd name="connsiteY20" fmla="*/ 221952 h 493802"/>
                  <a:gd name="connsiteX21" fmla="*/ 225219 w 260519"/>
                  <a:gd name="connsiteY21" fmla="*/ 208062 h 493802"/>
                  <a:gd name="connsiteX22" fmla="*/ 220259 w 260519"/>
                  <a:gd name="connsiteY22" fmla="*/ 192188 h 493802"/>
                  <a:gd name="connsiteX23" fmla="*/ 212817 w 260519"/>
                  <a:gd name="connsiteY23" fmla="*/ 177801 h 493802"/>
                  <a:gd name="connsiteX24" fmla="*/ 204880 w 260519"/>
                  <a:gd name="connsiteY24" fmla="*/ 163415 h 493802"/>
                  <a:gd name="connsiteX25" fmla="*/ 198431 w 260519"/>
                  <a:gd name="connsiteY25" fmla="*/ 148533 h 493802"/>
                  <a:gd name="connsiteX26" fmla="*/ 190990 w 260519"/>
                  <a:gd name="connsiteY26" fmla="*/ 134146 h 493802"/>
                  <a:gd name="connsiteX27" fmla="*/ 185533 w 260519"/>
                  <a:gd name="connsiteY27" fmla="*/ 118768 h 493802"/>
                  <a:gd name="connsiteX28" fmla="*/ 177596 w 260519"/>
                  <a:gd name="connsiteY28" fmla="*/ 104382 h 493802"/>
                  <a:gd name="connsiteX29" fmla="*/ 172139 w 260519"/>
                  <a:gd name="connsiteY29" fmla="*/ 89003 h 493802"/>
                  <a:gd name="connsiteX30" fmla="*/ 165194 w 260519"/>
                  <a:gd name="connsiteY30" fmla="*/ 74121 h 493802"/>
                  <a:gd name="connsiteX31" fmla="*/ 158249 w 260519"/>
                  <a:gd name="connsiteY31" fmla="*/ 59239 h 493802"/>
                  <a:gd name="connsiteX32" fmla="*/ 150312 w 260519"/>
                  <a:gd name="connsiteY32" fmla="*/ 44852 h 493802"/>
                  <a:gd name="connsiteX33" fmla="*/ 144359 w 260519"/>
                  <a:gd name="connsiteY33" fmla="*/ 29474 h 493802"/>
                  <a:gd name="connsiteX34" fmla="*/ 136422 w 260519"/>
                  <a:gd name="connsiteY34" fmla="*/ 15088 h 493802"/>
                  <a:gd name="connsiteX35" fmla="*/ 128980 w 260519"/>
                  <a:gd name="connsiteY35" fmla="*/ 702 h 493802"/>
                  <a:gd name="connsiteX36" fmla="*/ 128980 w 260519"/>
                  <a:gd name="connsiteY36" fmla="*/ 205 h 493802"/>
                  <a:gd name="connsiteX37" fmla="*/ 122035 w 260519"/>
                  <a:gd name="connsiteY37" fmla="*/ 15088 h 493802"/>
                  <a:gd name="connsiteX38" fmla="*/ 115586 w 260519"/>
                  <a:gd name="connsiteY38" fmla="*/ 29970 h 493802"/>
                  <a:gd name="connsiteX39" fmla="*/ 108641 w 260519"/>
                  <a:gd name="connsiteY39" fmla="*/ 44852 h 493802"/>
                  <a:gd name="connsiteX40" fmla="*/ 102192 w 260519"/>
                  <a:gd name="connsiteY40" fmla="*/ 59735 h 493802"/>
                  <a:gd name="connsiteX41" fmla="*/ 95247 w 260519"/>
                  <a:gd name="connsiteY41" fmla="*/ 74617 h 493802"/>
                  <a:gd name="connsiteX42" fmla="*/ 88302 w 260519"/>
                  <a:gd name="connsiteY42" fmla="*/ 89499 h 493802"/>
                  <a:gd name="connsiteX43" fmla="*/ 81357 w 260519"/>
                  <a:gd name="connsiteY43" fmla="*/ 104382 h 493802"/>
                  <a:gd name="connsiteX44" fmla="*/ 74908 w 260519"/>
                  <a:gd name="connsiteY44" fmla="*/ 119264 h 493802"/>
                  <a:gd name="connsiteX45" fmla="*/ 67963 w 260519"/>
                  <a:gd name="connsiteY45" fmla="*/ 134146 h 493802"/>
                  <a:gd name="connsiteX46" fmla="*/ 61514 w 260519"/>
                  <a:gd name="connsiteY46" fmla="*/ 149029 h 493802"/>
                  <a:gd name="connsiteX47" fmla="*/ 53080 w 260519"/>
                  <a:gd name="connsiteY47" fmla="*/ 163415 h 493802"/>
                  <a:gd name="connsiteX48" fmla="*/ 47127 w 260519"/>
                  <a:gd name="connsiteY48" fmla="*/ 178793 h 493802"/>
                  <a:gd name="connsiteX49" fmla="*/ 40182 w 260519"/>
                  <a:gd name="connsiteY49" fmla="*/ 193676 h 493802"/>
                  <a:gd name="connsiteX50" fmla="*/ 33733 w 260519"/>
                  <a:gd name="connsiteY50" fmla="*/ 208558 h 493802"/>
                  <a:gd name="connsiteX51" fmla="*/ 26788 w 260519"/>
                  <a:gd name="connsiteY51" fmla="*/ 223440 h 493802"/>
                  <a:gd name="connsiteX52" fmla="*/ 19843 w 260519"/>
                  <a:gd name="connsiteY52" fmla="*/ 238323 h 493802"/>
                  <a:gd name="connsiteX53" fmla="*/ 11906 w 260519"/>
                  <a:gd name="connsiteY53" fmla="*/ 252709 h 493802"/>
                  <a:gd name="connsiteX54" fmla="*/ 5953 w 260519"/>
                  <a:gd name="connsiteY54" fmla="*/ 268088 h 493802"/>
                  <a:gd name="connsiteX55" fmla="*/ 3473 w 260519"/>
                  <a:gd name="connsiteY55" fmla="*/ 284458 h 493802"/>
                  <a:gd name="connsiteX56" fmla="*/ 992 w 260519"/>
                  <a:gd name="connsiteY56" fmla="*/ 300829 h 493802"/>
                  <a:gd name="connsiteX57" fmla="*/ 0 w 260519"/>
                  <a:gd name="connsiteY57" fmla="*/ 317199 h 493802"/>
                  <a:gd name="connsiteX58" fmla="*/ 1984 w 260519"/>
                  <a:gd name="connsiteY58" fmla="*/ 333570 h 493802"/>
                  <a:gd name="connsiteX59" fmla="*/ 6449 w 260519"/>
                  <a:gd name="connsiteY59" fmla="*/ 349444 h 493802"/>
                  <a:gd name="connsiteX60" fmla="*/ 12402 w 260519"/>
                  <a:gd name="connsiteY60" fmla="*/ 364823 h 493802"/>
                  <a:gd name="connsiteX61" fmla="*/ 19347 w 260519"/>
                  <a:gd name="connsiteY61" fmla="*/ 379705 h 493802"/>
                  <a:gd name="connsiteX62" fmla="*/ 30261 w 260519"/>
                  <a:gd name="connsiteY62" fmla="*/ 392603 h 493802"/>
                  <a:gd name="connsiteX63" fmla="*/ 39686 w 260519"/>
                  <a:gd name="connsiteY63" fmla="*/ 406493 h 493802"/>
                  <a:gd name="connsiteX64" fmla="*/ 52584 w 260519"/>
                  <a:gd name="connsiteY64" fmla="*/ 417407 h 493802"/>
                  <a:gd name="connsiteX65" fmla="*/ 64490 w 260519"/>
                  <a:gd name="connsiteY65" fmla="*/ 428817 h 493802"/>
                  <a:gd name="connsiteX66" fmla="*/ 76396 w 260519"/>
                  <a:gd name="connsiteY66" fmla="*/ 440723 h 493802"/>
                  <a:gd name="connsiteX67" fmla="*/ 86814 w 260519"/>
                  <a:gd name="connsiteY67" fmla="*/ 453621 h 493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60519" h="493802">
                    <a:moveTo>
                      <a:pt x="130965" y="493803"/>
                    </a:moveTo>
                    <a:cubicBezTo>
                      <a:pt x="136422" y="488346"/>
                      <a:pt x="136918" y="488346"/>
                      <a:pt x="142374" y="482889"/>
                    </a:cubicBezTo>
                    <a:cubicBezTo>
                      <a:pt x="147831" y="477432"/>
                      <a:pt x="148327" y="477928"/>
                      <a:pt x="154280" y="472472"/>
                    </a:cubicBezTo>
                    <a:cubicBezTo>
                      <a:pt x="159737" y="467015"/>
                      <a:pt x="159241" y="466023"/>
                      <a:pt x="164698" y="460566"/>
                    </a:cubicBezTo>
                    <a:cubicBezTo>
                      <a:pt x="170155" y="455109"/>
                      <a:pt x="170651" y="455109"/>
                      <a:pt x="176108" y="449652"/>
                    </a:cubicBezTo>
                    <a:cubicBezTo>
                      <a:pt x="181565" y="444195"/>
                      <a:pt x="181565" y="444195"/>
                      <a:pt x="187021" y="438242"/>
                    </a:cubicBezTo>
                    <a:cubicBezTo>
                      <a:pt x="192478" y="432785"/>
                      <a:pt x="193471" y="433778"/>
                      <a:pt x="198927" y="427825"/>
                    </a:cubicBezTo>
                    <a:cubicBezTo>
                      <a:pt x="204384" y="422368"/>
                      <a:pt x="204384" y="421872"/>
                      <a:pt x="209841" y="416415"/>
                    </a:cubicBezTo>
                    <a:cubicBezTo>
                      <a:pt x="215298" y="410958"/>
                      <a:pt x="214802" y="409966"/>
                      <a:pt x="220259" y="404509"/>
                    </a:cubicBezTo>
                    <a:cubicBezTo>
                      <a:pt x="224227" y="400540"/>
                      <a:pt x="228196" y="396572"/>
                      <a:pt x="231668" y="392603"/>
                    </a:cubicBezTo>
                    <a:cubicBezTo>
                      <a:pt x="235141" y="388138"/>
                      <a:pt x="237125" y="382682"/>
                      <a:pt x="239606" y="378217"/>
                    </a:cubicBezTo>
                    <a:cubicBezTo>
                      <a:pt x="242582" y="373256"/>
                      <a:pt x="245559" y="368791"/>
                      <a:pt x="247543" y="363830"/>
                    </a:cubicBezTo>
                    <a:cubicBezTo>
                      <a:pt x="250023" y="358870"/>
                      <a:pt x="251015" y="353413"/>
                      <a:pt x="252504" y="347956"/>
                    </a:cubicBezTo>
                    <a:cubicBezTo>
                      <a:pt x="253992" y="342499"/>
                      <a:pt x="255976" y="337538"/>
                      <a:pt x="256968" y="332082"/>
                    </a:cubicBezTo>
                    <a:cubicBezTo>
                      <a:pt x="257961" y="326625"/>
                      <a:pt x="257961" y="321168"/>
                      <a:pt x="258457" y="315711"/>
                    </a:cubicBezTo>
                    <a:cubicBezTo>
                      <a:pt x="258953" y="310254"/>
                      <a:pt x="260937" y="304797"/>
                      <a:pt x="260441" y="299340"/>
                    </a:cubicBezTo>
                    <a:cubicBezTo>
                      <a:pt x="259945" y="293884"/>
                      <a:pt x="258457" y="288427"/>
                      <a:pt x="256968" y="282970"/>
                    </a:cubicBezTo>
                    <a:cubicBezTo>
                      <a:pt x="255976" y="277513"/>
                      <a:pt x="255480" y="272056"/>
                      <a:pt x="253496" y="266599"/>
                    </a:cubicBezTo>
                    <a:cubicBezTo>
                      <a:pt x="252008" y="261143"/>
                      <a:pt x="250023" y="256182"/>
                      <a:pt x="247543" y="251221"/>
                    </a:cubicBezTo>
                    <a:cubicBezTo>
                      <a:pt x="244070" y="243780"/>
                      <a:pt x="243574" y="243780"/>
                      <a:pt x="240102" y="236835"/>
                    </a:cubicBezTo>
                    <a:cubicBezTo>
                      <a:pt x="236629" y="229393"/>
                      <a:pt x="236629" y="229393"/>
                      <a:pt x="233653" y="221952"/>
                    </a:cubicBezTo>
                    <a:cubicBezTo>
                      <a:pt x="230180" y="214511"/>
                      <a:pt x="228692" y="215503"/>
                      <a:pt x="225219" y="208062"/>
                    </a:cubicBezTo>
                    <a:cubicBezTo>
                      <a:pt x="221747" y="200621"/>
                      <a:pt x="223731" y="199629"/>
                      <a:pt x="220259" y="192188"/>
                    </a:cubicBezTo>
                    <a:cubicBezTo>
                      <a:pt x="216786" y="184746"/>
                      <a:pt x="216290" y="184746"/>
                      <a:pt x="212817" y="177801"/>
                    </a:cubicBezTo>
                    <a:cubicBezTo>
                      <a:pt x="209345" y="170360"/>
                      <a:pt x="208353" y="170856"/>
                      <a:pt x="204880" y="163415"/>
                    </a:cubicBezTo>
                    <a:cubicBezTo>
                      <a:pt x="201408" y="155974"/>
                      <a:pt x="201904" y="155974"/>
                      <a:pt x="198431" y="148533"/>
                    </a:cubicBezTo>
                    <a:cubicBezTo>
                      <a:pt x="194959" y="141092"/>
                      <a:pt x="194462" y="141588"/>
                      <a:pt x="190990" y="134146"/>
                    </a:cubicBezTo>
                    <a:cubicBezTo>
                      <a:pt x="187518" y="126705"/>
                      <a:pt x="189006" y="126209"/>
                      <a:pt x="185533" y="118768"/>
                    </a:cubicBezTo>
                    <a:cubicBezTo>
                      <a:pt x="182061" y="111327"/>
                      <a:pt x="181069" y="111823"/>
                      <a:pt x="177596" y="104382"/>
                    </a:cubicBezTo>
                    <a:cubicBezTo>
                      <a:pt x="174123" y="96941"/>
                      <a:pt x="175612" y="96445"/>
                      <a:pt x="172139" y="89003"/>
                    </a:cubicBezTo>
                    <a:cubicBezTo>
                      <a:pt x="168667" y="81562"/>
                      <a:pt x="168667" y="81562"/>
                      <a:pt x="165194" y="74121"/>
                    </a:cubicBezTo>
                    <a:cubicBezTo>
                      <a:pt x="161721" y="66680"/>
                      <a:pt x="161721" y="66680"/>
                      <a:pt x="158249" y="59239"/>
                    </a:cubicBezTo>
                    <a:cubicBezTo>
                      <a:pt x="154776" y="51798"/>
                      <a:pt x="153784" y="52294"/>
                      <a:pt x="150312" y="44852"/>
                    </a:cubicBezTo>
                    <a:cubicBezTo>
                      <a:pt x="146839" y="37411"/>
                      <a:pt x="147831" y="36915"/>
                      <a:pt x="144359" y="29474"/>
                    </a:cubicBezTo>
                    <a:cubicBezTo>
                      <a:pt x="140886" y="22033"/>
                      <a:pt x="139894" y="22529"/>
                      <a:pt x="136422" y="15088"/>
                    </a:cubicBezTo>
                    <a:cubicBezTo>
                      <a:pt x="132949" y="7647"/>
                      <a:pt x="132949" y="7647"/>
                      <a:pt x="128980" y="702"/>
                    </a:cubicBezTo>
                    <a:cubicBezTo>
                      <a:pt x="128484" y="205"/>
                      <a:pt x="129476" y="-291"/>
                      <a:pt x="128980" y="205"/>
                    </a:cubicBezTo>
                    <a:cubicBezTo>
                      <a:pt x="125012" y="7151"/>
                      <a:pt x="125508" y="7647"/>
                      <a:pt x="122035" y="15088"/>
                    </a:cubicBezTo>
                    <a:cubicBezTo>
                      <a:pt x="118563" y="22529"/>
                      <a:pt x="118563" y="22529"/>
                      <a:pt x="115586" y="29970"/>
                    </a:cubicBezTo>
                    <a:cubicBezTo>
                      <a:pt x="112114" y="37411"/>
                      <a:pt x="111618" y="37411"/>
                      <a:pt x="108641" y="44852"/>
                    </a:cubicBezTo>
                    <a:cubicBezTo>
                      <a:pt x="105168" y="52294"/>
                      <a:pt x="105665" y="52294"/>
                      <a:pt x="102192" y="59735"/>
                    </a:cubicBezTo>
                    <a:cubicBezTo>
                      <a:pt x="98719" y="67176"/>
                      <a:pt x="98719" y="67176"/>
                      <a:pt x="95247" y="74617"/>
                    </a:cubicBezTo>
                    <a:cubicBezTo>
                      <a:pt x="91775" y="82058"/>
                      <a:pt x="91775" y="82058"/>
                      <a:pt x="88302" y="89499"/>
                    </a:cubicBezTo>
                    <a:cubicBezTo>
                      <a:pt x="84829" y="96941"/>
                      <a:pt x="84829" y="96941"/>
                      <a:pt x="81357" y="104382"/>
                    </a:cubicBezTo>
                    <a:cubicBezTo>
                      <a:pt x="77884" y="111823"/>
                      <a:pt x="78380" y="111823"/>
                      <a:pt x="74908" y="119264"/>
                    </a:cubicBezTo>
                    <a:cubicBezTo>
                      <a:pt x="71435" y="126705"/>
                      <a:pt x="71435" y="126705"/>
                      <a:pt x="67963" y="134146"/>
                    </a:cubicBezTo>
                    <a:cubicBezTo>
                      <a:pt x="64490" y="141588"/>
                      <a:pt x="64986" y="142084"/>
                      <a:pt x="61514" y="149029"/>
                    </a:cubicBezTo>
                    <a:cubicBezTo>
                      <a:pt x="58041" y="156470"/>
                      <a:pt x="56553" y="155974"/>
                      <a:pt x="53080" y="163415"/>
                    </a:cubicBezTo>
                    <a:cubicBezTo>
                      <a:pt x="49608" y="170856"/>
                      <a:pt x="50600" y="171352"/>
                      <a:pt x="47127" y="178793"/>
                    </a:cubicBezTo>
                    <a:cubicBezTo>
                      <a:pt x="43655" y="186235"/>
                      <a:pt x="43655" y="186235"/>
                      <a:pt x="40182" y="193676"/>
                    </a:cubicBezTo>
                    <a:cubicBezTo>
                      <a:pt x="36710" y="201117"/>
                      <a:pt x="37206" y="201117"/>
                      <a:pt x="33733" y="208558"/>
                    </a:cubicBezTo>
                    <a:cubicBezTo>
                      <a:pt x="30261" y="215999"/>
                      <a:pt x="30261" y="215999"/>
                      <a:pt x="26788" y="223440"/>
                    </a:cubicBezTo>
                    <a:cubicBezTo>
                      <a:pt x="23316" y="230882"/>
                      <a:pt x="23316" y="230882"/>
                      <a:pt x="19843" y="238323"/>
                    </a:cubicBezTo>
                    <a:cubicBezTo>
                      <a:pt x="16371" y="245764"/>
                      <a:pt x="15378" y="245268"/>
                      <a:pt x="11906" y="252709"/>
                    </a:cubicBezTo>
                    <a:cubicBezTo>
                      <a:pt x="9425" y="257670"/>
                      <a:pt x="7441" y="263127"/>
                      <a:pt x="5953" y="268088"/>
                    </a:cubicBezTo>
                    <a:cubicBezTo>
                      <a:pt x="4465" y="273545"/>
                      <a:pt x="4465" y="279001"/>
                      <a:pt x="3473" y="284458"/>
                    </a:cubicBezTo>
                    <a:cubicBezTo>
                      <a:pt x="2480" y="289915"/>
                      <a:pt x="992" y="295372"/>
                      <a:pt x="992" y="300829"/>
                    </a:cubicBezTo>
                    <a:cubicBezTo>
                      <a:pt x="496" y="306286"/>
                      <a:pt x="0" y="311742"/>
                      <a:pt x="0" y="317199"/>
                    </a:cubicBezTo>
                    <a:cubicBezTo>
                      <a:pt x="496" y="322656"/>
                      <a:pt x="992" y="328113"/>
                      <a:pt x="1984" y="333570"/>
                    </a:cubicBezTo>
                    <a:cubicBezTo>
                      <a:pt x="2976" y="339027"/>
                      <a:pt x="4465" y="344484"/>
                      <a:pt x="6449" y="349444"/>
                    </a:cubicBezTo>
                    <a:cubicBezTo>
                      <a:pt x="7937" y="354901"/>
                      <a:pt x="10418" y="359862"/>
                      <a:pt x="12402" y="364823"/>
                    </a:cubicBezTo>
                    <a:cubicBezTo>
                      <a:pt x="14882" y="369783"/>
                      <a:pt x="16371" y="375241"/>
                      <a:pt x="19347" y="379705"/>
                    </a:cubicBezTo>
                    <a:cubicBezTo>
                      <a:pt x="22324" y="384170"/>
                      <a:pt x="26788" y="388138"/>
                      <a:pt x="30261" y="392603"/>
                    </a:cubicBezTo>
                    <a:cubicBezTo>
                      <a:pt x="33733" y="397068"/>
                      <a:pt x="35718" y="402525"/>
                      <a:pt x="39686" y="406493"/>
                    </a:cubicBezTo>
                    <a:cubicBezTo>
                      <a:pt x="45639" y="412446"/>
                      <a:pt x="46631" y="411454"/>
                      <a:pt x="52584" y="417407"/>
                    </a:cubicBezTo>
                    <a:cubicBezTo>
                      <a:pt x="58537" y="423360"/>
                      <a:pt x="59033" y="422864"/>
                      <a:pt x="64490" y="428817"/>
                    </a:cubicBezTo>
                    <a:cubicBezTo>
                      <a:pt x="70443" y="434770"/>
                      <a:pt x="70443" y="434770"/>
                      <a:pt x="76396" y="440723"/>
                    </a:cubicBezTo>
                    <a:cubicBezTo>
                      <a:pt x="82349" y="446676"/>
                      <a:pt x="81357" y="447668"/>
                      <a:pt x="86814" y="45362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E53EA313-B21C-162F-44D7-9DFE31F227CF}"/>
                </a:ext>
              </a:extLst>
            </p:cNvPr>
            <p:cNvSpPr/>
            <p:nvPr/>
          </p:nvSpPr>
          <p:spPr>
            <a:xfrm>
              <a:off x="3447472" y="4433242"/>
              <a:ext cx="174634" cy="221095"/>
            </a:xfrm>
            <a:custGeom>
              <a:avLst/>
              <a:gdLst>
                <a:gd name="connsiteX0" fmla="*/ 117213 w 174634"/>
                <a:gd name="connsiteY0" fmla="*/ 18561 h 221095"/>
                <a:gd name="connsiteX1" fmla="*/ 128127 w 174634"/>
                <a:gd name="connsiteY1" fmla="*/ 29474 h 221095"/>
                <a:gd name="connsiteX2" fmla="*/ 138545 w 174634"/>
                <a:gd name="connsiteY2" fmla="*/ 40884 h 221095"/>
                <a:gd name="connsiteX3" fmla="*/ 147970 w 174634"/>
                <a:gd name="connsiteY3" fmla="*/ 53286 h 221095"/>
                <a:gd name="connsiteX4" fmla="*/ 155411 w 174634"/>
                <a:gd name="connsiteY4" fmla="*/ 66680 h 221095"/>
                <a:gd name="connsiteX5" fmla="*/ 163349 w 174634"/>
                <a:gd name="connsiteY5" fmla="*/ 80074 h 221095"/>
                <a:gd name="connsiteX6" fmla="*/ 167813 w 174634"/>
                <a:gd name="connsiteY6" fmla="*/ 94956 h 221095"/>
                <a:gd name="connsiteX7" fmla="*/ 171286 w 174634"/>
                <a:gd name="connsiteY7" fmla="*/ 109839 h 221095"/>
                <a:gd name="connsiteX8" fmla="*/ 174262 w 174634"/>
                <a:gd name="connsiteY8" fmla="*/ 125217 h 221095"/>
                <a:gd name="connsiteX9" fmla="*/ 174262 w 174634"/>
                <a:gd name="connsiteY9" fmla="*/ 140596 h 221095"/>
                <a:gd name="connsiteX10" fmla="*/ 172774 w 174634"/>
                <a:gd name="connsiteY10" fmla="*/ 155974 h 221095"/>
                <a:gd name="connsiteX11" fmla="*/ 168805 w 174634"/>
                <a:gd name="connsiteY11" fmla="*/ 170856 h 221095"/>
                <a:gd name="connsiteX12" fmla="*/ 163349 w 174634"/>
                <a:gd name="connsiteY12" fmla="*/ 185739 h 221095"/>
                <a:gd name="connsiteX13" fmla="*/ 154419 w 174634"/>
                <a:gd name="connsiteY13" fmla="*/ 198140 h 221095"/>
                <a:gd name="connsiteX14" fmla="*/ 143505 w 174634"/>
                <a:gd name="connsiteY14" fmla="*/ 209551 h 221095"/>
                <a:gd name="connsiteX15" fmla="*/ 129615 w 174634"/>
                <a:gd name="connsiteY15" fmla="*/ 216495 h 221095"/>
                <a:gd name="connsiteX16" fmla="*/ 114733 w 174634"/>
                <a:gd name="connsiteY16" fmla="*/ 219968 h 221095"/>
                <a:gd name="connsiteX17" fmla="*/ 99354 w 174634"/>
                <a:gd name="connsiteY17" fmla="*/ 220960 h 221095"/>
                <a:gd name="connsiteX18" fmla="*/ 84472 w 174634"/>
                <a:gd name="connsiteY18" fmla="*/ 216495 h 221095"/>
                <a:gd name="connsiteX19" fmla="*/ 70086 w 174634"/>
                <a:gd name="connsiteY19" fmla="*/ 210542 h 221095"/>
                <a:gd name="connsiteX20" fmla="*/ 56692 w 174634"/>
                <a:gd name="connsiteY20" fmla="*/ 202605 h 221095"/>
                <a:gd name="connsiteX21" fmla="*/ 45282 w 174634"/>
                <a:gd name="connsiteY21" fmla="*/ 192188 h 221095"/>
                <a:gd name="connsiteX22" fmla="*/ 34864 w 174634"/>
                <a:gd name="connsiteY22" fmla="*/ 180778 h 221095"/>
                <a:gd name="connsiteX23" fmla="*/ 25439 w 174634"/>
                <a:gd name="connsiteY23" fmla="*/ 168872 h 221095"/>
                <a:gd name="connsiteX24" fmla="*/ 17502 w 174634"/>
                <a:gd name="connsiteY24" fmla="*/ 155478 h 221095"/>
                <a:gd name="connsiteX25" fmla="*/ 11549 w 174634"/>
                <a:gd name="connsiteY25" fmla="*/ 141092 h 221095"/>
                <a:gd name="connsiteX26" fmla="*/ 7580 w 174634"/>
                <a:gd name="connsiteY26" fmla="*/ 126209 h 221095"/>
                <a:gd name="connsiteX27" fmla="*/ 2619 w 174634"/>
                <a:gd name="connsiteY27" fmla="*/ 111327 h 221095"/>
                <a:gd name="connsiteX28" fmla="*/ 139 w 174634"/>
                <a:gd name="connsiteY28" fmla="*/ 95949 h 221095"/>
                <a:gd name="connsiteX29" fmla="*/ 635 w 174634"/>
                <a:gd name="connsiteY29" fmla="*/ 80570 h 221095"/>
                <a:gd name="connsiteX30" fmla="*/ 2123 w 174634"/>
                <a:gd name="connsiteY30" fmla="*/ 65192 h 221095"/>
                <a:gd name="connsiteX31" fmla="*/ 4107 w 174634"/>
                <a:gd name="connsiteY31" fmla="*/ 49813 h 221095"/>
                <a:gd name="connsiteX32" fmla="*/ 10557 w 174634"/>
                <a:gd name="connsiteY32" fmla="*/ 35923 h 221095"/>
                <a:gd name="connsiteX33" fmla="*/ 17502 w 174634"/>
                <a:gd name="connsiteY33" fmla="*/ 22033 h 221095"/>
                <a:gd name="connsiteX34" fmla="*/ 29904 w 174634"/>
                <a:gd name="connsiteY34" fmla="*/ 12608 h 221095"/>
                <a:gd name="connsiteX35" fmla="*/ 43298 w 174634"/>
                <a:gd name="connsiteY35" fmla="*/ 5166 h 221095"/>
                <a:gd name="connsiteX36" fmla="*/ 57684 w 174634"/>
                <a:gd name="connsiteY36" fmla="*/ 702 h 221095"/>
                <a:gd name="connsiteX37" fmla="*/ 73062 w 174634"/>
                <a:gd name="connsiteY37" fmla="*/ 206 h 221095"/>
                <a:gd name="connsiteX38" fmla="*/ 80999 w 174634"/>
                <a:gd name="connsiteY38" fmla="*/ 206 h 22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74634" h="221095">
                  <a:moveTo>
                    <a:pt x="117213" y="18561"/>
                  </a:moveTo>
                  <a:cubicBezTo>
                    <a:pt x="121182" y="21537"/>
                    <a:pt x="124655" y="25505"/>
                    <a:pt x="128127" y="29474"/>
                  </a:cubicBezTo>
                  <a:cubicBezTo>
                    <a:pt x="131599" y="32947"/>
                    <a:pt x="135072" y="36915"/>
                    <a:pt x="138545" y="40884"/>
                  </a:cubicBezTo>
                  <a:cubicBezTo>
                    <a:pt x="141521" y="44853"/>
                    <a:pt x="144994" y="48821"/>
                    <a:pt x="147970" y="53286"/>
                  </a:cubicBezTo>
                  <a:cubicBezTo>
                    <a:pt x="150947" y="57750"/>
                    <a:pt x="152931" y="62215"/>
                    <a:pt x="155411" y="66680"/>
                  </a:cubicBezTo>
                  <a:cubicBezTo>
                    <a:pt x="157892" y="71145"/>
                    <a:pt x="161364" y="75113"/>
                    <a:pt x="163349" y="80074"/>
                  </a:cubicBezTo>
                  <a:cubicBezTo>
                    <a:pt x="165333" y="85035"/>
                    <a:pt x="166325" y="89996"/>
                    <a:pt x="167813" y="94956"/>
                  </a:cubicBezTo>
                  <a:cubicBezTo>
                    <a:pt x="169302" y="99917"/>
                    <a:pt x="170294" y="104878"/>
                    <a:pt x="171286" y="109839"/>
                  </a:cubicBezTo>
                  <a:cubicBezTo>
                    <a:pt x="172278" y="114799"/>
                    <a:pt x="174262" y="120256"/>
                    <a:pt x="174262" y="125217"/>
                  </a:cubicBezTo>
                  <a:cubicBezTo>
                    <a:pt x="174758" y="130674"/>
                    <a:pt x="174758" y="135635"/>
                    <a:pt x="174262" y="140596"/>
                  </a:cubicBezTo>
                  <a:cubicBezTo>
                    <a:pt x="174262" y="146052"/>
                    <a:pt x="173270" y="151013"/>
                    <a:pt x="172774" y="155974"/>
                  </a:cubicBezTo>
                  <a:cubicBezTo>
                    <a:pt x="171782" y="161431"/>
                    <a:pt x="170294" y="166392"/>
                    <a:pt x="168805" y="170856"/>
                  </a:cubicBezTo>
                  <a:cubicBezTo>
                    <a:pt x="167317" y="175817"/>
                    <a:pt x="165829" y="181274"/>
                    <a:pt x="163349" y="185739"/>
                  </a:cubicBezTo>
                  <a:cubicBezTo>
                    <a:pt x="160868" y="190203"/>
                    <a:pt x="157396" y="194668"/>
                    <a:pt x="154419" y="198140"/>
                  </a:cubicBezTo>
                  <a:cubicBezTo>
                    <a:pt x="150947" y="202109"/>
                    <a:pt x="147474" y="206078"/>
                    <a:pt x="143505" y="209551"/>
                  </a:cubicBezTo>
                  <a:cubicBezTo>
                    <a:pt x="139537" y="212527"/>
                    <a:pt x="134576" y="214511"/>
                    <a:pt x="129615" y="216495"/>
                  </a:cubicBezTo>
                  <a:cubicBezTo>
                    <a:pt x="124655" y="218480"/>
                    <a:pt x="119694" y="218976"/>
                    <a:pt x="114733" y="219968"/>
                  </a:cubicBezTo>
                  <a:cubicBezTo>
                    <a:pt x="109772" y="220464"/>
                    <a:pt x="104315" y="221456"/>
                    <a:pt x="99354" y="220960"/>
                  </a:cubicBezTo>
                  <a:cubicBezTo>
                    <a:pt x="94394" y="220464"/>
                    <a:pt x="89433" y="217984"/>
                    <a:pt x="84472" y="216495"/>
                  </a:cubicBezTo>
                  <a:cubicBezTo>
                    <a:pt x="79511" y="215007"/>
                    <a:pt x="75047" y="213023"/>
                    <a:pt x="70086" y="210542"/>
                  </a:cubicBezTo>
                  <a:cubicBezTo>
                    <a:pt x="65621" y="208062"/>
                    <a:pt x="61156" y="205582"/>
                    <a:pt x="56692" y="202605"/>
                  </a:cubicBezTo>
                  <a:cubicBezTo>
                    <a:pt x="52723" y="199629"/>
                    <a:pt x="49251" y="195660"/>
                    <a:pt x="45282" y="192188"/>
                  </a:cubicBezTo>
                  <a:cubicBezTo>
                    <a:pt x="41810" y="188715"/>
                    <a:pt x="37841" y="185243"/>
                    <a:pt x="34864" y="180778"/>
                  </a:cubicBezTo>
                  <a:cubicBezTo>
                    <a:pt x="31888" y="176809"/>
                    <a:pt x="28415" y="172841"/>
                    <a:pt x="25439" y="168872"/>
                  </a:cubicBezTo>
                  <a:cubicBezTo>
                    <a:pt x="22462" y="164407"/>
                    <a:pt x="19982" y="159943"/>
                    <a:pt x="17502" y="155478"/>
                  </a:cubicBezTo>
                  <a:cubicBezTo>
                    <a:pt x="15021" y="151013"/>
                    <a:pt x="13533" y="146052"/>
                    <a:pt x="11549" y="141092"/>
                  </a:cubicBezTo>
                  <a:cubicBezTo>
                    <a:pt x="9564" y="136131"/>
                    <a:pt x="9068" y="131170"/>
                    <a:pt x="7580" y="126209"/>
                  </a:cubicBezTo>
                  <a:cubicBezTo>
                    <a:pt x="6092" y="121248"/>
                    <a:pt x="3611" y="116288"/>
                    <a:pt x="2619" y="111327"/>
                  </a:cubicBezTo>
                  <a:cubicBezTo>
                    <a:pt x="1627" y="106366"/>
                    <a:pt x="635" y="100909"/>
                    <a:pt x="139" y="95949"/>
                  </a:cubicBezTo>
                  <a:cubicBezTo>
                    <a:pt x="-357" y="90492"/>
                    <a:pt x="635" y="85531"/>
                    <a:pt x="635" y="80570"/>
                  </a:cubicBezTo>
                  <a:cubicBezTo>
                    <a:pt x="635" y="75113"/>
                    <a:pt x="1627" y="70152"/>
                    <a:pt x="2123" y="65192"/>
                  </a:cubicBezTo>
                  <a:cubicBezTo>
                    <a:pt x="3115" y="59735"/>
                    <a:pt x="2619" y="54774"/>
                    <a:pt x="4107" y="49813"/>
                  </a:cubicBezTo>
                  <a:cubicBezTo>
                    <a:pt x="5596" y="44853"/>
                    <a:pt x="8572" y="40388"/>
                    <a:pt x="10557" y="35923"/>
                  </a:cubicBezTo>
                  <a:cubicBezTo>
                    <a:pt x="13037" y="31458"/>
                    <a:pt x="14525" y="26002"/>
                    <a:pt x="17502" y="22033"/>
                  </a:cubicBezTo>
                  <a:cubicBezTo>
                    <a:pt x="20974" y="18064"/>
                    <a:pt x="25935" y="16080"/>
                    <a:pt x="29904" y="12608"/>
                  </a:cubicBezTo>
                  <a:cubicBezTo>
                    <a:pt x="33872" y="9631"/>
                    <a:pt x="38337" y="7150"/>
                    <a:pt x="43298" y="5166"/>
                  </a:cubicBezTo>
                  <a:cubicBezTo>
                    <a:pt x="48258" y="3182"/>
                    <a:pt x="52723" y="1694"/>
                    <a:pt x="57684" y="702"/>
                  </a:cubicBezTo>
                  <a:cubicBezTo>
                    <a:pt x="62645" y="206"/>
                    <a:pt x="67606" y="-291"/>
                    <a:pt x="73062" y="206"/>
                  </a:cubicBezTo>
                  <a:cubicBezTo>
                    <a:pt x="75543" y="702"/>
                    <a:pt x="78519" y="-291"/>
                    <a:pt x="80999" y="20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228C24F7-5381-7318-E804-1740ED6EA116}"/>
                </a:ext>
              </a:extLst>
            </p:cNvPr>
            <p:cNvSpPr/>
            <p:nvPr/>
          </p:nvSpPr>
          <p:spPr>
            <a:xfrm>
              <a:off x="3511605" y="4520262"/>
              <a:ext cx="91774" cy="56205"/>
            </a:xfrm>
            <a:custGeom>
              <a:avLst/>
              <a:gdLst>
                <a:gd name="connsiteX0" fmla="*/ 0 w 91774"/>
                <a:gd name="connsiteY0" fmla="*/ 37206 h 56205"/>
                <a:gd name="connsiteX1" fmla="*/ 13890 w 91774"/>
                <a:gd name="connsiteY1" fmla="*/ 46631 h 56205"/>
                <a:gd name="connsiteX2" fmla="*/ 29765 w 91774"/>
                <a:gd name="connsiteY2" fmla="*/ 51592 h 56205"/>
                <a:gd name="connsiteX3" fmla="*/ 45639 w 91774"/>
                <a:gd name="connsiteY3" fmla="*/ 55065 h 56205"/>
                <a:gd name="connsiteX4" fmla="*/ 62010 w 91774"/>
                <a:gd name="connsiteY4" fmla="*/ 55561 h 56205"/>
                <a:gd name="connsiteX5" fmla="*/ 76396 w 91774"/>
                <a:gd name="connsiteY5" fmla="*/ 47127 h 56205"/>
                <a:gd name="connsiteX6" fmla="*/ 83837 w 91774"/>
                <a:gd name="connsiteY6" fmla="*/ 32245 h 56205"/>
                <a:gd name="connsiteX7" fmla="*/ 88798 w 91774"/>
                <a:gd name="connsiteY7" fmla="*/ 16371 h 56205"/>
                <a:gd name="connsiteX8" fmla="*/ 91774 w 91774"/>
                <a:gd name="connsiteY8" fmla="*/ 0 h 56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774" h="56205">
                  <a:moveTo>
                    <a:pt x="0" y="37206"/>
                  </a:moveTo>
                  <a:cubicBezTo>
                    <a:pt x="6945" y="42167"/>
                    <a:pt x="5457" y="42167"/>
                    <a:pt x="13890" y="46631"/>
                  </a:cubicBezTo>
                  <a:cubicBezTo>
                    <a:pt x="18355" y="49112"/>
                    <a:pt x="24308" y="49608"/>
                    <a:pt x="29765" y="51592"/>
                  </a:cubicBezTo>
                  <a:cubicBezTo>
                    <a:pt x="34725" y="53576"/>
                    <a:pt x="40182" y="54569"/>
                    <a:pt x="45639" y="55065"/>
                  </a:cubicBezTo>
                  <a:cubicBezTo>
                    <a:pt x="51096" y="55561"/>
                    <a:pt x="57049" y="57049"/>
                    <a:pt x="62010" y="55561"/>
                  </a:cubicBezTo>
                  <a:cubicBezTo>
                    <a:pt x="66971" y="54072"/>
                    <a:pt x="72427" y="51592"/>
                    <a:pt x="76396" y="47127"/>
                  </a:cubicBezTo>
                  <a:cubicBezTo>
                    <a:pt x="79868" y="43655"/>
                    <a:pt x="81357" y="38198"/>
                    <a:pt x="83837" y="32245"/>
                  </a:cubicBezTo>
                  <a:cubicBezTo>
                    <a:pt x="85821" y="27780"/>
                    <a:pt x="87806" y="22819"/>
                    <a:pt x="88798" y="16371"/>
                  </a:cubicBezTo>
                  <a:cubicBezTo>
                    <a:pt x="89790" y="11410"/>
                    <a:pt x="91278" y="5953"/>
                    <a:pt x="9177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B3310D3-3E6C-0487-0153-07D82B5027E0}"/>
                </a:ext>
              </a:extLst>
            </p:cNvPr>
            <p:cNvSpPr/>
            <p:nvPr/>
          </p:nvSpPr>
          <p:spPr>
            <a:xfrm>
              <a:off x="3539882" y="4502899"/>
              <a:ext cx="8433" cy="19346"/>
            </a:xfrm>
            <a:custGeom>
              <a:avLst/>
              <a:gdLst>
                <a:gd name="connsiteX0" fmla="*/ 0 w 8433"/>
                <a:gd name="connsiteY0" fmla="*/ 0 h 19346"/>
                <a:gd name="connsiteX1" fmla="*/ 8433 w 8433"/>
                <a:gd name="connsiteY1" fmla="*/ 19347 h 1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33" h="19346">
                  <a:moveTo>
                    <a:pt x="0" y="0"/>
                  </a:moveTo>
                  <a:cubicBezTo>
                    <a:pt x="4465" y="9425"/>
                    <a:pt x="3969" y="9922"/>
                    <a:pt x="8433" y="1934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B045F95D-DAA1-23AC-D8D8-2812AE24380B}"/>
                </a:ext>
              </a:extLst>
            </p:cNvPr>
            <p:cNvSpPr/>
            <p:nvPr/>
          </p:nvSpPr>
          <p:spPr>
            <a:xfrm>
              <a:off x="3558236" y="4492977"/>
              <a:ext cx="7441" cy="19843"/>
            </a:xfrm>
            <a:custGeom>
              <a:avLst/>
              <a:gdLst>
                <a:gd name="connsiteX0" fmla="*/ 0 w 7441"/>
                <a:gd name="connsiteY0" fmla="*/ 0 h 19843"/>
                <a:gd name="connsiteX1" fmla="*/ 7441 w 7441"/>
                <a:gd name="connsiteY1" fmla="*/ 19843 h 1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41" h="19843">
                  <a:moveTo>
                    <a:pt x="0" y="0"/>
                  </a:moveTo>
                  <a:cubicBezTo>
                    <a:pt x="4465" y="9425"/>
                    <a:pt x="2977" y="10418"/>
                    <a:pt x="7441" y="198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1" name="Freeform: Shape 1550">
              <a:extLst>
                <a:ext uri="{FF2B5EF4-FFF2-40B4-BE49-F238E27FC236}">
                  <a16:creationId xmlns:a16="http://schemas.microsoft.com/office/drawing/2014/main" id="{2812C2E9-9C2D-C96D-122D-92837B1E36F6}"/>
                </a:ext>
              </a:extLst>
            </p:cNvPr>
            <p:cNvSpPr/>
            <p:nvPr/>
          </p:nvSpPr>
          <p:spPr>
            <a:xfrm>
              <a:off x="3450092" y="4351018"/>
              <a:ext cx="154123" cy="196527"/>
            </a:xfrm>
            <a:custGeom>
              <a:avLst/>
              <a:gdLst>
                <a:gd name="connsiteX0" fmla="*/ 73419 w 154123"/>
                <a:gd name="connsiteY0" fmla="*/ 113186 h 196527"/>
                <a:gd name="connsiteX1" fmla="*/ 77884 w 154123"/>
                <a:gd name="connsiteY1" fmla="*/ 98800 h 196527"/>
                <a:gd name="connsiteX2" fmla="*/ 81853 w 154123"/>
                <a:gd name="connsiteY2" fmla="*/ 84414 h 196527"/>
                <a:gd name="connsiteX3" fmla="*/ 85821 w 154123"/>
                <a:gd name="connsiteY3" fmla="*/ 69531 h 196527"/>
                <a:gd name="connsiteX4" fmla="*/ 86318 w 154123"/>
                <a:gd name="connsiteY4" fmla="*/ 54153 h 196527"/>
                <a:gd name="connsiteX5" fmla="*/ 88302 w 154123"/>
                <a:gd name="connsiteY5" fmla="*/ 39271 h 196527"/>
                <a:gd name="connsiteX6" fmla="*/ 87310 w 154123"/>
                <a:gd name="connsiteY6" fmla="*/ 24388 h 196527"/>
                <a:gd name="connsiteX7" fmla="*/ 91774 w 154123"/>
                <a:gd name="connsiteY7" fmla="*/ 10002 h 196527"/>
                <a:gd name="connsiteX8" fmla="*/ 105665 w 154123"/>
                <a:gd name="connsiteY8" fmla="*/ 3057 h 196527"/>
                <a:gd name="connsiteX9" fmla="*/ 121043 w 154123"/>
                <a:gd name="connsiteY9" fmla="*/ 1073 h 196527"/>
                <a:gd name="connsiteX10" fmla="*/ 136421 w 154123"/>
                <a:gd name="connsiteY10" fmla="*/ 2065 h 196527"/>
                <a:gd name="connsiteX11" fmla="*/ 151304 w 154123"/>
                <a:gd name="connsiteY11" fmla="*/ 2561 h 196527"/>
                <a:gd name="connsiteX12" fmla="*/ 151800 w 154123"/>
                <a:gd name="connsiteY12" fmla="*/ 17939 h 196527"/>
                <a:gd name="connsiteX13" fmla="*/ 148327 w 154123"/>
                <a:gd name="connsiteY13" fmla="*/ 33318 h 196527"/>
                <a:gd name="connsiteX14" fmla="*/ 144359 w 154123"/>
                <a:gd name="connsiteY14" fmla="*/ 48696 h 196527"/>
                <a:gd name="connsiteX15" fmla="*/ 138406 w 154123"/>
                <a:gd name="connsiteY15" fmla="*/ 63082 h 196527"/>
                <a:gd name="connsiteX16" fmla="*/ 130468 w 154123"/>
                <a:gd name="connsiteY16" fmla="*/ 76973 h 196527"/>
                <a:gd name="connsiteX17" fmla="*/ 119059 w 154123"/>
                <a:gd name="connsiteY17" fmla="*/ 88383 h 196527"/>
                <a:gd name="connsiteX18" fmla="*/ 104673 w 154123"/>
                <a:gd name="connsiteY18" fmla="*/ 94832 h 196527"/>
                <a:gd name="connsiteX19" fmla="*/ 89294 w 154123"/>
                <a:gd name="connsiteY19" fmla="*/ 101280 h 196527"/>
                <a:gd name="connsiteX20" fmla="*/ 76892 w 154123"/>
                <a:gd name="connsiteY20" fmla="*/ 112194 h 196527"/>
                <a:gd name="connsiteX21" fmla="*/ 63498 w 154123"/>
                <a:gd name="connsiteY21" fmla="*/ 121620 h 196527"/>
                <a:gd name="connsiteX22" fmla="*/ 51592 w 154123"/>
                <a:gd name="connsiteY22" fmla="*/ 133030 h 196527"/>
                <a:gd name="connsiteX23" fmla="*/ 40182 w 154123"/>
                <a:gd name="connsiteY23" fmla="*/ 144935 h 196527"/>
                <a:gd name="connsiteX24" fmla="*/ 29269 w 154123"/>
                <a:gd name="connsiteY24" fmla="*/ 157337 h 196527"/>
                <a:gd name="connsiteX25" fmla="*/ 19347 w 154123"/>
                <a:gd name="connsiteY25" fmla="*/ 170731 h 196527"/>
                <a:gd name="connsiteX26" fmla="*/ 8929 w 154123"/>
                <a:gd name="connsiteY26" fmla="*/ 183133 h 196527"/>
                <a:gd name="connsiteX27" fmla="*/ 0 w 154123"/>
                <a:gd name="connsiteY27" fmla="*/ 196527 h 196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54123" h="196527">
                  <a:moveTo>
                    <a:pt x="73419" y="113186"/>
                  </a:moveTo>
                  <a:cubicBezTo>
                    <a:pt x="75900" y="106241"/>
                    <a:pt x="75404" y="107729"/>
                    <a:pt x="77884" y="98800"/>
                  </a:cubicBezTo>
                  <a:cubicBezTo>
                    <a:pt x="79372" y="94335"/>
                    <a:pt x="80861" y="89374"/>
                    <a:pt x="81853" y="84414"/>
                  </a:cubicBezTo>
                  <a:cubicBezTo>
                    <a:pt x="82845" y="79949"/>
                    <a:pt x="84830" y="74988"/>
                    <a:pt x="85821" y="69531"/>
                  </a:cubicBezTo>
                  <a:cubicBezTo>
                    <a:pt x="86814" y="64571"/>
                    <a:pt x="85325" y="59114"/>
                    <a:pt x="86318" y="54153"/>
                  </a:cubicBezTo>
                  <a:cubicBezTo>
                    <a:pt x="86814" y="49192"/>
                    <a:pt x="87806" y="44231"/>
                    <a:pt x="88302" y="39271"/>
                  </a:cubicBezTo>
                  <a:cubicBezTo>
                    <a:pt x="88302" y="33814"/>
                    <a:pt x="88302" y="28853"/>
                    <a:pt x="87310" y="24388"/>
                  </a:cubicBezTo>
                  <a:cubicBezTo>
                    <a:pt x="85821" y="18435"/>
                    <a:pt x="88302" y="13475"/>
                    <a:pt x="91774" y="10002"/>
                  </a:cubicBezTo>
                  <a:cubicBezTo>
                    <a:pt x="95247" y="7026"/>
                    <a:pt x="100208" y="4049"/>
                    <a:pt x="105665" y="3057"/>
                  </a:cubicBezTo>
                  <a:cubicBezTo>
                    <a:pt x="110625" y="2065"/>
                    <a:pt x="116082" y="1569"/>
                    <a:pt x="121043" y="1073"/>
                  </a:cubicBezTo>
                  <a:cubicBezTo>
                    <a:pt x="126500" y="577"/>
                    <a:pt x="131957" y="2065"/>
                    <a:pt x="136421" y="2065"/>
                  </a:cubicBezTo>
                  <a:cubicBezTo>
                    <a:pt x="145351" y="2065"/>
                    <a:pt x="145847" y="-2896"/>
                    <a:pt x="151304" y="2561"/>
                  </a:cubicBezTo>
                  <a:cubicBezTo>
                    <a:pt x="156761" y="8514"/>
                    <a:pt x="152792" y="8514"/>
                    <a:pt x="151800" y="17939"/>
                  </a:cubicBezTo>
                  <a:cubicBezTo>
                    <a:pt x="151304" y="22404"/>
                    <a:pt x="149320" y="27861"/>
                    <a:pt x="148327" y="33318"/>
                  </a:cubicBezTo>
                  <a:cubicBezTo>
                    <a:pt x="147335" y="38279"/>
                    <a:pt x="145847" y="43239"/>
                    <a:pt x="144359" y="48696"/>
                  </a:cubicBezTo>
                  <a:cubicBezTo>
                    <a:pt x="142870" y="53657"/>
                    <a:pt x="140886" y="58618"/>
                    <a:pt x="138406" y="63082"/>
                  </a:cubicBezTo>
                  <a:cubicBezTo>
                    <a:pt x="135925" y="68043"/>
                    <a:pt x="133941" y="72508"/>
                    <a:pt x="130468" y="76973"/>
                  </a:cubicBezTo>
                  <a:cubicBezTo>
                    <a:pt x="126996" y="80941"/>
                    <a:pt x="123524" y="84910"/>
                    <a:pt x="119059" y="88383"/>
                  </a:cubicBezTo>
                  <a:cubicBezTo>
                    <a:pt x="115090" y="91359"/>
                    <a:pt x="110129" y="93343"/>
                    <a:pt x="104673" y="94832"/>
                  </a:cubicBezTo>
                  <a:cubicBezTo>
                    <a:pt x="99712" y="96320"/>
                    <a:pt x="94255" y="98304"/>
                    <a:pt x="89294" y="101280"/>
                  </a:cubicBezTo>
                  <a:cubicBezTo>
                    <a:pt x="84830" y="103761"/>
                    <a:pt x="81357" y="108722"/>
                    <a:pt x="76892" y="112194"/>
                  </a:cubicBezTo>
                  <a:cubicBezTo>
                    <a:pt x="72924" y="115667"/>
                    <a:pt x="67467" y="118147"/>
                    <a:pt x="63498" y="121620"/>
                  </a:cubicBezTo>
                  <a:cubicBezTo>
                    <a:pt x="59529" y="125092"/>
                    <a:pt x="55561" y="129061"/>
                    <a:pt x="51592" y="133030"/>
                  </a:cubicBezTo>
                  <a:cubicBezTo>
                    <a:pt x="47624" y="136998"/>
                    <a:pt x="43655" y="140967"/>
                    <a:pt x="40182" y="144935"/>
                  </a:cubicBezTo>
                  <a:cubicBezTo>
                    <a:pt x="36710" y="148904"/>
                    <a:pt x="32741" y="153369"/>
                    <a:pt x="29269" y="157337"/>
                  </a:cubicBezTo>
                  <a:cubicBezTo>
                    <a:pt x="25796" y="161802"/>
                    <a:pt x="22820" y="166267"/>
                    <a:pt x="19347" y="170731"/>
                  </a:cubicBezTo>
                  <a:cubicBezTo>
                    <a:pt x="15875" y="175692"/>
                    <a:pt x="11410" y="179661"/>
                    <a:pt x="8929" y="183133"/>
                  </a:cubicBezTo>
                  <a:cubicBezTo>
                    <a:pt x="2977" y="191567"/>
                    <a:pt x="4465" y="190079"/>
                    <a:pt x="0" y="1965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904C3AA0-1EA7-DC29-3294-76ECAC38D759}"/>
                </a:ext>
              </a:extLst>
            </p:cNvPr>
            <p:cNvSpPr/>
            <p:nvPr/>
          </p:nvSpPr>
          <p:spPr>
            <a:xfrm>
              <a:off x="3442154" y="4626918"/>
              <a:ext cx="79372" cy="249712"/>
            </a:xfrm>
            <a:custGeom>
              <a:avLst/>
              <a:gdLst>
                <a:gd name="connsiteX0" fmla="*/ 53576 w 79372"/>
                <a:gd name="connsiteY0" fmla="*/ 0 h 249712"/>
                <a:gd name="connsiteX1" fmla="*/ 47623 w 79372"/>
                <a:gd name="connsiteY1" fmla="*/ 14882 h 249712"/>
                <a:gd name="connsiteX2" fmla="*/ 43655 w 79372"/>
                <a:gd name="connsiteY2" fmla="*/ 30757 h 249712"/>
                <a:gd name="connsiteX3" fmla="*/ 38198 w 79372"/>
                <a:gd name="connsiteY3" fmla="*/ 46135 h 249712"/>
                <a:gd name="connsiteX4" fmla="*/ 34725 w 79372"/>
                <a:gd name="connsiteY4" fmla="*/ 62010 h 249712"/>
                <a:gd name="connsiteX5" fmla="*/ 31253 w 79372"/>
                <a:gd name="connsiteY5" fmla="*/ 77884 h 249712"/>
                <a:gd name="connsiteX6" fmla="*/ 25300 w 79372"/>
                <a:gd name="connsiteY6" fmla="*/ 92767 h 249712"/>
                <a:gd name="connsiteX7" fmla="*/ 21827 w 79372"/>
                <a:gd name="connsiteY7" fmla="*/ 108641 h 249712"/>
                <a:gd name="connsiteX8" fmla="*/ 18355 w 79372"/>
                <a:gd name="connsiteY8" fmla="*/ 124515 h 249712"/>
                <a:gd name="connsiteX9" fmla="*/ 14882 w 79372"/>
                <a:gd name="connsiteY9" fmla="*/ 140390 h 249712"/>
                <a:gd name="connsiteX10" fmla="*/ 11906 w 79372"/>
                <a:gd name="connsiteY10" fmla="*/ 156265 h 249712"/>
                <a:gd name="connsiteX11" fmla="*/ 7441 w 79372"/>
                <a:gd name="connsiteY11" fmla="*/ 171643 h 249712"/>
                <a:gd name="connsiteX12" fmla="*/ 4465 w 79372"/>
                <a:gd name="connsiteY12" fmla="*/ 187517 h 249712"/>
                <a:gd name="connsiteX13" fmla="*/ 2976 w 79372"/>
                <a:gd name="connsiteY13" fmla="*/ 203392 h 249712"/>
                <a:gd name="connsiteX14" fmla="*/ 2480 w 79372"/>
                <a:gd name="connsiteY14" fmla="*/ 219267 h 249712"/>
                <a:gd name="connsiteX15" fmla="*/ 0 w 79372"/>
                <a:gd name="connsiteY15" fmla="*/ 235141 h 249712"/>
                <a:gd name="connsiteX16" fmla="*/ 4465 w 79372"/>
                <a:gd name="connsiteY16" fmla="*/ 249527 h 249712"/>
                <a:gd name="connsiteX17" fmla="*/ 15378 w 79372"/>
                <a:gd name="connsiteY17" fmla="*/ 240102 h 249712"/>
                <a:gd name="connsiteX18" fmla="*/ 23316 w 79372"/>
                <a:gd name="connsiteY18" fmla="*/ 225715 h 249712"/>
                <a:gd name="connsiteX19" fmla="*/ 30757 w 79372"/>
                <a:gd name="connsiteY19" fmla="*/ 210833 h 249712"/>
                <a:gd name="connsiteX20" fmla="*/ 37702 w 79372"/>
                <a:gd name="connsiteY20" fmla="*/ 195951 h 249712"/>
                <a:gd name="connsiteX21" fmla="*/ 43159 w 79372"/>
                <a:gd name="connsiteY21" fmla="*/ 180572 h 249712"/>
                <a:gd name="connsiteX22" fmla="*/ 49608 w 79372"/>
                <a:gd name="connsiteY22" fmla="*/ 165690 h 249712"/>
                <a:gd name="connsiteX23" fmla="*/ 56057 w 79372"/>
                <a:gd name="connsiteY23" fmla="*/ 150808 h 249712"/>
                <a:gd name="connsiteX24" fmla="*/ 62010 w 79372"/>
                <a:gd name="connsiteY24" fmla="*/ 135429 h 249712"/>
                <a:gd name="connsiteX25" fmla="*/ 67466 w 79372"/>
                <a:gd name="connsiteY25" fmla="*/ 120051 h 249712"/>
                <a:gd name="connsiteX26" fmla="*/ 73419 w 79372"/>
                <a:gd name="connsiteY26" fmla="*/ 104672 h 249712"/>
                <a:gd name="connsiteX27" fmla="*/ 79372 w 79372"/>
                <a:gd name="connsiteY27" fmla="*/ 89294 h 249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9372" h="249712">
                  <a:moveTo>
                    <a:pt x="53576" y="0"/>
                  </a:moveTo>
                  <a:cubicBezTo>
                    <a:pt x="51096" y="7441"/>
                    <a:pt x="50600" y="5457"/>
                    <a:pt x="47623" y="14882"/>
                  </a:cubicBezTo>
                  <a:cubicBezTo>
                    <a:pt x="46135" y="19347"/>
                    <a:pt x="45639" y="24804"/>
                    <a:pt x="43655" y="30757"/>
                  </a:cubicBezTo>
                  <a:cubicBezTo>
                    <a:pt x="42167" y="35718"/>
                    <a:pt x="40182" y="40678"/>
                    <a:pt x="38198" y="46135"/>
                  </a:cubicBezTo>
                  <a:cubicBezTo>
                    <a:pt x="36710" y="51096"/>
                    <a:pt x="36214" y="56553"/>
                    <a:pt x="34725" y="62010"/>
                  </a:cubicBezTo>
                  <a:cubicBezTo>
                    <a:pt x="33237" y="66971"/>
                    <a:pt x="32741" y="72427"/>
                    <a:pt x="31253" y="77884"/>
                  </a:cubicBezTo>
                  <a:cubicBezTo>
                    <a:pt x="29765" y="82845"/>
                    <a:pt x="26292" y="87806"/>
                    <a:pt x="25300" y="92767"/>
                  </a:cubicBezTo>
                  <a:cubicBezTo>
                    <a:pt x="23812" y="97727"/>
                    <a:pt x="23316" y="103184"/>
                    <a:pt x="21827" y="108641"/>
                  </a:cubicBezTo>
                  <a:cubicBezTo>
                    <a:pt x="20339" y="113602"/>
                    <a:pt x="19843" y="119059"/>
                    <a:pt x="18355" y="124515"/>
                  </a:cubicBezTo>
                  <a:cubicBezTo>
                    <a:pt x="17363" y="129972"/>
                    <a:pt x="15875" y="134933"/>
                    <a:pt x="14882" y="140390"/>
                  </a:cubicBezTo>
                  <a:cubicBezTo>
                    <a:pt x="13890" y="145847"/>
                    <a:pt x="12898" y="150808"/>
                    <a:pt x="11906" y="156265"/>
                  </a:cubicBezTo>
                  <a:cubicBezTo>
                    <a:pt x="10914" y="161721"/>
                    <a:pt x="8433" y="166682"/>
                    <a:pt x="7441" y="171643"/>
                  </a:cubicBezTo>
                  <a:cubicBezTo>
                    <a:pt x="6449" y="177100"/>
                    <a:pt x="5457" y="182557"/>
                    <a:pt x="4465" y="187517"/>
                  </a:cubicBezTo>
                  <a:cubicBezTo>
                    <a:pt x="3473" y="192974"/>
                    <a:pt x="3473" y="198431"/>
                    <a:pt x="2976" y="203392"/>
                  </a:cubicBezTo>
                  <a:cubicBezTo>
                    <a:pt x="2480" y="208849"/>
                    <a:pt x="2976" y="214306"/>
                    <a:pt x="2480" y="219267"/>
                  </a:cubicBezTo>
                  <a:cubicBezTo>
                    <a:pt x="1984" y="224723"/>
                    <a:pt x="0" y="230180"/>
                    <a:pt x="0" y="235141"/>
                  </a:cubicBezTo>
                  <a:cubicBezTo>
                    <a:pt x="0" y="245062"/>
                    <a:pt x="2480" y="248535"/>
                    <a:pt x="4465" y="249527"/>
                  </a:cubicBezTo>
                  <a:cubicBezTo>
                    <a:pt x="6945" y="250519"/>
                    <a:pt x="10914" y="247543"/>
                    <a:pt x="15378" y="240102"/>
                  </a:cubicBezTo>
                  <a:cubicBezTo>
                    <a:pt x="17859" y="236133"/>
                    <a:pt x="20835" y="231172"/>
                    <a:pt x="23316" y="225715"/>
                  </a:cubicBezTo>
                  <a:cubicBezTo>
                    <a:pt x="25796" y="221251"/>
                    <a:pt x="28277" y="216290"/>
                    <a:pt x="30757" y="210833"/>
                  </a:cubicBezTo>
                  <a:cubicBezTo>
                    <a:pt x="32741" y="205872"/>
                    <a:pt x="35718" y="201408"/>
                    <a:pt x="37702" y="195951"/>
                  </a:cubicBezTo>
                  <a:cubicBezTo>
                    <a:pt x="39686" y="190990"/>
                    <a:pt x="41174" y="185533"/>
                    <a:pt x="43159" y="180572"/>
                  </a:cubicBezTo>
                  <a:cubicBezTo>
                    <a:pt x="45143" y="175611"/>
                    <a:pt x="47623" y="170651"/>
                    <a:pt x="49608" y="165690"/>
                  </a:cubicBezTo>
                  <a:cubicBezTo>
                    <a:pt x="51592" y="160729"/>
                    <a:pt x="54072" y="155768"/>
                    <a:pt x="56057" y="150808"/>
                  </a:cubicBezTo>
                  <a:cubicBezTo>
                    <a:pt x="58041" y="145351"/>
                    <a:pt x="60025" y="140390"/>
                    <a:pt x="62010" y="135429"/>
                  </a:cubicBezTo>
                  <a:cubicBezTo>
                    <a:pt x="63994" y="129972"/>
                    <a:pt x="65978" y="124515"/>
                    <a:pt x="67466" y="120051"/>
                  </a:cubicBezTo>
                  <a:cubicBezTo>
                    <a:pt x="69451" y="114098"/>
                    <a:pt x="71435" y="109137"/>
                    <a:pt x="73419" y="104672"/>
                  </a:cubicBezTo>
                  <a:cubicBezTo>
                    <a:pt x="76892" y="95247"/>
                    <a:pt x="76892" y="97231"/>
                    <a:pt x="79372" y="8929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E6F73FDC-D1D4-C4B4-BD9B-6BA11EA571A9}"/>
                </a:ext>
              </a:extLst>
            </p:cNvPr>
            <p:cNvSpPr/>
            <p:nvPr/>
          </p:nvSpPr>
          <p:spPr>
            <a:xfrm>
              <a:off x="3481841" y="4616997"/>
              <a:ext cx="141806" cy="273008"/>
            </a:xfrm>
            <a:custGeom>
              <a:avLst/>
              <a:gdLst>
                <a:gd name="connsiteX0" fmla="*/ 130964 w 141806"/>
                <a:gd name="connsiteY0" fmla="*/ 0 h 273008"/>
                <a:gd name="connsiteX1" fmla="*/ 130468 w 141806"/>
                <a:gd name="connsiteY1" fmla="*/ 15875 h 273008"/>
                <a:gd name="connsiteX2" fmla="*/ 131957 w 141806"/>
                <a:gd name="connsiteY2" fmla="*/ 31749 h 273008"/>
                <a:gd name="connsiteX3" fmla="*/ 132453 w 141806"/>
                <a:gd name="connsiteY3" fmla="*/ 47623 h 273008"/>
                <a:gd name="connsiteX4" fmla="*/ 131461 w 141806"/>
                <a:gd name="connsiteY4" fmla="*/ 63498 h 273008"/>
                <a:gd name="connsiteX5" fmla="*/ 132453 w 141806"/>
                <a:gd name="connsiteY5" fmla="*/ 79372 h 273008"/>
                <a:gd name="connsiteX6" fmla="*/ 133941 w 141806"/>
                <a:gd name="connsiteY6" fmla="*/ 95247 h 273008"/>
                <a:gd name="connsiteX7" fmla="*/ 133941 w 141806"/>
                <a:gd name="connsiteY7" fmla="*/ 111121 h 273008"/>
                <a:gd name="connsiteX8" fmla="*/ 133445 w 141806"/>
                <a:gd name="connsiteY8" fmla="*/ 126996 h 273008"/>
                <a:gd name="connsiteX9" fmla="*/ 134437 w 141806"/>
                <a:gd name="connsiteY9" fmla="*/ 142870 h 273008"/>
                <a:gd name="connsiteX10" fmla="*/ 134933 w 141806"/>
                <a:gd name="connsiteY10" fmla="*/ 158745 h 273008"/>
                <a:gd name="connsiteX11" fmla="*/ 135429 w 141806"/>
                <a:gd name="connsiteY11" fmla="*/ 174619 h 273008"/>
                <a:gd name="connsiteX12" fmla="*/ 136421 w 141806"/>
                <a:gd name="connsiteY12" fmla="*/ 190494 h 273008"/>
                <a:gd name="connsiteX13" fmla="*/ 136421 w 141806"/>
                <a:gd name="connsiteY13" fmla="*/ 206368 h 273008"/>
                <a:gd name="connsiteX14" fmla="*/ 138406 w 141806"/>
                <a:gd name="connsiteY14" fmla="*/ 222243 h 273008"/>
                <a:gd name="connsiteX15" fmla="*/ 137910 w 141806"/>
                <a:gd name="connsiteY15" fmla="*/ 238117 h 273008"/>
                <a:gd name="connsiteX16" fmla="*/ 139398 w 141806"/>
                <a:gd name="connsiteY16" fmla="*/ 253992 h 273008"/>
                <a:gd name="connsiteX17" fmla="*/ 138902 w 141806"/>
                <a:gd name="connsiteY17" fmla="*/ 270362 h 273008"/>
                <a:gd name="connsiteX18" fmla="*/ 121539 w 141806"/>
                <a:gd name="connsiteY18" fmla="*/ 270362 h 273008"/>
                <a:gd name="connsiteX19" fmla="*/ 104176 w 141806"/>
                <a:gd name="connsiteY19" fmla="*/ 271355 h 273008"/>
                <a:gd name="connsiteX20" fmla="*/ 86814 w 141806"/>
                <a:gd name="connsiteY20" fmla="*/ 269866 h 273008"/>
                <a:gd name="connsiteX21" fmla="*/ 69451 w 141806"/>
                <a:gd name="connsiteY21" fmla="*/ 270362 h 273008"/>
                <a:gd name="connsiteX22" fmla="*/ 52088 w 141806"/>
                <a:gd name="connsiteY22" fmla="*/ 269866 h 273008"/>
                <a:gd name="connsiteX23" fmla="*/ 34725 w 141806"/>
                <a:gd name="connsiteY23" fmla="*/ 269370 h 273008"/>
                <a:gd name="connsiteX24" fmla="*/ 17363 w 141806"/>
                <a:gd name="connsiteY24" fmla="*/ 270362 h 273008"/>
                <a:gd name="connsiteX25" fmla="*/ 0 w 141806"/>
                <a:gd name="connsiteY25" fmla="*/ 271355 h 27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1806" h="273008">
                  <a:moveTo>
                    <a:pt x="130964" y="0"/>
                  </a:moveTo>
                  <a:cubicBezTo>
                    <a:pt x="131461" y="7937"/>
                    <a:pt x="130468" y="7937"/>
                    <a:pt x="130468" y="15875"/>
                  </a:cubicBezTo>
                  <a:cubicBezTo>
                    <a:pt x="130964" y="23812"/>
                    <a:pt x="131461" y="23812"/>
                    <a:pt x="131957" y="31749"/>
                  </a:cubicBezTo>
                  <a:cubicBezTo>
                    <a:pt x="132453" y="39686"/>
                    <a:pt x="131957" y="39686"/>
                    <a:pt x="132453" y="47623"/>
                  </a:cubicBezTo>
                  <a:cubicBezTo>
                    <a:pt x="132949" y="55561"/>
                    <a:pt x="131461" y="55561"/>
                    <a:pt x="131461" y="63498"/>
                  </a:cubicBezTo>
                  <a:cubicBezTo>
                    <a:pt x="131957" y="71435"/>
                    <a:pt x="132453" y="71435"/>
                    <a:pt x="132453" y="79372"/>
                  </a:cubicBezTo>
                  <a:cubicBezTo>
                    <a:pt x="132949" y="87310"/>
                    <a:pt x="133941" y="87310"/>
                    <a:pt x="133941" y="95247"/>
                  </a:cubicBezTo>
                  <a:cubicBezTo>
                    <a:pt x="134437" y="103184"/>
                    <a:pt x="133941" y="103184"/>
                    <a:pt x="133941" y="111121"/>
                  </a:cubicBezTo>
                  <a:cubicBezTo>
                    <a:pt x="134437" y="119059"/>
                    <a:pt x="132949" y="119059"/>
                    <a:pt x="133445" y="126996"/>
                  </a:cubicBezTo>
                  <a:cubicBezTo>
                    <a:pt x="133941" y="134933"/>
                    <a:pt x="134437" y="134933"/>
                    <a:pt x="134437" y="142870"/>
                  </a:cubicBezTo>
                  <a:cubicBezTo>
                    <a:pt x="134933" y="150808"/>
                    <a:pt x="134933" y="150808"/>
                    <a:pt x="134933" y="158745"/>
                  </a:cubicBezTo>
                  <a:cubicBezTo>
                    <a:pt x="135429" y="166682"/>
                    <a:pt x="135429" y="166682"/>
                    <a:pt x="135429" y="174619"/>
                  </a:cubicBezTo>
                  <a:cubicBezTo>
                    <a:pt x="135925" y="182557"/>
                    <a:pt x="135925" y="182557"/>
                    <a:pt x="136421" y="190494"/>
                  </a:cubicBezTo>
                  <a:cubicBezTo>
                    <a:pt x="136917" y="198431"/>
                    <a:pt x="136421" y="198431"/>
                    <a:pt x="136421" y="206368"/>
                  </a:cubicBezTo>
                  <a:cubicBezTo>
                    <a:pt x="136917" y="214306"/>
                    <a:pt x="137910" y="214306"/>
                    <a:pt x="138406" y="222243"/>
                  </a:cubicBezTo>
                  <a:cubicBezTo>
                    <a:pt x="138902" y="230180"/>
                    <a:pt x="137910" y="230180"/>
                    <a:pt x="137910" y="238117"/>
                  </a:cubicBezTo>
                  <a:cubicBezTo>
                    <a:pt x="138406" y="246055"/>
                    <a:pt x="138902" y="246055"/>
                    <a:pt x="139398" y="253992"/>
                  </a:cubicBezTo>
                  <a:cubicBezTo>
                    <a:pt x="139894" y="261929"/>
                    <a:pt x="144855" y="264409"/>
                    <a:pt x="138902" y="270362"/>
                  </a:cubicBezTo>
                  <a:cubicBezTo>
                    <a:pt x="132949" y="276315"/>
                    <a:pt x="130468" y="270362"/>
                    <a:pt x="121539" y="270362"/>
                  </a:cubicBezTo>
                  <a:cubicBezTo>
                    <a:pt x="113106" y="270362"/>
                    <a:pt x="113106" y="271355"/>
                    <a:pt x="104176" y="271355"/>
                  </a:cubicBezTo>
                  <a:cubicBezTo>
                    <a:pt x="95743" y="271355"/>
                    <a:pt x="95743" y="269866"/>
                    <a:pt x="86814" y="269866"/>
                  </a:cubicBezTo>
                  <a:cubicBezTo>
                    <a:pt x="78380" y="269866"/>
                    <a:pt x="78380" y="270362"/>
                    <a:pt x="69451" y="270362"/>
                  </a:cubicBezTo>
                  <a:cubicBezTo>
                    <a:pt x="61018" y="270362"/>
                    <a:pt x="61018" y="269866"/>
                    <a:pt x="52088" y="269866"/>
                  </a:cubicBezTo>
                  <a:cubicBezTo>
                    <a:pt x="43655" y="269866"/>
                    <a:pt x="43655" y="269370"/>
                    <a:pt x="34725" y="269370"/>
                  </a:cubicBezTo>
                  <a:cubicBezTo>
                    <a:pt x="26292" y="269370"/>
                    <a:pt x="26292" y="270362"/>
                    <a:pt x="17363" y="270362"/>
                  </a:cubicBezTo>
                  <a:cubicBezTo>
                    <a:pt x="8433" y="270362"/>
                    <a:pt x="8929" y="271355"/>
                    <a:pt x="0" y="2713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8FABE609-4BF4-AFB7-575E-F3559A6CA214}"/>
                </a:ext>
              </a:extLst>
            </p:cNvPr>
            <p:cNvSpPr/>
            <p:nvPr/>
          </p:nvSpPr>
          <p:spPr>
            <a:xfrm>
              <a:off x="3622231" y="4542585"/>
              <a:ext cx="166371" cy="159737"/>
            </a:xfrm>
            <a:custGeom>
              <a:avLst/>
              <a:gdLst>
                <a:gd name="connsiteX0" fmla="*/ 0 w 166371"/>
                <a:gd name="connsiteY0" fmla="*/ 95743 h 159737"/>
                <a:gd name="connsiteX1" fmla="*/ 12898 w 166371"/>
                <a:gd name="connsiteY1" fmla="*/ 86317 h 159737"/>
                <a:gd name="connsiteX2" fmla="*/ 26292 w 166371"/>
                <a:gd name="connsiteY2" fmla="*/ 77388 h 159737"/>
                <a:gd name="connsiteX3" fmla="*/ 39190 w 166371"/>
                <a:gd name="connsiteY3" fmla="*/ 68459 h 159737"/>
                <a:gd name="connsiteX4" fmla="*/ 54073 w 166371"/>
                <a:gd name="connsiteY4" fmla="*/ 62010 h 159737"/>
                <a:gd name="connsiteX5" fmla="*/ 66971 w 166371"/>
                <a:gd name="connsiteY5" fmla="*/ 52584 h 159737"/>
                <a:gd name="connsiteX6" fmla="*/ 80861 w 166371"/>
                <a:gd name="connsiteY6" fmla="*/ 44647 h 159737"/>
                <a:gd name="connsiteX7" fmla="*/ 93759 w 166371"/>
                <a:gd name="connsiteY7" fmla="*/ 35718 h 159737"/>
                <a:gd name="connsiteX8" fmla="*/ 107649 w 166371"/>
                <a:gd name="connsiteY8" fmla="*/ 28277 h 159737"/>
                <a:gd name="connsiteX9" fmla="*/ 121043 w 166371"/>
                <a:gd name="connsiteY9" fmla="*/ 19843 h 159737"/>
                <a:gd name="connsiteX10" fmla="*/ 135429 w 166371"/>
                <a:gd name="connsiteY10" fmla="*/ 12402 h 159737"/>
                <a:gd name="connsiteX11" fmla="*/ 149816 w 166371"/>
                <a:gd name="connsiteY11" fmla="*/ 5953 h 159737"/>
                <a:gd name="connsiteX12" fmla="*/ 164698 w 166371"/>
                <a:gd name="connsiteY12" fmla="*/ 0 h 159737"/>
                <a:gd name="connsiteX13" fmla="*/ 159241 w 166371"/>
                <a:gd name="connsiteY13" fmla="*/ 13890 h 159737"/>
                <a:gd name="connsiteX14" fmla="*/ 147831 w 166371"/>
                <a:gd name="connsiteY14" fmla="*/ 25796 h 159737"/>
                <a:gd name="connsiteX15" fmla="*/ 136917 w 166371"/>
                <a:gd name="connsiteY15" fmla="*/ 37702 h 159737"/>
                <a:gd name="connsiteX16" fmla="*/ 126004 w 166371"/>
                <a:gd name="connsiteY16" fmla="*/ 49608 h 159737"/>
                <a:gd name="connsiteX17" fmla="*/ 114098 w 166371"/>
                <a:gd name="connsiteY17" fmla="*/ 61018 h 159737"/>
                <a:gd name="connsiteX18" fmla="*/ 101696 w 166371"/>
                <a:gd name="connsiteY18" fmla="*/ 71435 h 159737"/>
                <a:gd name="connsiteX19" fmla="*/ 88798 w 166371"/>
                <a:gd name="connsiteY19" fmla="*/ 81853 h 159737"/>
                <a:gd name="connsiteX20" fmla="*/ 77388 w 166371"/>
                <a:gd name="connsiteY20" fmla="*/ 93759 h 159737"/>
                <a:gd name="connsiteX21" fmla="*/ 65978 w 166371"/>
                <a:gd name="connsiteY21" fmla="*/ 105169 h 159737"/>
                <a:gd name="connsiteX22" fmla="*/ 54073 w 166371"/>
                <a:gd name="connsiteY22" fmla="*/ 116082 h 159737"/>
                <a:gd name="connsiteX23" fmla="*/ 40678 w 166371"/>
                <a:gd name="connsiteY23" fmla="*/ 125508 h 159737"/>
                <a:gd name="connsiteX24" fmla="*/ 29765 w 166371"/>
                <a:gd name="connsiteY24" fmla="*/ 137910 h 159737"/>
                <a:gd name="connsiteX25" fmla="*/ 16371 w 166371"/>
                <a:gd name="connsiteY25" fmla="*/ 147831 h 159737"/>
                <a:gd name="connsiteX26" fmla="*/ 4961 w 166371"/>
                <a:gd name="connsiteY26" fmla="*/ 159737 h 15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6371" h="159737">
                  <a:moveTo>
                    <a:pt x="0" y="95743"/>
                  </a:moveTo>
                  <a:cubicBezTo>
                    <a:pt x="6449" y="91278"/>
                    <a:pt x="4465" y="91774"/>
                    <a:pt x="12898" y="86317"/>
                  </a:cubicBezTo>
                  <a:cubicBezTo>
                    <a:pt x="16867" y="83837"/>
                    <a:pt x="20835" y="80861"/>
                    <a:pt x="26292" y="77388"/>
                  </a:cubicBezTo>
                  <a:cubicBezTo>
                    <a:pt x="30261" y="74908"/>
                    <a:pt x="34725" y="71435"/>
                    <a:pt x="39190" y="68459"/>
                  </a:cubicBezTo>
                  <a:cubicBezTo>
                    <a:pt x="43655" y="65978"/>
                    <a:pt x="49112" y="64986"/>
                    <a:pt x="54073" y="62010"/>
                  </a:cubicBezTo>
                  <a:cubicBezTo>
                    <a:pt x="58537" y="59529"/>
                    <a:pt x="62506" y="55561"/>
                    <a:pt x="66971" y="52584"/>
                  </a:cubicBezTo>
                  <a:cubicBezTo>
                    <a:pt x="71435" y="50104"/>
                    <a:pt x="76396" y="47623"/>
                    <a:pt x="80861" y="44647"/>
                  </a:cubicBezTo>
                  <a:cubicBezTo>
                    <a:pt x="85325" y="42167"/>
                    <a:pt x="89294" y="38198"/>
                    <a:pt x="93759" y="35718"/>
                  </a:cubicBezTo>
                  <a:cubicBezTo>
                    <a:pt x="98223" y="33237"/>
                    <a:pt x="103184" y="30757"/>
                    <a:pt x="107649" y="28277"/>
                  </a:cubicBezTo>
                  <a:cubicBezTo>
                    <a:pt x="112610" y="25796"/>
                    <a:pt x="116578" y="22324"/>
                    <a:pt x="121043" y="19843"/>
                  </a:cubicBezTo>
                  <a:cubicBezTo>
                    <a:pt x="126004" y="17363"/>
                    <a:pt x="130965" y="14882"/>
                    <a:pt x="135429" y="12402"/>
                  </a:cubicBezTo>
                  <a:cubicBezTo>
                    <a:pt x="140886" y="9425"/>
                    <a:pt x="145847" y="7937"/>
                    <a:pt x="149816" y="5953"/>
                  </a:cubicBezTo>
                  <a:cubicBezTo>
                    <a:pt x="156761" y="2976"/>
                    <a:pt x="161721" y="0"/>
                    <a:pt x="164698" y="0"/>
                  </a:cubicBezTo>
                  <a:cubicBezTo>
                    <a:pt x="168171" y="0"/>
                    <a:pt x="166186" y="5953"/>
                    <a:pt x="159241" y="13890"/>
                  </a:cubicBezTo>
                  <a:cubicBezTo>
                    <a:pt x="156265" y="17363"/>
                    <a:pt x="152296" y="21331"/>
                    <a:pt x="147831" y="25796"/>
                  </a:cubicBezTo>
                  <a:cubicBezTo>
                    <a:pt x="144359" y="29268"/>
                    <a:pt x="140886" y="33733"/>
                    <a:pt x="136917" y="37702"/>
                  </a:cubicBezTo>
                  <a:cubicBezTo>
                    <a:pt x="133445" y="41174"/>
                    <a:pt x="129972" y="45639"/>
                    <a:pt x="126004" y="49608"/>
                  </a:cubicBezTo>
                  <a:cubicBezTo>
                    <a:pt x="122035" y="53080"/>
                    <a:pt x="118066" y="57049"/>
                    <a:pt x="114098" y="61018"/>
                  </a:cubicBezTo>
                  <a:cubicBezTo>
                    <a:pt x="110129" y="64490"/>
                    <a:pt x="105665" y="67963"/>
                    <a:pt x="101696" y="71435"/>
                  </a:cubicBezTo>
                  <a:cubicBezTo>
                    <a:pt x="97727" y="74908"/>
                    <a:pt x="92767" y="77884"/>
                    <a:pt x="88798" y="81853"/>
                  </a:cubicBezTo>
                  <a:cubicBezTo>
                    <a:pt x="84829" y="85325"/>
                    <a:pt x="81357" y="90286"/>
                    <a:pt x="77388" y="93759"/>
                  </a:cubicBezTo>
                  <a:cubicBezTo>
                    <a:pt x="73419" y="97727"/>
                    <a:pt x="69947" y="101696"/>
                    <a:pt x="65978" y="105169"/>
                  </a:cubicBezTo>
                  <a:cubicBezTo>
                    <a:pt x="62010" y="109137"/>
                    <a:pt x="58041" y="112610"/>
                    <a:pt x="54073" y="116082"/>
                  </a:cubicBezTo>
                  <a:cubicBezTo>
                    <a:pt x="50104" y="120051"/>
                    <a:pt x="44647" y="122035"/>
                    <a:pt x="40678" y="125508"/>
                  </a:cubicBezTo>
                  <a:cubicBezTo>
                    <a:pt x="36214" y="129476"/>
                    <a:pt x="33237" y="134437"/>
                    <a:pt x="29765" y="137910"/>
                  </a:cubicBezTo>
                  <a:cubicBezTo>
                    <a:pt x="25300" y="141878"/>
                    <a:pt x="19843" y="144359"/>
                    <a:pt x="16371" y="147831"/>
                  </a:cubicBezTo>
                  <a:cubicBezTo>
                    <a:pt x="8929" y="154776"/>
                    <a:pt x="10914" y="154280"/>
                    <a:pt x="4961" y="1597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B32CBE94-F4DC-B691-B67C-5DC0BD441E43}"/>
                </a:ext>
              </a:extLst>
            </p:cNvPr>
            <p:cNvSpPr/>
            <p:nvPr/>
          </p:nvSpPr>
          <p:spPr>
            <a:xfrm>
              <a:off x="3526289" y="4919108"/>
              <a:ext cx="57014" cy="100822"/>
            </a:xfrm>
            <a:custGeom>
              <a:avLst/>
              <a:gdLst>
                <a:gd name="connsiteX0" fmla="*/ 3175 w 57014"/>
                <a:gd name="connsiteY0" fmla="*/ 97231 h 100822"/>
                <a:gd name="connsiteX1" fmla="*/ 20042 w 57014"/>
                <a:gd name="connsiteY1" fmla="*/ 97231 h 100822"/>
                <a:gd name="connsiteX2" fmla="*/ 37404 w 57014"/>
                <a:gd name="connsiteY2" fmla="*/ 99216 h 100822"/>
                <a:gd name="connsiteX3" fmla="*/ 54271 w 57014"/>
                <a:gd name="connsiteY3" fmla="*/ 97727 h 100822"/>
                <a:gd name="connsiteX4" fmla="*/ 53775 w 57014"/>
                <a:gd name="connsiteY4" fmla="*/ 80365 h 100822"/>
                <a:gd name="connsiteX5" fmla="*/ 54271 w 57014"/>
                <a:gd name="connsiteY5" fmla="*/ 62506 h 100822"/>
                <a:gd name="connsiteX6" fmla="*/ 53775 w 57014"/>
                <a:gd name="connsiteY6" fmla="*/ 44647 h 100822"/>
                <a:gd name="connsiteX7" fmla="*/ 54271 w 57014"/>
                <a:gd name="connsiteY7" fmla="*/ 26788 h 100822"/>
                <a:gd name="connsiteX8" fmla="*/ 41869 w 57014"/>
                <a:gd name="connsiteY8" fmla="*/ 12898 h 100822"/>
                <a:gd name="connsiteX9" fmla="*/ 27979 w 57014"/>
                <a:gd name="connsiteY9" fmla="*/ 0 h 100822"/>
                <a:gd name="connsiteX10" fmla="*/ 15081 w 57014"/>
                <a:gd name="connsiteY10" fmla="*/ 12898 h 100822"/>
                <a:gd name="connsiteX11" fmla="*/ 2183 w 57014"/>
                <a:gd name="connsiteY11" fmla="*/ 25796 h 100822"/>
                <a:gd name="connsiteX12" fmla="*/ 1191 w 57014"/>
                <a:gd name="connsiteY12" fmla="*/ 44151 h 100822"/>
                <a:gd name="connsiteX13" fmla="*/ 1687 w 57014"/>
                <a:gd name="connsiteY13" fmla="*/ 62506 h 100822"/>
                <a:gd name="connsiteX14" fmla="*/ 2679 w 57014"/>
                <a:gd name="connsiteY14" fmla="*/ 80861 h 100822"/>
                <a:gd name="connsiteX15" fmla="*/ 3175 w 57014"/>
                <a:gd name="connsiteY15" fmla="*/ 97231 h 10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014" h="100822">
                  <a:moveTo>
                    <a:pt x="3175" y="97231"/>
                  </a:moveTo>
                  <a:cubicBezTo>
                    <a:pt x="9128" y="103680"/>
                    <a:pt x="11112" y="97231"/>
                    <a:pt x="20042" y="97231"/>
                  </a:cubicBezTo>
                  <a:cubicBezTo>
                    <a:pt x="28475" y="97231"/>
                    <a:pt x="28475" y="99216"/>
                    <a:pt x="37404" y="99216"/>
                  </a:cubicBezTo>
                  <a:cubicBezTo>
                    <a:pt x="45838" y="99216"/>
                    <a:pt x="48318" y="103680"/>
                    <a:pt x="54271" y="97727"/>
                  </a:cubicBezTo>
                  <a:cubicBezTo>
                    <a:pt x="60720" y="91278"/>
                    <a:pt x="53775" y="89294"/>
                    <a:pt x="53775" y="80365"/>
                  </a:cubicBezTo>
                  <a:cubicBezTo>
                    <a:pt x="53775" y="71435"/>
                    <a:pt x="54271" y="71435"/>
                    <a:pt x="54271" y="62506"/>
                  </a:cubicBezTo>
                  <a:cubicBezTo>
                    <a:pt x="54271" y="53577"/>
                    <a:pt x="53775" y="53577"/>
                    <a:pt x="53775" y="44647"/>
                  </a:cubicBezTo>
                  <a:cubicBezTo>
                    <a:pt x="53775" y="35718"/>
                    <a:pt x="57743" y="35222"/>
                    <a:pt x="54271" y="26788"/>
                  </a:cubicBezTo>
                  <a:cubicBezTo>
                    <a:pt x="50799" y="18355"/>
                    <a:pt x="48814" y="19347"/>
                    <a:pt x="41869" y="12898"/>
                  </a:cubicBezTo>
                  <a:cubicBezTo>
                    <a:pt x="35420" y="6449"/>
                    <a:pt x="37404" y="0"/>
                    <a:pt x="27979" y="0"/>
                  </a:cubicBezTo>
                  <a:cubicBezTo>
                    <a:pt x="19049" y="0"/>
                    <a:pt x="21530" y="6449"/>
                    <a:pt x="15081" y="12898"/>
                  </a:cubicBezTo>
                  <a:cubicBezTo>
                    <a:pt x="8632" y="19347"/>
                    <a:pt x="5655" y="17363"/>
                    <a:pt x="2183" y="25796"/>
                  </a:cubicBezTo>
                  <a:cubicBezTo>
                    <a:pt x="-1290" y="34229"/>
                    <a:pt x="1687" y="35222"/>
                    <a:pt x="1191" y="44151"/>
                  </a:cubicBezTo>
                  <a:cubicBezTo>
                    <a:pt x="1191" y="53080"/>
                    <a:pt x="1687" y="53080"/>
                    <a:pt x="1687" y="62506"/>
                  </a:cubicBezTo>
                  <a:cubicBezTo>
                    <a:pt x="1687" y="71435"/>
                    <a:pt x="4167" y="71931"/>
                    <a:pt x="2679" y="80861"/>
                  </a:cubicBezTo>
                  <a:cubicBezTo>
                    <a:pt x="1191" y="88798"/>
                    <a:pt x="-2778" y="90783"/>
                    <a:pt x="3175" y="97231"/>
                  </a:cubicBezTo>
                  <a:close/>
                </a:path>
              </a:pathLst>
            </a:custGeom>
            <a:solidFill>
              <a:srgbClr val="E1EBE5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657B5A49-59D3-E73F-7DC8-8F3808D97E2D}"/>
                </a:ext>
              </a:extLst>
            </p:cNvPr>
            <p:cNvSpPr/>
            <p:nvPr/>
          </p:nvSpPr>
          <p:spPr>
            <a:xfrm>
              <a:off x="3340909" y="4915936"/>
              <a:ext cx="214350" cy="103528"/>
            </a:xfrm>
            <a:custGeom>
              <a:avLst/>
              <a:gdLst>
                <a:gd name="connsiteX0" fmla="*/ 214351 w 214350"/>
                <a:gd name="connsiteY0" fmla="*/ 3172 h 103528"/>
                <a:gd name="connsiteX1" fmla="*/ 197484 w 214350"/>
                <a:gd name="connsiteY1" fmla="*/ 3668 h 103528"/>
                <a:gd name="connsiteX2" fmla="*/ 180618 w 214350"/>
                <a:gd name="connsiteY2" fmla="*/ 3668 h 103528"/>
                <a:gd name="connsiteX3" fmla="*/ 163751 w 214350"/>
                <a:gd name="connsiteY3" fmla="*/ 1683 h 103528"/>
                <a:gd name="connsiteX4" fmla="*/ 146884 w 214350"/>
                <a:gd name="connsiteY4" fmla="*/ 2676 h 103528"/>
                <a:gd name="connsiteX5" fmla="*/ 130018 w 214350"/>
                <a:gd name="connsiteY5" fmla="*/ 2180 h 103528"/>
                <a:gd name="connsiteX6" fmla="*/ 113151 w 214350"/>
                <a:gd name="connsiteY6" fmla="*/ 2180 h 103528"/>
                <a:gd name="connsiteX7" fmla="*/ 96284 w 214350"/>
                <a:gd name="connsiteY7" fmla="*/ 2180 h 103528"/>
                <a:gd name="connsiteX8" fmla="*/ 79418 w 214350"/>
                <a:gd name="connsiteY8" fmla="*/ 2676 h 103528"/>
                <a:gd name="connsiteX9" fmla="*/ 62551 w 214350"/>
                <a:gd name="connsiteY9" fmla="*/ 2180 h 103528"/>
                <a:gd name="connsiteX10" fmla="*/ 45684 w 214350"/>
                <a:gd name="connsiteY10" fmla="*/ 1187 h 103528"/>
                <a:gd name="connsiteX11" fmla="*/ 28322 w 214350"/>
                <a:gd name="connsiteY11" fmla="*/ 1683 h 103528"/>
                <a:gd name="connsiteX12" fmla="*/ 15424 w 214350"/>
                <a:gd name="connsiteY12" fmla="*/ 14085 h 103528"/>
                <a:gd name="connsiteX13" fmla="*/ 3022 w 214350"/>
                <a:gd name="connsiteY13" fmla="*/ 26984 h 103528"/>
                <a:gd name="connsiteX14" fmla="*/ 2525 w 214350"/>
                <a:gd name="connsiteY14" fmla="*/ 45338 h 103528"/>
                <a:gd name="connsiteX15" fmla="*/ 4014 w 214350"/>
                <a:gd name="connsiteY15" fmla="*/ 63693 h 103528"/>
                <a:gd name="connsiteX16" fmla="*/ 4014 w 214350"/>
                <a:gd name="connsiteY16" fmla="*/ 82048 h 103528"/>
                <a:gd name="connsiteX17" fmla="*/ 2525 w 214350"/>
                <a:gd name="connsiteY17" fmla="*/ 100899 h 103528"/>
                <a:gd name="connsiteX18" fmla="*/ 20384 w 214350"/>
                <a:gd name="connsiteY18" fmla="*/ 99907 h 103528"/>
                <a:gd name="connsiteX19" fmla="*/ 37747 w 214350"/>
                <a:gd name="connsiteY19" fmla="*/ 98915 h 103528"/>
                <a:gd name="connsiteX20" fmla="*/ 55110 w 214350"/>
                <a:gd name="connsiteY20" fmla="*/ 100403 h 103528"/>
                <a:gd name="connsiteX21" fmla="*/ 70488 w 214350"/>
                <a:gd name="connsiteY21" fmla="*/ 100403 h 103528"/>
                <a:gd name="connsiteX22" fmla="*/ 85866 w 214350"/>
                <a:gd name="connsiteY22" fmla="*/ 100899 h 103528"/>
                <a:gd name="connsiteX23" fmla="*/ 101245 w 214350"/>
                <a:gd name="connsiteY23" fmla="*/ 100899 h 103528"/>
                <a:gd name="connsiteX24" fmla="*/ 116623 w 214350"/>
                <a:gd name="connsiteY24" fmla="*/ 101395 h 103528"/>
                <a:gd name="connsiteX25" fmla="*/ 132002 w 214350"/>
                <a:gd name="connsiteY25" fmla="*/ 99907 h 103528"/>
                <a:gd name="connsiteX26" fmla="*/ 147380 w 214350"/>
                <a:gd name="connsiteY26" fmla="*/ 99907 h 103528"/>
                <a:gd name="connsiteX27" fmla="*/ 162759 w 214350"/>
                <a:gd name="connsiteY27" fmla="*/ 99907 h 103528"/>
                <a:gd name="connsiteX28" fmla="*/ 178137 w 214350"/>
                <a:gd name="connsiteY28" fmla="*/ 99907 h 103528"/>
                <a:gd name="connsiteX29" fmla="*/ 193515 w 214350"/>
                <a:gd name="connsiteY29" fmla="*/ 100403 h 10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4350" h="103528">
                  <a:moveTo>
                    <a:pt x="214351" y="3172"/>
                  </a:moveTo>
                  <a:cubicBezTo>
                    <a:pt x="205917" y="3172"/>
                    <a:pt x="205917" y="3668"/>
                    <a:pt x="197484" y="3668"/>
                  </a:cubicBezTo>
                  <a:cubicBezTo>
                    <a:pt x="189051" y="3668"/>
                    <a:pt x="189051" y="3668"/>
                    <a:pt x="180618" y="3668"/>
                  </a:cubicBezTo>
                  <a:cubicBezTo>
                    <a:pt x="172184" y="3668"/>
                    <a:pt x="172184" y="1683"/>
                    <a:pt x="163751" y="1683"/>
                  </a:cubicBezTo>
                  <a:cubicBezTo>
                    <a:pt x="155317" y="1683"/>
                    <a:pt x="155317" y="2676"/>
                    <a:pt x="146884" y="2676"/>
                  </a:cubicBezTo>
                  <a:cubicBezTo>
                    <a:pt x="138451" y="2676"/>
                    <a:pt x="138451" y="2180"/>
                    <a:pt x="130018" y="2180"/>
                  </a:cubicBezTo>
                  <a:cubicBezTo>
                    <a:pt x="121584" y="2180"/>
                    <a:pt x="121584" y="2180"/>
                    <a:pt x="113151" y="2180"/>
                  </a:cubicBezTo>
                  <a:cubicBezTo>
                    <a:pt x="104718" y="2180"/>
                    <a:pt x="104718" y="2180"/>
                    <a:pt x="96284" y="2180"/>
                  </a:cubicBezTo>
                  <a:cubicBezTo>
                    <a:pt x="87851" y="2180"/>
                    <a:pt x="87851" y="2676"/>
                    <a:pt x="79418" y="2676"/>
                  </a:cubicBezTo>
                  <a:cubicBezTo>
                    <a:pt x="70984" y="2676"/>
                    <a:pt x="70984" y="2180"/>
                    <a:pt x="62551" y="2180"/>
                  </a:cubicBezTo>
                  <a:cubicBezTo>
                    <a:pt x="54118" y="2180"/>
                    <a:pt x="54118" y="1187"/>
                    <a:pt x="45684" y="1187"/>
                  </a:cubicBezTo>
                  <a:cubicBezTo>
                    <a:pt x="37251" y="1187"/>
                    <a:pt x="36259" y="-1789"/>
                    <a:pt x="28322" y="1683"/>
                  </a:cubicBezTo>
                  <a:cubicBezTo>
                    <a:pt x="19888" y="5156"/>
                    <a:pt x="21376" y="8132"/>
                    <a:pt x="15424" y="14085"/>
                  </a:cubicBezTo>
                  <a:cubicBezTo>
                    <a:pt x="8974" y="20534"/>
                    <a:pt x="6494" y="19046"/>
                    <a:pt x="3022" y="26984"/>
                  </a:cubicBezTo>
                  <a:cubicBezTo>
                    <a:pt x="-451" y="35417"/>
                    <a:pt x="2525" y="36409"/>
                    <a:pt x="2525" y="45338"/>
                  </a:cubicBezTo>
                  <a:cubicBezTo>
                    <a:pt x="2525" y="54268"/>
                    <a:pt x="4014" y="54268"/>
                    <a:pt x="4014" y="63693"/>
                  </a:cubicBezTo>
                  <a:cubicBezTo>
                    <a:pt x="4014" y="72622"/>
                    <a:pt x="4014" y="72622"/>
                    <a:pt x="4014" y="82048"/>
                  </a:cubicBezTo>
                  <a:cubicBezTo>
                    <a:pt x="4014" y="90977"/>
                    <a:pt x="-3924" y="94450"/>
                    <a:pt x="2525" y="100899"/>
                  </a:cubicBezTo>
                  <a:cubicBezTo>
                    <a:pt x="8478" y="107348"/>
                    <a:pt x="11951" y="99907"/>
                    <a:pt x="20384" y="99907"/>
                  </a:cubicBezTo>
                  <a:cubicBezTo>
                    <a:pt x="28818" y="99907"/>
                    <a:pt x="28818" y="98915"/>
                    <a:pt x="37747" y="98915"/>
                  </a:cubicBezTo>
                  <a:cubicBezTo>
                    <a:pt x="46180" y="98915"/>
                    <a:pt x="46180" y="100403"/>
                    <a:pt x="55110" y="100403"/>
                  </a:cubicBezTo>
                  <a:cubicBezTo>
                    <a:pt x="63047" y="100403"/>
                    <a:pt x="63047" y="100403"/>
                    <a:pt x="70488" y="100403"/>
                  </a:cubicBezTo>
                  <a:cubicBezTo>
                    <a:pt x="78425" y="100403"/>
                    <a:pt x="78425" y="100899"/>
                    <a:pt x="85866" y="100899"/>
                  </a:cubicBezTo>
                  <a:cubicBezTo>
                    <a:pt x="93308" y="100899"/>
                    <a:pt x="93804" y="100899"/>
                    <a:pt x="101245" y="100899"/>
                  </a:cubicBezTo>
                  <a:cubicBezTo>
                    <a:pt x="109182" y="100899"/>
                    <a:pt x="109182" y="101395"/>
                    <a:pt x="116623" y="101395"/>
                  </a:cubicBezTo>
                  <a:cubicBezTo>
                    <a:pt x="124561" y="101395"/>
                    <a:pt x="124561" y="99907"/>
                    <a:pt x="132002" y="99907"/>
                  </a:cubicBezTo>
                  <a:cubicBezTo>
                    <a:pt x="139939" y="99907"/>
                    <a:pt x="139939" y="99907"/>
                    <a:pt x="147380" y="99907"/>
                  </a:cubicBezTo>
                  <a:cubicBezTo>
                    <a:pt x="155317" y="99907"/>
                    <a:pt x="155317" y="99907"/>
                    <a:pt x="162759" y="99907"/>
                  </a:cubicBezTo>
                  <a:cubicBezTo>
                    <a:pt x="170696" y="99907"/>
                    <a:pt x="170696" y="99907"/>
                    <a:pt x="178137" y="99907"/>
                  </a:cubicBezTo>
                  <a:cubicBezTo>
                    <a:pt x="186074" y="99907"/>
                    <a:pt x="186074" y="100403"/>
                    <a:pt x="193515" y="10040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EF56A2C7-3D2D-1AA4-5473-AC9F0C5106D9}"/>
                </a:ext>
              </a:extLst>
            </p:cNvPr>
            <p:cNvSpPr/>
            <p:nvPr/>
          </p:nvSpPr>
          <p:spPr>
            <a:xfrm>
              <a:off x="3343931" y="4942920"/>
              <a:ext cx="185532" cy="2480"/>
            </a:xfrm>
            <a:custGeom>
              <a:avLst/>
              <a:gdLst>
                <a:gd name="connsiteX0" fmla="*/ 185533 w 185532"/>
                <a:gd name="connsiteY0" fmla="*/ 992 h 2480"/>
                <a:gd name="connsiteX1" fmla="*/ 168667 w 185532"/>
                <a:gd name="connsiteY1" fmla="*/ 2480 h 2480"/>
                <a:gd name="connsiteX2" fmla="*/ 151800 w 185532"/>
                <a:gd name="connsiteY2" fmla="*/ 992 h 2480"/>
                <a:gd name="connsiteX3" fmla="*/ 134933 w 185532"/>
                <a:gd name="connsiteY3" fmla="*/ 992 h 2480"/>
                <a:gd name="connsiteX4" fmla="*/ 118066 w 185532"/>
                <a:gd name="connsiteY4" fmla="*/ 992 h 2480"/>
                <a:gd name="connsiteX5" fmla="*/ 101200 w 185532"/>
                <a:gd name="connsiteY5" fmla="*/ 1488 h 2480"/>
                <a:gd name="connsiteX6" fmla="*/ 84333 w 185532"/>
                <a:gd name="connsiteY6" fmla="*/ 1984 h 2480"/>
                <a:gd name="connsiteX7" fmla="*/ 67466 w 185532"/>
                <a:gd name="connsiteY7" fmla="*/ 0 h 2480"/>
                <a:gd name="connsiteX8" fmla="*/ 50600 w 185532"/>
                <a:gd name="connsiteY8" fmla="*/ 0 h 2480"/>
                <a:gd name="connsiteX9" fmla="*/ 33733 w 185532"/>
                <a:gd name="connsiteY9" fmla="*/ 0 h 2480"/>
                <a:gd name="connsiteX10" fmla="*/ 16866 w 185532"/>
                <a:gd name="connsiteY10" fmla="*/ 1488 h 2480"/>
                <a:gd name="connsiteX11" fmla="*/ 0 w 185532"/>
                <a:gd name="connsiteY11" fmla="*/ 1984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532" h="2480">
                  <a:moveTo>
                    <a:pt x="185533" y="992"/>
                  </a:moveTo>
                  <a:cubicBezTo>
                    <a:pt x="177100" y="992"/>
                    <a:pt x="177100" y="2480"/>
                    <a:pt x="168667" y="2480"/>
                  </a:cubicBezTo>
                  <a:cubicBezTo>
                    <a:pt x="160233" y="2480"/>
                    <a:pt x="160233" y="992"/>
                    <a:pt x="151800" y="992"/>
                  </a:cubicBezTo>
                  <a:cubicBezTo>
                    <a:pt x="143366" y="992"/>
                    <a:pt x="143366" y="992"/>
                    <a:pt x="134933" y="992"/>
                  </a:cubicBezTo>
                  <a:cubicBezTo>
                    <a:pt x="126500" y="992"/>
                    <a:pt x="126500" y="992"/>
                    <a:pt x="118066" y="992"/>
                  </a:cubicBezTo>
                  <a:cubicBezTo>
                    <a:pt x="109633" y="992"/>
                    <a:pt x="109633" y="1488"/>
                    <a:pt x="101200" y="1488"/>
                  </a:cubicBezTo>
                  <a:cubicBezTo>
                    <a:pt x="92766" y="1488"/>
                    <a:pt x="92766" y="1984"/>
                    <a:pt x="84333" y="1984"/>
                  </a:cubicBezTo>
                  <a:cubicBezTo>
                    <a:pt x="75900" y="1984"/>
                    <a:pt x="75900" y="0"/>
                    <a:pt x="67466" y="0"/>
                  </a:cubicBezTo>
                  <a:cubicBezTo>
                    <a:pt x="59033" y="0"/>
                    <a:pt x="59033" y="0"/>
                    <a:pt x="50600" y="0"/>
                  </a:cubicBezTo>
                  <a:cubicBezTo>
                    <a:pt x="42167" y="0"/>
                    <a:pt x="42167" y="0"/>
                    <a:pt x="33733" y="0"/>
                  </a:cubicBezTo>
                  <a:cubicBezTo>
                    <a:pt x="25300" y="0"/>
                    <a:pt x="25300" y="1488"/>
                    <a:pt x="16866" y="1488"/>
                  </a:cubicBezTo>
                  <a:cubicBezTo>
                    <a:pt x="8433" y="1488"/>
                    <a:pt x="8433" y="1984"/>
                    <a:pt x="0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33533D44-0E0D-D475-B727-2D68FEFCAC19}"/>
                </a:ext>
              </a:extLst>
            </p:cNvPr>
            <p:cNvSpPr/>
            <p:nvPr/>
          </p:nvSpPr>
          <p:spPr>
            <a:xfrm>
              <a:off x="3754195" y="4603096"/>
              <a:ext cx="43467" cy="41680"/>
            </a:xfrm>
            <a:custGeom>
              <a:avLst/>
              <a:gdLst>
                <a:gd name="connsiteX0" fmla="*/ 31741 w 43467"/>
                <a:gd name="connsiteY0" fmla="*/ 41680 h 41680"/>
                <a:gd name="connsiteX1" fmla="*/ 42655 w 43467"/>
                <a:gd name="connsiteY1" fmla="*/ 26798 h 41680"/>
                <a:gd name="connsiteX2" fmla="*/ 40671 w 43467"/>
                <a:gd name="connsiteY2" fmla="*/ 10428 h 41680"/>
                <a:gd name="connsiteX3" fmla="*/ 26781 w 43467"/>
                <a:gd name="connsiteY3" fmla="*/ 506 h 41680"/>
                <a:gd name="connsiteX4" fmla="*/ 10410 w 43467"/>
                <a:gd name="connsiteY4" fmla="*/ 3979 h 41680"/>
                <a:gd name="connsiteX5" fmla="*/ 489 w 43467"/>
                <a:gd name="connsiteY5" fmla="*/ 17373 h 41680"/>
                <a:gd name="connsiteX6" fmla="*/ 5449 w 43467"/>
                <a:gd name="connsiteY6" fmla="*/ 35727 h 4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467" h="41680">
                  <a:moveTo>
                    <a:pt x="31741" y="41680"/>
                  </a:moveTo>
                  <a:cubicBezTo>
                    <a:pt x="37694" y="38704"/>
                    <a:pt x="41167" y="33247"/>
                    <a:pt x="42655" y="26798"/>
                  </a:cubicBezTo>
                  <a:cubicBezTo>
                    <a:pt x="44143" y="20845"/>
                    <a:pt x="43647" y="14892"/>
                    <a:pt x="40671" y="10428"/>
                  </a:cubicBezTo>
                  <a:cubicBezTo>
                    <a:pt x="37694" y="5467"/>
                    <a:pt x="32734" y="1994"/>
                    <a:pt x="26781" y="506"/>
                  </a:cubicBezTo>
                  <a:cubicBezTo>
                    <a:pt x="20828" y="-982"/>
                    <a:pt x="15371" y="1002"/>
                    <a:pt x="10410" y="3979"/>
                  </a:cubicBezTo>
                  <a:cubicBezTo>
                    <a:pt x="5449" y="6955"/>
                    <a:pt x="1481" y="11420"/>
                    <a:pt x="489" y="17373"/>
                  </a:cubicBezTo>
                  <a:cubicBezTo>
                    <a:pt x="-1000" y="24318"/>
                    <a:pt x="985" y="30767"/>
                    <a:pt x="5449" y="357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87D4528-51D1-717C-CF37-77B763CFC0F3}"/>
                </a:ext>
              </a:extLst>
            </p:cNvPr>
            <p:cNvSpPr/>
            <p:nvPr/>
          </p:nvSpPr>
          <p:spPr>
            <a:xfrm>
              <a:off x="3783864" y="4468669"/>
              <a:ext cx="44628" cy="42483"/>
            </a:xfrm>
            <a:custGeom>
              <a:avLst/>
              <a:gdLst>
                <a:gd name="connsiteX0" fmla="*/ 11994 w 44628"/>
                <a:gd name="connsiteY0" fmla="*/ 0 h 42483"/>
                <a:gd name="connsiteX1" fmla="*/ 584 w 44628"/>
                <a:gd name="connsiteY1" fmla="*/ 15379 h 42483"/>
                <a:gd name="connsiteX2" fmla="*/ 3560 w 44628"/>
                <a:gd name="connsiteY2" fmla="*/ 31749 h 42483"/>
                <a:gd name="connsiteX3" fmla="*/ 16954 w 44628"/>
                <a:gd name="connsiteY3" fmla="*/ 41671 h 42483"/>
                <a:gd name="connsiteX4" fmla="*/ 34317 w 44628"/>
                <a:gd name="connsiteY4" fmla="*/ 39686 h 42483"/>
                <a:gd name="connsiteX5" fmla="*/ 44239 w 44628"/>
                <a:gd name="connsiteY5" fmla="*/ 24804 h 42483"/>
                <a:gd name="connsiteX6" fmla="*/ 38782 w 44628"/>
                <a:gd name="connsiteY6" fmla="*/ 5953 h 42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628" h="42483">
                  <a:moveTo>
                    <a:pt x="11994" y="0"/>
                  </a:moveTo>
                  <a:cubicBezTo>
                    <a:pt x="6041" y="2977"/>
                    <a:pt x="2072" y="8433"/>
                    <a:pt x="584" y="15379"/>
                  </a:cubicBezTo>
                  <a:cubicBezTo>
                    <a:pt x="-904" y="21331"/>
                    <a:pt x="584" y="26788"/>
                    <a:pt x="3560" y="31749"/>
                  </a:cubicBezTo>
                  <a:cubicBezTo>
                    <a:pt x="6537" y="36710"/>
                    <a:pt x="11001" y="40182"/>
                    <a:pt x="16954" y="41671"/>
                  </a:cubicBezTo>
                  <a:cubicBezTo>
                    <a:pt x="22907" y="43159"/>
                    <a:pt x="29356" y="42663"/>
                    <a:pt x="34317" y="39686"/>
                  </a:cubicBezTo>
                  <a:cubicBezTo>
                    <a:pt x="39278" y="36710"/>
                    <a:pt x="43246" y="30757"/>
                    <a:pt x="44239" y="24804"/>
                  </a:cubicBezTo>
                  <a:cubicBezTo>
                    <a:pt x="45727" y="17859"/>
                    <a:pt x="42750" y="10914"/>
                    <a:pt x="38782" y="59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247DB6A7-9F6F-4B14-4AE5-B85AC979E08C}"/>
                </a:ext>
              </a:extLst>
            </p:cNvPr>
            <p:cNvSpPr/>
            <p:nvPr/>
          </p:nvSpPr>
          <p:spPr>
            <a:xfrm>
              <a:off x="3789409" y="4513316"/>
              <a:ext cx="20339" cy="91278"/>
            </a:xfrm>
            <a:custGeom>
              <a:avLst/>
              <a:gdLst>
                <a:gd name="connsiteX0" fmla="*/ 20339 w 20339"/>
                <a:gd name="connsiteY0" fmla="*/ 0 h 91278"/>
                <a:gd name="connsiteX1" fmla="*/ 16371 w 20339"/>
                <a:gd name="connsiteY1" fmla="*/ 14882 h 91278"/>
                <a:gd name="connsiteX2" fmla="*/ 12402 w 20339"/>
                <a:gd name="connsiteY2" fmla="*/ 29765 h 91278"/>
                <a:gd name="connsiteX3" fmla="*/ 10418 w 20339"/>
                <a:gd name="connsiteY3" fmla="*/ 45143 h 91278"/>
                <a:gd name="connsiteX4" fmla="*/ 6945 w 20339"/>
                <a:gd name="connsiteY4" fmla="*/ 60522 h 91278"/>
                <a:gd name="connsiteX5" fmla="*/ 3473 w 20339"/>
                <a:gd name="connsiteY5" fmla="*/ 75900 h 91278"/>
                <a:gd name="connsiteX6" fmla="*/ 0 w 20339"/>
                <a:gd name="connsiteY6" fmla="*/ 91278 h 91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39" h="91278">
                  <a:moveTo>
                    <a:pt x="20339" y="0"/>
                  </a:moveTo>
                  <a:cubicBezTo>
                    <a:pt x="18851" y="7441"/>
                    <a:pt x="17859" y="7441"/>
                    <a:pt x="16371" y="14882"/>
                  </a:cubicBezTo>
                  <a:cubicBezTo>
                    <a:pt x="14882" y="22324"/>
                    <a:pt x="13890" y="22324"/>
                    <a:pt x="12402" y="29765"/>
                  </a:cubicBezTo>
                  <a:cubicBezTo>
                    <a:pt x="10914" y="37206"/>
                    <a:pt x="11906" y="37702"/>
                    <a:pt x="10418" y="45143"/>
                  </a:cubicBezTo>
                  <a:cubicBezTo>
                    <a:pt x="8929" y="52584"/>
                    <a:pt x="8433" y="52584"/>
                    <a:pt x="6945" y="60522"/>
                  </a:cubicBezTo>
                  <a:cubicBezTo>
                    <a:pt x="5457" y="67963"/>
                    <a:pt x="4961" y="67963"/>
                    <a:pt x="3473" y="75900"/>
                  </a:cubicBezTo>
                  <a:cubicBezTo>
                    <a:pt x="1984" y="83341"/>
                    <a:pt x="1488" y="83341"/>
                    <a:pt x="0" y="9127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BC7F3108-9FBF-EFD8-AD17-A04E24668998}"/>
                </a:ext>
              </a:extLst>
            </p:cNvPr>
            <p:cNvSpPr/>
            <p:nvPr/>
          </p:nvSpPr>
          <p:spPr>
            <a:xfrm>
              <a:off x="3783952" y="4509348"/>
              <a:ext cx="8929" cy="37701"/>
            </a:xfrm>
            <a:custGeom>
              <a:avLst/>
              <a:gdLst>
                <a:gd name="connsiteX0" fmla="*/ 0 w 8929"/>
                <a:gd name="connsiteY0" fmla="*/ 37702 h 37701"/>
                <a:gd name="connsiteX1" fmla="*/ 4465 w 8929"/>
                <a:gd name="connsiteY1" fmla="*/ 18851 h 37701"/>
                <a:gd name="connsiteX2" fmla="*/ 8930 w 8929"/>
                <a:gd name="connsiteY2" fmla="*/ 0 h 3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29" h="37701">
                  <a:moveTo>
                    <a:pt x="0" y="37702"/>
                  </a:moveTo>
                  <a:cubicBezTo>
                    <a:pt x="1984" y="28277"/>
                    <a:pt x="1984" y="28277"/>
                    <a:pt x="4465" y="18851"/>
                  </a:cubicBezTo>
                  <a:cubicBezTo>
                    <a:pt x="6449" y="9426"/>
                    <a:pt x="6945" y="9426"/>
                    <a:pt x="893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D331C3C4-2EE6-618B-787C-1B6C306DEAF9}"/>
                </a:ext>
              </a:extLst>
            </p:cNvPr>
            <p:cNvSpPr/>
            <p:nvPr/>
          </p:nvSpPr>
          <p:spPr>
            <a:xfrm>
              <a:off x="3772046" y="4587232"/>
              <a:ext cx="2976" cy="13394"/>
            </a:xfrm>
            <a:custGeom>
              <a:avLst/>
              <a:gdLst>
                <a:gd name="connsiteX0" fmla="*/ 0 w 2976"/>
                <a:gd name="connsiteY0" fmla="*/ 13394 h 13394"/>
                <a:gd name="connsiteX1" fmla="*/ 2976 w 2976"/>
                <a:gd name="connsiteY1" fmla="*/ 0 h 13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" h="13394">
                  <a:moveTo>
                    <a:pt x="0" y="13394"/>
                  </a:moveTo>
                  <a:cubicBezTo>
                    <a:pt x="1488" y="6449"/>
                    <a:pt x="1488" y="6449"/>
                    <a:pt x="2976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E5C4DB7B-BFB4-37A4-2BF1-EBCCBDD154BD}"/>
                </a:ext>
              </a:extLst>
            </p:cNvPr>
            <p:cNvSpPr/>
            <p:nvPr/>
          </p:nvSpPr>
          <p:spPr>
            <a:xfrm>
              <a:off x="3508133" y="4889840"/>
              <a:ext cx="114593" cy="275918"/>
            </a:xfrm>
            <a:custGeom>
              <a:avLst/>
              <a:gdLst>
                <a:gd name="connsiteX0" fmla="*/ 114594 w 114593"/>
                <a:gd name="connsiteY0" fmla="*/ 0 h 275918"/>
                <a:gd name="connsiteX1" fmla="*/ 112610 w 114593"/>
                <a:gd name="connsiteY1" fmla="*/ 15875 h 275918"/>
                <a:gd name="connsiteX2" fmla="*/ 111122 w 114593"/>
                <a:gd name="connsiteY2" fmla="*/ 31749 h 275918"/>
                <a:gd name="connsiteX3" fmla="*/ 109137 w 114593"/>
                <a:gd name="connsiteY3" fmla="*/ 47623 h 275918"/>
                <a:gd name="connsiteX4" fmla="*/ 108641 w 114593"/>
                <a:gd name="connsiteY4" fmla="*/ 63994 h 275918"/>
                <a:gd name="connsiteX5" fmla="*/ 107153 w 114593"/>
                <a:gd name="connsiteY5" fmla="*/ 79868 h 275918"/>
                <a:gd name="connsiteX6" fmla="*/ 106161 w 114593"/>
                <a:gd name="connsiteY6" fmla="*/ 96239 h 275918"/>
                <a:gd name="connsiteX7" fmla="*/ 104176 w 114593"/>
                <a:gd name="connsiteY7" fmla="*/ 112113 h 275918"/>
                <a:gd name="connsiteX8" fmla="*/ 103680 w 114593"/>
                <a:gd name="connsiteY8" fmla="*/ 128484 h 275918"/>
                <a:gd name="connsiteX9" fmla="*/ 102688 w 114593"/>
                <a:gd name="connsiteY9" fmla="*/ 144855 h 275918"/>
                <a:gd name="connsiteX10" fmla="*/ 99712 w 114593"/>
                <a:gd name="connsiteY10" fmla="*/ 160729 h 275918"/>
                <a:gd name="connsiteX11" fmla="*/ 99216 w 114593"/>
                <a:gd name="connsiteY11" fmla="*/ 177100 h 275918"/>
                <a:gd name="connsiteX12" fmla="*/ 98720 w 114593"/>
                <a:gd name="connsiteY12" fmla="*/ 193470 h 275918"/>
                <a:gd name="connsiteX13" fmla="*/ 96239 w 114593"/>
                <a:gd name="connsiteY13" fmla="*/ 209345 h 275918"/>
                <a:gd name="connsiteX14" fmla="*/ 96239 w 114593"/>
                <a:gd name="connsiteY14" fmla="*/ 225715 h 275918"/>
                <a:gd name="connsiteX15" fmla="*/ 94751 w 114593"/>
                <a:gd name="connsiteY15" fmla="*/ 241590 h 275918"/>
                <a:gd name="connsiteX16" fmla="*/ 92767 w 114593"/>
                <a:gd name="connsiteY16" fmla="*/ 257464 h 275918"/>
                <a:gd name="connsiteX17" fmla="*/ 92270 w 114593"/>
                <a:gd name="connsiteY17" fmla="*/ 272843 h 275918"/>
                <a:gd name="connsiteX18" fmla="*/ 73916 w 114593"/>
                <a:gd name="connsiteY18" fmla="*/ 272843 h 275918"/>
                <a:gd name="connsiteX19" fmla="*/ 55065 w 114593"/>
                <a:gd name="connsiteY19" fmla="*/ 273339 h 275918"/>
                <a:gd name="connsiteX20" fmla="*/ 36214 w 114593"/>
                <a:gd name="connsiteY20" fmla="*/ 273835 h 275918"/>
                <a:gd name="connsiteX21" fmla="*/ 30261 w 114593"/>
                <a:gd name="connsiteY21" fmla="*/ 258457 h 275918"/>
                <a:gd name="connsiteX22" fmla="*/ 26292 w 114593"/>
                <a:gd name="connsiteY22" fmla="*/ 242582 h 275918"/>
                <a:gd name="connsiteX23" fmla="*/ 21828 w 114593"/>
                <a:gd name="connsiteY23" fmla="*/ 226708 h 275918"/>
                <a:gd name="connsiteX24" fmla="*/ 15875 w 114593"/>
                <a:gd name="connsiteY24" fmla="*/ 211329 h 275918"/>
                <a:gd name="connsiteX25" fmla="*/ 9426 w 114593"/>
                <a:gd name="connsiteY25" fmla="*/ 195950 h 275918"/>
                <a:gd name="connsiteX26" fmla="*/ 3969 w 114593"/>
                <a:gd name="connsiteY26" fmla="*/ 180572 h 275918"/>
                <a:gd name="connsiteX27" fmla="*/ 0 w 114593"/>
                <a:gd name="connsiteY27" fmla="*/ 164698 h 27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14593" h="275918">
                  <a:moveTo>
                    <a:pt x="114594" y="0"/>
                  </a:moveTo>
                  <a:cubicBezTo>
                    <a:pt x="114098" y="7937"/>
                    <a:pt x="113106" y="7937"/>
                    <a:pt x="112610" y="15875"/>
                  </a:cubicBezTo>
                  <a:cubicBezTo>
                    <a:pt x="112113" y="23812"/>
                    <a:pt x="111618" y="23812"/>
                    <a:pt x="111122" y="31749"/>
                  </a:cubicBezTo>
                  <a:cubicBezTo>
                    <a:pt x="110625" y="39686"/>
                    <a:pt x="110129" y="39686"/>
                    <a:pt x="109137" y="47623"/>
                  </a:cubicBezTo>
                  <a:cubicBezTo>
                    <a:pt x="108641" y="55561"/>
                    <a:pt x="109633" y="55561"/>
                    <a:pt x="108641" y="63994"/>
                  </a:cubicBezTo>
                  <a:cubicBezTo>
                    <a:pt x="108145" y="71931"/>
                    <a:pt x="107649" y="71931"/>
                    <a:pt x="107153" y="79868"/>
                  </a:cubicBezTo>
                  <a:cubicBezTo>
                    <a:pt x="106657" y="87806"/>
                    <a:pt x="106657" y="87806"/>
                    <a:pt x="106161" y="96239"/>
                  </a:cubicBezTo>
                  <a:cubicBezTo>
                    <a:pt x="105665" y="104176"/>
                    <a:pt x="105169" y="104176"/>
                    <a:pt x="104176" y="112113"/>
                  </a:cubicBezTo>
                  <a:cubicBezTo>
                    <a:pt x="103680" y="120051"/>
                    <a:pt x="104176" y="120051"/>
                    <a:pt x="103680" y="128484"/>
                  </a:cubicBezTo>
                  <a:cubicBezTo>
                    <a:pt x="103184" y="136421"/>
                    <a:pt x="103184" y="136421"/>
                    <a:pt x="102688" y="144855"/>
                  </a:cubicBezTo>
                  <a:cubicBezTo>
                    <a:pt x="102192" y="152792"/>
                    <a:pt x="100208" y="152792"/>
                    <a:pt x="99712" y="160729"/>
                  </a:cubicBezTo>
                  <a:cubicBezTo>
                    <a:pt x="99216" y="168666"/>
                    <a:pt x="99712" y="168666"/>
                    <a:pt x="99216" y="177100"/>
                  </a:cubicBezTo>
                  <a:cubicBezTo>
                    <a:pt x="98720" y="185037"/>
                    <a:pt x="99216" y="185037"/>
                    <a:pt x="98720" y="193470"/>
                  </a:cubicBezTo>
                  <a:cubicBezTo>
                    <a:pt x="98223" y="201408"/>
                    <a:pt x="96735" y="201408"/>
                    <a:pt x="96239" y="209345"/>
                  </a:cubicBezTo>
                  <a:cubicBezTo>
                    <a:pt x="95743" y="217282"/>
                    <a:pt x="96735" y="217282"/>
                    <a:pt x="96239" y="225715"/>
                  </a:cubicBezTo>
                  <a:cubicBezTo>
                    <a:pt x="95743" y="233653"/>
                    <a:pt x="95247" y="233653"/>
                    <a:pt x="94751" y="241590"/>
                  </a:cubicBezTo>
                  <a:cubicBezTo>
                    <a:pt x="94255" y="249527"/>
                    <a:pt x="93263" y="249527"/>
                    <a:pt x="92767" y="257464"/>
                  </a:cubicBezTo>
                  <a:cubicBezTo>
                    <a:pt x="92270" y="265401"/>
                    <a:pt x="98223" y="267882"/>
                    <a:pt x="92270" y="272843"/>
                  </a:cubicBezTo>
                  <a:cubicBezTo>
                    <a:pt x="84829" y="278796"/>
                    <a:pt x="83341" y="272843"/>
                    <a:pt x="73916" y="272843"/>
                  </a:cubicBezTo>
                  <a:cubicBezTo>
                    <a:pt x="64490" y="272843"/>
                    <a:pt x="64490" y="273339"/>
                    <a:pt x="55065" y="273339"/>
                  </a:cubicBezTo>
                  <a:cubicBezTo>
                    <a:pt x="45639" y="273339"/>
                    <a:pt x="44151" y="278796"/>
                    <a:pt x="36214" y="273835"/>
                  </a:cubicBezTo>
                  <a:cubicBezTo>
                    <a:pt x="29269" y="269370"/>
                    <a:pt x="32741" y="266394"/>
                    <a:pt x="30261" y="258457"/>
                  </a:cubicBezTo>
                  <a:cubicBezTo>
                    <a:pt x="27780" y="250519"/>
                    <a:pt x="29269" y="250023"/>
                    <a:pt x="26292" y="242582"/>
                  </a:cubicBezTo>
                  <a:cubicBezTo>
                    <a:pt x="23812" y="234645"/>
                    <a:pt x="24308" y="234645"/>
                    <a:pt x="21828" y="226708"/>
                  </a:cubicBezTo>
                  <a:cubicBezTo>
                    <a:pt x="19347" y="218771"/>
                    <a:pt x="18355" y="219267"/>
                    <a:pt x="15875" y="211329"/>
                  </a:cubicBezTo>
                  <a:cubicBezTo>
                    <a:pt x="13394" y="203392"/>
                    <a:pt x="11906" y="203888"/>
                    <a:pt x="9426" y="195950"/>
                  </a:cubicBezTo>
                  <a:cubicBezTo>
                    <a:pt x="6945" y="188013"/>
                    <a:pt x="6449" y="188013"/>
                    <a:pt x="3969" y="180572"/>
                  </a:cubicBezTo>
                  <a:cubicBezTo>
                    <a:pt x="1488" y="172635"/>
                    <a:pt x="2480" y="172139"/>
                    <a:pt x="0" y="16469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D7E31E2-61F0-007B-E850-45DFDA14A933}"/>
                </a:ext>
              </a:extLst>
            </p:cNvPr>
            <p:cNvSpPr/>
            <p:nvPr/>
          </p:nvSpPr>
          <p:spPr>
            <a:xfrm>
              <a:off x="3562701" y="5035686"/>
              <a:ext cx="5456" cy="126995"/>
            </a:xfrm>
            <a:custGeom>
              <a:avLst/>
              <a:gdLst>
                <a:gd name="connsiteX0" fmla="*/ 4961 w 5456"/>
                <a:gd name="connsiteY0" fmla="*/ 126996 h 126995"/>
                <a:gd name="connsiteX1" fmla="*/ 5457 w 5456"/>
                <a:gd name="connsiteY1" fmla="*/ 111122 h 126995"/>
                <a:gd name="connsiteX2" fmla="*/ 4961 w 5456"/>
                <a:gd name="connsiteY2" fmla="*/ 95247 h 126995"/>
                <a:gd name="connsiteX3" fmla="*/ 4465 w 5456"/>
                <a:gd name="connsiteY3" fmla="*/ 79372 h 126995"/>
                <a:gd name="connsiteX4" fmla="*/ 1488 w 5456"/>
                <a:gd name="connsiteY4" fmla="*/ 63498 h 126995"/>
                <a:gd name="connsiteX5" fmla="*/ 1488 w 5456"/>
                <a:gd name="connsiteY5" fmla="*/ 47623 h 126995"/>
                <a:gd name="connsiteX6" fmla="*/ 1984 w 5456"/>
                <a:gd name="connsiteY6" fmla="*/ 31749 h 126995"/>
                <a:gd name="connsiteX7" fmla="*/ 496 w 5456"/>
                <a:gd name="connsiteY7" fmla="*/ 15875 h 126995"/>
                <a:gd name="connsiteX8" fmla="*/ 0 w 5456"/>
                <a:gd name="connsiteY8" fmla="*/ 0 h 126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56" h="126995">
                  <a:moveTo>
                    <a:pt x="4961" y="126996"/>
                  </a:moveTo>
                  <a:cubicBezTo>
                    <a:pt x="4465" y="119059"/>
                    <a:pt x="5457" y="119059"/>
                    <a:pt x="5457" y="111122"/>
                  </a:cubicBezTo>
                  <a:cubicBezTo>
                    <a:pt x="4961" y="103184"/>
                    <a:pt x="5457" y="103184"/>
                    <a:pt x="4961" y="95247"/>
                  </a:cubicBezTo>
                  <a:cubicBezTo>
                    <a:pt x="4465" y="87310"/>
                    <a:pt x="4465" y="87310"/>
                    <a:pt x="4465" y="79372"/>
                  </a:cubicBezTo>
                  <a:cubicBezTo>
                    <a:pt x="3969" y="71435"/>
                    <a:pt x="1984" y="71435"/>
                    <a:pt x="1488" y="63498"/>
                  </a:cubicBezTo>
                  <a:cubicBezTo>
                    <a:pt x="992" y="55561"/>
                    <a:pt x="1984" y="55561"/>
                    <a:pt x="1488" y="47623"/>
                  </a:cubicBezTo>
                  <a:cubicBezTo>
                    <a:pt x="992" y="39686"/>
                    <a:pt x="2480" y="39686"/>
                    <a:pt x="1984" y="31749"/>
                  </a:cubicBezTo>
                  <a:cubicBezTo>
                    <a:pt x="1488" y="23812"/>
                    <a:pt x="992" y="23812"/>
                    <a:pt x="496" y="15875"/>
                  </a:cubicBezTo>
                  <a:cubicBezTo>
                    <a:pt x="0" y="7937"/>
                    <a:pt x="0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DC8642CE-71F6-A8FF-CBEC-4B85223C8C66}"/>
                </a:ext>
              </a:extLst>
            </p:cNvPr>
            <p:cNvSpPr/>
            <p:nvPr/>
          </p:nvSpPr>
          <p:spPr>
            <a:xfrm>
              <a:off x="3462776" y="5161482"/>
              <a:ext cx="109930" cy="59737"/>
            </a:xfrm>
            <a:custGeom>
              <a:avLst/>
              <a:gdLst>
                <a:gd name="connsiteX0" fmla="*/ 1702 w 109930"/>
                <a:gd name="connsiteY0" fmla="*/ 53288 h 59737"/>
                <a:gd name="connsiteX1" fmla="*/ 14103 w 109930"/>
                <a:gd name="connsiteY1" fmla="*/ 43863 h 59737"/>
                <a:gd name="connsiteX2" fmla="*/ 27994 w 109930"/>
                <a:gd name="connsiteY2" fmla="*/ 36422 h 59737"/>
                <a:gd name="connsiteX3" fmla="*/ 40891 w 109930"/>
                <a:gd name="connsiteY3" fmla="*/ 27492 h 59737"/>
                <a:gd name="connsiteX4" fmla="*/ 53790 w 109930"/>
                <a:gd name="connsiteY4" fmla="*/ 18563 h 59737"/>
                <a:gd name="connsiteX5" fmla="*/ 67680 w 109930"/>
                <a:gd name="connsiteY5" fmla="*/ 10625 h 59737"/>
                <a:gd name="connsiteX6" fmla="*/ 80578 w 109930"/>
                <a:gd name="connsiteY6" fmla="*/ 1696 h 59737"/>
                <a:gd name="connsiteX7" fmla="*/ 94468 w 109930"/>
                <a:gd name="connsiteY7" fmla="*/ 3184 h 59737"/>
                <a:gd name="connsiteX8" fmla="*/ 107862 w 109930"/>
                <a:gd name="connsiteY8" fmla="*/ 2192 h 59737"/>
                <a:gd name="connsiteX9" fmla="*/ 106870 w 109930"/>
                <a:gd name="connsiteY9" fmla="*/ 19555 h 59737"/>
                <a:gd name="connsiteX10" fmla="*/ 105878 w 109930"/>
                <a:gd name="connsiteY10" fmla="*/ 36918 h 59737"/>
                <a:gd name="connsiteX11" fmla="*/ 89507 w 109930"/>
                <a:gd name="connsiteY11" fmla="*/ 42870 h 59737"/>
                <a:gd name="connsiteX12" fmla="*/ 73137 w 109930"/>
                <a:gd name="connsiteY12" fmla="*/ 48824 h 59737"/>
                <a:gd name="connsiteX13" fmla="*/ 56270 w 109930"/>
                <a:gd name="connsiteY13" fmla="*/ 53288 h 59737"/>
                <a:gd name="connsiteX14" fmla="*/ 38907 w 109930"/>
                <a:gd name="connsiteY14" fmla="*/ 55272 h 59737"/>
                <a:gd name="connsiteX15" fmla="*/ 21545 w 109930"/>
                <a:gd name="connsiteY15" fmla="*/ 58745 h 59737"/>
                <a:gd name="connsiteX16" fmla="*/ 4182 w 109930"/>
                <a:gd name="connsiteY16" fmla="*/ 59737 h 59737"/>
                <a:gd name="connsiteX17" fmla="*/ 1702 w 109930"/>
                <a:gd name="connsiteY17" fmla="*/ 53288 h 5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930" h="59737">
                  <a:moveTo>
                    <a:pt x="1702" y="53288"/>
                  </a:moveTo>
                  <a:cubicBezTo>
                    <a:pt x="8150" y="48824"/>
                    <a:pt x="7654" y="47831"/>
                    <a:pt x="14103" y="43863"/>
                  </a:cubicBezTo>
                  <a:cubicBezTo>
                    <a:pt x="20552" y="39398"/>
                    <a:pt x="21048" y="40390"/>
                    <a:pt x="27994" y="36422"/>
                  </a:cubicBezTo>
                  <a:cubicBezTo>
                    <a:pt x="34443" y="31957"/>
                    <a:pt x="34443" y="31957"/>
                    <a:pt x="40891" y="27492"/>
                  </a:cubicBezTo>
                  <a:cubicBezTo>
                    <a:pt x="47341" y="23027"/>
                    <a:pt x="46844" y="22531"/>
                    <a:pt x="53790" y="18563"/>
                  </a:cubicBezTo>
                  <a:cubicBezTo>
                    <a:pt x="60239" y="14098"/>
                    <a:pt x="60735" y="15090"/>
                    <a:pt x="67680" y="10625"/>
                  </a:cubicBezTo>
                  <a:cubicBezTo>
                    <a:pt x="74129" y="6161"/>
                    <a:pt x="73137" y="4177"/>
                    <a:pt x="80578" y="1696"/>
                  </a:cubicBezTo>
                  <a:cubicBezTo>
                    <a:pt x="87027" y="-288"/>
                    <a:pt x="87523" y="3680"/>
                    <a:pt x="94468" y="3184"/>
                  </a:cubicBezTo>
                  <a:cubicBezTo>
                    <a:pt x="101413" y="3184"/>
                    <a:pt x="103893" y="-3264"/>
                    <a:pt x="107862" y="2192"/>
                  </a:cubicBezTo>
                  <a:cubicBezTo>
                    <a:pt x="112823" y="9138"/>
                    <a:pt x="107366" y="10625"/>
                    <a:pt x="106870" y="19555"/>
                  </a:cubicBezTo>
                  <a:cubicBezTo>
                    <a:pt x="106374" y="28484"/>
                    <a:pt x="108854" y="28981"/>
                    <a:pt x="105878" y="36918"/>
                  </a:cubicBezTo>
                  <a:cubicBezTo>
                    <a:pt x="102901" y="44855"/>
                    <a:pt x="99925" y="39894"/>
                    <a:pt x="89507" y="42870"/>
                  </a:cubicBezTo>
                  <a:cubicBezTo>
                    <a:pt x="84547" y="44359"/>
                    <a:pt x="79090" y="46839"/>
                    <a:pt x="73137" y="48824"/>
                  </a:cubicBezTo>
                  <a:cubicBezTo>
                    <a:pt x="67680" y="50312"/>
                    <a:pt x="62223" y="51800"/>
                    <a:pt x="56270" y="53288"/>
                  </a:cubicBezTo>
                  <a:cubicBezTo>
                    <a:pt x="50813" y="54776"/>
                    <a:pt x="44364" y="54280"/>
                    <a:pt x="38907" y="55272"/>
                  </a:cubicBezTo>
                  <a:cubicBezTo>
                    <a:pt x="32954" y="56265"/>
                    <a:pt x="27498" y="57753"/>
                    <a:pt x="21545" y="58745"/>
                  </a:cubicBezTo>
                  <a:cubicBezTo>
                    <a:pt x="15592" y="59241"/>
                    <a:pt x="9639" y="59737"/>
                    <a:pt x="4182" y="59737"/>
                  </a:cubicBezTo>
                  <a:cubicBezTo>
                    <a:pt x="-283" y="59737"/>
                    <a:pt x="-1275" y="55272"/>
                    <a:pt x="1702" y="5328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677A6F92-751E-5445-AEE1-F80574B125A6}"/>
                </a:ext>
              </a:extLst>
            </p:cNvPr>
            <p:cNvSpPr/>
            <p:nvPr/>
          </p:nvSpPr>
          <p:spPr>
            <a:xfrm>
              <a:off x="3571284" y="5162197"/>
              <a:ext cx="103523" cy="47833"/>
            </a:xfrm>
            <a:custGeom>
              <a:avLst/>
              <a:gdLst>
                <a:gd name="connsiteX0" fmla="*/ 101547 w 103523"/>
                <a:gd name="connsiteY0" fmla="*/ 41164 h 47833"/>
                <a:gd name="connsiteX1" fmla="*/ 86664 w 103523"/>
                <a:gd name="connsiteY1" fmla="*/ 33227 h 47833"/>
                <a:gd name="connsiteX2" fmla="*/ 71286 w 103523"/>
                <a:gd name="connsiteY2" fmla="*/ 26282 h 47833"/>
                <a:gd name="connsiteX3" fmla="*/ 56403 w 103523"/>
                <a:gd name="connsiteY3" fmla="*/ 17848 h 47833"/>
                <a:gd name="connsiteX4" fmla="*/ 41025 w 103523"/>
                <a:gd name="connsiteY4" fmla="*/ 10407 h 47833"/>
                <a:gd name="connsiteX5" fmla="*/ 26639 w 103523"/>
                <a:gd name="connsiteY5" fmla="*/ 982 h 47833"/>
                <a:gd name="connsiteX6" fmla="*/ 14237 w 103523"/>
                <a:gd name="connsiteY6" fmla="*/ 2966 h 47833"/>
                <a:gd name="connsiteX7" fmla="*/ 1835 w 103523"/>
                <a:gd name="connsiteY7" fmla="*/ 1974 h 47833"/>
                <a:gd name="connsiteX8" fmla="*/ 3323 w 103523"/>
                <a:gd name="connsiteY8" fmla="*/ 19337 h 47833"/>
                <a:gd name="connsiteX9" fmla="*/ 5804 w 103523"/>
                <a:gd name="connsiteY9" fmla="*/ 36700 h 47833"/>
                <a:gd name="connsiteX10" fmla="*/ 22174 w 103523"/>
                <a:gd name="connsiteY10" fmla="*/ 38684 h 47833"/>
                <a:gd name="connsiteX11" fmla="*/ 37553 w 103523"/>
                <a:gd name="connsiteY11" fmla="*/ 43645 h 47833"/>
                <a:gd name="connsiteX12" fmla="*/ 52931 w 103523"/>
                <a:gd name="connsiteY12" fmla="*/ 46125 h 47833"/>
                <a:gd name="connsiteX13" fmla="*/ 68805 w 103523"/>
                <a:gd name="connsiteY13" fmla="*/ 45629 h 47833"/>
                <a:gd name="connsiteX14" fmla="*/ 84184 w 103523"/>
                <a:gd name="connsiteY14" fmla="*/ 47613 h 47833"/>
                <a:gd name="connsiteX15" fmla="*/ 100059 w 103523"/>
                <a:gd name="connsiteY15" fmla="*/ 47613 h 47833"/>
                <a:gd name="connsiteX16" fmla="*/ 101547 w 103523"/>
                <a:gd name="connsiteY16" fmla="*/ 41164 h 4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523" h="47833">
                  <a:moveTo>
                    <a:pt x="101547" y="41164"/>
                  </a:moveTo>
                  <a:cubicBezTo>
                    <a:pt x="94106" y="37195"/>
                    <a:pt x="94106" y="37195"/>
                    <a:pt x="86664" y="33227"/>
                  </a:cubicBezTo>
                  <a:cubicBezTo>
                    <a:pt x="79223" y="29258"/>
                    <a:pt x="78727" y="30250"/>
                    <a:pt x="71286" y="26282"/>
                  </a:cubicBezTo>
                  <a:cubicBezTo>
                    <a:pt x="63845" y="22313"/>
                    <a:pt x="63845" y="21817"/>
                    <a:pt x="56403" y="17848"/>
                  </a:cubicBezTo>
                  <a:cubicBezTo>
                    <a:pt x="48962" y="13880"/>
                    <a:pt x="48466" y="14376"/>
                    <a:pt x="41025" y="10407"/>
                  </a:cubicBezTo>
                  <a:cubicBezTo>
                    <a:pt x="33584" y="6439"/>
                    <a:pt x="34576" y="3463"/>
                    <a:pt x="26639" y="982"/>
                  </a:cubicBezTo>
                  <a:cubicBezTo>
                    <a:pt x="20686" y="-506"/>
                    <a:pt x="20190" y="2966"/>
                    <a:pt x="14237" y="2966"/>
                  </a:cubicBezTo>
                  <a:cubicBezTo>
                    <a:pt x="8284" y="2966"/>
                    <a:pt x="5308" y="-2987"/>
                    <a:pt x="1835" y="1974"/>
                  </a:cubicBezTo>
                  <a:cubicBezTo>
                    <a:pt x="-2630" y="9415"/>
                    <a:pt x="2331" y="10407"/>
                    <a:pt x="3323" y="19337"/>
                  </a:cubicBezTo>
                  <a:cubicBezTo>
                    <a:pt x="4315" y="27770"/>
                    <a:pt x="2331" y="28762"/>
                    <a:pt x="5804" y="36700"/>
                  </a:cubicBezTo>
                  <a:cubicBezTo>
                    <a:pt x="9276" y="43645"/>
                    <a:pt x="12253" y="36700"/>
                    <a:pt x="22174" y="38684"/>
                  </a:cubicBezTo>
                  <a:cubicBezTo>
                    <a:pt x="26639" y="39676"/>
                    <a:pt x="31600" y="42652"/>
                    <a:pt x="37553" y="43645"/>
                  </a:cubicBezTo>
                  <a:cubicBezTo>
                    <a:pt x="42513" y="44637"/>
                    <a:pt x="47474" y="45629"/>
                    <a:pt x="52931" y="46125"/>
                  </a:cubicBezTo>
                  <a:cubicBezTo>
                    <a:pt x="57892" y="46621"/>
                    <a:pt x="63349" y="45133"/>
                    <a:pt x="68805" y="45629"/>
                  </a:cubicBezTo>
                  <a:cubicBezTo>
                    <a:pt x="73766" y="46125"/>
                    <a:pt x="79223" y="47613"/>
                    <a:pt x="84184" y="47613"/>
                  </a:cubicBezTo>
                  <a:cubicBezTo>
                    <a:pt x="89641" y="48110"/>
                    <a:pt x="94602" y="47613"/>
                    <a:pt x="100059" y="47613"/>
                  </a:cubicBezTo>
                  <a:cubicBezTo>
                    <a:pt x="103531" y="47613"/>
                    <a:pt x="105019" y="43149"/>
                    <a:pt x="101547" y="4116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7" name="Freeform: Shape 1566">
              <a:extLst>
                <a:ext uri="{FF2B5EF4-FFF2-40B4-BE49-F238E27FC236}">
                  <a16:creationId xmlns:a16="http://schemas.microsoft.com/office/drawing/2014/main" id="{B430F2E1-1073-B40F-F5F3-9EF813E01BD7}"/>
                </a:ext>
              </a:extLst>
            </p:cNvPr>
            <p:cNvSpPr/>
            <p:nvPr/>
          </p:nvSpPr>
          <p:spPr>
            <a:xfrm>
              <a:off x="3438186" y="4870989"/>
              <a:ext cx="25299" cy="59033"/>
            </a:xfrm>
            <a:custGeom>
              <a:avLst/>
              <a:gdLst>
                <a:gd name="connsiteX0" fmla="*/ 0 w 25299"/>
                <a:gd name="connsiteY0" fmla="*/ 59033 h 59033"/>
                <a:gd name="connsiteX1" fmla="*/ 1488 w 25299"/>
                <a:gd name="connsiteY1" fmla="*/ 42663 h 59033"/>
                <a:gd name="connsiteX2" fmla="*/ 1488 w 25299"/>
                <a:gd name="connsiteY2" fmla="*/ 26292 h 59033"/>
                <a:gd name="connsiteX3" fmla="*/ 3472 w 25299"/>
                <a:gd name="connsiteY3" fmla="*/ 10913 h 59033"/>
                <a:gd name="connsiteX4" fmla="*/ 12898 w 25299"/>
                <a:gd name="connsiteY4" fmla="*/ 992 h 59033"/>
                <a:gd name="connsiteX5" fmla="*/ 12898 w 25299"/>
                <a:gd name="connsiteY5" fmla="*/ 0 h 59033"/>
                <a:gd name="connsiteX6" fmla="*/ 22819 w 25299"/>
                <a:gd name="connsiteY6" fmla="*/ 10913 h 59033"/>
                <a:gd name="connsiteX7" fmla="*/ 25300 w 25299"/>
                <a:gd name="connsiteY7" fmla="*/ 26292 h 59033"/>
                <a:gd name="connsiteX8" fmla="*/ 24804 w 25299"/>
                <a:gd name="connsiteY8" fmla="*/ 47127 h 5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99" h="59033">
                  <a:moveTo>
                    <a:pt x="0" y="59033"/>
                  </a:moveTo>
                  <a:cubicBezTo>
                    <a:pt x="0" y="51096"/>
                    <a:pt x="1488" y="51096"/>
                    <a:pt x="1488" y="42663"/>
                  </a:cubicBezTo>
                  <a:cubicBezTo>
                    <a:pt x="1488" y="34229"/>
                    <a:pt x="1488" y="34725"/>
                    <a:pt x="1488" y="26292"/>
                  </a:cubicBezTo>
                  <a:cubicBezTo>
                    <a:pt x="1488" y="20339"/>
                    <a:pt x="1984" y="15378"/>
                    <a:pt x="3472" y="10913"/>
                  </a:cubicBezTo>
                  <a:cubicBezTo>
                    <a:pt x="5953" y="4465"/>
                    <a:pt x="8929" y="992"/>
                    <a:pt x="12898" y="992"/>
                  </a:cubicBezTo>
                  <a:cubicBezTo>
                    <a:pt x="12898" y="992"/>
                    <a:pt x="12898" y="0"/>
                    <a:pt x="12898" y="0"/>
                  </a:cubicBezTo>
                  <a:cubicBezTo>
                    <a:pt x="17363" y="0"/>
                    <a:pt x="20339" y="4465"/>
                    <a:pt x="22819" y="10913"/>
                  </a:cubicBezTo>
                  <a:cubicBezTo>
                    <a:pt x="24308" y="15378"/>
                    <a:pt x="25300" y="20339"/>
                    <a:pt x="25300" y="26292"/>
                  </a:cubicBezTo>
                  <a:cubicBezTo>
                    <a:pt x="25300" y="36710"/>
                    <a:pt x="24804" y="36710"/>
                    <a:pt x="24804" y="471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1520075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8C54950-20DE-C074-F205-0CD8156842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65032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C54950-20DE-C074-F205-0CD815684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uthor and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rPr lang="da-DK"/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8"/>
            <a:ext cx="10985502" cy="2324101"/>
          </a:xfrm>
          <a:prstGeom prst="rect">
            <a:avLst/>
          </a:prstGeom>
        </p:spPr>
        <p:txBody>
          <a:bodyPr anchor="b"/>
          <a:lstStyle>
            <a:lvl1pPr rtl="0">
              <a:defRPr sz="5799" spc="-116"/>
            </a:lvl1pPr>
          </a:lstStyle>
          <a:p>
            <a:r>
              <a:rPr lang="da-DK"/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2" y="3611597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577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154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731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309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rPr lang="da-DK"/>
              <a:t>Presentation Subtitle</a:t>
            </a:r>
          </a:p>
          <a:p>
            <a:pPr lvl="1"/>
            <a:endParaRPr lang="da-DK"/>
          </a:p>
          <a:p>
            <a:pPr lvl="2"/>
            <a:endParaRPr lang="da-DK"/>
          </a:p>
          <a:p>
            <a:pPr lvl="3"/>
            <a:endParaRPr lang="da-DK"/>
          </a:p>
          <a:p>
            <a:pPr lvl="4"/>
            <a:endParaRPr lang="da-DK"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86CB4B4D-7CA3-9044-876B-883B54F8677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15465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965A96-58D3-D390-F6E4-B1D70F6113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E7C8429A-EBDE-FD30-7047-8408B95DBB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E10747C-9AD7-CABC-7051-4737B5B95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60BB3-7289-4A35-9B00-7B951925E006}" type="datetimeFigureOut">
              <a:rPr lang="da-DK" smtClean="0"/>
              <a:t>09-12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6A7074C-589C-B2DD-1F8B-0B1C3DC8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817CB5B-B89E-92D0-1F9C-B6FB58EB6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913BA-47C6-4DA5-8427-E6090B28B93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854846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 Medium, 20 pkt.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b="1" cap="all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LER VERDANA Bold, 24 PKT.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6"/>
            <a:ext cx="2502137" cy="413139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Dato, </a:t>
            </a:r>
            <a:r>
              <a:rPr lang="da-DK" err="1"/>
              <a:t>Verdana</a:t>
            </a:r>
            <a:r>
              <a:rPr lang="da-DK"/>
              <a:t>, 16 pkt.</a:t>
            </a:r>
          </a:p>
        </p:txBody>
      </p:sp>
    </p:spTree>
    <p:extLst>
      <p:ext uri="{BB962C8B-B14F-4D97-AF65-F5344CB8AC3E}">
        <p14:creationId xmlns:p14="http://schemas.microsoft.com/office/powerpoint/2010/main" val="521199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18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18 pkt.</a:t>
            </a:r>
          </a:p>
        </p:txBody>
      </p:sp>
    </p:spTree>
    <p:extLst>
      <p:ext uri="{BB962C8B-B14F-4D97-AF65-F5344CB8AC3E}">
        <p14:creationId xmlns:p14="http://schemas.microsoft.com/office/powerpoint/2010/main" val="1575504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2097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324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5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000" b="50000"/>
          <a:stretch/>
        </p:blipFill>
        <p:spPr>
          <a:xfrm>
            <a:off x="-1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da-DK" sz="1400">
                <a:latin typeface="Verdana" panose="020B0604030504040204" pitchFamily="34" charset="0"/>
              </a:rPr>
              <a:t>Almenkompas-illustration-mere-farve.ai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, 44 pkt.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1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620D3DA9-0270-2EC0-61A3-89EFE5BD197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532946" y="678289"/>
            <a:ext cx="9737431" cy="617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136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133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1"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26168309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685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6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solidFill>
                <a:schemeClr val="accent6"/>
              </a:solidFill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161096221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23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388109250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 Medium, 20 pkt.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b="1" cap="all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LER VERDANA Bold, 24 PKT.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6"/>
            <a:ext cx="2502137" cy="413139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Dato, </a:t>
            </a:r>
            <a:r>
              <a:rPr lang="da-DK" err="1"/>
              <a:t>Verdana</a:t>
            </a:r>
            <a:r>
              <a:rPr lang="da-DK"/>
              <a:t>, 16 pkt.</a:t>
            </a:r>
          </a:p>
        </p:txBody>
      </p:sp>
    </p:spTree>
    <p:extLst>
      <p:ext uri="{BB962C8B-B14F-4D97-AF65-F5344CB8AC3E}">
        <p14:creationId xmlns:p14="http://schemas.microsoft.com/office/powerpoint/2010/main" val="3444773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18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18 pkt.</a:t>
            </a:r>
          </a:p>
        </p:txBody>
      </p:sp>
    </p:spTree>
    <p:extLst>
      <p:ext uri="{BB962C8B-B14F-4D97-AF65-F5344CB8AC3E}">
        <p14:creationId xmlns:p14="http://schemas.microsoft.com/office/powerpoint/2010/main" val="842236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52289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5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000" b="50000"/>
          <a:stretch/>
        </p:blipFill>
        <p:spPr>
          <a:xfrm>
            <a:off x="-1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da-DK" sz="1400">
                <a:latin typeface="Verdana" panose="020B0604030504040204" pitchFamily="34" charset="0"/>
              </a:rPr>
              <a:t>Almenkompas-illustration-mere-farve.ai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, 44 pkt.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1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620D3DA9-0270-2EC0-61A3-89EFE5BD197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532946" y="678289"/>
            <a:ext cx="9737431" cy="617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520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us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37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>
            <a:extLst>
              <a:ext uri="{FF2B5EF4-FFF2-40B4-BE49-F238E27FC236}">
                <a16:creationId xmlns:a16="http://schemas.microsoft.com/office/drawing/2014/main" id="{0F1C54E0-C216-89A2-85B7-7561718A50A5}"/>
              </a:ext>
            </a:extLst>
          </p:cNvPr>
          <p:cNvGrpSpPr/>
          <p:nvPr userDrawn="1"/>
        </p:nvGrpSpPr>
        <p:grpSpPr>
          <a:xfrm flipH="1">
            <a:off x="-1" y="510161"/>
            <a:ext cx="12192001" cy="6858002"/>
            <a:chOff x="-1" y="-1"/>
            <a:chExt cx="12192001" cy="6858002"/>
          </a:xfrm>
        </p:grpSpPr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91EAE97E-0952-9B7A-F69A-203B7E72F5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35953" r="37869"/>
            <a:stretch>
              <a:fillRect/>
            </a:stretch>
          </p:blipFill>
          <p:spPr>
            <a:xfrm>
              <a:off x="7659055" y="-1"/>
              <a:ext cx="4532945" cy="4731657"/>
            </a:xfrm>
            <a:prstGeom prst="rect">
              <a:avLst/>
            </a:prstGeom>
          </p:spPr>
        </p:pic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5C690960-7CE9-4BBF-89BE-2E4E07234E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6154" t="65184" r="16154" b="10151"/>
            <a:stretch>
              <a:fillRect/>
            </a:stretch>
          </p:blipFill>
          <p:spPr>
            <a:xfrm>
              <a:off x="1452018" y="1"/>
              <a:ext cx="2891382" cy="1066800"/>
            </a:xfrm>
            <a:prstGeom prst="rect">
              <a:avLst/>
            </a:prstGeom>
          </p:spPr>
        </p:pic>
        <p:pic>
          <p:nvPicPr>
            <p:cNvPr id="78" name="Graphic 77">
              <a:extLst>
                <a:ext uri="{FF2B5EF4-FFF2-40B4-BE49-F238E27FC236}">
                  <a16:creationId xmlns:a16="http://schemas.microsoft.com/office/drawing/2014/main" id="{3199EAD3-B1DA-80FD-CA24-F02ED72DEC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50000" b="50000"/>
            <a:stretch>
              <a:fillRect/>
            </a:stretch>
          </p:blipFill>
          <p:spPr>
            <a:xfrm>
              <a:off x="-1" y="4695371"/>
              <a:ext cx="2135709" cy="2162630"/>
            </a:xfrm>
            <a:prstGeom prst="rect">
              <a:avLst/>
            </a:prstGeom>
          </p:spPr>
        </p:pic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id="{52EFD55D-636B-B97F-9F63-632D02697F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56512"/>
            <a:stretch>
              <a:fillRect/>
            </a:stretch>
          </p:blipFill>
          <p:spPr>
            <a:xfrm>
              <a:off x="5333999" y="4107544"/>
              <a:ext cx="6245873" cy="2750456"/>
            </a:xfrm>
            <a:prstGeom prst="rect">
              <a:avLst/>
            </a:prstGeom>
          </p:spPr>
        </p:pic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6EF63833-728A-ED20-6574-1EC32A8752C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 sz="1400">
                <a:latin typeface="Verdana" panose="020B0604030504040204" pitchFamily="34" charset="0"/>
              </a:endParaRPr>
            </a:p>
          </p:txBody>
        </p:sp>
      </p:grp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7" name="Group 686">
            <a:extLst>
              <a:ext uri="{FF2B5EF4-FFF2-40B4-BE49-F238E27FC236}">
                <a16:creationId xmlns:a16="http://schemas.microsoft.com/office/drawing/2014/main" id="{F6F8FF00-E358-8FB9-DDC6-33D740339F1A}"/>
              </a:ext>
            </a:extLst>
          </p:cNvPr>
          <p:cNvGrpSpPr/>
          <p:nvPr userDrawn="1"/>
        </p:nvGrpSpPr>
        <p:grpSpPr>
          <a:xfrm>
            <a:off x="4334574" y="1145757"/>
            <a:ext cx="665732" cy="593369"/>
            <a:chOff x="5024894" y="2546149"/>
            <a:chExt cx="574895" cy="512406"/>
          </a:xfrm>
        </p:grpSpPr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C042D4CD-DAB0-D5F5-93E3-9C77E8A8E64B}"/>
                </a:ext>
              </a:extLst>
            </p:cNvPr>
            <p:cNvSpPr/>
            <p:nvPr/>
          </p:nvSpPr>
          <p:spPr>
            <a:xfrm rot="4050002" flipH="1">
              <a:off x="5123518" y="2601707"/>
              <a:ext cx="402686" cy="402686"/>
            </a:xfrm>
            <a:custGeom>
              <a:avLst/>
              <a:gdLst>
                <a:gd name="connsiteX0" fmla="*/ 402687 w 402686"/>
                <a:gd name="connsiteY0" fmla="*/ 201343 h 402686"/>
                <a:gd name="connsiteX1" fmla="*/ 201344 w 402686"/>
                <a:gd name="connsiteY1" fmla="*/ 402686 h 402686"/>
                <a:gd name="connsiteX2" fmla="*/ 0 w 402686"/>
                <a:gd name="connsiteY2" fmla="*/ 201343 h 402686"/>
                <a:gd name="connsiteX3" fmla="*/ 201344 w 402686"/>
                <a:gd name="connsiteY3" fmla="*/ 0 h 402686"/>
                <a:gd name="connsiteX4" fmla="*/ 402687 w 402686"/>
                <a:gd name="connsiteY4" fmla="*/ 201343 h 40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686" h="402686">
                  <a:moveTo>
                    <a:pt x="402687" y="201343"/>
                  </a:moveTo>
                  <a:cubicBezTo>
                    <a:pt x="402687" y="312542"/>
                    <a:pt x="312542" y="402686"/>
                    <a:pt x="201344" y="402686"/>
                  </a:cubicBezTo>
                  <a:cubicBezTo>
                    <a:pt x="90145" y="402686"/>
                    <a:pt x="0" y="312542"/>
                    <a:pt x="0" y="201343"/>
                  </a:cubicBezTo>
                  <a:cubicBezTo>
                    <a:pt x="0" y="90144"/>
                    <a:pt x="90145" y="0"/>
                    <a:pt x="201344" y="0"/>
                  </a:cubicBezTo>
                  <a:cubicBezTo>
                    <a:pt x="312542" y="0"/>
                    <a:pt x="402687" y="90144"/>
                    <a:pt x="402687" y="201343"/>
                  </a:cubicBez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46EDCF3B-6984-2752-2EE4-5C52DE2006B4}"/>
                </a:ext>
              </a:extLst>
            </p:cNvPr>
            <p:cNvSpPr/>
            <p:nvPr/>
          </p:nvSpPr>
          <p:spPr>
            <a:xfrm flipH="1">
              <a:off x="5117862" y="2575728"/>
              <a:ext cx="396923" cy="396923"/>
            </a:xfrm>
            <a:custGeom>
              <a:avLst/>
              <a:gdLst>
                <a:gd name="connsiteX0" fmla="*/ 396923 w 396923"/>
                <a:gd name="connsiteY0" fmla="*/ 198462 h 396923"/>
                <a:gd name="connsiteX1" fmla="*/ 198462 w 396923"/>
                <a:gd name="connsiteY1" fmla="*/ 396923 h 396923"/>
                <a:gd name="connsiteX2" fmla="*/ 1 w 396923"/>
                <a:gd name="connsiteY2" fmla="*/ 198462 h 396923"/>
                <a:gd name="connsiteX3" fmla="*/ 198462 w 396923"/>
                <a:gd name="connsiteY3" fmla="*/ 0 h 396923"/>
                <a:gd name="connsiteX4" fmla="*/ 396923 w 396923"/>
                <a:gd name="connsiteY4" fmla="*/ 198462 h 39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923" h="396923">
                  <a:moveTo>
                    <a:pt x="396923" y="198462"/>
                  </a:moveTo>
                  <a:cubicBezTo>
                    <a:pt x="396923" y="308069"/>
                    <a:pt x="308069" y="396923"/>
                    <a:pt x="198462" y="396923"/>
                  </a:cubicBezTo>
                  <a:cubicBezTo>
                    <a:pt x="88855" y="396923"/>
                    <a:pt x="1" y="308069"/>
                    <a:pt x="1" y="198462"/>
                  </a:cubicBezTo>
                  <a:cubicBezTo>
                    <a:pt x="1" y="88854"/>
                    <a:pt x="88855" y="0"/>
                    <a:pt x="198462" y="0"/>
                  </a:cubicBezTo>
                  <a:cubicBezTo>
                    <a:pt x="308069" y="0"/>
                    <a:pt x="396923" y="88854"/>
                    <a:pt x="396923" y="198462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81F8BC12-B4F7-D655-16B2-48263D374511}"/>
                </a:ext>
              </a:extLst>
            </p:cNvPr>
            <p:cNvSpPr/>
            <p:nvPr/>
          </p:nvSpPr>
          <p:spPr>
            <a:xfrm flipH="1">
              <a:off x="5480569" y="2803005"/>
              <a:ext cx="119220" cy="102292"/>
            </a:xfrm>
            <a:custGeom>
              <a:avLst/>
              <a:gdLst>
                <a:gd name="connsiteX0" fmla="*/ 87165 w 119220"/>
                <a:gd name="connsiteY0" fmla="*/ 0 h 102292"/>
                <a:gd name="connsiteX1" fmla="*/ 0 w 119220"/>
                <a:gd name="connsiteY1" fmla="*/ 31336 h 102292"/>
                <a:gd name="connsiteX2" fmla="*/ 74198 w 119220"/>
                <a:gd name="connsiteY2" fmla="*/ 59430 h 102292"/>
                <a:gd name="connsiteX3" fmla="*/ 59610 w 119220"/>
                <a:gd name="connsiteY3" fmla="*/ 102292 h 102292"/>
                <a:gd name="connsiteX4" fmla="*/ 119221 w 119220"/>
                <a:gd name="connsiteY4" fmla="*/ 82482 h 10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220" h="102292">
                  <a:moveTo>
                    <a:pt x="87165" y="0"/>
                  </a:moveTo>
                  <a:lnTo>
                    <a:pt x="0" y="31336"/>
                  </a:lnTo>
                  <a:lnTo>
                    <a:pt x="74198" y="59430"/>
                  </a:lnTo>
                  <a:lnTo>
                    <a:pt x="59610" y="102292"/>
                  </a:lnTo>
                  <a:lnTo>
                    <a:pt x="119221" y="82482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7CAD685A-A64A-5858-A757-82E41329C81D}"/>
                </a:ext>
              </a:extLst>
            </p:cNvPr>
            <p:cNvSpPr/>
            <p:nvPr/>
          </p:nvSpPr>
          <p:spPr>
            <a:xfrm flipH="1">
              <a:off x="5415375" y="2752039"/>
              <a:ext cx="23073" cy="36198"/>
            </a:xfrm>
            <a:custGeom>
              <a:avLst/>
              <a:gdLst>
                <a:gd name="connsiteX0" fmla="*/ 22 w 23073"/>
                <a:gd name="connsiteY0" fmla="*/ 0 h 36198"/>
                <a:gd name="connsiteX1" fmla="*/ 23074 w 23073"/>
                <a:gd name="connsiteY1" fmla="*/ 36199 h 3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073" h="36198">
                  <a:moveTo>
                    <a:pt x="22" y="0"/>
                  </a:moveTo>
                  <a:cubicBezTo>
                    <a:pt x="22" y="0"/>
                    <a:pt x="-1599" y="29715"/>
                    <a:pt x="23074" y="36199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46FC6BFE-36FC-0EC6-9FDA-7F9B9F10AF9C}"/>
                </a:ext>
              </a:extLst>
            </p:cNvPr>
            <p:cNvSpPr/>
            <p:nvPr/>
          </p:nvSpPr>
          <p:spPr>
            <a:xfrm flipH="1">
              <a:off x="5193348" y="2632830"/>
              <a:ext cx="171653" cy="146402"/>
            </a:xfrm>
            <a:custGeom>
              <a:avLst/>
              <a:gdLst>
                <a:gd name="connsiteX0" fmla="*/ 5455 w 171653"/>
                <a:gd name="connsiteY0" fmla="*/ 92375 h 146402"/>
                <a:gd name="connsiteX1" fmla="*/ 19142 w 171653"/>
                <a:gd name="connsiteY1" fmla="*/ 528 h 146402"/>
                <a:gd name="connsiteX2" fmla="*/ 70288 w 171653"/>
                <a:gd name="connsiteY2" fmla="*/ 55636 h 146402"/>
                <a:gd name="connsiteX3" fmla="*/ 108827 w 171653"/>
                <a:gd name="connsiteY3" fmla="*/ 6291 h 146402"/>
                <a:gd name="connsiteX4" fmla="*/ 103965 w 171653"/>
                <a:gd name="connsiteY4" fmla="*/ 73825 h 146402"/>
                <a:gd name="connsiteX5" fmla="*/ 169699 w 171653"/>
                <a:gd name="connsiteY5" fmla="*/ 63920 h 146402"/>
                <a:gd name="connsiteX6" fmla="*/ 99823 w 171653"/>
                <a:gd name="connsiteY6" fmla="*/ 146403 h 14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653" h="146402">
                  <a:moveTo>
                    <a:pt x="5455" y="92375"/>
                  </a:moveTo>
                  <a:cubicBezTo>
                    <a:pt x="5455" y="92375"/>
                    <a:pt x="-13455" y="7371"/>
                    <a:pt x="19142" y="528"/>
                  </a:cubicBezTo>
                  <a:cubicBezTo>
                    <a:pt x="51738" y="-6316"/>
                    <a:pt x="70288" y="55636"/>
                    <a:pt x="70288" y="55636"/>
                  </a:cubicBezTo>
                  <a:cubicBezTo>
                    <a:pt x="70288" y="55636"/>
                    <a:pt x="83795" y="-2173"/>
                    <a:pt x="108827" y="6291"/>
                  </a:cubicBezTo>
                  <a:cubicBezTo>
                    <a:pt x="133860" y="14755"/>
                    <a:pt x="103965" y="73825"/>
                    <a:pt x="103965" y="73825"/>
                  </a:cubicBezTo>
                  <a:cubicBezTo>
                    <a:pt x="103965" y="73825"/>
                    <a:pt x="153671" y="36546"/>
                    <a:pt x="169699" y="63920"/>
                  </a:cubicBezTo>
                  <a:cubicBezTo>
                    <a:pt x="185547" y="91294"/>
                    <a:pt x="99823" y="146403"/>
                    <a:pt x="99823" y="146403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3D5AFF30-614F-AB01-2773-A9652BFF6F6C}"/>
                </a:ext>
              </a:extLst>
            </p:cNvPr>
            <p:cNvSpPr/>
            <p:nvPr/>
          </p:nvSpPr>
          <p:spPr>
            <a:xfrm flipH="1">
              <a:off x="5182336" y="2940775"/>
              <a:ext cx="26473" cy="94548"/>
            </a:xfrm>
            <a:custGeom>
              <a:avLst/>
              <a:gdLst>
                <a:gd name="connsiteX0" fmla="*/ 0 w 26473"/>
                <a:gd name="connsiteY0" fmla="*/ 0 h 94548"/>
                <a:gd name="connsiteX1" fmla="*/ 26474 w 26473"/>
                <a:gd name="connsiteY1" fmla="*/ 51686 h 94548"/>
                <a:gd name="connsiteX2" fmla="*/ 0 w 26473"/>
                <a:gd name="connsiteY2" fmla="*/ 94548 h 94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473" h="94548">
                  <a:moveTo>
                    <a:pt x="0" y="0"/>
                  </a:moveTo>
                  <a:lnTo>
                    <a:pt x="26474" y="51686"/>
                  </a:lnTo>
                  <a:lnTo>
                    <a:pt x="0" y="94548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462F5AEB-6CE4-4997-4E45-0F4E01AEE381}"/>
                </a:ext>
              </a:extLst>
            </p:cNvPr>
            <p:cNvSpPr/>
            <p:nvPr/>
          </p:nvSpPr>
          <p:spPr>
            <a:xfrm flipH="1">
              <a:off x="5273643" y="2972652"/>
              <a:ext cx="34577" cy="85903"/>
            </a:xfrm>
            <a:custGeom>
              <a:avLst/>
              <a:gdLst>
                <a:gd name="connsiteX0" fmla="*/ 16568 w 34577"/>
                <a:gd name="connsiteY0" fmla="*/ 0 h 85903"/>
                <a:gd name="connsiteX1" fmla="*/ 34577 w 34577"/>
                <a:gd name="connsiteY1" fmla="*/ 36559 h 85903"/>
                <a:gd name="connsiteX2" fmla="*/ 0 w 34577"/>
                <a:gd name="connsiteY2" fmla="*/ 85904 h 8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577" h="85903">
                  <a:moveTo>
                    <a:pt x="16568" y="0"/>
                  </a:moveTo>
                  <a:lnTo>
                    <a:pt x="34577" y="36559"/>
                  </a:lnTo>
                  <a:lnTo>
                    <a:pt x="0" y="85904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F8F4A3A9-9DA8-21F3-CED0-EC801ED0F1F2}"/>
                </a:ext>
              </a:extLst>
            </p:cNvPr>
            <p:cNvSpPr/>
            <p:nvPr/>
          </p:nvSpPr>
          <p:spPr>
            <a:xfrm flipH="1">
              <a:off x="5024894" y="2546149"/>
              <a:ext cx="132589" cy="230982"/>
            </a:xfrm>
            <a:custGeom>
              <a:avLst/>
              <a:gdLst>
                <a:gd name="connsiteX0" fmla="*/ 0 w 132589"/>
                <a:gd name="connsiteY0" fmla="*/ 109721 h 230982"/>
                <a:gd name="connsiteX1" fmla="*/ 94729 w 132589"/>
                <a:gd name="connsiteY1" fmla="*/ 1485 h 230982"/>
                <a:gd name="connsiteX2" fmla="*/ 55108 w 132589"/>
                <a:gd name="connsiteY2" fmla="*/ 109721 h 230982"/>
                <a:gd name="connsiteX3" fmla="*/ 130927 w 132589"/>
                <a:gd name="connsiteY3" fmla="*/ 109721 h 230982"/>
                <a:gd name="connsiteX4" fmla="*/ 74918 w 132589"/>
                <a:gd name="connsiteY4" fmla="*/ 161407 h 230982"/>
                <a:gd name="connsiteX5" fmla="*/ 127685 w 132589"/>
                <a:gd name="connsiteY5" fmla="*/ 214174 h 230982"/>
                <a:gd name="connsiteX6" fmla="*/ 38720 w 132589"/>
                <a:gd name="connsiteY6" fmla="*/ 214174 h 23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589" h="230982">
                  <a:moveTo>
                    <a:pt x="0" y="109721"/>
                  </a:moveTo>
                  <a:cubicBezTo>
                    <a:pt x="0" y="109721"/>
                    <a:pt x="56909" y="-14903"/>
                    <a:pt x="94729" y="1485"/>
                  </a:cubicBezTo>
                  <a:cubicBezTo>
                    <a:pt x="132548" y="17874"/>
                    <a:pt x="55108" y="109721"/>
                    <a:pt x="55108" y="109721"/>
                  </a:cubicBezTo>
                  <a:cubicBezTo>
                    <a:pt x="55108" y="109721"/>
                    <a:pt x="117780" y="81086"/>
                    <a:pt x="130927" y="109721"/>
                  </a:cubicBezTo>
                  <a:cubicBezTo>
                    <a:pt x="144074" y="138355"/>
                    <a:pt x="74918" y="161407"/>
                    <a:pt x="74918" y="161407"/>
                  </a:cubicBezTo>
                  <a:cubicBezTo>
                    <a:pt x="74918" y="161407"/>
                    <a:pt x="140832" y="176175"/>
                    <a:pt x="127685" y="214174"/>
                  </a:cubicBezTo>
                  <a:cubicBezTo>
                    <a:pt x="114539" y="251994"/>
                    <a:pt x="38720" y="214174"/>
                    <a:pt x="38720" y="214174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F8FA54D-BD64-AE94-84FC-2A5291552AA3}"/>
              </a:ext>
            </a:extLst>
          </p:cNvPr>
          <p:cNvGrpSpPr/>
          <p:nvPr userDrawn="1"/>
        </p:nvGrpSpPr>
        <p:grpSpPr>
          <a:xfrm>
            <a:off x="4273902" y="509467"/>
            <a:ext cx="7912694" cy="5970723"/>
            <a:chOff x="3927642" y="248189"/>
            <a:chExt cx="8258954" cy="623200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CC403A0-0E3F-E721-B5C6-E87EB63EB080}"/>
                </a:ext>
              </a:extLst>
            </p:cNvPr>
            <p:cNvSpPr/>
            <p:nvPr/>
          </p:nvSpPr>
          <p:spPr>
            <a:xfrm>
              <a:off x="6634323" y="3720662"/>
              <a:ext cx="3210805" cy="2720317"/>
            </a:xfrm>
            <a:custGeom>
              <a:avLst/>
              <a:gdLst>
                <a:gd name="connsiteX0" fmla="*/ 1087397 w 2772700"/>
                <a:gd name="connsiteY0" fmla="*/ 1371 h 2349137"/>
                <a:gd name="connsiteX1" fmla="*/ 1241556 w 2772700"/>
                <a:gd name="connsiteY1" fmla="*/ 86735 h 2349137"/>
                <a:gd name="connsiteX2" fmla="*/ 1803083 w 2772700"/>
                <a:gd name="connsiteY2" fmla="*/ 35589 h 2349137"/>
                <a:gd name="connsiteX3" fmla="*/ 1888087 w 2772700"/>
                <a:gd name="connsiteY3" fmla="*/ 9115 h 2349137"/>
                <a:gd name="connsiteX4" fmla="*/ 2516429 w 2772700"/>
                <a:gd name="connsiteY4" fmla="*/ 493923 h 2349137"/>
                <a:gd name="connsiteX5" fmla="*/ 2772700 w 2772700"/>
                <a:gd name="connsiteY5" fmla="*/ 1219155 h 2349137"/>
                <a:gd name="connsiteX6" fmla="*/ 2523813 w 2772700"/>
                <a:gd name="connsiteY6" fmla="*/ 1331532 h 2349137"/>
                <a:gd name="connsiteX7" fmla="*/ 2230262 w 2772700"/>
                <a:gd name="connsiteY7" fmla="*/ 1390062 h 2349137"/>
                <a:gd name="connsiteX8" fmla="*/ 2221618 w 2772700"/>
                <a:gd name="connsiteY8" fmla="*/ 1595727 h 2349137"/>
                <a:gd name="connsiteX9" fmla="*/ 2170111 w 2772700"/>
                <a:gd name="connsiteY9" fmla="*/ 1703783 h 2349137"/>
                <a:gd name="connsiteX10" fmla="*/ 2155629 w 2772700"/>
                <a:gd name="connsiteY10" fmla="*/ 2346662 h 2349137"/>
                <a:gd name="connsiteX11" fmla="*/ 2145381 w 2772700"/>
                <a:gd name="connsiteY11" fmla="*/ 2345806 h 2349137"/>
                <a:gd name="connsiteX12" fmla="*/ 2099056 w 2772700"/>
                <a:gd name="connsiteY12" fmla="*/ 2341934 h 2349137"/>
                <a:gd name="connsiteX13" fmla="*/ 2006406 w 2772700"/>
                <a:gd name="connsiteY13" fmla="*/ 2344275 h 2349137"/>
                <a:gd name="connsiteX14" fmla="*/ 1913755 w 2772700"/>
                <a:gd name="connsiteY14" fmla="*/ 2349137 h 2349137"/>
                <a:gd name="connsiteX15" fmla="*/ 1821106 w 2772700"/>
                <a:gd name="connsiteY15" fmla="*/ 2348597 h 2349137"/>
                <a:gd name="connsiteX16" fmla="*/ 1728456 w 2772700"/>
                <a:gd name="connsiteY16" fmla="*/ 2343915 h 2349137"/>
                <a:gd name="connsiteX17" fmla="*/ 1635806 w 2772700"/>
                <a:gd name="connsiteY17" fmla="*/ 2339232 h 2349137"/>
                <a:gd name="connsiteX18" fmla="*/ 1543156 w 2772700"/>
                <a:gd name="connsiteY18" fmla="*/ 2338692 h 2349137"/>
                <a:gd name="connsiteX19" fmla="*/ 1450506 w 2772700"/>
                <a:gd name="connsiteY19" fmla="*/ 2348957 h 2349137"/>
                <a:gd name="connsiteX20" fmla="*/ 1357856 w 2772700"/>
                <a:gd name="connsiteY20" fmla="*/ 2344995 h 2349137"/>
                <a:gd name="connsiteX21" fmla="*/ 1265207 w 2772700"/>
                <a:gd name="connsiteY21" fmla="*/ 2341033 h 2349137"/>
                <a:gd name="connsiteX22" fmla="*/ 1172556 w 2772700"/>
                <a:gd name="connsiteY22" fmla="*/ 2338692 h 2349137"/>
                <a:gd name="connsiteX23" fmla="*/ 1079908 w 2772700"/>
                <a:gd name="connsiteY23" fmla="*/ 2344455 h 2349137"/>
                <a:gd name="connsiteX24" fmla="*/ 987257 w 2772700"/>
                <a:gd name="connsiteY24" fmla="*/ 2343554 h 2349137"/>
                <a:gd name="connsiteX25" fmla="*/ 940932 w 2772700"/>
                <a:gd name="connsiteY25" fmla="*/ 2344815 h 2349137"/>
                <a:gd name="connsiteX26" fmla="*/ 895583 w 2772700"/>
                <a:gd name="connsiteY26" fmla="*/ 2346050 h 2349137"/>
                <a:gd name="connsiteX27" fmla="*/ 660020 w 2772700"/>
                <a:gd name="connsiteY27" fmla="*/ 2343569 h 2349137"/>
                <a:gd name="connsiteX28" fmla="*/ 644102 w 2772700"/>
                <a:gd name="connsiteY28" fmla="*/ 2342153 h 2349137"/>
                <a:gd name="connsiteX29" fmla="*/ 616657 w 2772700"/>
                <a:gd name="connsiteY29" fmla="*/ 2341393 h 2349137"/>
                <a:gd name="connsiteX30" fmla="*/ 523566 w 2772700"/>
                <a:gd name="connsiteY30" fmla="*/ 2340313 h 2349137"/>
                <a:gd name="connsiteX31" fmla="*/ 495905 w 2772700"/>
                <a:gd name="connsiteY31" fmla="*/ 2340792 h 2349137"/>
                <a:gd name="connsiteX32" fmla="*/ 480118 w 2772700"/>
                <a:gd name="connsiteY32" fmla="*/ 2341674 h 2349137"/>
                <a:gd name="connsiteX33" fmla="*/ 411331 w 2772700"/>
                <a:gd name="connsiteY33" fmla="*/ 2340949 h 2349137"/>
                <a:gd name="connsiteX34" fmla="*/ 410790 w 2772700"/>
                <a:gd name="connsiteY34" fmla="*/ 1077242 h 2349137"/>
                <a:gd name="connsiteX35" fmla="*/ 205845 w 2772700"/>
                <a:gd name="connsiteY35" fmla="*/ 1035100 h 2349137"/>
                <a:gd name="connsiteX36" fmla="*/ 0 w 2772700"/>
                <a:gd name="connsiteY36" fmla="*/ 418645 h 2349137"/>
                <a:gd name="connsiteX37" fmla="*/ 219712 w 2772700"/>
                <a:gd name="connsiteY37" fmla="*/ 247557 h 2349137"/>
                <a:gd name="connsiteX38" fmla="*/ 1087397 w 2772700"/>
                <a:gd name="connsiteY38" fmla="*/ 1371 h 23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772700" h="2349137">
                  <a:moveTo>
                    <a:pt x="1087397" y="1371"/>
                  </a:moveTo>
                  <a:cubicBezTo>
                    <a:pt x="1152950" y="50897"/>
                    <a:pt x="1183026" y="63143"/>
                    <a:pt x="1241556" y="86735"/>
                  </a:cubicBezTo>
                  <a:cubicBezTo>
                    <a:pt x="1487021" y="185786"/>
                    <a:pt x="1652886" y="116450"/>
                    <a:pt x="1803083" y="35589"/>
                  </a:cubicBezTo>
                  <a:cubicBezTo>
                    <a:pt x="1828476" y="21902"/>
                    <a:pt x="1864675" y="18120"/>
                    <a:pt x="1888087" y="9115"/>
                  </a:cubicBezTo>
                  <a:cubicBezTo>
                    <a:pt x="2071421" y="44053"/>
                    <a:pt x="2344981" y="175881"/>
                    <a:pt x="2516429" y="493923"/>
                  </a:cubicBezTo>
                  <a:cubicBezTo>
                    <a:pt x="2687877" y="811966"/>
                    <a:pt x="2772700" y="1219155"/>
                    <a:pt x="2772700" y="1219155"/>
                  </a:cubicBezTo>
                  <a:lnTo>
                    <a:pt x="2523813" y="1331532"/>
                  </a:lnTo>
                  <a:lnTo>
                    <a:pt x="2230262" y="1390062"/>
                  </a:lnTo>
                  <a:lnTo>
                    <a:pt x="2221618" y="1595727"/>
                  </a:lnTo>
                  <a:lnTo>
                    <a:pt x="2170111" y="1703783"/>
                  </a:lnTo>
                  <a:lnTo>
                    <a:pt x="2155629" y="2346662"/>
                  </a:lnTo>
                  <a:lnTo>
                    <a:pt x="2145381" y="2345806"/>
                  </a:lnTo>
                  <a:cubicBezTo>
                    <a:pt x="2133772" y="2343870"/>
                    <a:pt x="2122163" y="2341934"/>
                    <a:pt x="2099056" y="2341934"/>
                  </a:cubicBezTo>
                  <a:cubicBezTo>
                    <a:pt x="2052841" y="2341934"/>
                    <a:pt x="2052620" y="2344275"/>
                    <a:pt x="2006406" y="2344275"/>
                  </a:cubicBezTo>
                  <a:cubicBezTo>
                    <a:pt x="1960192" y="2344275"/>
                    <a:pt x="1959970" y="2349137"/>
                    <a:pt x="1913755" y="2349137"/>
                  </a:cubicBezTo>
                  <a:lnTo>
                    <a:pt x="1821106" y="2348597"/>
                  </a:lnTo>
                  <a:cubicBezTo>
                    <a:pt x="1774891" y="2348597"/>
                    <a:pt x="1774670" y="2343915"/>
                    <a:pt x="1728456" y="2343915"/>
                  </a:cubicBezTo>
                  <a:cubicBezTo>
                    <a:pt x="1682242" y="2343915"/>
                    <a:pt x="1682021" y="2339232"/>
                    <a:pt x="1635806" y="2339232"/>
                  </a:cubicBezTo>
                  <a:lnTo>
                    <a:pt x="1543156" y="2338692"/>
                  </a:lnTo>
                  <a:cubicBezTo>
                    <a:pt x="1496942" y="2338692"/>
                    <a:pt x="1496720" y="2348957"/>
                    <a:pt x="1450506" y="2348957"/>
                  </a:cubicBezTo>
                  <a:cubicBezTo>
                    <a:pt x="1404292" y="2348957"/>
                    <a:pt x="1404071" y="2344995"/>
                    <a:pt x="1357856" y="2344995"/>
                  </a:cubicBezTo>
                  <a:cubicBezTo>
                    <a:pt x="1311642" y="2344995"/>
                    <a:pt x="1311421" y="2341033"/>
                    <a:pt x="1265207" y="2341033"/>
                  </a:cubicBezTo>
                  <a:cubicBezTo>
                    <a:pt x="1218993" y="2341033"/>
                    <a:pt x="1218772" y="2338692"/>
                    <a:pt x="1172556" y="2338692"/>
                  </a:cubicBezTo>
                  <a:cubicBezTo>
                    <a:pt x="1126342" y="2338692"/>
                    <a:pt x="1126122" y="2344455"/>
                    <a:pt x="1079908" y="2344455"/>
                  </a:cubicBezTo>
                  <a:cubicBezTo>
                    <a:pt x="1033692" y="2344455"/>
                    <a:pt x="1033471" y="2343554"/>
                    <a:pt x="987257" y="2343554"/>
                  </a:cubicBezTo>
                  <a:cubicBezTo>
                    <a:pt x="964150" y="2343554"/>
                    <a:pt x="952541" y="2344185"/>
                    <a:pt x="940932" y="2344815"/>
                  </a:cubicBezTo>
                  <a:lnTo>
                    <a:pt x="895583" y="2346050"/>
                  </a:lnTo>
                  <a:lnTo>
                    <a:pt x="660020" y="2343569"/>
                  </a:lnTo>
                  <a:lnTo>
                    <a:pt x="644102" y="2342153"/>
                  </a:lnTo>
                  <a:cubicBezTo>
                    <a:pt x="636877" y="2341697"/>
                    <a:pt x="628211" y="2341393"/>
                    <a:pt x="616657" y="2341393"/>
                  </a:cubicBezTo>
                  <a:cubicBezTo>
                    <a:pt x="570443" y="2341393"/>
                    <a:pt x="570222" y="2340313"/>
                    <a:pt x="523566" y="2340313"/>
                  </a:cubicBezTo>
                  <a:cubicBezTo>
                    <a:pt x="511902" y="2340313"/>
                    <a:pt x="503168" y="2340505"/>
                    <a:pt x="495905" y="2340792"/>
                  </a:cubicBezTo>
                  <a:lnTo>
                    <a:pt x="480118" y="2341674"/>
                  </a:lnTo>
                  <a:lnTo>
                    <a:pt x="411331" y="2340949"/>
                  </a:lnTo>
                  <a:cubicBezTo>
                    <a:pt x="411331" y="2340949"/>
                    <a:pt x="415113" y="1091829"/>
                    <a:pt x="410790" y="1077242"/>
                  </a:cubicBezTo>
                  <a:cubicBezTo>
                    <a:pt x="410790" y="1077242"/>
                    <a:pt x="209267" y="1046266"/>
                    <a:pt x="205845" y="1035100"/>
                  </a:cubicBezTo>
                  <a:lnTo>
                    <a:pt x="0" y="418645"/>
                  </a:lnTo>
                  <a:cubicBezTo>
                    <a:pt x="5583" y="412882"/>
                    <a:pt x="203144" y="258543"/>
                    <a:pt x="219712" y="247557"/>
                  </a:cubicBezTo>
                  <a:cubicBezTo>
                    <a:pt x="334972" y="171018"/>
                    <a:pt x="749904" y="-17899"/>
                    <a:pt x="1087397" y="137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29FB940-54B7-3A7A-A59A-D49B1A7249E5}"/>
                </a:ext>
              </a:extLst>
            </p:cNvPr>
            <p:cNvSpPr/>
            <p:nvPr/>
          </p:nvSpPr>
          <p:spPr>
            <a:xfrm>
              <a:off x="6634116" y="3728238"/>
              <a:ext cx="2513003" cy="2712739"/>
            </a:xfrm>
            <a:custGeom>
              <a:avLst/>
              <a:gdLst>
                <a:gd name="connsiteX0" fmla="*/ 958988 w 2170111"/>
                <a:gd name="connsiteY0" fmla="*/ 18 h 2342593"/>
                <a:gd name="connsiteX1" fmla="*/ 1062364 w 2170111"/>
                <a:gd name="connsiteY1" fmla="*/ 6352 h 2342593"/>
                <a:gd name="connsiteX2" fmla="*/ 2170111 w 2170111"/>
                <a:gd name="connsiteY2" fmla="*/ 1944504 h 2342593"/>
                <a:gd name="connsiteX3" fmla="*/ 2155802 w 2170111"/>
                <a:gd name="connsiteY3" fmla="*/ 2340118 h 2342593"/>
                <a:gd name="connsiteX4" fmla="*/ 2145561 w 2170111"/>
                <a:gd name="connsiteY4" fmla="*/ 2339262 h 2342593"/>
                <a:gd name="connsiteX5" fmla="*/ 2099236 w 2170111"/>
                <a:gd name="connsiteY5" fmla="*/ 2335390 h 2342593"/>
                <a:gd name="connsiteX6" fmla="*/ 2006586 w 2170111"/>
                <a:gd name="connsiteY6" fmla="*/ 2337731 h 2342593"/>
                <a:gd name="connsiteX7" fmla="*/ 1913935 w 2170111"/>
                <a:gd name="connsiteY7" fmla="*/ 2342593 h 2342593"/>
                <a:gd name="connsiteX8" fmla="*/ 1821286 w 2170111"/>
                <a:gd name="connsiteY8" fmla="*/ 2342053 h 2342593"/>
                <a:gd name="connsiteX9" fmla="*/ 1728636 w 2170111"/>
                <a:gd name="connsiteY9" fmla="*/ 2337371 h 2342593"/>
                <a:gd name="connsiteX10" fmla="*/ 1635986 w 2170111"/>
                <a:gd name="connsiteY10" fmla="*/ 2332688 h 2342593"/>
                <a:gd name="connsiteX11" fmla="*/ 1543336 w 2170111"/>
                <a:gd name="connsiteY11" fmla="*/ 2332148 h 2342593"/>
                <a:gd name="connsiteX12" fmla="*/ 1450686 w 2170111"/>
                <a:gd name="connsiteY12" fmla="*/ 2342413 h 2342593"/>
                <a:gd name="connsiteX13" fmla="*/ 1358036 w 2170111"/>
                <a:gd name="connsiteY13" fmla="*/ 2338451 h 2342593"/>
                <a:gd name="connsiteX14" fmla="*/ 1265387 w 2170111"/>
                <a:gd name="connsiteY14" fmla="*/ 2334489 h 2342593"/>
                <a:gd name="connsiteX15" fmla="*/ 1172736 w 2170111"/>
                <a:gd name="connsiteY15" fmla="*/ 2332148 h 2342593"/>
                <a:gd name="connsiteX16" fmla="*/ 1080088 w 2170111"/>
                <a:gd name="connsiteY16" fmla="*/ 2337911 h 2342593"/>
                <a:gd name="connsiteX17" fmla="*/ 987437 w 2170111"/>
                <a:gd name="connsiteY17" fmla="*/ 2337010 h 2342593"/>
                <a:gd name="connsiteX18" fmla="*/ 941112 w 2170111"/>
                <a:gd name="connsiteY18" fmla="*/ 2338271 h 2342593"/>
                <a:gd name="connsiteX19" fmla="*/ 895739 w 2170111"/>
                <a:gd name="connsiteY19" fmla="*/ 2339506 h 2342593"/>
                <a:gd name="connsiteX20" fmla="*/ 657732 w 2170111"/>
                <a:gd name="connsiteY20" fmla="*/ 2336999 h 2342593"/>
                <a:gd name="connsiteX21" fmla="*/ 616837 w 2170111"/>
                <a:gd name="connsiteY21" fmla="*/ 2334849 h 2342593"/>
                <a:gd name="connsiteX22" fmla="*/ 523746 w 2170111"/>
                <a:gd name="connsiteY22" fmla="*/ 2333769 h 2342593"/>
                <a:gd name="connsiteX23" fmla="*/ 496085 w 2170111"/>
                <a:gd name="connsiteY23" fmla="*/ 2334248 h 2342593"/>
                <a:gd name="connsiteX24" fmla="*/ 480284 w 2170111"/>
                <a:gd name="connsiteY24" fmla="*/ 2335131 h 2342593"/>
                <a:gd name="connsiteX25" fmla="*/ 411331 w 2170111"/>
                <a:gd name="connsiteY25" fmla="*/ 2334404 h 2342593"/>
                <a:gd name="connsiteX26" fmla="*/ 410790 w 2170111"/>
                <a:gd name="connsiteY26" fmla="*/ 1075920 h 2342593"/>
                <a:gd name="connsiteX27" fmla="*/ 205845 w 2170111"/>
                <a:gd name="connsiteY27" fmla="*/ 1033778 h 2342593"/>
                <a:gd name="connsiteX28" fmla="*/ 124444 w 2170111"/>
                <a:gd name="connsiteY28" fmla="*/ 778588 h 2342593"/>
                <a:gd name="connsiteX29" fmla="*/ 0 w 2170111"/>
                <a:gd name="connsiteY29" fmla="*/ 417143 h 2342593"/>
                <a:gd name="connsiteX30" fmla="*/ 219712 w 2170111"/>
                <a:gd name="connsiteY30" fmla="*/ 246055 h 2342593"/>
                <a:gd name="connsiteX31" fmla="*/ 958988 w 2170111"/>
                <a:gd name="connsiteY31" fmla="*/ 18 h 2342593"/>
                <a:gd name="connsiteX0" fmla="*/ 958988 w 2170111"/>
                <a:gd name="connsiteY0" fmla="*/ 18 h 2342593"/>
                <a:gd name="connsiteX1" fmla="*/ 1062364 w 2170111"/>
                <a:gd name="connsiteY1" fmla="*/ 6352 h 2342593"/>
                <a:gd name="connsiteX2" fmla="*/ 1657015 w 2170111"/>
                <a:gd name="connsiteY2" fmla="*/ 1048438 h 2342593"/>
                <a:gd name="connsiteX3" fmla="*/ 2170111 w 2170111"/>
                <a:gd name="connsiteY3" fmla="*/ 1944504 h 2342593"/>
                <a:gd name="connsiteX4" fmla="*/ 2155802 w 2170111"/>
                <a:gd name="connsiteY4" fmla="*/ 2340118 h 2342593"/>
                <a:gd name="connsiteX5" fmla="*/ 2145561 w 2170111"/>
                <a:gd name="connsiteY5" fmla="*/ 2339262 h 2342593"/>
                <a:gd name="connsiteX6" fmla="*/ 2099236 w 2170111"/>
                <a:gd name="connsiteY6" fmla="*/ 2335390 h 2342593"/>
                <a:gd name="connsiteX7" fmla="*/ 2006586 w 2170111"/>
                <a:gd name="connsiteY7" fmla="*/ 2337731 h 2342593"/>
                <a:gd name="connsiteX8" fmla="*/ 1913935 w 2170111"/>
                <a:gd name="connsiteY8" fmla="*/ 2342593 h 2342593"/>
                <a:gd name="connsiteX9" fmla="*/ 1821286 w 2170111"/>
                <a:gd name="connsiteY9" fmla="*/ 2342053 h 2342593"/>
                <a:gd name="connsiteX10" fmla="*/ 1728636 w 2170111"/>
                <a:gd name="connsiteY10" fmla="*/ 2337371 h 2342593"/>
                <a:gd name="connsiteX11" fmla="*/ 1635986 w 2170111"/>
                <a:gd name="connsiteY11" fmla="*/ 2332688 h 2342593"/>
                <a:gd name="connsiteX12" fmla="*/ 1543336 w 2170111"/>
                <a:gd name="connsiteY12" fmla="*/ 2332148 h 2342593"/>
                <a:gd name="connsiteX13" fmla="*/ 1450686 w 2170111"/>
                <a:gd name="connsiteY13" fmla="*/ 2342413 h 2342593"/>
                <a:gd name="connsiteX14" fmla="*/ 1358036 w 2170111"/>
                <a:gd name="connsiteY14" fmla="*/ 2338451 h 2342593"/>
                <a:gd name="connsiteX15" fmla="*/ 1265387 w 2170111"/>
                <a:gd name="connsiteY15" fmla="*/ 2334489 h 2342593"/>
                <a:gd name="connsiteX16" fmla="*/ 1172736 w 2170111"/>
                <a:gd name="connsiteY16" fmla="*/ 2332148 h 2342593"/>
                <a:gd name="connsiteX17" fmla="*/ 1080088 w 2170111"/>
                <a:gd name="connsiteY17" fmla="*/ 2337911 h 2342593"/>
                <a:gd name="connsiteX18" fmla="*/ 987437 w 2170111"/>
                <a:gd name="connsiteY18" fmla="*/ 2337010 h 2342593"/>
                <a:gd name="connsiteX19" fmla="*/ 941112 w 2170111"/>
                <a:gd name="connsiteY19" fmla="*/ 2338271 h 2342593"/>
                <a:gd name="connsiteX20" fmla="*/ 895739 w 2170111"/>
                <a:gd name="connsiteY20" fmla="*/ 2339506 h 2342593"/>
                <a:gd name="connsiteX21" fmla="*/ 657732 w 2170111"/>
                <a:gd name="connsiteY21" fmla="*/ 2336999 h 2342593"/>
                <a:gd name="connsiteX22" fmla="*/ 616837 w 2170111"/>
                <a:gd name="connsiteY22" fmla="*/ 2334849 h 2342593"/>
                <a:gd name="connsiteX23" fmla="*/ 523746 w 2170111"/>
                <a:gd name="connsiteY23" fmla="*/ 2333769 h 2342593"/>
                <a:gd name="connsiteX24" fmla="*/ 496085 w 2170111"/>
                <a:gd name="connsiteY24" fmla="*/ 2334248 h 2342593"/>
                <a:gd name="connsiteX25" fmla="*/ 480284 w 2170111"/>
                <a:gd name="connsiteY25" fmla="*/ 2335131 h 2342593"/>
                <a:gd name="connsiteX26" fmla="*/ 411331 w 2170111"/>
                <a:gd name="connsiteY26" fmla="*/ 2334404 h 2342593"/>
                <a:gd name="connsiteX27" fmla="*/ 410790 w 2170111"/>
                <a:gd name="connsiteY27" fmla="*/ 1075920 h 2342593"/>
                <a:gd name="connsiteX28" fmla="*/ 205845 w 2170111"/>
                <a:gd name="connsiteY28" fmla="*/ 1033778 h 2342593"/>
                <a:gd name="connsiteX29" fmla="*/ 124444 w 2170111"/>
                <a:gd name="connsiteY29" fmla="*/ 778588 h 2342593"/>
                <a:gd name="connsiteX30" fmla="*/ 0 w 2170111"/>
                <a:gd name="connsiteY30" fmla="*/ 417143 h 2342593"/>
                <a:gd name="connsiteX31" fmla="*/ 219712 w 2170111"/>
                <a:gd name="connsiteY31" fmla="*/ 246055 h 2342593"/>
                <a:gd name="connsiteX32" fmla="*/ 958988 w 2170111"/>
                <a:gd name="connsiteY32" fmla="*/ 18 h 2342593"/>
                <a:gd name="connsiteX0" fmla="*/ 1657015 w 2170111"/>
                <a:gd name="connsiteY0" fmla="*/ 1048438 h 2342593"/>
                <a:gd name="connsiteX1" fmla="*/ 2170111 w 2170111"/>
                <a:gd name="connsiteY1" fmla="*/ 1944504 h 2342593"/>
                <a:gd name="connsiteX2" fmla="*/ 2155802 w 2170111"/>
                <a:gd name="connsiteY2" fmla="*/ 2340118 h 2342593"/>
                <a:gd name="connsiteX3" fmla="*/ 2145561 w 2170111"/>
                <a:gd name="connsiteY3" fmla="*/ 2339262 h 2342593"/>
                <a:gd name="connsiteX4" fmla="*/ 2099236 w 2170111"/>
                <a:gd name="connsiteY4" fmla="*/ 2335390 h 2342593"/>
                <a:gd name="connsiteX5" fmla="*/ 2006586 w 2170111"/>
                <a:gd name="connsiteY5" fmla="*/ 2337731 h 2342593"/>
                <a:gd name="connsiteX6" fmla="*/ 1913935 w 2170111"/>
                <a:gd name="connsiteY6" fmla="*/ 2342593 h 2342593"/>
                <a:gd name="connsiteX7" fmla="*/ 1821286 w 2170111"/>
                <a:gd name="connsiteY7" fmla="*/ 2342053 h 2342593"/>
                <a:gd name="connsiteX8" fmla="*/ 1728636 w 2170111"/>
                <a:gd name="connsiteY8" fmla="*/ 2337371 h 2342593"/>
                <a:gd name="connsiteX9" fmla="*/ 1635986 w 2170111"/>
                <a:gd name="connsiteY9" fmla="*/ 2332688 h 2342593"/>
                <a:gd name="connsiteX10" fmla="*/ 1543336 w 2170111"/>
                <a:gd name="connsiteY10" fmla="*/ 2332148 h 2342593"/>
                <a:gd name="connsiteX11" fmla="*/ 1450686 w 2170111"/>
                <a:gd name="connsiteY11" fmla="*/ 2342413 h 2342593"/>
                <a:gd name="connsiteX12" fmla="*/ 1358036 w 2170111"/>
                <a:gd name="connsiteY12" fmla="*/ 2338451 h 2342593"/>
                <a:gd name="connsiteX13" fmla="*/ 1265387 w 2170111"/>
                <a:gd name="connsiteY13" fmla="*/ 2334489 h 2342593"/>
                <a:gd name="connsiteX14" fmla="*/ 1172736 w 2170111"/>
                <a:gd name="connsiteY14" fmla="*/ 2332148 h 2342593"/>
                <a:gd name="connsiteX15" fmla="*/ 1080088 w 2170111"/>
                <a:gd name="connsiteY15" fmla="*/ 2337911 h 2342593"/>
                <a:gd name="connsiteX16" fmla="*/ 987437 w 2170111"/>
                <a:gd name="connsiteY16" fmla="*/ 2337010 h 2342593"/>
                <a:gd name="connsiteX17" fmla="*/ 941112 w 2170111"/>
                <a:gd name="connsiteY17" fmla="*/ 2338271 h 2342593"/>
                <a:gd name="connsiteX18" fmla="*/ 895739 w 2170111"/>
                <a:gd name="connsiteY18" fmla="*/ 2339506 h 2342593"/>
                <a:gd name="connsiteX19" fmla="*/ 657732 w 2170111"/>
                <a:gd name="connsiteY19" fmla="*/ 2336999 h 2342593"/>
                <a:gd name="connsiteX20" fmla="*/ 616837 w 2170111"/>
                <a:gd name="connsiteY20" fmla="*/ 2334849 h 2342593"/>
                <a:gd name="connsiteX21" fmla="*/ 523746 w 2170111"/>
                <a:gd name="connsiteY21" fmla="*/ 2333769 h 2342593"/>
                <a:gd name="connsiteX22" fmla="*/ 496085 w 2170111"/>
                <a:gd name="connsiteY22" fmla="*/ 2334248 h 2342593"/>
                <a:gd name="connsiteX23" fmla="*/ 480284 w 2170111"/>
                <a:gd name="connsiteY23" fmla="*/ 2335131 h 2342593"/>
                <a:gd name="connsiteX24" fmla="*/ 411331 w 2170111"/>
                <a:gd name="connsiteY24" fmla="*/ 2334404 h 2342593"/>
                <a:gd name="connsiteX25" fmla="*/ 410790 w 2170111"/>
                <a:gd name="connsiteY25" fmla="*/ 1075920 h 2342593"/>
                <a:gd name="connsiteX26" fmla="*/ 205845 w 2170111"/>
                <a:gd name="connsiteY26" fmla="*/ 1033778 h 2342593"/>
                <a:gd name="connsiteX27" fmla="*/ 124444 w 2170111"/>
                <a:gd name="connsiteY27" fmla="*/ 778588 h 2342593"/>
                <a:gd name="connsiteX28" fmla="*/ 0 w 2170111"/>
                <a:gd name="connsiteY28" fmla="*/ 417143 h 2342593"/>
                <a:gd name="connsiteX29" fmla="*/ 219712 w 2170111"/>
                <a:gd name="connsiteY29" fmla="*/ 246055 h 2342593"/>
                <a:gd name="connsiteX30" fmla="*/ 958988 w 2170111"/>
                <a:gd name="connsiteY30" fmla="*/ 18 h 2342593"/>
                <a:gd name="connsiteX31" fmla="*/ 1062364 w 2170111"/>
                <a:gd name="connsiteY31" fmla="*/ 6352 h 2342593"/>
                <a:gd name="connsiteX32" fmla="*/ 1748455 w 2170111"/>
                <a:gd name="connsiteY32" fmla="*/ 1139878 h 2342593"/>
                <a:gd name="connsiteX0" fmla="*/ 2170111 w 2170111"/>
                <a:gd name="connsiteY0" fmla="*/ 1944504 h 2342593"/>
                <a:gd name="connsiteX1" fmla="*/ 2155802 w 2170111"/>
                <a:gd name="connsiteY1" fmla="*/ 2340118 h 2342593"/>
                <a:gd name="connsiteX2" fmla="*/ 2145561 w 2170111"/>
                <a:gd name="connsiteY2" fmla="*/ 2339262 h 2342593"/>
                <a:gd name="connsiteX3" fmla="*/ 2099236 w 2170111"/>
                <a:gd name="connsiteY3" fmla="*/ 2335390 h 2342593"/>
                <a:gd name="connsiteX4" fmla="*/ 2006586 w 2170111"/>
                <a:gd name="connsiteY4" fmla="*/ 2337731 h 2342593"/>
                <a:gd name="connsiteX5" fmla="*/ 1913935 w 2170111"/>
                <a:gd name="connsiteY5" fmla="*/ 2342593 h 2342593"/>
                <a:gd name="connsiteX6" fmla="*/ 1821286 w 2170111"/>
                <a:gd name="connsiteY6" fmla="*/ 2342053 h 2342593"/>
                <a:gd name="connsiteX7" fmla="*/ 1728636 w 2170111"/>
                <a:gd name="connsiteY7" fmla="*/ 2337371 h 2342593"/>
                <a:gd name="connsiteX8" fmla="*/ 1635986 w 2170111"/>
                <a:gd name="connsiteY8" fmla="*/ 2332688 h 2342593"/>
                <a:gd name="connsiteX9" fmla="*/ 1543336 w 2170111"/>
                <a:gd name="connsiteY9" fmla="*/ 2332148 h 2342593"/>
                <a:gd name="connsiteX10" fmla="*/ 1450686 w 2170111"/>
                <a:gd name="connsiteY10" fmla="*/ 2342413 h 2342593"/>
                <a:gd name="connsiteX11" fmla="*/ 1358036 w 2170111"/>
                <a:gd name="connsiteY11" fmla="*/ 2338451 h 2342593"/>
                <a:gd name="connsiteX12" fmla="*/ 1265387 w 2170111"/>
                <a:gd name="connsiteY12" fmla="*/ 2334489 h 2342593"/>
                <a:gd name="connsiteX13" fmla="*/ 1172736 w 2170111"/>
                <a:gd name="connsiteY13" fmla="*/ 2332148 h 2342593"/>
                <a:gd name="connsiteX14" fmla="*/ 1080088 w 2170111"/>
                <a:gd name="connsiteY14" fmla="*/ 2337911 h 2342593"/>
                <a:gd name="connsiteX15" fmla="*/ 987437 w 2170111"/>
                <a:gd name="connsiteY15" fmla="*/ 2337010 h 2342593"/>
                <a:gd name="connsiteX16" fmla="*/ 941112 w 2170111"/>
                <a:gd name="connsiteY16" fmla="*/ 2338271 h 2342593"/>
                <a:gd name="connsiteX17" fmla="*/ 895739 w 2170111"/>
                <a:gd name="connsiteY17" fmla="*/ 2339506 h 2342593"/>
                <a:gd name="connsiteX18" fmla="*/ 657732 w 2170111"/>
                <a:gd name="connsiteY18" fmla="*/ 2336999 h 2342593"/>
                <a:gd name="connsiteX19" fmla="*/ 616837 w 2170111"/>
                <a:gd name="connsiteY19" fmla="*/ 2334849 h 2342593"/>
                <a:gd name="connsiteX20" fmla="*/ 523746 w 2170111"/>
                <a:gd name="connsiteY20" fmla="*/ 2333769 h 2342593"/>
                <a:gd name="connsiteX21" fmla="*/ 496085 w 2170111"/>
                <a:gd name="connsiteY21" fmla="*/ 2334248 h 2342593"/>
                <a:gd name="connsiteX22" fmla="*/ 480284 w 2170111"/>
                <a:gd name="connsiteY22" fmla="*/ 2335131 h 2342593"/>
                <a:gd name="connsiteX23" fmla="*/ 411331 w 2170111"/>
                <a:gd name="connsiteY23" fmla="*/ 2334404 h 2342593"/>
                <a:gd name="connsiteX24" fmla="*/ 410790 w 2170111"/>
                <a:gd name="connsiteY24" fmla="*/ 1075920 h 2342593"/>
                <a:gd name="connsiteX25" fmla="*/ 205845 w 2170111"/>
                <a:gd name="connsiteY25" fmla="*/ 1033778 h 2342593"/>
                <a:gd name="connsiteX26" fmla="*/ 124444 w 2170111"/>
                <a:gd name="connsiteY26" fmla="*/ 778588 h 2342593"/>
                <a:gd name="connsiteX27" fmla="*/ 0 w 2170111"/>
                <a:gd name="connsiteY27" fmla="*/ 417143 h 2342593"/>
                <a:gd name="connsiteX28" fmla="*/ 219712 w 2170111"/>
                <a:gd name="connsiteY28" fmla="*/ 246055 h 2342593"/>
                <a:gd name="connsiteX29" fmla="*/ 958988 w 2170111"/>
                <a:gd name="connsiteY29" fmla="*/ 18 h 2342593"/>
                <a:gd name="connsiteX30" fmla="*/ 1062364 w 2170111"/>
                <a:gd name="connsiteY30" fmla="*/ 6352 h 2342593"/>
                <a:gd name="connsiteX31" fmla="*/ 1748455 w 2170111"/>
                <a:gd name="connsiteY31" fmla="*/ 1139878 h 2342593"/>
                <a:gd name="connsiteX0" fmla="*/ 2170111 w 2170111"/>
                <a:gd name="connsiteY0" fmla="*/ 1944504 h 2342593"/>
                <a:gd name="connsiteX1" fmla="*/ 2155802 w 2170111"/>
                <a:gd name="connsiteY1" fmla="*/ 2340118 h 2342593"/>
                <a:gd name="connsiteX2" fmla="*/ 2145561 w 2170111"/>
                <a:gd name="connsiteY2" fmla="*/ 2339262 h 2342593"/>
                <a:gd name="connsiteX3" fmla="*/ 2099236 w 2170111"/>
                <a:gd name="connsiteY3" fmla="*/ 2335390 h 2342593"/>
                <a:gd name="connsiteX4" fmla="*/ 2006586 w 2170111"/>
                <a:gd name="connsiteY4" fmla="*/ 2337731 h 2342593"/>
                <a:gd name="connsiteX5" fmla="*/ 1913935 w 2170111"/>
                <a:gd name="connsiteY5" fmla="*/ 2342593 h 2342593"/>
                <a:gd name="connsiteX6" fmla="*/ 1821286 w 2170111"/>
                <a:gd name="connsiteY6" fmla="*/ 2342053 h 2342593"/>
                <a:gd name="connsiteX7" fmla="*/ 1728636 w 2170111"/>
                <a:gd name="connsiteY7" fmla="*/ 2337371 h 2342593"/>
                <a:gd name="connsiteX8" fmla="*/ 1635986 w 2170111"/>
                <a:gd name="connsiteY8" fmla="*/ 2332688 h 2342593"/>
                <a:gd name="connsiteX9" fmla="*/ 1543336 w 2170111"/>
                <a:gd name="connsiteY9" fmla="*/ 2332148 h 2342593"/>
                <a:gd name="connsiteX10" fmla="*/ 1450686 w 2170111"/>
                <a:gd name="connsiteY10" fmla="*/ 2342413 h 2342593"/>
                <a:gd name="connsiteX11" fmla="*/ 1358036 w 2170111"/>
                <a:gd name="connsiteY11" fmla="*/ 2338451 h 2342593"/>
                <a:gd name="connsiteX12" fmla="*/ 1265387 w 2170111"/>
                <a:gd name="connsiteY12" fmla="*/ 2334489 h 2342593"/>
                <a:gd name="connsiteX13" fmla="*/ 1172736 w 2170111"/>
                <a:gd name="connsiteY13" fmla="*/ 2332148 h 2342593"/>
                <a:gd name="connsiteX14" fmla="*/ 1080088 w 2170111"/>
                <a:gd name="connsiteY14" fmla="*/ 2337911 h 2342593"/>
                <a:gd name="connsiteX15" fmla="*/ 987437 w 2170111"/>
                <a:gd name="connsiteY15" fmla="*/ 2337010 h 2342593"/>
                <a:gd name="connsiteX16" fmla="*/ 941112 w 2170111"/>
                <a:gd name="connsiteY16" fmla="*/ 2338271 h 2342593"/>
                <a:gd name="connsiteX17" fmla="*/ 895739 w 2170111"/>
                <a:gd name="connsiteY17" fmla="*/ 2339506 h 2342593"/>
                <a:gd name="connsiteX18" fmla="*/ 657732 w 2170111"/>
                <a:gd name="connsiteY18" fmla="*/ 2336999 h 2342593"/>
                <a:gd name="connsiteX19" fmla="*/ 616837 w 2170111"/>
                <a:gd name="connsiteY19" fmla="*/ 2334849 h 2342593"/>
                <a:gd name="connsiteX20" fmla="*/ 523746 w 2170111"/>
                <a:gd name="connsiteY20" fmla="*/ 2333769 h 2342593"/>
                <a:gd name="connsiteX21" fmla="*/ 496085 w 2170111"/>
                <a:gd name="connsiteY21" fmla="*/ 2334248 h 2342593"/>
                <a:gd name="connsiteX22" fmla="*/ 480284 w 2170111"/>
                <a:gd name="connsiteY22" fmla="*/ 2335131 h 2342593"/>
                <a:gd name="connsiteX23" fmla="*/ 411331 w 2170111"/>
                <a:gd name="connsiteY23" fmla="*/ 2334404 h 2342593"/>
                <a:gd name="connsiteX24" fmla="*/ 410790 w 2170111"/>
                <a:gd name="connsiteY24" fmla="*/ 1075920 h 2342593"/>
                <a:gd name="connsiteX25" fmla="*/ 205845 w 2170111"/>
                <a:gd name="connsiteY25" fmla="*/ 1033778 h 2342593"/>
                <a:gd name="connsiteX26" fmla="*/ 124444 w 2170111"/>
                <a:gd name="connsiteY26" fmla="*/ 778588 h 2342593"/>
                <a:gd name="connsiteX27" fmla="*/ 0 w 2170111"/>
                <a:gd name="connsiteY27" fmla="*/ 417143 h 2342593"/>
                <a:gd name="connsiteX28" fmla="*/ 219712 w 2170111"/>
                <a:gd name="connsiteY28" fmla="*/ 246055 h 2342593"/>
                <a:gd name="connsiteX29" fmla="*/ 958988 w 2170111"/>
                <a:gd name="connsiteY29" fmla="*/ 18 h 2342593"/>
                <a:gd name="connsiteX30" fmla="*/ 1062364 w 2170111"/>
                <a:gd name="connsiteY30" fmla="*/ 6352 h 234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70111" h="2342593">
                  <a:moveTo>
                    <a:pt x="2170111" y="1944504"/>
                  </a:moveTo>
                  <a:lnTo>
                    <a:pt x="2155802" y="2340118"/>
                  </a:lnTo>
                  <a:lnTo>
                    <a:pt x="2145561" y="2339262"/>
                  </a:lnTo>
                  <a:cubicBezTo>
                    <a:pt x="2133952" y="2337326"/>
                    <a:pt x="2122343" y="2335390"/>
                    <a:pt x="2099236" y="2335390"/>
                  </a:cubicBezTo>
                  <a:cubicBezTo>
                    <a:pt x="2053021" y="2335390"/>
                    <a:pt x="2052800" y="2337731"/>
                    <a:pt x="2006586" y="2337731"/>
                  </a:cubicBezTo>
                  <a:cubicBezTo>
                    <a:pt x="1960372" y="2337731"/>
                    <a:pt x="1960150" y="2342593"/>
                    <a:pt x="1913935" y="2342593"/>
                  </a:cubicBezTo>
                  <a:lnTo>
                    <a:pt x="1821286" y="2342053"/>
                  </a:lnTo>
                  <a:cubicBezTo>
                    <a:pt x="1775071" y="2342053"/>
                    <a:pt x="1774850" y="2337371"/>
                    <a:pt x="1728636" y="2337371"/>
                  </a:cubicBezTo>
                  <a:cubicBezTo>
                    <a:pt x="1682422" y="2337371"/>
                    <a:pt x="1682201" y="2332688"/>
                    <a:pt x="1635986" y="2332688"/>
                  </a:cubicBezTo>
                  <a:lnTo>
                    <a:pt x="1543336" y="2332148"/>
                  </a:lnTo>
                  <a:cubicBezTo>
                    <a:pt x="1497122" y="2332148"/>
                    <a:pt x="1496900" y="2342413"/>
                    <a:pt x="1450686" y="2342413"/>
                  </a:cubicBezTo>
                  <a:cubicBezTo>
                    <a:pt x="1404472" y="2342413"/>
                    <a:pt x="1404251" y="2338451"/>
                    <a:pt x="1358036" y="2338451"/>
                  </a:cubicBezTo>
                  <a:cubicBezTo>
                    <a:pt x="1311822" y="2338451"/>
                    <a:pt x="1311601" y="2334489"/>
                    <a:pt x="1265387" y="2334489"/>
                  </a:cubicBezTo>
                  <a:cubicBezTo>
                    <a:pt x="1219173" y="2334489"/>
                    <a:pt x="1218952" y="2332148"/>
                    <a:pt x="1172736" y="2332148"/>
                  </a:cubicBezTo>
                  <a:cubicBezTo>
                    <a:pt x="1126522" y="2332148"/>
                    <a:pt x="1126302" y="2337911"/>
                    <a:pt x="1080088" y="2337911"/>
                  </a:cubicBezTo>
                  <a:lnTo>
                    <a:pt x="987437" y="2337010"/>
                  </a:lnTo>
                  <a:cubicBezTo>
                    <a:pt x="964330" y="2337010"/>
                    <a:pt x="952721" y="2337641"/>
                    <a:pt x="941112" y="2338271"/>
                  </a:cubicBezTo>
                  <a:lnTo>
                    <a:pt x="895739" y="2339506"/>
                  </a:lnTo>
                  <a:lnTo>
                    <a:pt x="657732" y="2336999"/>
                  </a:lnTo>
                  <a:lnTo>
                    <a:pt x="616837" y="2334849"/>
                  </a:lnTo>
                  <a:cubicBezTo>
                    <a:pt x="570623" y="2334849"/>
                    <a:pt x="570402" y="2333769"/>
                    <a:pt x="523746" y="2333769"/>
                  </a:cubicBezTo>
                  <a:cubicBezTo>
                    <a:pt x="512082" y="2333769"/>
                    <a:pt x="503348" y="2333961"/>
                    <a:pt x="496085" y="2334248"/>
                  </a:cubicBezTo>
                  <a:lnTo>
                    <a:pt x="480284" y="2335131"/>
                  </a:lnTo>
                  <a:lnTo>
                    <a:pt x="411331" y="2334404"/>
                  </a:lnTo>
                  <a:cubicBezTo>
                    <a:pt x="411151" y="1914909"/>
                    <a:pt x="410970" y="1495415"/>
                    <a:pt x="410790" y="1075920"/>
                  </a:cubicBezTo>
                  <a:lnTo>
                    <a:pt x="205845" y="1033778"/>
                  </a:lnTo>
                  <a:lnTo>
                    <a:pt x="124444" y="778588"/>
                  </a:lnTo>
                  <a:lnTo>
                    <a:pt x="0" y="417143"/>
                  </a:lnTo>
                  <a:cubicBezTo>
                    <a:pt x="11166" y="408318"/>
                    <a:pt x="208547" y="254159"/>
                    <a:pt x="219712" y="246055"/>
                  </a:cubicBezTo>
                  <a:cubicBezTo>
                    <a:pt x="510787" y="31160"/>
                    <a:pt x="804191" y="-885"/>
                    <a:pt x="958988" y="18"/>
                  </a:cubicBezTo>
                  <a:cubicBezTo>
                    <a:pt x="1010587" y="319"/>
                    <a:pt x="1046786" y="4281"/>
                    <a:pt x="1062364" y="6352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07ACF1A-4D41-EE59-9666-B34D89BA40EF}"/>
                </a:ext>
              </a:extLst>
            </p:cNvPr>
            <p:cNvSpPr/>
            <p:nvPr/>
          </p:nvSpPr>
          <p:spPr>
            <a:xfrm>
              <a:off x="8820534" y="3737264"/>
              <a:ext cx="1024386" cy="1594855"/>
            </a:xfrm>
            <a:custGeom>
              <a:avLst/>
              <a:gdLst>
                <a:gd name="connsiteX0" fmla="*/ 0 w 884612"/>
                <a:gd name="connsiteY0" fmla="*/ 0 h 1377242"/>
                <a:gd name="connsiteX1" fmla="*/ 39980 w 884612"/>
                <a:gd name="connsiteY1" fmla="*/ 0 h 1377242"/>
                <a:gd name="connsiteX2" fmla="*/ 855798 w 884612"/>
                <a:gd name="connsiteY2" fmla="*/ 1064345 h 1377242"/>
                <a:gd name="connsiteX3" fmla="*/ 884613 w 884612"/>
                <a:gd name="connsiteY3" fmla="*/ 1204817 h 1377242"/>
                <a:gd name="connsiteX4" fmla="*/ 834547 w 884612"/>
                <a:gd name="connsiteY4" fmla="*/ 1229850 h 1377242"/>
                <a:gd name="connsiteX5" fmla="*/ 272479 w 884612"/>
                <a:gd name="connsiteY5" fmla="*/ 1376264 h 137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4612" h="1377242">
                  <a:moveTo>
                    <a:pt x="0" y="0"/>
                  </a:moveTo>
                  <a:lnTo>
                    <a:pt x="39980" y="0"/>
                  </a:lnTo>
                  <a:cubicBezTo>
                    <a:pt x="39980" y="0"/>
                    <a:pt x="621138" y="43942"/>
                    <a:pt x="855798" y="1064345"/>
                  </a:cubicBezTo>
                  <a:cubicBezTo>
                    <a:pt x="866063" y="1109368"/>
                    <a:pt x="875788" y="1156012"/>
                    <a:pt x="884613" y="1204817"/>
                  </a:cubicBezTo>
                  <a:cubicBezTo>
                    <a:pt x="867685" y="1213641"/>
                    <a:pt x="850936" y="1221925"/>
                    <a:pt x="834547" y="1229850"/>
                  </a:cubicBezTo>
                  <a:cubicBezTo>
                    <a:pt x="484808" y="1398596"/>
                    <a:pt x="272479" y="1376264"/>
                    <a:pt x="272479" y="1376264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58D078A-2BC8-8E58-909B-065734ABF2DA}"/>
                </a:ext>
              </a:extLst>
            </p:cNvPr>
            <p:cNvSpPr/>
            <p:nvPr/>
          </p:nvSpPr>
          <p:spPr>
            <a:xfrm>
              <a:off x="7841053" y="4801408"/>
              <a:ext cx="1952971" cy="1266077"/>
            </a:xfrm>
            <a:custGeom>
              <a:avLst/>
              <a:gdLst>
                <a:gd name="connsiteX0" fmla="*/ 1680380 w 1686493"/>
                <a:gd name="connsiteY0" fmla="*/ 310905 h 1093324"/>
                <a:gd name="connsiteX1" fmla="*/ 1664892 w 1686493"/>
                <a:gd name="connsiteY1" fmla="*/ 1089443 h 1093324"/>
                <a:gd name="connsiteX2" fmla="*/ 399384 w 1686493"/>
                <a:gd name="connsiteY2" fmla="*/ 811381 h 1093324"/>
                <a:gd name="connsiteX3" fmla="*/ 73417 w 1686493"/>
                <a:gd name="connsiteY3" fmla="*/ 811381 h 1093324"/>
                <a:gd name="connsiteX4" fmla="*/ 1740 w 1686493"/>
                <a:gd name="connsiteY4" fmla="*/ 290014 h 1093324"/>
                <a:gd name="connsiteX5" fmla="*/ 217671 w 1686493"/>
                <a:gd name="connsiteY5" fmla="*/ 274526 h 1093324"/>
                <a:gd name="connsiteX6" fmla="*/ 198581 w 1686493"/>
                <a:gd name="connsiteY6" fmla="*/ 81107 h 1093324"/>
                <a:gd name="connsiteX7" fmla="*/ 298712 w 1686493"/>
                <a:gd name="connsiteY7" fmla="*/ 13753 h 1093324"/>
                <a:gd name="connsiteX8" fmla="*/ 412711 w 1686493"/>
                <a:gd name="connsiteY8" fmla="*/ 307483 h 1093324"/>
                <a:gd name="connsiteX9" fmla="*/ 528510 w 1686493"/>
                <a:gd name="connsiteY9" fmla="*/ 518191 h 1093324"/>
                <a:gd name="connsiteX10" fmla="*/ 1191429 w 1686493"/>
                <a:gd name="connsiteY10" fmla="*/ 605175 h 1093324"/>
                <a:gd name="connsiteX11" fmla="*/ 1187828 w 1686493"/>
                <a:gd name="connsiteY11" fmla="*/ 456599 h 1093324"/>
                <a:gd name="connsiteX12" fmla="*/ 1680200 w 1686493"/>
                <a:gd name="connsiteY12" fmla="*/ 310725 h 109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86493" h="1093324">
                  <a:moveTo>
                    <a:pt x="1680380" y="310905"/>
                  </a:moveTo>
                  <a:cubicBezTo>
                    <a:pt x="1680380" y="310905"/>
                    <a:pt x="1701631" y="905569"/>
                    <a:pt x="1664892" y="1089443"/>
                  </a:cubicBezTo>
                  <a:cubicBezTo>
                    <a:pt x="1377105" y="1131945"/>
                    <a:pt x="399384" y="811381"/>
                    <a:pt x="399384" y="811381"/>
                  </a:cubicBezTo>
                  <a:cubicBezTo>
                    <a:pt x="399384" y="811381"/>
                    <a:pt x="117359" y="842717"/>
                    <a:pt x="73417" y="811381"/>
                  </a:cubicBezTo>
                  <a:cubicBezTo>
                    <a:pt x="29475" y="780045"/>
                    <a:pt x="-8705" y="328013"/>
                    <a:pt x="1740" y="290014"/>
                  </a:cubicBezTo>
                  <a:cubicBezTo>
                    <a:pt x="12186" y="252015"/>
                    <a:pt x="217671" y="274526"/>
                    <a:pt x="217671" y="274526"/>
                  </a:cubicBezTo>
                  <a:cubicBezTo>
                    <a:pt x="217671" y="274526"/>
                    <a:pt x="174449" y="162329"/>
                    <a:pt x="198581" y="81107"/>
                  </a:cubicBezTo>
                  <a:cubicBezTo>
                    <a:pt x="222713" y="-114"/>
                    <a:pt x="279803" y="-15602"/>
                    <a:pt x="298712" y="13753"/>
                  </a:cubicBezTo>
                  <a:cubicBezTo>
                    <a:pt x="317802" y="43108"/>
                    <a:pt x="329868" y="257417"/>
                    <a:pt x="412711" y="307483"/>
                  </a:cubicBezTo>
                  <a:cubicBezTo>
                    <a:pt x="495553" y="357549"/>
                    <a:pt x="528510" y="518191"/>
                    <a:pt x="528510" y="518191"/>
                  </a:cubicBezTo>
                  <a:lnTo>
                    <a:pt x="1191429" y="605175"/>
                  </a:lnTo>
                  <a:lnTo>
                    <a:pt x="1187828" y="456599"/>
                  </a:lnTo>
                  <a:cubicBezTo>
                    <a:pt x="1187828" y="456599"/>
                    <a:pt x="1484620" y="413197"/>
                    <a:pt x="1680200" y="310725"/>
                  </a:cubicBezTo>
                  <a:close/>
                </a:path>
              </a:pathLst>
            </a:custGeom>
            <a:solidFill>
              <a:srgbClr val="FFFFFF"/>
            </a:solidFill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734772CF-A0AF-7E15-C14A-6774C3237CDB}"/>
                </a:ext>
              </a:extLst>
            </p:cNvPr>
            <p:cNvSpPr/>
            <p:nvPr/>
          </p:nvSpPr>
          <p:spPr>
            <a:xfrm>
              <a:off x="10008516" y="3499114"/>
              <a:ext cx="1689694" cy="476299"/>
            </a:xfrm>
            <a:custGeom>
              <a:avLst/>
              <a:gdLst>
                <a:gd name="connsiteX0" fmla="*/ 180 w 1062918"/>
                <a:gd name="connsiteY0" fmla="*/ 299621 h 299620"/>
                <a:gd name="connsiteX1" fmla="*/ 1061283 w 1062918"/>
                <a:gd name="connsiteY1" fmla="*/ 299621 h 299620"/>
                <a:gd name="connsiteX2" fmla="*/ 904063 w 1062918"/>
                <a:gd name="connsiteY2" fmla="*/ 169054 h 299620"/>
                <a:gd name="connsiteX3" fmla="*/ 672645 w 1062918"/>
                <a:gd name="connsiteY3" fmla="*/ 149424 h 299620"/>
                <a:gd name="connsiteX4" fmla="*/ 469681 w 1062918"/>
                <a:gd name="connsiteY4" fmla="*/ 80628 h 299620"/>
                <a:gd name="connsiteX5" fmla="*/ 0 w 1062918"/>
                <a:gd name="connsiteY5" fmla="*/ 299621 h 29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2918" h="299620">
                  <a:moveTo>
                    <a:pt x="180" y="299621"/>
                  </a:moveTo>
                  <a:lnTo>
                    <a:pt x="1061283" y="299621"/>
                  </a:lnTo>
                  <a:cubicBezTo>
                    <a:pt x="1061283" y="299621"/>
                    <a:pt x="1090279" y="156447"/>
                    <a:pt x="904063" y="169054"/>
                  </a:cubicBezTo>
                  <a:cubicBezTo>
                    <a:pt x="787723" y="6431"/>
                    <a:pt x="672645" y="149424"/>
                    <a:pt x="672645" y="149424"/>
                  </a:cubicBezTo>
                  <a:cubicBezTo>
                    <a:pt x="672645" y="149424"/>
                    <a:pt x="586020" y="49653"/>
                    <a:pt x="469681" y="80628"/>
                  </a:cubicBezTo>
                  <a:cubicBezTo>
                    <a:pt x="407549" y="-51199"/>
                    <a:pt x="0" y="-49218"/>
                    <a:pt x="0" y="29962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18D34B-BA3A-D79B-9119-97264096D794}"/>
                </a:ext>
              </a:extLst>
            </p:cNvPr>
            <p:cNvSpPr/>
            <p:nvPr/>
          </p:nvSpPr>
          <p:spPr>
            <a:xfrm>
              <a:off x="10008516" y="3499114"/>
              <a:ext cx="1689694" cy="476299"/>
            </a:xfrm>
            <a:custGeom>
              <a:avLst/>
              <a:gdLst>
                <a:gd name="connsiteX0" fmla="*/ 180 w 1062918"/>
                <a:gd name="connsiteY0" fmla="*/ 299621 h 299620"/>
                <a:gd name="connsiteX1" fmla="*/ 1061283 w 1062918"/>
                <a:gd name="connsiteY1" fmla="*/ 299621 h 299620"/>
                <a:gd name="connsiteX2" fmla="*/ 904063 w 1062918"/>
                <a:gd name="connsiteY2" fmla="*/ 169054 h 299620"/>
                <a:gd name="connsiteX3" fmla="*/ 672645 w 1062918"/>
                <a:gd name="connsiteY3" fmla="*/ 149424 h 299620"/>
                <a:gd name="connsiteX4" fmla="*/ 469681 w 1062918"/>
                <a:gd name="connsiteY4" fmla="*/ 80628 h 299620"/>
                <a:gd name="connsiteX5" fmla="*/ 0 w 1062918"/>
                <a:gd name="connsiteY5" fmla="*/ 299621 h 29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2918" h="299620">
                  <a:moveTo>
                    <a:pt x="180" y="299621"/>
                  </a:moveTo>
                  <a:lnTo>
                    <a:pt x="1061283" y="299621"/>
                  </a:lnTo>
                  <a:cubicBezTo>
                    <a:pt x="1061283" y="299621"/>
                    <a:pt x="1090279" y="156447"/>
                    <a:pt x="904063" y="169054"/>
                  </a:cubicBezTo>
                  <a:cubicBezTo>
                    <a:pt x="787723" y="6431"/>
                    <a:pt x="672645" y="149424"/>
                    <a:pt x="672645" y="149424"/>
                  </a:cubicBezTo>
                  <a:cubicBezTo>
                    <a:pt x="672645" y="149424"/>
                    <a:pt x="586020" y="49653"/>
                    <a:pt x="469681" y="80628"/>
                  </a:cubicBezTo>
                  <a:cubicBezTo>
                    <a:pt x="407549" y="-51199"/>
                    <a:pt x="0" y="-49218"/>
                    <a:pt x="0" y="299621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10C674F1-D832-9B3D-D8F8-8212016EF556}"/>
                </a:ext>
              </a:extLst>
            </p:cNvPr>
            <p:cNvGrpSpPr/>
            <p:nvPr/>
          </p:nvGrpSpPr>
          <p:grpSpPr>
            <a:xfrm>
              <a:off x="3927642" y="4952800"/>
              <a:ext cx="1747972" cy="609208"/>
              <a:chOff x="5054552" y="4466735"/>
              <a:chExt cx="1509466" cy="526084"/>
            </a:xfrm>
          </p:grpSpPr>
          <p:sp>
            <p:nvSpPr>
              <p:cNvPr id="647" name="Freeform: Shape 646">
                <a:extLst>
                  <a:ext uri="{FF2B5EF4-FFF2-40B4-BE49-F238E27FC236}">
                    <a16:creationId xmlns:a16="http://schemas.microsoft.com/office/drawing/2014/main" id="{C1E53F3D-34D0-595B-A17B-EF32D305DD6F}"/>
                  </a:ext>
                </a:extLst>
              </p:cNvPr>
              <p:cNvSpPr/>
              <p:nvPr/>
            </p:nvSpPr>
            <p:spPr>
              <a:xfrm>
                <a:off x="5166444" y="4505733"/>
                <a:ext cx="1397349" cy="487086"/>
              </a:xfrm>
              <a:custGeom>
                <a:avLst/>
                <a:gdLst>
                  <a:gd name="connsiteX0" fmla="*/ 965665 w 1037138"/>
                  <a:gd name="connsiteY0" fmla="*/ 361216 h 361524"/>
                  <a:gd name="connsiteX1" fmla="*/ 966685 w 1037138"/>
                  <a:gd name="connsiteY1" fmla="*/ 361220 h 361524"/>
                  <a:gd name="connsiteX2" fmla="*/ 968720 w 1037138"/>
                  <a:gd name="connsiteY2" fmla="*/ 361228 h 361524"/>
                  <a:gd name="connsiteX3" fmla="*/ 842997 w 1037138"/>
                  <a:gd name="connsiteY3" fmla="*/ 360761 h 361524"/>
                  <a:gd name="connsiteX4" fmla="*/ 859013 w 1037138"/>
                  <a:gd name="connsiteY4" fmla="*/ 360812 h 361524"/>
                  <a:gd name="connsiteX5" fmla="*/ 898643 w 1037138"/>
                  <a:gd name="connsiteY5" fmla="*/ 360962 h 361524"/>
                  <a:gd name="connsiteX6" fmla="*/ 712742 w 1037138"/>
                  <a:gd name="connsiteY6" fmla="*/ 360355 h 361524"/>
                  <a:gd name="connsiteX7" fmla="*/ 718640 w 1037138"/>
                  <a:gd name="connsiteY7" fmla="*/ 360369 h 361524"/>
                  <a:gd name="connsiteX8" fmla="*/ 725267 w 1037138"/>
                  <a:gd name="connsiteY8" fmla="*/ 360390 h 361524"/>
                  <a:gd name="connsiteX9" fmla="*/ 182370 w 1037138"/>
                  <a:gd name="connsiteY9" fmla="*/ 359818 h 361524"/>
                  <a:gd name="connsiteX10" fmla="*/ 161904 w 1037138"/>
                  <a:gd name="connsiteY10" fmla="*/ 359840 h 361524"/>
                  <a:gd name="connsiteX11" fmla="*/ 34636 w 1037138"/>
                  <a:gd name="connsiteY11" fmla="*/ 360335 h 361524"/>
                  <a:gd name="connsiteX12" fmla="*/ 307299 w 1037138"/>
                  <a:gd name="connsiteY12" fmla="*/ 359684 h 361524"/>
                  <a:gd name="connsiteX13" fmla="*/ 236414 w 1037138"/>
                  <a:gd name="connsiteY13" fmla="*/ 359760 h 361524"/>
                  <a:gd name="connsiteX14" fmla="*/ 336152 w 1037138"/>
                  <a:gd name="connsiteY14" fmla="*/ 359721 h 361524"/>
                  <a:gd name="connsiteX15" fmla="*/ 365166 w 1037138"/>
                  <a:gd name="connsiteY15" fmla="*/ 194 h 361524"/>
                  <a:gd name="connsiteX16" fmla="*/ 416338 w 1037138"/>
                  <a:gd name="connsiteY16" fmla="*/ 8585 h 361524"/>
                  <a:gd name="connsiteX17" fmla="*/ 425367 w 1037138"/>
                  <a:gd name="connsiteY17" fmla="*/ 12703 h 361524"/>
                  <a:gd name="connsiteX18" fmla="*/ 442665 w 1037138"/>
                  <a:gd name="connsiteY18" fmla="*/ 26844 h 361524"/>
                  <a:gd name="connsiteX19" fmla="*/ 497748 w 1037138"/>
                  <a:gd name="connsiteY19" fmla="*/ 137669 h 361524"/>
                  <a:gd name="connsiteX20" fmla="*/ 522984 w 1037138"/>
                  <a:gd name="connsiteY20" fmla="*/ 121756 h 361524"/>
                  <a:gd name="connsiteX21" fmla="*/ 527051 w 1037138"/>
                  <a:gd name="connsiteY21" fmla="*/ 119798 h 361524"/>
                  <a:gd name="connsiteX22" fmla="*/ 550742 w 1037138"/>
                  <a:gd name="connsiteY22" fmla="*/ 108390 h 361524"/>
                  <a:gd name="connsiteX23" fmla="*/ 623918 w 1037138"/>
                  <a:gd name="connsiteY23" fmla="*/ 92584 h 361524"/>
                  <a:gd name="connsiteX24" fmla="*/ 703815 w 1037138"/>
                  <a:gd name="connsiteY24" fmla="*/ 120347 h 361524"/>
                  <a:gd name="connsiteX25" fmla="*/ 711292 w 1037138"/>
                  <a:gd name="connsiteY25" fmla="*/ 128845 h 361524"/>
                  <a:gd name="connsiteX26" fmla="*/ 728536 w 1037138"/>
                  <a:gd name="connsiteY26" fmla="*/ 138226 h 361524"/>
                  <a:gd name="connsiteX27" fmla="*/ 748921 w 1037138"/>
                  <a:gd name="connsiteY27" fmla="*/ 161394 h 361524"/>
                  <a:gd name="connsiteX28" fmla="*/ 762013 w 1037138"/>
                  <a:gd name="connsiteY28" fmla="*/ 176273 h 361524"/>
                  <a:gd name="connsiteX29" fmla="*/ 1013917 w 1037138"/>
                  <a:gd name="connsiteY29" fmla="*/ 328545 h 361524"/>
                  <a:gd name="connsiteX30" fmla="*/ 1030921 w 1037138"/>
                  <a:gd name="connsiteY30" fmla="*/ 352164 h 361524"/>
                  <a:gd name="connsiteX31" fmla="*/ 1031082 w 1037138"/>
                  <a:gd name="connsiteY31" fmla="*/ 352388 h 361524"/>
                  <a:gd name="connsiteX32" fmla="*/ 1037138 w 1037138"/>
                  <a:gd name="connsiteY32" fmla="*/ 361523 h 361524"/>
                  <a:gd name="connsiteX33" fmla="*/ 1037125 w 1037138"/>
                  <a:gd name="connsiteY33" fmla="*/ 361523 h 361524"/>
                  <a:gd name="connsiteX34" fmla="*/ 1028119 w 1037138"/>
                  <a:gd name="connsiteY34" fmla="*/ 361482 h 361524"/>
                  <a:gd name="connsiteX35" fmla="*/ 968720 w 1037138"/>
                  <a:gd name="connsiteY35" fmla="*/ 361228 h 361524"/>
                  <a:gd name="connsiteX36" fmla="*/ 982594 w 1037138"/>
                  <a:gd name="connsiteY36" fmla="*/ 361285 h 361524"/>
                  <a:gd name="connsiteX37" fmla="*/ 973083 w 1037138"/>
                  <a:gd name="connsiteY37" fmla="*/ 361245 h 361524"/>
                  <a:gd name="connsiteX38" fmla="*/ 964401 w 1037138"/>
                  <a:gd name="connsiteY38" fmla="*/ 361211 h 361524"/>
                  <a:gd name="connsiteX39" fmla="*/ 965665 w 1037138"/>
                  <a:gd name="connsiteY39" fmla="*/ 361216 h 361524"/>
                  <a:gd name="connsiteX40" fmla="*/ 898643 w 1037138"/>
                  <a:gd name="connsiteY40" fmla="*/ 360962 h 361524"/>
                  <a:gd name="connsiteX41" fmla="*/ 924833 w 1037138"/>
                  <a:gd name="connsiteY41" fmla="*/ 361056 h 361524"/>
                  <a:gd name="connsiteX42" fmla="*/ 879807 w 1037138"/>
                  <a:gd name="connsiteY42" fmla="*/ 360881 h 361524"/>
                  <a:gd name="connsiteX43" fmla="*/ 818769 w 1037138"/>
                  <a:gd name="connsiteY43" fmla="*/ 360674 h 361524"/>
                  <a:gd name="connsiteX44" fmla="*/ 842997 w 1037138"/>
                  <a:gd name="connsiteY44" fmla="*/ 360761 h 361524"/>
                  <a:gd name="connsiteX45" fmla="*/ 725267 w 1037138"/>
                  <a:gd name="connsiteY45" fmla="*/ 360390 h 361524"/>
                  <a:gd name="connsiteX46" fmla="*/ 776920 w 1037138"/>
                  <a:gd name="connsiteY46" fmla="*/ 360532 h 361524"/>
                  <a:gd name="connsiteX47" fmla="*/ 757074 w 1037138"/>
                  <a:gd name="connsiteY47" fmla="*/ 360464 h 361524"/>
                  <a:gd name="connsiteX48" fmla="*/ 614401 w 1037138"/>
                  <a:gd name="connsiteY48" fmla="*/ 360074 h 361524"/>
                  <a:gd name="connsiteX49" fmla="*/ 607277 w 1037138"/>
                  <a:gd name="connsiteY49" fmla="*/ 360065 h 361524"/>
                  <a:gd name="connsiteX50" fmla="*/ 712742 w 1037138"/>
                  <a:gd name="connsiteY50" fmla="*/ 360355 h 361524"/>
                  <a:gd name="connsiteX51" fmla="*/ 560569 w 1037138"/>
                  <a:gd name="connsiteY51" fmla="*/ 360006 h 361524"/>
                  <a:gd name="connsiteX52" fmla="*/ 557717 w 1037138"/>
                  <a:gd name="connsiteY52" fmla="*/ 360002 h 361524"/>
                  <a:gd name="connsiteX53" fmla="*/ 236668 w 1037138"/>
                  <a:gd name="connsiteY53" fmla="*/ 359944 h 361524"/>
                  <a:gd name="connsiteX54" fmla="*/ 0 w 1037138"/>
                  <a:gd name="connsiteY54" fmla="*/ 361524 h 361524"/>
                  <a:gd name="connsiteX55" fmla="*/ 353 w 1037138"/>
                  <a:gd name="connsiteY55" fmla="*/ 360601 h 361524"/>
                  <a:gd name="connsiteX56" fmla="*/ 17234 w 1037138"/>
                  <a:gd name="connsiteY56" fmla="*/ 316491 h 361524"/>
                  <a:gd name="connsiteX57" fmla="*/ 230605 w 1037138"/>
                  <a:gd name="connsiteY57" fmla="*/ 152429 h 361524"/>
                  <a:gd name="connsiteX58" fmla="*/ 365166 w 1037138"/>
                  <a:gd name="connsiteY58" fmla="*/ 194 h 36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037138" h="361524">
                    <a:moveTo>
                      <a:pt x="965665" y="361216"/>
                    </a:moveTo>
                    <a:lnTo>
                      <a:pt x="966685" y="361220"/>
                    </a:lnTo>
                    <a:lnTo>
                      <a:pt x="968720" y="361228"/>
                    </a:lnTo>
                    <a:close/>
                    <a:moveTo>
                      <a:pt x="842997" y="360761"/>
                    </a:moveTo>
                    <a:lnTo>
                      <a:pt x="859013" y="360812"/>
                    </a:lnTo>
                    <a:lnTo>
                      <a:pt x="898643" y="360962"/>
                    </a:lnTo>
                    <a:close/>
                    <a:moveTo>
                      <a:pt x="712742" y="360355"/>
                    </a:moveTo>
                    <a:lnTo>
                      <a:pt x="718640" y="360369"/>
                    </a:lnTo>
                    <a:lnTo>
                      <a:pt x="725267" y="360390"/>
                    </a:lnTo>
                    <a:close/>
                    <a:moveTo>
                      <a:pt x="182370" y="359818"/>
                    </a:moveTo>
                    <a:lnTo>
                      <a:pt x="161904" y="359840"/>
                    </a:lnTo>
                    <a:cubicBezTo>
                      <a:pt x="115932" y="359945"/>
                      <a:pt x="72981" y="360105"/>
                      <a:pt x="34636" y="360335"/>
                    </a:cubicBezTo>
                    <a:close/>
                    <a:moveTo>
                      <a:pt x="307299" y="359684"/>
                    </a:moveTo>
                    <a:lnTo>
                      <a:pt x="236414" y="359760"/>
                    </a:lnTo>
                    <a:lnTo>
                      <a:pt x="336152" y="359721"/>
                    </a:lnTo>
                    <a:close/>
                    <a:moveTo>
                      <a:pt x="365166" y="194"/>
                    </a:moveTo>
                    <a:cubicBezTo>
                      <a:pt x="384217" y="965"/>
                      <a:pt x="401201" y="3951"/>
                      <a:pt x="416338" y="8585"/>
                    </a:cubicBezTo>
                    <a:lnTo>
                      <a:pt x="425367" y="12703"/>
                    </a:lnTo>
                    <a:lnTo>
                      <a:pt x="442665" y="26844"/>
                    </a:lnTo>
                    <a:cubicBezTo>
                      <a:pt x="489236" y="75270"/>
                      <a:pt x="497748" y="137669"/>
                      <a:pt x="497748" y="137669"/>
                    </a:cubicBezTo>
                    <a:cubicBezTo>
                      <a:pt x="497748" y="137669"/>
                      <a:pt x="507282" y="130432"/>
                      <a:pt x="522984" y="121756"/>
                    </a:cubicBezTo>
                    <a:lnTo>
                      <a:pt x="527051" y="119798"/>
                    </a:lnTo>
                    <a:lnTo>
                      <a:pt x="550742" y="108390"/>
                    </a:lnTo>
                    <a:cubicBezTo>
                      <a:pt x="571771" y="99727"/>
                      <a:pt x="597285" y="92525"/>
                      <a:pt x="623918" y="92584"/>
                    </a:cubicBezTo>
                    <a:cubicBezTo>
                      <a:pt x="650553" y="92645"/>
                      <a:pt x="678307" y="99966"/>
                      <a:pt x="703815" y="120347"/>
                    </a:cubicBezTo>
                    <a:lnTo>
                      <a:pt x="711292" y="128845"/>
                    </a:lnTo>
                    <a:lnTo>
                      <a:pt x="728536" y="138226"/>
                    </a:lnTo>
                    <a:lnTo>
                      <a:pt x="748921" y="161394"/>
                    </a:lnTo>
                    <a:lnTo>
                      <a:pt x="762013" y="176273"/>
                    </a:lnTo>
                    <a:cubicBezTo>
                      <a:pt x="867436" y="154763"/>
                      <a:pt x="969483" y="269722"/>
                      <a:pt x="1013917" y="328545"/>
                    </a:cubicBezTo>
                    <a:lnTo>
                      <a:pt x="1030921" y="352164"/>
                    </a:lnTo>
                    <a:lnTo>
                      <a:pt x="1031082" y="352388"/>
                    </a:lnTo>
                    <a:lnTo>
                      <a:pt x="1037138" y="361523"/>
                    </a:lnTo>
                    <a:lnTo>
                      <a:pt x="1037125" y="361523"/>
                    </a:lnTo>
                    <a:lnTo>
                      <a:pt x="1028119" y="361482"/>
                    </a:lnTo>
                    <a:lnTo>
                      <a:pt x="968720" y="361228"/>
                    </a:lnTo>
                    <a:lnTo>
                      <a:pt x="982594" y="361285"/>
                    </a:lnTo>
                    <a:lnTo>
                      <a:pt x="973083" y="361245"/>
                    </a:lnTo>
                    <a:lnTo>
                      <a:pt x="964401" y="361211"/>
                    </a:lnTo>
                    <a:lnTo>
                      <a:pt x="965665" y="361216"/>
                    </a:lnTo>
                    <a:lnTo>
                      <a:pt x="898643" y="360962"/>
                    </a:lnTo>
                    <a:lnTo>
                      <a:pt x="924833" y="361056"/>
                    </a:lnTo>
                    <a:lnTo>
                      <a:pt x="879807" y="360881"/>
                    </a:lnTo>
                    <a:lnTo>
                      <a:pt x="818769" y="360674"/>
                    </a:lnTo>
                    <a:lnTo>
                      <a:pt x="842997" y="360761"/>
                    </a:lnTo>
                    <a:lnTo>
                      <a:pt x="725267" y="360390"/>
                    </a:lnTo>
                    <a:lnTo>
                      <a:pt x="776920" y="360532"/>
                    </a:lnTo>
                    <a:lnTo>
                      <a:pt x="757074" y="360464"/>
                    </a:lnTo>
                    <a:cubicBezTo>
                      <a:pt x="712311" y="360326"/>
                      <a:pt x="664225" y="360191"/>
                      <a:pt x="614401" y="360074"/>
                    </a:cubicBezTo>
                    <a:lnTo>
                      <a:pt x="607277" y="360065"/>
                    </a:lnTo>
                    <a:lnTo>
                      <a:pt x="712742" y="360355"/>
                    </a:lnTo>
                    <a:lnTo>
                      <a:pt x="560569" y="360006"/>
                    </a:lnTo>
                    <a:lnTo>
                      <a:pt x="557717" y="360002"/>
                    </a:lnTo>
                    <a:lnTo>
                      <a:pt x="236668" y="359944"/>
                    </a:lnTo>
                    <a:cubicBezTo>
                      <a:pt x="137468" y="360148"/>
                      <a:pt x="52563" y="360625"/>
                      <a:pt x="0" y="361524"/>
                    </a:cubicBezTo>
                    <a:lnTo>
                      <a:pt x="353" y="360601"/>
                    </a:lnTo>
                    <a:lnTo>
                      <a:pt x="17234" y="316491"/>
                    </a:lnTo>
                    <a:cubicBezTo>
                      <a:pt x="73581" y="216388"/>
                      <a:pt x="230605" y="152429"/>
                      <a:pt x="230605" y="152429"/>
                    </a:cubicBezTo>
                    <a:cubicBezTo>
                      <a:pt x="230605" y="152429"/>
                      <a:pt x="204926" y="-6310"/>
                      <a:pt x="365166" y="194"/>
                    </a:cubicBezTo>
                    <a:close/>
                  </a:path>
                </a:pathLst>
              </a:custGeom>
              <a:solidFill>
                <a:srgbClr val="E1EBE5"/>
              </a:solidFill>
              <a:ln w="49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6CC0F0F4-3DC6-1553-7C4C-F47E2A2CD2A3}"/>
                  </a:ext>
                </a:extLst>
              </p:cNvPr>
              <p:cNvSpPr/>
              <p:nvPr/>
            </p:nvSpPr>
            <p:spPr>
              <a:xfrm>
                <a:off x="5054552" y="4466735"/>
                <a:ext cx="1509466" cy="526084"/>
              </a:xfrm>
              <a:custGeom>
                <a:avLst/>
                <a:gdLst>
                  <a:gd name="connsiteX0" fmla="*/ 1120174 w 1120353"/>
                  <a:gd name="connsiteY0" fmla="*/ 390470 h 390469"/>
                  <a:gd name="connsiteX1" fmla="*/ 823021 w 1120353"/>
                  <a:gd name="connsiteY1" fmla="*/ 190387 h 390469"/>
                  <a:gd name="connsiteX2" fmla="*/ 580797 w 1120353"/>
                  <a:gd name="connsiteY2" fmla="*/ 166615 h 390469"/>
                  <a:gd name="connsiteX3" fmla="*/ 394402 w 1120353"/>
                  <a:gd name="connsiteY3" fmla="*/ 210 h 390469"/>
                  <a:gd name="connsiteX4" fmla="*/ 249068 w 1120353"/>
                  <a:gd name="connsiteY4" fmla="*/ 164634 h 390469"/>
                  <a:gd name="connsiteX5" fmla="*/ 0 w 1120353"/>
                  <a:gd name="connsiteY5" fmla="*/ 390470 h 390469"/>
                  <a:gd name="connsiteX6" fmla="*/ 1120354 w 1120353"/>
                  <a:gd name="connsiteY6" fmla="*/ 390470 h 390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20353" h="390469">
                    <a:moveTo>
                      <a:pt x="1120174" y="390470"/>
                    </a:moveTo>
                    <a:cubicBezTo>
                      <a:pt x="1120174" y="390470"/>
                      <a:pt x="974839" y="159411"/>
                      <a:pt x="823021" y="190387"/>
                    </a:cubicBezTo>
                    <a:cubicBezTo>
                      <a:pt x="733336" y="50816"/>
                      <a:pt x="580797" y="166615"/>
                      <a:pt x="580797" y="166615"/>
                    </a:cubicBezTo>
                    <a:cubicBezTo>
                      <a:pt x="580797" y="166615"/>
                      <a:pt x="559006" y="6873"/>
                      <a:pt x="394402" y="210"/>
                    </a:cubicBezTo>
                    <a:cubicBezTo>
                      <a:pt x="221333" y="-6814"/>
                      <a:pt x="249068" y="164634"/>
                      <a:pt x="249068" y="164634"/>
                    </a:cubicBezTo>
                    <a:cubicBezTo>
                      <a:pt x="249068" y="164634"/>
                      <a:pt x="27554" y="254860"/>
                      <a:pt x="0" y="390470"/>
                    </a:cubicBezTo>
                    <a:cubicBezTo>
                      <a:pt x="242224" y="386328"/>
                      <a:pt x="1120354" y="390470"/>
                      <a:pt x="1120354" y="390470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4DB2D27-D1C3-01E6-12C2-D472F8F83733}"/>
                </a:ext>
              </a:extLst>
            </p:cNvPr>
            <p:cNvSpPr/>
            <p:nvPr/>
          </p:nvSpPr>
          <p:spPr>
            <a:xfrm>
              <a:off x="9124596" y="4969782"/>
              <a:ext cx="686956" cy="217724"/>
            </a:xfrm>
            <a:custGeom>
              <a:avLst/>
              <a:gdLst>
                <a:gd name="connsiteX0" fmla="*/ 593224 w 593223"/>
                <a:gd name="connsiteY0" fmla="*/ 0 h 188016"/>
                <a:gd name="connsiteX1" fmla="*/ 0 w 593223"/>
                <a:gd name="connsiteY1" fmla="*/ 188016 h 18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3223" h="188016">
                  <a:moveTo>
                    <a:pt x="593224" y="0"/>
                  </a:moveTo>
                  <a:cubicBezTo>
                    <a:pt x="593224" y="0"/>
                    <a:pt x="300214" y="171448"/>
                    <a:pt x="0" y="188016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F3C60DB-50E0-2736-8FDC-3524636BCC78}"/>
                </a:ext>
              </a:extLst>
            </p:cNvPr>
            <p:cNvSpPr/>
            <p:nvPr/>
          </p:nvSpPr>
          <p:spPr>
            <a:xfrm>
              <a:off x="6738598" y="4122660"/>
              <a:ext cx="229402" cy="670481"/>
            </a:xfrm>
            <a:custGeom>
              <a:avLst/>
              <a:gdLst>
                <a:gd name="connsiteX0" fmla="*/ 0 w 198101"/>
                <a:gd name="connsiteY0" fmla="*/ 0 h 578996"/>
                <a:gd name="connsiteX1" fmla="*/ 198101 w 198101"/>
                <a:gd name="connsiteY1" fmla="*/ 578996 h 578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101" h="578996">
                  <a:moveTo>
                    <a:pt x="0" y="0"/>
                  </a:moveTo>
                  <a:cubicBezTo>
                    <a:pt x="0" y="0"/>
                    <a:pt x="72037" y="240783"/>
                    <a:pt x="198101" y="578996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grpSp>
          <p:nvGrpSpPr>
            <p:cNvPr id="649" name="Group 648">
              <a:extLst>
                <a:ext uri="{FF2B5EF4-FFF2-40B4-BE49-F238E27FC236}">
                  <a16:creationId xmlns:a16="http://schemas.microsoft.com/office/drawing/2014/main" id="{A45E782A-6B5A-126B-7CFA-537558CDAF0F}"/>
                </a:ext>
              </a:extLst>
            </p:cNvPr>
            <p:cNvGrpSpPr/>
            <p:nvPr/>
          </p:nvGrpSpPr>
          <p:grpSpPr>
            <a:xfrm>
              <a:off x="10425516" y="2661856"/>
              <a:ext cx="402919" cy="429901"/>
              <a:chOff x="10665809" y="2488384"/>
              <a:chExt cx="347942" cy="371242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9E5190DF-0C1B-5697-C92D-A256052C4D82}"/>
                  </a:ext>
                </a:extLst>
              </p:cNvPr>
              <p:cNvSpPr/>
              <p:nvPr/>
            </p:nvSpPr>
            <p:spPr>
              <a:xfrm>
                <a:off x="10665809" y="2652067"/>
                <a:ext cx="241373" cy="207559"/>
              </a:xfrm>
              <a:custGeom>
                <a:avLst/>
                <a:gdLst>
                  <a:gd name="connsiteX0" fmla="*/ 40524 w 241373"/>
                  <a:gd name="connsiteY0" fmla="*/ 139529 h 207559"/>
                  <a:gd name="connsiteX1" fmla="*/ 82485 w 241373"/>
                  <a:gd name="connsiteY1" fmla="*/ 167443 h 207559"/>
                  <a:gd name="connsiteX2" fmla="*/ 126788 w 241373"/>
                  <a:gd name="connsiteY2" fmla="*/ 191756 h 207559"/>
                  <a:gd name="connsiteX3" fmla="*/ 183337 w 241373"/>
                  <a:gd name="connsiteY3" fmla="*/ 206343 h 207559"/>
                  <a:gd name="connsiteX4" fmla="*/ 234123 w 241373"/>
                  <a:gd name="connsiteY4" fmla="*/ 172486 h 207559"/>
                  <a:gd name="connsiteX5" fmla="*/ 232322 w 241373"/>
                  <a:gd name="connsiteY5" fmla="*/ 171405 h 207559"/>
                  <a:gd name="connsiteX6" fmla="*/ 238445 w 241373"/>
                  <a:gd name="connsiteY6" fmla="*/ 112875 h 207559"/>
                  <a:gd name="connsiteX7" fmla="*/ 205308 w 241373"/>
                  <a:gd name="connsiteY7" fmla="*/ 66592 h 207559"/>
                  <a:gd name="connsiteX8" fmla="*/ 164067 w 241373"/>
                  <a:gd name="connsiteY8" fmla="*/ 37417 h 207559"/>
                  <a:gd name="connsiteX9" fmla="*/ 121025 w 241373"/>
                  <a:gd name="connsiteY9" fmla="*/ 10943 h 207559"/>
                  <a:gd name="connsiteX10" fmla="*/ 63035 w 241373"/>
                  <a:gd name="connsiteY10" fmla="*/ 2119 h 207559"/>
                  <a:gd name="connsiteX11" fmla="*/ 14590 w 241373"/>
                  <a:gd name="connsiteY11" fmla="*/ 35436 h 207559"/>
                  <a:gd name="connsiteX12" fmla="*/ 1444 w 241373"/>
                  <a:gd name="connsiteY12" fmla="*/ 94506 h 207559"/>
                  <a:gd name="connsiteX13" fmla="*/ 40704 w 241373"/>
                  <a:gd name="connsiteY13" fmla="*/ 139349 h 207559"/>
                  <a:gd name="connsiteX14" fmla="*/ 40704 w 241373"/>
                  <a:gd name="connsiteY14" fmla="*/ 139349 h 207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1373" h="207559">
                    <a:moveTo>
                      <a:pt x="40524" y="139529"/>
                    </a:moveTo>
                    <a:cubicBezTo>
                      <a:pt x="61955" y="152856"/>
                      <a:pt x="61234" y="154116"/>
                      <a:pt x="82485" y="167443"/>
                    </a:cubicBezTo>
                    <a:cubicBezTo>
                      <a:pt x="103736" y="180770"/>
                      <a:pt x="105357" y="178249"/>
                      <a:pt x="126788" y="191756"/>
                    </a:cubicBezTo>
                    <a:cubicBezTo>
                      <a:pt x="144797" y="202921"/>
                      <a:pt x="164067" y="210665"/>
                      <a:pt x="183337" y="206343"/>
                    </a:cubicBezTo>
                    <a:cubicBezTo>
                      <a:pt x="202427" y="202021"/>
                      <a:pt x="222777" y="190495"/>
                      <a:pt x="234123" y="172486"/>
                    </a:cubicBezTo>
                    <a:lnTo>
                      <a:pt x="232322" y="171405"/>
                    </a:lnTo>
                    <a:cubicBezTo>
                      <a:pt x="243488" y="153396"/>
                      <a:pt x="242767" y="132145"/>
                      <a:pt x="238445" y="112875"/>
                    </a:cubicBezTo>
                    <a:cubicBezTo>
                      <a:pt x="234123" y="93605"/>
                      <a:pt x="223137" y="77757"/>
                      <a:pt x="205308" y="66592"/>
                    </a:cubicBezTo>
                    <a:cubicBezTo>
                      <a:pt x="183877" y="53265"/>
                      <a:pt x="185318" y="50743"/>
                      <a:pt x="164067" y="37417"/>
                    </a:cubicBezTo>
                    <a:cubicBezTo>
                      <a:pt x="142816" y="24090"/>
                      <a:pt x="142456" y="24270"/>
                      <a:pt x="121025" y="10943"/>
                    </a:cubicBezTo>
                    <a:cubicBezTo>
                      <a:pt x="103016" y="-223"/>
                      <a:pt x="82125" y="-2204"/>
                      <a:pt x="63035" y="2119"/>
                    </a:cubicBezTo>
                    <a:cubicBezTo>
                      <a:pt x="43946" y="6441"/>
                      <a:pt x="25936" y="17426"/>
                      <a:pt x="14590" y="35436"/>
                    </a:cubicBezTo>
                    <a:cubicBezTo>
                      <a:pt x="3425" y="53445"/>
                      <a:pt x="-3059" y="75236"/>
                      <a:pt x="1444" y="94506"/>
                    </a:cubicBezTo>
                    <a:cubicBezTo>
                      <a:pt x="5766" y="113776"/>
                      <a:pt x="22694" y="128183"/>
                      <a:pt x="40704" y="139349"/>
                    </a:cubicBezTo>
                    <a:lnTo>
                      <a:pt x="40704" y="139349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46F0B76-B297-AB79-6052-B6B400E361D4}"/>
                  </a:ext>
                </a:extLst>
              </p:cNvPr>
              <p:cNvSpPr/>
              <p:nvPr/>
            </p:nvSpPr>
            <p:spPr>
              <a:xfrm>
                <a:off x="10849031" y="2565750"/>
                <a:ext cx="164720" cy="143776"/>
              </a:xfrm>
              <a:custGeom>
                <a:avLst/>
                <a:gdLst>
                  <a:gd name="connsiteX0" fmla="*/ 72511 w 164720"/>
                  <a:gd name="connsiteY0" fmla="*/ 22701 h 143776"/>
                  <a:gd name="connsiteX1" fmla="*/ 40815 w 164720"/>
                  <a:gd name="connsiteY1" fmla="*/ 55478 h 143776"/>
                  <a:gd name="connsiteX2" fmla="*/ 20644 w 164720"/>
                  <a:gd name="connsiteY2" fmla="*/ 96719 h 143776"/>
                  <a:gd name="connsiteX3" fmla="*/ 5156 w 164720"/>
                  <a:gd name="connsiteY3" fmla="*/ 136519 h 143776"/>
                  <a:gd name="connsiteX4" fmla="*/ 47118 w 164720"/>
                  <a:gd name="connsiteY4" fmla="*/ 128775 h 143776"/>
                  <a:gd name="connsiteX5" fmla="*/ 91961 w 164720"/>
                  <a:gd name="connsiteY5" fmla="*/ 118690 h 143776"/>
                  <a:gd name="connsiteX6" fmla="*/ 130141 w 164720"/>
                  <a:gd name="connsiteY6" fmla="*/ 93117 h 143776"/>
                  <a:gd name="connsiteX7" fmla="*/ 162377 w 164720"/>
                  <a:gd name="connsiteY7" fmla="*/ 59980 h 143776"/>
                  <a:gd name="connsiteX8" fmla="*/ 148870 w 164720"/>
                  <a:gd name="connsiteY8" fmla="*/ 18559 h 143776"/>
                  <a:gd name="connsiteX9" fmla="*/ 111591 w 164720"/>
                  <a:gd name="connsiteY9" fmla="*/ 910 h 143776"/>
                  <a:gd name="connsiteX10" fmla="*/ 72151 w 164720"/>
                  <a:gd name="connsiteY10" fmla="*/ 22701 h 143776"/>
                  <a:gd name="connsiteX11" fmla="*/ 72511 w 164720"/>
                  <a:gd name="connsiteY11" fmla="*/ 22701 h 143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4720" h="143776">
                    <a:moveTo>
                      <a:pt x="72511" y="22701"/>
                    </a:moveTo>
                    <a:cubicBezTo>
                      <a:pt x="61705" y="31525"/>
                      <a:pt x="49639" y="42331"/>
                      <a:pt x="40815" y="55478"/>
                    </a:cubicBezTo>
                    <a:cubicBezTo>
                      <a:pt x="31990" y="68625"/>
                      <a:pt x="26767" y="83932"/>
                      <a:pt x="20644" y="96719"/>
                    </a:cubicBezTo>
                    <a:cubicBezTo>
                      <a:pt x="9478" y="119951"/>
                      <a:pt x="-9071" y="119050"/>
                      <a:pt x="5156" y="136519"/>
                    </a:cubicBezTo>
                    <a:cubicBezTo>
                      <a:pt x="19384" y="153988"/>
                      <a:pt x="22265" y="135259"/>
                      <a:pt x="47118" y="128775"/>
                    </a:cubicBezTo>
                    <a:cubicBezTo>
                      <a:pt x="60625" y="125353"/>
                      <a:pt x="77374" y="124633"/>
                      <a:pt x="91961" y="118690"/>
                    </a:cubicBezTo>
                    <a:cubicBezTo>
                      <a:pt x="106368" y="112747"/>
                      <a:pt x="119335" y="101942"/>
                      <a:pt x="130141" y="93117"/>
                    </a:cubicBezTo>
                    <a:cubicBezTo>
                      <a:pt x="145808" y="80150"/>
                      <a:pt x="157875" y="70245"/>
                      <a:pt x="162377" y="59980"/>
                    </a:cubicBezTo>
                    <a:cubicBezTo>
                      <a:pt x="169581" y="43592"/>
                      <a:pt x="158775" y="30805"/>
                      <a:pt x="148870" y="18559"/>
                    </a:cubicBezTo>
                    <a:cubicBezTo>
                      <a:pt x="138965" y="6493"/>
                      <a:pt x="129420" y="-3052"/>
                      <a:pt x="111591" y="910"/>
                    </a:cubicBezTo>
                    <a:cubicBezTo>
                      <a:pt x="100785" y="3251"/>
                      <a:pt x="87819" y="9734"/>
                      <a:pt x="72151" y="22701"/>
                    </a:cubicBezTo>
                    <a:lnTo>
                      <a:pt x="72511" y="22701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A5A1B30C-E87D-0CA1-7914-BABAF3AFE40C}"/>
                  </a:ext>
                </a:extLst>
              </p:cNvPr>
              <p:cNvSpPr/>
              <p:nvPr/>
            </p:nvSpPr>
            <p:spPr>
              <a:xfrm>
                <a:off x="10795520" y="2488384"/>
                <a:ext cx="109626" cy="223994"/>
              </a:xfrm>
              <a:custGeom>
                <a:avLst/>
                <a:gdLst>
                  <a:gd name="connsiteX0" fmla="*/ 1578 w 109626"/>
                  <a:gd name="connsiteY0" fmla="*/ 69271 h 223994"/>
                  <a:gd name="connsiteX1" fmla="*/ 2479 w 109626"/>
                  <a:gd name="connsiteY1" fmla="*/ 122398 h 223994"/>
                  <a:gd name="connsiteX2" fmla="*/ 21388 w 109626"/>
                  <a:gd name="connsiteY2" fmla="*/ 172104 h 223994"/>
                  <a:gd name="connsiteX3" fmla="*/ 39578 w 109626"/>
                  <a:gd name="connsiteY3" fmla="*/ 223790 h 223994"/>
                  <a:gd name="connsiteX4" fmla="*/ 66592 w 109626"/>
                  <a:gd name="connsiteY4" fmla="*/ 176246 h 223994"/>
                  <a:gd name="connsiteX5" fmla="*/ 90904 w 109626"/>
                  <a:gd name="connsiteY5" fmla="*/ 129602 h 223994"/>
                  <a:gd name="connsiteX6" fmla="*/ 108913 w 109626"/>
                  <a:gd name="connsiteY6" fmla="*/ 79897 h 223994"/>
                  <a:gd name="connsiteX7" fmla="*/ 102790 w 109626"/>
                  <a:gd name="connsiteY7" fmla="*/ 27490 h 223994"/>
                  <a:gd name="connsiteX8" fmla="*/ 61729 w 109626"/>
                  <a:gd name="connsiteY8" fmla="*/ 476 h 223994"/>
                  <a:gd name="connsiteX9" fmla="*/ 16346 w 109626"/>
                  <a:gd name="connsiteY9" fmla="*/ 19206 h 223994"/>
                  <a:gd name="connsiteX10" fmla="*/ 1578 w 109626"/>
                  <a:gd name="connsiteY10" fmla="*/ 69451 h 223994"/>
                  <a:gd name="connsiteX11" fmla="*/ 1578 w 109626"/>
                  <a:gd name="connsiteY11" fmla="*/ 69451 h 223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9626" h="223994">
                    <a:moveTo>
                      <a:pt x="1578" y="69271"/>
                    </a:moveTo>
                    <a:cubicBezTo>
                      <a:pt x="-43" y="85480"/>
                      <a:pt x="-1304" y="104209"/>
                      <a:pt x="2479" y="122398"/>
                    </a:cubicBezTo>
                    <a:cubicBezTo>
                      <a:pt x="6261" y="140588"/>
                      <a:pt x="15986" y="156796"/>
                      <a:pt x="21388" y="172104"/>
                    </a:cubicBezTo>
                    <a:cubicBezTo>
                      <a:pt x="31294" y="200378"/>
                      <a:pt x="13284" y="221089"/>
                      <a:pt x="39578" y="223790"/>
                    </a:cubicBezTo>
                    <a:cubicBezTo>
                      <a:pt x="65871" y="226492"/>
                      <a:pt x="51464" y="201999"/>
                      <a:pt x="66592" y="176246"/>
                    </a:cubicBezTo>
                    <a:cubicBezTo>
                      <a:pt x="74876" y="162199"/>
                      <a:pt x="83700" y="146351"/>
                      <a:pt x="90904" y="129602"/>
                    </a:cubicBezTo>
                    <a:cubicBezTo>
                      <a:pt x="98108" y="112854"/>
                      <a:pt x="107472" y="96105"/>
                      <a:pt x="108913" y="79897"/>
                    </a:cubicBezTo>
                    <a:cubicBezTo>
                      <a:pt x="111254" y="56485"/>
                      <a:pt x="107472" y="39556"/>
                      <a:pt x="102790" y="27490"/>
                    </a:cubicBezTo>
                    <a:cubicBezTo>
                      <a:pt x="95226" y="8040"/>
                      <a:pt x="79558" y="2277"/>
                      <a:pt x="61729" y="476"/>
                    </a:cubicBezTo>
                    <a:cubicBezTo>
                      <a:pt x="43900" y="-1325"/>
                      <a:pt x="27692" y="1376"/>
                      <a:pt x="16346" y="19206"/>
                    </a:cubicBezTo>
                    <a:cubicBezTo>
                      <a:pt x="9322" y="30011"/>
                      <a:pt x="3919" y="45859"/>
                      <a:pt x="1578" y="69451"/>
                    </a:cubicBezTo>
                    <a:lnTo>
                      <a:pt x="1578" y="69451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98C72B26-988B-8047-B51F-B7758B3DCC76}"/>
                  </a:ext>
                </a:extLst>
              </p:cNvPr>
              <p:cNvSpPr/>
              <p:nvPr/>
            </p:nvSpPr>
            <p:spPr>
              <a:xfrm>
                <a:off x="10792776" y="2719378"/>
                <a:ext cx="83022" cy="128765"/>
              </a:xfrm>
              <a:custGeom>
                <a:avLst/>
                <a:gdLst>
                  <a:gd name="connsiteX0" fmla="*/ 83022 w 83022"/>
                  <a:gd name="connsiteY0" fmla="*/ 0 h 128765"/>
                  <a:gd name="connsiteX1" fmla="*/ 57449 w 83022"/>
                  <a:gd name="connsiteY1" fmla="*/ 44123 h 128765"/>
                  <a:gd name="connsiteX2" fmla="*/ 28275 w 83022"/>
                  <a:gd name="connsiteY2" fmla="*/ 86084 h 128765"/>
                  <a:gd name="connsiteX3" fmla="*/ 0 w 83022"/>
                  <a:gd name="connsiteY3" fmla="*/ 128766 h 1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022" h="128765">
                    <a:moveTo>
                      <a:pt x="83022" y="0"/>
                    </a:moveTo>
                    <a:cubicBezTo>
                      <a:pt x="69515" y="21611"/>
                      <a:pt x="70956" y="22512"/>
                      <a:pt x="57449" y="44123"/>
                    </a:cubicBezTo>
                    <a:cubicBezTo>
                      <a:pt x="43943" y="65734"/>
                      <a:pt x="41782" y="64473"/>
                      <a:pt x="28275" y="86084"/>
                    </a:cubicBezTo>
                    <a:cubicBezTo>
                      <a:pt x="14768" y="107695"/>
                      <a:pt x="13507" y="106975"/>
                      <a:pt x="0" y="128766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CA68A42-C6C1-0DAC-DA40-3B398D881323}"/>
                  </a:ext>
                </a:extLst>
              </p:cNvPr>
              <p:cNvSpPr/>
              <p:nvPr/>
            </p:nvSpPr>
            <p:spPr>
              <a:xfrm>
                <a:off x="10698768" y="2661029"/>
                <a:ext cx="83202" cy="128405"/>
              </a:xfrm>
              <a:custGeom>
                <a:avLst/>
                <a:gdLst>
                  <a:gd name="connsiteX0" fmla="*/ 83203 w 83202"/>
                  <a:gd name="connsiteY0" fmla="*/ 0 h 128405"/>
                  <a:gd name="connsiteX1" fmla="*/ 53487 w 83202"/>
                  <a:gd name="connsiteY1" fmla="*/ 41421 h 128405"/>
                  <a:gd name="connsiteX2" fmla="*/ 28995 w 83202"/>
                  <a:gd name="connsiteY2" fmla="*/ 86264 h 128405"/>
                  <a:gd name="connsiteX3" fmla="*/ 0 w 83202"/>
                  <a:gd name="connsiteY3" fmla="*/ 128406 h 128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202" h="128405">
                    <a:moveTo>
                      <a:pt x="83203" y="0"/>
                    </a:moveTo>
                    <a:cubicBezTo>
                      <a:pt x="69696" y="21611"/>
                      <a:pt x="66814" y="19810"/>
                      <a:pt x="53487" y="41421"/>
                    </a:cubicBezTo>
                    <a:cubicBezTo>
                      <a:pt x="40161" y="63032"/>
                      <a:pt x="42682" y="64653"/>
                      <a:pt x="28995" y="86264"/>
                    </a:cubicBezTo>
                    <a:cubicBezTo>
                      <a:pt x="15488" y="107875"/>
                      <a:pt x="13507" y="106795"/>
                      <a:pt x="0" y="128406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43" name="Graphic 6">
              <a:extLst>
                <a:ext uri="{FF2B5EF4-FFF2-40B4-BE49-F238E27FC236}">
                  <a16:creationId xmlns:a16="http://schemas.microsoft.com/office/drawing/2014/main" id="{A751F84F-2F25-12EA-C49E-F46F21D02F41}"/>
                </a:ext>
              </a:extLst>
            </p:cNvPr>
            <p:cNvGrpSpPr/>
            <p:nvPr/>
          </p:nvGrpSpPr>
          <p:grpSpPr>
            <a:xfrm>
              <a:off x="6435485" y="1870548"/>
              <a:ext cx="393986" cy="453096"/>
              <a:chOff x="7220207" y="1805048"/>
              <a:chExt cx="340228" cy="391273"/>
            </a:xfrm>
            <a:noFill/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8BC89E3B-6893-8722-9BB2-1790DD5A5285}"/>
                  </a:ext>
                </a:extLst>
              </p:cNvPr>
              <p:cNvSpPr/>
              <p:nvPr/>
            </p:nvSpPr>
            <p:spPr>
              <a:xfrm>
                <a:off x="7307268" y="1986570"/>
                <a:ext cx="253167" cy="209750"/>
              </a:xfrm>
              <a:custGeom>
                <a:avLst/>
                <a:gdLst>
                  <a:gd name="connsiteX0" fmla="*/ 205308 w 253167"/>
                  <a:gd name="connsiteY0" fmla="*/ 152371 h 209750"/>
                  <a:gd name="connsiteX1" fmla="*/ 159745 w 253167"/>
                  <a:gd name="connsiteY1" fmla="*/ 178124 h 209750"/>
                  <a:gd name="connsiteX2" fmla="*/ 112921 w 253167"/>
                  <a:gd name="connsiteY2" fmla="*/ 201356 h 209750"/>
                  <a:gd name="connsiteX3" fmla="*/ 49529 w 253167"/>
                  <a:gd name="connsiteY3" fmla="*/ 205498 h 209750"/>
                  <a:gd name="connsiteX4" fmla="*/ 5766 w 253167"/>
                  <a:gd name="connsiteY4" fmla="*/ 161376 h 209750"/>
                  <a:gd name="connsiteX5" fmla="*/ 7567 w 253167"/>
                  <a:gd name="connsiteY5" fmla="*/ 160655 h 209750"/>
                  <a:gd name="connsiteX6" fmla="*/ 4686 w 253167"/>
                  <a:gd name="connsiteY6" fmla="*/ 102125 h 209750"/>
                  <a:gd name="connsiteX7" fmla="*/ 42505 w 253167"/>
                  <a:gd name="connsiteY7" fmla="*/ 56022 h 209750"/>
                  <a:gd name="connsiteX8" fmla="*/ 89509 w 253167"/>
                  <a:gd name="connsiteY8" fmla="*/ 33330 h 209750"/>
                  <a:gd name="connsiteX9" fmla="*/ 135793 w 253167"/>
                  <a:gd name="connsiteY9" fmla="*/ 9018 h 209750"/>
                  <a:gd name="connsiteX10" fmla="*/ 198285 w 253167"/>
                  <a:gd name="connsiteY10" fmla="*/ 3795 h 209750"/>
                  <a:gd name="connsiteX11" fmla="*/ 239346 w 253167"/>
                  <a:gd name="connsiteY11" fmla="*/ 48818 h 209750"/>
                  <a:gd name="connsiteX12" fmla="*/ 244028 w 253167"/>
                  <a:gd name="connsiteY12" fmla="*/ 46657 h 209750"/>
                  <a:gd name="connsiteX13" fmla="*/ 249431 w 253167"/>
                  <a:gd name="connsiteY13" fmla="*/ 108969 h 209750"/>
                  <a:gd name="connsiteX14" fmla="*/ 205308 w 253167"/>
                  <a:gd name="connsiteY14" fmla="*/ 152371 h 209750"/>
                  <a:gd name="connsiteX15" fmla="*/ 205308 w 253167"/>
                  <a:gd name="connsiteY15" fmla="*/ 152371 h 209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3167" h="209750">
                    <a:moveTo>
                      <a:pt x="205308" y="152371"/>
                    </a:moveTo>
                    <a:cubicBezTo>
                      <a:pt x="181896" y="163717"/>
                      <a:pt x="183337" y="166598"/>
                      <a:pt x="159745" y="178124"/>
                    </a:cubicBezTo>
                    <a:cubicBezTo>
                      <a:pt x="136333" y="189470"/>
                      <a:pt x="136693" y="190190"/>
                      <a:pt x="112921" y="201356"/>
                    </a:cubicBezTo>
                    <a:cubicBezTo>
                      <a:pt x="93111" y="210901"/>
                      <a:pt x="68798" y="212342"/>
                      <a:pt x="49529" y="205498"/>
                    </a:cubicBezTo>
                    <a:cubicBezTo>
                      <a:pt x="30259" y="198655"/>
                      <a:pt x="15311" y="181186"/>
                      <a:pt x="5766" y="161376"/>
                    </a:cubicBezTo>
                    <a:lnTo>
                      <a:pt x="7567" y="160655"/>
                    </a:lnTo>
                    <a:cubicBezTo>
                      <a:pt x="-1978" y="140845"/>
                      <a:pt x="-1978" y="121215"/>
                      <a:pt x="4686" y="102125"/>
                    </a:cubicBezTo>
                    <a:cubicBezTo>
                      <a:pt x="11349" y="83035"/>
                      <a:pt x="22695" y="65567"/>
                      <a:pt x="42505" y="56022"/>
                    </a:cubicBezTo>
                    <a:cubicBezTo>
                      <a:pt x="58173" y="48458"/>
                      <a:pt x="73841" y="40894"/>
                      <a:pt x="89509" y="33330"/>
                    </a:cubicBezTo>
                    <a:cubicBezTo>
                      <a:pt x="112921" y="21984"/>
                      <a:pt x="112381" y="20544"/>
                      <a:pt x="135793" y="9018"/>
                    </a:cubicBezTo>
                    <a:cubicBezTo>
                      <a:pt x="155603" y="-527"/>
                      <a:pt x="179015" y="-2869"/>
                      <a:pt x="198285" y="3795"/>
                    </a:cubicBezTo>
                    <a:cubicBezTo>
                      <a:pt x="217555" y="10458"/>
                      <a:pt x="229621" y="29368"/>
                      <a:pt x="239346" y="48818"/>
                    </a:cubicBezTo>
                    <a:lnTo>
                      <a:pt x="244028" y="46657"/>
                    </a:lnTo>
                    <a:cubicBezTo>
                      <a:pt x="253573" y="66467"/>
                      <a:pt x="256094" y="89879"/>
                      <a:pt x="249431" y="108969"/>
                    </a:cubicBezTo>
                    <a:cubicBezTo>
                      <a:pt x="242768" y="128058"/>
                      <a:pt x="224938" y="142826"/>
                      <a:pt x="205308" y="152371"/>
                    </a:cubicBezTo>
                    <a:lnTo>
                      <a:pt x="205308" y="152371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EB0596B-16EE-0979-88BB-E7642DD2F146}"/>
                  </a:ext>
                </a:extLst>
              </p:cNvPr>
              <p:cNvSpPr/>
              <p:nvPr/>
            </p:nvSpPr>
            <p:spPr>
              <a:xfrm>
                <a:off x="7220207" y="1874494"/>
                <a:ext cx="157929" cy="161578"/>
              </a:xfrm>
              <a:custGeom>
                <a:avLst/>
                <a:gdLst>
                  <a:gd name="connsiteX0" fmla="*/ 93548 w 157929"/>
                  <a:gd name="connsiteY0" fmla="*/ 30328 h 161578"/>
                  <a:gd name="connsiteX1" fmla="*/ 118941 w 157929"/>
                  <a:gd name="connsiteY1" fmla="*/ 69408 h 161578"/>
                  <a:gd name="connsiteX2" fmla="*/ 141813 w 157929"/>
                  <a:gd name="connsiteY2" fmla="*/ 111009 h 161578"/>
                  <a:gd name="connsiteX3" fmla="*/ 150817 w 157929"/>
                  <a:gd name="connsiteY3" fmla="*/ 155852 h 161578"/>
                  <a:gd name="connsiteX4" fmla="*/ 108315 w 157929"/>
                  <a:gd name="connsiteY4" fmla="*/ 139824 h 161578"/>
                  <a:gd name="connsiteX5" fmla="*/ 66174 w 157929"/>
                  <a:gd name="connsiteY5" fmla="*/ 120014 h 161578"/>
                  <a:gd name="connsiteX6" fmla="*/ 23492 w 157929"/>
                  <a:gd name="connsiteY6" fmla="*/ 98943 h 161578"/>
                  <a:gd name="connsiteX7" fmla="*/ 1881 w 157929"/>
                  <a:gd name="connsiteY7" fmla="*/ 56981 h 161578"/>
                  <a:gd name="connsiteX8" fmla="*/ 14668 w 157929"/>
                  <a:gd name="connsiteY8" fmla="*/ 17001 h 161578"/>
                  <a:gd name="connsiteX9" fmla="*/ 55909 w 157929"/>
                  <a:gd name="connsiteY9" fmla="*/ 1693 h 161578"/>
                  <a:gd name="connsiteX10" fmla="*/ 93368 w 157929"/>
                  <a:gd name="connsiteY10" fmla="*/ 30148 h 161578"/>
                  <a:gd name="connsiteX11" fmla="*/ 93368 w 157929"/>
                  <a:gd name="connsiteY11" fmla="*/ 30148 h 161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7929" h="161578">
                    <a:moveTo>
                      <a:pt x="93548" y="30328"/>
                    </a:moveTo>
                    <a:cubicBezTo>
                      <a:pt x="103633" y="40593"/>
                      <a:pt x="111377" y="54820"/>
                      <a:pt x="118941" y="69408"/>
                    </a:cubicBezTo>
                    <a:cubicBezTo>
                      <a:pt x="126505" y="83995"/>
                      <a:pt x="136950" y="97142"/>
                      <a:pt x="141813" y="111009"/>
                    </a:cubicBezTo>
                    <a:cubicBezTo>
                      <a:pt x="150637" y="136042"/>
                      <a:pt x="167566" y="139464"/>
                      <a:pt x="150817" y="155852"/>
                    </a:cubicBezTo>
                    <a:cubicBezTo>
                      <a:pt x="134069" y="172240"/>
                      <a:pt x="133348" y="149189"/>
                      <a:pt x="108315" y="139824"/>
                    </a:cubicBezTo>
                    <a:cubicBezTo>
                      <a:pt x="94809" y="134601"/>
                      <a:pt x="80401" y="127758"/>
                      <a:pt x="66174" y="120014"/>
                    </a:cubicBezTo>
                    <a:cubicBezTo>
                      <a:pt x="51947" y="112270"/>
                      <a:pt x="33577" y="109208"/>
                      <a:pt x="23492" y="98943"/>
                    </a:cubicBezTo>
                    <a:cubicBezTo>
                      <a:pt x="8905" y="83995"/>
                      <a:pt x="5303" y="68147"/>
                      <a:pt x="1881" y="56981"/>
                    </a:cubicBezTo>
                    <a:cubicBezTo>
                      <a:pt x="-3522" y="39152"/>
                      <a:pt x="3322" y="28167"/>
                      <a:pt x="14668" y="17001"/>
                    </a:cubicBezTo>
                    <a:cubicBezTo>
                      <a:pt x="26013" y="5835"/>
                      <a:pt x="38260" y="-4070"/>
                      <a:pt x="55909" y="1693"/>
                    </a:cubicBezTo>
                    <a:cubicBezTo>
                      <a:pt x="66894" y="5475"/>
                      <a:pt x="78780" y="15200"/>
                      <a:pt x="93368" y="30148"/>
                    </a:cubicBezTo>
                    <a:lnTo>
                      <a:pt x="93368" y="30148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80906EA1-D6A7-1E07-181D-DD1220BA0047}"/>
                  </a:ext>
                </a:extLst>
              </p:cNvPr>
              <p:cNvSpPr/>
              <p:nvPr/>
            </p:nvSpPr>
            <p:spPr>
              <a:xfrm>
                <a:off x="7338926" y="1805048"/>
                <a:ext cx="105803" cy="233042"/>
              </a:xfrm>
              <a:custGeom>
                <a:avLst/>
                <a:gdLst>
                  <a:gd name="connsiteX0" fmla="*/ 105756 w 105803"/>
                  <a:gd name="connsiteY0" fmla="*/ 82304 h 233042"/>
                  <a:gd name="connsiteX1" fmla="*/ 94410 w 105803"/>
                  <a:gd name="connsiteY1" fmla="*/ 135071 h 233042"/>
                  <a:gd name="connsiteX2" fmla="*/ 75500 w 105803"/>
                  <a:gd name="connsiteY2" fmla="*/ 186037 h 233042"/>
                  <a:gd name="connsiteX3" fmla="*/ 49747 w 105803"/>
                  <a:gd name="connsiteY3" fmla="*/ 233042 h 233042"/>
                  <a:gd name="connsiteX4" fmla="*/ 25075 w 105803"/>
                  <a:gd name="connsiteY4" fmla="*/ 185497 h 233042"/>
                  <a:gd name="connsiteX5" fmla="*/ 5264 w 105803"/>
                  <a:gd name="connsiteY5" fmla="*/ 134531 h 233042"/>
                  <a:gd name="connsiteX6" fmla="*/ 42 w 105803"/>
                  <a:gd name="connsiteY6" fmla="*/ 80864 h 233042"/>
                  <a:gd name="connsiteX7" fmla="*/ 9767 w 105803"/>
                  <a:gd name="connsiteY7" fmla="*/ 29357 h 233042"/>
                  <a:gd name="connsiteX8" fmla="*/ 52088 w 105803"/>
                  <a:gd name="connsiteY8" fmla="*/ 2 h 233042"/>
                  <a:gd name="connsiteX9" fmla="*/ 98552 w 105803"/>
                  <a:gd name="connsiteY9" fmla="*/ 27917 h 233042"/>
                  <a:gd name="connsiteX10" fmla="*/ 105756 w 105803"/>
                  <a:gd name="connsiteY10" fmla="*/ 81944 h 233042"/>
                  <a:gd name="connsiteX11" fmla="*/ 105756 w 105803"/>
                  <a:gd name="connsiteY11" fmla="*/ 81944 h 23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5803" h="233042">
                    <a:moveTo>
                      <a:pt x="105756" y="82304"/>
                    </a:moveTo>
                    <a:cubicBezTo>
                      <a:pt x="105756" y="99233"/>
                      <a:pt x="100173" y="117062"/>
                      <a:pt x="94410" y="135071"/>
                    </a:cubicBezTo>
                    <a:cubicBezTo>
                      <a:pt x="88647" y="153261"/>
                      <a:pt x="82704" y="170910"/>
                      <a:pt x="75500" y="186037"/>
                    </a:cubicBezTo>
                    <a:cubicBezTo>
                      <a:pt x="62174" y="213952"/>
                      <a:pt x="77121" y="233222"/>
                      <a:pt x="49747" y="233042"/>
                    </a:cubicBezTo>
                    <a:cubicBezTo>
                      <a:pt x="22373" y="233042"/>
                      <a:pt x="37861" y="213592"/>
                      <a:pt x="25075" y="185497"/>
                    </a:cubicBezTo>
                    <a:cubicBezTo>
                      <a:pt x="18231" y="170009"/>
                      <a:pt x="10667" y="152540"/>
                      <a:pt x="5264" y="134531"/>
                    </a:cubicBezTo>
                    <a:cubicBezTo>
                      <a:pt x="42" y="116522"/>
                      <a:pt x="-138" y="97612"/>
                      <a:pt x="42" y="80864"/>
                    </a:cubicBezTo>
                    <a:cubicBezTo>
                      <a:pt x="402" y="56551"/>
                      <a:pt x="3644" y="41063"/>
                      <a:pt x="9767" y="29357"/>
                    </a:cubicBezTo>
                    <a:cubicBezTo>
                      <a:pt x="19852" y="10268"/>
                      <a:pt x="33359" y="-178"/>
                      <a:pt x="52088" y="2"/>
                    </a:cubicBezTo>
                    <a:cubicBezTo>
                      <a:pt x="70818" y="182"/>
                      <a:pt x="88827" y="8467"/>
                      <a:pt x="98552" y="27917"/>
                    </a:cubicBezTo>
                    <a:cubicBezTo>
                      <a:pt x="104495" y="39803"/>
                      <a:pt x="106116" y="57812"/>
                      <a:pt x="105756" y="81944"/>
                    </a:cubicBezTo>
                    <a:lnTo>
                      <a:pt x="105756" y="81944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5F95524-9266-14A9-80A7-CA9CFFD7DEF2}"/>
                  </a:ext>
                </a:extLst>
              </p:cNvPr>
              <p:cNvSpPr/>
              <p:nvPr/>
            </p:nvSpPr>
            <p:spPr>
              <a:xfrm>
                <a:off x="7343650" y="2045834"/>
                <a:ext cx="73297" cy="140291"/>
              </a:xfrm>
              <a:custGeom>
                <a:avLst/>
                <a:gdLst>
                  <a:gd name="connsiteX0" fmla="*/ 0 w 73297"/>
                  <a:gd name="connsiteY0" fmla="*/ 0 h 140291"/>
                  <a:gd name="connsiteX1" fmla="*/ 25753 w 73297"/>
                  <a:gd name="connsiteY1" fmla="*/ 46104 h 140291"/>
                  <a:gd name="connsiteX2" fmla="*/ 48445 w 73297"/>
                  <a:gd name="connsiteY2" fmla="*/ 93648 h 140291"/>
                  <a:gd name="connsiteX3" fmla="*/ 73298 w 73297"/>
                  <a:gd name="connsiteY3" fmla="*/ 140292 h 14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297" h="140291">
                    <a:moveTo>
                      <a:pt x="0" y="0"/>
                    </a:moveTo>
                    <a:cubicBezTo>
                      <a:pt x="11346" y="23772"/>
                      <a:pt x="14227" y="22331"/>
                      <a:pt x="25753" y="46104"/>
                    </a:cubicBezTo>
                    <a:cubicBezTo>
                      <a:pt x="37279" y="69876"/>
                      <a:pt x="36919" y="70056"/>
                      <a:pt x="48445" y="93648"/>
                    </a:cubicBezTo>
                    <a:cubicBezTo>
                      <a:pt x="59791" y="117240"/>
                      <a:pt x="61772" y="116520"/>
                      <a:pt x="73298" y="140292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2DD48DA9-7C59-7AC0-F3E9-5262ADD0F31A}"/>
                  </a:ext>
                </a:extLst>
              </p:cNvPr>
              <p:cNvSpPr/>
              <p:nvPr/>
            </p:nvSpPr>
            <p:spPr>
              <a:xfrm>
                <a:off x="7447563" y="1995768"/>
                <a:ext cx="68615" cy="142452"/>
              </a:xfrm>
              <a:custGeom>
                <a:avLst/>
                <a:gdLst>
                  <a:gd name="connsiteX0" fmla="*/ 0 w 68615"/>
                  <a:gd name="connsiteY0" fmla="*/ 0 h 142452"/>
                  <a:gd name="connsiteX1" fmla="*/ 27734 w 68615"/>
                  <a:gd name="connsiteY1" fmla="*/ 45023 h 142452"/>
                  <a:gd name="connsiteX2" fmla="*/ 45924 w 68615"/>
                  <a:gd name="connsiteY2" fmla="*/ 94728 h 142452"/>
                  <a:gd name="connsiteX3" fmla="*/ 68615 w 68615"/>
                  <a:gd name="connsiteY3" fmla="*/ 142453 h 142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615" h="142452">
                    <a:moveTo>
                      <a:pt x="0" y="0"/>
                    </a:moveTo>
                    <a:cubicBezTo>
                      <a:pt x="11346" y="23772"/>
                      <a:pt x="16388" y="21431"/>
                      <a:pt x="27734" y="45023"/>
                    </a:cubicBezTo>
                    <a:cubicBezTo>
                      <a:pt x="39080" y="68795"/>
                      <a:pt x="34398" y="70956"/>
                      <a:pt x="45924" y="94728"/>
                    </a:cubicBezTo>
                    <a:cubicBezTo>
                      <a:pt x="57269" y="118501"/>
                      <a:pt x="57089" y="118681"/>
                      <a:pt x="68615" y="142453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DF71746C-6B64-5BA1-B84C-B7B9FED880DE}"/>
                </a:ext>
              </a:extLst>
            </p:cNvPr>
            <p:cNvGrpSpPr/>
            <p:nvPr/>
          </p:nvGrpSpPr>
          <p:grpSpPr>
            <a:xfrm>
              <a:off x="10281413" y="5187505"/>
              <a:ext cx="393242" cy="1236897"/>
              <a:chOff x="10541368" y="4686165"/>
              <a:chExt cx="339585" cy="1068126"/>
            </a:xfrm>
          </p:grpSpPr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56A87152-7C46-8604-4DBF-98B984B8B9C4}"/>
                  </a:ext>
                </a:extLst>
              </p:cNvPr>
              <p:cNvSpPr/>
              <p:nvPr/>
            </p:nvSpPr>
            <p:spPr>
              <a:xfrm>
                <a:off x="10717498" y="5029961"/>
                <a:ext cx="5042" cy="724330"/>
              </a:xfrm>
              <a:custGeom>
                <a:avLst/>
                <a:gdLst>
                  <a:gd name="connsiteX0" fmla="*/ 0 w 5042"/>
                  <a:gd name="connsiteY0" fmla="*/ 0 h 724330"/>
                  <a:gd name="connsiteX1" fmla="*/ 2161 w 5042"/>
                  <a:gd name="connsiteY1" fmla="*/ 48265 h 724330"/>
                  <a:gd name="connsiteX2" fmla="*/ 2521 w 5042"/>
                  <a:gd name="connsiteY2" fmla="*/ 96529 h 724330"/>
                  <a:gd name="connsiteX3" fmla="*/ 900 w 5042"/>
                  <a:gd name="connsiteY3" fmla="*/ 144794 h 724330"/>
                  <a:gd name="connsiteX4" fmla="*/ 4322 w 5042"/>
                  <a:gd name="connsiteY4" fmla="*/ 193059 h 724330"/>
                  <a:gd name="connsiteX5" fmla="*/ 5043 w 5042"/>
                  <a:gd name="connsiteY5" fmla="*/ 241324 h 724330"/>
                  <a:gd name="connsiteX6" fmla="*/ 1981 w 5042"/>
                  <a:gd name="connsiteY6" fmla="*/ 289588 h 724330"/>
                  <a:gd name="connsiteX7" fmla="*/ 2701 w 5042"/>
                  <a:gd name="connsiteY7" fmla="*/ 337853 h 724330"/>
                  <a:gd name="connsiteX8" fmla="*/ 0 w 5042"/>
                  <a:gd name="connsiteY8" fmla="*/ 386118 h 724330"/>
                  <a:gd name="connsiteX9" fmla="*/ 3962 w 5042"/>
                  <a:gd name="connsiteY9" fmla="*/ 434383 h 724330"/>
                  <a:gd name="connsiteX10" fmla="*/ 0 w 5042"/>
                  <a:gd name="connsiteY10" fmla="*/ 482647 h 724330"/>
                  <a:gd name="connsiteX11" fmla="*/ 3422 w 5042"/>
                  <a:gd name="connsiteY11" fmla="*/ 530912 h 724330"/>
                  <a:gd name="connsiteX12" fmla="*/ 2341 w 5042"/>
                  <a:gd name="connsiteY12" fmla="*/ 579177 h 724330"/>
                  <a:gd name="connsiteX13" fmla="*/ 0 w 5042"/>
                  <a:gd name="connsiteY13" fmla="*/ 627441 h 724330"/>
                  <a:gd name="connsiteX14" fmla="*/ 4502 w 5042"/>
                  <a:gd name="connsiteY14" fmla="*/ 675886 h 724330"/>
                  <a:gd name="connsiteX15" fmla="*/ 2521 w 5042"/>
                  <a:gd name="connsiteY15" fmla="*/ 724331 h 72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42" h="724330">
                    <a:moveTo>
                      <a:pt x="0" y="0"/>
                    </a:moveTo>
                    <a:cubicBezTo>
                      <a:pt x="0" y="24133"/>
                      <a:pt x="2161" y="24133"/>
                      <a:pt x="2161" y="48265"/>
                    </a:cubicBezTo>
                    <a:cubicBezTo>
                      <a:pt x="2161" y="72397"/>
                      <a:pt x="2521" y="72397"/>
                      <a:pt x="2521" y="96529"/>
                    </a:cubicBezTo>
                    <a:cubicBezTo>
                      <a:pt x="2521" y="120662"/>
                      <a:pt x="900" y="120662"/>
                      <a:pt x="900" y="144794"/>
                    </a:cubicBezTo>
                    <a:cubicBezTo>
                      <a:pt x="900" y="168927"/>
                      <a:pt x="4322" y="168927"/>
                      <a:pt x="4322" y="193059"/>
                    </a:cubicBezTo>
                    <a:cubicBezTo>
                      <a:pt x="4322" y="217191"/>
                      <a:pt x="5043" y="217191"/>
                      <a:pt x="5043" y="241324"/>
                    </a:cubicBezTo>
                    <a:cubicBezTo>
                      <a:pt x="5043" y="265456"/>
                      <a:pt x="1981" y="265456"/>
                      <a:pt x="1981" y="289588"/>
                    </a:cubicBezTo>
                    <a:cubicBezTo>
                      <a:pt x="1981" y="313721"/>
                      <a:pt x="2701" y="313721"/>
                      <a:pt x="2701" y="337853"/>
                    </a:cubicBezTo>
                    <a:cubicBezTo>
                      <a:pt x="2701" y="361985"/>
                      <a:pt x="0" y="361985"/>
                      <a:pt x="0" y="386118"/>
                    </a:cubicBezTo>
                    <a:cubicBezTo>
                      <a:pt x="0" y="410250"/>
                      <a:pt x="3962" y="410250"/>
                      <a:pt x="3962" y="434383"/>
                    </a:cubicBezTo>
                    <a:cubicBezTo>
                      <a:pt x="3962" y="458515"/>
                      <a:pt x="0" y="458515"/>
                      <a:pt x="0" y="482647"/>
                    </a:cubicBezTo>
                    <a:cubicBezTo>
                      <a:pt x="0" y="506780"/>
                      <a:pt x="3422" y="506780"/>
                      <a:pt x="3422" y="530912"/>
                    </a:cubicBezTo>
                    <a:cubicBezTo>
                      <a:pt x="3422" y="555044"/>
                      <a:pt x="2341" y="555044"/>
                      <a:pt x="2341" y="579177"/>
                    </a:cubicBezTo>
                    <a:cubicBezTo>
                      <a:pt x="2341" y="603309"/>
                      <a:pt x="0" y="603309"/>
                      <a:pt x="0" y="627441"/>
                    </a:cubicBezTo>
                    <a:cubicBezTo>
                      <a:pt x="0" y="651574"/>
                      <a:pt x="4502" y="651574"/>
                      <a:pt x="4502" y="675886"/>
                    </a:cubicBezTo>
                    <a:cubicBezTo>
                      <a:pt x="4502" y="700199"/>
                      <a:pt x="2521" y="700019"/>
                      <a:pt x="2521" y="724331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BDC0B79B-9265-865D-620F-0DC5028FD7C5}"/>
                  </a:ext>
                </a:extLst>
              </p:cNvPr>
              <p:cNvSpPr/>
              <p:nvPr/>
            </p:nvSpPr>
            <p:spPr>
              <a:xfrm>
                <a:off x="10541368" y="4686165"/>
                <a:ext cx="314800" cy="346677"/>
              </a:xfrm>
              <a:custGeom>
                <a:avLst/>
                <a:gdLst>
                  <a:gd name="connsiteX0" fmla="*/ 42682 w 314800"/>
                  <a:gd name="connsiteY0" fmla="*/ 175410 h 346677"/>
                  <a:gd name="connsiteX1" fmla="*/ 11166 w 314800"/>
                  <a:gd name="connsiteY1" fmla="*/ 151097 h 346677"/>
                  <a:gd name="connsiteX2" fmla="*/ 0 w 314800"/>
                  <a:gd name="connsiteY2" fmla="*/ 116880 h 346677"/>
                  <a:gd name="connsiteX3" fmla="*/ 17829 w 314800"/>
                  <a:gd name="connsiteY3" fmla="*/ 77440 h 346677"/>
                  <a:gd name="connsiteX4" fmla="*/ 57449 w 314800"/>
                  <a:gd name="connsiteY4" fmla="*/ 59250 h 346677"/>
                  <a:gd name="connsiteX5" fmla="*/ 96709 w 314800"/>
                  <a:gd name="connsiteY5" fmla="*/ 77620 h 346677"/>
                  <a:gd name="connsiteX6" fmla="*/ 92928 w 314800"/>
                  <a:gd name="connsiteY6" fmla="*/ 60151 h 346677"/>
                  <a:gd name="connsiteX7" fmla="*/ 111837 w 314800"/>
                  <a:gd name="connsiteY7" fmla="*/ 16929 h 346677"/>
                  <a:gd name="connsiteX8" fmla="*/ 155059 w 314800"/>
                  <a:gd name="connsiteY8" fmla="*/ 0 h 346677"/>
                  <a:gd name="connsiteX9" fmla="*/ 197381 w 314800"/>
                  <a:gd name="connsiteY9" fmla="*/ 18009 h 346677"/>
                  <a:gd name="connsiteX10" fmla="*/ 211608 w 314800"/>
                  <a:gd name="connsiteY10" fmla="*/ 60331 h 346677"/>
                  <a:gd name="connsiteX11" fmla="*/ 212509 w 314800"/>
                  <a:gd name="connsiteY11" fmla="*/ 75459 h 346677"/>
                  <a:gd name="connsiteX12" fmla="*/ 252669 w 314800"/>
                  <a:gd name="connsiteY12" fmla="*/ 55829 h 346677"/>
                  <a:gd name="connsiteX13" fmla="*/ 293010 w 314800"/>
                  <a:gd name="connsiteY13" fmla="*/ 76359 h 346677"/>
                  <a:gd name="connsiteX14" fmla="*/ 311559 w 314800"/>
                  <a:gd name="connsiteY14" fmla="*/ 116700 h 346677"/>
                  <a:gd name="connsiteX15" fmla="*/ 300934 w 314800"/>
                  <a:gd name="connsiteY15" fmla="*/ 153439 h 346677"/>
                  <a:gd name="connsiteX16" fmla="*/ 271579 w 314800"/>
                  <a:gd name="connsiteY16" fmla="*/ 173069 h 346677"/>
                  <a:gd name="connsiteX17" fmla="*/ 299673 w 314800"/>
                  <a:gd name="connsiteY17" fmla="*/ 193779 h 346677"/>
                  <a:gd name="connsiteX18" fmla="*/ 314801 w 314800"/>
                  <a:gd name="connsiteY18" fmla="*/ 229618 h 346677"/>
                  <a:gd name="connsiteX19" fmla="*/ 292470 w 314800"/>
                  <a:gd name="connsiteY19" fmla="*/ 269238 h 346677"/>
                  <a:gd name="connsiteX20" fmla="*/ 252849 w 314800"/>
                  <a:gd name="connsiteY20" fmla="*/ 289228 h 346677"/>
                  <a:gd name="connsiteX21" fmla="*/ 211248 w 314800"/>
                  <a:gd name="connsiteY21" fmla="*/ 273200 h 346677"/>
                  <a:gd name="connsiteX22" fmla="*/ 212689 w 314800"/>
                  <a:gd name="connsiteY22" fmla="*/ 285626 h 346677"/>
                  <a:gd name="connsiteX23" fmla="*/ 197561 w 314800"/>
                  <a:gd name="connsiteY23" fmla="*/ 328128 h 346677"/>
                  <a:gd name="connsiteX24" fmla="*/ 155059 w 314800"/>
                  <a:gd name="connsiteY24" fmla="*/ 346677 h 346677"/>
                  <a:gd name="connsiteX25" fmla="*/ 113638 w 314800"/>
                  <a:gd name="connsiteY25" fmla="*/ 326867 h 346677"/>
                  <a:gd name="connsiteX26" fmla="*/ 95089 w 314800"/>
                  <a:gd name="connsiteY26" fmla="*/ 285626 h 346677"/>
                  <a:gd name="connsiteX27" fmla="*/ 99591 w 314800"/>
                  <a:gd name="connsiteY27" fmla="*/ 273380 h 346677"/>
                  <a:gd name="connsiteX28" fmla="*/ 57629 w 314800"/>
                  <a:gd name="connsiteY28" fmla="*/ 289588 h 346677"/>
                  <a:gd name="connsiteX29" fmla="*/ 16748 w 314800"/>
                  <a:gd name="connsiteY29" fmla="*/ 269778 h 346677"/>
                  <a:gd name="connsiteX30" fmla="*/ 1081 w 314800"/>
                  <a:gd name="connsiteY30" fmla="*/ 228897 h 346677"/>
                  <a:gd name="connsiteX31" fmla="*/ 42682 w 314800"/>
                  <a:gd name="connsiteY31" fmla="*/ 175410 h 346677"/>
                  <a:gd name="connsiteX32" fmla="*/ 42682 w 314800"/>
                  <a:gd name="connsiteY32" fmla="*/ 175410 h 346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14800" h="346677">
                    <a:moveTo>
                      <a:pt x="42682" y="175410"/>
                    </a:moveTo>
                    <a:cubicBezTo>
                      <a:pt x="30436" y="171808"/>
                      <a:pt x="18729" y="161182"/>
                      <a:pt x="11166" y="151097"/>
                    </a:cubicBezTo>
                    <a:cubicBezTo>
                      <a:pt x="3782" y="141012"/>
                      <a:pt x="0" y="130027"/>
                      <a:pt x="0" y="116880"/>
                    </a:cubicBezTo>
                    <a:cubicBezTo>
                      <a:pt x="0" y="100852"/>
                      <a:pt x="7204" y="88065"/>
                      <a:pt x="17829" y="77440"/>
                    </a:cubicBezTo>
                    <a:cubicBezTo>
                      <a:pt x="28454" y="66994"/>
                      <a:pt x="41061" y="59250"/>
                      <a:pt x="57449" y="59250"/>
                    </a:cubicBezTo>
                    <a:cubicBezTo>
                      <a:pt x="73838" y="59250"/>
                      <a:pt x="86084" y="67535"/>
                      <a:pt x="96709" y="77620"/>
                    </a:cubicBezTo>
                    <a:cubicBezTo>
                      <a:pt x="95449" y="72937"/>
                      <a:pt x="92928" y="65374"/>
                      <a:pt x="92928" y="60151"/>
                    </a:cubicBezTo>
                    <a:cubicBezTo>
                      <a:pt x="92928" y="44123"/>
                      <a:pt x="101212" y="27554"/>
                      <a:pt x="111837" y="16929"/>
                    </a:cubicBezTo>
                    <a:cubicBezTo>
                      <a:pt x="122462" y="6303"/>
                      <a:pt x="138851" y="0"/>
                      <a:pt x="155059" y="0"/>
                    </a:cubicBezTo>
                    <a:cubicBezTo>
                      <a:pt x="171267" y="0"/>
                      <a:pt x="186756" y="7204"/>
                      <a:pt x="197381" y="18009"/>
                    </a:cubicBezTo>
                    <a:cubicBezTo>
                      <a:pt x="208006" y="28815"/>
                      <a:pt x="211608" y="43943"/>
                      <a:pt x="211608" y="60331"/>
                    </a:cubicBezTo>
                    <a:cubicBezTo>
                      <a:pt x="211608" y="65194"/>
                      <a:pt x="213769" y="70956"/>
                      <a:pt x="212509" y="75459"/>
                    </a:cubicBezTo>
                    <a:cubicBezTo>
                      <a:pt x="222954" y="65194"/>
                      <a:pt x="236821" y="55829"/>
                      <a:pt x="252669" y="55829"/>
                    </a:cubicBezTo>
                    <a:cubicBezTo>
                      <a:pt x="268518" y="55829"/>
                      <a:pt x="282384" y="65734"/>
                      <a:pt x="293010" y="76359"/>
                    </a:cubicBezTo>
                    <a:cubicBezTo>
                      <a:pt x="303635" y="86985"/>
                      <a:pt x="311559" y="100311"/>
                      <a:pt x="311559" y="116700"/>
                    </a:cubicBezTo>
                    <a:cubicBezTo>
                      <a:pt x="311559" y="130027"/>
                      <a:pt x="308498" y="143533"/>
                      <a:pt x="300934" y="153439"/>
                    </a:cubicBezTo>
                    <a:cubicBezTo>
                      <a:pt x="293370" y="163344"/>
                      <a:pt x="284186" y="169647"/>
                      <a:pt x="271579" y="173069"/>
                    </a:cubicBezTo>
                    <a:cubicBezTo>
                      <a:pt x="284186" y="176490"/>
                      <a:pt x="291929" y="183694"/>
                      <a:pt x="299673" y="193779"/>
                    </a:cubicBezTo>
                    <a:cubicBezTo>
                      <a:pt x="307417" y="203864"/>
                      <a:pt x="314801" y="216111"/>
                      <a:pt x="314801" y="229618"/>
                    </a:cubicBezTo>
                    <a:cubicBezTo>
                      <a:pt x="314801" y="245646"/>
                      <a:pt x="303095" y="258612"/>
                      <a:pt x="292470" y="269238"/>
                    </a:cubicBezTo>
                    <a:cubicBezTo>
                      <a:pt x="281844" y="279863"/>
                      <a:pt x="268878" y="289228"/>
                      <a:pt x="252849" y="289228"/>
                    </a:cubicBezTo>
                    <a:cubicBezTo>
                      <a:pt x="236821" y="289228"/>
                      <a:pt x="221873" y="283285"/>
                      <a:pt x="211248" y="273200"/>
                    </a:cubicBezTo>
                    <a:cubicBezTo>
                      <a:pt x="212328" y="277702"/>
                      <a:pt x="212689" y="280764"/>
                      <a:pt x="212689" y="285626"/>
                    </a:cubicBezTo>
                    <a:cubicBezTo>
                      <a:pt x="212689" y="301654"/>
                      <a:pt x="208366" y="317503"/>
                      <a:pt x="197561" y="328128"/>
                    </a:cubicBezTo>
                    <a:cubicBezTo>
                      <a:pt x="186756" y="338753"/>
                      <a:pt x="171267" y="346677"/>
                      <a:pt x="155059" y="346677"/>
                    </a:cubicBezTo>
                    <a:cubicBezTo>
                      <a:pt x="138851" y="346677"/>
                      <a:pt x="124264" y="337493"/>
                      <a:pt x="113638" y="326867"/>
                    </a:cubicBezTo>
                    <a:cubicBezTo>
                      <a:pt x="103013" y="316242"/>
                      <a:pt x="95089" y="301654"/>
                      <a:pt x="95089" y="285626"/>
                    </a:cubicBezTo>
                    <a:cubicBezTo>
                      <a:pt x="95089" y="280584"/>
                      <a:pt x="98510" y="277882"/>
                      <a:pt x="99591" y="273380"/>
                    </a:cubicBezTo>
                    <a:cubicBezTo>
                      <a:pt x="89145" y="283645"/>
                      <a:pt x="73477" y="289588"/>
                      <a:pt x="57629" y="289588"/>
                    </a:cubicBezTo>
                    <a:cubicBezTo>
                      <a:pt x="41781" y="289588"/>
                      <a:pt x="27374" y="280404"/>
                      <a:pt x="16748" y="269778"/>
                    </a:cubicBezTo>
                    <a:cubicBezTo>
                      <a:pt x="6123" y="259153"/>
                      <a:pt x="1081" y="244925"/>
                      <a:pt x="1081" y="228897"/>
                    </a:cubicBezTo>
                    <a:cubicBezTo>
                      <a:pt x="1081" y="202604"/>
                      <a:pt x="18729" y="182794"/>
                      <a:pt x="42682" y="175410"/>
                    </a:cubicBezTo>
                    <a:lnTo>
                      <a:pt x="42682" y="175410"/>
                    </a:lnTo>
                    <a:close/>
                  </a:path>
                </a:pathLst>
              </a:custGeom>
              <a:solidFill>
                <a:srgbClr val="FBCCD0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E0204599-2C8E-42BD-64CF-CBA8C26C8B3C}"/>
                  </a:ext>
                </a:extLst>
              </p:cNvPr>
              <p:cNvSpPr/>
              <p:nvPr/>
            </p:nvSpPr>
            <p:spPr>
              <a:xfrm>
                <a:off x="10624751" y="4792960"/>
                <a:ext cx="121562" cy="123002"/>
              </a:xfrm>
              <a:custGeom>
                <a:avLst/>
                <a:gdLst>
                  <a:gd name="connsiteX0" fmla="*/ 180 w 121562"/>
                  <a:gd name="connsiteY0" fmla="*/ 62672 h 123002"/>
                  <a:gd name="connsiteX1" fmla="*/ 19269 w 121562"/>
                  <a:gd name="connsiteY1" fmla="*/ 20710 h 123002"/>
                  <a:gd name="connsiteX2" fmla="*/ 61231 w 121562"/>
                  <a:gd name="connsiteY2" fmla="*/ 0 h 123002"/>
                  <a:gd name="connsiteX3" fmla="*/ 106434 w 121562"/>
                  <a:gd name="connsiteY3" fmla="*/ 17469 h 123002"/>
                  <a:gd name="connsiteX4" fmla="*/ 121562 w 121562"/>
                  <a:gd name="connsiteY4" fmla="*/ 62672 h 123002"/>
                  <a:gd name="connsiteX5" fmla="*/ 101212 w 121562"/>
                  <a:gd name="connsiteY5" fmla="*/ 102832 h 123002"/>
                  <a:gd name="connsiteX6" fmla="*/ 61051 w 121562"/>
                  <a:gd name="connsiteY6" fmla="*/ 123003 h 123002"/>
                  <a:gd name="connsiteX7" fmla="*/ 19630 w 121562"/>
                  <a:gd name="connsiteY7" fmla="*/ 104093 h 123002"/>
                  <a:gd name="connsiteX8" fmla="*/ 0 w 121562"/>
                  <a:gd name="connsiteY8" fmla="*/ 62852 h 123002"/>
                  <a:gd name="connsiteX9" fmla="*/ 0 w 121562"/>
                  <a:gd name="connsiteY9" fmla="*/ 62852 h 12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1562" h="123002">
                    <a:moveTo>
                      <a:pt x="180" y="62672"/>
                    </a:moveTo>
                    <a:cubicBezTo>
                      <a:pt x="180" y="46104"/>
                      <a:pt x="8284" y="31516"/>
                      <a:pt x="19269" y="20710"/>
                    </a:cubicBezTo>
                    <a:cubicBezTo>
                      <a:pt x="30255" y="9905"/>
                      <a:pt x="44663" y="0"/>
                      <a:pt x="61231" y="0"/>
                    </a:cubicBezTo>
                    <a:cubicBezTo>
                      <a:pt x="77799" y="0"/>
                      <a:pt x="95449" y="6483"/>
                      <a:pt x="106434" y="17469"/>
                    </a:cubicBezTo>
                    <a:cubicBezTo>
                      <a:pt x="117420" y="28455"/>
                      <a:pt x="121562" y="46104"/>
                      <a:pt x="121562" y="62672"/>
                    </a:cubicBezTo>
                    <a:cubicBezTo>
                      <a:pt x="121562" y="79240"/>
                      <a:pt x="112197" y="91847"/>
                      <a:pt x="101212" y="102832"/>
                    </a:cubicBezTo>
                    <a:cubicBezTo>
                      <a:pt x="90226" y="113818"/>
                      <a:pt x="77799" y="123003"/>
                      <a:pt x="61051" y="123003"/>
                    </a:cubicBezTo>
                    <a:cubicBezTo>
                      <a:pt x="44303" y="123003"/>
                      <a:pt x="30615" y="114899"/>
                      <a:pt x="19630" y="104093"/>
                    </a:cubicBezTo>
                    <a:cubicBezTo>
                      <a:pt x="8644" y="93108"/>
                      <a:pt x="0" y="79240"/>
                      <a:pt x="0" y="62852"/>
                    </a:cubicBezTo>
                    <a:lnTo>
                      <a:pt x="0" y="62852"/>
                    </a:lnTo>
                    <a:close/>
                  </a:path>
                </a:pathLst>
              </a:custGeom>
              <a:solidFill>
                <a:schemeClr val="bg1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56BE4CA3-1C60-45BC-6983-C631E71D9BF0}"/>
                  </a:ext>
                </a:extLst>
              </p:cNvPr>
              <p:cNvSpPr/>
              <p:nvPr/>
            </p:nvSpPr>
            <p:spPr>
              <a:xfrm>
                <a:off x="10560516" y="5262497"/>
                <a:ext cx="165947" cy="166196"/>
              </a:xfrm>
              <a:custGeom>
                <a:avLst/>
                <a:gdLst>
                  <a:gd name="connsiteX0" fmla="*/ 158603 w 165947"/>
                  <a:gd name="connsiteY0" fmla="*/ 158804 h 166196"/>
                  <a:gd name="connsiteX1" fmla="*/ 158603 w 165947"/>
                  <a:gd name="connsiteY1" fmla="*/ 117023 h 166196"/>
                  <a:gd name="connsiteX2" fmla="*/ 143835 w 165947"/>
                  <a:gd name="connsiteY2" fmla="*/ 78303 h 166196"/>
                  <a:gd name="connsiteX3" fmla="*/ 123845 w 165947"/>
                  <a:gd name="connsiteY3" fmla="*/ 42645 h 166196"/>
                  <a:gd name="connsiteX4" fmla="*/ 89087 w 165947"/>
                  <a:gd name="connsiteY4" fmla="*/ 20674 h 166196"/>
                  <a:gd name="connsiteX5" fmla="*/ 49647 w 165947"/>
                  <a:gd name="connsiteY5" fmla="*/ 6086 h 166196"/>
                  <a:gd name="connsiteX6" fmla="*/ 7686 w 165947"/>
                  <a:gd name="connsiteY6" fmla="*/ 8067 h 166196"/>
                  <a:gd name="connsiteX7" fmla="*/ 6785 w 165947"/>
                  <a:gd name="connsiteY7" fmla="*/ 49848 h 166196"/>
                  <a:gd name="connsiteX8" fmla="*/ 18491 w 165947"/>
                  <a:gd name="connsiteY8" fmla="*/ 90189 h 166196"/>
                  <a:gd name="connsiteX9" fmla="*/ 41183 w 165947"/>
                  <a:gd name="connsiteY9" fmla="*/ 125667 h 166196"/>
                  <a:gd name="connsiteX10" fmla="*/ 76481 w 165947"/>
                  <a:gd name="connsiteY10" fmla="*/ 148539 h 166196"/>
                  <a:gd name="connsiteX11" fmla="*/ 117002 w 165947"/>
                  <a:gd name="connsiteY11" fmla="*/ 158804 h 166196"/>
                  <a:gd name="connsiteX12" fmla="*/ 158783 w 165947"/>
                  <a:gd name="connsiteY12" fmla="*/ 158804 h 166196"/>
                  <a:gd name="connsiteX13" fmla="*/ 158783 w 165947"/>
                  <a:gd name="connsiteY13" fmla="*/ 158804 h 166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5947" h="166196">
                    <a:moveTo>
                      <a:pt x="158603" y="158804"/>
                    </a:moveTo>
                    <a:cubicBezTo>
                      <a:pt x="173371" y="144037"/>
                      <a:pt x="161845" y="140255"/>
                      <a:pt x="158603" y="117023"/>
                    </a:cubicBezTo>
                    <a:cubicBezTo>
                      <a:pt x="156802" y="104596"/>
                      <a:pt x="149418" y="91810"/>
                      <a:pt x="143835" y="78303"/>
                    </a:cubicBezTo>
                    <a:cubicBezTo>
                      <a:pt x="138612" y="65877"/>
                      <a:pt x="133930" y="52550"/>
                      <a:pt x="123845" y="42645"/>
                    </a:cubicBezTo>
                    <a:cubicBezTo>
                      <a:pt x="113580" y="32559"/>
                      <a:pt x="101334" y="25716"/>
                      <a:pt x="89087" y="20674"/>
                    </a:cubicBezTo>
                    <a:cubicBezTo>
                      <a:pt x="75580" y="15091"/>
                      <a:pt x="62254" y="7887"/>
                      <a:pt x="49647" y="6086"/>
                    </a:cubicBezTo>
                    <a:cubicBezTo>
                      <a:pt x="26415" y="2664"/>
                      <a:pt x="22453" y="-6700"/>
                      <a:pt x="7686" y="8067"/>
                    </a:cubicBezTo>
                    <a:cubicBezTo>
                      <a:pt x="-7082" y="22835"/>
                      <a:pt x="3364" y="26617"/>
                      <a:pt x="6785" y="49848"/>
                    </a:cubicBezTo>
                    <a:cubicBezTo>
                      <a:pt x="8586" y="62275"/>
                      <a:pt x="12908" y="76502"/>
                      <a:pt x="18491" y="90189"/>
                    </a:cubicBezTo>
                    <a:cubicBezTo>
                      <a:pt x="23714" y="102615"/>
                      <a:pt x="31097" y="115402"/>
                      <a:pt x="41183" y="125667"/>
                    </a:cubicBezTo>
                    <a:cubicBezTo>
                      <a:pt x="51268" y="135932"/>
                      <a:pt x="64055" y="143496"/>
                      <a:pt x="76481" y="148539"/>
                    </a:cubicBezTo>
                    <a:cubicBezTo>
                      <a:pt x="89988" y="154122"/>
                      <a:pt x="104575" y="157184"/>
                      <a:pt x="117002" y="158804"/>
                    </a:cubicBezTo>
                    <a:cubicBezTo>
                      <a:pt x="140234" y="162226"/>
                      <a:pt x="144016" y="173572"/>
                      <a:pt x="158783" y="158804"/>
                    </a:cubicBezTo>
                    <a:lnTo>
                      <a:pt x="158783" y="158804"/>
                    </a:lnTo>
                    <a:close/>
                  </a:path>
                </a:pathLst>
              </a:custGeom>
              <a:solidFill>
                <a:srgbClr val="8DC1B0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994ADE19-070C-1153-9C5C-0DB0C5CCD277}"/>
                  </a:ext>
                </a:extLst>
              </p:cNvPr>
              <p:cNvSpPr/>
              <p:nvPr/>
            </p:nvSpPr>
            <p:spPr>
              <a:xfrm>
                <a:off x="10718652" y="5464695"/>
                <a:ext cx="162301" cy="163635"/>
              </a:xfrm>
              <a:custGeom>
                <a:avLst/>
                <a:gdLst>
                  <a:gd name="connsiteX0" fmla="*/ 155166 w 162301"/>
                  <a:gd name="connsiteY0" fmla="*/ 7212 h 163635"/>
                  <a:gd name="connsiteX1" fmla="*/ 154626 w 162301"/>
                  <a:gd name="connsiteY1" fmla="*/ 48813 h 163635"/>
                  <a:gd name="connsiteX2" fmla="*/ 143100 w 162301"/>
                  <a:gd name="connsiteY2" fmla="*/ 88794 h 163635"/>
                  <a:gd name="connsiteX3" fmla="*/ 119148 w 162301"/>
                  <a:gd name="connsiteY3" fmla="*/ 122111 h 163635"/>
                  <a:gd name="connsiteX4" fmla="*/ 86551 w 162301"/>
                  <a:gd name="connsiteY4" fmla="*/ 147864 h 163635"/>
                  <a:gd name="connsiteX5" fmla="*/ 45670 w 162301"/>
                  <a:gd name="connsiteY5" fmla="*/ 156688 h 163635"/>
                  <a:gd name="connsiteX6" fmla="*/ 6590 w 162301"/>
                  <a:gd name="connsiteY6" fmla="*/ 156148 h 163635"/>
                  <a:gd name="connsiteX7" fmla="*/ 9112 w 162301"/>
                  <a:gd name="connsiteY7" fmla="*/ 117428 h 163635"/>
                  <a:gd name="connsiteX8" fmla="*/ 17215 w 162301"/>
                  <a:gd name="connsiteY8" fmla="*/ 77088 h 163635"/>
                  <a:gd name="connsiteX9" fmla="*/ 40267 w 162301"/>
                  <a:gd name="connsiteY9" fmla="*/ 43230 h 163635"/>
                  <a:gd name="connsiteX10" fmla="*/ 73584 w 162301"/>
                  <a:gd name="connsiteY10" fmla="*/ 19098 h 163635"/>
                  <a:gd name="connsiteX11" fmla="*/ 113745 w 162301"/>
                  <a:gd name="connsiteY11" fmla="*/ 7392 h 163635"/>
                  <a:gd name="connsiteX12" fmla="*/ 155346 w 162301"/>
                  <a:gd name="connsiteY12" fmla="*/ 7392 h 163635"/>
                  <a:gd name="connsiteX13" fmla="*/ 155346 w 162301"/>
                  <a:gd name="connsiteY13" fmla="*/ 7392 h 163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2301" h="163635">
                    <a:moveTo>
                      <a:pt x="155166" y="7212"/>
                    </a:moveTo>
                    <a:cubicBezTo>
                      <a:pt x="169934" y="21979"/>
                      <a:pt x="157688" y="25401"/>
                      <a:pt x="154626" y="48813"/>
                    </a:cubicBezTo>
                    <a:cubicBezTo>
                      <a:pt x="152825" y="61240"/>
                      <a:pt x="148683" y="75287"/>
                      <a:pt x="143100" y="88794"/>
                    </a:cubicBezTo>
                    <a:cubicBezTo>
                      <a:pt x="137877" y="101220"/>
                      <a:pt x="129233" y="111845"/>
                      <a:pt x="119148" y="122111"/>
                    </a:cubicBezTo>
                    <a:cubicBezTo>
                      <a:pt x="109063" y="132376"/>
                      <a:pt x="99158" y="142641"/>
                      <a:pt x="86551" y="147864"/>
                    </a:cubicBezTo>
                    <a:cubicBezTo>
                      <a:pt x="73044" y="153447"/>
                      <a:pt x="58276" y="154887"/>
                      <a:pt x="45670" y="156688"/>
                    </a:cubicBezTo>
                    <a:cubicBezTo>
                      <a:pt x="22438" y="160110"/>
                      <a:pt x="21177" y="170736"/>
                      <a:pt x="6590" y="156148"/>
                    </a:cubicBezTo>
                    <a:cubicBezTo>
                      <a:pt x="-7997" y="141560"/>
                      <a:pt x="5690" y="140840"/>
                      <a:pt x="9112" y="117428"/>
                    </a:cubicBezTo>
                    <a:cubicBezTo>
                      <a:pt x="10912" y="105002"/>
                      <a:pt x="11633" y="90775"/>
                      <a:pt x="17215" y="77088"/>
                    </a:cubicBezTo>
                    <a:cubicBezTo>
                      <a:pt x="22438" y="64661"/>
                      <a:pt x="30182" y="53315"/>
                      <a:pt x="40267" y="43230"/>
                    </a:cubicBezTo>
                    <a:cubicBezTo>
                      <a:pt x="50352" y="33145"/>
                      <a:pt x="61338" y="24321"/>
                      <a:pt x="73584" y="19098"/>
                    </a:cubicBezTo>
                    <a:cubicBezTo>
                      <a:pt x="87091" y="13515"/>
                      <a:pt x="101319" y="9193"/>
                      <a:pt x="113745" y="7392"/>
                    </a:cubicBezTo>
                    <a:cubicBezTo>
                      <a:pt x="136977" y="3970"/>
                      <a:pt x="140759" y="-7376"/>
                      <a:pt x="155346" y="7392"/>
                    </a:cubicBezTo>
                    <a:lnTo>
                      <a:pt x="155346" y="7392"/>
                    </a:lnTo>
                    <a:close/>
                  </a:path>
                </a:pathLst>
              </a:custGeom>
              <a:solidFill>
                <a:srgbClr val="8DC1B0"/>
              </a:solidFill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7B680294-DD0A-5F83-1FE1-FFB54303F6F4}"/>
                </a:ext>
              </a:extLst>
            </p:cNvPr>
            <p:cNvGrpSpPr/>
            <p:nvPr/>
          </p:nvGrpSpPr>
          <p:grpSpPr>
            <a:xfrm>
              <a:off x="10782320" y="4267521"/>
              <a:ext cx="696221" cy="2047440"/>
              <a:chOff x="10973928" y="3874961"/>
              <a:chExt cx="601223" cy="1768073"/>
            </a:xfrm>
          </p:grpSpPr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F7DBFAF0-8F34-72FA-3DC1-4CE9A29ACEB2}"/>
                  </a:ext>
                </a:extLst>
              </p:cNvPr>
              <p:cNvGrpSpPr/>
              <p:nvPr/>
            </p:nvGrpSpPr>
            <p:grpSpPr>
              <a:xfrm>
                <a:off x="10973928" y="3874961"/>
                <a:ext cx="601223" cy="1295333"/>
                <a:chOff x="10973928" y="3887661"/>
                <a:chExt cx="601223" cy="1295333"/>
              </a:xfrm>
            </p:grpSpPr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42A528A8-190E-387B-EDD5-A7C91C655A3C}"/>
                    </a:ext>
                  </a:extLst>
                </p:cNvPr>
                <p:cNvSpPr/>
                <p:nvPr/>
              </p:nvSpPr>
              <p:spPr>
                <a:xfrm>
                  <a:off x="11259035" y="4477393"/>
                  <a:ext cx="4322" cy="705601"/>
                </a:xfrm>
                <a:custGeom>
                  <a:avLst/>
                  <a:gdLst>
                    <a:gd name="connsiteX0" fmla="*/ 1440 w 4322"/>
                    <a:gd name="connsiteY0" fmla="*/ 0 h 705601"/>
                    <a:gd name="connsiteX1" fmla="*/ 4322 w 4322"/>
                    <a:gd name="connsiteY1" fmla="*/ 88245 h 705601"/>
                    <a:gd name="connsiteX2" fmla="*/ 1800 w 4322"/>
                    <a:gd name="connsiteY2" fmla="*/ 176490 h 705601"/>
                    <a:gd name="connsiteX3" fmla="*/ 1800 w 4322"/>
                    <a:gd name="connsiteY3" fmla="*/ 264375 h 705601"/>
                    <a:gd name="connsiteX4" fmla="*/ 0 w 4322"/>
                    <a:gd name="connsiteY4" fmla="*/ 352621 h 705601"/>
                    <a:gd name="connsiteX5" fmla="*/ 3061 w 4322"/>
                    <a:gd name="connsiteY5" fmla="*/ 440866 h 705601"/>
                    <a:gd name="connsiteX6" fmla="*/ 4142 w 4322"/>
                    <a:gd name="connsiteY6" fmla="*/ 529111 h 705601"/>
                    <a:gd name="connsiteX7" fmla="*/ 4142 w 4322"/>
                    <a:gd name="connsiteY7" fmla="*/ 617356 h 705601"/>
                    <a:gd name="connsiteX8" fmla="*/ 3061 w 4322"/>
                    <a:gd name="connsiteY8" fmla="*/ 705601 h 705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322" h="705601">
                      <a:moveTo>
                        <a:pt x="1440" y="0"/>
                      </a:moveTo>
                      <a:cubicBezTo>
                        <a:pt x="1440" y="44123"/>
                        <a:pt x="4322" y="44123"/>
                        <a:pt x="4322" y="88245"/>
                      </a:cubicBezTo>
                      <a:cubicBezTo>
                        <a:pt x="4322" y="132368"/>
                        <a:pt x="1800" y="132368"/>
                        <a:pt x="1800" y="176490"/>
                      </a:cubicBezTo>
                      <a:cubicBezTo>
                        <a:pt x="1800" y="220613"/>
                        <a:pt x="1800" y="220613"/>
                        <a:pt x="1800" y="264375"/>
                      </a:cubicBezTo>
                      <a:cubicBezTo>
                        <a:pt x="1800" y="308138"/>
                        <a:pt x="0" y="308498"/>
                        <a:pt x="0" y="352621"/>
                      </a:cubicBezTo>
                      <a:cubicBezTo>
                        <a:pt x="0" y="396743"/>
                        <a:pt x="3061" y="396743"/>
                        <a:pt x="3061" y="440866"/>
                      </a:cubicBezTo>
                      <a:cubicBezTo>
                        <a:pt x="3061" y="484988"/>
                        <a:pt x="4142" y="484988"/>
                        <a:pt x="4142" y="529111"/>
                      </a:cubicBezTo>
                      <a:lnTo>
                        <a:pt x="4142" y="617356"/>
                      </a:lnTo>
                      <a:cubicBezTo>
                        <a:pt x="4142" y="661479"/>
                        <a:pt x="3061" y="661479"/>
                        <a:pt x="3061" y="705601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F69382DE-1AB8-269E-5E4A-53950B622B67}"/>
                    </a:ext>
                  </a:extLst>
                </p:cNvPr>
                <p:cNvSpPr/>
                <p:nvPr/>
              </p:nvSpPr>
              <p:spPr>
                <a:xfrm>
                  <a:off x="10973928" y="3887661"/>
                  <a:ext cx="601223" cy="597754"/>
                </a:xfrm>
                <a:custGeom>
                  <a:avLst/>
                  <a:gdLst>
                    <a:gd name="connsiteX0" fmla="*/ 153820 w 601223"/>
                    <a:gd name="connsiteY0" fmla="*/ 443678 h 597754"/>
                    <a:gd name="connsiteX1" fmla="*/ 112038 w 601223"/>
                    <a:gd name="connsiteY1" fmla="*/ 458085 h 597754"/>
                    <a:gd name="connsiteX2" fmla="*/ 68276 w 601223"/>
                    <a:gd name="connsiteY2" fmla="*/ 448000 h 597754"/>
                    <a:gd name="connsiteX3" fmla="*/ 32798 w 601223"/>
                    <a:gd name="connsiteY3" fmla="*/ 422787 h 597754"/>
                    <a:gd name="connsiteX4" fmla="*/ 3803 w 601223"/>
                    <a:gd name="connsiteY4" fmla="*/ 377764 h 597754"/>
                    <a:gd name="connsiteX5" fmla="*/ 3262 w 601223"/>
                    <a:gd name="connsiteY5" fmla="*/ 323376 h 597754"/>
                    <a:gd name="connsiteX6" fmla="*/ 30637 w 601223"/>
                    <a:gd name="connsiteY6" fmla="*/ 276192 h 597754"/>
                    <a:gd name="connsiteX7" fmla="*/ 65214 w 601223"/>
                    <a:gd name="connsiteY7" fmla="*/ 256382 h 597754"/>
                    <a:gd name="connsiteX8" fmla="*/ 103214 w 601223"/>
                    <a:gd name="connsiteY8" fmla="*/ 245576 h 597754"/>
                    <a:gd name="connsiteX9" fmla="*/ 83944 w 601223"/>
                    <a:gd name="connsiteY9" fmla="*/ 228288 h 597754"/>
                    <a:gd name="connsiteX10" fmla="*/ 53328 w 601223"/>
                    <a:gd name="connsiteY10" fmla="*/ 183265 h 597754"/>
                    <a:gd name="connsiteX11" fmla="*/ 57470 w 601223"/>
                    <a:gd name="connsiteY11" fmla="*/ 129057 h 597754"/>
                    <a:gd name="connsiteX12" fmla="*/ 81962 w 601223"/>
                    <a:gd name="connsiteY12" fmla="*/ 81152 h 597754"/>
                    <a:gd name="connsiteX13" fmla="*/ 129147 w 601223"/>
                    <a:gd name="connsiteY13" fmla="*/ 53418 h 597754"/>
                    <a:gd name="connsiteX14" fmla="*/ 184075 w 601223"/>
                    <a:gd name="connsiteY14" fmla="*/ 53418 h 597754"/>
                    <a:gd name="connsiteX15" fmla="*/ 231259 w 601223"/>
                    <a:gd name="connsiteY15" fmla="*/ 81152 h 597754"/>
                    <a:gd name="connsiteX16" fmla="*/ 243866 w 601223"/>
                    <a:gd name="connsiteY16" fmla="*/ 99882 h 597754"/>
                    <a:gd name="connsiteX17" fmla="*/ 253591 w 601223"/>
                    <a:gd name="connsiteY17" fmla="*/ 62243 h 597754"/>
                    <a:gd name="connsiteX18" fmla="*/ 275742 w 601223"/>
                    <a:gd name="connsiteY18" fmla="*/ 28385 h 597754"/>
                    <a:gd name="connsiteX19" fmla="*/ 324187 w 601223"/>
                    <a:gd name="connsiteY19" fmla="*/ 3172 h 597754"/>
                    <a:gd name="connsiteX20" fmla="*/ 377854 w 601223"/>
                    <a:gd name="connsiteY20" fmla="*/ 3893 h 597754"/>
                    <a:gd name="connsiteX21" fmla="*/ 427200 w 601223"/>
                    <a:gd name="connsiteY21" fmla="*/ 27665 h 597754"/>
                    <a:gd name="connsiteX22" fmla="*/ 452233 w 601223"/>
                    <a:gd name="connsiteY22" fmla="*/ 66565 h 597754"/>
                    <a:gd name="connsiteX23" fmla="*/ 453133 w 601223"/>
                    <a:gd name="connsiteY23" fmla="*/ 111948 h 597754"/>
                    <a:gd name="connsiteX24" fmla="*/ 441247 w 601223"/>
                    <a:gd name="connsiteY24" fmla="*/ 156431 h 597754"/>
                    <a:gd name="connsiteX25" fmla="*/ 485910 w 601223"/>
                    <a:gd name="connsiteY25" fmla="*/ 145265 h 597754"/>
                    <a:gd name="connsiteX26" fmla="*/ 530572 w 601223"/>
                    <a:gd name="connsiteY26" fmla="*/ 147426 h 597754"/>
                    <a:gd name="connsiteX27" fmla="*/ 571454 w 601223"/>
                    <a:gd name="connsiteY27" fmla="*/ 169217 h 597754"/>
                    <a:gd name="connsiteX28" fmla="*/ 592344 w 601223"/>
                    <a:gd name="connsiteY28" fmla="*/ 219823 h 597754"/>
                    <a:gd name="connsiteX29" fmla="*/ 599728 w 601223"/>
                    <a:gd name="connsiteY29" fmla="*/ 274031 h 597754"/>
                    <a:gd name="connsiteX30" fmla="*/ 566411 w 601223"/>
                    <a:gd name="connsiteY30" fmla="*/ 317613 h 597754"/>
                    <a:gd name="connsiteX31" fmla="*/ 535255 w 601223"/>
                    <a:gd name="connsiteY31" fmla="*/ 341565 h 597754"/>
                    <a:gd name="connsiteX32" fmla="*/ 494914 w 601223"/>
                    <a:gd name="connsiteY32" fmla="*/ 348589 h 597754"/>
                    <a:gd name="connsiteX33" fmla="*/ 515445 w 601223"/>
                    <a:gd name="connsiteY33" fmla="*/ 367139 h 597754"/>
                    <a:gd name="connsiteX34" fmla="*/ 541558 w 601223"/>
                    <a:gd name="connsiteY34" fmla="*/ 413602 h 597754"/>
                    <a:gd name="connsiteX35" fmla="*/ 540117 w 601223"/>
                    <a:gd name="connsiteY35" fmla="*/ 466370 h 597754"/>
                    <a:gd name="connsiteX36" fmla="*/ 517786 w 601223"/>
                    <a:gd name="connsiteY36" fmla="*/ 515715 h 597754"/>
                    <a:gd name="connsiteX37" fmla="*/ 468981 w 601223"/>
                    <a:gd name="connsiteY37" fmla="*/ 540027 h 597754"/>
                    <a:gd name="connsiteX38" fmla="*/ 414773 w 601223"/>
                    <a:gd name="connsiteY38" fmla="*/ 542368 h 597754"/>
                    <a:gd name="connsiteX39" fmla="*/ 368670 w 601223"/>
                    <a:gd name="connsiteY39" fmla="*/ 513374 h 597754"/>
                    <a:gd name="connsiteX40" fmla="*/ 352101 w 601223"/>
                    <a:gd name="connsiteY40" fmla="*/ 493383 h 597754"/>
                    <a:gd name="connsiteX41" fmla="*/ 346158 w 601223"/>
                    <a:gd name="connsiteY41" fmla="*/ 533364 h 597754"/>
                    <a:gd name="connsiteX42" fmla="*/ 322206 w 601223"/>
                    <a:gd name="connsiteY42" fmla="*/ 566320 h 597754"/>
                    <a:gd name="connsiteX43" fmla="*/ 275021 w 601223"/>
                    <a:gd name="connsiteY43" fmla="*/ 595315 h 597754"/>
                    <a:gd name="connsiteX44" fmla="*/ 219913 w 601223"/>
                    <a:gd name="connsiteY44" fmla="*/ 592614 h 597754"/>
                    <a:gd name="connsiteX45" fmla="*/ 172729 w 601223"/>
                    <a:gd name="connsiteY45" fmla="*/ 565780 h 597754"/>
                    <a:gd name="connsiteX46" fmla="*/ 152199 w 601223"/>
                    <a:gd name="connsiteY46" fmla="*/ 527421 h 597754"/>
                    <a:gd name="connsiteX47" fmla="*/ 140673 w 601223"/>
                    <a:gd name="connsiteY47" fmla="*/ 484919 h 597754"/>
                    <a:gd name="connsiteX48" fmla="*/ 153639 w 601223"/>
                    <a:gd name="connsiteY48" fmla="*/ 443137 h 597754"/>
                    <a:gd name="connsiteX49" fmla="*/ 153639 w 601223"/>
                    <a:gd name="connsiteY49" fmla="*/ 443137 h 597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</a:cxnLst>
                  <a:rect l="l" t="t" r="r" b="b"/>
                  <a:pathLst>
                    <a:path w="601223" h="597754">
                      <a:moveTo>
                        <a:pt x="153820" y="443678"/>
                      </a:moveTo>
                      <a:cubicBezTo>
                        <a:pt x="140492" y="450701"/>
                        <a:pt x="126626" y="457185"/>
                        <a:pt x="112038" y="458085"/>
                      </a:cubicBezTo>
                      <a:cubicBezTo>
                        <a:pt x="97451" y="458986"/>
                        <a:pt x="82503" y="453403"/>
                        <a:pt x="68276" y="448000"/>
                      </a:cubicBezTo>
                      <a:cubicBezTo>
                        <a:pt x="54048" y="442597"/>
                        <a:pt x="43783" y="433773"/>
                        <a:pt x="32798" y="422787"/>
                      </a:cubicBezTo>
                      <a:cubicBezTo>
                        <a:pt x="19291" y="409280"/>
                        <a:pt x="8485" y="395053"/>
                        <a:pt x="3803" y="377764"/>
                      </a:cubicBezTo>
                      <a:cubicBezTo>
                        <a:pt x="-700" y="360475"/>
                        <a:pt x="-1600" y="341205"/>
                        <a:pt x="3262" y="323376"/>
                      </a:cubicBezTo>
                      <a:cubicBezTo>
                        <a:pt x="7945" y="305547"/>
                        <a:pt x="17130" y="289699"/>
                        <a:pt x="30637" y="276192"/>
                      </a:cubicBezTo>
                      <a:cubicBezTo>
                        <a:pt x="40541" y="266287"/>
                        <a:pt x="53148" y="261425"/>
                        <a:pt x="65214" y="256382"/>
                      </a:cubicBezTo>
                      <a:cubicBezTo>
                        <a:pt x="77280" y="251339"/>
                        <a:pt x="89887" y="245757"/>
                        <a:pt x="103214" y="245576"/>
                      </a:cubicBezTo>
                      <a:cubicBezTo>
                        <a:pt x="95650" y="241254"/>
                        <a:pt x="90427" y="234771"/>
                        <a:pt x="83944" y="228288"/>
                      </a:cubicBezTo>
                      <a:cubicBezTo>
                        <a:pt x="70437" y="214781"/>
                        <a:pt x="58010" y="200553"/>
                        <a:pt x="53328" y="183265"/>
                      </a:cubicBezTo>
                      <a:cubicBezTo>
                        <a:pt x="48646" y="165976"/>
                        <a:pt x="52788" y="146886"/>
                        <a:pt x="57470" y="129057"/>
                      </a:cubicBezTo>
                      <a:cubicBezTo>
                        <a:pt x="62153" y="111228"/>
                        <a:pt x="68456" y="94659"/>
                        <a:pt x="81962" y="81152"/>
                      </a:cubicBezTo>
                      <a:cubicBezTo>
                        <a:pt x="95469" y="67645"/>
                        <a:pt x="111858" y="58100"/>
                        <a:pt x="129147" y="53418"/>
                      </a:cubicBezTo>
                      <a:cubicBezTo>
                        <a:pt x="146436" y="48736"/>
                        <a:pt x="166246" y="48555"/>
                        <a:pt x="184075" y="53418"/>
                      </a:cubicBezTo>
                      <a:cubicBezTo>
                        <a:pt x="201904" y="58281"/>
                        <a:pt x="217752" y="67645"/>
                        <a:pt x="231259" y="81152"/>
                      </a:cubicBezTo>
                      <a:cubicBezTo>
                        <a:pt x="237382" y="87275"/>
                        <a:pt x="239543" y="92858"/>
                        <a:pt x="243866" y="99882"/>
                      </a:cubicBezTo>
                      <a:cubicBezTo>
                        <a:pt x="243866" y="86555"/>
                        <a:pt x="248368" y="74669"/>
                        <a:pt x="253591" y="62243"/>
                      </a:cubicBezTo>
                      <a:cubicBezTo>
                        <a:pt x="258813" y="49816"/>
                        <a:pt x="266017" y="38110"/>
                        <a:pt x="275742" y="28385"/>
                      </a:cubicBezTo>
                      <a:cubicBezTo>
                        <a:pt x="289249" y="14878"/>
                        <a:pt x="307078" y="8035"/>
                        <a:pt x="324187" y="3172"/>
                      </a:cubicBezTo>
                      <a:cubicBezTo>
                        <a:pt x="341296" y="-1510"/>
                        <a:pt x="360025" y="-790"/>
                        <a:pt x="377854" y="3893"/>
                      </a:cubicBezTo>
                      <a:cubicBezTo>
                        <a:pt x="395683" y="8575"/>
                        <a:pt x="413693" y="14158"/>
                        <a:pt x="427200" y="27665"/>
                      </a:cubicBezTo>
                      <a:cubicBezTo>
                        <a:pt x="438365" y="38831"/>
                        <a:pt x="447190" y="52878"/>
                        <a:pt x="452233" y="66565"/>
                      </a:cubicBezTo>
                      <a:cubicBezTo>
                        <a:pt x="457275" y="80252"/>
                        <a:pt x="454394" y="96820"/>
                        <a:pt x="453133" y="111948"/>
                      </a:cubicBezTo>
                      <a:cubicBezTo>
                        <a:pt x="451872" y="127076"/>
                        <a:pt x="448811" y="142924"/>
                        <a:pt x="441247" y="156431"/>
                      </a:cubicBezTo>
                      <a:cubicBezTo>
                        <a:pt x="454754" y="148687"/>
                        <a:pt x="470782" y="146706"/>
                        <a:pt x="485910" y="145265"/>
                      </a:cubicBezTo>
                      <a:cubicBezTo>
                        <a:pt x="501037" y="143824"/>
                        <a:pt x="516165" y="142204"/>
                        <a:pt x="530572" y="147426"/>
                      </a:cubicBezTo>
                      <a:cubicBezTo>
                        <a:pt x="544980" y="152829"/>
                        <a:pt x="560108" y="158052"/>
                        <a:pt x="571454" y="169217"/>
                      </a:cubicBezTo>
                      <a:cubicBezTo>
                        <a:pt x="584960" y="182724"/>
                        <a:pt x="587662" y="202534"/>
                        <a:pt x="592344" y="219823"/>
                      </a:cubicBezTo>
                      <a:cubicBezTo>
                        <a:pt x="597026" y="237112"/>
                        <a:pt x="604410" y="256202"/>
                        <a:pt x="599728" y="274031"/>
                      </a:cubicBezTo>
                      <a:cubicBezTo>
                        <a:pt x="595046" y="291860"/>
                        <a:pt x="579918" y="304106"/>
                        <a:pt x="566411" y="317613"/>
                      </a:cubicBezTo>
                      <a:cubicBezTo>
                        <a:pt x="556686" y="327338"/>
                        <a:pt x="547321" y="336523"/>
                        <a:pt x="535255" y="341565"/>
                      </a:cubicBezTo>
                      <a:cubicBezTo>
                        <a:pt x="523188" y="346608"/>
                        <a:pt x="508421" y="348409"/>
                        <a:pt x="494914" y="348589"/>
                      </a:cubicBezTo>
                      <a:cubicBezTo>
                        <a:pt x="501938" y="352911"/>
                        <a:pt x="509141" y="361015"/>
                        <a:pt x="515445" y="367139"/>
                      </a:cubicBezTo>
                      <a:cubicBezTo>
                        <a:pt x="528952" y="380645"/>
                        <a:pt x="536876" y="396494"/>
                        <a:pt x="541558" y="413602"/>
                      </a:cubicBezTo>
                      <a:cubicBezTo>
                        <a:pt x="546241" y="430711"/>
                        <a:pt x="544800" y="448720"/>
                        <a:pt x="540117" y="466370"/>
                      </a:cubicBezTo>
                      <a:cubicBezTo>
                        <a:pt x="535435" y="484198"/>
                        <a:pt x="531293" y="502208"/>
                        <a:pt x="517786" y="515715"/>
                      </a:cubicBezTo>
                      <a:cubicBezTo>
                        <a:pt x="504279" y="529222"/>
                        <a:pt x="486089" y="535525"/>
                        <a:pt x="468981" y="540027"/>
                      </a:cubicBezTo>
                      <a:cubicBezTo>
                        <a:pt x="451872" y="544529"/>
                        <a:pt x="432422" y="547051"/>
                        <a:pt x="414773" y="542368"/>
                      </a:cubicBezTo>
                      <a:cubicBezTo>
                        <a:pt x="396944" y="537686"/>
                        <a:pt x="382176" y="527061"/>
                        <a:pt x="368670" y="513374"/>
                      </a:cubicBezTo>
                      <a:cubicBezTo>
                        <a:pt x="362186" y="506890"/>
                        <a:pt x="356603" y="500767"/>
                        <a:pt x="352101" y="493383"/>
                      </a:cubicBezTo>
                      <a:cubicBezTo>
                        <a:pt x="351741" y="506710"/>
                        <a:pt x="351381" y="520937"/>
                        <a:pt x="346158" y="533364"/>
                      </a:cubicBezTo>
                      <a:cubicBezTo>
                        <a:pt x="340935" y="545790"/>
                        <a:pt x="332111" y="556596"/>
                        <a:pt x="322206" y="566320"/>
                      </a:cubicBezTo>
                      <a:cubicBezTo>
                        <a:pt x="308699" y="579827"/>
                        <a:pt x="292130" y="590633"/>
                        <a:pt x="275021" y="595315"/>
                      </a:cubicBezTo>
                      <a:cubicBezTo>
                        <a:pt x="257913" y="599998"/>
                        <a:pt x="237743" y="597296"/>
                        <a:pt x="219913" y="592614"/>
                      </a:cubicBezTo>
                      <a:cubicBezTo>
                        <a:pt x="202084" y="587932"/>
                        <a:pt x="186236" y="579287"/>
                        <a:pt x="172729" y="565780"/>
                      </a:cubicBezTo>
                      <a:cubicBezTo>
                        <a:pt x="161923" y="554975"/>
                        <a:pt x="157241" y="540928"/>
                        <a:pt x="152199" y="527421"/>
                      </a:cubicBezTo>
                      <a:cubicBezTo>
                        <a:pt x="146976" y="513914"/>
                        <a:pt x="139772" y="499686"/>
                        <a:pt x="140673" y="484919"/>
                      </a:cubicBezTo>
                      <a:cubicBezTo>
                        <a:pt x="141574" y="470151"/>
                        <a:pt x="146796" y="456464"/>
                        <a:pt x="153639" y="443137"/>
                      </a:cubicBezTo>
                      <a:lnTo>
                        <a:pt x="153639" y="443137"/>
                      </a:lnTo>
                      <a:close/>
                    </a:path>
                  </a:pathLst>
                </a:custGeom>
                <a:solidFill>
                  <a:srgbClr val="FBCCD0"/>
                </a:solidFill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860C48E1-76F5-204A-F2F3-FCAA4061C7EC}"/>
                    </a:ext>
                  </a:extLst>
                </p:cNvPr>
                <p:cNvSpPr/>
                <p:nvPr/>
              </p:nvSpPr>
              <p:spPr>
                <a:xfrm>
                  <a:off x="11146826" y="4084632"/>
                  <a:ext cx="218989" cy="217246"/>
                </a:xfrm>
                <a:custGeom>
                  <a:avLst/>
                  <a:gdLst>
                    <a:gd name="connsiteX0" fmla="*/ 33869 w 218989"/>
                    <a:gd name="connsiteY0" fmla="*/ 184935 h 217246"/>
                    <a:gd name="connsiteX1" fmla="*/ 4694 w 218989"/>
                    <a:gd name="connsiteY1" fmla="*/ 138111 h 217246"/>
                    <a:gd name="connsiteX2" fmla="*/ 2893 w 218989"/>
                    <a:gd name="connsiteY2" fmla="*/ 82102 h 217246"/>
                    <a:gd name="connsiteX3" fmla="*/ 33329 w 218989"/>
                    <a:gd name="connsiteY3" fmla="*/ 35458 h 217246"/>
                    <a:gd name="connsiteX4" fmla="*/ 79612 w 218989"/>
                    <a:gd name="connsiteY4" fmla="*/ 3402 h 217246"/>
                    <a:gd name="connsiteX5" fmla="*/ 136882 w 218989"/>
                    <a:gd name="connsiteY5" fmla="*/ 3762 h 217246"/>
                    <a:gd name="connsiteX6" fmla="*/ 185327 w 218989"/>
                    <a:gd name="connsiteY6" fmla="*/ 33477 h 217246"/>
                    <a:gd name="connsiteX7" fmla="*/ 215221 w 218989"/>
                    <a:gd name="connsiteY7" fmla="*/ 81742 h 217246"/>
                    <a:gd name="connsiteX8" fmla="*/ 215582 w 218989"/>
                    <a:gd name="connsiteY8" fmla="*/ 139011 h 217246"/>
                    <a:gd name="connsiteX9" fmla="*/ 185687 w 218989"/>
                    <a:gd name="connsiteY9" fmla="*/ 187636 h 217246"/>
                    <a:gd name="connsiteX10" fmla="*/ 136161 w 218989"/>
                    <a:gd name="connsiteY10" fmla="*/ 213930 h 217246"/>
                    <a:gd name="connsiteX11" fmla="*/ 80873 w 218989"/>
                    <a:gd name="connsiteY11" fmla="*/ 213390 h 217246"/>
                    <a:gd name="connsiteX12" fmla="*/ 33869 w 218989"/>
                    <a:gd name="connsiteY12" fmla="*/ 184935 h 217246"/>
                    <a:gd name="connsiteX13" fmla="*/ 33869 w 218989"/>
                    <a:gd name="connsiteY13" fmla="*/ 184935 h 217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8989" h="217246">
                      <a:moveTo>
                        <a:pt x="33869" y="184935"/>
                      </a:moveTo>
                      <a:cubicBezTo>
                        <a:pt x="20002" y="171068"/>
                        <a:pt x="9556" y="155940"/>
                        <a:pt x="4694" y="138111"/>
                      </a:cubicBezTo>
                      <a:cubicBezTo>
                        <a:pt x="12" y="120282"/>
                        <a:pt x="-2149" y="100472"/>
                        <a:pt x="2893" y="82102"/>
                      </a:cubicBezTo>
                      <a:cubicBezTo>
                        <a:pt x="7755" y="63913"/>
                        <a:pt x="19642" y="49506"/>
                        <a:pt x="33329" y="35458"/>
                      </a:cubicBezTo>
                      <a:cubicBezTo>
                        <a:pt x="47015" y="21411"/>
                        <a:pt x="61783" y="8084"/>
                        <a:pt x="79612" y="3402"/>
                      </a:cubicBezTo>
                      <a:cubicBezTo>
                        <a:pt x="97442" y="-1280"/>
                        <a:pt x="118692" y="-1100"/>
                        <a:pt x="136882" y="3762"/>
                      </a:cubicBezTo>
                      <a:cubicBezTo>
                        <a:pt x="155071" y="8625"/>
                        <a:pt x="171279" y="19610"/>
                        <a:pt x="185327" y="33477"/>
                      </a:cubicBezTo>
                      <a:cubicBezTo>
                        <a:pt x="199374" y="47345"/>
                        <a:pt x="210539" y="64093"/>
                        <a:pt x="215221" y="81742"/>
                      </a:cubicBezTo>
                      <a:cubicBezTo>
                        <a:pt x="219904" y="99391"/>
                        <a:pt x="220444" y="120642"/>
                        <a:pt x="215582" y="139011"/>
                      </a:cubicBezTo>
                      <a:cubicBezTo>
                        <a:pt x="210719" y="157381"/>
                        <a:pt x="199734" y="173769"/>
                        <a:pt x="185687" y="187636"/>
                      </a:cubicBezTo>
                      <a:cubicBezTo>
                        <a:pt x="171639" y="201503"/>
                        <a:pt x="153811" y="209247"/>
                        <a:pt x="136161" y="213930"/>
                      </a:cubicBezTo>
                      <a:cubicBezTo>
                        <a:pt x="118512" y="218612"/>
                        <a:pt x="99062" y="218252"/>
                        <a:pt x="80873" y="213390"/>
                      </a:cubicBezTo>
                      <a:cubicBezTo>
                        <a:pt x="62684" y="208527"/>
                        <a:pt x="47916" y="198802"/>
                        <a:pt x="33869" y="184935"/>
                      </a:cubicBezTo>
                      <a:lnTo>
                        <a:pt x="33869" y="1849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3781F3DC-D643-E412-A9C1-3A7E997ADA77}"/>
                    </a:ext>
                  </a:extLst>
                </p:cNvPr>
                <p:cNvSpPr/>
                <p:nvPr/>
              </p:nvSpPr>
              <p:spPr>
                <a:xfrm>
                  <a:off x="11031384" y="4586743"/>
                  <a:ext cx="236093" cy="234684"/>
                </a:xfrm>
                <a:custGeom>
                  <a:avLst/>
                  <a:gdLst>
                    <a:gd name="connsiteX0" fmla="*/ 228011 w 236093"/>
                    <a:gd name="connsiteY0" fmla="*/ 227962 h 234684"/>
                    <a:gd name="connsiteX1" fmla="*/ 229092 w 236093"/>
                    <a:gd name="connsiteY1" fmla="*/ 182579 h 234684"/>
                    <a:gd name="connsiteX2" fmla="*/ 223869 w 236093"/>
                    <a:gd name="connsiteY2" fmla="*/ 136656 h 234684"/>
                    <a:gd name="connsiteX3" fmla="*/ 206940 w 236093"/>
                    <a:gd name="connsiteY3" fmla="*/ 93434 h 234684"/>
                    <a:gd name="connsiteX4" fmla="*/ 175605 w 236093"/>
                    <a:gd name="connsiteY4" fmla="*/ 59756 h 234684"/>
                    <a:gd name="connsiteX5" fmla="*/ 140667 w 236093"/>
                    <a:gd name="connsiteY5" fmla="*/ 30942 h 234684"/>
                    <a:gd name="connsiteX6" fmla="*/ 98345 w 236093"/>
                    <a:gd name="connsiteY6" fmla="*/ 12933 h 234684"/>
                    <a:gd name="connsiteX7" fmla="*/ 52782 w 236093"/>
                    <a:gd name="connsiteY7" fmla="*/ 7170 h 234684"/>
                    <a:gd name="connsiteX8" fmla="*/ 8119 w 236093"/>
                    <a:gd name="connsiteY8" fmla="*/ 7890 h 234684"/>
                    <a:gd name="connsiteX9" fmla="*/ 6678 w 236093"/>
                    <a:gd name="connsiteY9" fmla="*/ 52733 h 234684"/>
                    <a:gd name="connsiteX10" fmla="*/ 18204 w 236093"/>
                    <a:gd name="connsiteY10" fmla="*/ 96855 h 234684"/>
                    <a:gd name="connsiteX11" fmla="*/ 31171 w 236093"/>
                    <a:gd name="connsiteY11" fmla="*/ 140618 h 234684"/>
                    <a:gd name="connsiteX12" fmla="*/ 55663 w 236093"/>
                    <a:gd name="connsiteY12" fmla="*/ 179878 h 234684"/>
                    <a:gd name="connsiteX13" fmla="*/ 93843 w 236093"/>
                    <a:gd name="connsiteY13" fmla="*/ 206351 h 234684"/>
                    <a:gd name="connsiteX14" fmla="*/ 137245 w 236093"/>
                    <a:gd name="connsiteY14" fmla="*/ 222200 h 234684"/>
                    <a:gd name="connsiteX15" fmla="*/ 183169 w 236093"/>
                    <a:gd name="connsiteY15" fmla="*/ 224541 h 234684"/>
                    <a:gd name="connsiteX16" fmla="*/ 228192 w 236093"/>
                    <a:gd name="connsiteY16" fmla="*/ 227782 h 234684"/>
                    <a:gd name="connsiteX17" fmla="*/ 228192 w 236093"/>
                    <a:gd name="connsiteY17" fmla="*/ 227782 h 2346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36093" h="234684">
                      <a:moveTo>
                        <a:pt x="228011" y="227962"/>
                      </a:moveTo>
                      <a:cubicBezTo>
                        <a:pt x="244220" y="211754"/>
                        <a:pt x="231433" y="209233"/>
                        <a:pt x="229092" y="182579"/>
                      </a:cubicBezTo>
                      <a:cubicBezTo>
                        <a:pt x="227831" y="169073"/>
                        <a:pt x="228011" y="152684"/>
                        <a:pt x="223869" y="136656"/>
                      </a:cubicBezTo>
                      <a:cubicBezTo>
                        <a:pt x="220087" y="122429"/>
                        <a:pt x="214145" y="107481"/>
                        <a:pt x="206940" y="93434"/>
                      </a:cubicBezTo>
                      <a:cubicBezTo>
                        <a:pt x="199737" y="79386"/>
                        <a:pt x="186590" y="70742"/>
                        <a:pt x="175605" y="59756"/>
                      </a:cubicBezTo>
                      <a:cubicBezTo>
                        <a:pt x="164619" y="48771"/>
                        <a:pt x="153814" y="37785"/>
                        <a:pt x="140667" y="30942"/>
                      </a:cubicBezTo>
                      <a:cubicBezTo>
                        <a:pt x="127520" y="24098"/>
                        <a:pt x="112753" y="16534"/>
                        <a:pt x="98345" y="12933"/>
                      </a:cubicBezTo>
                      <a:cubicBezTo>
                        <a:pt x="82317" y="8790"/>
                        <a:pt x="66288" y="8430"/>
                        <a:pt x="52782" y="7170"/>
                      </a:cubicBezTo>
                      <a:cubicBezTo>
                        <a:pt x="26128" y="4828"/>
                        <a:pt x="24147" y="-8138"/>
                        <a:pt x="8119" y="7890"/>
                      </a:cubicBezTo>
                      <a:cubicBezTo>
                        <a:pt x="-7909" y="24098"/>
                        <a:pt x="4337" y="26079"/>
                        <a:pt x="6678" y="52733"/>
                      </a:cubicBezTo>
                      <a:cubicBezTo>
                        <a:pt x="7939" y="66240"/>
                        <a:pt x="13882" y="81007"/>
                        <a:pt x="18204" y="96855"/>
                      </a:cubicBezTo>
                      <a:cubicBezTo>
                        <a:pt x="21986" y="111083"/>
                        <a:pt x="23787" y="126571"/>
                        <a:pt x="31171" y="140618"/>
                      </a:cubicBezTo>
                      <a:cubicBezTo>
                        <a:pt x="38555" y="154665"/>
                        <a:pt x="44678" y="168892"/>
                        <a:pt x="55663" y="179878"/>
                      </a:cubicBezTo>
                      <a:cubicBezTo>
                        <a:pt x="66649" y="190864"/>
                        <a:pt x="80696" y="199508"/>
                        <a:pt x="93843" y="206351"/>
                      </a:cubicBezTo>
                      <a:cubicBezTo>
                        <a:pt x="106989" y="213195"/>
                        <a:pt x="123017" y="218418"/>
                        <a:pt x="137245" y="222200"/>
                      </a:cubicBezTo>
                      <a:cubicBezTo>
                        <a:pt x="153273" y="226342"/>
                        <a:pt x="169662" y="223280"/>
                        <a:pt x="183169" y="224541"/>
                      </a:cubicBezTo>
                      <a:cubicBezTo>
                        <a:pt x="209822" y="226882"/>
                        <a:pt x="211983" y="243991"/>
                        <a:pt x="228192" y="227782"/>
                      </a:cubicBezTo>
                      <a:lnTo>
                        <a:pt x="228192" y="227782"/>
                      </a:lnTo>
                      <a:close/>
                    </a:path>
                  </a:pathLst>
                </a:custGeom>
                <a:solidFill>
                  <a:srgbClr val="8DC1B0"/>
                </a:solidFill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73388FE7-685C-B283-ABA8-9BF318D2D0E2}"/>
                    </a:ext>
                  </a:extLst>
                </p:cNvPr>
                <p:cNvSpPr/>
                <p:nvPr/>
              </p:nvSpPr>
              <p:spPr>
                <a:xfrm>
                  <a:off x="11279926" y="4157189"/>
                  <a:ext cx="4142" cy="44662"/>
                </a:xfrm>
                <a:custGeom>
                  <a:avLst/>
                  <a:gdLst>
                    <a:gd name="connsiteX0" fmla="*/ 0 w 4142"/>
                    <a:gd name="connsiteY0" fmla="*/ 0 h 44662"/>
                    <a:gd name="connsiteX1" fmla="*/ 4142 w 4142"/>
                    <a:gd name="connsiteY1" fmla="*/ 44663 h 4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42" h="44662">
                      <a:moveTo>
                        <a:pt x="0" y="0"/>
                      </a:moveTo>
                      <a:cubicBezTo>
                        <a:pt x="0" y="22332"/>
                        <a:pt x="4142" y="22332"/>
                        <a:pt x="4142" y="44663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04866305-00D8-7B7D-3FAE-7A9399777D81}"/>
                    </a:ext>
                  </a:extLst>
                </p:cNvPr>
                <p:cNvSpPr/>
                <p:nvPr/>
              </p:nvSpPr>
              <p:spPr>
                <a:xfrm>
                  <a:off x="11227339" y="4157189"/>
                  <a:ext cx="4502" cy="44662"/>
                </a:xfrm>
                <a:custGeom>
                  <a:avLst/>
                  <a:gdLst>
                    <a:gd name="connsiteX0" fmla="*/ 4502 w 4502"/>
                    <a:gd name="connsiteY0" fmla="*/ 0 h 44662"/>
                    <a:gd name="connsiteX1" fmla="*/ 0 w 4502"/>
                    <a:gd name="connsiteY1" fmla="*/ 44663 h 4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502" h="44662">
                      <a:moveTo>
                        <a:pt x="4502" y="0"/>
                      </a:moveTo>
                      <a:cubicBezTo>
                        <a:pt x="4502" y="22332"/>
                        <a:pt x="0" y="22332"/>
                        <a:pt x="0" y="44663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E919F36E-526E-D140-1721-B0EAD19A2DCF}"/>
                    </a:ext>
                  </a:extLst>
                </p:cNvPr>
                <p:cNvSpPr/>
                <p:nvPr/>
              </p:nvSpPr>
              <p:spPr>
                <a:xfrm>
                  <a:off x="11186638" y="4196450"/>
                  <a:ext cx="138850" cy="68795"/>
                </a:xfrm>
                <a:custGeom>
                  <a:avLst/>
                  <a:gdLst>
                    <a:gd name="connsiteX0" fmla="*/ 138851 w 138850"/>
                    <a:gd name="connsiteY0" fmla="*/ 0 h 68795"/>
                    <a:gd name="connsiteX1" fmla="*/ 113638 w 138850"/>
                    <a:gd name="connsiteY1" fmla="*/ 44843 h 68795"/>
                    <a:gd name="connsiteX2" fmla="*/ 68795 w 138850"/>
                    <a:gd name="connsiteY2" fmla="*/ 68795 h 68795"/>
                    <a:gd name="connsiteX3" fmla="*/ 23232 w 138850"/>
                    <a:gd name="connsiteY3" fmla="*/ 45743 h 68795"/>
                    <a:gd name="connsiteX4" fmla="*/ 0 w 138850"/>
                    <a:gd name="connsiteY4" fmla="*/ 180 h 687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8850" h="68795">
                      <a:moveTo>
                        <a:pt x="138851" y="0"/>
                      </a:moveTo>
                      <a:cubicBezTo>
                        <a:pt x="138851" y="18369"/>
                        <a:pt x="125705" y="32777"/>
                        <a:pt x="113638" y="44843"/>
                      </a:cubicBezTo>
                      <a:cubicBezTo>
                        <a:pt x="101752" y="56729"/>
                        <a:pt x="87165" y="68795"/>
                        <a:pt x="68795" y="68795"/>
                      </a:cubicBezTo>
                      <a:cubicBezTo>
                        <a:pt x="50426" y="68795"/>
                        <a:pt x="35118" y="57809"/>
                        <a:pt x="23232" y="45743"/>
                      </a:cubicBezTo>
                      <a:cubicBezTo>
                        <a:pt x="11346" y="33677"/>
                        <a:pt x="0" y="18369"/>
                        <a:pt x="0" y="180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</p:grp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449FDBF9-09DC-146A-8292-F700DFDB0C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259035" y="5184360"/>
                <a:ext cx="4322" cy="458674"/>
              </a:xfrm>
              <a:custGeom>
                <a:avLst/>
                <a:gdLst>
                  <a:gd name="connsiteX0" fmla="*/ 1440 w 4322"/>
                  <a:gd name="connsiteY0" fmla="*/ 0 h 705601"/>
                  <a:gd name="connsiteX1" fmla="*/ 4322 w 4322"/>
                  <a:gd name="connsiteY1" fmla="*/ 88245 h 705601"/>
                  <a:gd name="connsiteX2" fmla="*/ 1800 w 4322"/>
                  <a:gd name="connsiteY2" fmla="*/ 176490 h 705601"/>
                  <a:gd name="connsiteX3" fmla="*/ 1800 w 4322"/>
                  <a:gd name="connsiteY3" fmla="*/ 264375 h 705601"/>
                  <a:gd name="connsiteX4" fmla="*/ 0 w 4322"/>
                  <a:gd name="connsiteY4" fmla="*/ 352621 h 705601"/>
                  <a:gd name="connsiteX5" fmla="*/ 3061 w 4322"/>
                  <a:gd name="connsiteY5" fmla="*/ 440866 h 705601"/>
                  <a:gd name="connsiteX6" fmla="*/ 4142 w 4322"/>
                  <a:gd name="connsiteY6" fmla="*/ 529111 h 705601"/>
                  <a:gd name="connsiteX7" fmla="*/ 4142 w 4322"/>
                  <a:gd name="connsiteY7" fmla="*/ 617356 h 705601"/>
                  <a:gd name="connsiteX8" fmla="*/ 3061 w 4322"/>
                  <a:gd name="connsiteY8" fmla="*/ 705601 h 705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22" h="705601">
                    <a:moveTo>
                      <a:pt x="1440" y="0"/>
                    </a:moveTo>
                    <a:cubicBezTo>
                      <a:pt x="1440" y="44123"/>
                      <a:pt x="4322" y="44123"/>
                      <a:pt x="4322" y="88245"/>
                    </a:cubicBezTo>
                    <a:cubicBezTo>
                      <a:pt x="4322" y="132368"/>
                      <a:pt x="1800" y="132368"/>
                      <a:pt x="1800" y="176490"/>
                    </a:cubicBezTo>
                    <a:cubicBezTo>
                      <a:pt x="1800" y="220613"/>
                      <a:pt x="1800" y="220613"/>
                      <a:pt x="1800" y="264375"/>
                    </a:cubicBezTo>
                    <a:cubicBezTo>
                      <a:pt x="1800" y="308138"/>
                      <a:pt x="0" y="308498"/>
                      <a:pt x="0" y="352621"/>
                    </a:cubicBezTo>
                    <a:cubicBezTo>
                      <a:pt x="0" y="396743"/>
                      <a:pt x="3061" y="396743"/>
                      <a:pt x="3061" y="440866"/>
                    </a:cubicBezTo>
                    <a:cubicBezTo>
                      <a:pt x="3061" y="484988"/>
                      <a:pt x="4142" y="484988"/>
                      <a:pt x="4142" y="529111"/>
                    </a:cubicBezTo>
                    <a:lnTo>
                      <a:pt x="4142" y="617356"/>
                    </a:lnTo>
                    <a:cubicBezTo>
                      <a:pt x="4142" y="661479"/>
                      <a:pt x="3061" y="661479"/>
                      <a:pt x="3061" y="705601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54AF29A5-1A30-013E-67AE-39175064E0DB}"/>
                </a:ext>
              </a:extLst>
            </p:cNvPr>
            <p:cNvSpPr/>
            <p:nvPr/>
          </p:nvSpPr>
          <p:spPr>
            <a:xfrm>
              <a:off x="10733060" y="6191821"/>
              <a:ext cx="1453536" cy="255983"/>
            </a:xfrm>
            <a:custGeom>
              <a:avLst/>
              <a:gdLst>
                <a:gd name="connsiteX0" fmla="*/ 188897 w 1236441"/>
                <a:gd name="connsiteY0" fmla="*/ 951 h 382071"/>
                <a:gd name="connsiteX1" fmla="*/ 251243 w 1236441"/>
                <a:gd name="connsiteY1" fmla="*/ 50285 h 382071"/>
                <a:gd name="connsiteX2" fmla="*/ 338144 w 1236441"/>
                <a:gd name="connsiteY2" fmla="*/ 94948 h 382071"/>
                <a:gd name="connsiteX3" fmla="*/ 426372 w 1236441"/>
                <a:gd name="connsiteY3" fmla="*/ 137269 h 382071"/>
                <a:gd name="connsiteX4" fmla="*/ 509293 w 1236441"/>
                <a:gd name="connsiteY4" fmla="*/ 186795 h 382071"/>
                <a:gd name="connsiteX5" fmla="*/ 602606 w 1236441"/>
                <a:gd name="connsiteY5" fmla="*/ 181932 h 382071"/>
                <a:gd name="connsiteX6" fmla="*/ 695697 w 1236441"/>
                <a:gd name="connsiteY6" fmla="*/ 190397 h 382071"/>
                <a:gd name="connsiteX7" fmla="*/ 788789 w 1236441"/>
                <a:gd name="connsiteY7" fmla="*/ 190397 h 382071"/>
                <a:gd name="connsiteX8" fmla="*/ 881882 w 1236441"/>
                <a:gd name="connsiteY8" fmla="*/ 182293 h 382071"/>
                <a:gd name="connsiteX9" fmla="*/ 974974 w 1236441"/>
                <a:gd name="connsiteY9" fmla="*/ 188416 h 382071"/>
                <a:gd name="connsiteX10" fmla="*/ 1067623 w 1236441"/>
                <a:gd name="connsiteY10" fmla="*/ 180852 h 382071"/>
                <a:gd name="connsiteX11" fmla="*/ 1160716 w 1236441"/>
                <a:gd name="connsiteY11" fmla="*/ 188055 h 382071"/>
                <a:gd name="connsiteX12" fmla="*/ 1236441 w 1236441"/>
                <a:gd name="connsiteY12" fmla="*/ 188055 h 382071"/>
                <a:gd name="connsiteX13" fmla="*/ 1236441 w 1236441"/>
                <a:gd name="connsiteY13" fmla="*/ 329149 h 382071"/>
                <a:gd name="connsiteX14" fmla="*/ 21832 w 1236441"/>
                <a:gd name="connsiteY14" fmla="*/ 382071 h 382071"/>
                <a:gd name="connsiteX15" fmla="*/ 70367 w 1236441"/>
                <a:gd name="connsiteY15" fmla="*/ 211648 h 382071"/>
                <a:gd name="connsiteX16" fmla="*/ 159478 w 1236441"/>
                <a:gd name="connsiteY16" fmla="*/ 212728 h 382071"/>
                <a:gd name="connsiteX17" fmla="*/ 113485 w 1236441"/>
                <a:gd name="connsiteY17" fmla="*/ 173828 h 382071"/>
                <a:gd name="connsiteX18" fmla="*/ 56878 w 1236441"/>
                <a:gd name="connsiteY18" fmla="*/ 136729 h 382071"/>
                <a:gd name="connsiteX19" fmla="*/ 138914 w 1236441"/>
                <a:gd name="connsiteY19" fmla="*/ 154198 h 382071"/>
                <a:gd name="connsiteX20" fmla="*/ 218960 w 1236441"/>
                <a:gd name="connsiteY20" fmla="*/ 175089 h 382071"/>
                <a:gd name="connsiteX21" fmla="*/ 298343 w 1236441"/>
                <a:gd name="connsiteY21" fmla="*/ 184274 h 382071"/>
                <a:gd name="connsiteX22" fmla="*/ 260531 w 1236441"/>
                <a:gd name="connsiteY22" fmla="*/ 123943 h 382071"/>
                <a:gd name="connsiteX23" fmla="*/ 213873 w 1236441"/>
                <a:gd name="connsiteY23" fmla="*/ 64512 h 382071"/>
                <a:gd name="connsiteX24" fmla="*/ 161246 w 1236441"/>
                <a:gd name="connsiteY24" fmla="*/ 4001 h 382071"/>
                <a:gd name="connsiteX25" fmla="*/ 188897 w 1236441"/>
                <a:gd name="connsiteY25" fmla="*/ 951 h 382071"/>
                <a:gd name="connsiteX0" fmla="*/ 21832 w 1236441"/>
                <a:gd name="connsiteY0" fmla="*/ 382071 h 473511"/>
                <a:gd name="connsiteX1" fmla="*/ 70367 w 1236441"/>
                <a:gd name="connsiteY1" fmla="*/ 211648 h 473511"/>
                <a:gd name="connsiteX2" fmla="*/ 159478 w 1236441"/>
                <a:gd name="connsiteY2" fmla="*/ 212728 h 473511"/>
                <a:gd name="connsiteX3" fmla="*/ 113485 w 1236441"/>
                <a:gd name="connsiteY3" fmla="*/ 173828 h 473511"/>
                <a:gd name="connsiteX4" fmla="*/ 56878 w 1236441"/>
                <a:gd name="connsiteY4" fmla="*/ 136729 h 473511"/>
                <a:gd name="connsiteX5" fmla="*/ 138914 w 1236441"/>
                <a:gd name="connsiteY5" fmla="*/ 154198 h 473511"/>
                <a:gd name="connsiteX6" fmla="*/ 218960 w 1236441"/>
                <a:gd name="connsiteY6" fmla="*/ 175089 h 473511"/>
                <a:gd name="connsiteX7" fmla="*/ 298343 w 1236441"/>
                <a:gd name="connsiteY7" fmla="*/ 184274 h 473511"/>
                <a:gd name="connsiteX8" fmla="*/ 260531 w 1236441"/>
                <a:gd name="connsiteY8" fmla="*/ 123943 h 473511"/>
                <a:gd name="connsiteX9" fmla="*/ 213873 w 1236441"/>
                <a:gd name="connsiteY9" fmla="*/ 64512 h 473511"/>
                <a:gd name="connsiteX10" fmla="*/ 161246 w 1236441"/>
                <a:gd name="connsiteY10" fmla="*/ 4001 h 473511"/>
                <a:gd name="connsiteX11" fmla="*/ 188897 w 1236441"/>
                <a:gd name="connsiteY11" fmla="*/ 951 h 473511"/>
                <a:gd name="connsiteX12" fmla="*/ 251243 w 1236441"/>
                <a:gd name="connsiteY12" fmla="*/ 50285 h 473511"/>
                <a:gd name="connsiteX13" fmla="*/ 338144 w 1236441"/>
                <a:gd name="connsiteY13" fmla="*/ 94948 h 473511"/>
                <a:gd name="connsiteX14" fmla="*/ 426372 w 1236441"/>
                <a:gd name="connsiteY14" fmla="*/ 137269 h 473511"/>
                <a:gd name="connsiteX15" fmla="*/ 509293 w 1236441"/>
                <a:gd name="connsiteY15" fmla="*/ 186795 h 473511"/>
                <a:gd name="connsiteX16" fmla="*/ 602606 w 1236441"/>
                <a:gd name="connsiteY16" fmla="*/ 181932 h 473511"/>
                <a:gd name="connsiteX17" fmla="*/ 695697 w 1236441"/>
                <a:gd name="connsiteY17" fmla="*/ 190397 h 473511"/>
                <a:gd name="connsiteX18" fmla="*/ 788789 w 1236441"/>
                <a:gd name="connsiteY18" fmla="*/ 190397 h 473511"/>
                <a:gd name="connsiteX19" fmla="*/ 881882 w 1236441"/>
                <a:gd name="connsiteY19" fmla="*/ 182293 h 473511"/>
                <a:gd name="connsiteX20" fmla="*/ 974974 w 1236441"/>
                <a:gd name="connsiteY20" fmla="*/ 188416 h 473511"/>
                <a:gd name="connsiteX21" fmla="*/ 1067623 w 1236441"/>
                <a:gd name="connsiteY21" fmla="*/ 180852 h 473511"/>
                <a:gd name="connsiteX22" fmla="*/ 1160716 w 1236441"/>
                <a:gd name="connsiteY22" fmla="*/ 188055 h 473511"/>
                <a:gd name="connsiteX23" fmla="*/ 1236441 w 1236441"/>
                <a:gd name="connsiteY23" fmla="*/ 188055 h 473511"/>
                <a:gd name="connsiteX24" fmla="*/ 1236441 w 1236441"/>
                <a:gd name="connsiteY24" fmla="*/ 329149 h 473511"/>
                <a:gd name="connsiteX25" fmla="*/ 113272 w 1236441"/>
                <a:gd name="connsiteY25" fmla="*/ 473511 h 473511"/>
                <a:gd name="connsiteX0" fmla="*/ 21832 w 1236441"/>
                <a:gd name="connsiteY0" fmla="*/ 382071 h 382071"/>
                <a:gd name="connsiteX1" fmla="*/ 70367 w 1236441"/>
                <a:gd name="connsiteY1" fmla="*/ 211648 h 382071"/>
                <a:gd name="connsiteX2" fmla="*/ 159478 w 1236441"/>
                <a:gd name="connsiteY2" fmla="*/ 212728 h 382071"/>
                <a:gd name="connsiteX3" fmla="*/ 113485 w 1236441"/>
                <a:gd name="connsiteY3" fmla="*/ 173828 h 382071"/>
                <a:gd name="connsiteX4" fmla="*/ 56878 w 1236441"/>
                <a:gd name="connsiteY4" fmla="*/ 136729 h 382071"/>
                <a:gd name="connsiteX5" fmla="*/ 138914 w 1236441"/>
                <a:gd name="connsiteY5" fmla="*/ 154198 h 382071"/>
                <a:gd name="connsiteX6" fmla="*/ 218960 w 1236441"/>
                <a:gd name="connsiteY6" fmla="*/ 175089 h 382071"/>
                <a:gd name="connsiteX7" fmla="*/ 298343 w 1236441"/>
                <a:gd name="connsiteY7" fmla="*/ 184274 h 382071"/>
                <a:gd name="connsiteX8" fmla="*/ 260531 w 1236441"/>
                <a:gd name="connsiteY8" fmla="*/ 123943 h 382071"/>
                <a:gd name="connsiteX9" fmla="*/ 213873 w 1236441"/>
                <a:gd name="connsiteY9" fmla="*/ 64512 h 382071"/>
                <a:gd name="connsiteX10" fmla="*/ 161246 w 1236441"/>
                <a:gd name="connsiteY10" fmla="*/ 4001 h 382071"/>
                <a:gd name="connsiteX11" fmla="*/ 188897 w 1236441"/>
                <a:gd name="connsiteY11" fmla="*/ 951 h 382071"/>
                <a:gd name="connsiteX12" fmla="*/ 251243 w 1236441"/>
                <a:gd name="connsiteY12" fmla="*/ 50285 h 382071"/>
                <a:gd name="connsiteX13" fmla="*/ 338144 w 1236441"/>
                <a:gd name="connsiteY13" fmla="*/ 94948 h 382071"/>
                <a:gd name="connsiteX14" fmla="*/ 426372 w 1236441"/>
                <a:gd name="connsiteY14" fmla="*/ 137269 h 382071"/>
                <a:gd name="connsiteX15" fmla="*/ 509293 w 1236441"/>
                <a:gd name="connsiteY15" fmla="*/ 186795 h 382071"/>
                <a:gd name="connsiteX16" fmla="*/ 602606 w 1236441"/>
                <a:gd name="connsiteY16" fmla="*/ 181932 h 382071"/>
                <a:gd name="connsiteX17" fmla="*/ 695697 w 1236441"/>
                <a:gd name="connsiteY17" fmla="*/ 190397 h 382071"/>
                <a:gd name="connsiteX18" fmla="*/ 788789 w 1236441"/>
                <a:gd name="connsiteY18" fmla="*/ 190397 h 382071"/>
                <a:gd name="connsiteX19" fmla="*/ 881882 w 1236441"/>
                <a:gd name="connsiteY19" fmla="*/ 182293 h 382071"/>
                <a:gd name="connsiteX20" fmla="*/ 974974 w 1236441"/>
                <a:gd name="connsiteY20" fmla="*/ 188416 h 382071"/>
                <a:gd name="connsiteX21" fmla="*/ 1067623 w 1236441"/>
                <a:gd name="connsiteY21" fmla="*/ 180852 h 382071"/>
                <a:gd name="connsiteX22" fmla="*/ 1160716 w 1236441"/>
                <a:gd name="connsiteY22" fmla="*/ 188055 h 382071"/>
                <a:gd name="connsiteX23" fmla="*/ 1236441 w 1236441"/>
                <a:gd name="connsiteY23" fmla="*/ 188055 h 382071"/>
                <a:gd name="connsiteX24" fmla="*/ 1236441 w 1236441"/>
                <a:gd name="connsiteY24" fmla="*/ 329149 h 382071"/>
                <a:gd name="connsiteX0" fmla="*/ 19996 w 1186070"/>
                <a:gd name="connsiteY0" fmla="*/ 211648 h 329149"/>
                <a:gd name="connsiteX1" fmla="*/ 109107 w 1186070"/>
                <a:gd name="connsiteY1" fmla="*/ 212728 h 329149"/>
                <a:gd name="connsiteX2" fmla="*/ 63114 w 1186070"/>
                <a:gd name="connsiteY2" fmla="*/ 173828 h 329149"/>
                <a:gd name="connsiteX3" fmla="*/ 6507 w 1186070"/>
                <a:gd name="connsiteY3" fmla="*/ 136729 h 329149"/>
                <a:gd name="connsiteX4" fmla="*/ 88543 w 1186070"/>
                <a:gd name="connsiteY4" fmla="*/ 154198 h 329149"/>
                <a:gd name="connsiteX5" fmla="*/ 168589 w 1186070"/>
                <a:gd name="connsiteY5" fmla="*/ 175089 h 329149"/>
                <a:gd name="connsiteX6" fmla="*/ 247972 w 1186070"/>
                <a:gd name="connsiteY6" fmla="*/ 184274 h 329149"/>
                <a:gd name="connsiteX7" fmla="*/ 210160 w 1186070"/>
                <a:gd name="connsiteY7" fmla="*/ 123943 h 329149"/>
                <a:gd name="connsiteX8" fmla="*/ 163502 w 1186070"/>
                <a:gd name="connsiteY8" fmla="*/ 64512 h 329149"/>
                <a:gd name="connsiteX9" fmla="*/ 110875 w 1186070"/>
                <a:gd name="connsiteY9" fmla="*/ 4001 h 329149"/>
                <a:gd name="connsiteX10" fmla="*/ 138526 w 1186070"/>
                <a:gd name="connsiteY10" fmla="*/ 951 h 329149"/>
                <a:gd name="connsiteX11" fmla="*/ 200872 w 1186070"/>
                <a:gd name="connsiteY11" fmla="*/ 50285 h 329149"/>
                <a:gd name="connsiteX12" fmla="*/ 287773 w 1186070"/>
                <a:gd name="connsiteY12" fmla="*/ 94948 h 329149"/>
                <a:gd name="connsiteX13" fmla="*/ 376001 w 1186070"/>
                <a:gd name="connsiteY13" fmla="*/ 137269 h 329149"/>
                <a:gd name="connsiteX14" fmla="*/ 458922 w 1186070"/>
                <a:gd name="connsiteY14" fmla="*/ 186795 h 329149"/>
                <a:gd name="connsiteX15" fmla="*/ 552235 w 1186070"/>
                <a:gd name="connsiteY15" fmla="*/ 181932 h 329149"/>
                <a:gd name="connsiteX16" fmla="*/ 645326 w 1186070"/>
                <a:gd name="connsiteY16" fmla="*/ 190397 h 329149"/>
                <a:gd name="connsiteX17" fmla="*/ 738418 w 1186070"/>
                <a:gd name="connsiteY17" fmla="*/ 190397 h 329149"/>
                <a:gd name="connsiteX18" fmla="*/ 831511 w 1186070"/>
                <a:gd name="connsiteY18" fmla="*/ 182293 h 329149"/>
                <a:gd name="connsiteX19" fmla="*/ 924603 w 1186070"/>
                <a:gd name="connsiteY19" fmla="*/ 188416 h 329149"/>
                <a:gd name="connsiteX20" fmla="*/ 1017252 w 1186070"/>
                <a:gd name="connsiteY20" fmla="*/ 180852 h 329149"/>
                <a:gd name="connsiteX21" fmla="*/ 1110345 w 1186070"/>
                <a:gd name="connsiteY21" fmla="*/ 188055 h 329149"/>
                <a:gd name="connsiteX22" fmla="*/ 1186070 w 1186070"/>
                <a:gd name="connsiteY22" fmla="*/ 188055 h 329149"/>
                <a:gd name="connsiteX23" fmla="*/ 1186070 w 1186070"/>
                <a:gd name="connsiteY23" fmla="*/ 329149 h 329149"/>
                <a:gd name="connsiteX0" fmla="*/ 19996 w 1186070"/>
                <a:gd name="connsiteY0" fmla="*/ 211648 h 221055"/>
                <a:gd name="connsiteX1" fmla="*/ 109107 w 1186070"/>
                <a:gd name="connsiteY1" fmla="*/ 212728 h 221055"/>
                <a:gd name="connsiteX2" fmla="*/ 63114 w 1186070"/>
                <a:gd name="connsiteY2" fmla="*/ 173828 h 221055"/>
                <a:gd name="connsiteX3" fmla="*/ 6507 w 1186070"/>
                <a:gd name="connsiteY3" fmla="*/ 136729 h 221055"/>
                <a:gd name="connsiteX4" fmla="*/ 88543 w 1186070"/>
                <a:gd name="connsiteY4" fmla="*/ 154198 h 221055"/>
                <a:gd name="connsiteX5" fmla="*/ 168589 w 1186070"/>
                <a:gd name="connsiteY5" fmla="*/ 175089 h 221055"/>
                <a:gd name="connsiteX6" fmla="*/ 247972 w 1186070"/>
                <a:gd name="connsiteY6" fmla="*/ 184274 h 221055"/>
                <a:gd name="connsiteX7" fmla="*/ 210160 w 1186070"/>
                <a:gd name="connsiteY7" fmla="*/ 123943 h 221055"/>
                <a:gd name="connsiteX8" fmla="*/ 163502 w 1186070"/>
                <a:gd name="connsiteY8" fmla="*/ 64512 h 221055"/>
                <a:gd name="connsiteX9" fmla="*/ 110875 w 1186070"/>
                <a:gd name="connsiteY9" fmla="*/ 4001 h 221055"/>
                <a:gd name="connsiteX10" fmla="*/ 138526 w 1186070"/>
                <a:gd name="connsiteY10" fmla="*/ 951 h 221055"/>
                <a:gd name="connsiteX11" fmla="*/ 200872 w 1186070"/>
                <a:gd name="connsiteY11" fmla="*/ 50285 h 221055"/>
                <a:gd name="connsiteX12" fmla="*/ 287773 w 1186070"/>
                <a:gd name="connsiteY12" fmla="*/ 94948 h 221055"/>
                <a:gd name="connsiteX13" fmla="*/ 376001 w 1186070"/>
                <a:gd name="connsiteY13" fmla="*/ 137269 h 221055"/>
                <a:gd name="connsiteX14" fmla="*/ 458922 w 1186070"/>
                <a:gd name="connsiteY14" fmla="*/ 186795 h 221055"/>
                <a:gd name="connsiteX15" fmla="*/ 552235 w 1186070"/>
                <a:gd name="connsiteY15" fmla="*/ 181932 h 221055"/>
                <a:gd name="connsiteX16" fmla="*/ 645326 w 1186070"/>
                <a:gd name="connsiteY16" fmla="*/ 190397 h 221055"/>
                <a:gd name="connsiteX17" fmla="*/ 738418 w 1186070"/>
                <a:gd name="connsiteY17" fmla="*/ 190397 h 221055"/>
                <a:gd name="connsiteX18" fmla="*/ 831511 w 1186070"/>
                <a:gd name="connsiteY18" fmla="*/ 182293 h 221055"/>
                <a:gd name="connsiteX19" fmla="*/ 924603 w 1186070"/>
                <a:gd name="connsiteY19" fmla="*/ 188416 h 221055"/>
                <a:gd name="connsiteX20" fmla="*/ 1017252 w 1186070"/>
                <a:gd name="connsiteY20" fmla="*/ 180852 h 221055"/>
                <a:gd name="connsiteX21" fmla="*/ 1110345 w 1186070"/>
                <a:gd name="connsiteY21" fmla="*/ 188055 h 221055"/>
                <a:gd name="connsiteX22" fmla="*/ 1186070 w 1186070"/>
                <a:gd name="connsiteY22" fmla="*/ 188055 h 22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6070" h="221055">
                  <a:moveTo>
                    <a:pt x="19996" y="211648"/>
                  </a:moveTo>
                  <a:cubicBezTo>
                    <a:pt x="42936" y="183424"/>
                    <a:pt x="79034" y="241723"/>
                    <a:pt x="109107" y="212728"/>
                  </a:cubicBezTo>
                  <a:cubicBezTo>
                    <a:pt x="132103" y="190397"/>
                    <a:pt x="89649" y="193458"/>
                    <a:pt x="63114" y="173828"/>
                  </a:cubicBezTo>
                  <a:cubicBezTo>
                    <a:pt x="36579" y="154198"/>
                    <a:pt x="-18923" y="156899"/>
                    <a:pt x="6507" y="136729"/>
                  </a:cubicBezTo>
                  <a:cubicBezTo>
                    <a:pt x="36579" y="112957"/>
                    <a:pt x="47856" y="145914"/>
                    <a:pt x="88543" y="154198"/>
                  </a:cubicBezTo>
                  <a:cubicBezTo>
                    <a:pt x="129229" y="162482"/>
                    <a:pt x="127903" y="166985"/>
                    <a:pt x="168589" y="175089"/>
                  </a:cubicBezTo>
                  <a:cubicBezTo>
                    <a:pt x="209276" y="183193"/>
                    <a:pt x="224312" y="213809"/>
                    <a:pt x="247972" y="184274"/>
                  </a:cubicBezTo>
                  <a:cubicBezTo>
                    <a:pt x="271853" y="154738"/>
                    <a:pt x="233378" y="153658"/>
                    <a:pt x="210160" y="123943"/>
                  </a:cubicBezTo>
                  <a:cubicBezTo>
                    <a:pt x="186942" y="94227"/>
                    <a:pt x="186500" y="94227"/>
                    <a:pt x="163502" y="64512"/>
                  </a:cubicBezTo>
                  <a:cubicBezTo>
                    <a:pt x="140506" y="34797"/>
                    <a:pt x="71516" y="18409"/>
                    <a:pt x="110875" y="4001"/>
                  </a:cubicBezTo>
                  <a:cubicBezTo>
                    <a:pt x="122540" y="-231"/>
                    <a:pt x="131288" y="-850"/>
                    <a:pt x="138526" y="951"/>
                  </a:cubicBezTo>
                  <a:cubicBezTo>
                    <a:pt x="160242" y="6354"/>
                    <a:pt x="168368" y="33536"/>
                    <a:pt x="200872" y="50285"/>
                  </a:cubicBezTo>
                  <a:lnTo>
                    <a:pt x="287773" y="94948"/>
                  </a:lnTo>
                  <a:cubicBezTo>
                    <a:pt x="331113" y="117279"/>
                    <a:pt x="332661" y="114938"/>
                    <a:pt x="376001" y="137269"/>
                  </a:cubicBezTo>
                  <a:cubicBezTo>
                    <a:pt x="419340" y="159601"/>
                    <a:pt x="410053" y="174548"/>
                    <a:pt x="458922" y="186795"/>
                  </a:cubicBezTo>
                  <a:cubicBezTo>
                    <a:pt x="503366" y="197780"/>
                    <a:pt x="505799" y="181932"/>
                    <a:pt x="552235" y="181932"/>
                  </a:cubicBezTo>
                  <a:cubicBezTo>
                    <a:pt x="598670" y="181932"/>
                    <a:pt x="598670" y="190397"/>
                    <a:pt x="645326" y="190397"/>
                  </a:cubicBezTo>
                  <a:lnTo>
                    <a:pt x="738418" y="190397"/>
                  </a:lnTo>
                  <a:cubicBezTo>
                    <a:pt x="785076" y="190397"/>
                    <a:pt x="784855" y="182293"/>
                    <a:pt x="831511" y="182293"/>
                  </a:cubicBezTo>
                  <a:cubicBezTo>
                    <a:pt x="878168" y="182293"/>
                    <a:pt x="878389" y="188416"/>
                    <a:pt x="924603" y="188416"/>
                  </a:cubicBezTo>
                  <a:cubicBezTo>
                    <a:pt x="970817" y="188416"/>
                    <a:pt x="970596" y="180852"/>
                    <a:pt x="1017252" y="180852"/>
                  </a:cubicBezTo>
                  <a:cubicBezTo>
                    <a:pt x="1063910" y="180852"/>
                    <a:pt x="1063689" y="188055"/>
                    <a:pt x="1110345" y="188055"/>
                  </a:cubicBezTo>
                  <a:lnTo>
                    <a:pt x="1186070" y="188055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3725243D-79B5-9EF5-A062-7FB132721EE6}"/>
                </a:ext>
              </a:extLst>
            </p:cNvPr>
            <p:cNvSpPr/>
            <p:nvPr/>
          </p:nvSpPr>
          <p:spPr>
            <a:xfrm>
              <a:off x="4254445" y="6219246"/>
              <a:ext cx="6446396" cy="260945"/>
            </a:xfrm>
            <a:custGeom>
              <a:avLst/>
              <a:gdLst>
                <a:gd name="connsiteX0" fmla="*/ 1382006 w 5633519"/>
                <a:gd name="connsiteY0" fmla="*/ 951 h 284663"/>
                <a:gd name="connsiteX1" fmla="*/ 1444352 w 5633519"/>
                <a:gd name="connsiteY1" fmla="*/ 50285 h 284663"/>
                <a:gd name="connsiteX2" fmla="*/ 1531253 w 5633519"/>
                <a:gd name="connsiteY2" fmla="*/ 94948 h 284663"/>
                <a:gd name="connsiteX3" fmla="*/ 1619481 w 5633519"/>
                <a:gd name="connsiteY3" fmla="*/ 137269 h 284663"/>
                <a:gd name="connsiteX4" fmla="*/ 1702402 w 5633519"/>
                <a:gd name="connsiteY4" fmla="*/ 186795 h 284663"/>
                <a:gd name="connsiteX5" fmla="*/ 1795715 w 5633519"/>
                <a:gd name="connsiteY5" fmla="*/ 181932 h 284663"/>
                <a:gd name="connsiteX6" fmla="*/ 1888806 w 5633519"/>
                <a:gd name="connsiteY6" fmla="*/ 190397 h 284663"/>
                <a:gd name="connsiteX7" fmla="*/ 1981898 w 5633519"/>
                <a:gd name="connsiteY7" fmla="*/ 190397 h 284663"/>
                <a:gd name="connsiteX8" fmla="*/ 2074991 w 5633519"/>
                <a:gd name="connsiteY8" fmla="*/ 182293 h 284663"/>
                <a:gd name="connsiteX9" fmla="*/ 2168083 w 5633519"/>
                <a:gd name="connsiteY9" fmla="*/ 188416 h 284663"/>
                <a:gd name="connsiteX10" fmla="*/ 2260732 w 5633519"/>
                <a:gd name="connsiteY10" fmla="*/ 180852 h 284663"/>
                <a:gd name="connsiteX11" fmla="*/ 2353824 w 5633519"/>
                <a:gd name="connsiteY11" fmla="*/ 188055 h 284663"/>
                <a:gd name="connsiteX12" fmla="*/ 2446917 w 5633519"/>
                <a:gd name="connsiteY12" fmla="*/ 188055 h 284663"/>
                <a:gd name="connsiteX13" fmla="*/ 2539567 w 5633519"/>
                <a:gd name="connsiteY13" fmla="*/ 185714 h 284663"/>
                <a:gd name="connsiteX14" fmla="*/ 2632217 w 5633519"/>
                <a:gd name="connsiteY14" fmla="*/ 182653 h 284663"/>
                <a:gd name="connsiteX15" fmla="*/ 2725308 w 5633519"/>
                <a:gd name="connsiteY15" fmla="*/ 183733 h 284663"/>
                <a:gd name="connsiteX16" fmla="*/ 2817959 w 5633519"/>
                <a:gd name="connsiteY16" fmla="*/ 188596 h 284663"/>
                <a:gd name="connsiteX17" fmla="*/ 2910609 w 5633519"/>
                <a:gd name="connsiteY17" fmla="*/ 188596 h 284663"/>
                <a:gd name="connsiteX18" fmla="*/ 3003258 w 5633519"/>
                <a:gd name="connsiteY18" fmla="*/ 188416 h 284663"/>
                <a:gd name="connsiteX19" fmla="*/ 3095908 w 5633519"/>
                <a:gd name="connsiteY19" fmla="*/ 185894 h 284663"/>
                <a:gd name="connsiteX20" fmla="*/ 3188559 w 5633519"/>
                <a:gd name="connsiteY20" fmla="*/ 186795 h 284663"/>
                <a:gd name="connsiteX21" fmla="*/ 3281207 w 5633519"/>
                <a:gd name="connsiteY21" fmla="*/ 181032 h 284663"/>
                <a:gd name="connsiteX22" fmla="*/ 3373858 w 5633519"/>
                <a:gd name="connsiteY22" fmla="*/ 183373 h 284663"/>
                <a:gd name="connsiteX23" fmla="*/ 3466507 w 5633519"/>
                <a:gd name="connsiteY23" fmla="*/ 187335 h 284663"/>
                <a:gd name="connsiteX24" fmla="*/ 3559157 w 5633519"/>
                <a:gd name="connsiteY24" fmla="*/ 191297 h 284663"/>
                <a:gd name="connsiteX25" fmla="*/ 3651807 w 5633519"/>
                <a:gd name="connsiteY25" fmla="*/ 181032 h 284663"/>
                <a:gd name="connsiteX26" fmla="*/ 3744457 w 5633519"/>
                <a:gd name="connsiteY26" fmla="*/ 181572 h 284663"/>
                <a:gd name="connsiteX27" fmla="*/ 3837107 w 5633519"/>
                <a:gd name="connsiteY27" fmla="*/ 186255 h 284663"/>
                <a:gd name="connsiteX28" fmla="*/ 3929757 w 5633519"/>
                <a:gd name="connsiteY28" fmla="*/ 190937 h 284663"/>
                <a:gd name="connsiteX29" fmla="*/ 4022406 w 5633519"/>
                <a:gd name="connsiteY29" fmla="*/ 191477 h 284663"/>
                <a:gd name="connsiteX30" fmla="*/ 4115057 w 5633519"/>
                <a:gd name="connsiteY30" fmla="*/ 186615 h 284663"/>
                <a:gd name="connsiteX31" fmla="*/ 4207707 w 5633519"/>
                <a:gd name="connsiteY31" fmla="*/ 184274 h 284663"/>
                <a:gd name="connsiteX32" fmla="*/ 4300356 w 5633519"/>
                <a:gd name="connsiteY32" fmla="*/ 192017 h 284663"/>
                <a:gd name="connsiteX33" fmla="*/ 4393007 w 5633519"/>
                <a:gd name="connsiteY33" fmla="*/ 183193 h 284663"/>
                <a:gd name="connsiteX34" fmla="*/ 4485657 w 5633519"/>
                <a:gd name="connsiteY34" fmla="*/ 184093 h 284663"/>
                <a:gd name="connsiteX35" fmla="*/ 4578305 w 5633519"/>
                <a:gd name="connsiteY35" fmla="*/ 187335 h 284663"/>
                <a:gd name="connsiteX36" fmla="*/ 4670956 w 5633519"/>
                <a:gd name="connsiteY36" fmla="*/ 190036 h 284663"/>
                <a:gd name="connsiteX37" fmla="*/ 4763605 w 5633519"/>
                <a:gd name="connsiteY37" fmla="*/ 186435 h 284663"/>
                <a:gd name="connsiteX38" fmla="*/ 4856255 w 5633519"/>
                <a:gd name="connsiteY38" fmla="*/ 192378 h 284663"/>
                <a:gd name="connsiteX39" fmla="*/ 4948905 w 5633519"/>
                <a:gd name="connsiteY39" fmla="*/ 191657 h 284663"/>
                <a:gd name="connsiteX40" fmla="*/ 5041556 w 5633519"/>
                <a:gd name="connsiteY40" fmla="*/ 190757 h 284663"/>
                <a:gd name="connsiteX41" fmla="*/ 5134205 w 5633519"/>
                <a:gd name="connsiteY41" fmla="*/ 186074 h 284663"/>
                <a:gd name="connsiteX42" fmla="*/ 5226855 w 5633519"/>
                <a:gd name="connsiteY42" fmla="*/ 186074 h 284663"/>
                <a:gd name="connsiteX43" fmla="*/ 5319505 w 5633519"/>
                <a:gd name="connsiteY43" fmla="*/ 190036 h 284663"/>
                <a:gd name="connsiteX44" fmla="*/ 5412155 w 5633519"/>
                <a:gd name="connsiteY44" fmla="*/ 184274 h 284663"/>
                <a:gd name="connsiteX45" fmla="*/ 5493944 w 5633519"/>
                <a:gd name="connsiteY45" fmla="*/ 190073 h 284663"/>
                <a:gd name="connsiteX46" fmla="*/ 5585487 w 5633519"/>
                <a:gd name="connsiteY46" fmla="*/ 197578 h 284663"/>
                <a:gd name="connsiteX47" fmla="*/ 5633304 w 5633519"/>
                <a:gd name="connsiteY47" fmla="*/ 207189 h 284663"/>
                <a:gd name="connsiteX48" fmla="*/ 5629900 w 5633519"/>
                <a:gd name="connsiteY48" fmla="*/ 253384 h 284663"/>
                <a:gd name="connsiteX49" fmla="*/ 5625668 w 5633519"/>
                <a:gd name="connsiteY49" fmla="*/ 280398 h 284663"/>
                <a:gd name="connsiteX50" fmla="*/ 0 w 5633519"/>
                <a:gd name="connsiteY50" fmla="*/ 284663 h 284663"/>
                <a:gd name="connsiteX51" fmla="*/ 5088 w 5633519"/>
                <a:gd name="connsiteY51" fmla="*/ 282101 h 284663"/>
                <a:gd name="connsiteX52" fmla="*/ 53499 w 5633519"/>
                <a:gd name="connsiteY52" fmla="*/ 215429 h 284663"/>
                <a:gd name="connsiteX53" fmla="*/ 146812 w 5633519"/>
                <a:gd name="connsiteY53" fmla="*/ 213989 h 284663"/>
                <a:gd name="connsiteX54" fmla="*/ 239905 w 5633519"/>
                <a:gd name="connsiteY54" fmla="*/ 215069 h 284663"/>
                <a:gd name="connsiteX55" fmla="*/ 332996 w 5633519"/>
                <a:gd name="connsiteY55" fmla="*/ 214169 h 284663"/>
                <a:gd name="connsiteX56" fmla="*/ 426088 w 5633519"/>
                <a:gd name="connsiteY56" fmla="*/ 220112 h 284663"/>
                <a:gd name="connsiteX57" fmla="*/ 519180 w 5633519"/>
                <a:gd name="connsiteY57" fmla="*/ 217050 h 284663"/>
                <a:gd name="connsiteX58" fmla="*/ 612273 w 5633519"/>
                <a:gd name="connsiteY58" fmla="*/ 218671 h 284663"/>
                <a:gd name="connsiteX59" fmla="*/ 705365 w 5633519"/>
                <a:gd name="connsiteY59" fmla="*/ 214529 h 284663"/>
                <a:gd name="connsiteX60" fmla="*/ 798457 w 5633519"/>
                <a:gd name="connsiteY60" fmla="*/ 213989 h 284663"/>
                <a:gd name="connsiteX61" fmla="*/ 891548 w 5633519"/>
                <a:gd name="connsiteY61" fmla="*/ 217590 h 284663"/>
                <a:gd name="connsiteX62" fmla="*/ 984641 w 5633519"/>
                <a:gd name="connsiteY62" fmla="*/ 218491 h 284663"/>
                <a:gd name="connsiteX63" fmla="*/ 1077733 w 5633519"/>
                <a:gd name="connsiteY63" fmla="*/ 221012 h 284663"/>
                <a:gd name="connsiteX64" fmla="*/ 1170825 w 5633519"/>
                <a:gd name="connsiteY64" fmla="*/ 213629 h 284663"/>
                <a:gd name="connsiteX65" fmla="*/ 1263476 w 5633519"/>
                <a:gd name="connsiteY65" fmla="*/ 211648 h 284663"/>
                <a:gd name="connsiteX66" fmla="*/ 1352587 w 5633519"/>
                <a:gd name="connsiteY66" fmla="*/ 212728 h 284663"/>
                <a:gd name="connsiteX67" fmla="*/ 1306594 w 5633519"/>
                <a:gd name="connsiteY67" fmla="*/ 173828 h 284663"/>
                <a:gd name="connsiteX68" fmla="*/ 1249987 w 5633519"/>
                <a:gd name="connsiteY68" fmla="*/ 136729 h 284663"/>
                <a:gd name="connsiteX69" fmla="*/ 1332023 w 5633519"/>
                <a:gd name="connsiteY69" fmla="*/ 154198 h 284663"/>
                <a:gd name="connsiteX70" fmla="*/ 1412069 w 5633519"/>
                <a:gd name="connsiteY70" fmla="*/ 175089 h 284663"/>
                <a:gd name="connsiteX71" fmla="*/ 1491452 w 5633519"/>
                <a:gd name="connsiteY71" fmla="*/ 184274 h 284663"/>
                <a:gd name="connsiteX72" fmla="*/ 1453640 w 5633519"/>
                <a:gd name="connsiteY72" fmla="*/ 123943 h 284663"/>
                <a:gd name="connsiteX73" fmla="*/ 1406982 w 5633519"/>
                <a:gd name="connsiteY73" fmla="*/ 64512 h 284663"/>
                <a:gd name="connsiteX74" fmla="*/ 1354355 w 5633519"/>
                <a:gd name="connsiteY74" fmla="*/ 4001 h 284663"/>
                <a:gd name="connsiteX75" fmla="*/ 1382006 w 5633519"/>
                <a:gd name="connsiteY75" fmla="*/ 951 h 284663"/>
                <a:gd name="connsiteX0" fmla="*/ 1382006 w 5633519"/>
                <a:gd name="connsiteY0" fmla="*/ 951 h 284663"/>
                <a:gd name="connsiteX1" fmla="*/ 1444352 w 5633519"/>
                <a:gd name="connsiteY1" fmla="*/ 50285 h 284663"/>
                <a:gd name="connsiteX2" fmla="*/ 1531253 w 5633519"/>
                <a:gd name="connsiteY2" fmla="*/ 94948 h 284663"/>
                <a:gd name="connsiteX3" fmla="*/ 1619481 w 5633519"/>
                <a:gd name="connsiteY3" fmla="*/ 137269 h 284663"/>
                <a:gd name="connsiteX4" fmla="*/ 1702402 w 5633519"/>
                <a:gd name="connsiteY4" fmla="*/ 186795 h 284663"/>
                <a:gd name="connsiteX5" fmla="*/ 1795715 w 5633519"/>
                <a:gd name="connsiteY5" fmla="*/ 181932 h 284663"/>
                <a:gd name="connsiteX6" fmla="*/ 1888806 w 5633519"/>
                <a:gd name="connsiteY6" fmla="*/ 190397 h 284663"/>
                <a:gd name="connsiteX7" fmla="*/ 1981898 w 5633519"/>
                <a:gd name="connsiteY7" fmla="*/ 190397 h 284663"/>
                <a:gd name="connsiteX8" fmla="*/ 2074991 w 5633519"/>
                <a:gd name="connsiteY8" fmla="*/ 182293 h 284663"/>
                <a:gd name="connsiteX9" fmla="*/ 2168083 w 5633519"/>
                <a:gd name="connsiteY9" fmla="*/ 188416 h 284663"/>
                <a:gd name="connsiteX10" fmla="*/ 2260732 w 5633519"/>
                <a:gd name="connsiteY10" fmla="*/ 180852 h 284663"/>
                <a:gd name="connsiteX11" fmla="*/ 2353824 w 5633519"/>
                <a:gd name="connsiteY11" fmla="*/ 188055 h 284663"/>
                <a:gd name="connsiteX12" fmla="*/ 2446917 w 5633519"/>
                <a:gd name="connsiteY12" fmla="*/ 188055 h 284663"/>
                <a:gd name="connsiteX13" fmla="*/ 2539567 w 5633519"/>
                <a:gd name="connsiteY13" fmla="*/ 185714 h 284663"/>
                <a:gd name="connsiteX14" fmla="*/ 2632217 w 5633519"/>
                <a:gd name="connsiteY14" fmla="*/ 182653 h 284663"/>
                <a:gd name="connsiteX15" fmla="*/ 2725308 w 5633519"/>
                <a:gd name="connsiteY15" fmla="*/ 183733 h 284663"/>
                <a:gd name="connsiteX16" fmla="*/ 2817959 w 5633519"/>
                <a:gd name="connsiteY16" fmla="*/ 188596 h 284663"/>
                <a:gd name="connsiteX17" fmla="*/ 2910609 w 5633519"/>
                <a:gd name="connsiteY17" fmla="*/ 188596 h 284663"/>
                <a:gd name="connsiteX18" fmla="*/ 3003258 w 5633519"/>
                <a:gd name="connsiteY18" fmla="*/ 188416 h 284663"/>
                <a:gd name="connsiteX19" fmla="*/ 3095908 w 5633519"/>
                <a:gd name="connsiteY19" fmla="*/ 185894 h 284663"/>
                <a:gd name="connsiteX20" fmla="*/ 3188559 w 5633519"/>
                <a:gd name="connsiteY20" fmla="*/ 186795 h 284663"/>
                <a:gd name="connsiteX21" fmla="*/ 3281207 w 5633519"/>
                <a:gd name="connsiteY21" fmla="*/ 181032 h 284663"/>
                <a:gd name="connsiteX22" fmla="*/ 3373858 w 5633519"/>
                <a:gd name="connsiteY22" fmla="*/ 183373 h 284663"/>
                <a:gd name="connsiteX23" fmla="*/ 3466507 w 5633519"/>
                <a:gd name="connsiteY23" fmla="*/ 187335 h 284663"/>
                <a:gd name="connsiteX24" fmla="*/ 3559157 w 5633519"/>
                <a:gd name="connsiteY24" fmla="*/ 191297 h 284663"/>
                <a:gd name="connsiteX25" fmla="*/ 3651807 w 5633519"/>
                <a:gd name="connsiteY25" fmla="*/ 181032 h 284663"/>
                <a:gd name="connsiteX26" fmla="*/ 3744457 w 5633519"/>
                <a:gd name="connsiteY26" fmla="*/ 181572 h 284663"/>
                <a:gd name="connsiteX27" fmla="*/ 3837107 w 5633519"/>
                <a:gd name="connsiteY27" fmla="*/ 186255 h 284663"/>
                <a:gd name="connsiteX28" fmla="*/ 3929757 w 5633519"/>
                <a:gd name="connsiteY28" fmla="*/ 190937 h 284663"/>
                <a:gd name="connsiteX29" fmla="*/ 4022406 w 5633519"/>
                <a:gd name="connsiteY29" fmla="*/ 191477 h 284663"/>
                <a:gd name="connsiteX30" fmla="*/ 4115057 w 5633519"/>
                <a:gd name="connsiteY30" fmla="*/ 186615 h 284663"/>
                <a:gd name="connsiteX31" fmla="*/ 4207707 w 5633519"/>
                <a:gd name="connsiteY31" fmla="*/ 184274 h 284663"/>
                <a:gd name="connsiteX32" fmla="*/ 4300356 w 5633519"/>
                <a:gd name="connsiteY32" fmla="*/ 192017 h 284663"/>
                <a:gd name="connsiteX33" fmla="*/ 4393007 w 5633519"/>
                <a:gd name="connsiteY33" fmla="*/ 183193 h 284663"/>
                <a:gd name="connsiteX34" fmla="*/ 4485657 w 5633519"/>
                <a:gd name="connsiteY34" fmla="*/ 184093 h 284663"/>
                <a:gd name="connsiteX35" fmla="*/ 4578305 w 5633519"/>
                <a:gd name="connsiteY35" fmla="*/ 187335 h 284663"/>
                <a:gd name="connsiteX36" fmla="*/ 4670956 w 5633519"/>
                <a:gd name="connsiteY36" fmla="*/ 190036 h 284663"/>
                <a:gd name="connsiteX37" fmla="*/ 4763605 w 5633519"/>
                <a:gd name="connsiteY37" fmla="*/ 186435 h 284663"/>
                <a:gd name="connsiteX38" fmla="*/ 4856255 w 5633519"/>
                <a:gd name="connsiteY38" fmla="*/ 192378 h 284663"/>
                <a:gd name="connsiteX39" fmla="*/ 4948905 w 5633519"/>
                <a:gd name="connsiteY39" fmla="*/ 191657 h 284663"/>
                <a:gd name="connsiteX40" fmla="*/ 5041556 w 5633519"/>
                <a:gd name="connsiteY40" fmla="*/ 190757 h 284663"/>
                <a:gd name="connsiteX41" fmla="*/ 5134205 w 5633519"/>
                <a:gd name="connsiteY41" fmla="*/ 186074 h 284663"/>
                <a:gd name="connsiteX42" fmla="*/ 5226855 w 5633519"/>
                <a:gd name="connsiteY42" fmla="*/ 186074 h 284663"/>
                <a:gd name="connsiteX43" fmla="*/ 5319505 w 5633519"/>
                <a:gd name="connsiteY43" fmla="*/ 190036 h 284663"/>
                <a:gd name="connsiteX44" fmla="*/ 5412155 w 5633519"/>
                <a:gd name="connsiteY44" fmla="*/ 184274 h 284663"/>
                <a:gd name="connsiteX45" fmla="*/ 5493944 w 5633519"/>
                <a:gd name="connsiteY45" fmla="*/ 190073 h 284663"/>
                <a:gd name="connsiteX46" fmla="*/ 5585487 w 5633519"/>
                <a:gd name="connsiteY46" fmla="*/ 197578 h 284663"/>
                <a:gd name="connsiteX47" fmla="*/ 5633304 w 5633519"/>
                <a:gd name="connsiteY47" fmla="*/ 207189 h 284663"/>
                <a:gd name="connsiteX48" fmla="*/ 5629900 w 5633519"/>
                <a:gd name="connsiteY48" fmla="*/ 253384 h 284663"/>
                <a:gd name="connsiteX49" fmla="*/ 5625668 w 5633519"/>
                <a:gd name="connsiteY49" fmla="*/ 280398 h 284663"/>
                <a:gd name="connsiteX50" fmla="*/ 2235618 w 5633519"/>
                <a:gd name="connsiteY50" fmla="*/ 277048 h 284663"/>
                <a:gd name="connsiteX51" fmla="*/ 0 w 5633519"/>
                <a:gd name="connsiteY51" fmla="*/ 284663 h 284663"/>
                <a:gd name="connsiteX52" fmla="*/ 5088 w 5633519"/>
                <a:gd name="connsiteY52" fmla="*/ 282101 h 284663"/>
                <a:gd name="connsiteX53" fmla="*/ 53499 w 5633519"/>
                <a:gd name="connsiteY53" fmla="*/ 215429 h 284663"/>
                <a:gd name="connsiteX54" fmla="*/ 146812 w 5633519"/>
                <a:gd name="connsiteY54" fmla="*/ 213989 h 284663"/>
                <a:gd name="connsiteX55" fmla="*/ 239905 w 5633519"/>
                <a:gd name="connsiteY55" fmla="*/ 215069 h 284663"/>
                <a:gd name="connsiteX56" fmla="*/ 332996 w 5633519"/>
                <a:gd name="connsiteY56" fmla="*/ 214169 h 284663"/>
                <a:gd name="connsiteX57" fmla="*/ 426088 w 5633519"/>
                <a:gd name="connsiteY57" fmla="*/ 220112 h 284663"/>
                <a:gd name="connsiteX58" fmla="*/ 519180 w 5633519"/>
                <a:gd name="connsiteY58" fmla="*/ 217050 h 284663"/>
                <a:gd name="connsiteX59" fmla="*/ 612273 w 5633519"/>
                <a:gd name="connsiteY59" fmla="*/ 218671 h 284663"/>
                <a:gd name="connsiteX60" fmla="*/ 705365 w 5633519"/>
                <a:gd name="connsiteY60" fmla="*/ 214529 h 284663"/>
                <a:gd name="connsiteX61" fmla="*/ 798457 w 5633519"/>
                <a:gd name="connsiteY61" fmla="*/ 213989 h 284663"/>
                <a:gd name="connsiteX62" fmla="*/ 891548 w 5633519"/>
                <a:gd name="connsiteY62" fmla="*/ 217590 h 284663"/>
                <a:gd name="connsiteX63" fmla="*/ 984641 w 5633519"/>
                <a:gd name="connsiteY63" fmla="*/ 218491 h 284663"/>
                <a:gd name="connsiteX64" fmla="*/ 1077733 w 5633519"/>
                <a:gd name="connsiteY64" fmla="*/ 221012 h 284663"/>
                <a:gd name="connsiteX65" fmla="*/ 1170825 w 5633519"/>
                <a:gd name="connsiteY65" fmla="*/ 213629 h 284663"/>
                <a:gd name="connsiteX66" fmla="*/ 1263476 w 5633519"/>
                <a:gd name="connsiteY66" fmla="*/ 211648 h 284663"/>
                <a:gd name="connsiteX67" fmla="*/ 1352587 w 5633519"/>
                <a:gd name="connsiteY67" fmla="*/ 212728 h 284663"/>
                <a:gd name="connsiteX68" fmla="*/ 1306594 w 5633519"/>
                <a:gd name="connsiteY68" fmla="*/ 173828 h 284663"/>
                <a:gd name="connsiteX69" fmla="*/ 1249987 w 5633519"/>
                <a:gd name="connsiteY69" fmla="*/ 136729 h 284663"/>
                <a:gd name="connsiteX70" fmla="*/ 1332023 w 5633519"/>
                <a:gd name="connsiteY70" fmla="*/ 154198 h 284663"/>
                <a:gd name="connsiteX71" fmla="*/ 1412069 w 5633519"/>
                <a:gd name="connsiteY71" fmla="*/ 175089 h 284663"/>
                <a:gd name="connsiteX72" fmla="*/ 1491452 w 5633519"/>
                <a:gd name="connsiteY72" fmla="*/ 184274 h 284663"/>
                <a:gd name="connsiteX73" fmla="*/ 1453640 w 5633519"/>
                <a:gd name="connsiteY73" fmla="*/ 123943 h 284663"/>
                <a:gd name="connsiteX74" fmla="*/ 1406982 w 5633519"/>
                <a:gd name="connsiteY74" fmla="*/ 64512 h 284663"/>
                <a:gd name="connsiteX75" fmla="*/ 1354355 w 5633519"/>
                <a:gd name="connsiteY75" fmla="*/ 4001 h 284663"/>
                <a:gd name="connsiteX76" fmla="*/ 1382006 w 5633519"/>
                <a:gd name="connsiteY76" fmla="*/ 951 h 284663"/>
                <a:gd name="connsiteX0" fmla="*/ 2235618 w 5633519"/>
                <a:gd name="connsiteY0" fmla="*/ 277048 h 368488"/>
                <a:gd name="connsiteX1" fmla="*/ 0 w 5633519"/>
                <a:gd name="connsiteY1" fmla="*/ 284663 h 368488"/>
                <a:gd name="connsiteX2" fmla="*/ 5088 w 5633519"/>
                <a:gd name="connsiteY2" fmla="*/ 282101 h 368488"/>
                <a:gd name="connsiteX3" fmla="*/ 53499 w 5633519"/>
                <a:gd name="connsiteY3" fmla="*/ 215429 h 368488"/>
                <a:gd name="connsiteX4" fmla="*/ 146812 w 5633519"/>
                <a:gd name="connsiteY4" fmla="*/ 213989 h 368488"/>
                <a:gd name="connsiteX5" fmla="*/ 239905 w 5633519"/>
                <a:gd name="connsiteY5" fmla="*/ 215069 h 368488"/>
                <a:gd name="connsiteX6" fmla="*/ 332996 w 5633519"/>
                <a:gd name="connsiteY6" fmla="*/ 214169 h 368488"/>
                <a:gd name="connsiteX7" fmla="*/ 426088 w 5633519"/>
                <a:gd name="connsiteY7" fmla="*/ 220112 h 368488"/>
                <a:gd name="connsiteX8" fmla="*/ 519180 w 5633519"/>
                <a:gd name="connsiteY8" fmla="*/ 217050 h 368488"/>
                <a:gd name="connsiteX9" fmla="*/ 612273 w 5633519"/>
                <a:gd name="connsiteY9" fmla="*/ 218671 h 368488"/>
                <a:gd name="connsiteX10" fmla="*/ 705365 w 5633519"/>
                <a:gd name="connsiteY10" fmla="*/ 214529 h 368488"/>
                <a:gd name="connsiteX11" fmla="*/ 798457 w 5633519"/>
                <a:gd name="connsiteY11" fmla="*/ 213989 h 368488"/>
                <a:gd name="connsiteX12" fmla="*/ 891548 w 5633519"/>
                <a:gd name="connsiteY12" fmla="*/ 217590 h 368488"/>
                <a:gd name="connsiteX13" fmla="*/ 984641 w 5633519"/>
                <a:gd name="connsiteY13" fmla="*/ 218491 h 368488"/>
                <a:gd name="connsiteX14" fmla="*/ 1077733 w 5633519"/>
                <a:gd name="connsiteY14" fmla="*/ 221012 h 368488"/>
                <a:gd name="connsiteX15" fmla="*/ 1170825 w 5633519"/>
                <a:gd name="connsiteY15" fmla="*/ 213629 h 368488"/>
                <a:gd name="connsiteX16" fmla="*/ 1263476 w 5633519"/>
                <a:gd name="connsiteY16" fmla="*/ 211648 h 368488"/>
                <a:gd name="connsiteX17" fmla="*/ 1352587 w 5633519"/>
                <a:gd name="connsiteY17" fmla="*/ 212728 h 368488"/>
                <a:gd name="connsiteX18" fmla="*/ 1306594 w 5633519"/>
                <a:gd name="connsiteY18" fmla="*/ 173828 h 368488"/>
                <a:gd name="connsiteX19" fmla="*/ 1249987 w 5633519"/>
                <a:gd name="connsiteY19" fmla="*/ 136729 h 368488"/>
                <a:gd name="connsiteX20" fmla="*/ 1332023 w 5633519"/>
                <a:gd name="connsiteY20" fmla="*/ 154198 h 368488"/>
                <a:gd name="connsiteX21" fmla="*/ 1412069 w 5633519"/>
                <a:gd name="connsiteY21" fmla="*/ 175089 h 368488"/>
                <a:gd name="connsiteX22" fmla="*/ 1491452 w 5633519"/>
                <a:gd name="connsiteY22" fmla="*/ 184274 h 368488"/>
                <a:gd name="connsiteX23" fmla="*/ 1453640 w 5633519"/>
                <a:gd name="connsiteY23" fmla="*/ 123943 h 368488"/>
                <a:gd name="connsiteX24" fmla="*/ 1406982 w 5633519"/>
                <a:gd name="connsiteY24" fmla="*/ 64512 h 368488"/>
                <a:gd name="connsiteX25" fmla="*/ 1354355 w 5633519"/>
                <a:gd name="connsiteY25" fmla="*/ 4001 h 368488"/>
                <a:gd name="connsiteX26" fmla="*/ 1382006 w 5633519"/>
                <a:gd name="connsiteY26" fmla="*/ 951 h 368488"/>
                <a:gd name="connsiteX27" fmla="*/ 1444352 w 5633519"/>
                <a:gd name="connsiteY27" fmla="*/ 50285 h 368488"/>
                <a:gd name="connsiteX28" fmla="*/ 1531253 w 5633519"/>
                <a:gd name="connsiteY28" fmla="*/ 94948 h 368488"/>
                <a:gd name="connsiteX29" fmla="*/ 1619481 w 5633519"/>
                <a:gd name="connsiteY29" fmla="*/ 137269 h 368488"/>
                <a:gd name="connsiteX30" fmla="*/ 1702402 w 5633519"/>
                <a:gd name="connsiteY30" fmla="*/ 186795 h 368488"/>
                <a:gd name="connsiteX31" fmla="*/ 1795715 w 5633519"/>
                <a:gd name="connsiteY31" fmla="*/ 181932 h 368488"/>
                <a:gd name="connsiteX32" fmla="*/ 1888806 w 5633519"/>
                <a:gd name="connsiteY32" fmla="*/ 190397 h 368488"/>
                <a:gd name="connsiteX33" fmla="*/ 1981898 w 5633519"/>
                <a:gd name="connsiteY33" fmla="*/ 190397 h 368488"/>
                <a:gd name="connsiteX34" fmla="*/ 2074991 w 5633519"/>
                <a:gd name="connsiteY34" fmla="*/ 182293 h 368488"/>
                <a:gd name="connsiteX35" fmla="*/ 2168083 w 5633519"/>
                <a:gd name="connsiteY35" fmla="*/ 188416 h 368488"/>
                <a:gd name="connsiteX36" fmla="*/ 2260732 w 5633519"/>
                <a:gd name="connsiteY36" fmla="*/ 180852 h 368488"/>
                <a:gd name="connsiteX37" fmla="*/ 2353824 w 5633519"/>
                <a:gd name="connsiteY37" fmla="*/ 188055 h 368488"/>
                <a:gd name="connsiteX38" fmla="*/ 2446917 w 5633519"/>
                <a:gd name="connsiteY38" fmla="*/ 188055 h 368488"/>
                <a:gd name="connsiteX39" fmla="*/ 2539567 w 5633519"/>
                <a:gd name="connsiteY39" fmla="*/ 185714 h 368488"/>
                <a:gd name="connsiteX40" fmla="*/ 2632217 w 5633519"/>
                <a:gd name="connsiteY40" fmla="*/ 182653 h 368488"/>
                <a:gd name="connsiteX41" fmla="*/ 2725308 w 5633519"/>
                <a:gd name="connsiteY41" fmla="*/ 183733 h 368488"/>
                <a:gd name="connsiteX42" fmla="*/ 2817959 w 5633519"/>
                <a:gd name="connsiteY42" fmla="*/ 188596 h 368488"/>
                <a:gd name="connsiteX43" fmla="*/ 2910609 w 5633519"/>
                <a:gd name="connsiteY43" fmla="*/ 188596 h 368488"/>
                <a:gd name="connsiteX44" fmla="*/ 3003258 w 5633519"/>
                <a:gd name="connsiteY44" fmla="*/ 188416 h 368488"/>
                <a:gd name="connsiteX45" fmla="*/ 3095908 w 5633519"/>
                <a:gd name="connsiteY45" fmla="*/ 185894 h 368488"/>
                <a:gd name="connsiteX46" fmla="*/ 3188559 w 5633519"/>
                <a:gd name="connsiteY46" fmla="*/ 186795 h 368488"/>
                <a:gd name="connsiteX47" fmla="*/ 3281207 w 5633519"/>
                <a:gd name="connsiteY47" fmla="*/ 181032 h 368488"/>
                <a:gd name="connsiteX48" fmla="*/ 3373858 w 5633519"/>
                <a:gd name="connsiteY48" fmla="*/ 183373 h 368488"/>
                <a:gd name="connsiteX49" fmla="*/ 3466507 w 5633519"/>
                <a:gd name="connsiteY49" fmla="*/ 187335 h 368488"/>
                <a:gd name="connsiteX50" fmla="*/ 3559157 w 5633519"/>
                <a:gd name="connsiteY50" fmla="*/ 191297 h 368488"/>
                <a:gd name="connsiteX51" fmla="*/ 3651807 w 5633519"/>
                <a:gd name="connsiteY51" fmla="*/ 181032 h 368488"/>
                <a:gd name="connsiteX52" fmla="*/ 3744457 w 5633519"/>
                <a:gd name="connsiteY52" fmla="*/ 181572 h 368488"/>
                <a:gd name="connsiteX53" fmla="*/ 3837107 w 5633519"/>
                <a:gd name="connsiteY53" fmla="*/ 186255 h 368488"/>
                <a:gd name="connsiteX54" fmla="*/ 3929757 w 5633519"/>
                <a:gd name="connsiteY54" fmla="*/ 190937 h 368488"/>
                <a:gd name="connsiteX55" fmla="*/ 4022406 w 5633519"/>
                <a:gd name="connsiteY55" fmla="*/ 191477 h 368488"/>
                <a:gd name="connsiteX56" fmla="*/ 4115057 w 5633519"/>
                <a:gd name="connsiteY56" fmla="*/ 186615 h 368488"/>
                <a:gd name="connsiteX57" fmla="*/ 4207707 w 5633519"/>
                <a:gd name="connsiteY57" fmla="*/ 184274 h 368488"/>
                <a:gd name="connsiteX58" fmla="*/ 4300356 w 5633519"/>
                <a:gd name="connsiteY58" fmla="*/ 192017 h 368488"/>
                <a:gd name="connsiteX59" fmla="*/ 4393007 w 5633519"/>
                <a:gd name="connsiteY59" fmla="*/ 183193 h 368488"/>
                <a:gd name="connsiteX60" fmla="*/ 4485657 w 5633519"/>
                <a:gd name="connsiteY60" fmla="*/ 184093 h 368488"/>
                <a:gd name="connsiteX61" fmla="*/ 4578305 w 5633519"/>
                <a:gd name="connsiteY61" fmla="*/ 187335 h 368488"/>
                <a:gd name="connsiteX62" fmla="*/ 4670956 w 5633519"/>
                <a:gd name="connsiteY62" fmla="*/ 190036 h 368488"/>
                <a:gd name="connsiteX63" fmla="*/ 4763605 w 5633519"/>
                <a:gd name="connsiteY63" fmla="*/ 186435 h 368488"/>
                <a:gd name="connsiteX64" fmla="*/ 4856255 w 5633519"/>
                <a:gd name="connsiteY64" fmla="*/ 192378 h 368488"/>
                <a:gd name="connsiteX65" fmla="*/ 4948905 w 5633519"/>
                <a:gd name="connsiteY65" fmla="*/ 191657 h 368488"/>
                <a:gd name="connsiteX66" fmla="*/ 5041556 w 5633519"/>
                <a:gd name="connsiteY66" fmla="*/ 190757 h 368488"/>
                <a:gd name="connsiteX67" fmla="*/ 5134205 w 5633519"/>
                <a:gd name="connsiteY67" fmla="*/ 186074 h 368488"/>
                <a:gd name="connsiteX68" fmla="*/ 5226855 w 5633519"/>
                <a:gd name="connsiteY68" fmla="*/ 186074 h 368488"/>
                <a:gd name="connsiteX69" fmla="*/ 5319505 w 5633519"/>
                <a:gd name="connsiteY69" fmla="*/ 190036 h 368488"/>
                <a:gd name="connsiteX70" fmla="*/ 5412155 w 5633519"/>
                <a:gd name="connsiteY70" fmla="*/ 184274 h 368488"/>
                <a:gd name="connsiteX71" fmla="*/ 5493944 w 5633519"/>
                <a:gd name="connsiteY71" fmla="*/ 190073 h 368488"/>
                <a:gd name="connsiteX72" fmla="*/ 5585487 w 5633519"/>
                <a:gd name="connsiteY72" fmla="*/ 197578 h 368488"/>
                <a:gd name="connsiteX73" fmla="*/ 5633304 w 5633519"/>
                <a:gd name="connsiteY73" fmla="*/ 207189 h 368488"/>
                <a:gd name="connsiteX74" fmla="*/ 5629900 w 5633519"/>
                <a:gd name="connsiteY74" fmla="*/ 253384 h 368488"/>
                <a:gd name="connsiteX75" fmla="*/ 5625668 w 5633519"/>
                <a:gd name="connsiteY75" fmla="*/ 280398 h 368488"/>
                <a:gd name="connsiteX76" fmla="*/ 2327058 w 5633519"/>
                <a:gd name="connsiteY76" fmla="*/ 368488 h 368488"/>
                <a:gd name="connsiteX0" fmla="*/ 2235618 w 5633519"/>
                <a:gd name="connsiteY0" fmla="*/ 277048 h 284663"/>
                <a:gd name="connsiteX1" fmla="*/ 0 w 5633519"/>
                <a:gd name="connsiteY1" fmla="*/ 284663 h 284663"/>
                <a:gd name="connsiteX2" fmla="*/ 5088 w 5633519"/>
                <a:gd name="connsiteY2" fmla="*/ 282101 h 284663"/>
                <a:gd name="connsiteX3" fmla="*/ 53499 w 5633519"/>
                <a:gd name="connsiteY3" fmla="*/ 215429 h 284663"/>
                <a:gd name="connsiteX4" fmla="*/ 146812 w 5633519"/>
                <a:gd name="connsiteY4" fmla="*/ 213989 h 284663"/>
                <a:gd name="connsiteX5" fmla="*/ 239905 w 5633519"/>
                <a:gd name="connsiteY5" fmla="*/ 215069 h 284663"/>
                <a:gd name="connsiteX6" fmla="*/ 332996 w 5633519"/>
                <a:gd name="connsiteY6" fmla="*/ 214169 h 284663"/>
                <a:gd name="connsiteX7" fmla="*/ 426088 w 5633519"/>
                <a:gd name="connsiteY7" fmla="*/ 220112 h 284663"/>
                <a:gd name="connsiteX8" fmla="*/ 519180 w 5633519"/>
                <a:gd name="connsiteY8" fmla="*/ 217050 h 284663"/>
                <a:gd name="connsiteX9" fmla="*/ 612273 w 5633519"/>
                <a:gd name="connsiteY9" fmla="*/ 218671 h 284663"/>
                <a:gd name="connsiteX10" fmla="*/ 705365 w 5633519"/>
                <a:gd name="connsiteY10" fmla="*/ 214529 h 284663"/>
                <a:gd name="connsiteX11" fmla="*/ 798457 w 5633519"/>
                <a:gd name="connsiteY11" fmla="*/ 213989 h 284663"/>
                <a:gd name="connsiteX12" fmla="*/ 891548 w 5633519"/>
                <a:gd name="connsiteY12" fmla="*/ 217590 h 284663"/>
                <a:gd name="connsiteX13" fmla="*/ 984641 w 5633519"/>
                <a:gd name="connsiteY13" fmla="*/ 218491 h 284663"/>
                <a:gd name="connsiteX14" fmla="*/ 1077733 w 5633519"/>
                <a:gd name="connsiteY14" fmla="*/ 221012 h 284663"/>
                <a:gd name="connsiteX15" fmla="*/ 1170825 w 5633519"/>
                <a:gd name="connsiteY15" fmla="*/ 213629 h 284663"/>
                <a:gd name="connsiteX16" fmla="*/ 1263476 w 5633519"/>
                <a:gd name="connsiteY16" fmla="*/ 211648 h 284663"/>
                <a:gd name="connsiteX17" fmla="*/ 1352587 w 5633519"/>
                <a:gd name="connsiteY17" fmla="*/ 212728 h 284663"/>
                <a:gd name="connsiteX18" fmla="*/ 1306594 w 5633519"/>
                <a:gd name="connsiteY18" fmla="*/ 173828 h 284663"/>
                <a:gd name="connsiteX19" fmla="*/ 1249987 w 5633519"/>
                <a:gd name="connsiteY19" fmla="*/ 136729 h 284663"/>
                <a:gd name="connsiteX20" fmla="*/ 1332023 w 5633519"/>
                <a:gd name="connsiteY20" fmla="*/ 154198 h 284663"/>
                <a:gd name="connsiteX21" fmla="*/ 1412069 w 5633519"/>
                <a:gd name="connsiteY21" fmla="*/ 175089 h 284663"/>
                <a:gd name="connsiteX22" fmla="*/ 1491452 w 5633519"/>
                <a:gd name="connsiteY22" fmla="*/ 184274 h 284663"/>
                <a:gd name="connsiteX23" fmla="*/ 1453640 w 5633519"/>
                <a:gd name="connsiteY23" fmla="*/ 123943 h 284663"/>
                <a:gd name="connsiteX24" fmla="*/ 1406982 w 5633519"/>
                <a:gd name="connsiteY24" fmla="*/ 64512 h 284663"/>
                <a:gd name="connsiteX25" fmla="*/ 1354355 w 5633519"/>
                <a:gd name="connsiteY25" fmla="*/ 4001 h 284663"/>
                <a:gd name="connsiteX26" fmla="*/ 1382006 w 5633519"/>
                <a:gd name="connsiteY26" fmla="*/ 951 h 284663"/>
                <a:gd name="connsiteX27" fmla="*/ 1444352 w 5633519"/>
                <a:gd name="connsiteY27" fmla="*/ 50285 h 284663"/>
                <a:gd name="connsiteX28" fmla="*/ 1531253 w 5633519"/>
                <a:gd name="connsiteY28" fmla="*/ 94948 h 284663"/>
                <a:gd name="connsiteX29" fmla="*/ 1619481 w 5633519"/>
                <a:gd name="connsiteY29" fmla="*/ 137269 h 284663"/>
                <a:gd name="connsiteX30" fmla="*/ 1702402 w 5633519"/>
                <a:gd name="connsiteY30" fmla="*/ 186795 h 284663"/>
                <a:gd name="connsiteX31" fmla="*/ 1795715 w 5633519"/>
                <a:gd name="connsiteY31" fmla="*/ 181932 h 284663"/>
                <a:gd name="connsiteX32" fmla="*/ 1888806 w 5633519"/>
                <a:gd name="connsiteY32" fmla="*/ 190397 h 284663"/>
                <a:gd name="connsiteX33" fmla="*/ 1981898 w 5633519"/>
                <a:gd name="connsiteY33" fmla="*/ 190397 h 284663"/>
                <a:gd name="connsiteX34" fmla="*/ 2074991 w 5633519"/>
                <a:gd name="connsiteY34" fmla="*/ 182293 h 284663"/>
                <a:gd name="connsiteX35" fmla="*/ 2168083 w 5633519"/>
                <a:gd name="connsiteY35" fmla="*/ 188416 h 284663"/>
                <a:gd name="connsiteX36" fmla="*/ 2260732 w 5633519"/>
                <a:gd name="connsiteY36" fmla="*/ 180852 h 284663"/>
                <a:gd name="connsiteX37" fmla="*/ 2353824 w 5633519"/>
                <a:gd name="connsiteY37" fmla="*/ 188055 h 284663"/>
                <a:gd name="connsiteX38" fmla="*/ 2446917 w 5633519"/>
                <a:gd name="connsiteY38" fmla="*/ 188055 h 284663"/>
                <a:gd name="connsiteX39" fmla="*/ 2539567 w 5633519"/>
                <a:gd name="connsiteY39" fmla="*/ 185714 h 284663"/>
                <a:gd name="connsiteX40" fmla="*/ 2632217 w 5633519"/>
                <a:gd name="connsiteY40" fmla="*/ 182653 h 284663"/>
                <a:gd name="connsiteX41" fmla="*/ 2725308 w 5633519"/>
                <a:gd name="connsiteY41" fmla="*/ 183733 h 284663"/>
                <a:gd name="connsiteX42" fmla="*/ 2817959 w 5633519"/>
                <a:gd name="connsiteY42" fmla="*/ 188596 h 284663"/>
                <a:gd name="connsiteX43" fmla="*/ 2910609 w 5633519"/>
                <a:gd name="connsiteY43" fmla="*/ 188596 h 284663"/>
                <a:gd name="connsiteX44" fmla="*/ 3003258 w 5633519"/>
                <a:gd name="connsiteY44" fmla="*/ 188416 h 284663"/>
                <a:gd name="connsiteX45" fmla="*/ 3095908 w 5633519"/>
                <a:gd name="connsiteY45" fmla="*/ 185894 h 284663"/>
                <a:gd name="connsiteX46" fmla="*/ 3188559 w 5633519"/>
                <a:gd name="connsiteY46" fmla="*/ 186795 h 284663"/>
                <a:gd name="connsiteX47" fmla="*/ 3281207 w 5633519"/>
                <a:gd name="connsiteY47" fmla="*/ 181032 h 284663"/>
                <a:gd name="connsiteX48" fmla="*/ 3373858 w 5633519"/>
                <a:gd name="connsiteY48" fmla="*/ 183373 h 284663"/>
                <a:gd name="connsiteX49" fmla="*/ 3466507 w 5633519"/>
                <a:gd name="connsiteY49" fmla="*/ 187335 h 284663"/>
                <a:gd name="connsiteX50" fmla="*/ 3559157 w 5633519"/>
                <a:gd name="connsiteY50" fmla="*/ 191297 h 284663"/>
                <a:gd name="connsiteX51" fmla="*/ 3651807 w 5633519"/>
                <a:gd name="connsiteY51" fmla="*/ 181032 h 284663"/>
                <a:gd name="connsiteX52" fmla="*/ 3744457 w 5633519"/>
                <a:gd name="connsiteY52" fmla="*/ 181572 h 284663"/>
                <a:gd name="connsiteX53" fmla="*/ 3837107 w 5633519"/>
                <a:gd name="connsiteY53" fmla="*/ 186255 h 284663"/>
                <a:gd name="connsiteX54" fmla="*/ 3929757 w 5633519"/>
                <a:gd name="connsiteY54" fmla="*/ 190937 h 284663"/>
                <a:gd name="connsiteX55" fmla="*/ 4022406 w 5633519"/>
                <a:gd name="connsiteY55" fmla="*/ 191477 h 284663"/>
                <a:gd name="connsiteX56" fmla="*/ 4115057 w 5633519"/>
                <a:gd name="connsiteY56" fmla="*/ 186615 h 284663"/>
                <a:gd name="connsiteX57" fmla="*/ 4207707 w 5633519"/>
                <a:gd name="connsiteY57" fmla="*/ 184274 h 284663"/>
                <a:gd name="connsiteX58" fmla="*/ 4300356 w 5633519"/>
                <a:gd name="connsiteY58" fmla="*/ 192017 h 284663"/>
                <a:gd name="connsiteX59" fmla="*/ 4393007 w 5633519"/>
                <a:gd name="connsiteY59" fmla="*/ 183193 h 284663"/>
                <a:gd name="connsiteX60" fmla="*/ 4485657 w 5633519"/>
                <a:gd name="connsiteY60" fmla="*/ 184093 h 284663"/>
                <a:gd name="connsiteX61" fmla="*/ 4578305 w 5633519"/>
                <a:gd name="connsiteY61" fmla="*/ 187335 h 284663"/>
                <a:gd name="connsiteX62" fmla="*/ 4670956 w 5633519"/>
                <a:gd name="connsiteY62" fmla="*/ 190036 h 284663"/>
                <a:gd name="connsiteX63" fmla="*/ 4763605 w 5633519"/>
                <a:gd name="connsiteY63" fmla="*/ 186435 h 284663"/>
                <a:gd name="connsiteX64" fmla="*/ 4856255 w 5633519"/>
                <a:gd name="connsiteY64" fmla="*/ 192378 h 284663"/>
                <a:gd name="connsiteX65" fmla="*/ 4948905 w 5633519"/>
                <a:gd name="connsiteY65" fmla="*/ 191657 h 284663"/>
                <a:gd name="connsiteX66" fmla="*/ 5041556 w 5633519"/>
                <a:gd name="connsiteY66" fmla="*/ 190757 h 284663"/>
                <a:gd name="connsiteX67" fmla="*/ 5134205 w 5633519"/>
                <a:gd name="connsiteY67" fmla="*/ 186074 h 284663"/>
                <a:gd name="connsiteX68" fmla="*/ 5226855 w 5633519"/>
                <a:gd name="connsiteY68" fmla="*/ 186074 h 284663"/>
                <a:gd name="connsiteX69" fmla="*/ 5319505 w 5633519"/>
                <a:gd name="connsiteY69" fmla="*/ 190036 h 284663"/>
                <a:gd name="connsiteX70" fmla="*/ 5412155 w 5633519"/>
                <a:gd name="connsiteY70" fmla="*/ 184274 h 284663"/>
                <a:gd name="connsiteX71" fmla="*/ 5493944 w 5633519"/>
                <a:gd name="connsiteY71" fmla="*/ 190073 h 284663"/>
                <a:gd name="connsiteX72" fmla="*/ 5585487 w 5633519"/>
                <a:gd name="connsiteY72" fmla="*/ 197578 h 284663"/>
                <a:gd name="connsiteX73" fmla="*/ 5633304 w 5633519"/>
                <a:gd name="connsiteY73" fmla="*/ 207189 h 284663"/>
                <a:gd name="connsiteX74" fmla="*/ 5629900 w 5633519"/>
                <a:gd name="connsiteY74" fmla="*/ 253384 h 284663"/>
                <a:gd name="connsiteX75" fmla="*/ 5625668 w 5633519"/>
                <a:gd name="connsiteY75" fmla="*/ 280398 h 284663"/>
                <a:gd name="connsiteX0" fmla="*/ 0 w 5633519"/>
                <a:gd name="connsiteY0" fmla="*/ 284663 h 284663"/>
                <a:gd name="connsiteX1" fmla="*/ 5088 w 5633519"/>
                <a:gd name="connsiteY1" fmla="*/ 282101 h 284663"/>
                <a:gd name="connsiteX2" fmla="*/ 53499 w 5633519"/>
                <a:gd name="connsiteY2" fmla="*/ 215429 h 284663"/>
                <a:gd name="connsiteX3" fmla="*/ 146812 w 5633519"/>
                <a:gd name="connsiteY3" fmla="*/ 213989 h 284663"/>
                <a:gd name="connsiteX4" fmla="*/ 239905 w 5633519"/>
                <a:gd name="connsiteY4" fmla="*/ 215069 h 284663"/>
                <a:gd name="connsiteX5" fmla="*/ 332996 w 5633519"/>
                <a:gd name="connsiteY5" fmla="*/ 214169 h 284663"/>
                <a:gd name="connsiteX6" fmla="*/ 426088 w 5633519"/>
                <a:gd name="connsiteY6" fmla="*/ 220112 h 284663"/>
                <a:gd name="connsiteX7" fmla="*/ 519180 w 5633519"/>
                <a:gd name="connsiteY7" fmla="*/ 217050 h 284663"/>
                <a:gd name="connsiteX8" fmla="*/ 612273 w 5633519"/>
                <a:gd name="connsiteY8" fmla="*/ 218671 h 284663"/>
                <a:gd name="connsiteX9" fmla="*/ 705365 w 5633519"/>
                <a:gd name="connsiteY9" fmla="*/ 214529 h 284663"/>
                <a:gd name="connsiteX10" fmla="*/ 798457 w 5633519"/>
                <a:gd name="connsiteY10" fmla="*/ 213989 h 284663"/>
                <a:gd name="connsiteX11" fmla="*/ 891548 w 5633519"/>
                <a:gd name="connsiteY11" fmla="*/ 217590 h 284663"/>
                <a:gd name="connsiteX12" fmla="*/ 984641 w 5633519"/>
                <a:gd name="connsiteY12" fmla="*/ 218491 h 284663"/>
                <a:gd name="connsiteX13" fmla="*/ 1077733 w 5633519"/>
                <a:gd name="connsiteY13" fmla="*/ 221012 h 284663"/>
                <a:gd name="connsiteX14" fmla="*/ 1170825 w 5633519"/>
                <a:gd name="connsiteY14" fmla="*/ 213629 h 284663"/>
                <a:gd name="connsiteX15" fmla="*/ 1263476 w 5633519"/>
                <a:gd name="connsiteY15" fmla="*/ 211648 h 284663"/>
                <a:gd name="connsiteX16" fmla="*/ 1352587 w 5633519"/>
                <a:gd name="connsiteY16" fmla="*/ 212728 h 284663"/>
                <a:gd name="connsiteX17" fmla="*/ 1306594 w 5633519"/>
                <a:gd name="connsiteY17" fmla="*/ 173828 h 284663"/>
                <a:gd name="connsiteX18" fmla="*/ 1249987 w 5633519"/>
                <a:gd name="connsiteY18" fmla="*/ 136729 h 284663"/>
                <a:gd name="connsiteX19" fmla="*/ 1332023 w 5633519"/>
                <a:gd name="connsiteY19" fmla="*/ 154198 h 284663"/>
                <a:gd name="connsiteX20" fmla="*/ 1412069 w 5633519"/>
                <a:gd name="connsiteY20" fmla="*/ 175089 h 284663"/>
                <a:gd name="connsiteX21" fmla="*/ 1491452 w 5633519"/>
                <a:gd name="connsiteY21" fmla="*/ 184274 h 284663"/>
                <a:gd name="connsiteX22" fmla="*/ 1453640 w 5633519"/>
                <a:gd name="connsiteY22" fmla="*/ 123943 h 284663"/>
                <a:gd name="connsiteX23" fmla="*/ 1406982 w 5633519"/>
                <a:gd name="connsiteY23" fmla="*/ 64512 h 284663"/>
                <a:gd name="connsiteX24" fmla="*/ 1354355 w 5633519"/>
                <a:gd name="connsiteY24" fmla="*/ 4001 h 284663"/>
                <a:gd name="connsiteX25" fmla="*/ 1382006 w 5633519"/>
                <a:gd name="connsiteY25" fmla="*/ 951 h 284663"/>
                <a:gd name="connsiteX26" fmla="*/ 1444352 w 5633519"/>
                <a:gd name="connsiteY26" fmla="*/ 50285 h 284663"/>
                <a:gd name="connsiteX27" fmla="*/ 1531253 w 5633519"/>
                <a:gd name="connsiteY27" fmla="*/ 94948 h 284663"/>
                <a:gd name="connsiteX28" fmla="*/ 1619481 w 5633519"/>
                <a:gd name="connsiteY28" fmla="*/ 137269 h 284663"/>
                <a:gd name="connsiteX29" fmla="*/ 1702402 w 5633519"/>
                <a:gd name="connsiteY29" fmla="*/ 186795 h 284663"/>
                <a:gd name="connsiteX30" fmla="*/ 1795715 w 5633519"/>
                <a:gd name="connsiteY30" fmla="*/ 181932 h 284663"/>
                <a:gd name="connsiteX31" fmla="*/ 1888806 w 5633519"/>
                <a:gd name="connsiteY31" fmla="*/ 190397 h 284663"/>
                <a:gd name="connsiteX32" fmla="*/ 1981898 w 5633519"/>
                <a:gd name="connsiteY32" fmla="*/ 190397 h 284663"/>
                <a:gd name="connsiteX33" fmla="*/ 2074991 w 5633519"/>
                <a:gd name="connsiteY33" fmla="*/ 182293 h 284663"/>
                <a:gd name="connsiteX34" fmla="*/ 2168083 w 5633519"/>
                <a:gd name="connsiteY34" fmla="*/ 188416 h 284663"/>
                <a:gd name="connsiteX35" fmla="*/ 2260732 w 5633519"/>
                <a:gd name="connsiteY35" fmla="*/ 180852 h 284663"/>
                <a:gd name="connsiteX36" fmla="*/ 2353824 w 5633519"/>
                <a:gd name="connsiteY36" fmla="*/ 188055 h 284663"/>
                <a:gd name="connsiteX37" fmla="*/ 2446917 w 5633519"/>
                <a:gd name="connsiteY37" fmla="*/ 188055 h 284663"/>
                <a:gd name="connsiteX38" fmla="*/ 2539567 w 5633519"/>
                <a:gd name="connsiteY38" fmla="*/ 185714 h 284663"/>
                <a:gd name="connsiteX39" fmla="*/ 2632217 w 5633519"/>
                <a:gd name="connsiteY39" fmla="*/ 182653 h 284663"/>
                <a:gd name="connsiteX40" fmla="*/ 2725308 w 5633519"/>
                <a:gd name="connsiteY40" fmla="*/ 183733 h 284663"/>
                <a:gd name="connsiteX41" fmla="*/ 2817959 w 5633519"/>
                <a:gd name="connsiteY41" fmla="*/ 188596 h 284663"/>
                <a:gd name="connsiteX42" fmla="*/ 2910609 w 5633519"/>
                <a:gd name="connsiteY42" fmla="*/ 188596 h 284663"/>
                <a:gd name="connsiteX43" fmla="*/ 3003258 w 5633519"/>
                <a:gd name="connsiteY43" fmla="*/ 188416 h 284663"/>
                <a:gd name="connsiteX44" fmla="*/ 3095908 w 5633519"/>
                <a:gd name="connsiteY44" fmla="*/ 185894 h 284663"/>
                <a:gd name="connsiteX45" fmla="*/ 3188559 w 5633519"/>
                <a:gd name="connsiteY45" fmla="*/ 186795 h 284663"/>
                <a:gd name="connsiteX46" fmla="*/ 3281207 w 5633519"/>
                <a:gd name="connsiteY46" fmla="*/ 181032 h 284663"/>
                <a:gd name="connsiteX47" fmla="*/ 3373858 w 5633519"/>
                <a:gd name="connsiteY47" fmla="*/ 183373 h 284663"/>
                <a:gd name="connsiteX48" fmla="*/ 3466507 w 5633519"/>
                <a:gd name="connsiteY48" fmla="*/ 187335 h 284663"/>
                <a:gd name="connsiteX49" fmla="*/ 3559157 w 5633519"/>
                <a:gd name="connsiteY49" fmla="*/ 191297 h 284663"/>
                <a:gd name="connsiteX50" fmla="*/ 3651807 w 5633519"/>
                <a:gd name="connsiteY50" fmla="*/ 181032 h 284663"/>
                <a:gd name="connsiteX51" fmla="*/ 3744457 w 5633519"/>
                <a:gd name="connsiteY51" fmla="*/ 181572 h 284663"/>
                <a:gd name="connsiteX52" fmla="*/ 3837107 w 5633519"/>
                <a:gd name="connsiteY52" fmla="*/ 186255 h 284663"/>
                <a:gd name="connsiteX53" fmla="*/ 3929757 w 5633519"/>
                <a:gd name="connsiteY53" fmla="*/ 190937 h 284663"/>
                <a:gd name="connsiteX54" fmla="*/ 4022406 w 5633519"/>
                <a:gd name="connsiteY54" fmla="*/ 191477 h 284663"/>
                <a:gd name="connsiteX55" fmla="*/ 4115057 w 5633519"/>
                <a:gd name="connsiteY55" fmla="*/ 186615 h 284663"/>
                <a:gd name="connsiteX56" fmla="*/ 4207707 w 5633519"/>
                <a:gd name="connsiteY56" fmla="*/ 184274 h 284663"/>
                <a:gd name="connsiteX57" fmla="*/ 4300356 w 5633519"/>
                <a:gd name="connsiteY57" fmla="*/ 192017 h 284663"/>
                <a:gd name="connsiteX58" fmla="*/ 4393007 w 5633519"/>
                <a:gd name="connsiteY58" fmla="*/ 183193 h 284663"/>
                <a:gd name="connsiteX59" fmla="*/ 4485657 w 5633519"/>
                <a:gd name="connsiteY59" fmla="*/ 184093 h 284663"/>
                <a:gd name="connsiteX60" fmla="*/ 4578305 w 5633519"/>
                <a:gd name="connsiteY60" fmla="*/ 187335 h 284663"/>
                <a:gd name="connsiteX61" fmla="*/ 4670956 w 5633519"/>
                <a:gd name="connsiteY61" fmla="*/ 190036 h 284663"/>
                <a:gd name="connsiteX62" fmla="*/ 4763605 w 5633519"/>
                <a:gd name="connsiteY62" fmla="*/ 186435 h 284663"/>
                <a:gd name="connsiteX63" fmla="*/ 4856255 w 5633519"/>
                <a:gd name="connsiteY63" fmla="*/ 192378 h 284663"/>
                <a:gd name="connsiteX64" fmla="*/ 4948905 w 5633519"/>
                <a:gd name="connsiteY64" fmla="*/ 191657 h 284663"/>
                <a:gd name="connsiteX65" fmla="*/ 5041556 w 5633519"/>
                <a:gd name="connsiteY65" fmla="*/ 190757 h 284663"/>
                <a:gd name="connsiteX66" fmla="*/ 5134205 w 5633519"/>
                <a:gd name="connsiteY66" fmla="*/ 186074 h 284663"/>
                <a:gd name="connsiteX67" fmla="*/ 5226855 w 5633519"/>
                <a:gd name="connsiteY67" fmla="*/ 186074 h 284663"/>
                <a:gd name="connsiteX68" fmla="*/ 5319505 w 5633519"/>
                <a:gd name="connsiteY68" fmla="*/ 190036 h 284663"/>
                <a:gd name="connsiteX69" fmla="*/ 5412155 w 5633519"/>
                <a:gd name="connsiteY69" fmla="*/ 184274 h 284663"/>
                <a:gd name="connsiteX70" fmla="*/ 5493944 w 5633519"/>
                <a:gd name="connsiteY70" fmla="*/ 190073 h 284663"/>
                <a:gd name="connsiteX71" fmla="*/ 5585487 w 5633519"/>
                <a:gd name="connsiteY71" fmla="*/ 197578 h 284663"/>
                <a:gd name="connsiteX72" fmla="*/ 5633304 w 5633519"/>
                <a:gd name="connsiteY72" fmla="*/ 207189 h 284663"/>
                <a:gd name="connsiteX73" fmla="*/ 5629900 w 5633519"/>
                <a:gd name="connsiteY73" fmla="*/ 253384 h 284663"/>
                <a:gd name="connsiteX74" fmla="*/ 5625668 w 5633519"/>
                <a:gd name="connsiteY74" fmla="*/ 280398 h 284663"/>
                <a:gd name="connsiteX0" fmla="*/ 0 w 5633519"/>
                <a:gd name="connsiteY0" fmla="*/ 284663 h 284663"/>
                <a:gd name="connsiteX1" fmla="*/ 5088 w 5633519"/>
                <a:gd name="connsiteY1" fmla="*/ 282101 h 284663"/>
                <a:gd name="connsiteX2" fmla="*/ 53499 w 5633519"/>
                <a:gd name="connsiteY2" fmla="*/ 215429 h 284663"/>
                <a:gd name="connsiteX3" fmla="*/ 146812 w 5633519"/>
                <a:gd name="connsiteY3" fmla="*/ 213989 h 284663"/>
                <a:gd name="connsiteX4" fmla="*/ 239905 w 5633519"/>
                <a:gd name="connsiteY4" fmla="*/ 215069 h 284663"/>
                <a:gd name="connsiteX5" fmla="*/ 332996 w 5633519"/>
                <a:gd name="connsiteY5" fmla="*/ 214169 h 284663"/>
                <a:gd name="connsiteX6" fmla="*/ 426088 w 5633519"/>
                <a:gd name="connsiteY6" fmla="*/ 220112 h 284663"/>
                <a:gd name="connsiteX7" fmla="*/ 519180 w 5633519"/>
                <a:gd name="connsiteY7" fmla="*/ 217050 h 284663"/>
                <a:gd name="connsiteX8" fmla="*/ 612273 w 5633519"/>
                <a:gd name="connsiteY8" fmla="*/ 218671 h 284663"/>
                <a:gd name="connsiteX9" fmla="*/ 705365 w 5633519"/>
                <a:gd name="connsiteY9" fmla="*/ 214529 h 284663"/>
                <a:gd name="connsiteX10" fmla="*/ 798457 w 5633519"/>
                <a:gd name="connsiteY10" fmla="*/ 213989 h 284663"/>
                <a:gd name="connsiteX11" fmla="*/ 891548 w 5633519"/>
                <a:gd name="connsiteY11" fmla="*/ 217590 h 284663"/>
                <a:gd name="connsiteX12" fmla="*/ 984641 w 5633519"/>
                <a:gd name="connsiteY12" fmla="*/ 218491 h 284663"/>
                <a:gd name="connsiteX13" fmla="*/ 1077733 w 5633519"/>
                <a:gd name="connsiteY13" fmla="*/ 221012 h 284663"/>
                <a:gd name="connsiteX14" fmla="*/ 1170825 w 5633519"/>
                <a:gd name="connsiteY14" fmla="*/ 213629 h 284663"/>
                <a:gd name="connsiteX15" fmla="*/ 1263476 w 5633519"/>
                <a:gd name="connsiteY15" fmla="*/ 211648 h 284663"/>
                <a:gd name="connsiteX16" fmla="*/ 1352587 w 5633519"/>
                <a:gd name="connsiteY16" fmla="*/ 212728 h 284663"/>
                <a:gd name="connsiteX17" fmla="*/ 1306594 w 5633519"/>
                <a:gd name="connsiteY17" fmla="*/ 173828 h 284663"/>
                <a:gd name="connsiteX18" fmla="*/ 1249987 w 5633519"/>
                <a:gd name="connsiteY18" fmla="*/ 136729 h 284663"/>
                <a:gd name="connsiteX19" fmla="*/ 1332023 w 5633519"/>
                <a:gd name="connsiteY19" fmla="*/ 154198 h 284663"/>
                <a:gd name="connsiteX20" fmla="*/ 1412069 w 5633519"/>
                <a:gd name="connsiteY20" fmla="*/ 175089 h 284663"/>
                <a:gd name="connsiteX21" fmla="*/ 1491452 w 5633519"/>
                <a:gd name="connsiteY21" fmla="*/ 184274 h 284663"/>
                <a:gd name="connsiteX22" fmla="*/ 1453640 w 5633519"/>
                <a:gd name="connsiteY22" fmla="*/ 123943 h 284663"/>
                <a:gd name="connsiteX23" fmla="*/ 1406982 w 5633519"/>
                <a:gd name="connsiteY23" fmla="*/ 64512 h 284663"/>
                <a:gd name="connsiteX24" fmla="*/ 1354355 w 5633519"/>
                <a:gd name="connsiteY24" fmla="*/ 4001 h 284663"/>
                <a:gd name="connsiteX25" fmla="*/ 1382006 w 5633519"/>
                <a:gd name="connsiteY25" fmla="*/ 951 h 284663"/>
                <a:gd name="connsiteX26" fmla="*/ 1444352 w 5633519"/>
                <a:gd name="connsiteY26" fmla="*/ 50285 h 284663"/>
                <a:gd name="connsiteX27" fmla="*/ 1531253 w 5633519"/>
                <a:gd name="connsiteY27" fmla="*/ 94948 h 284663"/>
                <a:gd name="connsiteX28" fmla="*/ 1619481 w 5633519"/>
                <a:gd name="connsiteY28" fmla="*/ 137269 h 284663"/>
                <a:gd name="connsiteX29" fmla="*/ 1702402 w 5633519"/>
                <a:gd name="connsiteY29" fmla="*/ 186795 h 284663"/>
                <a:gd name="connsiteX30" fmla="*/ 1795715 w 5633519"/>
                <a:gd name="connsiteY30" fmla="*/ 181932 h 284663"/>
                <a:gd name="connsiteX31" fmla="*/ 1888806 w 5633519"/>
                <a:gd name="connsiteY31" fmla="*/ 190397 h 284663"/>
                <a:gd name="connsiteX32" fmla="*/ 1981898 w 5633519"/>
                <a:gd name="connsiteY32" fmla="*/ 190397 h 284663"/>
                <a:gd name="connsiteX33" fmla="*/ 2074991 w 5633519"/>
                <a:gd name="connsiteY33" fmla="*/ 182293 h 284663"/>
                <a:gd name="connsiteX34" fmla="*/ 2168083 w 5633519"/>
                <a:gd name="connsiteY34" fmla="*/ 188416 h 284663"/>
                <a:gd name="connsiteX35" fmla="*/ 2260732 w 5633519"/>
                <a:gd name="connsiteY35" fmla="*/ 180852 h 284663"/>
                <a:gd name="connsiteX36" fmla="*/ 2353824 w 5633519"/>
                <a:gd name="connsiteY36" fmla="*/ 188055 h 284663"/>
                <a:gd name="connsiteX37" fmla="*/ 2446917 w 5633519"/>
                <a:gd name="connsiteY37" fmla="*/ 188055 h 284663"/>
                <a:gd name="connsiteX38" fmla="*/ 2539567 w 5633519"/>
                <a:gd name="connsiteY38" fmla="*/ 185714 h 284663"/>
                <a:gd name="connsiteX39" fmla="*/ 2632217 w 5633519"/>
                <a:gd name="connsiteY39" fmla="*/ 182653 h 284663"/>
                <a:gd name="connsiteX40" fmla="*/ 2725308 w 5633519"/>
                <a:gd name="connsiteY40" fmla="*/ 183733 h 284663"/>
                <a:gd name="connsiteX41" fmla="*/ 2817959 w 5633519"/>
                <a:gd name="connsiteY41" fmla="*/ 188596 h 284663"/>
                <a:gd name="connsiteX42" fmla="*/ 2910609 w 5633519"/>
                <a:gd name="connsiteY42" fmla="*/ 188596 h 284663"/>
                <a:gd name="connsiteX43" fmla="*/ 3003258 w 5633519"/>
                <a:gd name="connsiteY43" fmla="*/ 188416 h 284663"/>
                <a:gd name="connsiteX44" fmla="*/ 3095908 w 5633519"/>
                <a:gd name="connsiteY44" fmla="*/ 185894 h 284663"/>
                <a:gd name="connsiteX45" fmla="*/ 3188559 w 5633519"/>
                <a:gd name="connsiteY45" fmla="*/ 186795 h 284663"/>
                <a:gd name="connsiteX46" fmla="*/ 3281207 w 5633519"/>
                <a:gd name="connsiteY46" fmla="*/ 181032 h 284663"/>
                <a:gd name="connsiteX47" fmla="*/ 3373858 w 5633519"/>
                <a:gd name="connsiteY47" fmla="*/ 183373 h 284663"/>
                <a:gd name="connsiteX48" fmla="*/ 3466507 w 5633519"/>
                <a:gd name="connsiteY48" fmla="*/ 187335 h 284663"/>
                <a:gd name="connsiteX49" fmla="*/ 3559157 w 5633519"/>
                <a:gd name="connsiteY49" fmla="*/ 191297 h 284663"/>
                <a:gd name="connsiteX50" fmla="*/ 3651807 w 5633519"/>
                <a:gd name="connsiteY50" fmla="*/ 181032 h 284663"/>
                <a:gd name="connsiteX51" fmla="*/ 3744457 w 5633519"/>
                <a:gd name="connsiteY51" fmla="*/ 181572 h 284663"/>
                <a:gd name="connsiteX52" fmla="*/ 3837107 w 5633519"/>
                <a:gd name="connsiteY52" fmla="*/ 186255 h 284663"/>
                <a:gd name="connsiteX53" fmla="*/ 3929757 w 5633519"/>
                <a:gd name="connsiteY53" fmla="*/ 190937 h 284663"/>
                <a:gd name="connsiteX54" fmla="*/ 4022406 w 5633519"/>
                <a:gd name="connsiteY54" fmla="*/ 191477 h 284663"/>
                <a:gd name="connsiteX55" fmla="*/ 4115057 w 5633519"/>
                <a:gd name="connsiteY55" fmla="*/ 186615 h 284663"/>
                <a:gd name="connsiteX56" fmla="*/ 4207707 w 5633519"/>
                <a:gd name="connsiteY56" fmla="*/ 184274 h 284663"/>
                <a:gd name="connsiteX57" fmla="*/ 4300356 w 5633519"/>
                <a:gd name="connsiteY57" fmla="*/ 192017 h 284663"/>
                <a:gd name="connsiteX58" fmla="*/ 4393007 w 5633519"/>
                <a:gd name="connsiteY58" fmla="*/ 183193 h 284663"/>
                <a:gd name="connsiteX59" fmla="*/ 4485657 w 5633519"/>
                <a:gd name="connsiteY59" fmla="*/ 184093 h 284663"/>
                <a:gd name="connsiteX60" fmla="*/ 4578305 w 5633519"/>
                <a:gd name="connsiteY60" fmla="*/ 187335 h 284663"/>
                <a:gd name="connsiteX61" fmla="*/ 4670956 w 5633519"/>
                <a:gd name="connsiteY61" fmla="*/ 190036 h 284663"/>
                <a:gd name="connsiteX62" fmla="*/ 4763605 w 5633519"/>
                <a:gd name="connsiteY62" fmla="*/ 186435 h 284663"/>
                <a:gd name="connsiteX63" fmla="*/ 4856255 w 5633519"/>
                <a:gd name="connsiteY63" fmla="*/ 192378 h 284663"/>
                <a:gd name="connsiteX64" fmla="*/ 4948905 w 5633519"/>
                <a:gd name="connsiteY64" fmla="*/ 191657 h 284663"/>
                <a:gd name="connsiteX65" fmla="*/ 5041556 w 5633519"/>
                <a:gd name="connsiteY65" fmla="*/ 190757 h 284663"/>
                <a:gd name="connsiteX66" fmla="*/ 5134205 w 5633519"/>
                <a:gd name="connsiteY66" fmla="*/ 186074 h 284663"/>
                <a:gd name="connsiteX67" fmla="*/ 5226855 w 5633519"/>
                <a:gd name="connsiteY67" fmla="*/ 186074 h 284663"/>
                <a:gd name="connsiteX68" fmla="*/ 5319505 w 5633519"/>
                <a:gd name="connsiteY68" fmla="*/ 190036 h 284663"/>
                <a:gd name="connsiteX69" fmla="*/ 5412155 w 5633519"/>
                <a:gd name="connsiteY69" fmla="*/ 184274 h 284663"/>
                <a:gd name="connsiteX70" fmla="*/ 5493944 w 5633519"/>
                <a:gd name="connsiteY70" fmla="*/ 190073 h 284663"/>
                <a:gd name="connsiteX71" fmla="*/ 5585487 w 5633519"/>
                <a:gd name="connsiteY71" fmla="*/ 197578 h 284663"/>
                <a:gd name="connsiteX72" fmla="*/ 5633304 w 5633519"/>
                <a:gd name="connsiteY72" fmla="*/ 207189 h 284663"/>
                <a:gd name="connsiteX73" fmla="*/ 5629900 w 5633519"/>
                <a:gd name="connsiteY73" fmla="*/ 253384 h 284663"/>
                <a:gd name="connsiteX0" fmla="*/ 0 w 5633304"/>
                <a:gd name="connsiteY0" fmla="*/ 284663 h 284663"/>
                <a:gd name="connsiteX1" fmla="*/ 5088 w 5633304"/>
                <a:gd name="connsiteY1" fmla="*/ 282101 h 284663"/>
                <a:gd name="connsiteX2" fmla="*/ 53499 w 5633304"/>
                <a:gd name="connsiteY2" fmla="*/ 215429 h 284663"/>
                <a:gd name="connsiteX3" fmla="*/ 146812 w 5633304"/>
                <a:gd name="connsiteY3" fmla="*/ 213989 h 284663"/>
                <a:gd name="connsiteX4" fmla="*/ 239905 w 5633304"/>
                <a:gd name="connsiteY4" fmla="*/ 215069 h 284663"/>
                <a:gd name="connsiteX5" fmla="*/ 332996 w 5633304"/>
                <a:gd name="connsiteY5" fmla="*/ 214169 h 284663"/>
                <a:gd name="connsiteX6" fmla="*/ 426088 w 5633304"/>
                <a:gd name="connsiteY6" fmla="*/ 220112 h 284663"/>
                <a:gd name="connsiteX7" fmla="*/ 519180 w 5633304"/>
                <a:gd name="connsiteY7" fmla="*/ 217050 h 284663"/>
                <a:gd name="connsiteX8" fmla="*/ 612273 w 5633304"/>
                <a:gd name="connsiteY8" fmla="*/ 218671 h 284663"/>
                <a:gd name="connsiteX9" fmla="*/ 705365 w 5633304"/>
                <a:gd name="connsiteY9" fmla="*/ 214529 h 284663"/>
                <a:gd name="connsiteX10" fmla="*/ 798457 w 5633304"/>
                <a:gd name="connsiteY10" fmla="*/ 213989 h 284663"/>
                <a:gd name="connsiteX11" fmla="*/ 891548 w 5633304"/>
                <a:gd name="connsiteY11" fmla="*/ 217590 h 284663"/>
                <a:gd name="connsiteX12" fmla="*/ 984641 w 5633304"/>
                <a:gd name="connsiteY12" fmla="*/ 218491 h 284663"/>
                <a:gd name="connsiteX13" fmla="*/ 1077733 w 5633304"/>
                <a:gd name="connsiteY13" fmla="*/ 221012 h 284663"/>
                <a:gd name="connsiteX14" fmla="*/ 1170825 w 5633304"/>
                <a:gd name="connsiteY14" fmla="*/ 213629 h 284663"/>
                <a:gd name="connsiteX15" fmla="*/ 1263476 w 5633304"/>
                <a:gd name="connsiteY15" fmla="*/ 211648 h 284663"/>
                <a:gd name="connsiteX16" fmla="*/ 1352587 w 5633304"/>
                <a:gd name="connsiteY16" fmla="*/ 212728 h 284663"/>
                <a:gd name="connsiteX17" fmla="*/ 1306594 w 5633304"/>
                <a:gd name="connsiteY17" fmla="*/ 173828 h 284663"/>
                <a:gd name="connsiteX18" fmla="*/ 1249987 w 5633304"/>
                <a:gd name="connsiteY18" fmla="*/ 136729 h 284663"/>
                <a:gd name="connsiteX19" fmla="*/ 1332023 w 5633304"/>
                <a:gd name="connsiteY19" fmla="*/ 154198 h 284663"/>
                <a:gd name="connsiteX20" fmla="*/ 1412069 w 5633304"/>
                <a:gd name="connsiteY20" fmla="*/ 175089 h 284663"/>
                <a:gd name="connsiteX21" fmla="*/ 1491452 w 5633304"/>
                <a:gd name="connsiteY21" fmla="*/ 184274 h 284663"/>
                <a:gd name="connsiteX22" fmla="*/ 1453640 w 5633304"/>
                <a:gd name="connsiteY22" fmla="*/ 123943 h 284663"/>
                <a:gd name="connsiteX23" fmla="*/ 1406982 w 5633304"/>
                <a:gd name="connsiteY23" fmla="*/ 64512 h 284663"/>
                <a:gd name="connsiteX24" fmla="*/ 1354355 w 5633304"/>
                <a:gd name="connsiteY24" fmla="*/ 4001 h 284663"/>
                <a:gd name="connsiteX25" fmla="*/ 1382006 w 5633304"/>
                <a:gd name="connsiteY25" fmla="*/ 951 h 284663"/>
                <a:gd name="connsiteX26" fmla="*/ 1444352 w 5633304"/>
                <a:gd name="connsiteY26" fmla="*/ 50285 h 284663"/>
                <a:gd name="connsiteX27" fmla="*/ 1531253 w 5633304"/>
                <a:gd name="connsiteY27" fmla="*/ 94948 h 284663"/>
                <a:gd name="connsiteX28" fmla="*/ 1619481 w 5633304"/>
                <a:gd name="connsiteY28" fmla="*/ 137269 h 284663"/>
                <a:gd name="connsiteX29" fmla="*/ 1702402 w 5633304"/>
                <a:gd name="connsiteY29" fmla="*/ 186795 h 284663"/>
                <a:gd name="connsiteX30" fmla="*/ 1795715 w 5633304"/>
                <a:gd name="connsiteY30" fmla="*/ 181932 h 284663"/>
                <a:gd name="connsiteX31" fmla="*/ 1888806 w 5633304"/>
                <a:gd name="connsiteY31" fmla="*/ 190397 h 284663"/>
                <a:gd name="connsiteX32" fmla="*/ 1981898 w 5633304"/>
                <a:gd name="connsiteY32" fmla="*/ 190397 h 284663"/>
                <a:gd name="connsiteX33" fmla="*/ 2074991 w 5633304"/>
                <a:gd name="connsiteY33" fmla="*/ 182293 h 284663"/>
                <a:gd name="connsiteX34" fmla="*/ 2168083 w 5633304"/>
                <a:gd name="connsiteY34" fmla="*/ 188416 h 284663"/>
                <a:gd name="connsiteX35" fmla="*/ 2260732 w 5633304"/>
                <a:gd name="connsiteY35" fmla="*/ 180852 h 284663"/>
                <a:gd name="connsiteX36" fmla="*/ 2353824 w 5633304"/>
                <a:gd name="connsiteY36" fmla="*/ 188055 h 284663"/>
                <a:gd name="connsiteX37" fmla="*/ 2446917 w 5633304"/>
                <a:gd name="connsiteY37" fmla="*/ 188055 h 284663"/>
                <a:gd name="connsiteX38" fmla="*/ 2539567 w 5633304"/>
                <a:gd name="connsiteY38" fmla="*/ 185714 h 284663"/>
                <a:gd name="connsiteX39" fmla="*/ 2632217 w 5633304"/>
                <a:gd name="connsiteY39" fmla="*/ 182653 h 284663"/>
                <a:gd name="connsiteX40" fmla="*/ 2725308 w 5633304"/>
                <a:gd name="connsiteY40" fmla="*/ 183733 h 284663"/>
                <a:gd name="connsiteX41" fmla="*/ 2817959 w 5633304"/>
                <a:gd name="connsiteY41" fmla="*/ 188596 h 284663"/>
                <a:gd name="connsiteX42" fmla="*/ 2910609 w 5633304"/>
                <a:gd name="connsiteY42" fmla="*/ 188596 h 284663"/>
                <a:gd name="connsiteX43" fmla="*/ 3003258 w 5633304"/>
                <a:gd name="connsiteY43" fmla="*/ 188416 h 284663"/>
                <a:gd name="connsiteX44" fmla="*/ 3095908 w 5633304"/>
                <a:gd name="connsiteY44" fmla="*/ 185894 h 284663"/>
                <a:gd name="connsiteX45" fmla="*/ 3188559 w 5633304"/>
                <a:gd name="connsiteY45" fmla="*/ 186795 h 284663"/>
                <a:gd name="connsiteX46" fmla="*/ 3281207 w 5633304"/>
                <a:gd name="connsiteY46" fmla="*/ 181032 h 284663"/>
                <a:gd name="connsiteX47" fmla="*/ 3373858 w 5633304"/>
                <a:gd name="connsiteY47" fmla="*/ 183373 h 284663"/>
                <a:gd name="connsiteX48" fmla="*/ 3466507 w 5633304"/>
                <a:gd name="connsiteY48" fmla="*/ 187335 h 284663"/>
                <a:gd name="connsiteX49" fmla="*/ 3559157 w 5633304"/>
                <a:gd name="connsiteY49" fmla="*/ 191297 h 284663"/>
                <a:gd name="connsiteX50" fmla="*/ 3651807 w 5633304"/>
                <a:gd name="connsiteY50" fmla="*/ 181032 h 284663"/>
                <a:gd name="connsiteX51" fmla="*/ 3744457 w 5633304"/>
                <a:gd name="connsiteY51" fmla="*/ 181572 h 284663"/>
                <a:gd name="connsiteX52" fmla="*/ 3837107 w 5633304"/>
                <a:gd name="connsiteY52" fmla="*/ 186255 h 284663"/>
                <a:gd name="connsiteX53" fmla="*/ 3929757 w 5633304"/>
                <a:gd name="connsiteY53" fmla="*/ 190937 h 284663"/>
                <a:gd name="connsiteX54" fmla="*/ 4022406 w 5633304"/>
                <a:gd name="connsiteY54" fmla="*/ 191477 h 284663"/>
                <a:gd name="connsiteX55" fmla="*/ 4115057 w 5633304"/>
                <a:gd name="connsiteY55" fmla="*/ 186615 h 284663"/>
                <a:gd name="connsiteX56" fmla="*/ 4207707 w 5633304"/>
                <a:gd name="connsiteY56" fmla="*/ 184274 h 284663"/>
                <a:gd name="connsiteX57" fmla="*/ 4300356 w 5633304"/>
                <a:gd name="connsiteY57" fmla="*/ 192017 h 284663"/>
                <a:gd name="connsiteX58" fmla="*/ 4393007 w 5633304"/>
                <a:gd name="connsiteY58" fmla="*/ 183193 h 284663"/>
                <a:gd name="connsiteX59" fmla="*/ 4485657 w 5633304"/>
                <a:gd name="connsiteY59" fmla="*/ 184093 h 284663"/>
                <a:gd name="connsiteX60" fmla="*/ 4578305 w 5633304"/>
                <a:gd name="connsiteY60" fmla="*/ 187335 h 284663"/>
                <a:gd name="connsiteX61" fmla="*/ 4670956 w 5633304"/>
                <a:gd name="connsiteY61" fmla="*/ 190036 h 284663"/>
                <a:gd name="connsiteX62" fmla="*/ 4763605 w 5633304"/>
                <a:gd name="connsiteY62" fmla="*/ 186435 h 284663"/>
                <a:gd name="connsiteX63" fmla="*/ 4856255 w 5633304"/>
                <a:gd name="connsiteY63" fmla="*/ 192378 h 284663"/>
                <a:gd name="connsiteX64" fmla="*/ 4948905 w 5633304"/>
                <a:gd name="connsiteY64" fmla="*/ 191657 h 284663"/>
                <a:gd name="connsiteX65" fmla="*/ 5041556 w 5633304"/>
                <a:gd name="connsiteY65" fmla="*/ 190757 h 284663"/>
                <a:gd name="connsiteX66" fmla="*/ 5134205 w 5633304"/>
                <a:gd name="connsiteY66" fmla="*/ 186074 h 284663"/>
                <a:gd name="connsiteX67" fmla="*/ 5226855 w 5633304"/>
                <a:gd name="connsiteY67" fmla="*/ 186074 h 284663"/>
                <a:gd name="connsiteX68" fmla="*/ 5319505 w 5633304"/>
                <a:gd name="connsiteY68" fmla="*/ 190036 h 284663"/>
                <a:gd name="connsiteX69" fmla="*/ 5412155 w 5633304"/>
                <a:gd name="connsiteY69" fmla="*/ 184274 h 284663"/>
                <a:gd name="connsiteX70" fmla="*/ 5493944 w 5633304"/>
                <a:gd name="connsiteY70" fmla="*/ 190073 h 284663"/>
                <a:gd name="connsiteX71" fmla="*/ 5585487 w 5633304"/>
                <a:gd name="connsiteY71" fmla="*/ 197578 h 284663"/>
                <a:gd name="connsiteX72" fmla="*/ 5633304 w 5633304"/>
                <a:gd name="connsiteY72" fmla="*/ 207189 h 284663"/>
                <a:gd name="connsiteX0" fmla="*/ 0 w 5633304"/>
                <a:gd name="connsiteY0" fmla="*/ 284663 h 284663"/>
                <a:gd name="connsiteX1" fmla="*/ 53499 w 5633304"/>
                <a:gd name="connsiteY1" fmla="*/ 215429 h 284663"/>
                <a:gd name="connsiteX2" fmla="*/ 146812 w 5633304"/>
                <a:gd name="connsiteY2" fmla="*/ 213989 h 284663"/>
                <a:gd name="connsiteX3" fmla="*/ 239905 w 5633304"/>
                <a:gd name="connsiteY3" fmla="*/ 215069 h 284663"/>
                <a:gd name="connsiteX4" fmla="*/ 332996 w 5633304"/>
                <a:gd name="connsiteY4" fmla="*/ 214169 h 284663"/>
                <a:gd name="connsiteX5" fmla="*/ 426088 w 5633304"/>
                <a:gd name="connsiteY5" fmla="*/ 220112 h 284663"/>
                <a:gd name="connsiteX6" fmla="*/ 519180 w 5633304"/>
                <a:gd name="connsiteY6" fmla="*/ 217050 h 284663"/>
                <a:gd name="connsiteX7" fmla="*/ 612273 w 5633304"/>
                <a:gd name="connsiteY7" fmla="*/ 218671 h 284663"/>
                <a:gd name="connsiteX8" fmla="*/ 705365 w 5633304"/>
                <a:gd name="connsiteY8" fmla="*/ 214529 h 284663"/>
                <a:gd name="connsiteX9" fmla="*/ 798457 w 5633304"/>
                <a:gd name="connsiteY9" fmla="*/ 213989 h 284663"/>
                <a:gd name="connsiteX10" fmla="*/ 891548 w 5633304"/>
                <a:gd name="connsiteY10" fmla="*/ 217590 h 284663"/>
                <a:gd name="connsiteX11" fmla="*/ 984641 w 5633304"/>
                <a:gd name="connsiteY11" fmla="*/ 218491 h 284663"/>
                <a:gd name="connsiteX12" fmla="*/ 1077733 w 5633304"/>
                <a:gd name="connsiteY12" fmla="*/ 221012 h 284663"/>
                <a:gd name="connsiteX13" fmla="*/ 1170825 w 5633304"/>
                <a:gd name="connsiteY13" fmla="*/ 213629 h 284663"/>
                <a:gd name="connsiteX14" fmla="*/ 1263476 w 5633304"/>
                <a:gd name="connsiteY14" fmla="*/ 211648 h 284663"/>
                <a:gd name="connsiteX15" fmla="*/ 1352587 w 5633304"/>
                <a:gd name="connsiteY15" fmla="*/ 212728 h 284663"/>
                <a:gd name="connsiteX16" fmla="*/ 1306594 w 5633304"/>
                <a:gd name="connsiteY16" fmla="*/ 173828 h 284663"/>
                <a:gd name="connsiteX17" fmla="*/ 1249987 w 5633304"/>
                <a:gd name="connsiteY17" fmla="*/ 136729 h 284663"/>
                <a:gd name="connsiteX18" fmla="*/ 1332023 w 5633304"/>
                <a:gd name="connsiteY18" fmla="*/ 154198 h 284663"/>
                <a:gd name="connsiteX19" fmla="*/ 1412069 w 5633304"/>
                <a:gd name="connsiteY19" fmla="*/ 175089 h 284663"/>
                <a:gd name="connsiteX20" fmla="*/ 1491452 w 5633304"/>
                <a:gd name="connsiteY20" fmla="*/ 184274 h 284663"/>
                <a:gd name="connsiteX21" fmla="*/ 1453640 w 5633304"/>
                <a:gd name="connsiteY21" fmla="*/ 123943 h 284663"/>
                <a:gd name="connsiteX22" fmla="*/ 1406982 w 5633304"/>
                <a:gd name="connsiteY22" fmla="*/ 64512 h 284663"/>
                <a:gd name="connsiteX23" fmla="*/ 1354355 w 5633304"/>
                <a:gd name="connsiteY23" fmla="*/ 4001 h 284663"/>
                <a:gd name="connsiteX24" fmla="*/ 1382006 w 5633304"/>
                <a:gd name="connsiteY24" fmla="*/ 951 h 284663"/>
                <a:gd name="connsiteX25" fmla="*/ 1444352 w 5633304"/>
                <a:gd name="connsiteY25" fmla="*/ 50285 h 284663"/>
                <a:gd name="connsiteX26" fmla="*/ 1531253 w 5633304"/>
                <a:gd name="connsiteY26" fmla="*/ 94948 h 284663"/>
                <a:gd name="connsiteX27" fmla="*/ 1619481 w 5633304"/>
                <a:gd name="connsiteY27" fmla="*/ 137269 h 284663"/>
                <a:gd name="connsiteX28" fmla="*/ 1702402 w 5633304"/>
                <a:gd name="connsiteY28" fmla="*/ 186795 h 284663"/>
                <a:gd name="connsiteX29" fmla="*/ 1795715 w 5633304"/>
                <a:gd name="connsiteY29" fmla="*/ 181932 h 284663"/>
                <a:gd name="connsiteX30" fmla="*/ 1888806 w 5633304"/>
                <a:gd name="connsiteY30" fmla="*/ 190397 h 284663"/>
                <a:gd name="connsiteX31" fmla="*/ 1981898 w 5633304"/>
                <a:gd name="connsiteY31" fmla="*/ 190397 h 284663"/>
                <a:gd name="connsiteX32" fmla="*/ 2074991 w 5633304"/>
                <a:gd name="connsiteY32" fmla="*/ 182293 h 284663"/>
                <a:gd name="connsiteX33" fmla="*/ 2168083 w 5633304"/>
                <a:gd name="connsiteY33" fmla="*/ 188416 h 284663"/>
                <a:gd name="connsiteX34" fmla="*/ 2260732 w 5633304"/>
                <a:gd name="connsiteY34" fmla="*/ 180852 h 284663"/>
                <a:gd name="connsiteX35" fmla="*/ 2353824 w 5633304"/>
                <a:gd name="connsiteY35" fmla="*/ 188055 h 284663"/>
                <a:gd name="connsiteX36" fmla="*/ 2446917 w 5633304"/>
                <a:gd name="connsiteY36" fmla="*/ 188055 h 284663"/>
                <a:gd name="connsiteX37" fmla="*/ 2539567 w 5633304"/>
                <a:gd name="connsiteY37" fmla="*/ 185714 h 284663"/>
                <a:gd name="connsiteX38" fmla="*/ 2632217 w 5633304"/>
                <a:gd name="connsiteY38" fmla="*/ 182653 h 284663"/>
                <a:gd name="connsiteX39" fmla="*/ 2725308 w 5633304"/>
                <a:gd name="connsiteY39" fmla="*/ 183733 h 284663"/>
                <a:gd name="connsiteX40" fmla="*/ 2817959 w 5633304"/>
                <a:gd name="connsiteY40" fmla="*/ 188596 h 284663"/>
                <a:gd name="connsiteX41" fmla="*/ 2910609 w 5633304"/>
                <a:gd name="connsiteY41" fmla="*/ 188596 h 284663"/>
                <a:gd name="connsiteX42" fmla="*/ 3003258 w 5633304"/>
                <a:gd name="connsiteY42" fmla="*/ 188416 h 284663"/>
                <a:gd name="connsiteX43" fmla="*/ 3095908 w 5633304"/>
                <a:gd name="connsiteY43" fmla="*/ 185894 h 284663"/>
                <a:gd name="connsiteX44" fmla="*/ 3188559 w 5633304"/>
                <a:gd name="connsiteY44" fmla="*/ 186795 h 284663"/>
                <a:gd name="connsiteX45" fmla="*/ 3281207 w 5633304"/>
                <a:gd name="connsiteY45" fmla="*/ 181032 h 284663"/>
                <a:gd name="connsiteX46" fmla="*/ 3373858 w 5633304"/>
                <a:gd name="connsiteY46" fmla="*/ 183373 h 284663"/>
                <a:gd name="connsiteX47" fmla="*/ 3466507 w 5633304"/>
                <a:gd name="connsiteY47" fmla="*/ 187335 h 284663"/>
                <a:gd name="connsiteX48" fmla="*/ 3559157 w 5633304"/>
                <a:gd name="connsiteY48" fmla="*/ 191297 h 284663"/>
                <a:gd name="connsiteX49" fmla="*/ 3651807 w 5633304"/>
                <a:gd name="connsiteY49" fmla="*/ 181032 h 284663"/>
                <a:gd name="connsiteX50" fmla="*/ 3744457 w 5633304"/>
                <a:gd name="connsiteY50" fmla="*/ 181572 h 284663"/>
                <a:gd name="connsiteX51" fmla="*/ 3837107 w 5633304"/>
                <a:gd name="connsiteY51" fmla="*/ 186255 h 284663"/>
                <a:gd name="connsiteX52" fmla="*/ 3929757 w 5633304"/>
                <a:gd name="connsiteY52" fmla="*/ 190937 h 284663"/>
                <a:gd name="connsiteX53" fmla="*/ 4022406 w 5633304"/>
                <a:gd name="connsiteY53" fmla="*/ 191477 h 284663"/>
                <a:gd name="connsiteX54" fmla="*/ 4115057 w 5633304"/>
                <a:gd name="connsiteY54" fmla="*/ 186615 h 284663"/>
                <a:gd name="connsiteX55" fmla="*/ 4207707 w 5633304"/>
                <a:gd name="connsiteY55" fmla="*/ 184274 h 284663"/>
                <a:gd name="connsiteX56" fmla="*/ 4300356 w 5633304"/>
                <a:gd name="connsiteY56" fmla="*/ 192017 h 284663"/>
                <a:gd name="connsiteX57" fmla="*/ 4393007 w 5633304"/>
                <a:gd name="connsiteY57" fmla="*/ 183193 h 284663"/>
                <a:gd name="connsiteX58" fmla="*/ 4485657 w 5633304"/>
                <a:gd name="connsiteY58" fmla="*/ 184093 h 284663"/>
                <a:gd name="connsiteX59" fmla="*/ 4578305 w 5633304"/>
                <a:gd name="connsiteY59" fmla="*/ 187335 h 284663"/>
                <a:gd name="connsiteX60" fmla="*/ 4670956 w 5633304"/>
                <a:gd name="connsiteY60" fmla="*/ 190036 h 284663"/>
                <a:gd name="connsiteX61" fmla="*/ 4763605 w 5633304"/>
                <a:gd name="connsiteY61" fmla="*/ 186435 h 284663"/>
                <a:gd name="connsiteX62" fmla="*/ 4856255 w 5633304"/>
                <a:gd name="connsiteY62" fmla="*/ 192378 h 284663"/>
                <a:gd name="connsiteX63" fmla="*/ 4948905 w 5633304"/>
                <a:gd name="connsiteY63" fmla="*/ 191657 h 284663"/>
                <a:gd name="connsiteX64" fmla="*/ 5041556 w 5633304"/>
                <a:gd name="connsiteY64" fmla="*/ 190757 h 284663"/>
                <a:gd name="connsiteX65" fmla="*/ 5134205 w 5633304"/>
                <a:gd name="connsiteY65" fmla="*/ 186074 h 284663"/>
                <a:gd name="connsiteX66" fmla="*/ 5226855 w 5633304"/>
                <a:gd name="connsiteY66" fmla="*/ 186074 h 284663"/>
                <a:gd name="connsiteX67" fmla="*/ 5319505 w 5633304"/>
                <a:gd name="connsiteY67" fmla="*/ 190036 h 284663"/>
                <a:gd name="connsiteX68" fmla="*/ 5412155 w 5633304"/>
                <a:gd name="connsiteY68" fmla="*/ 184274 h 284663"/>
                <a:gd name="connsiteX69" fmla="*/ 5493944 w 5633304"/>
                <a:gd name="connsiteY69" fmla="*/ 190073 h 284663"/>
                <a:gd name="connsiteX70" fmla="*/ 5585487 w 5633304"/>
                <a:gd name="connsiteY70" fmla="*/ 197578 h 284663"/>
                <a:gd name="connsiteX71" fmla="*/ 5633304 w 5633304"/>
                <a:gd name="connsiteY71" fmla="*/ 207189 h 284663"/>
                <a:gd name="connsiteX0" fmla="*/ 0 w 5579805"/>
                <a:gd name="connsiteY0" fmla="*/ 215429 h 225340"/>
                <a:gd name="connsiteX1" fmla="*/ 93313 w 5579805"/>
                <a:gd name="connsiteY1" fmla="*/ 213989 h 225340"/>
                <a:gd name="connsiteX2" fmla="*/ 186406 w 5579805"/>
                <a:gd name="connsiteY2" fmla="*/ 215069 h 225340"/>
                <a:gd name="connsiteX3" fmla="*/ 279497 w 5579805"/>
                <a:gd name="connsiteY3" fmla="*/ 214169 h 225340"/>
                <a:gd name="connsiteX4" fmla="*/ 372589 w 5579805"/>
                <a:gd name="connsiteY4" fmla="*/ 220112 h 225340"/>
                <a:gd name="connsiteX5" fmla="*/ 465681 w 5579805"/>
                <a:gd name="connsiteY5" fmla="*/ 217050 h 225340"/>
                <a:gd name="connsiteX6" fmla="*/ 558774 w 5579805"/>
                <a:gd name="connsiteY6" fmla="*/ 218671 h 225340"/>
                <a:gd name="connsiteX7" fmla="*/ 651866 w 5579805"/>
                <a:gd name="connsiteY7" fmla="*/ 214529 h 225340"/>
                <a:gd name="connsiteX8" fmla="*/ 744958 w 5579805"/>
                <a:gd name="connsiteY8" fmla="*/ 213989 h 225340"/>
                <a:gd name="connsiteX9" fmla="*/ 838049 w 5579805"/>
                <a:gd name="connsiteY9" fmla="*/ 217590 h 225340"/>
                <a:gd name="connsiteX10" fmla="*/ 931142 w 5579805"/>
                <a:gd name="connsiteY10" fmla="*/ 218491 h 225340"/>
                <a:gd name="connsiteX11" fmla="*/ 1024234 w 5579805"/>
                <a:gd name="connsiteY11" fmla="*/ 221012 h 225340"/>
                <a:gd name="connsiteX12" fmla="*/ 1117326 w 5579805"/>
                <a:gd name="connsiteY12" fmla="*/ 213629 h 225340"/>
                <a:gd name="connsiteX13" fmla="*/ 1209977 w 5579805"/>
                <a:gd name="connsiteY13" fmla="*/ 211648 h 225340"/>
                <a:gd name="connsiteX14" fmla="*/ 1299088 w 5579805"/>
                <a:gd name="connsiteY14" fmla="*/ 212728 h 225340"/>
                <a:gd name="connsiteX15" fmla="*/ 1253095 w 5579805"/>
                <a:gd name="connsiteY15" fmla="*/ 173828 h 225340"/>
                <a:gd name="connsiteX16" fmla="*/ 1196488 w 5579805"/>
                <a:gd name="connsiteY16" fmla="*/ 136729 h 225340"/>
                <a:gd name="connsiteX17" fmla="*/ 1278524 w 5579805"/>
                <a:gd name="connsiteY17" fmla="*/ 154198 h 225340"/>
                <a:gd name="connsiteX18" fmla="*/ 1358570 w 5579805"/>
                <a:gd name="connsiteY18" fmla="*/ 175089 h 225340"/>
                <a:gd name="connsiteX19" fmla="*/ 1437953 w 5579805"/>
                <a:gd name="connsiteY19" fmla="*/ 184274 h 225340"/>
                <a:gd name="connsiteX20" fmla="*/ 1400141 w 5579805"/>
                <a:gd name="connsiteY20" fmla="*/ 123943 h 225340"/>
                <a:gd name="connsiteX21" fmla="*/ 1353483 w 5579805"/>
                <a:gd name="connsiteY21" fmla="*/ 64512 h 225340"/>
                <a:gd name="connsiteX22" fmla="*/ 1300856 w 5579805"/>
                <a:gd name="connsiteY22" fmla="*/ 4001 h 225340"/>
                <a:gd name="connsiteX23" fmla="*/ 1328507 w 5579805"/>
                <a:gd name="connsiteY23" fmla="*/ 951 h 225340"/>
                <a:gd name="connsiteX24" fmla="*/ 1390853 w 5579805"/>
                <a:gd name="connsiteY24" fmla="*/ 50285 h 225340"/>
                <a:gd name="connsiteX25" fmla="*/ 1477754 w 5579805"/>
                <a:gd name="connsiteY25" fmla="*/ 94948 h 225340"/>
                <a:gd name="connsiteX26" fmla="*/ 1565982 w 5579805"/>
                <a:gd name="connsiteY26" fmla="*/ 137269 h 225340"/>
                <a:gd name="connsiteX27" fmla="*/ 1648903 w 5579805"/>
                <a:gd name="connsiteY27" fmla="*/ 186795 h 225340"/>
                <a:gd name="connsiteX28" fmla="*/ 1742216 w 5579805"/>
                <a:gd name="connsiteY28" fmla="*/ 181932 h 225340"/>
                <a:gd name="connsiteX29" fmla="*/ 1835307 w 5579805"/>
                <a:gd name="connsiteY29" fmla="*/ 190397 h 225340"/>
                <a:gd name="connsiteX30" fmla="*/ 1928399 w 5579805"/>
                <a:gd name="connsiteY30" fmla="*/ 190397 h 225340"/>
                <a:gd name="connsiteX31" fmla="*/ 2021492 w 5579805"/>
                <a:gd name="connsiteY31" fmla="*/ 182293 h 225340"/>
                <a:gd name="connsiteX32" fmla="*/ 2114584 w 5579805"/>
                <a:gd name="connsiteY32" fmla="*/ 188416 h 225340"/>
                <a:gd name="connsiteX33" fmla="*/ 2207233 w 5579805"/>
                <a:gd name="connsiteY33" fmla="*/ 180852 h 225340"/>
                <a:gd name="connsiteX34" fmla="*/ 2300325 w 5579805"/>
                <a:gd name="connsiteY34" fmla="*/ 188055 h 225340"/>
                <a:gd name="connsiteX35" fmla="*/ 2393418 w 5579805"/>
                <a:gd name="connsiteY35" fmla="*/ 188055 h 225340"/>
                <a:gd name="connsiteX36" fmla="*/ 2486068 w 5579805"/>
                <a:gd name="connsiteY36" fmla="*/ 185714 h 225340"/>
                <a:gd name="connsiteX37" fmla="*/ 2578718 w 5579805"/>
                <a:gd name="connsiteY37" fmla="*/ 182653 h 225340"/>
                <a:gd name="connsiteX38" fmla="*/ 2671809 w 5579805"/>
                <a:gd name="connsiteY38" fmla="*/ 183733 h 225340"/>
                <a:gd name="connsiteX39" fmla="*/ 2764460 w 5579805"/>
                <a:gd name="connsiteY39" fmla="*/ 188596 h 225340"/>
                <a:gd name="connsiteX40" fmla="*/ 2857110 w 5579805"/>
                <a:gd name="connsiteY40" fmla="*/ 188596 h 225340"/>
                <a:gd name="connsiteX41" fmla="*/ 2949759 w 5579805"/>
                <a:gd name="connsiteY41" fmla="*/ 188416 h 225340"/>
                <a:gd name="connsiteX42" fmla="*/ 3042409 w 5579805"/>
                <a:gd name="connsiteY42" fmla="*/ 185894 h 225340"/>
                <a:gd name="connsiteX43" fmla="*/ 3135060 w 5579805"/>
                <a:gd name="connsiteY43" fmla="*/ 186795 h 225340"/>
                <a:gd name="connsiteX44" fmla="*/ 3227708 w 5579805"/>
                <a:gd name="connsiteY44" fmla="*/ 181032 h 225340"/>
                <a:gd name="connsiteX45" fmla="*/ 3320359 w 5579805"/>
                <a:gd name="connsiteY45" fmla="*/ 183373 h 225340"/>
                <a:gd name="connsiteX46" fmla="*/ 3413008 w 5579805"/>
                <a:gd name="connsiteY46" fmla="*/ 187335 h 225340"/>
                <a:gd name="connsiteX47" fmla="*/ 3505658 w 5579805"/>
                <a:gd name="connsiteY47" fmla="*/ 191297 h 225340"/>
                <a:gd name="connsiteX48" fmla="*/ 3598308 w 5579805"/>
                <a:gd name="connsiteY48" fmla="*/ 181032 h 225340"/>
                <a:gd name="connsiteX49" fmla="*/ 3690958 w 5579805"/>
                <a:gd name="connsiteY49" fmla="*/ 181572 h 225340"/>
                <a:gd name="connsiteX50" fmla="*/ 3783608 w 5579805"/>
                <a:gd name="connsiteY50" fmla="*/ 186255 h 225340"/>
                <a:gd name="connsiteX51" fmla="*/ 3876258 w 5579805"/>
                <a:gd name="connsiteY51" fmla="*/ 190937 h 225340"/>
                <a:gd name="connsiteX52" fmla="*/ 3968907 w 5579805"/>
                <a:gd name="connsiteY52" fmla="*/ 191477 h 225340"/>
                <a:gd name="connsiteX53" fmla="*/ 4061558 w 5579805"/>
                <a:gd name="connsiteY53" fmla="*/ 186615 h 225340"/>
                <a:gd name="connsiteX54" fmla="*/ 4154208 w 5579805"/>
                <a:gd name="connsiteY54" fmla="*/ 184274 h 225340"/>
                <a:gd name="connsiteX55" fmla="*/ 4246857 w 5579805"/>
                <a:gd name="connsiteY55" fmla="*/ 192017 h 225340"/>
                <a:gd name="connsiteX56" fmla="*/ 4339508 w 5579805"/>
                <a:gd name="connsiteY56" fmla="*/ 183193 h 225340"/>
                <a:gd name="connsiteX57" fmla="*/ 4432158 w 5579805"/>
                <a:gd name="connsiteY57" fmla="*/ 184093 h 225340"/>
                <a:gd name="connsiteX58" fmla="*/ 4524806 w 5579805"/>
                <a:gd name="connsiteY58" fmla="*/ 187335 h 225340"/>
                <a:gd name="connsiteX59" fmla="*/ 4617457 w 5579805"/>
                <a:gd name="connsiteY59" fmla="*/ 190036 h 225340"/>
                <a:gd name="connsiteX60" fmla="*/ 4710106 w 5579805"/>
                <a:gd name="connsiteY60" fmla="*/ 186435 h 225340"/>
                <a:gd name="connsiteX61" fmla="*/ 4802756 w 5579805"/>
                <a:gd name="connsiteY61" fmla="*/ 192378 h 225340"/>
                <a:gd name="connsiteX62" fmla="*/ 4895406 w 5579805"/>
                <a:gd name="connsiteY62" fmla="*/ 191657 h 225340"/>
                <a:gd name="connsiteX63" fmla="*/ 4988057 w 5579805"/>
                <a:gd name="connsiteY63" fmla="*/ 190757 h 225340"/>
                <a:gd name="connsiteX64" fmla="*/ 5080706 w 5579805"/>
                <a:gd name="connsiteY64" fmla="*/ 186074 h 225340"/>
                <a:gd name="connsiteX65" fmla="*/ 5173356 w 5579805"/>
                <a:gd name="connsiteY65" fmla="*/ 186074 h 225340"/>
                <a:gd name="connsiteX66" fmla="*/ 5266006 w 5579805"/>
                <a:gd name="connsiteY66" fmla="*/ 190036 h 225340"/>
                <a:gd name="connsiteX67" fmla="*/ 5358656 w 5579805"/>
                <a:gd name="connsiteY67" fmla="*/ 184274 h 225340"/>
                <a:gd name="connsiteX68" fmla="*/ 5440445 w 5579805"/>
                <a:gd name="connsiteY68" fmla="*/ 190073 h 225340"/>
                <a:gd name="connsiteX69" fmla="*/ 5531988 w 5579805"/>
                <a:gd name="connsiteY69" fmla="*/ 197578 h 225340"/>
                <a:gd name="connsiteX70" fmla="*/ 5579805 w 5579805"/>
                <a:gd name="connsiteY70" fmla="*/ 207189 h 225340"/>
                <a:gd name="connsiteX0" fmla="*/ 0 w 5605806"/>
                <a:gd name="connsiteY0" fmla="*/ 215429 h 225340"/>
                <a:gd name="connsiteX1" fmla="*/ 93313 w 5605806"/>
                <a:gd name="connsiteY1" fmla="*/ 213989 h 225340"/>
                <a:gd name="connsiteX2" fmla="*/ 186406 w 5605806"/>
                <a:gd name="connsiteY2" fmla="*/ 215069 h 225340"/>
                <a:gd name="connsiteX3" fmla="*/ 279497 w 5605806"/>
                <a:gd name="connsiteY3" fmla="*/ 214169 h 225340"/>
                <a:gd name="connsiteX4" fmla="*/ 372589 w 5605806"/>
                <a:gd name="connsiteY4" fmla="*/ 220112 h 225340"/>
                <a:gd name="connsiteX5" fmla="*/ 465681 w 5605806"/>
                <a:gd name="connsiteY5" fmla="*/ 217050 h 225340"/>
                <a:gd name="connsiteX6" fmla="*/ 558774 w 5605806"/>
                <a:gd name="connsiteY6" fmla="*/ 218671 h 225340"/>
                <a:gd name="connsiteX7" fmla="*/ 651866 w 5605806"/>
                <a:gd name="connsiteY7" fmla="*/ 214529 h 225340"/>
                <a:gd name="connsiteX8" fmla="*/ 744958 w 5605806"/>
                <a:gd name="connsiteY8" fmla="*/ 213989 h 225340"/>
                <a:gd name="connsiteX9" fmla="*/ 838049 w 5605806"/>
                <a:gd name="connsiteY9" fmla="*/ 217590 h 225340"/>
                <a:gd name="connsiteX10" fmla="*/ 931142 w 5605806"/>
                <a:gd name="connsiteY10" fmla="*/ 218491 h 225340"/>
                <a:gd name="connsiteX11" fmla="*/ 1024234 w 5605806"/>
                <a:gd name="connsiteY11" fmla="*/ 221012 h 225340"/>
                <a:gd name="connsiteX12" fmla="*/ 1117326 w 5605806"/>
                <a:gd name="connsiteY12" fmla="*/ 213629 h 225340"/>
                <a:gd name="connsiteX13" fmla="*/ 1209977 w 5605806"/>
                <a:gd name="connsiteY13" fmla="*/ 211648 h 225340"/>
                <a:gd name="connsiteX14" fmla="*/ 1299088 w 5605806"/>
                <a:gd name="connsiteY14" fmla="*/ 212728 h 225340"/>
                <a:gd name="connsiteX15" fmla="*/ 1253095 w 5605806"/>
                <a:gd name="connsiteY15" fmla="*/ 173828 h 225340"/>
                <a:gd name="connsiteX16" fmla="*/ 1196488 w 5605806"/>
                <a:gd name="connsiteY16" fmla="*/ 136729 h 225340"/>
                <a:gd name="connsiteX17" fmla="*/ 1278524 w 5605806"/>
                <a:gd name="connsiteY17" fmla="*/ 154198 h 225340"/>
                <a:gd name="connsiteX18" fmla="*/ 1358570 w 5605806"/>
                <a:gd name="connsiteY18" fmla="*/ 175089 h 225340"/>
                <a:gd name="connsiteX19" fmla="*/ 1437953 w 5605806"/>
                <a:gd name="connsiteY19" fmla="*/ 184274 h 225340"/>
                <a:gd name="connsiteX20" fmla="*/ 1400141 w 5605806"/>
                <a:gd name="connsiteY20" fmla="*/ 123943 h 225340"/>
                <a:gd name="connsiteX21" fmla="*/ 1353483 w 5605806"/>
                <a:gd name="connsiteY21" fmla="*/ 64512 h 225340"/>
                <a:gd name="connsiteX22" fmla="*/ 1300856 w 5605806"/>
                <a:gd name="connsiteY22" fmla="*/ 4001 h 225340"/>
                <a:gd name="connsiteX23" fmla="*/ 1328507 w 5605806"/>
                <a:gd name="connsiteY23" fmla="*/ 951 h 225340"/>
                <a:gd name="connsiteX24" fmla="*/ 1390853 w 5605806"/>
                <a:gd name="connsiteY24" fmla="*/ 50285 h 225340"/>
                <a:gd name="connsiteX25" fmla="*/ 1477754 w 5605806"/>
                <a:gd name="connsiteY25" fmla="*/ 94948 h 225340"/>
                <a:gd name="connsiteX26" fmla="*/ 1565982 w 5605806"/>
                <a:gd name="connsiteY26" fmla="*/ 137269 h 225340"/>
                <a:gd name="connsiteX27" fmla="*/ 1648903 w 5605806"/>
                <a:gd name="connsiteY27" fmla="*/ 186795 h 225340"/>
                <a:gd name="connsiteX28" fmla="*/ 1742216 w 5605806"/>
                <a:gd name="connsiteY28" fmla="*/ 181932 h 225340"/>
                <a:gd name="connsiteX29" fmla="*/ 1835307 w 5605806"/>
                <a:gd name="connsiteY29" fmla="*/ 190397 h 225340"/>
                <a:gd name="connsiteX30" fmla="*/ 1928399 w 5605806"/>
                <a:gd name="connsiteY30" fmla="*/ 190397 h 225340"/>
                <a:gd name="connsiteX31" fmla="*/ 2021492 w 5605806"/>
                <a:gd name="connsiteY31" fmla="*/ 182293 h 225340"/>
                <a:gd name="connsiteX32" fmla="*/ 2114584 w 5605806"/>
                <a:gd name="connsiteY32" fmla="*/ 188416 h 225340"/>
                <a:gd name="connsiteX33" fmla="*/ 2207233 w 5605806"/>
                <a:gd name="connsiteY33" fmla="*/ 180852 h 225340"/>
                <a:gd name="connsiteX34" fmla="*/ 2300325 w 5605806"/>
                <a:gd name="connsiteY34" fmla="*/ 188055 h 225340"/>
                <a:gd name="connsiteX35" fmla="*/ 2393418 w 5605806"/>
                <a:gd name="connsiteY35" fmla="*/ 188055 h 225340"/>
                <a:gd name="connsiteX36" fmla="*/ 2486068 w 5605806"/>
                <a:gd name="connsiteY36" fmla="*/ 185714 h 225340"/>
                <a:gd name="connsiteX37" fmla="*/ 2578718 w 5605806"/>
                <a:gd name="connsiteY37" fmla="*/ 182653 h 225340"/>
                <a:gd name="connsiteX38" fmla="*/ 2671809 w 5605806"/>
                <a:gd name="connsiteY38" fmla="*/ 183733 h 225340"/>
                <a:gd name="connsiteX39" fmla="*/ 2764460 w 5605806"/>
                <a:gd name="connsiteY39" fmla="*/ 188596 h 225340"/>
                <a:gd name="connsiteX40" fmla="*/ 2857110 w 5605806"/>
                <a:gd name="connsiteY40" fmla="*/ 188596 h 225340"/>
                <a:gd name="connsiteX41" fmla="*/ 2949759 w 5605806"/>
                <a:gd name="connsiteY41" fmla="*/ 188416 h 225340"/>
                <a:gd name="connsiteX42" fmla="*/ 3042409 w 5605806"/>
                <a:gd name="connsiteY42" fmla="*/ 185894 h 225340"/>
                <a:gd name="connsiteX43" fmla="*/ 3135060 w 5605806"/>
                <a:gd name="connsiteY43" fmla="*/ 186795 h 225340"/>
                <a:gd name="connsiteX44" fmla="*/ 3227708 w 5605806"/>
                <a:gd name="connsiteY44" fmla="*/ 181032 h 225340"/>
                <a:gd name="connsiteX45" fmla="*/ 3320359 w 5605806"/>
                <a:gd name="connsiteY45" fmla="*/ 183373 h 225340"/>
                <a:gd name="connsiteX46" fmla="*/ 3413008 w 5605806"/>
                <a:gd name="connsiteY46" fmla="*/ 187335 h 225340"/>
                <a:gd name="connsiteX47" fmla="*/ 3505658 w 5605806"/>
                <a:gd name="connsiteY47" fmla="*/ 191297 h 225340"/>
                <a:gd name="connsiteX48" fmla="*/ 3598308 w 5605806"/>
                <a:gd name="connsiteY48" fmla="*/ 181032 h 225340"/>
                <a:gd name="connsiteX49" fmla="*/ 3690958 w 5605806"/>
                <a:gd name="connsiteY49" fmla="*/ 181572 h 225340"/>
                <a:gd name="connsiteX50" fmla="*/ 3783608 w 5605806"/>
                <a:gd name="connsiteY50" fmla="*/ 186255 h 225340"/>
                <a:gd name="connsiteX51" fmla="*/ 3876258 w 5605806"/>
                <a:gd name="connsiteY51" fmla="*/ 190937 h 225340"/>
                <a:gd name="connsiteX52" fmla="*/ 3968907 w 5605806"/>
                <a:gd name="connsiteY52" fmla="*/ 191477 h 225340"/>
                <a:gd name="connsiteX53" fmla="*/ 4061558 w 5605806"/>
                <a:gd name="connsiteY53" fmla="*/ 186615 h 225340"/>
                <a:gd name="connsiteX54" fmla="*/ 4154208 w 5605806"/>
                <a:gd name="connsiteY54" fmla="*/ 184274 h 225340"/>
                <a:gd name="connsiteX55" fmla="*/ 4246857 w 5605806"/>
                <a:gd name="connsiteY55" fmla="*/ 192017 h 225340"/>
                <a:gd name="connsiteX56" fmla="*/ 4339508 w 5605806"/>
                <a:gd name="connsiteY56" fmla="*/ 183193 h 225340"/>
                <a:gd name="connsiteX57" fmla="*/ 4432158 w 5605806"/>
                <a:gd name="connsiteY57" fmla="*/ 184093 h 225340"/>
                <a:gd name="connsiteX58" fmla="*/ 4524806 w 5605806"/>
                <a:gd name="connsiteY58" fmla="*/ 187335 h 225340"/>
                <a:gd name="connsiteX59" fmla="*/ 4617457 w 5605806"/>
                <a:gd name="connsiteY59" fmla="*/ 190036 h 225340"/>
                <a:gd name="connsiteX60" fmla="*/ 4710106 w 5605806"/>
                <a:gd name="connsiteY60" fmla="*/ 186435 h 225340"/>
                <a:gd name="connsiteX61" fmla="*/ 4802756 w 5605806"/>
                <a:gd name="connsiteY61" fmla="*/ 192378 h 225340"/>
                <a:gd name="connsiteX62" fmla="*/ 4895406 w 5605806"/>
                <a:gd name="connsiteY62" fmla="*/ 191657 h 225340"/>
                <a:gd name="connsiteX63" fmla="*/ 4988057 w 5605806"/>
                <a:gd name="connsiteY63" fmla="*/ 190757 h 225340"/>
                <a:gd name="connsiteX64" fmla="*/ 5080706 w 5605806"/>
                <a:gd name="connsiteY64" fmla="*/ 186074 h 225340"/>
                <a:gd name="connsiteX65" fmla="*/ 5173356 w 5605806"/>
                <a:gd name="connsiteY65" fmla="*/ 186074 h 225340"/>
                <a:gd name="connsiteX66" fmla="*/ 5266006 w 5605806"/>
                <a:gd name="connsiteY66" fmla="*/ 190036 h 225340"/>
                <a:gd name="connsiteX67" fmla="*/ 5358656 w 5605806"/>
                <a:gd name="connsiteY67" fmla="*/ 184274 h 225340"/>
                <a:gd name="connsiteX68" fmla="*/ 5440445 w 5605806"/>
                <a:gd name="connsiteY68" fmla="*/ 190073 h 225340"/>
                <a:gd name="connsiteX69" fmla="*/ 5531988 w 5605806"/>
                <a:gd name="connsiteY69" fmla="*/ 197578 h 225340"/>
                <a:gd name="connsiteX70" fmla="*/ 5605806 w 5605806"/>
                <a:gd name="connsiteY70" fmla="*/ 207189 h 225340"/>
                <a:gd name="connsiteX0" fmla="*/ 0 w 5605806"/>
                <a:gd name="connsiteY0" fmla="*/ 215429 h 225340"/>
                <a:gd name="connsiteX1" fmla="*/ 93313 w 5605806"/>
                <a:gd name="connsiteY1" fmla="*/ 213989 h 225340"/>
                <a:gd name="connsiteX2" fmla="*/ 186406 w 5605806"/>
                <a:gd name="connsiteY2" fmla="*/ 215069 h 225340"/>
                <a:gd name="connsiteX3" fmla="*/ 279497 w 5605806"/>
                <a:gd name="connsiteY3" fmla="*/ 214169 h 225340"/>
                <a:gd name="connsiteX4" fmla="*/ 372589 w 5605806"/>
                <a:gd name="connsiteY4" fmla="*/ 220112 h 225340"/>
                <a:gd name="connsiteX5" fmla="*/ 465681 w 5605806"/>
                <a:gd name="connsiteY5" fmla="*/ 217050 h 225340"/>
                <a:gd name="connsiteX6" fmla="*/ 558774 w 5605806"/>
                <a:gd name="connsiteY6" fmla="*/ 218671 h 225340"/>
                <a:gd name="connsiteX7" fmla="*/ 651866 w 5605806"/>
                <a:gd name="connsiteY7" fmla="*/ 214529 h 225340"/>
                <a:gd name="connsiteX8" fmla="*/ 744958 w 5605806"/>
                <a:gd name="connsiteY8" fmla="*/ 213989 h 225340"/>
                <a:gd name="connsiteX9" fmla="*/ 838049 w 5605806"/>
                <a:gd name="connsiteY9" fmla="*/ 217590 h 225340"/>
                <a:gd name="connsiteX10" fmla="*/ 931142 w 5605806"/>
                <a:gd name="connsiteY10" fmla="*/ 218491 h 225340"/>
                <a:gd name="connsiteX11" fmla="*/ 1024234 w 5605806"/>
                <a:gd name="connsiteY11" fmla="*/ 221012 h 225340"/>
                <a:gd name="connsiteX12" fmla="*/ 1117326 w 5605806"/>
                <a:gd name="connsiteY12" fmla="*/ 213629 h 225340"/>
                <a:gd name="connsiteX13" fmla="*/ 1209977 w 5605806"/>
                <a:gd name="connsiteY13" fmla="*/ 211648 h 225340"/>
                <a:gd name="connsiteX14" fmla="*/ 1299088 w 5605806"/>
                <a:gd name="connsiteY14" fmla="*/ 212728 h 225340"/>
                <a:gd name="connsiteX15" fmla="*/ 1253095 w 5605806"/>
                <a:gd name="connsiteY15" fmla="*/ 173828 h 225340"/>
                <a:gd name="connsiteX16" fmla="*/ 1196488 w 5605806"/>
                <a:gd name="connsiteY16" fmla="*/ 136729 h 225340"/>
                <a:gd name="connsiteX17" fmla="*/ 1278524 w 5605806"/>
                <a:gd name="connsiteY17" fmla="*/ 154198 h 225340"/>
                <a:gd name="connsiteX18" fmla="*/ 1358570 w 5605806"/>
                <a:gd name="connsiteY18" fmla="*/ 175089 h 225340"/>
                <a:gd name="connsiteX19" fmla="*/ 1437953 w 5605806"/>
                <a:gd name="connsiteY19" fmla="*/ 184274 h 225340"/>
                <a:gd name="connsiteX20" fmla="*/ 1400141 w 5605806"/>
                <a:gd name="connsiteY20" fmla="*/ 123943 h 225340"/>
                <a:gd name="connsiteX21" fmla="*/ 1353483 w 5605806"/>
                <a:gd name="connsiteY21" fmla="*/ 64512 h 225340"/>
                <a:gd name="connsiteX22" fmla="*/ 1300856 w 5605806"/>
                <a:gd name="connsiteY22" fmla="*/ 4001 h 225340"/>
                <a:gd name="connsiteX23" fmla="*/ 1328507 w 5605806"/>
                <a:gd name="connsiteY23" fmla="*/ 951 h 225340"/>
                <a:gd name="connsiteX24" fmla="*/ 1390853 w 5605806"/>
                <a:gd name="connsiteY24" fmla="*/ 50285 h 225340"/>
                <a:gd name="connsiteX25" fmla="*/ 1477754 w 5605806"/>
                <a:gd name="connsiteY25" fmla="*/ 94948 h 225340"/>
                <a:gd name="connsiteX26" fmla="*/ 1565982 w 5605806"/>
                <a:gd name="connsiteY26" fmla="*/ 137269 h 225340"/>
                <a:gd name="connsiteX27" fmla="*/ 1648903 w 5605806"/>
                <a:gd name="connsiteY27" fmla="*/ 186795 h 225340"/>
                <a:gd name="connsiteX28" fmla="*/ 1742216 w 5605806"/>
                <a:gd name="connsiteY28" fmla="*/ 181932 h 225340"/>
                <a:gd name="connsiteX29" fmla="*/ 1835307 w 5605806"/>
                <a:gd name="connsiteY29" fmla="*/ 190397 h 225340"/>
                <a:gd name="connsiteX30" fmla="*/ 1928399 w 5605806"/>
                <a:gd name="connsiteY30" fmla="*/ 190397 h 225340"/>
                <a:gd name="connsiteX31" fmla="*/ 2021492 w 5605806"/>
                <a:gd name="connsiteY31" fmla="*/ 182293 h 225340"/>
                <a:gd name="connsiteX32" fmla="*/ 2114584 w 5605806"/>
                <a:gd name="connsiteY32" fmla="*/ 188416 h 225340"/>
                <a:gd name="connsiteX33" fmla="*/ 2207233 w 5605806"/>
                <a:gd name="connsiteY33" fmla="*/ 180852 h 225340"/>
                <a:gd name="connsiteX34" fmla="*/ 2300325 w 5605806"/>
                <a:gd name="connsiteY34" fmla="*/ 188055 h 225340"/>
                <a:gd name="connsiteX35" fmla="*/ 2393418 w 5605806"/>
                <a:gd name="connsiteY35" fmla="*/ 188055 h 225340"/>
                <a:gd name="connsiteX36" fmla="*/ 2486068 w 5605806"/>
                <a:gd name="connsiteY36" fmla="*/ 185714 h 225340"/>
                <a:gd name="connsiteX37" fmla="*/ 2578718 w 5605806"/>
                <a:gd name="connsiteY37" fmla="*/ 182653 h 225340"/>
                <a:gd name="connsiteX38" fmla="*/ 2671809 w 5605806"/>
                <a:gd name="connsiteY38" fmla="*/ 183733 h 225340"/>
                <a:gd name="connsiteX39" fmla="*/ 2764460 w 5605806"/>
                <a:gd name="connsiteY39" fmla="*/ 188596 h 225340"/>
                <a:gd name="connsiteX40" fmla="*/ 2857110 w 5605806"/>
                <a:gd name="connsiteY40" fmla="*/ 188596 h 225340"/>
                <a:gd name="connsiteX41" fmla="*/ 2949759 w 5605806"/>
                <a:gd name="connsiteY41" fmla="*/ 188416 h 225340"/>
                <a:gd name="connsiteX42" fmla="*/ 3042409 w 5605806"/>
                <a:gd name="connsiteY42" fmla="*/ 185894 h 225340"/>
                <a:gd name="connsiteX43" fmla="*/ 3135060 w 5605806"/>
                <a:gd name="connsiteY43" fmla="*/ 186795 h 225340"/>
                <a:gd name="connsiteX44" fmla="*/ 3227708 w 5605806"/>
                <a:gd name="connsiteY44" fmla="*/ 181032 h 225340"/>
                <a:gd name="connsiteX45" fmla="*/ 3320359 w 5605806"/>
                <a:gd name="connsiteY45" fmla="*/ 183373 h 225340"/>
                <a:gd name="connsiteX46" fmla="*/ 3413008 w 5605806"/>
                <a:gd name="connsiteY46" fmla="*/ 187335 h 225340"/>
                <a:gd name="connsiteX47" fmla="*/ 3505658 w 5605806"/>
                <a:gd name="connsiteY47" fmla="*/ 191297 h 225340"/>
                <a:gd name="connsiteX48" fmla="*/ 3598308 w 5605806"/>
                <a:gd name="connsiteY48" fmla="*/ 181032 h 225340"/>
                <a:gd name="connsiteX49" fmla="*/ 3690958 w 5605806"/>
                <a:gd name="connsiteY49" fmla="*/ 181572 h 225340"/>
                <a:gd name="connsiteX50" fmla="*/ 3783608 w 5605806"/>
                <a:gd name="connsiteY50" fmla="*/ 186255 h 225340"/>
                <a:gd name="connsiteX51" fmla="*/ 3876258 w 5605806"/>
                <a:gd name="connsiteY51" fmla="*/ 190937 h 225340"/>
                <a:gd name="connsiteX52" fmla="*/ 3968907 w 5605806"/>
                <a:gd name="connsiteY52" fmla="*/ 191477 h 225340"/>
                <a:gd name="connsiteX53" fmla="*/ 4061558 w 5605806"/>
                <a:gd name="connsiteY53" fmla="*/ 186615 h 225340"/>
                <a:gd name="connsiteX54" fmla="*/ 4154208 w 5605806"/>
                <a:gd name="connsiteY54" fmla="*/ 184274 h 225340"/>
                <a:gd name="connsiteX55" fmla="*/ 4246857 w 5605806"/>
                <a:gd name="connsiteY55" fmla="*/ 192017 h 225340"/>
                <a:gd name="connsiteX56" fmla="*/ 4339508 w 5605806"/>
                <a:gd name="connsiteY56" fmla="*/ 183193 h 225340"/>
                <a:gd name="connsiteX57" fmla="*/ 4432158 w 5605806"/>
                <a:gd name="connsiteY57" fmla="*/ 184093 h 225340"/>
                <a:gd name="connsiteX58" fmla="*/ 4524806 w 5605806"/>
                <a:gd name="connsiteY58" fmla="*/ 187335 h 225340"/>
                <a:gd name="connsiteX59" fmla="*/ 4617457 w 5605806"/>
                <a:gd name="connsiteY59" fmla="*/ 190036 h 225340"/>
                <a:gd name="connsiteX60" fmla="*/ 4710106 w 5605806"/>
                <a:gd name="connsiteY60" fmla="*/ 186435 h 225340"/>
                <a:gd name="connsiteX61" fmla="*/ 4802756 w 5605806"/>
                <a:gd name="connsiteY61" fmla="*/ 192378 h 225340"/>
                <a:gd name="connsiteX62" fmla="*/ 4895406 w 5605806"/>
                <a:gd name="connsiteY62" fmla="*/ 191657 h 225340"/>
                <a:gd name="connsiteX63" fmla="*/ 4988057 w 5605806"/>
                <a:gd name="connsiteY63" fmla="*/ 190757 h 225340"/>
                <a:gd name="connsiteX64" fmla="*/ 5080706 w 5605806"/>
                <a:gd name="connsiteY64" fmla="*/ 186074 h 225340"/>
                <a:gd name="connsiteX65" fmla="*/ 5173356 w 5605806"/>
                <a:gd name="connsiteY65" fmla="*/ 186074 h 225340"/>
                <a:gd name="connsiteX66" fmla="*/ 5266006 w 5605806"/>
                <a:gd name="connsiteY66" fmla="*/ 190036 h 225340"/>
                <a:gd name="connsiteX67" fmla="*/ 5358656 w 5605806"/>
                <a:gd name="connsiteY67" fmla="*/ 184274 h 225340"/>
                <a:gd name="connsiteX68" fmla="*/ 5440445 w 5605806"/>
                <a:gd name="connsiteY68" fmla="*/ 190073 h 225340"/>
                <a:gd name="connsiteX69" fmla="*/ 5514653 w 5605806"/>
                <a:gd name="connsiteY69" fmla="*/ 223580 h 225340"/>
                <a:gd name="connsiteX70" fmla="*/ 5605806 w 5605806"/>
                <a:gd name="connsiteY70" fmla="*/ 207189 h 225340"/>
                <a:gd name="connsiteX0" fmla="*/ 0 w 5566803"/>
                <a:gd name="connsiteY0" fmla="*/ 215429 h 225340"/>
                <a:gd name="connsiteX1" fmla="*/ 93313 w 5566803"/>
                <a:gd name="connsiteY1" fmla="*/ 213989 h 225340"/>
                <a:gd name="connsiteX2" fmla="*/ 186406 w 5566803"/>
                <a:gd name="connsiteY2" fmla="*/ 215069 h 225340"/>
                <a:gd name="connsiteX3" fmla="*/ 279497 w 5566803"/>
                <a:gd name="connsiteY3" fmla="*/ 214169 h 225340"/>
                <a:gd name="connsiteX4" fmla="*/ 372589 w 5566803"/>
                <a:gd name="connsiteY4" fmla="*/ 220112 h 225340"/>
                <a:gd name="connsiteX5" fmla="*/ 465681 w 5566803"/>
                <a:gd name="connsiteY5" fmla="*/ 217050 h 225340"/>
                <a:gd name="connsiteX6" fmla="*/ 558774 w 5566803"/>
                <a:gd name="connsiteY6" fmla="*/ 218671 h 225340"/>
                <a:gd name="connsiteX7" fmla="*/ 651866 w 5566803"/>
                <a:gd name="connsiteY7" fmla="*/ 214529 h 225340"/>
                <a:gd name="connsiteX8" fmla="*/ 744958 w 5566803"/>
                <a:gd name="connsiteY8" fmla="*/ 213989 h 225340"/>
                <a:gd name="connsiteX9" fmla="*/ 838049 w 5566803"/>
                <a:gd name="connsiteY9" fmla="*/ 217590 h 225340"/>
                <a:gd name="connsiteX10" fmla="*/ 931142 w 5566803"/>
                <a:gd name="connsiteY10" fmla="*/ 218491 h 225340"/>
                <a:gd name="connsiteX11" fmla="*/ 1024234 w 5566803"/>
                <a:gd name="connsiteY11" fmla="*/ 221012 h 225340"/>
                <a:gd name="connsiteX12" fmla="*/ 1117326 w 5566803"/>
                <a:gd name="connsiteY12" fmla="*/ 213629 h 225340"/>
                <a:gd name="connsiteX13" fmla="*/ 1209977 w 5566803"/>
                <a:gd name="connsiteY13" fmla="*/ 211648 h 225340"/>
                <a:gd name="connsiteX14" fmla="*/ 1299088 w 5566803"/>
                <a:gd name="connsiteY14" fmla="*/ 212728 h 225340"/>
                <a:gd name="connsiteX15" fmla="*/ 1253095 w 5566803"/>
                <a:gd name="connsiteY15" fmla="*/ 173828 h 225340"/>
                <a:gd name="connsiteX16" fmla="*/ 1196488 w 5566803"/>
                <a:gd name="connsiteY16" fmla="*/ 136729 h 225340"/>
                <a:gd name="connsiteX17" fmla="*/ 1278524 w 5566803"/>
                <a:gd name="connsiteY17" fmla="*/ 154198 h 225340"/>
                <a:gd name="connsiteX18" fmla="*/ 1358570 w 5566803"/>
                <a:gd name="connsiteY18" fmla="*/ 175089 h 225340"/>
                <a:gd name="connsiteX19" fmla="*/ 1437953 w 5566803"/>
                <a:gd name="connsiteY19" fmla="*/ 184274 h 225340"/>
                <a:gd name="connsiteX20" fmla="*/ 1400141 w 5566803"/>
                <a:gd name="connsiteY20" fmla="*/ 123943 h 225340"/>
                <a:gd name="connsiteX21" fmla="*/ 1353483 w 5566803"/>
                <a:gd name="connsiteY21" fmla="*/ 64512 h 225340"/>
                <a:gd name="connsiteX22" fmla="*/ 1300856 w 5566803"/>
                <a:gd name="connsiteY22" fmla="*/ 4001 h 225340"/>
                <a:gd name="connsiteX23" fmla="*/ 1328507 w 5566803"/>
                <a:gd name="connsiteY23" fmla="*/ 951 h 225340"/>
                <a:gd name="connsiteX24" fmla="*/ 1390853 w 5566803"/>
                <a:gd name="connsiteY24" fmla="*/ 50285 h 225340"/>
                <a:gd name="connsiteX25" fmla="*/ 1477754 w 5566803"/>
                <a:gd name="connsiteY25" fmla="*/ 94948 h 225340"/>
                <a:gd name="connsiteX26" fmla="*/ 1565982 w 5566803"/>
                <a:gd name="connsiteY26" fmla="*/ 137269 h 225340"/>
                <a:gd name="connsiteX27" fmla="*/ 1648903 w 5566803"/>
                <a:gd name="connsiteY27" fmla="*/ 186795 h 225340"/>
                <a:gd name="connsiteX28" fmla="*/ 1742216 w 5566803"/>
                <a:gd name="connsiteY28" fmla="*/ 181932 h 225340"/>
                <a:gd name="connsiteX29" fmla="*/ 1835307 w 5566803"/>
                <a:gd name="connsiteY29" fmla="*/ 190397 h 225340"/>
                <a:gd name="connsiteX30" fmla="*/ 1928399 w 5566803"/>
                <a:gd name="connsiteY30" fmla="*/ 190397 h 225340"/>
                <a:gd name="connsiteX31" fmla="*/ 2021492 w 5566803"/>
                <a:gd name="connsiteY31" fmla="*/ 182293 h 225340"/>
                <a:gd name="connsiteX32" fmla="*/ 2114584 w 5566803"/>
                <a:gd name="connsiteY32" fmla="*/ 188416 h 225340"/>
                <a:gd name="connsiteX33" fmla="*/ 2207233 w 5566803"/>
                <a:gd name="connsiteY33" fmla="*/ 180852 h 225340"/>
                <a:gd name="connsiteX34" fmla="*/ 2300325 w 5566803"/>
                <a:gd name="connsiteY34" fmla="*/ 188055 h 225340"/>
                <a:gd name="connsiteX35" fmla="*/ 2393418 w 5566803"/>
                <a:gd name="connsiteY35" fmla="*/ 188055 h 225340"/>
                <a:gd name="connsiteX36" fmla="*/ 2486068 w 5566803"/>
                <a:gd name="connsiteY36" fmla="*/ 185714 h 225340"/>
                <a:gd name="connsiteX37" fmla="*/ 2578718 w 5566803"/>
                <a:gd name="connsiteY37" fmla="*/ 182653 h 225340"/>
                <a:gd name="connsiteX38" fmla="*/ 2671809 w 5566803"/>
                <a:gd name="connsiteY38" fmla="*/ 183733 h 225340"/>
                <a:gd name="connsiteX39" fmla="*/ 2764460 w 5566803"/>
                <a:gd name="connsiteY39" fmla="*/ 188596 h 225340"/>
                <a:gd name="connsiteX40" fmla="*/ 2857110 w 5566803"/>
                <a:gd name="connsiteY40" fmla="*/ 188596 h 225340"/>
                <a:gd name="connsiteX41" fmla="*/ 2949759 w 5566803"/>
                <a:gd name="connsiteY41" fmla="*/ 188416 h 225340"/>
                <a:gd name="connsiteX42" fmla="*/ 3042409 w 5566803"/>
                <a:gd name="connsiteY42" fmla="*/ 185894 h 225340"/>
                <a:gd name="connsiteX43" fmla="*/ 3135060 w 5566803"/>
                <a:gd name="connsiteY43" fmla="*/ 186795 h 225340"/>
                <a:gd name="connsiteX44" fmla="*/ 3227708 w 5566803"/>
                <a:gd name="connsiteY44" fmla="*/ 181032 h 225340"/>
                <a:gd name="connsiteX45" fmla="*/ 3320359 w 5566803"/>
                <a:gd name="connsiteY45" fmla="*/ 183373 h 225340"/>
                <a:gd name="connsiteX46" fmla="*/ 3413008 w 5566803"/>
                <a:gd name="connsiteY46" fmla="*/ 187335 h 225340"/>
                <a:gd name="connsiteX47" fmla="*/ 3505658 w 5566803"/>
                <a:gd name="connsiteY47" fmla="*/ 191297 h 225340"/>
                <a:gd name="connsiteX48" fmla="*/ 3598308 w 5566803"/>
                <a:gd name="connsiteY48" fmla="*/ 181032 h 225340"/>
                <a:gd name="connsiteX49" fmla="*/ 3690958 w 5566803"/>
                <a:gd name="connsiteY49" fmla="*/ 181572 h 225340"/>
                <a:gd name="connsiteX50" fmla="*/ 3783608 w 5566803"/>
                <a:gd name="connsiteY50" fmla="*/ 186255 h 225340"/>
                <a:gd name="connsiteX51" fmla="*/ 3876258 w 5566803"/>
                <a:gd name="connsiteY51" fmla="*/ 190937 h 225340"/>
                <a:gd name="connsiteX52" fmla="*/ 3968907 w 5566803"/>
                <a:gd name="connsiteY52" fmla="*/ 191477 h 225340"/>
                <a:gd name="connsiteX53" fmla="*/ 4061558 w 5566803"/>
                <a:gd name="connsiteY53" fmla="*/ 186615 h 225340"/>
                <a:gd name="connsiteX54" fmla="*/ 4154208 w 5566803"/>
                <a:gd name="connsiteY54" fmla="*/ 184274 h 225340"/>
                <a:gd name="connsiteX55" fmla="*/ 4246857 w 5566803"/>
                <a:gd name="connsiteY55" fmla="*/ 192017 h 225340"/>
                <a:gd name="connsiteX56" fmla="*/ 4339508 w 5566803"/>
                <a:gd name="connsiteY56" fmla="*/ 183193 h 225340"/>
                <a:gd name="connsiteX57" fmla="*/ 4432158 w 5566803"/>
                <a:gd name="connsiteY57" fmla="*/ 184093 h 225340"/>
                <a:gd name="connsiteX58" fmla="*/ 4524806 w 5566803"/>
                <a:gd name="connsiteY58" fmla="*/ 187335 h 225340"/>
                <a:gd name="connsiteX59" fmla="*/ 4617457 w 5566803"/>
                <a:gd name="connsiteY59" fmla="*/ 190036 h 225340"/>
                <a:gd name="connsiteX60" fmla="*/ 4710106 w 5566803"/>
                <a:gd name="connsiteY60" fmla="*/ 186435 h 225340"/>
                <a:gd name="connsiteX61" fmla="*/ 4802756 w 5566803"/>
                <a:gd name="connsiteY61" fmla="*/ 192378 h 225340"/>
                <a:gd name="connsiteX62" fmla="*/ 4895406 w 5566803"/>
                <a:gd name="connsiteY62" fmla="*/ 191657 h 225340"/>
                <a:gd name="connsiteX63" fmla="*/ 4988057 w 5566803"/>
                <a:gd name="connsiteY63" fmla="*/ 190757 h 225340"/>
                <a:gd name="connsiteX64" fmla="*/ 5080706 w 5566803"/>
                <a:gd name="connsiteY64" fmla="*/ 186074 h 225340"/>
                <a:gd name="connsiteX65" fmla="*/ 5173356 w 5566803"/>
                <a:gd name="connsiteY65" fmla="*/ 186074 h 225340"/>
                <a:gd name="connsiteX66" fmla="*/ 5266006 w 5566803"/>
                <a:gd name="connsiteY66" fmla="*/ 190036 h 225340"/>
                <a:gd name="connsiteX67" fmla="*/ 5358656 w 5566803"/>
                <a:gd name="connsiteY67" fmla="*/ 184274 h 225340"/>
                <a:gd name="connsiteX68" fmla="*/ 5440445 w 5566803"/>
                <a:gd name="connsiteY68" fmla="*/ 190073 h 225340"/>
                <a:gd name="connsiteX69" fmla="*/ 5514653 w 5566803"/>
                <a:gd name="connsiteY69" fmla="*/ 223580 h 225340"/>
                <a:gd name="connsiteX70" fmla="*/ 5566803 w 5566803"/>
                <a:gd name="connsiteY70" fmla="*/ 198521 h 225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566803" h="225340">
                  <a:moveTo>
                    <a:pt x="0" y="215429"/>
                  </a:moveTo>
                  <a:cubicBezTo>
                    <a:pt x="46656" y="215429"/>
                    <a:pt x="46877" y="213989"/>
                    <a:pt x="93313" y="213989"/>
                  </a:cubicBezTo>
                  <a:cubicBezTo>
                    <a:pt x="139748" y="213989"/>
                    <a:pt x="139969" y="215069"/>
                    <a:pt x="186406" y="215069"/>
                  </a:cubicBezTo>
                  <a:lnTo>
                    <a:pt x="279497" y="214169"/>
                  </a:lnTo>
                  <a:cubicBezTo>
                    <a:pt x="325933" y="214169"/>
                    <a:pt x="325933" y="220112"/>
                    <a:pt x="372589" y="220112"/>
                  </a:cubicBezTo>
                  <a:cubicBezTo>
                    <a:pt x="419246" y="220112"/>
                    <a:pt x="419246" y="217050"/>
                    <a:pt x="465681" y="217050"/>
                  </a:cubicBezTo>
                  <a:cubicBezTo>
                    <a:pt x="512116" y="217050"/>
                    <a:pt x="512339" y="218671"/>
                    <a:pt x="558774" y="218671"/>
                  </a:cubicBezTo>
                  <a:cubicBezTo>
                    <a:pt x="605209" y="218671"/>
                    <a:pt x="605209" y="214529"/>
                    <a:pt x="651866" y="214529"/>
                  </a:cubicBezTo>
                  <a:lnTo>
                    <a:pt x="744958" y="213989"/>
                  </a:lnTo>
                  <a:cubicBezTo>
                    <a:pt x="791614" y="213989"/>
                    <a:pt x="791393" y="217590"/>
                    <a:pt x="838049" y="217590"/>
                  </a:cubicBezTo>
                  <a:lnTo>
                    <a:pt x="931142" y="218491"/>
                  </a:lnTo>
                  <a:cubicBezTo>
                    <a:pt x="977799" y="218491"/>
                    <a:pt x="977578" y="221012"/>
                    <a:pt x="1024234" y="221012"/>
                  </a:cubicBezTo>
                  <a:cubicBezTo>
                    <a:pt x="1070891" y="221012"/>
                    <a:pt x="1071112" y="213629"/>
                    <a:pt x="1117326" y="213629"/>
                  </a:cubicBezTo>
                  <a:cubicBezTo>
                    <a:pt x="1163540" y="213629"/>
                    <a:pt x="1163319" y="211648"/>
                    <a:pt x="1209977" y="211648"/>
                  </a:cubicBezTo>
                  <a:cubicBezTo>
                    <a:pt x="1256633" y="211648"/>
                    <a:pt x="1269015" y="241723"/>
                    <a:pt x="1299088" y="212728"/>
                  </a:cubicBezTo>
                  <a:cubicBezTo>
                    <a:pt x="1322084" y="190397"/>
                    <a:pt x="1279630" y="193458"/>
                    <a:pt x="1253095" y="173828"/>
                  </a:cubicBezTo>
                  <a:cubicBezTo>
                    <a:pt x="1226560" y="154198"/>
                    <a:pt x="1171058" y="156899"/>
                    <a:pt x="1196488" y="136729"/>
                  </a:cubicBezTo>
                  <a:cubicBezTo>
                    <a:pt x="1226560" y="112957"/>
                    <a:pt x="1237837" y="145914"/>
                    <a:pt x="1278524" y="154198"/>
                  </a:cubicBezTo>
                  <a:cubicBezTo>
                    <a:pt x="1319210" y="162482"/>
                    <a:pt x="1317884" y="166985"/>
                    <a:pt x="1358570" y="175089"/>
                  </a:cubicBezTo>
                  <a:cubicBezTo>
                    <a:pt x="1399257" y="183193"/>
                    <a:pt x="1414293" y="213809"/>
                    <a:pt x="1437953" y="184274"/>
                  </a:cubicBezTo>
                  <a:cubicBezTo>
                    <a:pt x="1461834" y="154738"/>
                    <a:pt x="1423359" y="153658"/>
                    <a:pt x="1400141" y="123943"/>
                  </a:cubicBezTo>
                  <a:cubicBezTo>
                    <a:pt x="1376923" y="94227"/>
                    <a:pt x="1376481" y="94227"/>
                    <a:pt x="1353483" y="64512"/>
                  </a:cubicBezTo>
                  <a:cubicBezTo>
                    <a:pt x="1330488" y="34797"/>
                    <a:pt x="1261497" y="18409"/>
                    <a:pt x="1300856" y="4001"/>
                  </a:cubicBezTo>
                  <a:cubicBezTo>
                    <a:pt x="1312521" y="-231"/>
                    <a:pt x="1321269" y="-850"/>
                    <a:pt x="1328507" y="951"/>
                  </a:cubicBezTo>
                  <a:cubicBezTo>
                    <a:pt x="1350223" y="6354"/>
                    <a:pt x="1358349" y="33536"/>
                    <a:pt x="1390853" y="50285"/>
                  </a:cubicBezTo>
                  <a:lnTo>
                    <a:pt x="1477754" y="94948"/>
                  </a:lnTo>
                  <a:cubicBezTo>
                    <a:pt x="1521094" y="117279"/>
                    <a:pt x="1522642" y="114938"/>
                    <a:pt x="1565982" y="137269"/>
                  </a:cubicBezTo>
                  <a:cubicBezTo>
                    <a:pt x="1609321" y="159601"/>
                    <a:pt x="1600034" y="174548"/>
                    <a:pt x="1648903" y="186795"/>
                  </a:cubicBezTo>
                  <a:cubicBezTo>
                    <a:pt x="1693347" y="197780"/>
                    <a:pt x="1695780" y="181932"/>
                    <a:pt x="1742216" y="181932"/>
                  </a:cubicBezTo>
                  <a:cubicBezTo>
                    <a:pt x="1788651" y="181932"/>
                    <a:pt x="1788651" y="190397"/>
                    <a:pt x="1835307" y="190397"/>
                  </a:cubicBezTo>
                  <a:lnTo>
                    <a:pt x="1928399" y="190397"/>
                  </a:lnTo>
                  <a:cubicBezTo>
                    <a:pt x="1975057" y="190397"/>
                    <a:pt x="1974836" y="182293"/>
                    <a:pt x="2021492" y="182293"/>
                  </a:cubicBezTo>
                  <a:cubicBezTo>
                    <a:pt x="2068149" y="182293"/>
                    <a:pt x="2068370" y="188416"/>
                    <a:pt x="2114584" y="188416"/>
                  </a:cubicBezTo>
                  <a:cubicBezTo>
                    <a:pt x="2160798" y="188416"/>
                    <a:pt x="2160577" y="180852"/>
                    <a:pt x="2207233" y="180852"/>
                  </a:cubicBezTo>
                  <a:cubicBezTo>
                    <a:pt x="2253890" y="180852"/>
                    <a:pt x="2253669" y="188055"/>
                    <a:pt x="2300325" y="188055"/>
                  </a:cubicBezTo>
                  <a:lnTo>
                    <a:pt x="2393418" y="188055"/>
                  </a:lnTo>
                  <a:cubicBezTo>
                    <a:pt x="2439633" y="188055"/>
                    <a:pt x="2439854" y="185714"/>
                    <a:pt x="2486068" y="185714"/>
                  </a:cubicBezTo>
                  <a:cubicBezTo>
                    <a:pt x="2532282" y="185714"/>
                    <a:pt x="2532061" y="182653"/>
                    <a:pt x="2578718" y="182653"/>
                  </a:cubicBezTo>
                  <a:cubicBezTo>
                    <a:pt x="2625374" y="182653"/>
                    <a:pt x="2625595" y="183733"/>
                    <a:pt x="2671809" y="183733"/>
                  </a:cubicBezTo>
                  <a:cubicBezTo>
                    <a:pt x="2718025" y="183733"/>
                    <a:pt x="2718025" y="188596"/>
                    <a:pt x="2764460" y="188596"/>
                  </a:cubicBezTo>
                  <a:lnTo>
                    <a:pt x="2857110" y="188596"/>
                  </a:lnTo>
                  <a:lnTo>
                    <a:pt x="2949759" y="188416"/>
                  </a:lnTo>
                  <a:cubicBezTo>
                    <a:pt x="2995973" y="188416"/>
                    <a:pt x="2996195" y="185894"/>
                    <a:pt x="3042409" y="185894"/>
                  </a:cubicBezTo>
                  <a:lnTo>
                    <a:pt x="3135060" y="186795"/>
                  </a:lnTo>
                  <a:cubicBezTo>
                    <a:pt x="3181274" y="186795"/>
                    <a:pt x="3181494" y="181032"/>
                    <a:pt x="3227708" y="181032"/>
                  </a:cubicBezTo>
                  <a:cubicBezTo>
                    <a:pt x="3273924" y="181032"/>
                    <a:pt x="3274145" y="183373"/>
                    <a:pt x="3320359" y="183373"/>
                  </a:cubicBezTo>
                  <a:cubicBezTo>
                    <a:pt x="3366573" y="183373"/>
                    <a:pt x="3366794" y="187335"/>
                    <a:pt x="3413008" y="187335"/>
                  </a:cubicBezTo>
                  <a:cubicBezTo>
                    <a:pt x="3459223" y="187335"/>
                    <a:pt x="3459444" y="191297"/>
                    <a:pt x="3505658" y="191297"/>
                  </a:cubicBezTo>
                  <a:cubicBezTo>
                    <a:pt x="3551872" y="191297"/>
                    <a:pt x="3552094" y="181032"/>
                    <a:pt x="3598308" y="181032"/>
                  </a:cubicBezTo>
                  <a:lnTo>
                    <a:pt x="3690958" y="181572"/>
                  </a:lnTo>
                  <a:cubicBezTo>
                    <a:pt x="3737173" y="181572"/>
                    <a:pt x="3737394" y="186255"/>
                    <a:pt x="3783608" y="186255"/>
                  </a:cubicBezTo>
                  <a:cubicBezTo>
                    <a:pt x="3829822" y="186255"/>
                    <a:pt x="3830043" y="190937"/>
                    <a:pt x="3876258" y="190937"/>
                  </a:cubicBezTo>
                  <a:lnTo>
                    <a:pt x="3968907" y="191477"/>
                  </a:lnTo>
                  <a:cubicBezTo>
                    <a:pt x="4015122" y="191477"/>
                    <a:pt x="4015344" y="186615"/>
                    <a:pt x="4061558" y="186615"/>
                  </a:cubicBezTo>
                  <a:cubicBezTo>
                    <a:pt x="4107772" y="186615"/>
                    <a:pt x="4107993" y="184274"/>
                    <a:pt x="4154208" y="184274"/>
                  </a:cubicBezTo>
                  <a:cubicBezTo>
                    <a:pt x="4200422" y="184274"/>
                    <a:pt x="4200643" y="192017"/>
                    <a:pt x="4246857" y="192017"/>
                  </a:cubicBezTo>
                  <a:cubicBezTo>
                    <a:pt x="4293072" y="192017"/>
                    <a:pt x="4293294" y="183193"/>
                    <a:pt x="4339508" y="183193"/>
                  </a:cubicBezTo>
                  <a:lnTo>
                    <a:pt x="4432158" y="184093"/>
                  </a:lnTo>
                  <a:cubicBezTo>
                    <a:pt x="4478372" y="184093"/>
                    <a:pt x="4478592" y="187335"/>
                    <a:pt x="4524806" y="187335"/>
                  </a:cubicBezTo>
                  <a:cubicBezTo>
                    <a:pt x="4571022" y="187335"/>
                    <a:pt x="4571243" y="190036"/>
                    <a:pt x="4617457" y="190036"/>
                  </a:cubicBezTo>
                  <a:cubicBezTo>
                    <a:pt x="4663671" y="190036"/>
                    <a:pt x="4663892" y="186435"/>
                    <a:pt x="4710106" y="186435"/>
                  </a:cubicBezTo>
                  <a:cubicBezTo>
                    <a:pt x="4756322" y="186435"/>
                    <a:pt x="4756542" y="192378"/>
                    <a:pt x="4802756" y="192378"/>
                  </a:cubicBezTo>
                  <a:lnTo>
                    <a:pt x="4895406" y="191657"/>
                  </a:lnTo>
                  <a:lnTo>
                    <a:pt x="4988057" y="190757"/>
                  </a:lnTo>
                  <a:cubicBezTo>
                    <a:pt x="5034271" y="190757"/>
                    <a:pt x="5034271" y="186074"/>
                    <a:pt x="5080706" y="186074"/>
                  </a:cubicBezTo>
                  <a:lnTo>
                    <a:pt x="5173356" y="186074"/>
                  </a:lnTo>
                  <a:cubicBezTo>
                    <a:pt x="5219570" y="186074"/>
                    <a:pt x="5219792" y="190036"/>
                    <a:pt x="5266006" y="190036"/>
                  </a:cubicBezTo>
                  <a:cubicBezTo>
                    <a:pt x="5312220" y="190036"/>
                    <a:pt x="5329584" y="184268"/>
                    <a:pt x="5358656" y="184274"/>
                  </a:cubicBezTo>
                  <a:cubicBezTo>
                    <a:pt x="5387728" y="184280"/>
                    <a:pt x="5414446" y="183522"/>
                    <a:pt x="5440445" y="190073"/>
                  </a:cubicBezTo>
                  <a:cubicBezTo>
                    <a:pt x="5466444" y="196624"/>
                    <a:pt x="5493593" y="222172"/>
                    <a:pt x="5514653" y="223580"/>
                  </a:cubicBezTo>
                  <a:cubicBezTo>
                    <a:pt x="5535713" y="224988"/>
                    <a:pt x="5563586" y="160887"/>
                    <a:pt x="5566803" y="198521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wrap="square" rtlCol="0" anchor="ctr">
              <a:noAutofit/>
            </a:bodyPr>
            <a:lstStyle/>
            <a:p>
              <a:pPr rtl="0"/>
              <a:endParaRPr lang="da-DK">
                <a:latin typeface="Verdana" panose="020B0604030504040204" pitchFamily="34" charset="0"/>
              </a:endParaRP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D60F05C0-0C39-FE7C-D7A6-606E1AD55BE9}"/>
                </a:ext>
              </a:extLst>
            </p:cNvPr>
            <p:cNvGrpSpPr/>
            <p:nvPr/>
          </p:nvGrpSpPr>
          <p:grpSpPr>
            <a:xfrm>
              <a:off x="8561246" y="4573527"/>
              <a:ext cx="313579" cy="386198"/>
              <a:chOff x="8569940" y="3706813"/>
              <a:chExt cx="333128" cy="501650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68" name="Freeform 5">
                <a:extLst>
                  <a:ext uri="{FF2B5EF4-FFF2-40B4-BE49-F238E27FC236}">
                    <a16:creationId xmlns:a16="http://schemas.microsoft.com/office/drawing/2014/main" id="{4D89746B-219B-1B5D-FFB2-A329496A2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9940" y="3706813"/>
                <a:ext cx="154961" cy="461963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5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5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9" name="Freeform 6">
                <a:extLst>
                  <a:ext uri="{FF2B5EF4-FFF2-40B4-BE49-F238E27FC236}">
                    <a16:creationId xmlns:a16="http://schemas.microsoft.com/office/drawing/2014/main" id="{A0B33122-2C4C-8858-C8FF-9643E25D2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51889" y="3746500"/>
                <a:ext cx="151179" cy="461963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6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6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70EEBB35-B6D6-BF60-AC9A-3FBDC612662D}"/>
                </a:ext>
              </a:extLst>
            </p:cNvPr>
            <p:cNvGrpSpPr/>
            <p:nvPr/>
          </p:nvGrpSpPr>
          <p:grpSpPr>
            <a:xfrm>
              <a:off x="7415961" y="1625980"/>
              <a:ext cx="1936686" cy="2255663"/>
              <a:chOff x="8066900" y="1502265"/>
              <a:chExt cx="1672430" cy="2039469"/>
            </a:xfrm>
          </p:grpSpPr>
          <p:sp>
            <p:nvSpPr>
              <p:cNvPr id="2" name="Freeform: Shape 1">
                <a:extLst>
                  <a:ext uri="{FF2B5EF4-FFF2-40B4-BE49-F238E27FC236}">
                    <a16:creationId xmlns:a16="http://schemas.microsoft.com/office/drawing/2014/main" id="{A4B7A00F-7A8F-930F-4C5E-DD2161A71E3B}"/>
                  </a:ext>
                </a:extLst>
              </p:cNvPr>
              <p:cNvSpPr/>
              <p:nvPr/>
            </p:nvSpPr>
            <p:spPr>
              <a:xfrm rot="432125">
                <a:off x="8067874" y="1502266"/>
                <a:ext cx="1671456" cy="2039468"/>
              </a:xfrm>
              <a:custGeom>
                <a:avLst/>
                <a:gdLst>
                  <a:gd name="connsiteX0" fmla="*/ 4703 w 1671456"/>
                  <a:gd name="connsiteY0" fmla="*/ 1013630 h 2039468"/>
                  <a:gd name="connsiteX1" fmla="*/ 8484 w 1671456"/>
                  <a:gd name="connsiteY1" fmla="*/ 1222537 h 2039468"/>
                  <a:gd name="connsiteX2" fmla="*/ 80701 w 1671456"/>
                  <a:gd name="connsiteY2" fmla="*/ 1418477 h 2039468"/>
                  <a:gd name="connsiteX3" fmla="*/ 145715 w 1671456"/>
                  <a:gd name="connsiteY3" fmla="*/ 1617839 h 2039468"/>
                  <a:gd name="connsiteX4" fmla="*/ 279163 w 1671456"/>
                  <a:gd name="connsiteY4" fmla="*/ 1780102 h 2039468"/>
                  <a:gd name="connsiteX5" fmla="*/ 328508 w 1671456"/>
                  <a:gd name="connsiteY5" fmla="*/ 1828727 h 2039468"/>
                  <a:gd name="connsiteX6" fmla="*/ 438905 w 1671456"/>
                  <a:gd name="connsiteY6" fmla="*/ 1913190 h 2039468"/>
                  <a:gd name="connsiteX7" fmla="*/ 517245 w 1671456"/>
                  <a:gd name="connsiteY7" fmla="*/ 1967578 h 2039468"/>
                  <a:gd name="connsiteX8" fmla="*/ 1292542 w 1671456"/>
                  <a:gd name="connsiteY8" fmla="*/ 1872490 h 2039468"/>
                  <a:gd name="connsiteX9" fmla="*/ 1332702 w 1671456"/>
                  <a:gd name="connsiteY9" fmla="*/ 1830168 h 2039468"/>
                  <a:gd name="connsiteX10" fmla="*/ 1380247 w 1671456"/>
                  <a:gd name="connsiteY10" fmla="*/ 1777401 h 2039468"/>
                  <a:gd name="connsiteX11" fmla="*/ 1520179 w 1671456"/>
                  <a:gd name="connsiteY11" fmla="*/ 1620181 h 2039468"/>
                  <a:gd name="connsiteX12" fmla="*/ 1585912 w 1671456"/>
                  <a:gd name="connsiteY12" fmla="*/ 1420458 h 2039468"/>
                  <a:gd name="connsiteX13" fmla="*/ 1650205 w 1671456"/>
                  <a:gd name="connsiteY13" fmla="*/ 1222537 h 2039468"/>
                  <a:gd name="connsiteX14" fmla="*/ 1671456 w 1671456"/>
                  <a:gd name="connsiteY14" fmla="*/ 1014350 h 2039468"/>
                  <a:gd name="connsiteX15" fmla="*/ 1648224 w 1671456"/>
                  <a:gd name="connsiteY15" fmla="*/ 864334 h 2039468"/>
                  <a:gd name="connsiteX16" fmla="*/ 1636879 w 1671456"/>
                  <a:gd name="connsiteY16" fmla="*/ 808145 h 2039468"/>
                  <a:gd name="connsiteX17" fmla="*/ 1597979 w 1671456"/>
                  <a:gd name="connsiteY17" fmla="*/ 603200 h 2039468"/>
                  <a:gd name="connsiteX18" fmla="*/ 1498928 w 1671456"/>
                  <a:gd name="connsiteY18" fmla="*/ 419866 h 2039468"/>
                  <a:gd name="connsiteX19" fmla="*/ 1372503 w 1671456"/>
                  <a:gd name="connsiteY19" fmla="*/ 256883 h 2039468"/>
                  <a:gd name="connsiteX20" fmla="*/ 1217984 w 1671456"/>
                  <a:gd name="connsiteY20" fmla="*/ 122714 h 2039468"/>
                  <a:gd name="connsiteX21" fmla="*/ 1038612 w 1671456"/>
                  <a:gd name="connsiteY21" fmla="*/ 17000 h 2039468"/>
                  <a:gd name="connsiteX22" fmla="*/ 831146 w 1671456"/>
                  <a:gd name="connsiteY22" fmla="*/ 2412 h 2039468"/>
                  <a:gd name="connsiteX23" fmla="*/ 622239 w 1671456"/>
                  <a:gd name="connsiteY23" fmla="*/ 13398 h 2039468"/>
                  <a:gd name="connsiteX24" fmla="*/ 441606 w 1671456"/>
                  <a:gd name="connsiteY24" fmla="*/ 118932 h 2039468"/>
                  <a:gd name="connsiteX25" fmla="*/ 271599 w 1671456"/>
                  <a:gd name="connsiteY25" fmla="*/ 241215 h 2039468"/>
                  <a:gd name="connsiteX26" fmla="*/ 141933 w 1671456"/>
                  <a:gd name="connsiteY26" fmla="*/ 408160 h 2039468"/>
                  <a:gd name="connsiteX27" fmla="*/ 65574 w 1671456"/>
                  <a:gd name="connsiteY27" fmla="*/ 604100 h 2039468"/>
                  <a:gd name="connsiteX28" fmla="*/ 4883 w 1671456"/>
                  <a:gd name="connsiteY28" fmla="*/ 804723 h 2039468"/>
                  <a:gd name="connsiteX29" fmla="*/ 4883 w 1671456"/>
                  <a:gd name="connsiteY29" fmla="*/ 1013990 h 2039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71456" h="2039468">
                    <a:moveTo>
                      <a:pt x="4703" y="1013630"/>
                    </a:moveTo>
                    <a:cubicBezTo>
                      <a:pt x="4703" y="1084947"/>
                      <a:pt x="-3042" y="1152481"/>
                      <a:pt x="8484" y="1222537"/>
                    </a:cubicBezTo>
                    <a:cubicBezTo>
                      <a:pt x="20010" y="1292413"/>
                      <a:pt x="57109" y="1351663"/>
                      <a:pt x="80701" y="1418477"/>
                    </a:cubicBezTo>
                    <a:cubicBezTo>
                      <a:pt x="104114" y="1485291"/>
                      <a:pt x="109336" y="1556068"/>
                      <a:pt x="145715" y="1617839"/>
                    </a:cubicBezTo>
                    <a:cubicBezTo>
                      <a:pt x="182093" y="1679611"/>
                      <a:pt x="231259" y="1728056"/>
                      <a:pt x="279163" y="1780102"/>
                    </a:cubicBezTo>
                    <a:cubicBezTo>
                      <a:pt x="295011" y="1797391"/>
                      <a:pt x="311400" y="1813419"/>
                      <a:pt x="328508" y="1828727"/>
                    </a:cubicBezTo>
                    <a:cubicBezTo>
                      <a:pt x="362906" y="1859523"/>
                      <a:pt x="399645" y="1887257"/>
                      <a:pt x="438905" y="1913190"/>
                    </a:cubicBezTo>
                    <a:cubicBezTo>
                      <a:pt x="465198" y="1930479"/>
                      <a:pt x="490771" y="1949749"/>
                      <a:pt x="517245" y="1967578"/>
                    </a:cubicBezTo>
                    <a:cubicBezTo>
                      <a:pt x="876529" y="2134884"/>
                      <a:pt x="1109748" y="1970820"/>
                      <a:pt x="1292542" y="1872490"/>
                    </a:cubicBezTo>
                    <a:cubicBezTo>
                      <a:pt x="1306409" y="1858983"/>
                      <a:pt x="1319736" y="1844755"/>
                      <a:pt x="1332702" y="1830168"/>
                    </a:cubicBezTo>
                    <a:cubicBezTo>
                      <a:pt x="1348911" y="1812519"/>
                      <a:pt x="1364759" y="1794510"/>
                      <a:pt x="1380247" y="1777401"/>
                    </a:cubicBezTo>
                    <a:cubicBezTo>
                      <a:pt x="1426170" y="1727335"/>
                      <a:pt x="1485601" y="1678891"/>
                      <a:pt x="1520179" y="1620181"/>
                    </a:cubicBezTo>
                    <a:cubicBezTo>
                      <a:pt x="1554576" y="1561651"/>
                      <a:pt x="1562861" y="1484571"/>
                      <a:pt x="1585912" y="1420458"/>
                    </a:cubicBezTo>
                    <a:cubicBezTo>
                      <a:pt x="1608964" y="1356165"/>
                      <a:pt x="1639580" y="1289351"/>
                      <a:pt x="1650205" y="1222537"/>
                    </a:cubicBezTo>
                    <a:cubicBezTo>
                      <a:pt x="1661191" y="1155543"/>
                      <a:pt x="1671456" y="1085667"/>
                      <a:pt x="1671456" y="1014350"/>
                    </a:cubicBezTo>
                    <a:cubicBezTo>
                      <a:pt x="1671456" y="962484"/>
                      <a:pt x="1659570" y="914039"/>
                      <a:pt x="1648224" y="864334"/>
                    </a:cubicBezTo>
                    <a:cubicBezTo>
                      <a:pt x="1644262" y="845784"/>
                      <a:pt x="1640120" y="827054"/>
                      <a:pt x="1636879" y="808145"/>
                    </a:cubicBezTo>
                    <a:cubicBezTo>
                      <a:pt x="1624812" y="737549"/>
                      <a:pt x="1622291" y="670194"/>
                      <a:pt x="1597979" y="603200"/>
                    </a:cubicBezTo>
                    <a:cubicBezTo>
                      <a:pt x="1573846" y="536386"/>
                      <a:pt x="1535486" y="481638"/>
                      <a:pt x="1498928" y="419866"/>
                    </a:cubicBezTo>
                    <a:cubicBezTo>
                      <a:pt x="1462549" y="358094"/>
                      <a:pt x="1420588" y="309109"/>
                      <a:pt x="1372503" y="256883"/>
                    </a:cubicBezTo>
                    <a:cubicBezTo>
                      <a:pt x="1324418" y="204656"/>
                      <a:pt x="1276874" y="161434"/>
                      <a:pt x="1217984" y="122714"/>
                    </a:cubicBezTo>
                    <a:cubicBezTo>
                      <a:pt x="1159274" y="83814"/>
                      <a:pt x="1104346" y="37891"/>
                      <a:pt x="1038612" y="17000"/>
                    </a:cubicBezTo>
                    <a:cubicBezTo>
                      <a:pt x="972878" y="-4071"/>
                      <a:pt x="902642" y="2412"/>
                      <a:pt x="831146" y="2412"/>
                    </a:cubicBezTo>
                    <a:cubicBezTo>
                      <a:pt x="759649" y="2412"/>
                      <a:pt x="688513" y="-7673"/>
                      <a:pt x="622239" y="13398"/>
                    </a:cubicBezTo>
                    <a:cubicBezTo>
                      <a:pt x="555965" y="34469"/>
                      <a:pt x="498335" y="81473"/>
                      <a:pt x="441606" y="118932"/>
                    </a:cubicBezTo>
                    <a:cubicBezTo>
                      <a:pt x="384697" y="156571"/>
                      <a:pt x="317703" y="190969"/>
                      <a:pt x="271599" y="241215"/>
                    </a:cubicBezTo>
                    <a:cubicBezTo>
                      <a:pt x="225676" y="291640"/>
                      <a:pt x="176510" y="349450"/>
                      <a:pt x="141933" y="408160"/>
                    </a:cubicBezTo>
                    <a:cubicBezTo>
                      <a:pt x="107535" y="466690"/>
                      <a:pt x="88445" y="540348"/>
                      <a:pt x="65574" y="604100"/>
                    </a:cubicBezTo>
                    <a:cubicBezTo>
                      <a:pt x="42522" y="667853"/>
                      <a:pt x="15688" y="737909"/>
                      <a:pt x="4883" y="804723"/>
                    </a:cubicBezTo>
                    <a:cubicBezTo>
                      <a:pt x="-6103" y="871537"/>
                      <a:pt x="4883" y="942854"/>
                      <a:pt x="4883" y="1013990"/>
                    </a:cubicBezTo>
                    <a:close/>
                  </a:path>
                </a:pathLst>
              </a:custGeom>
              <a:solidFill>
                <a:schemeClr val="bg1"/>
              </a:solidFill>
              <a:ln w="11163" cap="rnd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6FB9987D-2F60-C7B3-B808-EC276EF8E832}"/>
                  </a:ext>
                </a:extLst>
              </p:cNvPr>
              <p:cNvSpPr/>
              <p:nvPr/>
            </p:nvSpPr>
            <p:spPr>
              <a:xfrm rot="432125">
                <a:off x="8067874" y="1502265"/>
                <a:ext cx="1671456" cy="2039468"/>
              </a:xfrm>
              <a:custGeom>
                <a:avLst/>
                <a:gdLst>
                  <a:gd name="connsiteX0" fmla="*/ 4703 w 1671456"/>
                  <a:gd name="connsiteY0" fmla="*/ 1013630 h 2039468"/>
                  <a:gd name="connsiteX1" fmla="*/ 8484 w 1671456"/>
                  <a:gd name="connsiteY1" fmla="*/ 1222537 h 2039468"/>
                  <a:gd name="connsiteX2" fmla="*/ 80701 w 1671456"/>
                  <a:gd name="connsiteY2" fmla="*/ 1418477 h 2039468"/>
                  <a:gd name="connsiteX3" fmla="*/ 145715 w 1671456"/>
                  <a:gd name="connsiteY3" fmla="*/ 1617839 h 2039468"/>
                  <a:gd name="connsiteX4" fmla="*/ 279163 w 1671456"/>
                  <a:gd name="connsiteY4" fmla="*/ 1780102 h 2039468"/>
                  <a:gd name="connsiteX5" fmla="*/ 328508 w 1671456"/>
                  <a:gd name="connsiteY5" fmla="*/ 1828727 h 2039468"/>
                  <a:gd name="connsiteX6" fmla="*/ 438905 w 1671456"/>
                  <a:gd name="connsiteY6" fmla="*/ 1913190 h 2039468"/>
                  <a:gd name="connsiteX7" fmla="*/ 517245 w 1671456"/>
                  <a:gd name="connsiteY7" fmla="*/ 1967578 h 2039468"/>
                  <a:gd name="connsiteX8" fmla="*/ 1292542 w 1671456"/>
                  <a:gd name="connsiteY8" fmla="*/ 1872490 h 2039468"/>
                  <a:gd name="connsiteX9" fmla="*/ 1332702 w 1671456"/>
                  <a:gd name="connsiteY9" fmla="*/ 1830168 h 2039468"/>
                  <a:gd name="connsiteX10" fmla="*/ 1380247 w 1671456"/>
                  <a:gd name="connsiteY10" fmla="*/ 1777401 h 2039468"/>
                  <a:gd name="connsiteX11" fmla="*/ 1520179 w 1671456"/>
                  <a:gd name="connsiteY11" fmla="*/ 1620181 h 2039468"/>
                  <a:gd name="connsiteX12" fmla="*/ 1585912 w 1671456"/>
                  <a:gd name="connsiteY12" fmla="*/ 1420458 h 2039468"/>
                  <a:gd name="connsiteX13" fmla="*/ 1650205 w 1671456"/>
                  <a:gd name="connsiteY13" fmla="*/ 1222537 h 2039468"/>
                  <a:gd name="connsiteX14" fmla="*/ 1671456 w 1671456"/>
                  <a:gd name="connsiteY14" fmla="*/ 1014350 h 2039468"/>
                  <a:gd name="connsiteX15" fmla="*/ 1648224 w 1671456"/>
                  <a:gd name="connsiteY15" fmla="*/ 864334 h 2039468"/>
                  <a:gd name="connsiteX16" fmla="*/ 1636879 w 1671456"/>
                  <a:gd name="connsiteY16" fmla="*/ 808145 h 2039468"/>
                  <a:gd name="connsiteX17" fmla="*/ 1597979 w 1671456"/>
                  <a:gd name="connsiteY17" fmla="*/ 603200 h 2039468"/>
                  <a:gd name="connsiteX18" fmla="*/ 1498928 w 1671456"/>
                  <a:gd name="connsiteY18" fmla="*/ 419866 h 2039468"/>
                  <a:gd name="connsiteX19" fmla="*/ 1372503 w 1671456"/>
                  <a:gd name="connsiteY19" fmla="*/ 256883 h 2039468"/>
                  <a:gd name="connsiteX20" fmla="*/ 1217984 w 1671456"/>
                  <a:gd name="connsiteY20" fmla="*/ 122714 h 2039468"/>
                  <a:gd name="connsiteX21" fmla="*/ 1038612 w 1671456"/>
                  <a:gd name="connsiteY21" fmla="*/ 17000 h 2039468"/>
                  <a:gd name="connsiteX22" fmla="*/ 831146 w 1671456"/>
                  <a:gd name="connsiteY22" fmla="*/ 2412 h 2039468"/>
                  <a:gd name="connsiteX23" fmla="*/ 622239 w 1671456"/>
                  <a:gd name="connsiteY23" fmla="*/ 13398 h 2039468"/>
                  <a:gd name="connsiteX24" fmla="*/ 441606 w 1671456"/>
                  <a:gd name="connsiteY24" fmla="*/ 118932 h 2039468"/>
                  <a:gd name="connsiteX25" fmla="*/ 271599 w 1671456"/>
                  <a:gd name="connsiteY25" fmla="*/ 241215 h 2039468"/>
                  <a:gd name="connsiteX26" fmla="*/ 141933 w 1671456"/>
                  <a:gd name="connsiteY26" fmla="*/ 408160 h 2039468"/>
                  <a:gd name="connsiteX27" fmla="*/ 65574 w 1671456"/>
                  <a:gd name="connsiteY27" fmla="*/ 604100 h 2039468"/>
                  <a:gd name="connsiteX28" fmla="*/ 4883 w 1671456"/>
                  <a:gd name="connsiteY28" fmla="*/ 804723 h 2039468"/>
                  <a:gd name="connsiteX29" fmla="*/ 4883 w 1671456"/>
                  <a:gd name="connsiteY29" fmla="*/ 1013990 h 2039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71456" h="2039468">
                    <a:moveTo>
                      <a:pt x="4703" y="1013630"/>
                    </a:moveTo>
                    <a:cubicBezTo>
                      <a:pt x="4703" y="1084947"/>
                      <a:pt x="-3042" y="1152481"/>
                      <a:pt x="8484" y="1222537"/>
                    </a:cubicBezTo>
                    <a:cubicBezTo>
                      <a:pt x="20010" y="1292413"/>
                      <a:pt x="57109" y="1351663"/>
                      <a:pt x="80701" y="1418477"/>
                    </a:cubicBezTo>
                    <a:cubicBezTo>
                      <a:pt x="104114" y="1485291"/>
                      <a:pt x="109336" y="1556068"/>
                      <a:pt x="145715" y="1617839"/>
                    </a:cubicBezTo>
                    <a:cubicBezTo>
                      <a:pt x="182093" y="1679611"/>
                      <a:pt x="231259" y="1728056"/>
                      <a:pt x="279163" y="1780102"/>
                    </a:cubicBezTo>
                    <a:cubicBezTo>
                      <a:pt x="295011" y="1797391"/>
                      <a:pt x="311400" y="1813419"/>
                      <a:pt x="328508" y="1828727"/>
                    </a:cubicBezTo>
                    <a:cubicBezTo>
                      <a:pt x="362906" y="1859523"/>
                      <a:pt x="399645" y="1887257"/>
                      <a:pt x="438905" y="1913190"/>
                    </a:cubicBezTo>
                    <a:cubicBezTo>
                      <a:pt x="465198" y="1930479"/>
                      <a:pt x="490771" y="1949749"/>
                      <a:pt x="517245" y="1967578"/>
                    </a:cubicBezTo>
                    <a:cubicBezTo>
                      <a:pt x="876529" y="2134884"/>
                      <a:pt x="1109748" y="1970820"/>
                      <a:pt x="1292542" y="1872490"/>
                    </a:cubicBezTo>
                    <a:cubicBezTo>
                      <a:pt x="1306409" y="1858983"/>
                      <a:pt x="1319736" y="1844755"/>
                      <a:pt x="1332702" y="1830168"/>
                    </a:cubicBezTo>
                    <a:cubicBezTo>
                      <a:pt x="1348911" y="1812519"/>
                      <a:pt x="1364759" y="1794510"/>
                      <a:pt x="1380247" y="1777401"/>
                    </a:cubicBezTo>
                    <a:cubicBezTo>
                      <a:pt x="1426170" y="1727335"/>
                      <a:pt x="1485601" y="1678891"/>
                      <a:pt x="1520179" y="1620181"/>
                    </a:cubicBezTo>
                    <a:cubicBezTo>
                      <a:pt x="1554576" y="1561651"/>
                      <a:pt x="1562861" y="1484571"/>
                      <a:pt x="1585912" y="1420458"/>
                    </a:cubicBezTo>
                    <a:cubicBezTo>
                      <a:pt x="1608964" y="1356165"/>
                      <a:pt x="1639580" y="1289351"/>
                      <a:pt x="1650205" y="1222537"/>
                    </a:cubicBezTo>
                    <a:cubicBezTo>
                      <a:pt x="1661191" y="1155543"/>
                      <a:pt x="1671456" y="1085667"/>
                      <a:pt x="1671456" y="1014350"/>
                    </a:cubicBezTo>
                    <a:cubicBezTo>
                      <a:pt x="1671456" y="962484"/>
                      <a:pt x="1659570" y="914039"/>
                      <a:pt x="1648224" y="864334"/>
                    </a:cubicBezTo>
                    <a:cubicBezTo>
                      <a:pt x="1644262" y="845784"/>
                      <a:pt x="1640120" y="827054"/>
                      <a:pt x="1636879" y="808145"/>
                    </a:cubicBezTo>
                    <a:cubicBezTo>
                      <a:pt x="1624812" y="737549"/>
                      <a:pt x="1622291" y="670194"/>
                      <a:pt x="1597979" y="603200"/>
                    </a:cubicBezTo>
                    <a:cubicBezTo>
                      <a:pt x="1573846" y="536386"/>
                      <a:pt x="1535486" y="481638"/>
                      <a:pt x="1498928" y="419866"/>
                    </a:cubicBezTo>
                    <a:cubicBezTo>
                      <a:pt x="1462549" y="358094"/>
                      <a:pt x="1420588" y="309109"/>
                      <a:pt x="1372503" y="256883"/>
                    </a:cubicBezTo>
                    <a:cubicBezTo>
                      <a:pt x="1324418" y="204656"/>
                      <a:pt x="1276874" y="161434"/>
                      <a:pt x="1217984" y="122714"/>
                    </a:cubicBezTo>
                    <a:cubicBezTo>
                      <a:pt x="1159274" y="83814"/>
                      <a:pt x="1104346" y="37891"/>
                      <a:pt x="1038612" y="17000"/>
                    </a:cubicBezTo>
                    <a:cubicBezTo>
                      <a:pt x="972878" y="-4071"/>
                      <a:pt x="902642" y="2412"/>
                      <a:pt x="831146" y="2412"/>
                    </a:cubicBezTo>
                    <a:cubicBezTo>
                      <a:pt x="759649" y="2412"/>
                      <a:pt x="688513" y="-7673"/>
                      <a:pt x="622239" y="13398"/>
                    </a:cubicBezTo>
                    <a:cubicBezTo>
                      <a:pt x="555965" y="34469"/>
                      <a:pt x="498335" y="81473"/>
                      <a:pt x="441606" y="118932"/>
                    </a:cubicBezTo>
                    <a:cubicBezTo>
                      <a:pt x="384697" y="156571"/>
                      <a:pt x="317703" y="190969"/>
                      <a:pt x="271599" y="241215"/>
                    </a:cubicBezTo>
                    <a:cubicBezTo>
                      <a:pt x="225676" y="291640"/>
                      <a:pt x="176510" y="349450"/>
                      <a:pt x="141933" y="408160"/>
                    </a:cubicBezTo>
                    <a:cubicBezTo>
                      <a:pt x="107535" y="466690"/>
                      <a:pt x="88445" y="540348"/>
                      <a:pt x="65574" y="604100"/>
                    </a:cubicBezTo>
                    <a:cubicBezTo>
                      <a:pt x="42522" y="667853"/>
                      <a:pt x="15688" y="737909"/>
                      <a:pt x="4883" y="804723"/>
                    </a:cubicBezTo>
                    <a:cubicBezTo>
                      <a:pt x="-6103" y="871537"/>
                      <a:pt x="4883" y="942854"/>
                      <a:pt x="4883" y="1013990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grpSp>
            <p:nvGrpSpPr>
              <p:cNvPr id="63" name="Graphic 6">
                <a:extLst>
                  <a:ext uri="{FF2B5EF4-FFF2-40B4-BE49-F238E27FC236}">
                    <a16:creationId xmlns:a16="http://schemas.microsoft.com/office/drawing/2014/main" id="{346B8EA7-E7E7-3A4C-C8A8-164AFB0AF065}"/>
                  </a:ext>
                </a:extLst>
              </p:cNvPr>
              <p:cNvGrpSpPr/>
              <p:nvPr/>
            </p:nvGrpSpPr>
            <p:grpSpPr>
              <a:xfrm rot="432125">
                <a:off x="8490870" y="2263324"/>
                <a:ext cx="445188" cy="226015"/>
                <a:chOff x="8570078" y="2105985"/>
                <a:chExt cx="445188" cy="226015"/>
              </a:xfrm>
              <a:noFill/>
            </p:grpSpPr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45FD88ED-9B4A-BD43-5318-D94E2EFAAD5A}"/>
                    </a:ext>
                  </a:extLst>
                </p:cNvPr>
                <p:cNvSpPr/>
                <p:nvPr/>
              </p:nvSpPr>
              <p:spPr>
                <a:xfrm>
                  <a:off x="8570078" y="2105985"/>
                  <a:ext cx="18009" cy="226015"/>
                </a:xfrm>
                <a:custGeom>
                  <a:avLst/>
                  <a:gdLst>
                    <a:gd name="connsiteX0" fmla="*/ 0 w 18009"/>
                    <a:gd name="connsiteY0" fmla="*/ 0 h 226015"/>
                    <a:gd name="connsiteX1" fmla="*/ 0 w 18009"/>
                    <a:gd name="connsiteY1" fmla="*/ 226016 h 226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009" h="226015">
                      <a:moveTo>
                        <a:pt x="0" y="0"/>
                      </a:moveTo>
                      <a:lnTo>
                        <a:pt x="0" y="226016"/>
                      </a:ln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99D5A5AF-31EB-3BEA-2AC3-7CE230391883}"/>
                    </a:ext>
                  </a:extLst>
                </p:cNvPr>
                <p:cNvSpPr/>
                <p:nvPr/>
              </p:nvSpPr>
              <p:spPr>
                <a:xfrm>
                  <a:off x="9001039" y="2105985"/>
                  <a:ext cx="14227" cy="226015"/>
                </a:xfrm>
                <a:custGeom>
                  <a:avLst/>
                  <a:gdLst>
                    <a:gd name="connsiteX0" fmla="*/ 0 w 14227"/>
                    <a:gd name="connsiteY0" fmla="*/ 0 h 226015"/>
                    <a:gd name="connsiteX1" fmla="*/ 14227 w 14227"/>
                    <a:gd name="connsiteY1" fmla="*/ 226016 h 226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227" h="226015">
                      <a:moveTo>
                        <a:pt x="0" y="0"/>
                      </a:moveTo>
                      <a:cubicBezTo>
                        <a:pt x="0" y="112918"/>
                        <a:pt x="14227" y="112918"/>
                        <a:pt x="14227" y="226016"/>
                      </a:cubicBez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</p:grp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35303A6-374D-D660-800C-1A961F623158}"/>
                  </a:ext>
                </a:extLst>
              </p:cNvPr>
              <p:cNvSpPr/>
              <p:nvPr/>
            </p:nvSpPr>
            <p:spPr>
              <a:xfrm rot="432125">
                <a:off x="8066900" y="2687719"/>
                <a:ext cx="1422728" cy="467686"/>
              </a:xfrm>
              <a:custGeom>
                <a:avLst/>
                <a:gdLst>
                  <a:gd name="connsiteX0" fmla="*/ 0 w 1650905"/>
                  <a:gd name="connsiteY0" fmla="*/ 157401 h 593427"/>
                  <a:gd name="connsiteX1" fmla="*/ 130927 w 1650905"/>
                  <a:gd name="connsiteY1" fmla="*/ 310119 h 593427"/>
                  <a:gd name="connsiteX2" fmla="*/ 291749 w 1650905"/>
                  <a:gd name="connsiteY2" fmla="*/ 432401 h 593427"/>
                  <a:gd name="connsiteX3" fmla="*/ 467339 w 1650905"/>
                  <a:gd name="connsiteY3" fmla="*/ 533613 h 593427"/>
                  <a:gd name="connsiteX4" fmla="*/ 663280 w 1650905"/>
                  <a:gd name="connsiteY4" fmla="*/ 585840 h 593427"/>
                  <a:gd name="connsiteX5" fmla="*/ 864983 w 1650905"/>
                  <a:gd name="connsiteY5" fmla="*/ 587101 h 593427"/>
                  <a:gd name="connsiteX6" fmla="*/ 1061644 w 1650905"/>
                  <a:gd name="connsiteY6" fmla="*/ 540637 h 593427"/>
                  <a:gd name="connsiteX7" fmla="*/ 1246779 w 1650905"/>
                  <a:gd name="connsiteY7" fmla="*/ 454012 h 593427"/>
                  <a:gd name="connsiteX8" fmla="*/ 1405080 w 1650905"/>
                  <a:gd name="connsiteY8" fmla="*/ 323446 h 593427"/>
                  <a:gd name="connsiteX9" fmla="*/ 1532225 w 1650905"/>
                  <a:gd name="connsiteY9" fmla="*/ 164244 h 593427"/>
                  <a:gd name="connsiteX10" fmla="*/ 1650905 w 1650905"/>
                  <a:gd name="connsiteY10" fmla="*/ 0 h 59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50905" h="593427">
                    <a:moveTo>
                      <a:pt x="0" y="157401"/>
                    </a:moveTo>
                    <a:cubicBezTo>
                      <a:pt x="61232" y="237542"/>
                      <a:pt x="42142" y="229257"/>
                      <a:pt x="130927" y="310119"/>
                    </a:cubicBezTo>
                    <a:cubicBezTo>
                      <a:pt x="175050" y="350279"/>
                      <a:pt x="229978" y="391521"/>
                      <a:pt x="291749" y="432401"/>
                    </a:cubicBezTo>
                    <a:cubicBezTo>
                      <a:pt x="345417" y="468060"/>
                      <a:pt x="402146" y="506960"/>
                      <a:pt x="467339" y="533613"/>
                    </a:cubicBezTo>
                    <a:cubicBezTo>
                      <a:pt x="528031" y="559006"/>
                      <a:pt x="594485" y="575034"/>
                      <a:pt x="663280" y="585840"/>
                    </a:cubicBezTo>
                    <a:cubicBezTo>
                      <a:pt x="727753" y="596105"/>
                      <a:pt x="794747" y="595385"/>
                      <a:pt x="864983" y="587101"/>
                    </a:cubicBezTo>
                    <a:cubicBezTo>
                      <a:pt x="928196" y="579537"/>
                      <a:pt x="994650" y="567290"/>
                      <a:pt x="1061644" y="540637"/>
                    </a:cubicBezTo>
                    <a:cubicBezTo>
                      <a:pt x="1119814" y="517045"/>
                      <a:pt x="1186808" y="495434"/>
                      <a:pt x="1246779" y="454012"/>
                    </a:cubicBezTo>
                    <a:cubicBezTo>
                      <a:pt x="1298465" y="418354"/>
                      <a:pt x="1352133" y="373871"/>
                      <a:pt x="1405080" y="323446"/>
                    </a:cubicBezTo>
                    <a:cubicBezTo>
                      <a:pt x="1450463" y="280224"/>
                      <a:pt x="1486121" y="219713"/>
                      <a:pt x="1532225" y="164244"/>
                    </a:cubicBezTo>
                    <a:cubicBezTo>
                      <a:pt x="1572385" y="115259"/>
                      <a:pt x="1610205" y="59250"/>
                      <a:pt x="1650905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8E3118D-5F96-57C3-EA4B-FBCB61A3A9E9}"/>
                </a:ext>
              </a:extLst>
            </p:cNvPr>
            <p:cNvSpPr/>
            <p:nvPr/>
          </p:nvSpPr>
          <p:spPr>
            <a:xfrm flipH="1">
              <a:off x="5700472" y="3076892"/>
              <a:ext cx="934354" cy="1334146"/>
            </a:xfrm>
            <a:custGeom>
              <a:avLst/>
              <a:gdLst>
                <a:gd name="connsiteX0" fmla="*/ 0 w 847763"/>
                <a:gd name="connsiteY0" fmla="*/ 1032906 h 1210504"/>
                <a:gd name="connsiteX1" fmla="*/ 235979 w 847763"/>
                <a:gd name="connsiteY1" fmla="*/ 1210505 h 1210504"/>
                <a:gd name="connsiteX2" fmla="*/ 648046 w 847763"/>
                <a:gd name="connsiteY2" fmla="*/ 512013 h 1210504"/>
                <a:gd name="connsiteX3" fmla="*/ 622162 w 847763"/>
                <a:gd name="connsiteY3" fmla="*/ 221620 h 1210504"/>
                <a:gd name="connsiteX4" fmla="*/ 820921 w 847763"/>
                <a:gd name="connsiteY4" fmla="*/ 0 h 1210504"/>
                <a:gd name="connsiteX5" fmla="*/ 781623 w 847763"/>
                <a:gd name="connsiteY5" fmla="*/ 152659 h 121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7763" h="1210504">
                  <a:moveTo>
                    <a:pt x="0" y="1032906"/>
                  </a:moveTo>
                  <a:lnTo>
                    <a:pt x="235979" y="1210505"/>
                  </a:lnTo>
                  <a:cubicBezTo>
                    <a:pt x="235979" y="1210505"/>
                    <a:pt x="577574" y="781056"/>
                    <a:pt x="648046" y="512013"/>
                  </a:cubicBezTo>
                  <a:cubicBezTo>
                    <a:pt x="648046" y="512013"/>
                    <a:pt x="618194" y="287370"/>
                    <a:pt x="622162" y="221620"/>
                  </a:cubicBezTo>
                  <a:cubicBezTo>
                    <a:pt x="626129" y="155871"/>
                    <a:pt x="800327" y="0"/>
                    <a:pt x="820921" y="0"/>
                  </a:cubicBezTo>
                  <a:cubicBezTo>
                    <a:pt x="841515" y="0"/>
                    <a:pt x="884970" y="91255"/>
                    <a:pt x="781623" y="152659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lvl="0" rtl="0"/>
              <a:endParaRPr lang="da-DK">
                <a:latin typeface="Verdana" panose="020B060403050404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8A0E8AE-4D36-F2CC-1511-080B5A33C757}"/>
                </a:ext>
              </a:extLst>
            </p:cNvPr>
            <p:cNvSpPr/>
            <p:nvPr/>
          </p:nvSpPr>
          <p:spPr>
            <a:xfrm flipH="1">
              <a:off x="5513078" y="3612882"/>
              <a:ext cx="1316654" cy="1284171"/>
            </a:xfrm>
            <a:custGeom>
              <a:avLst/>
              <a:gdLst>
                <a:gd name="connsiteX0" fmla="*/ 0 w 1194634"/>
                <a:gd name="connsiteY0" fmla="*/ 1070882 h 1165160"/>
                <a:gd name="connsiteX1" fmla="*/ 663161 w 1194634"/>
                <a:gd name="connsiteY1" fmla="*/ 1165161 h 1165160"/>
                <a:gd name="connsiteX2" fmla="*/ 1073149 w 1194634"/>
                <a:gd name="connsiteY2" fmla="*/ 47800 h 1165160"/>
                <a:gd name="connsiteX3" fmla="*/ 1194634 w 1194634"/>
                <a:gd name="connsiteY3" fmla="*/ 0 h 116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4634" h="1165160">
                  <a:moveTo>
                    <a:pt x="0" y="1070882"/>
                  </a:moveTo>
                  <a:cubicBezTo>
                    <a:pt x="0" y="1070882"/>
                    <a:pt x="530906" y="1152691"/>
                    <a:pt x="663161" y="1165161"/>
                  </a:cubicBezTo>
                  <a:cubicBezTo>
                    <a:pt x="715307" y="956388"/>
                    <a:pt x="1073149" y="47800"/>
                    <a:pt x="1073149" y="47800"/>
                  </a:cubicBezTo>
                  <a:cubicBezTo>
                    <a:pt x="1073149" y="47800"/>
                    <a:pt x="1145133" y="50635"/>
                    <a:pt x="1194634" y="0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lvl="0" rtl="0"/>
              <a:endParaRPr lang="da-DK">
                <a:latin typeface="Verdana" panose="020B0604030504040204" pitchFamily="34" charset="0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0DAF662-B562-B060-EEE6-34512E9873A5}"/>
                </a:ext>
              </a:extLst>
            </p:cNvPr>
            <p:cNvGrpSpPr/>
            <p:nvPr userDrawn="1"/>
          </p:nvGrpSpPr>
          <p:grpSpPr>
            <a:xfrm>
              <a:off x="9437570" y="248189"/>
              <a:ext cx="2604824" cy="1701171"/>
              <a:chOff x="9686206" y="652129"/>
              <a:chExt cx="2429364" cy="1586580"/>
            </a:xfrm>
          </p:grpSpPr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8021D8EB-4CD8-5F09-239E-AA9FFB7C0233}"/>
                  </a:ext>
                </a:extLst>
              </p:cNvPr>
              <p:cNvSpPr/>
              <p:nvPr/>
            </p:nvSpPr>
            <p:spPr>
              <a:xfrm flipH="1">
                <a:off x="10409685" y="1085263"/>
                <a:ext cx="920139" cy="950147"/>
              </a:xfrm>
              <a:custGeom>
                <a:avLst/>
                <a:gdLst>
                  <a:gd name="connsiteX0" fmla="*/ 1110910 w 1110909"/>
                  <a:gd name="connsiteY0" fmla="*/ 555455 h 1084407"/>
                  <a:gd name="connsiteX1" fmla="*/ 555455 w 1110909"/>
                  <a:gd name="connsiteY1" fmla="*/ 0 h 1084407"/>
                  <a:gd name="connsiteX2" fmla="*/ 0 w 1110909"/>
                  <a:gd name="connsiteY2" fmla="*/ 555455 h 1084407"/>
                  <a:gd name="connsiteX3" fmla="*/ 189298 w 1110909"/>
                  <a:gd name="connsiteY3" fmla="*/ 972992 h 1084407"/>
                  <a:gd name="connsiteX4" fmla="*/ 614948 w 1110909"/>
                  <a:gd name="connsiteY4" fmla="*/ 971911 h 1084407"/>
                  <a:gd name="connsiteX5" fmla="*/ 725823 w 1110909"/>
                  <a:gd name="connsiteY5" fmla="*/ 1084408 h 1084407"/>
                  <a:gd name="connsiteX6" fmla="*/ 1110910 w 1110909"/>
                  <a:gd name="connsiteY6" fmla="*/ 555455 h 1084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0909" h="1084407">
                    <a:moveTo>
                      <a:pt x="1110910" y="555455"/>
                    </a:moveTo>
                    <a:cubicBezTo>
                      <a:pt x="1110910" y="248792"/>
                      <a:pt x="862118" y="0"/>
                      <a:pt x="555455" y="0"/>
                    </a:cubicBezTo>
                    <a:cubicBezTo>
                      <a:pt x="248792" y="0"/>
                      <a:pt x="0" y="248792"/>
                      <a:pt x="0" y="555455"/>
                    </a:cubicBezTo>
                    <a:cubicBezTo>
                      <a:pt x="0" y="722037"/>
                      <a:pt x="73015" y="871312"/>
                      <a:pt x="189298" y="972992"/>
                    </a:cubicBezTo>
                    <a:lnTo>
                      <a:pt x="614948" y="971911"/>
                    </a:lnTo>
                    <a:cubicBezTo>
                      <a:pt x="614948" y="971911"/>
                      <a:pt x="709057" y="1067100"/>
                      <a:pt x="725823" y="1084408"/>
                    </a:cubicBezTo>
                    <a:cubicBezTo>
                      <a:pt x="949195" y="1011934"/>
                      <a:pt x="1110910" y="802624"/>
                      <a:pt x="1110910" y="555455"/>
                    </a:cubicBezTo>
                    <a:close/>
                  </a:path>
                </a:pathLst>
              </a:custGeom>
              <a:solidFill>
                <a:srgbClr val="FEF5F6"/>
              </a:solidFill>
              <a:ln w="5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19E89E44-6C8F-9D5E-8364-F35C6DA1B481}"/>
                  </a:ext>
                </a:extLst>
              </p:cNvPr>
              <p:cNvSpPr/>
              <p:nvPr/>
            </p:nvSpPr>
            <p:spPr>
              <a:xfrm flipH="1">
                <a:off x="9691397" y="1543989"/>
                <a:ext cx="1331116" cy="693300"/>
              </a:xfrm>
              <a:custGeom>
                <a:avLst/>
                <a:gdLst>
                  <a:gd name="connsiteX0" fmla="*/ 1281278 w 1607094"/>
                  <a:gd name="connsiteY0" fmla="*/ 424028 h 791266"/>
                  <a:gd name="connsiteX1" fmla="*/ 1144983 w 1607094"/>
                  <a:gd name="connsiteY1" fmla="*/ 372647 h 791266"/>
                  <a:gd name="connsiteX2" fmla="*/ 1144983 w 1607094"/>
                  <a:gd name="connsiteY2" fmla="*/ 372647 h 791266"/>
                  <a:gd name="connsiteX3" fmla="*/ 802624 w 1607094"/>
                  <a:gd name="connsiteY3" fmla="*/ 0 h 791266"/>
                  <a:gd name="connsiteX4" fmla="*/ 562486 w 1607094"/>
                  <a:gd name="connsiteY4" fmla="*/ 116283 h 791266"/>
                  <a:gd name="connsiteX5" fmla="*/ 366698 w 1607094"/>
                  <a:gd name="connsiteY5" fmla="*/ 23798 h 791266"/>
                  <a:gd name="connsiteX6" fmla="*/ 0 w 1607094"/>
                  <a:gd name="connsiteY6" fmla="*/ 393740 h 791266"/>
                  <a:gd name="connsiteX7" fmla="*/ 194166 w 1607094"/>
                  <a:gd name="connsiteY7" fmla="*/ 791266 h 791266"/>
                  <a:gd name="connsiteX8" fmla="*/ 222831 w 1607094"/>
                  <a:gd name="connsiteY8" fmla="*/ 790184 h 791266"/>
                  <a:gd name="connsiteX9" fmla="*/ 777204 w 1607094"/>
                  <a:gd name="connsiteY9" fmla="*/ 790184 h 791266"/>
                  <a:gd name="connsiteX10" fmla="*/ 802624 w 1607094"/>
                  <a:gd name="connsiteY10" fmla="*/ 791266 h 791266"/>
                  <a:gd name="connsiteX11" fmla="*/ 828044 w 1607094"/>
                  <a:gd name="connsiteY11" fmla="*/ 790184 h 791266"/>
                  <a:gd name="connsiteX12" fmla="*/ 1606330 w 1607094"/>
                  <a:gd name="connsiteY12" fmla="*/ 790184 h 791266"/>
                  <a:gd name="connsiteX13" fmla="*/ 1281278 w 1607094"/>
                  <a:gd name="connsiteY13" fmla="*/ 424028 h 791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07094" h="791266">
                    <a:moveTo>
                      <a:pt x="1281278" y="424028"/>
                    </a:moveTo>
                    <a:cubicBezTo>
                      <a:pt x="1277492" y="386168"/>
                      <a:pt x="1214212" y="328297"/>
                      <a:pt x="1144983" y="372647"/>
                    </a:cubicBezTo>
                    <a:lnTo>
                      <a:pt x="1144983" y="372647"/>
                    </a:lnTo>
                    <a:cubicBezTo>
                      <a:pt x="1134707" y="164960"/>
                      <a:pt x="983269" y="0"/>
                      <a:pt x="802624" y="0"/>
                    </a:cubicBezTo>
                    <a:cubicBezTo>
                      <a:pt x="709057" y="0"/>
                      <a:pt x="624143" y="44350"/>
                      <a:pt x="562486" y="116283"/>
                    </a:cubicBezTo>
                    <a:cubicBezTo>
                      <a:pt x="497043" y="55167"/>
                      <a:pt x="427814" y="27043"/>
                      <a:pt x="366698" y="23798"/>
                    </a:cubicBezTo>
                    <a:cubicBezTo>
                      <a:pt x="163337" y="9195"/>
                      <a:pt x="0" y="189298"/>
                      <a:pt x="0" y="393740"/>
                    </a:cubicBezTo>
                    <a:cubicBezTo>
                      <a:pt x="0" y="449448"/>
                      <a:pt x="10817" y="791266"/>
                      <a:pt x="194166" y="791266"/>
                    </a:cubicBezTo>
                    <a:cubicBezTo>
                      <a:pt x="203360" y="791266"/>
                      <a:pt x="213096" y="790725"/>
                      <a:pt x="222831" y="790184"/>
                    </a:cubicBezTo>
                    <a:lnTo>
                      <a:pt x="777204" y="790184"/>
                    </a:lnTo>
                    <a:cubicBezTo>
                      <a:pt x="785317" y="790725"/>
                      <a:pt x="793971" y="791266"/>
                      <a:pt x="802624" y="791266"/>
                    </a:cubicBezTo>
                    <a:cubicBezTo>
                      <a:pt x="811278" y="791266"/>
                      <a:pt x="819390" y="790725"/>
                      <a:pt x="828044" y="790184"/>
                    </a:cubicBezTo>
                    <a:lnTo>
                      <a:pt x="1606330" y="790184"/>
                    </a:lnTo>
                    <a:cubicBezTo>
                      <a:pt x="1614443" y="699862"/>
                      <a:pt x="1561439" y="471082"/>
                      <a:pt x="1281278" y="424028"/>
                    </a:cubicBezTo>
                    <a:close/>
                  </a:path>
                </a:pathLst>
              </a:custGeom>
              <a:solidFill>
                <a:srgbClr val="E1EBE5"/>
              </a:solidFill>
              <a:ln w="54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DB0AA600-99BB-9554-AFD2-B89B8DA41B23}"/>
                  </a:ext>
                </a:extLst>
              </p:cNvPr>
              <p:cNvSpPr/>
              <p:nvPr/>
            </p:nvSpPr>
            <p:spPr>
              <a:xfrm flipH="1">
                <a:off x="9686206" y="2235393"/>
                <a:ext cx="768724" cy="3316"/>
              </a:xfrm>
              <a:custGeom>
                <a:avLst/>
                <a:gdLst>
                  <a:gd name="connsiteX0" fmla="*/ 0 w 928102"/>
                  <a:gd name="connsiteY0" fmla="*/ 0 h 3785"/>
                  <a:gd name="connsiteX1" fmla="*/ 17848 w 928102"/>
                  <a:gd name="connsiteY1" fmla="*/ 0 h 3785"/>
                  <a:gd name="connsiteX2" fmla="*/ 35697 w 928102"/>
                  <a:gd name="connsiteY2" fmla="*/ 1082 h 3785"/>
                  <a:gd name="connsiteX3" fmla="*/ 53544 w 928102"/>
                  <a:gd name="connsiteY3" fmla="*/ 1082 h 3785"/>
                  <a:gd name="connsiteX4" fmla="*/ 71393 w 928102"/>
                  <a:gd name="connsiteY4" fmla="*/ 1082 h 3785"/>
                  <a:gd name="connsiteX5" fmla="*/ 89241 w 928102"/>
                  <a:gd name="connsiteY5" fmla="*/ 541 h 3785"/>
                  <a:gd name="connsiteX6" fmla="*/ 107089 w 928102"/>
                  <a:gd name="connsiteY6" fmla="*/ 0 h 3785"/>
                  <a:gd name="connsiteX7" fmla="*/ 124937 w 928102"/>
                  <a:gd name="connsiteY7" fmla="*/ 2163 h 3785"/>
                  <a:gd name="connsiteX8" fmla="*/ 142785 w 928102"/>
                  <a:gd name="connsiteY8" fmla="*/ 1622 h 3785"/>
                  <a:gd name="connsiteX9" fmla="*/ 160633 w 928102"/>
                  <a:gd name="connsiteY9" fmla="*/ 0 h 3785"/>
                  <a:gd name="connsiteX10" fmla="*/ 178481 w 928102"/>
                  <a:gd name="connsiteY10" fmla="*/ 1622 h 3785"/>
                  <a:gd name="connsiteX11" fmla="*/ 196329 w 928102"/>
                  <a:gd name="connsiteY11" fmla="*/ 1622 h 3785"/>
                  <a:gd name="connsiteX12" fmla="*/ 214178 w 928102"/>
                  <a:gd name="connsiteY12" fmla="*/ 1622 h 3785"/>
                  <a:gd name="connsiteX13" fmla="*/ 232026 w 928102"/>
                  <a:gd name="connsiteY13" fmla="*/ 2704 h 3785"/>
                  <a:gd name="connsiteX14" fmla="*/ 249874 w 928102"/>
                  <a:gd name="connsiteY14" fmla="*/ 2704 h 3785"/>
                  <a:gd name="connsiteX15" fmla="*/ 267722 w 928102"/>
                  <a:gd name="connsiteY15" fmla="*/ 541 h 3785"/>
                  <a:gd name="connsiteX16" fmla="*/ 285570 w 928102"/>
                  <a:gd name="connsiteY16" fmla="*/ 1622 h 3785"/>
                  <a:gd name="connsiteX17" fmla="*/ 303418 w 928102"/>
                  <a:gd name="connsiteY17" fmla="*/ 541 h 3785"/>
                  <a:gd name="connsiteX18" fmla="*/ 321266 w 928102"/>
                  <a:gd name="connsiteY18" fmla="*/ 2163 h 3785"/>
                  <a:gd name="connsiteX19" fmla="*/ 339114 w 928102"/>
                  <a:gd name="connsiteY19" fmla="*/ 2704 h 3785"/>
                  <a:gd name="connsiteX20" fmla="*/ 356962 w 928102"/>
                  <a:gd name="connsiteY20" fmla="*/ 3245 h 3785"/>
                  <a:gd name="connsiteX21" fmla="*/ 374811 w 928102"/>
                  <a:gd name="connsiteY21" fmla="*/ 1082 h 3785"/>
                  <a:gd name="connsiteX22" fmla="*/ 392659 w 928102"/>
                  <a:gd name="connsiteY22" fmla="*/ 2163 h 3785"/>
                  <a:gd name="connsiteX23" fmla="*/ 410507 w 928102"/>
                  <a:gd name="connsiteY23" fmla="*/ 1622 h 3785"/>
                  <a:gd name="connsiteX24" fmla="*/ 428355 w 928102"/>
                  <a:gd name="connsiteY24" fmla="*/ 3245 h 3785"/>
                  <a:gd name="connsiteX25" fmla="*/ 446203 w 928102"/>
                  <a:gd name="connsiteY25" fmla="*/ 1082 h 3785"/>
                  <a:gd name="connsiteX26" fmla="*/ 464051 w 928102"/>
                  <a:gd name="connsiteY26" fmla="*/ 3245 h 3785"/>
                  <a:gd name="connsiteX27" fmla="*/ 481899 w 928102"/>
                  <a:gd name="connsiteY27" fmla="*/ 2704 h 3785"/>
                  <a:gd name="connsiteX28" fmla="*/ 499747 w 928102"/>
                  <a:gd name="connsiteY28" fmla="*/ 3786 h 3785"/>
                  <a:gd name="connsiteX29" fmla="*/ 517596 w 928102"/>
                  <a:gd name="connsiteY29" fmla="*/ 2704 h 3785"/>
                  <a:gd name="connsiteX30" fmla="*/ 535443 w 928102"/>
                  <a:gd name="connsiteY30" fmla="*/ 1622 h 3785"/>
                  <a:gd name="connsiteX31" fmla="*/ 553292 w 928102"/>
                  <a:gd name="connsiteY31" fmla="*/ 3786 h 3785"/>
                  <a:gd name="connsiteX32" fmla="*/ 571140 w 928102"/>
                  <a:gd name="connsiteY32" fmla="*/ 2163 h 3785"/>
                  <a:gd name="connsiteX33" fmla="*/ 588988 w 928102"/>
                  <a:gd name="connsiteY33" fmla="*/ 1622 h 3785"/>
                  <a:gd name="connsiteX34" fmla="*/ 606836 w 928102"/>
                  <a:gd name="connsiteY34" fmla="*/ 2704 h 3785"/>
                  <a:gd name="connsiteX35" fmla="*/ 624684 w 928102"/>
                  <a:gd name="connsiteY35" fmla="*/ 1622 h 3785"/>
                  <a:gd name="connsiteX36" fmla="*/ 642532 w 928102"/>
                  <a:gd name="connsiteY36" fmla="*/ 3245 h 3785"/>
                  <a:gd name="connsiteX37" fmla="*/ 660381 w 928102"/>
                  <a:gd name="connsiteY37" fmla="*/ 2163 h 3785"/>
                  <a:gd name="connsiteX38" fmla="*/ 678228 w 928102"/>
                  <a:gd name="connsiteY38" fmla="*/ 2163 h 3785"/>
                  <a:gd name="connsiteX39" fmla="*/ 696077 w 928102"/>
                  <a:gd name="connsiteY39" fmla="*/ 2163 h 3785"/>
                  <a:gd name="connsiteX40" fmla="*/ 713924 w 928102"/>
                  <a:gd name="connsiteY40" fmla="*/ 2704 h 3785"/>
                  <a:gd name="connsiteX41" fmla="*/ 731773 w 928102"/>
                  <a:gd name="connsiteY41" fmla="*/ 2704 h 3785"/>
                  <a:gd name="connsiteX42" fmla="*/ 749621 w 928102"/>
                  <a:gd name="connsiteY42" fmla="*/ 1082 h 3785"/>
                  <a:gd name="connsiteX43" fmla="*/ 767469 w 928102"/>
                  <a:gd name="connsiteY43" fmla="*/ 1082 h 3785"/>
                  <a:gd name="connsiteX44" fmla="*/ 785317 w 928102"/>
                  <a:gd name="connsiteY44" fmla="*/ 1082 h 3785"/>
                  <a:gd name="connsiteX45" fmla="*/ 803165 w 928102"/>
                  <a:gd name="connsiteY45" fmla="*/ 1622 h 3785"/>
                  <a:gd name="connsiteX46" fmla="*/ 821013 w 928102"/>
                  <a:gd name="connsiteY46" fmla="*/ 2163 h 3785"/>
                  <a:gd name="connsiteX47" fmla="*/ 838862 w 928102"/>
                  <a:gd name="connsiteY47" fmla="*/ 1082 h 3785"/>
                  <a:gd name="connsiteX48" fmla="*/ 856709 w 928102"/>
                  <a:gd name="connsiteY48" fmla="*/ 3245 h 3785"/>
                  <a:gd name="connsiteX49" fmla="*/ 874558 w 928102"/>
                  <a:gd name="connsiteY49" fmla="*/ 1622 h 3785"/>
                  <a:gd name="connsiteX50" fmla="*/ 892405 w 928102"/>
                  <a:gd name="connsiteY50" fmla="*/ 2163 h 3785"/>
                  <a:gd name="connsiteX51" fmla="*/ 910254 w 928102"/>
                  <a:gd name="connsiteY51" fmla="*/ 1622 h 3785"/>
                  <a:gd name="connsiteX52" fmla="*/ 928102 w 928102"/>
                  <a:gd name="connsiteY52" fmla="*/ 2163 h 3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928102" h="3785">
                    <a:moveTo>
                      <a:pt x="0" y="0"/>
                    </a:moveTo>
                    <a:cubicBezTo>
                      <a:pt x="8654" y="0"/>
                      <a:pt x="8654" y="0"/>
                      <a:pt x="17848" y="0"/>
                    </a:cubicBezTo>
                    <a:cubicBezTo>
                      <a:pt x="26502" y="0"/>
                      <a:pt x="26502" y="1082"/>
                      <a:pt x="35697" y="1082"/>
                    </a:cubicBezTo>
                    <a:cubicBezTo>
                      <a:pt x="44350" y="1082"/>
                      <a:pt x="44350" y="1082"/>
                      <a:pt x="53544" y="1082"/>
                    </a:cubicBezTo>
                    <a:cubicBezTo>
                      <a:pt x="62198" y="1082"/>
                      <a:pt x="62198" y="1082"/>
                      <a:pt x="71393" y="1082"/>
                    </a:cubicBezTo>
                    <a:cubicBezTo>
                      <a:pt x="80046" y="1082"/>
                      <a:pt x="80046" y="541"/>
                      <a:pt x="89241" y="541"/>
                    </a:cubicBezTo>
                    <a:cubicBezTo>
                      <a:pt x="97895" y="541"/>
                      <a:pt x="97895" y="0"/>
                      <a:pt x="107089" y="0"/>
                    </a:cubicBezTo>
                    <a:cubicBezTo>
                      <a:pt x="115742" y="0"/>
                      <a:pt x="115742" y="2163"/>
                      <a:pt x="124937" y="2163"/>
                    </a:cubicBezTo>
                    <a:cubicBezTo>
                      <a:pt x="133591" y="2163"/>
                      <a:pt x="133591" y="1622"/>
                      <a:pt x="142785" y="1622"/>
                    </a:cubicBezTo>
                    <a:cubicBezTo>
                      <a:pt x="151438" y="1622"/>
                      <a:pt x="151438" y="0"/>
                      <a:pt x="160633" y="0"/>
                    </a:cubicBezTo>
                    <a:cubicBezTo>
                      <a:pt x="169287" y="0"/>
                      <a:pt x="169287" y="1622"/>
                      <a:pt x="178481" y="1622"/>
                    </a:cubicBezTo>
                    <a:cubicBezTo>
                      <a:pt x="187135" y="1622"/>
                      <a:pt x="187135" y="1622"/>
                      <a:pt x="196329" y="1622"/>
                    </a:cubicBezTo>
                    <a:cubicBezTo>
                      <a:pt x="204983" y="1622"/>
                      <a:pt x="204983" y="1622"/>
                      <a:pt x="214178" y="1622"/>
                    </a:cubicBezTo>
                    <a:cubicBezTo>
                      <a:pt x="222831" y="1622"/>
                      <a:pt x="222831" y="2704"/>
                      <a:pt x="232026" y="2704"/>
                    </a:cubicBezTo>
                    <a:cubicBezTo>
                      <a:pt x="240679" y="2704"/>
                      <a:pt x="240679" y="2704"/>
                      <a:pt x="249874" y="2704"/>
                    </a:cubicBezTo>
                    <a:cubicBezTo>
                      <a:pt x="258527" y="2704"/>
                      <a:pt x="258527" y="541"/>
                      <a:pt x="267722" y="541"/>
                    </a:cubicBezTo>
                    <a:cubicBezTo>
                      <a:pt x="276376" y="541"/>
                      <a:pt x="276376" y="1622"/>
                      <a:pt x="285570" y="1622"/>
                    </a:cubicBezTo>
                    <a:cubicBezTo>
                      <a:pt x="294224" y="1622"/>
                      <a:pt x="294224" y="541"/>
                      <a:pt x="303418" y="541"/>
                    </a:cubicBezTo>
                    <a:cubicBezTo>
                      <a:pt x="312072" y="541"/>
                      <a:pt x="312072" y="2163"/>
                      <a:pt x="321266" y="2163"/>
                    </a:cubicBezTo>
                    <a:cubicBezTo>
                      <a:pt x="329920" y="2163"/>
                      <a:pt x="329920" y="2704"/>
                      <a:pt x="339114" y="2704"/>
                    </a:cubicBezTo>
                    <a:cubicBezTo>
                      <a:pt x="347768" y="2704"/>
                      <a:pt x="347768" y="3245"/>
                      <a:pt x="356962" y="3245"/>
                    </a:cubicBezTo>
                    <a:cubicBezTo>
                      <a:pt x="365616" y="3245"/>
                      <a:pt x="365616" y="1082"/>
                      <a:pt x="374811" y="1082"/>
                    </a:cubicBezTo>
                    <a:cubicBezTo>
                      <a:pt x="383464" y="1082"/>
                      <a:pt x="383464" y="2163"/>
                      <a:pt x="392659" y="2163"/>
                    </a:cubicBezTo>
                    <a:cubicBezTo>
                      <a:pt x="401312" y="2163"/>
                      <a:pt x="401312" y="1622"/>
                      <a:pt x="410507" y="1622"/>
                    </a:cubicBezTo>
                    <a:cubicBezTo>
                      <a:pt x="419160" y="1622"/>
                      <a:pt x="419160" y="3245"/>
                      <a:pt x="428355" y="3245"/>
                    </a:cubicBezTo>
                    <a:cubicBezTo>
                      <a:pt x="437008" y="3245"/>
                      <a:pt x="437008" y="1082"/>
                      <a:pt x="446203" y="1082"/>
                    </a:cubicBezTo>
                    <a:cubicBezTo>
                      <a:pt x="454857" y="1082"/>
                      <a:pt x="454857" y="3245"/>
                      <a:pt x="464051" y="3245"/>
                    </a:cubicBezTo>
                    <a:cubicBezTo>
                      <a:pt x="472705" y="3245"/>
                      <a:pt x="472705" y="2704"/>
                      <a:pt x="481899" y="2704"/>
                    </a:cubicBezTo>
                    <a:cubicBezTo>
                      <a:pt x="490553" y="2704"/>
                      <a:pt x="490553" y="3786"/>
                      <a:pt x="499747" y="3786"/>
                    </a:cubicBezTo>
                    <a:cubicBezTo>
                      <a:pt x="508401" y="3786"/>
                      <a:pt x="508401" y="2704"/>
                      <a:pt x="517596" y="2704"/>
                    </a:cubicBezTo>
                    <a:cubicBezTo>
                      <a:pt x="526249" y="2704"/>
                      <a:pt x="526249" y="1622"/>
                      <a:pt x="535443" y="1622"/>
                    </a:cubicBezTo>
                    <a:cubicBezTo>
                      <a:pt x="544097" y="1622"/>
                      <a:pt x="544097" y="3786"/>
                      <a:pt x="553292" y="3786"/>
                    </a:cubicBezTo>
                    <a:cubicBezTo>
                      <a:pt x="561945" y="3786"/>
                      <a:pt x="561945" y="2163"/>
                      <a:pt x="571140" y="2163"/>
                    </a:cubicBezTo>
                    <a:cubicBezTo>
                      <a:pt x="579794" y="2163"/>
                      <a:pt x="579794" y="1622"/>
                      <a:pt x="588988" y="1622"/>
                    </a:cubicBezTo>
                    <a:cubicBezTo>
                      <a:pt x="597641" y="1622"/>
                      <a:pt x="597641" y="2704"/>
                      <a:pt x="606836" y="2704"/>
                    </a:cubicBezTo>
                    <a:cubicBezTo>
                      <a:pt x="616030" y="2704"/>
                      <a:pt x="615490" y="1622"/>
                      <a:pt x="624684" y="1622"/>
                    </a:cubicBezTo>
                    <a:cubicBezTo>
                      <a:pt x="633338" y="1622"/>
                      <a:pt x="633338" y="3245"/>
                      <a:pt x="642532" y="3245"/>
                    </a:cubicBezTo>
                    <a:cubicBezTo>
                      <a:pt x="651186" y="3245"/>
                      <a:pt x="651186" y="2163"/>
                      <a:pt x="660381" y="2163"/>
                    </a:cubicBezTo>
                    <a:cubicBezTo>
                      <a:pt x="669034" y="2163"/>
                      <a:pt x="669034" y="2163"/>
                      <a:pt x="678228" y="2163"/>
                    </a:cubicBezTo>
                    <a:cubicBezTo>
                      <a:pt x="686882" y="2163"/>
                      <a:pt x="686882" y="2163"/>
                      <a:pt x="696077" y="2163"/>
                    </a:cubicBezTo>
                    <a:cubicBezTo>
                      <a:pt x="704730" y="2163"/>
                      <a:pt x="704730" y="2704"/>
                      <a:pt x="713924" y="2704"/>
                    </a:cubicBezTo>
                    <a:cubicBezTo>
                      <a:pt x="722578" y="2704"/>
                      <a:pt x="722578" y="2704"/>
                      <a:pt x="731773" y="2704"/>
                    </a:cubicBezTo>
                    <a:cubicBezTo>
                      <a:pt x="740426" y="2704"/>
                      <a:pt x="740426" y="1082"/>
                      <a:pt x="749621" y="1082"/>
                    </a:cubicBezTo>
                    <a:cubicBezTo>
                      <a:pt x="758275" y="1082"/>
                      <a:pt x="758275" y="1082"/>
                      <a:pt x="767469" y="1082"/>
                    </a:cubicBezTo>
                    <a:cubicBezTo>
                      <a:pt x="776122" y="1082"/>
                      <a:pt x="776122" y="1082"/>
                      <a:pt x="785317" y="1082"/>
                    </a:cubicBezTo>
                    <a:cubicBezTo>
                      <a:pt x="793971" y="1082"/>
                      <a:pt x="793971" y="1622"/>
                      <a:pt x="803165" y="1622"/>
                    </a:cubicBezTo>
                    <a:cubicBezTo>
                      <a:pt x="811819" y="1622"/>
                      <a:pt x="811819" y="2163"/>
                      <a:pt x="821013" y="2163"/>
                    </a:cubicBezTo>
                    <a:cubicBezTo>
                      <a:pt x="829667" y="2163"/>
                      <a:pt x="829667" y="1082"/>
                      <a:pt x="838862" y="1082"/>
                    </a:cubicBezTo>
                    <a:cubicBezTo>
                      <a:pt x="847515" y="1082"/>
                      <a:pt x="847515" y="3245"/>
                      <a:pt x="856709" y="3245"/>
                    </a:cubicBezTo>
                    <a:cubicBezTo>
                      <a:pt x="865363" y="3245"/>
                      <a:pt x="865363" y="1622"/>
                      <a:pt x="874558" y="1622"/>
                    </a:cubicBezTo>
                    <a:cubicBezTo>
                      <a:pt x="883211" y="1622"/>
                      <a:pt x="883211" y="2163"/>
                      <a:pt x="892405" y="2163"/>
                    </a:cubicBezTo>
                    <a:cubicBezTo>
                      <a:pt x="901060" y="2163"/>
                      <a:pt x="901060" y="1622"/>
                      <a:pt x="910254" y="1622"/>
                    </a:cubicBezTo>
                    <a:cubicBezTo>
                      <a:pt x="919448" y="1622"/>
                      <a:pt x="918907" y="2163"/>
                      <a:pt x="928102" y="2163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7566C8DF-246A-DDD5-735A-31C7FB209B13}"/>
                  </a:ext>
                </a:extLst>
              </p:cNvPr>
              <p:cNvSpPr/>
              <p:nvPr/>
            </p:nvSpPr>
            <p:spPr>
              <a:xfrm flipH="1">
                <a:off x="10569163" y="1564269"/>
                <a:ext cx="453869" cy="330397"/>
              </a:xfrm>
              <a:custGeom>
                <a:avLst/>
                <a:gdLst>
                  <a:gd name="connsiteX0" fmla="*/ 547969 w 547969"/>
                  <a:gd name="connsiteY0" fmla="*/ 79616 h 377083"/>
                  <a:gd name="connsiteX1" fmla="*/ 535530 w 547969"/>
                  <a:gd name="connsiteY1" fmla="*/ 67176 h 377083"/>
                  <a:gd name="connsiteX2" fmla="*/ 520386 w 547969"/>
                  <a:gd name="connsiteY2" fmla="*/ 57981 h 377083"/>
                  <a:gd name="connsiteX3" fmla="*/ 506865 w 547969"/>
                  <a:gd name="connsiteY3" fmla="*/ 47164 h 377083"/>
                  <a:gd name="connsiteX4" fmla="*/ 491180 w 547969"/>
                  <a:gd name="connsiteY4" fmla="*/ 40133 h 377083"/>
                  <a:gd name="connsiteX5" fmla="*/ 476577 w 547969"/>
                  <a:gd name="connsiteY5" fmla="*/ 30398 h 377083"/>
                  <a:gd name="connsiteX6" fmla="*/ 460352 w 547969"/>
                  <a:gd name="connsiteY6" fmla="*/ 24449 h 377083"/>
                  <a:gd name="connsiteX7" fmla="*/ 444667 w 547969"/>
                  <a:gd name="connsiteY7" fmla="*/ 16877 h 377083"/>
                  <a:gd name="connsiteX8" fmla="*/ 427360 w 547969"/>
                  <a:gd name="connsiteY8" fmla="*/ 13632 h 377083"/>
                  <a:gd name="connsiteX9" fmla="*/ 410593 w 547969"/>
                  <a:gd name="connsiteY9" fmla="*/ 9305 h 377083"/>
                  <a:gd name="connsiteX10" fmla="*/ 393826 w 547969"/>
                  <a:gd name="connsiteY10" fmla="*/ 3356 h 377083"/>
                  <a:gd name="connsiteX11" fmla="*/ 376519 w 547969"/>
                  <a:gd name="connsiteY11" fmla="*/ 1192 h 377083"/>
                  <a:gd name="connsiteX12" fmla="*/ 359212 w 547969"/>
                  <a:gd name="connsiteY12" fmla="*/ 110 h 377083"/>
                  <a:gd name="connsiteX13" fmla="*/ 341905 w 547969"/>
                  <a:gd name="connsiteY13" fmla="*/ 1192 h 377083"/>
                  <a:gd name="connsiteX14" fmla="*/ 324057 w 547969"/>
                  <a:gd name="connsiteY14" fmla="*/ 1192 h 377083"/>
                  <a:gd name="connsiteX15" fmla="*/ 306749 w 547969"/>
                  <a:gd name="connsiteY15" fmla="*/ 2815 h 377083"/>
                  <a:gd name="connsiteX16" fmla="*/ 289442 w 547969"/>
                  <a:gd name="connsiteY16" fmla="*/ 4978 h 377083"/>
                  <a:gd name="connsiteX17" fmla="*/ 272135 w 547969"/>
                  <a:gd name="connsiteY17" fmla="*/ 7682 h 377083"/>
                  <a:gd name="connsiteX18" fmla="*/ 255369 w 547969"/>
                  <a:gd name="connsiteY18" fmla="*/ 13632 h 377083"/>
                  <a:gd name="connsiteX19" fmla="*/ 238062 w 547969"/>
                  <a:gd name="connsiteY19" fmla="*/ 17958 h 377083"/>
                  <a:gd name="connsiteX20" fmla="*/ 221836 w 547969"/>
                  <a:gd name="connsiteY20" fmla="*/ 24990 h 377083"/>
                  <a:gd name="connsiteX21" fmla="*/ 206151 w 547969"/>
                  <a:gd name="connsiteY21" fmla="*/ 32561 h 377083"/>
                  <a:gd name="connsiteX22" fmla="*/ 189385 w 547969"/>
                  <a:gd name="connsiteY22" fmla="*/ 39052 h 377083"/>
                  <a:gd name="connsiteX23" fmla="*/ 174241 w 547969"/>
                  <a:gd name="connsiteY23" fmla="*/ 48246 h 377083"/>
                  <a:gd name="connsiteX24" fmla="*/ 159638 w 547969"/>
                  <a:gd name="connsiteY24" fmla="*/ 58522 h 377083"/>
                  <a:gd name="connsiteX25" fmla="*/ 146117 w 547969"/>
                  <a:gd name="connsiteY25" fmla="*/ 69880 h 377083"/>
                  <a:gd name="connsiteX26" fmla="*/ 133136 w 547969"/>
                  <a:gd name="connsiteY26" fmla="*/ 81779 h 377083"/>
                  <a:gd name="connsiteX27" fmla="*/ 119615 w 547969"/>
                  <a:gd name="connsiteY27" fmla="*/ 92596 h 377083"/>
                  <a:gd name="connsiteX28" fmla="*/ 107716 w 547969"/>
                  <a:gd name="connsiteY28" fmla="*/ 105576 h 377083"/>
                  <a:gd name="connsiteX29" fmla="*/ 95817 w 547969"/>
                  <a:gd name="connsiteY29" fmla="*/ 118557 h 377083"/>
                  <a:gd name="connsiteX30" fmla="*/ 83378 w 547969"/>
                  <a:gd name="connsiteY30" fmla="*/ 130996 h 377083"/>
                  <a:gd name="connsiteX31" fmla="*/ 72561 w 547969"/>
                  <a:gd name="connsiteY31" fmla="*/ 145059 h 377083"/>
                  <a:gd name="connsiteX32" fmla="*/ 63907 w 547969"/>
                  <a:gd name="connsiteY32" fmla="*/ 160203 h 377083"/>
                  <a:gd name="connsiteX33" fmla="*/ 54172 w 547969"/>
                  <a:gd name="connsiteY33" fmla="*/ 174805 h 377083"/>
                  <a:gd name="connsiteX34" fmla="*/ 46059 w 547969"/>
                  <a:gd name="connsiteY34" fmla="*/ 190490 h 377083"/>
                  <a:gd name="connsiteX35" fmla="*/ 38487 w 547969"/>
                  <a:gd name="connsiteY35" fmla="*/ 206175 h 377083"/>
                  <a:gd name="connsiteX36" fmla="*/ 31456 w 547969"/>
                  <a:gd name="connsiteY36" fmla="*/ 222400 h 377083"/>
                  <a:gd name="connsiteX37" fmla="*/ 23884 w 547969"/>
                  <a:gd name="connsiteY37" fmla="*/ 238626 h 377083"/>
                  <a:gd name="connsiteX38" fmla="*/ 20098 w 547969"/>
                  <a:gd name="connsiteY38" fmla="*/ 255933 h 377083"/>
                  <a:gd name="connsiteX39" fmla="*/ 14690 w 547969"/>
                  <a:gd name="connsiteY39" fmla="*/ 272700 h 377083"/>
                  <a:gd name="connsiteX40" fmla="*/ 11445 w 547969"/>
                  <a:gd name="connsiteY40" fmla="*/ 290007 h 377083"/>
                  <a:gd name="connsiteX41" fmla="*/ 7117 w 547969"/>
                  <a:gd name="connsiteY41" fmla="*/ 307314 h 377083"/>
                  <a:gd name="connsiteX42" fmla="*/ 4955 w 547969"/>
                  <a:gd name="connsiteY42" fmla="*/ 324621 h 377083"/>
                  <a:gd name="connsiteX43" fmla="*/ 2791 w 547969"/>
                  <a:gd name="connsiteY43" fmla="*/ 341929 h 377083"/>
                  <a:gd name="connsiteX44" fmla="*/ 87 w 547969"/>
                  <a:gd name="connsiteY44" fmla="*/ 359236 h 377083"/>
                  <a:gd name="connsiteX45" fmla="*/ 1709 w 547969"/>
                  <a:gd name="connsiteY45" fmla="*/ 377084 h 377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547969" h="377083">
                    <a:moveTo>
                      <a:pt x="547969" y="79616"/>
                    </a:moveTo>
                    <a:cubicBezTo>
                      <a:pt x="543643" y="75830"/>
                      <a:pt x="540398" y="70962"/>
                      <a:pt x="535530" y="67176"/>
                    </a:cubicBezTo>
                    <a:cubicBezTo>
                      <a:pt x="531203" y="63390"/>
                      <a:pt x="525254" y="61227"/>
                      <a:pt x="520386" y="57981"/>
                    </a:cubicBezTo>
                    <a:cubicBezTo>
                      <a:pt x="515518" y="54736"/>
                      <a:pt x="511732" y="49869"/>
                      <a:pt x="506865" y="47164"/>
                    </a:cubicBezTo>
                    <a:cubicBezTo>
                      <a:pt x="501997" y="43919"/>
                      <a:pt x="496048" y="42838"/>
                      <a:pt x="491180" y="40133"/>
                    </a:cubicBezTo>
                    <a:cubicBezTo>
                      <a:pt x="486313" y="37429"/>
                      <a:pt x="481986" y="32561"/>
                      <a:pt x="476577" y="30398"/>
                    </a:cubicBezTo>
                    <a:cubicBezTo>
                      <a:pt x="471169" y="27694"/>
                      <a:pt x="465219" y="26612"/>
                      <a:pt x="460352" y="24449"/>
                    </a:cubicBezTo>
                    <a:cubicBezTo>
                      <a:pt x="454943" y="22285"/>
                      <a:pt x="450075" y="18499"/>
                      <a:pt x="444667" y="16877"/>
                    </a:cubicBezTo>
                    <a:cubicBezTo>
                      <a:pt x="439258" y="14713"/>
                      <a:pt x="432768" y="15254"/>
                      <a:pt x="427360" y="13632"/>
                    </a:cubicBezTo>
                    <a:cubicBezTo>
                      <a:pt x="421951" y="12009"/>
                      <a:pt x="416002" y="10927"/>
                      <a:pt x="410593" y="9305"/>
                    </a:cubicBezTo>
                    <a:cubicBezTo>
                      <a:pt x="405185" y="8223"/>
                      <a:pt x="399776" y="4437"/>
                      <a:pt x="393826" y="3356"/>
                    </a:cubicBezTo>
                    <a:cubicBezTo>
                      <a:pt x="387877" y="2274"/>
                      <a:pt x="382469" y="1733"/>
                      <a:pt x="376519" y="1192"/>
                    </a:cubicBezTo>
                    <a:cubicBezTo>
                      <a:pt x="370570" y="651"/>
                      <a:pt x="365162" y="110"/>
                      <a:pt x="359212" y="110"/>
                    </a:cubicBezTo>
                    <a:cubicBezTo>
                      <a:pt x="353263" y="-430"/>
                      <a:pt x="347854" y="1192"/>
                      <a:pt x="341905" y="1192"/>
                    </a:cubicBezTo>
                    <a:cubicBezTo>
                      <a:pt x="335956" y="1192"/>
                      <a:pt x="330006" y="1192"/>
                      <a:pt x="324057" y="1192"/>
                    </a:cubicBezTo>
                    <a:cubicBezTo>
                      <a:pt x="318107" y="1733"/>
                      <a:pt x="312158" y="2274"/>
                      <a:pt x="306749" y="2815"/>
                    </a:cubicBezTo>
                    <a:cubicBezTo>
                      <a:pt x="300800" y="3356"/>
                      <a:pt x="294851" y="3896"/>
                      <a:pt x="289442" y="4978"/>
                    </a:cubicBezTo>
                    <a:cubicBezTo>
                      <a:pt x="283493" y="6060"/>
                      <a:pt x="277543" y="6060"/>
                      <a:pt x="272135" y="7682"/>
                    </a:cubicBezTo>
                    <a:cubicBezTo>
                      <a:pt x="266186" y="8764"/>
                      <a:pt x="260777" y="12009"/>
                      <a:pt x="255369" y="13632"/>
                    </a:cubicBezTo>
                    <a:cubicBezTo>
                      <a:pt x="249960" y="15254"/>
                      <a:pt x="244011" y="16336"/>
                      <a:pt x="238062" y="17958"/>
                    </a:cubicBezTo>
                    <a:cubicBezTo>
                      <a:pt x="232653" y="20122"/>
                      <a:pt x="227245" y="22826"/>
                      <a:pt x="221836" y="24990"/>
                    </a:cubicBezTo>
                    <a:cubicBezTo>
                      <a:pt x="216427" y="27153"/>
                      <a:pt x="211019" y="29857"/>
                      <a:pt x="206151" y="32561"/>
                    </a:cubicBezTo>
                    <a:cubicBezTo>
                      <a:pt x="200743" y="35266"/>
                      <a:pt x="194793" y="36347"/>
                      <a:pt x="189385" y="39052"/>
                    </a:cubicBezTo>
                    <a:cubicBezTo>
                      <a:pt x="184517" y="41756"/>
                      <a:pt x="179109" y="45001"/>
                      <a:pt x="174241" y="48246"/>
                    </a:cubicBezTo>
                    <a:cubicBezTo>
                      <a:pt x="169373" y="51491"/>
                      <a:pt x="164506" y="54736"/>
                      <a:pt x="159638" y="58522"/>
                    </a:cubicBezTo>
                    <a:cubicBezTo>
                      <a:pt x="154770" y="61767"/>
                      <a:pt x="150985" y="66635"/>
                      <a:pt x="146117" y="69880"/>
                    </a:cubicBezTo>
                    <a:cubicBezTo>
                      <a:pt x="141249" y="73666"/>
                      <a:pt x="137463" y="77452"/>
                      <a:pt x="133136" y="81779"/>
                    </a:cubicBezTo>
                    <a:cubicBezTo>
                      <a:pt x="128809" y="85565"/>
                      <a:pt x="123401" y="88810"/>
                      <a:pt x="119615" y="92596"/>
                    </a:cubicBezTo>
                    <a:cubicBezTo>
                      <a:pt x="115288" y="96923"/>
                      <a:pt x="112043" y="101250"/>
                      <a:pt x="107716" y="105576"/>
                    </a:cubicBezTo>
                    <a:cubicBezTo>
                      <a:pt x="103930" y="109903"/>
                      <a:pt x="99604" y="114230"/>
                      <a:pt x="95817" y="118557"/>
                    </a:cubicBezTo>
                    <a:cubicBezTo>
                      <a:pt x="92032" y="122884"/>
                      <a:pt x="87164" y="126670"/>
                      <a:pt x="83378" y="130996"/>
                    </a:cubicBezTo>
                    <a:cubicBezTo>
                      <a:pt x="79592" y="135864"/>
                      <a:pt x="75806" y="140191"/>
                      <a:pt x="72561" y="145059"/>
                    </a:cubicBezTo>
                    <a:cubicBezTo>
                      <a:pt x="69315" y="149926"/>
                      <a:pt x="67153" y="155335"/>
                      <a:pt x="63907" y="160203"/>
                    </a:cubicBezTo>
                    <a:cubicBezTo>
                      <a:pt x="60662" y="165070"/>
                      <a:pt x="56876" y="169938"/>
                      <a:pt x="54172" y="174805"/>
                    </a:cubicBezTo>
                    <a:cubicBezTo>
                      <a:pt x="51468" y="179673"/>
                      <a:pt x="48763" y="185082"/>
                      <a:pt x="46059" y="190490"/>
                    </a:cubicBezTo>
                    <a:cubicBezTo>
                      <a:pt x="43355" y="195899"/>
                      <a:pt x="41191" y="201307"/>
                      <a:pt x="38487" y="206175"/>
                    </a:cubicBezTo>
                    <a:cubicBezTo>
                      <a:pt x="35783" y="211583"/>
                      <a:pt x="33619" y="216992"/>
                      <a:pt x="31456" y="222400"/>
                    </a:cubicBezTo>
                    <a:cubicBezTo>
                      <a:pt x="29293" y="227809"/>
                      <a:pt x="26047" y="232677"/>
                      <a:pt x="23884" y="238626"/>
                    </a:cubicBezTo>
                    <a:cubicBezTo>
                      <a:pt x="21721" y="244035"/>
                      <a:pt x="21721" y="250525"/>
                      <a:pt x="20098" y="255933"/>
                    </a:cubicBezTo>
                    <a:cubicBezTo>
                      <a:pt x="18476" y="261342"/>
                      <a:pt x="16312" y="266750"/>
                      <a:pt x="14690" y="272700"/>
                    </a:cubicBezTo>
                    <a:cubicBezTo>
                      <a:pt x="13067" y="278108"/>
                      <a:pt x="12526" y="284058"/>
                      <a:pt x="11445" y="290007"/>
                    </a:cubicBezTo>
                    <a:cubicBezTo>
                      <a:pt x="10363" y="295956"/>
                      <a:pt x="8200" y="301365"/>
                      <a:pt x="7117" y="307314"/>
                    </a:cubicBezTo>
                    <a:cubicBezTo>
                      <a:pt x="6036" y="313264"/>
                      <a:pt x="6036" y="319213"/>
                      <a:pt x="4955" y="324621"/>
                    </a:cubicBezTo>
                    <a:cubicBezTo>
                      <a:pt x="4413" y="330571"/>
                      <a:pt x="3332" y="335979"/>
                      <a:pt x="2791" y="341929"/>
                    </a:cubicBezTo>
                    <a:cubicBezTo>
                      <a:pt x="2250" y="347878"/>
                      <a:pt x="628" y="353287"/>
                      <a:pt x="87" y="359236"/>
                    </a:cubicBezTo>
                    <a:cubicBezTo>
                      <a:pt x="-454" y="365185"/>
                      <a:pt x="1709" y="371135"/>
                      <a:pt x="1709" y="377084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A01A25E-F3E5-E097-839E-A8EF01FD80CE}"/>
                  </a:ext>
                </a:extLst>
              </p:cNvPr>
              <p:cNvSpPr/>
              <p:nvPr/>
            </p:nvSpPr>
            <p:spPr>
              <a:xfrm flipH="1">
                <a:off x="10074061" y="1545884"/>
                <a:ext cx="568122" cy="335040"/>
              </a:xfrm>
              <a:custGeom>
                <a:avLst/>
                <a:gdLst>
                  <a:gd name="connsiteX0" fmla="*/ 684718 w 685910"/>
                  <a:gd name="connsiteY0" fmla="*/ 369402 h 382382"/>
                  <a:gd name="connsiteX1" fmla="*/ 685800 w 685910"/>
                  <a:gd name="connsiteY1" fmla="*/ 351554 h 382382"/>
                  <a:gd name="connsiteX2" fmla="*/ 682555 w 685910"/>
                  <a:gd name="connsiteY2" fmla="*/ 333705 h 382382"/>
                  <a:gd name="connsiteX3" fmla="*/ 682014 w 685910"/>
                  <a:gd name="connsiteY3" fmla="*/ 315857 h 382382"/>
                  <a:gd name="connsiteX4" fmla="*/ 676605 w 685910"/>
                  <a:gd name="connsiteY4" fmla="*/ 298550 h 382382"/>
                  <a:gd name="connsiteX5" fmla="*/ 672820 w 685910"/>
                  <a:gd name="connsiteY5" fmla="*/ 281243 h 382382"/>
                  <a:gd name="connsiteX6" fmla="*/ 669574 w 685910"/>
                  <a:gd name="connsiteY6" fmla="*/ 263395 h 382382"/>
                  <a:gd name="connsiteX7" fmla="*/ 664707 w 685910"/>
                  <a:gd name="connsiteY7" fmla="*/ 246088 h 382382"/>
                  <a:gd name="connsiteX8" fmla="*/ 658216 w 685910"/>
                  <a:gd name="connsiteY8" fmla="*/ 229321 h 382382"/>
                  <a:gd name="connsiteX9" fmla="*/ 651186 w 685910"/>
                  <a:gd name="connsiteY9" fmla="*/ 213096 h 382382"/>
                  <a:gd name="connsiteX10" fmla="*/ 644695 w 685910"/>
                  <a:gd name="connsiteY10" fmla="*/ 196329 h 382382"/>
                  <a:gd name="connsiteX11" fmla="*/ 635501 w 685910"/>
                  <a:gd name="connsiteY11" fmla="*/ 180644 h 382382"/>
                  <a:gd name="connsiteX12" fmla="*/ 626306 w 685910"/>
                  <a:gd name="connsiteY12" fmla="*/ 164960 h 382382"/>
                  <a:gd name="connsiteX13" fmla="*/ 616030 w 685910"/>
                  <a:gd name="connsiteY13" fmla="*/ 150357 h 382382"/>
                  <a:gd name="connsiteX14" fmla="*/ 605754 w 685910"/>
                  <a:gd name="connsiteY14" fmla="*/ 135754 h 382382"/>
                  <a:gd name="connsiteX15" fmla="*/ 593855 w 685910"/>
                  <a:gd name="connsiteY15" fmla="*/ 122232 h 382382"/>
                  <a:gd name="connsiteX16" fmla="*/ 581956 w 685910"/>
                  <a:gd name="connsiteY16" fmla="*/ 108711 h 382382"/>
                  <a:gd name="connsiteX17" fmla="*/ 568976 w 685910"/>
                  <a:gd name="connsiteY17" fmla="*/ 96272 h 382382"/>
                  <a:gd name="connsiteX18" fmla="*/ 555995 w 685910"/>
                  <a:gd name="connsiteY18" fmla="*/ 83832 h 382382"/>
                  <a:gd name="connsiteX19" fmla="*/ 541933 w 685910"/>
                  <a:gd name="connsiteY19" fmla="*/ 72474 h 382382"/>
                  <a:gd name="connsiteX20" fmla="*/ 527871 w 685910"/>
                  <a:gd name="connsiteY20" fmla="*/ 61116 h 382382"/>
                  <a:gd name="connsiteX21" fmla="*/ 513268 w 685910"/>
                  <a:gd name="connsiteY21" fmla="*/ 50840 h 382382"/>
                  <a:gd name="connsiteX22" fmla="*/ 497584 w 685910"/>
                  <a:gd name="connsiteY22" fmla="*/ 42186 h 382382"/>
                  <a:gd name="connsiteX23" fmla="*/ 482440 w 685910"/>
                  <a:gd name="connsiteY23" fmla="*/ 32451 h 382382"/>
                  <a:gd name="connsiteX24" fmla="*/ 465133 w 685910"/>
                  <a:gd name="connsiteY24" fmla="*/ 27043 h 382382"/>
                  <a:gd name="connsiteX25" fmla="*/ 448907 w 685910"/>
                  <a:gd name="connsiteY25" fmla="*/ 18389 h 382382"/>
                  <a:gd name="connsiteX26" fmla="*/ 431599 w 685910"/>
                  <a:gd name="connsiteY26" fmla="*/ 12980 h 382382"/>
                  <a:gd name="connsiteX27" fmla="*/ 414292 w 685910"/>
                  <a:gd name="connsiteY27" fmla="*/ 8113 h 382382"/>
                  <a:gd name="connsiteX28" fmla="*/ 396444 w 685910"/>
                  <a:gd name="connsiteY28" fmla="*/ 5409 h 382382"/>
                  <a:gd name="connsiteX29" fmla="*/ 378596 w 685910"/>
                  <a:gd name="connsiteY29" fmla="*/ 3786 h 382382"/>
                  <a:gd name="connsiteX30" fmla="*/ 360748 w 685910"/>
                  <a:gd name="connsiteY30" fmla="*/ 1082 h 382382"/>
                  <a:gd name="connsiteX31" fmla="*/ 342900 w 685910"/>
                  <a:gd name="connsiteY31" fmla="*/ 0 h 382382"/>
                  <a:gd name="connsiteX32" fmla="*/ 325052 w 685910"/>
                  <a:gd name="connsiteY32" fmla="*/ 2163 h 382382"/>
                  <a:gd name="connsiteX33" fmla="*/ 307203 w 685910"/>
                  <a:gd name="connsiteY33" fmla="*/ 3786 h 382382"/>
                  <a:gd name="connsiteX34" fmla="*/ 289356 w 685910"/>
                  <a:gd name="connsiteY34" fmla="*/ 4327 h 382382"/>
                  <a:gd name="connsiteX35" fmla="*/ 272048 w 685910"/>
                  <a:gd name="connsiteY35" fmla="*/ 8653 h 382382"/>
                  <a:gd name="connsiteX36" fmla="*/ 255282 w 685910"/>
                  <a:gd name="connsiteY36" fmla="*/ 14603 h 382382"/>
                  <a:gd name="connsiteX37" fmla="*/ 237975 w 685910"/>
                  <a:gd name="connsiteY37" fmla="*/ 18930 h 382382"/>
                  <a:gd name="connsiteX38" fmla="*/ 221209 w 685910"/>
                  <a:gd name="connsiteY38" fmla="*/ 24338 h 382382"/>
                  <a:gd name="connsiteX39" fmla="*/ 204983 w 685910"/>
                  <a:gd name="connsiteY39" fmla="*/ 31910 h 382382"/>
                  <a:gd name="connsiteX40" fmla="*/ 189839 w 685910"/>
                  <a:gd name="connsiteY40" fmla="*/ 41105 h 382382"/>
                  <a:gd name="connsiteX41" fmla="*/ 175236 w 685910"/>
                  <a:gd name="connsiteY41" fmla="*/ 51381 h 382382"/>
                  <a:gd name="connsiteX42" fmla="*/ 159011 w 685910"/>
                  <a:gd name="connsiteY42" fmla="*/ 59494 h 382382"/>
                  <a:gd name="connsiteX43" fmla="*/ 144948 w 685910"/>
                  <a:gd name="connsiteY43" fmla="*/ 70311 h 382382"/>
                  <a:gd name="connsiteX44" fmla="*/ 130886 w 685910"/>
                  <a:gd name="connsiteY44" fmla="*/ 81128 h 382382"/>
                  <a:gd name="connsiteX45" fmla="*/ 117905 w 685910"/>
                  <a:gd name="connsiteY45" fmla="*/ 93567 h 382382"/>
                  <a:gd name="connsiteX46" fmla="*/ 105466 w 685910"/>
                  <a:gd name="connsiteY46" fmla="*/ 106007 h 382382"/>
                  <a:gd name="connsiteX47" fmla="*/ 95190 w 685910"/>
                  <a:gd name="connsiteY47" fmla="*/ 120610 h 382382"/>
                  <a:gd name="connsiteX48" fmla="*/ 82750 w 685910"/>
                  <a:gd name="connsiteY48" fmla="*/ 133590 h 382382"/>
                  <a:gd name="connsiteX49" fmla="*/ 72474 w 685910"/>
                  <a:gd name="connsiteY49" fmla="*/ 148193 h 382382"/>
                  <a:gd name="connsiteX50" fmla="*/ 62739 w 685910"/>
                  <a:gd name="connsiteY50" fmla="*/ 163337 h 382382"/>
                  <a:gd name="connsiteX51" fmla="*/ 52462 w 685910"/>
                  <a:gd name="connsiteY51" fmla="*/ 177940 h 382382"/>
                  <a:gd name="connsiteX52" fmla="*/ 45972 w 685910"/>
                  <a:gd name="connsiteY52" fmla="*/ 194707 h 382382"/>
                  <a:gd name="connsiteX53" fmla="*/ 37860 w 685910"/>
                  <a:gd name="connsiteY53" fmla="*/ 210391 h 382382"/>
                  <a:gd name="connsiteX54" fmla="*/ 30828 w 685910"/>
                  <a:gd name="connsiteY54" fmla="*/ 226617 h 382382"/>
                  <a:gd name="connsiteX55" fmla="*/ 23256 w 685910"/>
                  <a:gd name="connsiteY55" fmla="*/ 242842 h 382382"/>
                  <a:gd name="connsiteX56" fmla="*/ 17307 w 685910"/>
                  <a:gd name="connsiteY56" fmla="*/ 259609 h 382382"/>
                  <a:gd name="connsiteX57" fmla="*/ 11898 w 685910"/>
                  <a:gd name="connsiteY57" fmla="*/ 276375 h 382382"/>
                  <a:gd name="connsiteX58" fmla="*/ 9735 w 685910"/>
                  <a:gd name="connsiteY58" fmla="*/ 294223 h 382382"/>
                  <a:gd name="connsiteX59" fmla="*/ 6490 w 685910"/>
                  <a:gd name="connsiteY59" fmla="*/ 311530 h 382382"/>
                  <a:gd name="connsiteX60" fmla="*/ 4326 w 685910"/>
                  <a:gd name="connsiteY60" fmla="*/ 328838 h 382382"/>
                  <a:gd name="connsiteX61" fmla="*/ 2704 w 685910"/>
                  <a:gd name="connsiteY61" fmla="*/ 346686 h 382382"/>
                  <a:gd name="connsiteX62" fmla="*/ 1081 w 685910"/>
                  <a:gd name="connsiteY62" fmla="*/ 364534 h 382382"/>
                  <a:gd name="connsiteX63" fmla="*/ 0 w 685910"/>
                  <a:gd name="connsiteY63" fmla="*/ 382382 h 382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685910" h="382382">
                    <a:moveTo>
                      <a:pt x="684718" y="369402"/>
                    </a:moveTo>
                    <a:cubicBezTo>
                      <a:pt x="684718" y="363452"/>
                      <a:pt x="686341" y="357503"/>
                      <a:pt x="685800" y="351554"/>
                    </a:cubicBezTo>
                    <a:cubicBezTo>
                      <a:pt x="685259" y="345604"/>
                      <a:pt x="683095" y="339655"/>
                      <a:pt x="682555" y="333705"/>
                    </a:cubicBezTo>
                    <a:cubicBezTo>
                      <a:pt x="682014" y="327756"/>
                      <a:pt x="683095" y="321266"/>
                      <a:pt x="682014" y="315857"/>
                    </a:cubicBezTo>
                    <a:cubicBezTo>
                      <a:pt x="680933" y="309908"/>
                      <a:pt x="677687" y="304499"/>
                      <a:pt x="676605" y="298550"/>
                    </a:cubicBezTo>
                    <a:cubicBezTo>
                      <a:pt x="675524" y="292601"/>
                      <a:pt x="674442" y="286651"/>
                      <a:pt x="672820" y="281243"/>
                    </a:cubicBezTo>
                    <a:cubicBezTo>
                      <a:pt x="671197" y="275294"/>
                      <a:pt x="671197" y="269344"/>
                      <a:pt x="669574" y="263395"/>
                    </a:cubicBezTo>
                    <a:cubicBezTo>
                      <a:pt x="667952" y="257445"/>
                      <a:pt x="666329" y="251496"/>
                      <a:pt x="664707" y="246088"/>
                    </a:cubicBezTo>
                    <a:cubicBezTo>
                      <a:pt x="662543" y="240138"/>
                      <a:pt x="660380" y="234730"/>
                      <a:pt x="658216" y="229321"/>
                    </a:cubicBezTo>
                    <a:cubicBezTo>
                      <a:pt x="656053" y="223913"/>
                      <a:pt x="653349" y="218504"/>
                      <a:pt x="651186" y="213096"/>
                    </a:cubicBezTo>
                    <a:cubicBezTo>
                      <a:pt x="648481" y="207687"/>
                      <a:pt x="647399" y="201738"/>
                      <a:pt x="644695" y="196329"/>
                    </a:cubicBezTo>
                    <a:cubicBezTo>
                      <a:pt x="641991" y="190921"/>
                      <a:pt x="638205" y="186053"/>
                      <a:pt x="635501" y="180644"/>
                    </a:cubicBezTo>
                    <a:cubicBezTo>
                      <a:pt x="632797" y="175236"/>
                      <a:pt x="629552" y="170368"/>
                      <a:pt x="626306" y="164960"/>
                    </a:cubicBezTo>
                    <a:cubicBezTo>
                      <a:pt x="623061" y="160092"/>
                      <a:pt x="619275" y="155224"/>
                      <a:pt x="616030" y="150357"/>
                    </a:cubicBezTo>
                    <a:cubicBezTo>
                      <a:pt x="612785" y="145489"/>
                      <a:pt x="609540" y="140081"/>
                      <a:pt x="605754" y="135754"/>
                    </a:cubicBezTo>
                    <a:cubicBezTo>
                      <a:pt x="601968" y="130886"/>
                      <a:pt x="597641" y="126559"/>
                      <a:pt x="593855" y="122232"/>
                    </a:cubicBezTo>
                    <a:cubicBezTo>
                      <a:pt x="590069" y="117365"/>
                      <a:pt x="586283" y="113038"/>
                      <a:pt x="581956" y="108711"/>
                    </a:cubicBezTo>
                    <a:cubicBezTo>
                      <a:pt x="577629" y="104384"/>
                      <a:pt x="573303" y="100598"/>
                      <a:pt x="568976" y="96272"/>
                    </a:cubicBezTo>
                    <a:cubicBezTo>
                      <a:pt x="564649" y="91945"/>
                      <a:pt x="560322" y="87618"/>
                      <a:pt x="555995" y="83832"/>
                    </a:cubicBezTo>
                    <a:cubicBezTo>
                      <a:pt x="551669" y="80046"/>
                      <a:pt x="546801" y="76260"/>
                      <a:pt x="541933" y="72474"/>
                    </a:cubicBezTo>
                    <a:cubicBezTo>
                      <a:pt x="537065" y="68688"/>
                      <a:pt x="532739" y="64902"/>
                      <a:pt x="527871" y="61116"/>
                    </a:cubicBezTo>
                    <a:cubicBezTo>
                      <a:pt x="523003" y="57871"/>
                      <a:pt x="518136" y="54085"/>
                      <a:pt x="513268" y="50840"/>
                    </a:cubicBezTo>
                    <a:cubicBezTo>
                      <a:pt x="508401" y="47595"/>
                      <a:pt x="502992" y="44891"/>
                      <a:pt x="497584" y="42186"/>
                    </a:cubicBezTo>
                    <a:cubicBezTo>
                      <a:pt x="492175" y="39482"/>
                      <a:pt x="487848" y="35155"/>
                      <a:pt x="482440" y="32451"/>
                    </a:cubicBezTo>
                    <a:cubicBezTo>
                      <a:pt x="477031" y="29747"/>
                      <a:pt x="470541" y="29206"/>
                      <a:pt x="465133" y="27043"/>
                    </a:cubicBezTo>
                    <a:cubicBezTo>
                      <a:pt x="459724" y="24879"/>
                      <a:pt x="454856" y="20552"/>
                      <a:pt x="448907" y="18389"/>
                    </a:cubicBezTo>
                    <a:cubicBezTo>
                      <a:pt x="443498" y="16226"/>
                      <a:pt x="437549" y="14603"/>
                      <a:pt x="431599" y="12980"/>
                    </a:cubicBezTo>
                    <a:cubicBezTo>
                      <a:pt x="425650" y="11358"/>
                      <a:pt x="420242" y="9194"/>
                      <a:pt x="414292" y="8113"/>
                    </a:cubicBezTo>
                    <a:cubicBezTo>
                      <a:pt x="408343" y="6490"/>
                      <a:pt x="402394" y="6490"/>
                      <a:pt x="396444" y="5409"/>
                    </a:cubicBezTo>
                    <a:cubicBezTo>
                      <a:pt x="390495" y="4327"/>
                      <a:pt x="384545" y="4327"/>
                      <a:pt x="378596" y="3786"/>
                    </a:cubicBezTo>
                    <a:cubicBezTo>
                      <a:pt x="372647" y="3245"/>
                      <a:pt x="366697" y="1082"/>
                      <a:pt x="360748" y="1082"/>
                    </a:cubicBezTo>
                    <a:cubicBezTo>
                      <a:pt x="354799" y="541"/>
                      <a:pt x="348849" y="0"/>
                      <a:pt x="342900" y="0"/>
                    </a:cubicBezTo>
                    <a:cubicBezTo>
                      <a:pt x="336950" y="0"/>
                      <a:pt x="331001" y="1622"/>
                      <a:pt x="325052" y="2163"/>
                    </a:cubicBezTo>
                    <a:cubicBezTo>
                      <a:pt x="319103" y="2704"/>
                      <a:pt x="313153" y="3245"/>
                      <a:pt x="307203" y="3786"/>
                    </a:cubicBezTo>
                    <a:cubicBezTo>
                      <a:pt x="301254" y="4327"/>
                      <a:pt x="295305" y="3245"/>
                      <a:pt x="289356" y="4327"/>
                    </a:cubicBezTo>
                    <a:cubicBezTo>
                      <a:pt x="283406" y="5409"/>
                      <a:pt x="277998" y="7031"/>
                      <a:pt x="272048" y="8653"/>
                    </a:cubicBezTo>
                    <a:cubicBezTo>
                      <a:pt x="266099" y="9735"/>
                      <a:pt x="260690" y="12980"/>
                      <a:pt x="255282" y="14603"/>
                    </a:cubicBezTo>
                    <a:cubicBezTo>
                      <a:pt x="249333" y="16226"/>
                      <a:pt x="243383" y="16766"/>
                      <a:pt x="237975" y="18930"/>
                    </a:cubicBezTo>
                    <a:cubicBezTo>
                      <a:pt x="232566" y="21093"/>
                      <a:pt x="226617" y="22175"/>
                      <a:pt x="221209" y="24338"/>
                    </a:cubicBezTo>
                    <a:cubicBezTo>
                      <a:pt x="215800" y="26502"/>
                      <a:pt x="210391" y="29206"/>
                      <a:pt x="204983" y="31910"/>
                    </a:cubicBezTo>
                    <a:cubicBezTo>
                      <a:pt x="199574" y="34614"/>
                      <a:pt x="194707" y="38400"/>
                      <a:pt x="189839" y="41105"/>
                    </a:cubicBezTo>
                    <a:cubicBezTo>
                      <a:pt x="184430" y="43809"/>
                      <a:pt x="180103" y="48136"/>
                      <a:pt x="175236" y="51381"/>
                    </a:cubicBezTo>
                    <a:cubicBezTo>
                      <a:pt x="170368" y="54626"/>
                      <a:pt x="163878" y="55708"/>
                      <a:pt x="159011" y="59494"/>
                    </a:cubicBezTo>
                    <a:cubicBezTo>
                      <a:pt x="154143" y="62739"/>
                      <a:pt x="149816" y="67066"/>
                      <a:pt x="144948" y="70311"/>
                    </a:cubicBezTo>
                    <a:cubicBezTo>
                      <a:pt x="140081" y="74097"/>
                      <a:pt x="135213" y="77342"/>
                      <a:pt x="130886" y="81128"/>
                    </a:cubicBezTo>
                    <a:cubicBezTo>
                      <a:pt x="126559" y="84914"/>
                      <a:pt x="122232" y="89241"/>
                      <a:pt x="117905" y="93567"/>
                    </a:cubicBezTo>
                    <a:cubicBezTo>
                      <a:pt x="113579" y="97894"/>
                      <a:pt x="109252" y="101680"/>
                      <a:pt x="105466" y="106007"/>
                    </a:cubicBezTo>
                    <a:cubicBezTo>
                      <a:pt x="101680" y="110334"/>
                      <a:pt x="98975" y="116283"/>
                      <a:pt x="95190" y="120610"/>
                    </a:cubicBezTo>
                    <a:cubicBezTo>
                      <a:pt x="91404" y="124937"/>
                      <a:pt x="86536" y="128723"/>
                      <a:pt x="82750" y="133590"/>
                    </a:cubicBezTo>
                    <a:cubicBezTo>
                      <a:pt x="78964" y="138458"/>
                      <a:pt x="75719" y="143326"/>
                      <a:pt x="72474" y="148193"/>
                    </a:cubicBezTo>
                    <a:cubicBezTo>
                      <a:pt x="69229" y="153061"/>
                      <a:pt x="65984" y="157929"/>
                      <a:pt x="62739" y="163337"/>
                    </a:cubicBezTo>
                    <a:cubicBezTo>
                      <a:pt x="59494" y="168205"/>
                      <a:pt x="55167" y="172532"/>
                      <a:pt x="52462" y="177940"/>
                    </a:cubicBezTo>
                    <a:cubicBezTo>
                      <a:pt x="49758" y="182808"/>
                      <a:pt x="48677" y="189298"/>
                      <a:pt x="45972" y="194707"/>
                    </a:cubicBezTo>
                    <a:cubicBezTo>
                      <a:pt x="43268" y="200115"/>
                      <a:pt x="40023" y="204983"/>
                      <a:pt x="37860" y="210391"/>
                    </a:cubicBezTo>
                    <a:cubicBezTo>
                      <a:pt x="35155" y="215800"/>
                      <a:pt x="33533" y="221208"/>
                      <a:pt x="30828" y="226617"/>
                    </a:cubicBezTo>
                    <a:cubicBezTo>
                      <a:pt x="28665" y="232025"/>
                      <a:pt x="25420" y="237434"/>
                      <a:pt x="23256" y="242842"/>
                    </a:cubicBezTo>
                    <a:cubicBezTo>
                      <a:pt x="21093" y="248251"/>
                      <a:pt x="18930" y="254200"/>
                      <a:pt x="17307" y="259609"/>
                    </a:cubicBezTo>
                    <a:cubicBezTo>
                      <a:pt x="15685" y="265017"/>
                      <a:pt x="13521" y="270967"/>
                      <a:pt x="11898" y="276375"/>
                    </a:cubicBezTo>
                    <a:cubicBezTo>
                      <a:pt x="10276" y="282325"/>
                      <a:pt x="10817" y="288274"/>
                      <a:pt x="9735" y="294223"/>
                    </a:cubicBezTo>
                    <a:cubicBezTo>
                      <a:pt x="8653" y="300173"/>
                      <a:pt x="7572" y="305581"/>
                      <a:pt x="6490" y="311530"/>
                    </a:cubicBezTo>
                    <a:cubicBezTo>
                      <a:pt x="5409" y="317480"/>
                      <a:pt x="4868" y="323429"/>
                      <a:pt x="4326" y="328838"/>
                    </a:cubicBezTo>
                    <a:cubicBezTo>
                      <a:pt x="3786" y="334787"/>
                      <a:pt x="3245" y="340737"/>
                      <a:pt x="2704" y="346686"/>
                    </a:cubicBezTo>
                    <a:cubicBezTo>
                      <a:pt x="2164" y="352635"/>
                      <a:pt x="1081" y="358585"/>
                      <a:pt x="1081" y="364534"/>
                    </a:cubicBezTo>
                    <a:cubicBezTo>
                      <a:pt x="1081" y="370483"/>
                      <a:pt x="0" y="376433"/>
                      <a:pt x="0" y="382382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D3896621-DD2E-BDCC-4740-CE21AA49BB2F}"/>
                  </a:ext>
                </a:extLst>
              </p:cNvPr>
              <p:cNvSpPr/>
              <p:nvPr/>
            </p:nvSpPr>
            <p:spPr>
              <a:xfrm flipH="1">
                <a:off x="9960815" y="1855807"/>
                <a:ext cx="146039" cy="79613"/>
              </a:xfrm>
              <a:custGeom>
                <a:avLst/>
                <a:gdLst>
                  <a:gd name="connsiteX0" fmla="*/ 176318 w 176317"/>
                  <a:gd name="connsiteY0" fmla="*/ 68688 h 90863"/>
                  <a:gd name="connsiteX1" fmla="*/ 171450 w 176317"/>
                  <a:gd name="connsiteY1" fmla="*/ 52463 h 90863"/>
                  <a:gd name="connsiteX2" fmla="*/ 162796 w 176317"/>
                  <a:gd name="connsiteY2" fmla="*/ 37860 h 90863"/>
                  <a:gd name="connsiteX3" fmla="*/ 151438 w 176317"/>
                  <a:gd name="connsiteY3" fmla="*/ 25420 h 90863"/>
                  <a:gd name="connsiteX4" fmla="*/ 138458 w 176317"/>
                  <a:gd name="connsiteY4" fmla="*/ 14603 h 90863"/>
                  <a:gd name="connsiteX5" fmla="*/ 122773 w 176317"/>
                  <a:gd name="connsiteY5" fmla="*/ 8113 h 90863"/>
                  <a:gd name="connsiteX6" fmla="*/ 107088 w 176317"/>
                  <a:gd name="connsiteY6" fmla="*/ 2704 h 90863"/>
                  <a:gd name="connsiteX7" fmla="*/ 90322 w 176317"/>
                  <a:gd name="connsiteY7" fmla="*/ 0 h 90863"/>
                  <a:gd name="connsiteX8" fmla="*/ 72474 w 176317"/>
                  <a:gd name="connsiteY8" fmla="*/ 1622 h 90863"/>
                  <a:gd name="connsiteX9" fmla="*/ 55707 w 176317"/>
                  <a:gd name="connsiteY9" fmla="*/ 8654 h 90863"/>
                  <a:gd name="connsiteX10" fmla="*/ 40564 w 176317"/>
                  <a:gd name="connsiteY10" fmla="*/ 17307 h 90863"/>
                  <a:gd name="connsiteX11" fmla="*/ 25420 w 176317"/>
                  <a:gd name="connsiteY11" fmla="*/ 27043 h 90863"/>
                  <a:gd name="connsiteX12" fmla="*/ 15685 w 176317"/>
                  <a:gd name="connsiteY12" fmla="*/ 41645 h 90863"/>
                  <a:gd name="connsiteX13" fmla="*/ 5949 w 176317"/>
                  <a:gd name="connsiteY13" fmla="*/ 56249 h 90863"/>
                  <a:gd name="connsiteX14" fmla="*/ 2704 w 176317"/>
                  <a:gd name="connsiteY14" fmla="*/ 73556 h 90863"/>
                  <a:gd name="connsiteX15" fmla="*/ 0 w 176317"/>
                  <a:gd name="connsiteY15" fmla="*/ 90863 h 90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317" h="90863">
                    <a:moveTo>
                      <a:pt x="176318" y="68688"/>
                    </a:moveTo>
                    <a:cubicBezTo>
                      <a:pt x="174695" y="63280"/>
                      <a:pt x="173613" y="57871"/>
                      <a:pt x="171450" y="52463"/>
                    </a:cubicBezTo>
                    <a:cubicBezTo>
                      <a:pt x="168745" y="47595"/>
                      <a:pt x="166041" y="42727"/>
                      <a:pt x="162796" y="37860"/>
                    </a:cubicBezTo>
                    <a:cubicBezTo>
                      <a:pt x="159551" y="33533"/>
                      <a:pt x="155765" y="29206"/>
                      <a:pt x="151438" y="25420"/>
                    </a:cubicBezTo>
                    <a:cubicBezTo>
                      <a:pt x="147111" y="21634"/>
                      <a:pt x="143326" y="17848"/>
                      <a:pt x="138458" y="14603"/>
                    </a:cubicBezTo>
                    <a:cubicBezTo>
                      <a:pt x="133590" y="11358"/>
                      <a:pt x="128182" y="9735"/>
                      <a:pt x="122773" y="8113"/>
                    </a:cubicBezTo>
                    <a:cubicBezTo>
                      <a:pt x="117365" y="5949"/>
                      <a:pt x="112497" y="3786"/>
                      <a:pt x="107088" y="2704"/>
                    </a:cubicBezTo>
                    <a:cubicBezTo>
                      <a:pt x="101680" y="1622"/>
                      <a:pt x="96271" y="0"/>
                      <a:pt x="90322" y="0"/>
                    </a:cubicBezTo>
                    <a:cubicBezTo>
                      <a:pt x="84373" y="0"/>
                      <a:pt x="78424" y="541"/>
                      <a:pt x="72474" y="1622"/>
                    </a:cubicBezTo>
                    <a:cubicBezTo>
                      <a:pt x="66524" y="2704"/>
                      <a:pt x="61657" y="6490"/>
                      <a:pt x="55707" y="8654"/>
                    </a:cubicBezTo>
                    <a:cubicBezTo>
                      <a:pt x="50299" y="10817"/>
                      <a:pt x="45432" y="14062"/>
                      <a:pt x="40564" y="17307"/>
                    </a:cubicBezTo>
                    <a:cubicBezTo>
                      <a:pt x="35696" y="20552"/>
                      <a:pt x="29747" y="22716"/>
                      <a:pt x="25420" y="27043"/>
                    </a:cubicBezTo>
                    <a:cubicBezTo>
                      <a:pt x="21093" y="31369"/>
                      <a:pt x="18930" y="36778"/>
                      <a:pt x="15685" y="41645"/>
                    </a:cubicBezTo>
                    <a:cubicBezTo>
                      <a:pt x="12439" y="46513"/>
                      <a:pt x="8113" y="50840"/>
                      <a:pt x="5949" y="56249"/>
                    </a:cubicBezTo>
                    <a:cubicBezTo>
                      <a:pt x="3786" y="61657"/>
                      <a:pt x="3786" y="68147"/>
                      <a:pt x="2704" y="73556"/>
                    </a:cubicBezTo>
                    <a:cubicBezTo>
                      <a:pt x="1622" y="79505"/>
                      <a:pt x="0" y="84914"/>
                      <a:pt x="0" y="90863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E607040C-112C-9B52-022D-C705055BF7A2}"/>
                  </a:ext>
                </a:extLst>
              </p:cNvPr>
              <p:cNvSpPr/>
              <p:nvPr/>
            </p:nvSpPr>
            <p:spPr>
              <a:xfrm flipH="1">
                <a:off x="9690686" y="1915421"/>
                <a:ext cx="299694" cy="315706"/>
              </a:xfrm>
              <a:custGeom>
                <a:avLst/>
                <a:gdLst>
                  <a:gd name="connsiteX0" fmla="*/ 361830 w 361829"/>
                  <a:gd name="connsiteY0" fmla="*/ 360318 h 360317"/>
                  <a:gd name="connsiteX1" fmla="*/ 360748 w 361829"/>
                  <a:gd name="connsiteY1" fmla="*/ 342469 h 360317"/>
                  <a:gd name="connsiteX2" fmla="*/ 359126 w 361829"/>
                  <a:gd name="connsiteY2" fmla="*/ 324621 h 360317"/>
                  <a:gd name="connsiteX3" fmla="*/ 356421 w 361829"/>
                  <a:gd name="connsiteY3" fmla="*/ 307314 h 360317"/>
                  <a:gd name="connsiteX4" fmla="*/ 354799 w 361829"/>
                  <a:gd name="connsiteY4" fmla="*/ 289466 h 360317"/>
                  <a:gd name="connsiteX5" fmla="*/ 349390 w 361829"/>
                  <a:gd name="connsiteY5" fmla="*/ 272700 h 360317"/>
                  <a:gd name="connsiteX6" fmla="*/ 345604 w 361829"/>
                  <a:gd name="connsiteY6" fmla="*/ 255392 h 360317"/>
                  <a:gd name="connsiteX7" fmla="*/ 340196 w 361829"/>
                  <a:gd name="connsiteY7" fmla="*/ 238626 h 360317"/>
                  <a:gd name="connsiteX8" fmla="*/ 333705 w 361829"/>
                  <a:gd name="connsiteY8" fmla="*/ 221860 h 360317"/>
                  <a:gd name="connsiteX9" fmla="*/ 326133 w 361829"/>
                  <a:gd name="connsiteY9" fmla="*/ 205634 h 360317"/>
                  <a:gd name="connsiteX10" fmla="*/ 318562 w 361829"/>
                  <a:gd name="connsiteY10" fmla="*/ 189949 h 360317"/>
                  <a:gd name="connsiteX11" fmla="*/ 309367 w 361829"/>
                  <a:gd name="connsiteY11" fmla="*/ 174805 h 360317"/>
                  <a:gd name="connsiteX12" fmla="*/ 300173 w 361829"/>
                  <a:gd name="connsiteY12" fmla="*/ 159662 h 360317"/>
                  <a:gd name="connsiteX13" fmla="*/ 288815 w 361829"/>
                  <a:gd name="connsiteY13" fmla="*/ 146140 h 360317"/>
                  <a:gd name="connsiteX14" fmla="*/ 278539 w 361829"/>
                  <a:gd name="connsiteY14" fmla="*/ 131537 h 360317"/>
                  <a:gd name="connsiteX15" fmla="*/ 267181 w 361829"/>
                  <a:gd name="connsiteY15" fmla="*/ 117475 h 360317"/>
                  <a:gd name="connsiteX16" fmla="*/ 255282 w 361829"/>
                  <a:gd name="connsiteY16" fmla="*/ 104495 h 360317"/>
                  <a:gd name="connsiteX17" fmla="*/ 240679 w 361829"/>
                  <a:gd name="connsiteY17" fmla="*/ 94219 h 360317"/>
                  <a:gd name="connsiteX18" fmla="*/ 227698 w 361829"/>
                  <a:gd name="connsiteY18" fmla="*/ 82320 h 360317"/>
                  <a:gd name="connsiteX19" fmla="*/ 214177 w 361829"/>
                  <a:gd name="connsiteY19" fmla="*/ 70962 h 360317"/>
                  <a:gd name="connsiteX20" fmla="*/ 200115 w 361829"/>
                  <a:gd name="connsiteY20" fmla="*/ 60145 h 360317"/>
                  <a:gd name="connsiteX21" fmla="*/ 184971 w 361829"/>
                  <a:gd name="connsiteY21" fmla="*/ 51491 h 360317"/>
                  <a:gd name="connsiteX22" fmla="*/ 170368 w 361829"/>
                  <a:gd name="connsiteY22" fmla="*/ 41756 h 360317"/>
                  <a:gd name="connsiteX23" fmla="*/ 153602 w 361829"/>
                  <a:gd name="connsiteY23" fmla="*/ 35806 h 360317"/>
                  <a:gd name="connsiteX24" fmla="*/ 137917 w 361829"/>
                  <a:gd name="connsiteY24" fmla="*/ 27694 h 360317"/>
                  <a:gd name="connsiteX25" fmla="*/ 122232 w 361829"/>
                  <a:gd name="connsiteY25" fmla="*/ 19581 h 360317"/>
                  <a:gd name="connsiteX26" fmla="*/ 104925 w 361829"/>
                  <a:gd name="connsiteY26" fmla="*/ 15795 h 360317"/>
                  <a:gd name="connsiteX27" fmla="*/ 88158 w 361829"/>
                  <a:gd name="connsiteY27" fmla="*/ 10927 h 360317"/>
                  <a:gd name="connsiteX28" fmla="*/ 70851 w 361829"/>
                  <a:gd name="connsiteY28" fmla="*/ 8223 h 360317"/>
                  <a:gd name="connsiteX29" fmla="*/ 53544 w 361829"/>
                  <a:gd name="connsiteY29" fmla="*/ 2815 h 360317"/>
                  <a:gd name="connsiteX30" fmla="*/ 35696 w 361829"/>
                  <a:gd name="connsiteY30" fmla="*/ 651 h 360317"/>
                  <a:gd name="connsiteX31" fmla="*/ 17848 w 361829"/>
                  <a:gd name="connsiteY31" fmla="*/ 110 h 360317"/>
                  <a:gd name="connsiteX32" fmla="*/ 0 w 361829"/>
                  <a:gd name="connsiteY32" fmla="*/ 1192 h 360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61829" h="360317">
                    <a:moveTo>
                      <a:pt x="361830" y="360318"/>
                    </a:moveTo>
                    <a:cubicBezTo>
                      <a:pt x="361830" y="354368"/>
                      <a:pt x="361289" y="348419"/>
                      <a:pt x="360748" y="342469"/>
                    </a:cubicBezTo>
                    <a:cubicBezTo>
                      <a:pt x="360207" y="336520"/>
                      <a:pt x="359666" y="330571"/>
                      <a:pt x="359126" y="324621"/>
                    </a:cubicBezTo>
                    <a:cubicBezTo>
                      <a:pt x="358584" y="318672"/>
                      <a:pt x="357503" y="312723"/>
                      <a:pt x="356421" y="307314"/>
                    </a:cubicBezTo>
                    <a:cubicBezTo>
                      <a:pt x="355339" y="301365"/>
                      <a:pt x="355880" y="295415"/>
                      <a:pt x="354799" y="289466"/>
                    </a:cubicBezTo>
                    <a:cubicBezTo>
                      <a:pt x="353717" y="283517"/>
                      <a:pt x="351013" y="278108"/>
                      <a:pt x="349390" y="272700"/>
                    </a:cubicBezTo>
                    <a:cubicBezTo>
                      <a:pt x="347767" y="266750"/>
                      <a:pt x="347227" y="260801"/>
                      <a:pt x="345604" y="255392"/>
                    </a:cubicBezTo>
                    <a:cubicBezTo>
                      <a:pt x="343982" y="249984"/>
                      <a:pt x="342359" y="244034"/>
                      <a:pt x="340196" y="238626"/>
                    </a:cubicBezTo>
                    <a:cubicBezTo>
                      <a:pt x="338032" y="233217"/>
                      <a:pt x="335869" y="227268"/>
                      <a:pt x="333705" y="221860"/>
                    </a:cubicBezTo>
                    <a:cubicBezTo>
                      <a:pt x="331542" y="216451"/>
                      <a:pt x="328837" y="211043"/>
                      <a:pt x="326133" y="205634"/>
                    </a:cubicBezTo>
                    <a:cubicBezTo>
                      <a:pt x="323429" y="200226"/>
                      <a:pt x="321266" y="194817"/>
                      <a:pt x="318562" y="189949"/>
                    </a:cubicBezTo>
                    <a:cubicBezTo>
                      <a:pt x="315858" y="184541"/>
                      <a:pt x="312071" y="179673"/>
                      <a:pt x="309367" y="174805"/>
                    </a:cubicBezTo>
                    <a:cubicBezTo>
                      <a:pt x="306122" y="169938"/>
                      <a:pt x="303418" y="164529"/>
                      <a:pt x="300173" y="159662"/>
                    </a:cubicBezTo>
                    <a:cubicBezTo>
                      <a:pt x="296928" y="154794"/>
                      <a:pt x="292601" y="150467"/>
                      <a:pt x="288815" y="146140"/>
                    </a:cubicBezTo>
                    <a:cubicBezTo>
                      <a:pt x="285029" y="141273"/>
                      <a:pt x="282324" y="135864"/>
                      <a:pt x="278539" y="131537"/>
                    </a:cubicBezTo>
                    <a:cubicBezTo>
                      <a:pt x="274752" y="127211"/>
                      <a:pt x="271507" y="121802"/>
                      <a:pt x="267181" y="117475"/>
                    </a:cubicBezTo>
                    <a:cubicBezTo>
                      <a:pt x="263395" y="113148"/>
                      <a:pt x="259609" y="108281"/>
                      <a:pt x="255282" y="104495"/>
                    </a:cubicBezTo>
                    <a:cubicBezTo>
                      <a:pt x="250955" y="100168"/>
                      <a:pt x="245005" y="98004"/>
                      <a:pt x="240679" y="94219"/>
                    </a:cubicBezTo>
                    <a:cubicBezTo>
                      <a:pt x="236352" y="90433"/>
                      <a:pt x="232026" y="86106"/>
                      <a:pt x="227698" y="82320"/>
                    </a:cubicBezTo>
                    <a:cubicBezTo>
                      <a:pt x="223371" y="78534"/>
                      <a:pt x="218504" y="74748"/>
                      <a:pt x="214177" y="70962"/>
                    </a:cubicBezTo>
                    <a:cubicBezTo>
                      <a:pt x="209309" y="67176"/>
                      <a:pt x="204983" y="63390"/>
                      <a:pt x="200115" y="60145"/>
                    </a:cubicBezTo>
                    <a:cubicBezTo>
                      <a:pt x="195247" y="56900"/>
                      <a:pt x="189839" y="54196"/>
                      <a:pt x="184971" y="51491"/>
                    </a:cubicBezTo>
                    <a:cubicBezTo>
                      <a:pt x="180103" y="48246"/>
                      <a:pt x="175236" y="44460"/>
                      <a:pt x="170368" y="41756"/>
                    </a:cubicBezTo>
                    <a:cubicBezTo>
                      <a:pt x="164960" y="39052"/>
                      <a:pt x="159011" y="37970"/>
                      <a:pt x="153602" y="35806"/>
                    </a:cubicBezTo>
                    <a:cubicBezTo>
                      <a:pt x="148194" y="33102"/>
                      <a:pt x="143326" y="29857"/>
                      <a:pt x="137917" y="27694"/>
                    </a:cubicBezTo>
                    <a:cubicBezTo>
                      <a:pt x="132509" y="25530"/>
                      <a:pt x="127641" y="21744"/>
                      <a:pt x="122232" y="19581"/>
                    </a:cubicBezTo>
                    <a:cubicBezTo>
                      <a:pt x="116824" y="17418"/>
                      <a:pt x="110334" y="17418"/>
                      <a:pt x="104925" y="15795"/>
                    </a:cubicBezTo>
                    <a:cubicBezTo>
                      <a:pt x="99517" y="14172"/>
                      <a:pt x="93567" y="12009"/>
                      <a:pt x="88158" y="10927"/>
                    </a:cubicBezTo>
                    <a:cubicBezTo>
                      <a:pt x="82209" y="9305"/>
                      <a:pt x="76260" y="9305"/>
                      <a:pt x="70851" y="8223"/>
                    </a:cubicBezTo>
                    <a:cubicBezTo>
                      <a:pt x="64902" y="7141"/>
                      <a:pt x="59494" y="3896"/>
                      <a:pt x="53544" y="2815"/>
                    </a:cubicBezTo>
                    <a:cubicBezTo>
                      <a:pt x="47595" y="1733"/>
                      <a:pt x="41645" y="1192"/>
                      <a:pt x="35696" y="651"/>
                    </a:cubicBezTo>
                    <a:cubicBezTo>
                      <a:pt x="29747" y="110"/>
                      <a:pt x="23798" y="110"/>
                      <a:pt x="17848" y="110"/>
                    </a:cubicBezTo>
                    <a:cubicBezTo>
                      <a:pt x="11898" y="-430"/>
                      <a:pt x="5949" y="1192"/>
                      <a:pt x="0" y="1192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F793C3A0-59B3-4244-E230-490148A8E2FC}"/>
                  </a:ext>
                </a:extLst>
              </p:cNvPr>
              <p:cNvSpPr/>
              <p:nvPr/>
            </p:nvSpPr>
            <p:spPr>
              <a:xfrm flipH="1">
                <a:off x="10404309" y="1085167"/>
                <a:ext cx="922378" cy="785331"/>
              </a:xfrm>
              <a:custGeom>
                <a:avLst/>
                <a:gdLst>
                  <a:gd name="connsiteX0" fmla="*/ 112497 w 1113613"/>
                  <a:gd name="connsiteY0" fmla="*/ 896302 h 896301"/>
                  <a:gd name="connsiteX1" fmla="*/ 101140 w 1113613"/>
                  <a:gd name="connsiteY1" fmla="*/ 882240 h 896301"/>
                  <a:gd name="connsiteX2" fmla="*/ 90323 w 1113613"/>
                  <a:gd name="connsiteY2" fmla="*/ 867637 h 896301"/>
                  <a:gd name="connsiteX3" fmla="*/ 81128 w 1113613"/>
                  <a:gd name="connsiteY3" fmla="*/ 851952 h 896301"/>
                  <a:gd name="connsiteX4" fmla="*/ 73556 w 1113613"/>
                  <a:gd name="connsiteY4" fmla="*/ 835726 h 896301"/>
                  <a:gd name="connsiteX5" fmla="*/ 64902 w 1113613"/>
                  <a:gd name="connsiteY5" fmla="*/ 820042 h 896301"/>
                  <a:gd name="connsiteX6" fmla="*/ 55708 w 1113613"/>
                  <a:gd name="connsiteY6" fmla="*/ 804357 h 896301"/>
                  <a:gd name="connsiteX7" fmla="*/ 48677 w 1113613"/>
                  <a:gd name="connsiteY7" fmla="*/ 787591 h 896301"/>
                  <a:gd name="connsiteX8" fmla="*/ 42727 w 1113613"/>
                  <a:gd name="connsiteY8" fmla="*/ 770283 h 896301"/>
                  <a:gd name="connsiteX9" fmla="*/ 34074 w 1113613"/>
                  <a:gd name="connsiteY9" fmla="*/ 754058 h 896301"/>
                  <a:gd name="connsiteX10" fmla="*/ 28125 w 1113613"/>
                  <a:gd name="connsiteY10" fmla="*/ 736751 h 896301"/>
                  <a:gd name="connsiteX11" fmla="*/ 22716 w 1113613"/>
                  <a:gd name="connsiteY11" fmla="*/ 719443 h 896301"/>
                  <a:gd name="connsiteX12" fmla="*/ 19471 w 1113613"/>
                  <a:gd name="connsiteY12" fmla="*/ 701595 h 896301"/>
                  <a:gd name="connsiteX13" fmla="*/ 13521 w 1113613"/>
                  <a:gd name="connsiteY13" fmla="*/ 684288 h 896301"/>
                  <a:gd name="connsiteX14" fmla="*/ 9736 w 1113613"/>
                  <a:gd name="connsiteY14" fmla="*/ 666440 h 896301"/>
                  <a:gd name="connsiteX15" fmla="*/ 6491 w 1113613"/>
                  <a:gd name="connsiteY15" fmla="*/ 648592 h 896301"/>
                  <a:gd name="connsiteX16" fmla="*/ 4327 w 1113613"/>
                  <a:gd name="connsiteY16" fmla="*/ 630744 h 896301"/>
                  <a:gd name="connsiteX17" fmla="*/ 2704 w 1113613"/>
                  <a:gd name="connsiteY17" fmla="*/ 612895 h 896301"/>
                  <a:gd name="connsiteX18" fmla="*/ 1082 w 1113613"/>
                  <a:gd name="connsiteY18" fmla="*/ 595047 h 896301"/>
                  <a:gd name="connsiteX19" fmla="*/ 1623 w 1113613"/>
                  <a:gd name="connsiteY19" fmla="*/ 576658 h 896301"/>
                  <a:gd name="connsiteX20" fmla="*/ 0 w 1113613"/>
                  <a:gd name="connsiteY20" fmla="*/ 558810 h 896301"/>
                  <a:gd name="connsiteX21" fmla="*/ 1082 w 1113613"/>
                  <a:gd name="connsiteY21" fmla="*/ 541503 h 896301"/>
                  <a:gd name="connsiteX22" fmla="*/ 2164 w 1113613"/>
                  <a:gd name="connsiteY22" fmla="*/ 524196 h 896301"/>
                  <a:gd name="connsiteX23" fmla="*/ 4327 w 1113613"/>
                  <a:gd name="connsiteY23" fmla="*/ 506889 h 896301"/>
                  <a:gd name="connsiteX24" fmla="*/ 3786 w 1113613"/>
                  <a:gd name="connsiteY24" fmla="*/ 489040 h 896301"/>
                  <a:gd name="connsiteX25" fmla="*/ 7031 w 1113613"/>
                  <a:gd name="connsiteY25" fmla="*/ 471733 h 896301"/>
                  <a:gd name="connsiteX26" fmla="*/ 9195 w 1113613"/>
                  <a:gd name="connsiteY26" fmla="*/ 454426 h 896301"/>
                  <a:gd name="connsiteX27" fmla="*/ 12440 w 1113613"/>
                  <a:gd name="connsiteY27" fmla="*/ 437119 h 896301"/>
                  <a:gd name="connsiteX28" fmla="*/ 16226 w 1113613"/>
                  <a:gd name="connsiteY28" fmla="*/ 419811 h 896301"/>
                  <a:gd name="connsiteX29" fmla="*/ 21093 w 1113613"/>
                  <a:gd name="connsiteY29" fmla="*/ 403045 h 896301"/>
                  <a:gd name="connsiteX30" fmla="*/ 28125 w 1113613"/>
                  <a:gd name="connsiteY30" fmla="*/ 386819 h 896301"/>
                  <a:gd name="connsiteX31" fmla="*/ 32992 w 1113613"/>
                  <a:gd name="connsiteY31" fmla="*/ 370053 h 896301"/>
                  <a:gd name="connsiteX32" fmla="*/ 40023 w 1113613"/>
                  <a:gd name="connsiteY32" fmla="*/ 353827 h 896301"/>
                  <a:gd name="connsiteX33" fmla="*/ 45432 w 1113613"/>
                  <a:gd name="connsiteY33" fmla="*/ 337061 h 896301"/>
                  <a:gd name="connsiteX34" fmla="*/ 53004 w 1113613"/>
                  <a:gd name="connsiteY34" fmla="*/ 321376 h 896301"/>
                  <a:gd name="connsiteX35" fmla="*/ 61117 w 1113613"/>
                  <a:gd name="connsiteY35" fmla="*/ 305692 h 896301"/>
                  <a:gd name="connsiteX36" fmla="*/ 69229 w 1113613"/>
                  <a:gd name="connsiteY36" fmla="*/ 290007 h 896301"/>
                  <a:gd name="connsiteX37" fmla="*/ 77342 w 1113613"/>
                  <a:gd name="connsiteY37" fmla="*/ 274322 h 896301"/>
                  <a:gd name="connsiteX38" fmla="*/ 87077 w 1113613"/>
                  <a:gd name="connsiteY38" fmla="*/ 259719 h 896301"/>
                  <a:gd name="connsiteX39" fmla="*/ 96813 w 1113613"/>
                  <a:gd name="connsiteY39" fmla="*/ 245116 h 896301"/>
                  <a:gd name="connsiteX40" fmla="*/ 107630 w 1113613"/>
                  <a:gd name="connsiteY40" fmla="*/ 231054 h 896301"/>
                  <a:gd name="connsiteX41" fmla="*/ 116824 w 1113613"/>
                  <a:gd name="connsiteY41" fmla="*/ 216451 h 896301"/>
                  <a:gd name="connsiteX42" fmla="*/ 127100 w 1113613"/>
                  <a:gd name="connsiteY42" fmla="*/ 202389 h 896301"/>
                  <a:gd name="connsiteX43" fmla="*/ 138458 w 1113613"/>
                  <a:gd name="connsiteY43" fmla="*/ 189409 h 896301"/>
                  <a:gd name="connsiteX44" fmla="*/ 150357 w 1113613"/>
                  <a:gd name="connsiteY44" fmla="*/ 176428 h 896301"/>
                  <a:gd name="connsiteX45" fmla="*/ 163878 w 1113613"/>
                  <a:gd name="connsiteY45" fmla="*/ 165070 h 896301"/>
                  <a:gd name="connsiteX46" fmla="*/ 175236 w 1113613"/>
                  <a:gd name="connsiteY46" fmla="*/ 151549 h 896301"/>
                  <a:gd name="connsiteX47" fmla="*/ 189298 w 1113613"/>
                  <a:gd name="connsiteY47" fmla="*/ 140732 h 896301"/>
                  <a:gd name="connsiteX48" fmla="*/ 202819 w 1113613"/>
                  <a:gd name="connsiteY48" fmla="*/ 129374 h 896301"/>
                  <a:gd name="connsiteX49" fmla="*/ 216881 w 1113613"/>
                  <a:gd name="connsiteY49" fmla="*/ 119098 h 896301"/>
                  <a:gd name="connsiteX50" fmla="*/ 229321 w 1113613"/>
                  <a:gd name="connsiteY50" fmla="*/ 106658 h 896301"/>
                  <a:gd name="connsiteX51" fmla="*/ 243924 w 1113613"/>
                  <a:gd name="connsiteY51" fmla="*/ 96923 h 896301"/>
                  <a:gd name="connsiteX52" fmla="*/ 258527 w 1113613"/>
                  <a:gd name="connsiteY52" fmla="*/ 87188 h 896301"/>
                  <a:gd name="connsiteX53" fmla="*/ 273130 w 1113613"/>
                  <a:gd name="connsiteY53" fmla="*/ 77452 h 896301"/>
                  <a:gd name="connsiteX54" fmla="*/ 289356 w 1113613"/>
                  <a:gd name="connsiteY54" fmla="*/ 70962 h 896301"/>
                  <a:gd name="connsiteX55" fmla="*/ 303959 w 1113613"/>
                  <a:gd name="connsiteY55" fmla="*/ 60686 h 896301"/>
                  <a:gd name="connsiteX56" fmla="*/ 320185 w 1113613"/>
                  <a:gd name="connsiteY56" fmla="*/ 53655 h 896301"/>
                  <a:gd name="connsiteX57" fmla="*/ 336410 w 1113613"/>
                  <a:gd name="connsiteY57" fmla="*/ 47164 h 896301"/>
                  <a:gd name="connsiteX58" fmla="*/ 352636 w 1113613"/>
                  <a:gd name="connsiteY58" fmla="*/ 40674 h 896301"/>
                  <a:gd name="connsiteX59" fmla="*/ 368861 w 1113613"/>
                  <a:gd name="connsiteY59" fmla="*/ 34184 h 896301"/>
                  <a:gd name="connsiteX60" fmla="*/ 385087 w 1113613"/>
                  <a:gd name="connsiteY60" fmla="*/ 26612 h 896301"/>
                  <a:gd name="connsiteX61" fmla="*/ 402394 w 1113613"/>
                  <a:gd name="connsiteY61" fmla="*/ 22826 h 896301"/>
                  <a:gd name="connsiteX62" fmla="*/ 419160 w 1113613"/>
                  <a:gd name="connsiteY62" fmla="*/ 16877 h 896301"/>
                  <a:gd name="connsiteX63" fmla="*/ 436468 w 1113613"/>
                  <a:gd name="connsiteY63" fmla="*/ 12550 h 896301"/>
                  <a:gd name="connsiteX64" fmla="*/ 453775 w 1113613"/>
                  <a:gd name="connsiteY64" fmla="*/ 9305 h 896301"/>
                  <a:gd name="connsiteX65" fmla="*/ 471082 w 1113613"/>
                  <a:gd name="connsiteY65" fmla="*/ 5519 h 896301"/>
                  <a:gd name="connsiteX66" fmla="*/ 488930 w 1113613"/>
                  <a:gd name="connsiteY66" fmla="*/ 4437 h 896301"/>
                  <a:gd name="connsiteX67" fmla="*/ 506237 w 1113613"/>
                  <a:gd name="connsiteY67" fmla="*/ 2274 h 896301"/>
                  <a:gd name="connsiteX68" fmla="*/ 523545 w 1113613"/>
                  <a:gd name="connsiteY68" fmla="*/ 651 h 896301"/>
                  <a:gd name="connsiteX69" fmla="*/ 541393 w 1113613"/>
                  <a:gd name="connsiteY69" fmla="*/ 651 h 896301"/>
                  <a:gd name="connsiteX70" fmla="*/ 558700 w 1113613"/>
                  <a:gd name="connsiteY70" fmla="*/ 110 h 896301"/>
                  <a:gd name="connsiteX71" fmla="*/ 576007 w 1113613"/>
                  <a:gd name="connsiteY71" fmla="*/ 1192 h 896301"/>
                  <a:gd name="connsiteX72" fmla="*/ 593856 w 1113613"/>
                  <a:gd name="connsiteY72" fmla="*/ 110 h 896301"/>
                  <a:gd name="connsiteX73" fmla="*/ 611163 w 1113613"/>
                  <a:gd name="connsiteY73" fmla="*/ 3356 h 896301"/>
                  <a:gd name="connsiteX74" fmla="*/ 629011 w 1113613"/>
                  <a:gd name="connsiteY74" fmla="*/ 3356 h 896301"/>
                  <a:gd name="connsiteX75" fmla="*/ 646318 w 1113613"/>
                  <a:gd name="connsiteY75" fmla="*/ 6601 h 896301"/>
                  <a:gd name="connsiteX76" fmla="*/ 663626 w 1113613"/>
                  <a:gd name="connsiteY76" fmla="*/ 9846 h 896301"/>
                  <a:gd name="connsiteX77" fmla="*/ 680933 w 1113613"/>
                  <a:gd name="connsiteY77" fmla="*/ 13091 h 896301"/>
                  <a:gd name="connsiteX78" fmla="*/ 698240 w 1113613"/>
                  <a:gd name="connsiteY78" fmla="*/ 16877 h 896301"/>
                  <a:gd name="connsiteX79" fmla="*/ 715547 w 1113613"/>
                  <a:gd name="connsiteY79" fmla="*/ 20663 h 896301"/>
                  <a:gd name="connsiteX80" fmla="*/ 731773 w 1113613"/>
                  <a:gd name="connsiteY80" fmla="*/ 27694 h 896301"/>
                  <a:gd name="connsiteX81" fmla="*/ 749080 w 1113613"/>
                  <a:gd name="connsiteY81" fmla="*/ 31480 h 896301"/>
                  <a:gd name="connsiteX82" fmla="*/ 765846 w 1113613"/>
                  <a:gd name="connsiteY82" fmla="*/ 36888 h 896301"/>
                  <a:gd name="connsiteX83" fmla="*/ 782072 w 1113613"/>
                  <a:gd name="connsiteY83" fmla="*/ 44460 h 896301"/>
                  <a:gd name="connsiteX84" fmla="*/ 797756 w 1113613"/>
                  <a:gd name="connsiteY84" fmla="*/ 52573 h 896301"/>
                  <a:gd name="connsiteX85" fmla="*/ 812900 w 1113613"/>
                  <a:gd name="connsiteY85" fmla="*/ 61227 h 896301"/>
                  <a:gd name="connsiteX86" fmla="*/ 829126 w 1113613"/>
                  <a:gd name="connsiteY86" fmla="*/ 67717 h 896301"/>
                  <a:gd name="connsiteX87" fmla="*/ 844811 w 1113613"/>
                  <a:gd name="connsiteY87" fmla="*/ 75830 h 896301"/>
                  <a:gd name="connsiteX88" fmla="*/ 859414 w 1113613"/>
                  <a:gd name="connsiteY88" fmla="*/ 85024 h 896301"/>
                  <a:gd name="connsiteX89" fmla="*/ 872935 w 1113613"/>
                  <a:gd name="connsiteY89" fmla="*/ 96382 h 896301"/>
                  <a:gd name="connsiteX90" fmla="*/ 888079 w 1113613"/>
                  <a:gd name="connsiteY90" fmla="*/ 105576 h 896301"/>
                  <a:gd name="connsiteX91" fmla="*/ 902682 w 1113613"/>
                  <a:gd name="connsiteY91" fmla="*/ 115312 h 896301"/>
                  <a:gd name="connsiteX92" fmla="*/ 915662 w 1113613"/>
                  <a:gd name="connsiteY92" fmla="*/ 127211 h 896301"/>
                  <a:gd name="connsiteX93" fmla="*/ 929184 w 1113613"/>
                  <a:gd name="connsiteY93" fmla="*/ 138568 h 896301"/>
                  <a:gd name="connsiteX94" fmla="*/ 941623 w 1113613"/>
                  <a:gd name="connsiteY94" fmla="*/ 151008 h 896301"/>
                  <a:gd name="connsiteX95" fmla="*/ 955144 w 1113613"/>
                  <a:gd name="connsiteY95" fmla="*/ 162366 h 896301"/>
                  <a:gd name="connsiteX96" fmla="*/ 967584 w 1113613"/>
                  <a:gd name="connsiteY96" fmla="*/ 174806 h 896301"/>
                  <a:gd name="connsiteX97" fmla="*/ 977860 w 1113613"/>
                  <a:gd name="connsiteY97" fmla="*/ 189409 h 896301"/>
                  <a:gd name="connsiteX98" fmla="*/ 989218 w 1113613"/>
                  <a:gd name="connsiteY98" fmla="*/ 202389 h 896301"/>
                  <a:gd name="connsiteX99" fmla="*/ 1001116 w 1113613"/>
                  <a:gd name="connsiteY99" fmla="*/ 215369 h 896301"/>
                  <a:gd name="connsiteX100" fmla="*/ 1011393 w 1113613"/>
                  <a:gd name="connsiteY100" fmla="*/ 229431 h 896301"/>
                  <a:gd name="connsiteX101" fmla="*/ 1022210 w 1113613"/>
                  <a:gd name="connsiteY101" fmla="*/ 243494 h 896301"/>
                  <a:gd name="connsiteX102" fmla="*/ 1030323 w 1113613"/>
                  <a:gd name="connsiteY102" fmla="*/ 259178 h 896301"/>
                  <a:gd name="connsiteX103" fmla="*/ 1040599 w 1113613"/>
                  <a:gd name="connsiteY103" fmla="*/ 273241 h 896301"/>
                  <a:gd name="connsiteX104" fmla="*/ 1048712 w 1113613"/>
                  <a:gd name="connsiteY104" fmla="*/ 288925 h 896301"/>
                  <a:gd name="connsiteX105" fmla="*/ 1056284 w 1113613"/>
                  <a:gd name="connsiteY105" fmla="*/ 304610 h 896301"/>
                  <a:gd name="connsiteX106" fmla="*/ 1065478 w 1113613"/>
                  <a:gd name="connsiteY106" fmla="*/ 319754 h 896301"/>
                  <a:gd name="connsiteX107" fmla="*/ 1072509 w 1113613"/>
                  <a:gd name="connsiteY107" fmla="*/ 335979 h 896301"/>
                  <a:gd name="connsiteX108" fmla="*/ 1079540 w 1113613"/>
                  <a:gd name="connsiteY108" fmla="*/ 352205 h 896301"/>
                  <a:gd name="connsiteX109" fmla="*/ 1084949 w 1113613"/>
                  <a:gd name="connsiteY109" fmla="*/ 368971 h 896301"/>
                  <a:gd name="connsiteX110" fmla="*/ 1090898 w 1113613"/>
                  <a:gd name="connsiteY110" fmla="*/ 385738 h 896301"/>
                  <a:gd name="connsiteX111" fmla="*/ 1096307 w 1113613"/>
                  <a:gd name="connsiteY111" fmla="*/ 402504 h 896301"/>
                  <a:gd name="connsiteX112" fmla="*/ 1101174 w 1113613"/>
                  <a:gd name="connsiteY112" fmla="*/ 419270 h 896301"/>
                  <a:gd name="connsiteX113" fmla="*/ 1104420 w 1113613"/>
                  <a:gd name="connsiteY113" fmla="*/ 436578 h 896301"/>
                  <a:gd name="connsiteX114" fmla="*/ 1108205 w 1113613"/>
                  <a:gd name="connsiteY114" fmla="*/ 453885 h 896301"/>
                  <a:gd name="connsiteX115" fmla="*/ 1113614 w 1113613"/>
                  <a:gd name="connsiteY115" fmla="*/ 470651 h 896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1113613" h="896301">
                    <a:moveTo>
                      <a:pt x="112497" y="896302"/>
                    </a:moveTo>
                    <a:cubicBezTo>
                      <a:pt x="108711" y="891434"/>
                      <a:pt x="104385" y="887107"/>
                      <a:pt x="101140" y="882240"/>
                    </a:cubicBezTo>
                    <a:cubicBezTo>
                      <a:pt x="97894" y="877372"/>
                      <a:pt x="93568" y="872504"/>
                      <a:pt x="90323" y="867637"/>
                    </a:cubicBezTo>
                    <a:cubicBezTo>
                      <a:pt x="87077" y="862769"/>
                      <a:pt x="84373" y="857360"/>
                      <a:pt x="81128" y="851952"/>
                    </a:cubicBezTo>
                    <a:cubicBezTo>
                      <a:pt x="77883" y="846543"/>
                      <a:pt x="76260" y="840594"/>
                      <a:pt x="73556" y="835726"/>
                    </a:cubicBezTo>
                    <a:cubicBezTo>
                      <a:pt x="70311" y="830318"/>
                      <a:pt x="67606" y="825450"/>
                      <a:pt x="64902" y="820042"/>
                    </a:cubicBezTo>
                    <a:cubicBezTo>
                      <a:pt x="62198" y="814633"/>
                      <a:pt x="57872" y="809766"/>
                      <a:pt x="55708" y="804357"/>
                    </a:cubicBezTo>
                    <a:cubicBezTo>
                      <a:pt x="53004" y="798948"/>
                      <a:pt x="50840" y="792999"/>
                      <a:pt x="48677" y="787591"/>
                    </a:cubicBezTo>
                    <a:cubicBezTo>
                      <a:pt x="45972" y="782182"/>
                      <a:pt x="44891" y="776233"/>
                      <a:pt x="42727" y="770283"/>
                    </a:cubicBezTo>
                    <a:cubicBezTo>
                      <a:pt x="40564" y="764875"/>
                      <a:pt x="36237" y="760007"/>
                      <a:pt x="34074" y="754058"/>
                    </a:cubicBezTo>
                    <a:cubicBezTo>
                      <a:pt x="31910" y="748649"/>
                      <a:pt x="30288" y="742700"/>
                      <a:pt x="28125" y="736751"/>
                    </a:cubicBezTo>
                    <a:cubicBezTo>
                      <a:pt x="25961" y="730801"/>
                      <a:pt x="24338" y="725393"/>
                      <a:pt x="22716" y="719443"/>
                    </a:cubicBezTo>
                    <a:cubicBezTo>
                      <a:pt x="21093" y="713494"/>
                      <a:pt x="21093" y="707544"/>
                      <a:pt x="19471" y="701595"/>
                    </a:cubicBezTo>
                    <a:cubicBezTo>
                      <a:pt x="17848" y="695646"/>
                      <a:pt x="15144" y="690237"/>
                      <a:pt x="13521" y="684288"/>
                    </a:cubicBezTo>
                    <a:cubicBezTo>
                      <a:pt x="11899" y="678338"/>
                      <a:pt x="10817" y="672389"/>
                      <a:pt x="9736" y="666440"/>
                    </a:cubicBezTo>
                    <a:cubicBezTo>
                      <a:pt x="8653" y="660490"/>
                      <a:pt x="7572" y="654541"/>
                      <a:pt x="6491" y="648592"/>
                    </a:cubicBezTo>
                    <a:cubicBezTo>
                      <a:pt x="5409" y="642642"/>
                      <a:pt x="4868" y="636693"/>
                      <a:pt x="4327" y="630744"/>
                    </a:cubicBezTo>
                    <a:cubicBezTo>
                      <a:pt x="3786" y="624794"/>
                      <a:pt x="3245" y="618845"/>
                      <a:pt x="2704" y="612895"/>
                    </a:cubicBezTo>
                    <a:cubicBezTo>
                      <a:pt x="2164" y="606946"/>
                      <a:pt x="1082" y="600997"/>
                      <a:pt x="1082" y="595047"/>
                    </a:cubicBezTo>
                    <a:cubicBezTo>
                      <a:pt x="541" y="589098"/>
                      <a:pt x="1623" y="583149"/>
                      <a:pt x="1623" y="576658"/>
                    </a:cubicBezTo>
                    <a:cubicBezTo>
                      <a:pt x="1623" y="570709"/>
                      <a:pt x="0" y="564760"/>
                      <a:pt x="0" y="558810"/>
                    </a:cubicBezTo>
                    <a:cubicBezTo>
                      <a:pt x="0" y="552861"/>
                      <a:pt x="541" y="546912"/>
                      <a:pt x="1082" y="541503"/>
                    </a:cubicBezTo>
                    <a:cubicBezTo>
                      <a:pt x="1082" y="535554"/>
                      <a:pt x="1623" y="529604"/>
                      <a:pt x="2164" y="524196"/>
                    </a:cubicBezTo>
                    <a:cubicBezTo>
                      <a:pt x="2704" y="518246"/>
                      <a:pt x="3786" y="512838"/>
                      <a:pt x="4327" y="506889"/>
                    </a:cubicBezTo>
                    <a:cubicBezTo>
                      <a:pt x="4868" y="500939"/>
                      <a:pt x="3245" y="494990"/>
                      <a:pt x="3786" y="489040"/>
                    </a:cubicBezTo>
                    <a:cubicBezTo>
                      <a:pt x="4327" y="483091"/>
                      <a:pt x="5949" y="477682"/>
                      <a:pt x="7031" y="471733"/>
                    </a:cubicBezTo>
                    <a:cubicBezTo>
                      <a:pt x="8113" y="465784"/>
                      <a:pt x="8113" y="459834"/>
                      <a:pt x="9195" y="454426"/>
                    </a:cubicBezTo>
                    <a:cubicBezTo>
                      <a:pt x="10276" y="448476"/>
                      <a:pt x="11358" y="443068"/>
                      <a:pt x="12440" y="437119"/>
                    </a:cubicBezTo>
                    <a:cubicBezTo>
                      <a:pt x="13521" y="431169"/>
                      <a:pt x="14603" y="425761"/>
                      <a:pt x="16226" y="419811"/>
                    </a:cubicBezTo>
                    <a:cubicBezTo>
                      <a:pt x="17848" y="413862"/>
                      <a:pt x="19471" y="408453"/>
                      <a:pt x="21093" y="403045"/>
                    </a:cubicBezTo>
                    <a:cubicBezTo>
                      <a:pt x="22716" y="397636"/>
                      <a:pt x="25961" y="392228"/>
                      <a:pt x="28125" y="386819"/>
                    </a:cubicBezTo>
                    <a:cubicBezTo>
                      <a:pt x="29747" y="381411"/>
                      <a:pt x="30829" y="375461"/>
                      <a:pt x="32992" y="370053"/>
                    </a:cubicBezTo>
                    <a:cubicBezTo>
                      <a:pt x="35155" y="364644"/>
                      <a:pt x="37860" y="359236"/>
                      <a:pt x="40023" y="353827"/>
                    </a:cubicBezTo>
                    <a:cubicBezTo>
                      <a:pt x="42187" y="348419"/>
                      <a:pt x="43268" y="342470"/>
                      <a:pt x="45432" y="337061"/>
                    </a:cubicBezTo>
                    <a:cubicBezTo>
                      <a:pt x="47595" y="331653"/>
                      <a:pt x="50299" y="326244"/>
                      <a:pt x="53004" y="321376"/>
                    </a:cubicBezTo>
                    <a:cubicBezTo>
                      <a:pt x="55708" y="315968"/>
                      <a:pt x="58412" y="311100"/>
                      <a:pt x="61117" y="305692"/>
                    </a:cubicBezTo>
                    <a:cubicBezTo>
                      <a:pt x="63821" y="300283"/>
                      <a:pt x="66525" y="295415"/>
                      <a:pt x="69229" y="290007"/>
                    </a:cubicBezTo>
                    <a:cubicBezTo>
                      <a:pt x="71934" y="285139"/>
                      <a:pt x="74638" y="279190"/>
                      <a:pt x="77342" y="274322"/>
                    </a:cubicBezTo>
                    <a:cubicBezTo>
                      <a:pt x="80587" y="269455"/>
                      <a:pt x="83832" y="264587"/>
                      <a:pt x="87077" y="259719"/>
                    </a:cubicBezTo>
                    <a:cubicBezTo>
                      <a:pt x="90323" y="254852"/>
                      <a:pt x="93568" y="249984"/>
                      <a:pt x="96813" y="245116"/>
                    </a:cubicBezTo>
                    <a:cubicBezTo>
                      <a:pt x="100058" y="240249"/>
                      <a:pt x="104385" y="235922"/>
                      <a:pt x="107630" y="231054"/>
                    </a:cubicBezTo>
                    <a:cubicBezTo>
                      <a:pt x="110875" y="226186"/>
                      <a:pt x="113579" y="220778"/>
                      <a:pt x="116824" y="216451"/>
                    </a:cubicBezTo>
                    <a:cubicBezTo>
                      <a:pt x="120610" y="211583"/>
                      <a:pt x="123314" y="206716"/>
                      <a:pt x="127100" y="202389"/>
                    </a:cubicBezTo>
                    <a:cubicBezTo>
                      <a:pt x="130887" y="198062"/>
                      <a:pt x="134672" y="193735"/>
                      <a:pt x="138458" y="189409"/>
                    </a:cubicBezTo>
                    <a:cubicBezTo>
                      <a:pt x="142244" y="185082"/>
                      <a:pt x="146030" y="180755"/>
                      <a:pt x="150357" y="176428"/>
                    </a:cubicBezTo>
                    <a:cubicBezTo>
                      <a:pt x="154143" y="172101"/>
                      <a:pt x="159551" y="168856"/>
                      <a:pt x="163878" y="165070"/>
                    </a:cubicBezTo>
                    <a:cubicBezTo>
                      <a:pt x="168205" y="161284"/>
                      <a:pt x="170909" y="155335"/>
                      <a:pt x="175236" y="151549"/>
                    </a:cubicBezTo>
                    <a:cubicBezTo>
                      <a:pt x="179563" y="147763"/>
                      <a:pt x="184972" y="144518"/>
                      <a:pt x="189298" y="140732"/>
                    </a:cubicBezTo>
                    <a:cubicBezTo>
                      <a:pt x="193625" y="136946"/>
                      <a:pt x="197952" y="133160"/>
                      <a:pt x="202819" y="129374"/>
                    </a:cubicBezTo>
                    <a:cubicBezTo>
                      <a:pt x="207146" y="125588"/>
                      <a:pt x="212555" y="122884"/>
                      <a:pt x="216881" y="119098"/>
                    </a:cubicBezTo>
                    <a:cubicBezTo>
                      <a:pt x="221749" y="115312"/>
                      <a:pt x="224994" y="109903"/>
                      <a:pt x="229321" y="106658"/>
                    </a:cubicBezTo>
                    <a:cubicBezTo>
                      <a:pt x="234189" y="103413"/>
                      <a:pt x="239057" y="100168"/>
                      <a:pt x="243924" y="96923"/>
                    </a:cubicBezTo>
                    <a:cubicBezTo>
                      <a:pt x="248792" y="93678"/>
                      <a:pt x="253660" y="90433"/>
                      <a:pt x="258527" y="87188"/>
                    </a:cubicBezTo>
                    <a:cubicBezTo>
                      <a:pt x="263395" y="83942"/>
                      <a:pt x="268262" y="80697"/>
                      <a:pt x="273130" y="77452"/>
                    </a:cubicBezTo>
                    <a:cubicBezTo>
                      <a:pt x="277998" y="74207"/>
                      <a:pt x="284488" y="73666"/>
                      <a:pt x="289356" y="70962"/>
                    </a:cubicBezTo>
                    <a:cubicBezTo>
                      <a:pt x="294224" y="68258"/>
                      <a:pt x="298551" y="63390"/>
                      <a:pt x="303959" y="60686"/>
                    </a:cubicBezTo>
                    <a:cubicBezTo>
                      <a:pt x="309368" y="57982"/>
                      <a:pt x="314776" y="56359"/>
                      <a:pt x="320185" y="53655"/>
                    </a:cubicBezTo>
                    <a:cubicBezTo>
                      <a:pt x="325593" y="50950"/>
                      <a:pt x="331002" y="49328"/>
                      <a:pt x="336410" y="47164"/>
                    </a:cubicBezTo>
                    <a:cubicBezTo>
                      <a:pt x="341819" y="45001"/>
                      <a:pt x="347227" y="42838"/>
                      <a:pt x="352636" y="40674"/>
                    </a:cubicBezTo>
                    <a:cubicBezTo>
                      <a:pt x="358044" y="38511"/>
                      <a:pt x="363453" y="35807"/>
                      <a:pt x="368861" y="34184"/>
                    </a:cubicBezTo>
                    <a:cubicBezTo>
                      <a:pt x="374270" y="32021"/>
                      <a:pt x="379137" y="28776"/>
                      <a:pt x="385087" y="26612"/>
                    </a:cubicBezTo>
                    <a:cubicBezTo>
                      <a:pt x="390495" y="24990"/>
                      <a:pt x="396985" y="24449"/>
                      <a:pt x="402394" y="22826"/>
                    </a:cubicBezTo>
                    <a:cubicBezTo>
                      <a:pt x="407802" y="21204"/>
                      <a:pt x="413211" y="18499"/>
                      <a:pt x="419160" y="16877"/>
                    </a:cubicBezTo>
                    <a:cubicBezTo>
                      <a:pt x="424569" y="15254"/>
                      <a:pt x="430518" y="14173"/>
                      <a:pt x="436468" y="12550"/>
                    </a:cubicBezTo>
                    <a:cubicBezTo>
                      <a:pt x="442417" y="11468"/>
                      <a:pt x="447826" y="10387"/>
                      <a:pt x="453775" y="9305"/>
                    </a:cubicBezTo>
                    <a:cubicBezTo>
                      <a:pt x="459724" y="8223"/>
                      <a:pt x="465133" y="6601"/>
                      <a:pt x="471082" y="5519"/>
                    </a:cubicBezTo>
                    <a:cubicBezTo>
                      <a:pt x="477032" y="4437"/>
                      <a:pt x="482981" y="5519"/>
                      <a:pt x="488930" y="4437"/>
                    </a:cubicBezTo>
                    <a:cubicBezTo>
                      <a:pt x="494879" y="3896"/>
                      <a:pt x="500288" y="2815"/>
                      <a:pt x="506237" y="2274"/>
                    </a:cubicBezTo>
                    <a:cubicBezTo>
                      <a:pt x="512187" y="1733"/>
                      <a:pt x="517596" y="651"/>
                      <a:pt x="523545" y="651"/>
                    </a:cubicBezTo>
                    <a:cubicBezTo>
                      <a:pt x="529494" y="110"/>
                      <a:pt x="535443" y="651"/>
                      <a:pt x="541393" y="651"/>
                    </a:cubicBezTo>
                    <a:cubicBezTo>
                      <a:pt x="547342" y="651"/>
                      <a:pt x="553292" y="110"/>
                      <a:pt x="558700" y="110"/>
                    </a:cubicBezTo>
                    <a:cubicBezTo>
                      <a:pt x="564649" y="110"/>
                      <a:pt x="570599" y="1192"/>
                      <a:pt x="576007" y="1192"/>
                    </a:cubicBezTo>
                    <a:cubicBezTo>
                      <a:pt x="581956" y="1192"/>
                      <a:pt x="587906" y="-430"/>
                      <a:pt x="593856" y="110"/>
                    </a:cubicBezTo>
                    <a:cubicBezTo>
                      <a:pt x="599805" y="651"/>
                      <a:pt x="605213" y="2815"/>
                      <a:pt x="611163" y="3356"/>
                    </a:cubicBezTo>
                    <a:cubicBezTo>
                      <a:pt x="617112" y="3896"/>
                      <a:pt x="623062" y="2815"/>
                      <a:pt x="629011" y="3356"/>
                    </a:cubicBezTo>
                    <a:cubicBezTo>
                      <a:pt x="634960" y="3896"/>
                      <a:pt x="640369" y="6060"/>
                      <a:pt x="646318" y="6601"/>
                    </a:cubicBezTo>
                    <a:cubicBezTo>
                      <a:pt x="652267" y="7682"/>
                      <a:pt x="657676" y="8764"/>
                      <a:pt x="663626" y="9846"/>
                    </a:cubicBezTo>
                    <a:cubicBezTo>
                      <a:pt x="669575" y="10927"/>
                      <a:pt x="674983" y="12009"/>
                      <a:pt x="680933" y="13091"/>
                    </a:cubicBezTo>
                    <a:cubicBezTo>
                      <a:pt x="686882" y="14173"/>
                      <a:pt x="692290" y="15254"/>
                      <a:pt x="698240" y="16877"/>
                    </a:cubicBezTo>
                    <a:cubicBezTo>
                      <a:pt x="704189" y="18499"/>
                      <a:pt x="709598" y="19040"/>
                      <a:pt x="715547" y="20663"/>
                    </a:cubicBezTo>
                    <a:cubicBezTo>
                      <a:pt x="720956" y="22285"/>
                      <a:pt x="726364" y="26071"/>
                      <a:pt x="731773" y="27694"/>
                    </a:cubicBezTo>
                    <a:cubicBezTo>
                      <a:pt x="737181" y="29316"/>
                      <a:pt x="743671" y="29857"/>
                      <a:pt x="749080" y="31480"/>
                    </a:cubicBezTo>
                    <a:cubicBezTo>
                      <a:pt x="754488" y="33643"/>
                      <a:pt x="760437" y="34725"/>
                      <a:pt x="765846" y="36888"/>
                    </a:cubicBezTo>
                    <a:cubicBezTo>
                      <a:pt x="771254" y="39052"/>
                      <a:pt x="776663" y="41756"/>
                      <a:pt x="782072" y="44460"/>
                    </a:cubicBezTo>
                    <a:cubicBezTo>
                      <a:pt x="787480" y="46624"/>
                      <a:pt x="792348" y="49869"/>
                      <a:pt x="797756" y="52573"/>
                    </a:cubicBezTo>
                    <a:cubicBezTo>
                      <a:pt x="803165" y="55277"/>
                      <a:pt x="808033" y="58522"/>
                      <a:pt x="812900" y="61227"/>
                    </a:cubicBezTo>
                    <a:cubicBezTo>
                      <a:pt x="818309" y="63931"/>
                      <a:pt x="824258" y="65013"/>
                      <a:pt x="829126" y="67717"/>
                    </a:cubicBezTo>
                    <a:cubicBezTo>
                      <a:pt x="833994" y="70421"/>
                      <a:pt x="839402" y="73125"/>
                      <a:pt x="844811" y="75830"/>
                    </a:cubicBezTo>
                    <a:cubicBezTo>
                      <a:pt x="849678" y="79075"/>
                      <a:pt x="854546" y="82320"/>
                      <a:pt x="859414" y="85024"/>
                    </a:cubicBezTo>
                    <a:cubicBezTo>
                      <a:pt x="864281" y="88269"/>
                      <a:pt x="868067" y="93137"/>
                      <a:pt x="872935" y="96382"/>
                    </a:cubicBezTo>
                    <a:cubicBezTo>
                      <a:pt x="877803" y="99627"/>
                      <a:pt x="883211" y="102331"/>
                      <a:pt x="888079" y="105576"/>
                    </a:cubicBezTo>
                    <a:cubicBezTo>
                      <a:pt x="892946" y="108822"/>
                      <a:pt x="898355" y="111526"/>
                      <a:pt x="902682" y="115312"/>
                    </a:cubicBezTo>
                    <a:cubicBezTo>
                      <a:pt x="907550" y="119098"/>
                      <a:pt x="911335" y="123425"/>
                      <a:pt x="915662" y="127211"/>
                    </a:cubicBezTo>
                    <a:cubicBezTo>
                      <a:pt x="919989" y="130996"/>
                      <a:pt x="924857" y="134242"/>
                      <a:pt x="929184" y="138568"/>
                    </a:cubicBezTo>
                    <a:cubicBezTo>
                      <a:pt x="933510" y="142354"/>
                      <a:pt x="937296" y="147222"/>
                      <a:pt x="941623" y="151008"/>
                    </a:cubicBezTo>
                    <a:cubicBezTo>
                      <a:pt x="945950" y="154794"/>
                      <a:pt x="950818" y="158039"/>
                      <a:pt x="955144" y="162366"/>
                    </a:cubicBezTo>
                    <a:cubicBezTo>
                      <a:pt x="959471" y="166693"/>
                      <a:pt x="963257" y="170479"/>
                      <a:pt x="967584" y="174806"/>
                    </a:cubicBezTo>
                    <a:cubicBezTo>
                      <a:pt x="971370" y="179132"/>
                      <a:pt x="974074" y="184541"/>
                      <a:pt x="977860" y="189409"/>
                    </a:cubicBezTo>
                    <a:cubicBezTo>
                      <a:pt x="981646" y="193735"/>
                      <a:pt x="985432" y="198062"/>
                      <a:pt x="989218" y="202389"/>
                    </a:cubicBezTo>
                    <a:cubicBezTo>
                      <a:pt x="993004" y="206716"/>
                      <a:pt x="997872" y="210502"/>
                      <a:pt x="1001116" y="215369"/>
                    </a:cubicBezTo>
                    <a:cubicBezTo>
                      <a:pt x="1004903" y="220237"/>
                      <a:pt x="1008148" y="224564"/>
                      <a:pt x="1011393" y="229431"/>
                    </a:cubicBezTo>
                    <a:cubicBezTo>
                      <a:pt x="1014638" y="234299"/>
                      <a:pt x="1018965" y="238626"/>
                      <a:pt x="1022210" y="243494"/>
                    </a:cubicBezTo>
                    <a:cubicBezTo>
                      <a:pt x="1025455" y="248361"/>
                      <a:pt x="1027078" y="254311"/>
                      <a:pt x="1030323" y="259178"/>
                    </a:cubicBezTo>
                    <a:cubicBezTo>
                      <a:pt x="1033568" y="264046"/>
                      <a:pt x="1037895" y="268373"/>
                      <a:pt x="1040599" y="273241"/>
                    </a:cubicBezTo>
                    <a:cubicBezTo>
                      <a:pt x="1043844" y="278108"/>
                      <a:pt x="1046007" y="283517"/>
                      <a:pt x="1048712" y="288925"/>
                    </a:cubicBezTo>
                    <a:cubicBezTo>
                      <a:pt x="1051416" y="293793"/>
                      <a:pt x="1053580" y="299742"/>
                      <a:pt x="1056284" y="304610"/>
                    </a:cubicBezTo>
                    <a:cubicBezTo>
                      <a:pt x="1058988" y="310018"/>
                      <a:pt x="1062774" y="314345"/>
                      <a:pt x="1065478" y="319754"/>
                    </a:cubicBezTo>
                    <a:cubicBezTo>
                      <a:pt x="1068182" y="325162"/>
                      <a:pt x="1070346" y="330571"/>
                      <a:pt x="1072509" y="335979"/>
                    </a:cubicBezTo>
                    <a:cubicBezTo>
                      <a:pt x="1074673" y="341388"/>
                      <a:pt x="1077377" y="346796"/>
                      <a:pt x="1079540" y="352205"/>
                    </a:cubicBezTo>
                    <a:cubicBezTo>
                      <a:pt x="1081704" y="357613"/>
                      <a:pt x="1082786" y="363563"/>
                      <a:pt x="1084949" y="368971"/>
                    </a:cubicBezTo>
                    <a:cubicBezTo>
                      <a:pt x="1087112" y="374380"/>
                      <a:pt x="1089276" y="379788"/>
                      <a:pt x="1090898" y="385738"/>
                    </a:cubicBezTo>
                    <a:cubicBezTo>
                      <a:pt x="1092521" y="391146"/>
                      <a:pt x="1094684" y="397096"/>
                      <a:pt x="1096307" y="402504"/>
                    </a:cubicBezTo>
                    <a:cubicBezTo>
                      <a:pt x="1097929" y="407913"/>
                      <a:pt x="1100093" y="413862"/>
                      <a:pt x="1101174" y="419270"/>
                    </a:cubicBezTo>
                    <a:cubicBezTo>
                      <a:pt x="1102797" y="424679"/>
                      <a:pt x="1102797" y="430628"/>
                      <a:pt x="1104420" y="436578"/>
                    </a:cubicBezTo>
                    <a:cubicBezTo>
                      <a:pt x="1105501" y="442527"/>
                      <a:pt x="1107124" y="447936"/>
                      <a:pt x="1108205" y="453885"/>
                    </a:cubicBezTo>
                    <a:cubicBezTo>
                      <a:pt x="1109287" y="459834"/>
                      <a:pt x="1112533" y="465243"/>
                      <a:pt x="1113614" y="470651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DDE0E98-F65D-BBBE-0DC3-7D0F1540A538}"/>
                  </a:ext>
                </a:extLst>
              </p:cNvPr>
              <p:cNvSpPr/>
              <p:nvPr/>
            </p:nvSpPr>
            <p:spPr>
              <a:xfrm flipH="1">
                <a:off x="11384925" y="1778089"/>
                <a:ext cx="77498" cy="32698"/>
              </a:xfrm>
              <a:custGeom>
                <a:avLst/>
                <a:gdLst>
                  <a:gd name="connsiteX0" fmla="*/ 93567 w 93566"/>
                  <a:gd name="connsiteY0" fmla="*/ 0 h 37318"/>
                  <a:gd name="connsiteX1" fmla="*/ 78424 w 93566"/>
                  <a:gd name="connsiteY1" fmla="*/ 7031 h 37318"/>
                  <a:gd name="connsiteX2" fmla="*/ 62739 w 93566"/>
                  <a:gd name="connsiteY2" fmla="*/ 12440 h 37318"/>
                  <a:gd name="connsiteX3" fmla="*/ 47054 w 93566"/>
                  <a:gd name="connsiteY3" fmla="*/ 18930 h 37318"/>
                  <a:gd name="connsiteX4" fmla="*/ 30828 w 93566"/>
                  <a:gd name="connsiteY4" fmla="*/ 23797 h 37318"/>
                  <a:gd name="connsiteX5" fmla="*/ 15143 w 93566"/>
                  <a:gd name="connsiteY5" fmla="*/ 29747 h 37318"/>
                  <a:gd name="connsiteX6" fmla="*/ 0 w 93566"/>
                  <a:gd name="connsiteY6" fmla="*/ 37319 h 3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566" h="37318">
                    <a:moveTo>
                      <a:pt x="93567" y="0"/>
                    </a:moveTo>
                    <a:cubicBezTo>
                      <a:pt x="85995" y="3245"/>
                      <a:pt x="85995" y="3786"/>
                      <a:pt x="78424" y="7031"/>
                    </a:cubicBezTo>
                    <a:cubicBezTo>
                      <a:pt x="70851" y="10276"/>
                      <a:pt x="70311" y="9735"/>
                      <a:pt x="62739" y="12440"/>
                    </a:cubicBezTo>
                    <a:cubicBezTo>
                      <a:pt x="55167" y="15685"/>
                      <a:pt x="55167" y="15685"/>
                      <a:pt x="47054" y="18930"/>
                    </a:cubicBezTo>
                    <a:cubicBezTo>
                      <a:pt x="39482" y="22175"/>
                      <a:pt x="38941" y="21093"/>
                      <a:pt x="30828" y="23797"/>
                    </a:cubicBezTo>
                    <a:cubicBezTo>
                      <a:pt x="23256" y="27043"/>
                      <a:pt x="23256" y="27043"/>
                      <a:pt x="15143" y="29747"/>
                    </a:cubicBezTo>
                    <a:cubicBezTo>
                      <a:pt x="7571" y="32992"/>
                      <a:pt x="8113" y="34074"/>
                      <a:pt x="0" y="37319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0117131-4E77-E40A-62BA-C93A137FCC9E}"/>
                  </a:ext>
                </a:extLst>
              </p:cNvPr>
              <p:cNvSpPr/>
              <p:nvPr/>
            </p:nvSpPr>
            <p:spPr>
              <a:xfrm flipH="1">
                <a:off x="11414938" y="1638216"/>
                <a:ext cx="325229" cy="10598"/>
              </a:xfrm>
              <a:custGeom>
                <a:avLst/>
                <a:gdLst>
                  <a:gd name="connsiteX0" fmla="*/ 392658 w 392658"/>
                  <a:gd name="connsiteY0" fmla="*/ 88 h 12096"/>
                  <a:gd name="connsiteX1" fmla="*/ 374810 w 392658"/>
                  <a:gd name="connsiteY1" fmla="*/ 1169 h 12096"/>
                  <a:gd name="connsiteX2" fmla="*/ 356962 w 392658"/>
                  <a:gd name="connsiteY2" fmla="*/ 88 h 12096"/>
                  <a:gd name="connsiteX3" fmla="*/ 339114 w 392658"/>
                  <a:gd name="connsiteY3" fmla="*/ 2792 h 12096"/>
                  <a:gd name="connsiteX4" fmla="*/ 321265 w 392658"/>
                  <a:gd name="connsiteY4" fmla="*/ 2792 h 12096"/>
                  <a:gd name="connsiteX5" fmla="*/ 303418 w 392658"/>
                  <a:gd name="connsiteY5" fmla="*/ 2792 h 12096"/>
                  <a:gd name="connsiteX6" fmla="*/ 285569 w 392658"/>
                  <a:gd name="connsiteY6" fmla="*/ 1710 h 12096"/>
                  <a:gd name="connsiteX7" fmla="*/ 267722 w 392658"/>
                  <a:gd name="connsiteY7" fmla="*/ 2251 h 12096"/>
                  <a:gd name="connsiteX8" fmla="*/ 249873 w 392658"/>
                  <a:gd name="connsiteY8" fmla="*/ 4955 h 12096"/>
                  <a:gd name="connsiteX9" fmla="*/ 232025 w 392658"/>
                  <a:gd name="connsiteY9" fmla="*/ 3873 h 12096"/>
                  <a:gd name="connsiteX10" fmla="*/ 214177 w 392658"/>
                  <a:gd name="connsiteY10" fmla="*/ 4414 h 12096"/>
                  <a:gd name="connsiteX11" fmla="*/ 196329 w 392658"/>
                  <a:gd name="connsiteY11" fmla="*/ 6037 h 12096"/>
                  <a:gd name="connsiteX12" fmla="*/ 178481 w 392658"/>
                  <a:gd name="connsiteY12" fmla="*/ 7659 h 12096"/>
                  <a:gd name="connsiteX13" fmla="*/ 160633 w 392658"/>
                  <a:gd name="connsiteY13" fmla="*/ 7659 h 12096"/>
                  <a:gd name="connsiteX14" fmla="*/ 142784 w 392658"/>
                  <a:gd name="connsiteY14" fmla="*/ 6037 h 12096"/>
                  <a:gd name="connsiteX15" fmla="*/ 124937 w 392658"/>
                  <a:gd name="connsiteY15" fmla="*/ 8200 h 12096"/>
                  <a:gd name="connsiteX16" fmla="*/ 107088 w 392658"/>
                  <a:gd name="connsiteY16" fmla="*/ 9282 h 12096"/>
                  <a:gd name="connsiteX17" fmla="*/ 89241 w 392658"/>
                  <a:gd name="connsiteY17" fmla="*/ 8200 h 12096"/>
                  <a:gd name="connsiteX18" fmla="*/ 71392 w 392658"/>
                  <a:gd name="connsiteY18" fmla="*/ 9823 h 12096"/>
                  <a:gd name="connsiteX19" fmla="*/ 53544 w 392658"/>
                  <a:gd name="connsiteY19" fmla="*/ 10364 h 12096"/>
                  <a:gd name="connsiteX20" fmla="*/ 35696 w 392658"/>
                  <a:gd name="connsiteY20" fmla="*/ 9282 h 12096"/>
                  <a:gd name="connsiteX21" fmla="*/ 17848 w 392658"/>
                  <a:gd name="connsiteY21" fmla="*/ 11986 h 12096"/>
                  <a:gd name="connsiteX22" fmla="*/ 0 w 392658"/>
                  <a:gd name="connsiteY22" fmla="*/ 10905 h 12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92658" h="12096">
                    <a:moveTo>
                      <a:pt x="392658" y="88"/>
                    </a:moveTo>
                    <a:cubicBezTo>
                      <a:pt x="383463" y="628"/>
                      <a:pt x="384005" y="628"/>
                      <a:pt x="374810" y="1169"/>
                    </a:cubicBezTo>
                    <a:cubicBezTo>
                      <a:pt x="365616" y="1710"/>
                      <a:pt x="365616" y="-453"/>
                      <a:pt x="356962" y="88"/>
                    </a:cubicBezTo>
                    <a:cubicBezTo>
                      <a:pt x="347767" y="628"/>
                      <a:pt x="348308" y="2251"/>
                      <a:pt x="339114" y="2792"/>
                    </a:cubicBezTo>
                    <a:cubicBezTo>
                      <a:pt x="329920" y="3333"/>
                      <a:pt x="329920" y="2792"/>
                      <a:pt x="321265" y="2792"/>
                    </a:cubicBezTo>
                    <a:cubicBezTo>
                      <a:pt x="312071" y="3333"/>
                      <a:pt x="312071" y="2792"/>
                      <a:pt x="303418" y="2792"/>
                    </a:cubicBezTo>
                    <a:cubicBezTo>
                      <a:pt x="294223" y="3333"/>
                      <a:pt x="294223" y="1169"/>
                      <a:pt x="285569" y="1710"/>
                    </a:cubicBezTo>
                    <a:cubicBezTo>
                      <a:pt x="276375" y="2251"/>
                      <a:pt x="276375" y="2251"/>
                      <a:pt x="267722" y="2251"/>
                    </a:cubicBezTo>
                    <a:cubicBezTo>
                      <a:pt x="258527" y="2792"/>
                      <a:pt x="259067" y="4414"/>
                      <a:pt x="249873" y="4955"/>
                    </a:cubicBezTo>
                    <a:cubicBezTo>
                      <a:pt x="240679" y="5496"/>
                      <a:pt x="240679" y="3333"/>
                      <a:pt x="232025" y="3873"/>
                    </a:cubicBezTo>
                    <a:cubicBezTo>
                      <a:pt x="222831" y="4414"/>
                      <a:pt x="222831" y="4414"/>
                      <a:pt x="214177" y="4414"/>
                    </a:cubicBezTo>
                    <a:cubicBezTo>
                      <a:pt x="204982" y="4955"/>
                      <a:pt x="205524" y="5496"/>
                      <a:pt x="196329" y="6037"/>
                    </a:cubicBezTo>
                    <a:cubicBezTo>
                      <a:pt x="187135" y="6578"/>
                      <a:pt x="187675" y="7119"/>
                      <a:pt x="178481" y="7659"/>
                    </a:cubicBezTo>
                    <a:cubicBezTo>
                      <a:pt x="169286" y="8200"/>
                      <a:pt x="169286" y="7659"/>
                      <a:pt x="160633" y="7659"/>
                    </a:cubicBezTo>
                    <a:cubicBezTo>
                      <a:pt x="151438" y="8200"/>
                      <a:pt x="151438" y="6037"/>
                      <a:pt x="142784" y="6037"/>
                    </a:cubicBezTo>
                    <a:cubicBezTo>
                      <a:pt x="133590" y="6578"/>
                      <a:pt x="134131" y="8200"/>
                      <a:pt x="124937" y="8200"/>
                    </a:cubicBezTo>
                    <a:cubicBezTo>
                      <a:pt x="115742" y="8200"/>
                      <a:pt x="115742" y="9282"/>
                      <a:pt x="107088" y="9282"/>
                    </a:cubicBezTo>
                    <a:cubicBezTo>
                      <a:pt x="97894" y="9823"/>
                      <a:pt x="97894" y="7659"/>
                      <a:pt x="89241" y="8200"/>
                    </a:cubicBezTo>
                    <a:cubicBezTo>
                      <a:pt x="80046" y="8741"/>
                      <a:pt x="80586" y="9823"/>
                      <a:pt x="71392" y="9823"/>
                    </a:cubicBezTo>
                    <a:cubicBezTo>
                      <a:pt x="62198" y="10364"/>
                      <a:pt x="62198" y="9823"/>
                      <a:pt x="53544" y="10364"/>
                    </a:cubicBezTo>
                    <a:cubicBezTo>
                      <a:pt x="44350" y="10905"/>
                      <a:pt x="44350" y="8741"/>
                      <a:pt x="35696" y="9282"/>
                    </a:cubicBezTo>
                    <a:cubicBezTo>
                      <a:pt x="26501" y="9823"/>
                      <a:pt x="27043" y="11445"/>
                      <a:pt x="17848" y="11986"/>
                    </a:cubicBezTo>
                    <a:cubicBezTo>
                      <a:pt x="8653" y="12527"/>
                      <a:pt x="8653" y="10905"/>
                      <a:pt x="0" y="10905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95BDB1AC-A5FD-2AB1-7D2D-3A6809E2C988}"/>
                  </a:ext>
                </a:extLst>
              </p:cNvPr>
              <p:cNvSpPr/>
              <p:nvPr/>
            </p:nvSpPr>
            <p:spPr>
              <a:xfrm flipH="1">
                <a:off x="11409115" y="1435468"/>
                <a:ext cx="633435" cy="32698"/>
              </a:xfrm>
              <a:custGeom>
                <a:avLst/>
                <a:gdLst>
                  <a:gd name="connsiteX0" fmla="*/ 764764 w 764764"/>
                  <a:gd name="connsiteY0" fmla="*/ 36778 h 37318"/>
                  <a:gd name="connsiteX1" fmla="*/ 747457 w 764764"/>
                  <a:gd name="connsiteY1" fmla="*/ 37319 h 37318"/>
                  <a:gd name="connsiteX2" fmla="*/ 730150 w 764764"/>
                  <a:gd name="connsiteY2" fmla="*/ 36778 h 37318"/>
                  <a:gd name="connsiteX3" fmla="*/ 712843 w 764764"/>
                  <a:gd name="connsiteY3" fmla="*/ 35696 h 37318"/>
                  <a:gd name="connsiteX4" fmla="*/ 695536 w 764764"/>
                  <a:gd name="connsiteY4" fmla="*/ 34074 h 37318"/>
                  <a:gd name="connsiteX5" fmla="*/ 678228 w 764764"/>
                  <a:gd name="connsiteY5" fmla="*/ 33533 h 37318"/>
                  <a:gd name="connsiteX6" fmla="*/ 660921 w 764764"/>
                  <a:gd name="connsiteY6" fmla="*/ 31910 h 37318"/>
                  <a:gd name="connsiteX7" fmla="*/ 643614 w 764764"/>
                  <a:gd name="connsiteY7" fmla="*/ 31910 h 37318"/>
                  <a:gd name="connsiteX8" fmla="*/ 626306 w 764764"/>
                  <a:gd name="connsiteY8" fmla="*/ 30288 h 37318"/>
                  <a:gd name="connsiteX9" fmla="*/ 608999 w 764764"/>
                  <a:gd name="connsiteY9" fmla="*/ 28665 h 37318"/>
                  <a:gd name="connsiteX10" fmla="*/ 591151 w 764764"/>
                  <a:gd name="connsiteY10" fmla="*/ 29747 h 37318"/>
                  <a:gd name="connsiteX11" fmla="*/ 573844 w 764764"/>
                  <a:gd name="connsiteY11" fmla="*/ 28665 h 37318"/>
                  <a:gd name="connsiteX12" fmla="*/ 556536 w 764764"/>
                  <a:gd name="connsiteY12" fmla="*/ 27583 h 37318"/>
                  <a:gd name="connsiteX13" fmla="*/ 539229 w 764764"/>
                  <a:gd name="connsiteY13" fmla="*/ 26502 h 37318"/>
                  <a:gd name="connsiteX14" fmla="*/ 521922 w 764764"/>
                  <a:gd name="connsiteY14" fmla="*/ 24879 h 37318"/>
                  <a:gd name="connsiteX15" fmla="*/ 504615 w 764764"/>
                  <a:gd name="connsiteY15" fmla="*/ 23257 h 37318"/>
                  <a:gd name="connsiteX16" fmla="*/ 487308 w 764764"/>
                  <a:gd name="connsiteY16" fmla="*/ 23797 h 37318"/>
                  <a:gd name="connsiteX17" fmla="*/ 470000 w 764764"/>
                  <a:gd name="connsiteY17" fmla="*/ 22175 h 37318"/>
                  <a:gd name="connsiteX18" fmla="*/ 452152 w 764764"/>
                  <a:gd name="connsiteY18" fmla="*/ 23257 h 37318"/>
                  <a:gd name="connsiteX19" fmla="*/ 434845 w 764764"/>
                  <a:gd name="connsiteY19" fmla="*/ 21093 h 37318"/>
                  <a:gd name="connsiteX20" fmla="*/ 417538 w 764764"/>
                  <a:gd name="connsiteY20" fmla="*/ 20552 h 37318"/>
                  <a:gd name="connsiteX21" fmla="*/ 400231 w 764764"/>
                  <a:gd name="connsiteY21" fmla="*/ 20012 h 37318"/>
                  <a:gd name="connsiteX22" fmla="*/ 382923 w 764764"/>
                  <a:gd name="connsiteY22" fmla="*/ 18930 h 37318"/>
                  <a:gd name="connsiteX23" fmla="*/ 365616 w 764764"/>
                  <a:gd name="connsiteY23" fmla="*/ 17307 h 37318"/>
                  <a:gd name="connsiteX24" fmla="*/ 348308 w 764764"/>
                  <a:gd name="connsiteY24" fmla="*/ 17307 h 37318"/>
                  <a:gd name="connsiteX25" fmla="*/ 331001 w 764764"/>
                  <a:gd name="connsiteY25" fmla="*/ 15144 h 37318"/>
                  <a:gd name="connsiteX26" fmla="*/ 313694 w 764764"/>
                  <a:gd name="connsiteY26" fmla="*/ 15144 h 37318"/>
                  <a:gd name="connsiteX27" fmla="*/ 296387 w 764764"/>
                  <a:gd name="connsiteY27" fmla="*/ 12440 h 37318"/>
                  <a:gd name="connsiteX28" fmla="*/ 279080 w 764764"/>
                  <a:gd name="connsiteY28" fmla="*/ 12440 h 37318"/>
                  <a:gd name="connsiteX29" fmla="*/ 261772 w 764764"/>
                  <a:gd name="connsiteY29" fmla="*/ 12440 h 37318"/>
                  <a:gd name="connsiteX30" fmla="*/ 244465 w 764764"/>
                  <a:gd name="connsiteY30" fmla="*/ 12440 h 37318"/>
                  <a:gd name="connsiteX31" fmla="*/ 227158 w 764764"/>
                  <a:gd name="connsiteY31" fmla="*/ 10817 h 37318"/>
                  <a:gd name="connsiteX32" fmla="*/ 209850 w 764764"/>
                  <a:gd name="connsiteY32" fmla="*/ 8654 h 37318"/>
                  <a:gd name="connsiteX33" fmla="*/ 192543 w 764764"/>
                  <a:gd name="connsiteY33" fmla="*/ 7572 h 37318"/>
                  <a:gd name="connsiteX34" fmla="*/ 174695 w 764764"/>
                  <a:gd name="connsiteY34" fmla="*/ 8654 h 37318"/>
                  <a:gd name="connsiteX35" fmla="*/ 157388 w 764764"/>
                  <a:gd name="connsiteY35" fmla="*/ 8654 h 37318"/>
                  <a:gd name="connsiteX36" fmla="*/ 140080 w 764764"/>
                  <a:gd name="connsiteY36" fmla="*/ 5409 h 37318"/>
                  <a:gd name="connsiteX37" fmla="*/ 122773 w 764764"/>
                  <a:gd name="connsiteY37" fmla="*/ 4868 h 37318"/>
                  <a:gd name="connsiteX38" fmla="*/ 104925 w 764764"/>
                  <a:gd name="connsiteY38" fmla="*/ 5409 h 37318"/>
                  <a:gd name="connsiteX39" fmla="*/ 87618 w 764764"/>
                  <a:gd name="connsiteY39" fmla="*/ 3786 h 37318"/>
                  <a:gd name="connsiteX40" fmla="*/ 69770 w 764764"/>
                  <a:gd name="connsiteY40" fmla="*/ 4868 h 37318"/>
                  <a:gd name="connsiteX41" fmla="*/ 52463 w 764764"/>
                  <a:gd name="connsiteY41" fmla="*/ 3786 h 37318"/>
                  <a:gd name="connsiteX42" fmla="*/ 35155 w 764764"/>
                  <a:gd name="connsiteY42" fmla="*/ 1082 h 37318"/>
                  <a:gd name="connsiteX43" fmla="*/ 17307 w 764764"/>
                  <a:gd name="connsiteY43" fmla="*/ 1623 h 37318"/>
                  <a:gd name="connsiteX44" fmla="*/ 0 w 764764"/>
                  <a:gd name="connsiteY44" fmla="*/ 0 h 3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64764" h="37318">
                    <a:moveTo>
                      <a:pt x="764764" y="36778"/>
                    </a:moveTo>
                    <a:cubicBezTo>
                      <a:pt x="756111" y="36237"/>
                      <a:pt x="756111" y="37319"/>
                      <a:pt x="747457" y="37319"/>
                    </a:cubicBezTo>
                    <a:cubicBezTo>
                      <a:pt x="738804" y="36778"/>
                      <a:pt x="738804" y="37319"/>
                      <a:pt x="730150" y="36778"/>
                    </a:cubicBezTo>
                    <a:cubicBezTo>
                      <a:pt x="721496" y="36237"/>
                      <a:pt x="721496" y="35696"/>
                      <a:pt x="712843" y="35696"/>
                    </a:cubicBezTo>
                    <a:cubicBezTo>
                      <a:pt x="704189" y="35155"/>
                      <a:pt x="704189" y="34614"/>
                      <a:pt x="695536" y="34074"/>
                    </a:cubicBezTo>
                    <a:cubicBezTo>
                      <a:pt x="686882" y="33533"/>
                      <a:pt x="686882" y="33533"/>
                      <a:pt x="678228" y="33533"/>
                    </a:cubicBezTo>
                    <a:cubicBezTo>
                      <a:pt x="669574" y="32992"/>
                      <a:pt x="669574" y="32451"/>
                      <a:pt x="660921" y="31910"/>
                    </a:cubicBezTo>
                    <a:cubicBezTo>
                      <a:pt x="652267" y="31370"/>
                      <a:pt x="652267" y="32451"/>
                      <a:pt x="643614" y="31910"/>
                    </a:cubicBezTo>
                    <a:cubicBezTo>
                      <a:pt x="634960" y="31370"/>
                      <a:pt x="634960" y="30829"/>
                      <a:pt x="626306" y="30288"/>
                    </a:cubicBezTo>
                    <a:cubicBezTo>
                      <a:pt x="617653" y="29747"/>
                      <a:pt x="617653" y="29206"/>
                      <a:pt x="608999" y="28665"/>
                    </a:cubicBezTo>
                    <a:cubicBezTo>
                      <a:pt x="600346" y="28124"/>
                      <a:pt x="600346" y="30288"/>
                      <a:pt x="591151" y="29747"/>
                    </a:cubicBezTo>
                    <a:cubicBezTo>
                      <a:pt x="582497" y="29206"/>
                      <a:pt x="582497" y="29206"/>
                      <a:pt x="573844" y="28665"/>
                    </a:cubicBezTo>
                    <a:cubicBezTo>
                      <a:pt x="565190" y="28124"/>
                      <a:pt x="565190" y="28124"/>
                      <a:pt x="556536" y="27583"/>
                    </a:cubicBezTo>
                    <a:cubicBezTo>
                      <a:pt x="547883" y="27043"/>
                      <a:pt x="547883" y="27043"/>
                      <a:pt x="539229" y="26502"/>
                    </a:cubicBezTo>
                    <a:cubicBezTo>
                      <a:pt x="530576" y="25961"/>
                      <a:pt x="530576" y="25420"/>
                      <a:pt x="521922" y="24879"/>
                    </a:cubicBezTo>
                    <a:cubicBezTo>
                      <a:pt x="513268" y="24338"/>
                      <a:pt x="513268" y="23797"/>
                      <a:pt x="504615" y="23257"/>
                    </a:cubicBezTo>
                    <a:cubicBezTo>
                      <a:pt x="495961" y="22716"/>
                      <a:pt x="495961" y="23797"/>
                      <a:pt x="487308" y="23797"/>
                    </a:cubicBezTo>
                    <a:cubicBezTo>
                      <a:pt x="478654" y="23257"/>
                      <a:pt x="478654" y="22716"/>
                      <a:pt x="470000" y="22175"/>
                    </a:cubicBezTo>
                    <a:cubicBezTo>
                      <a:pt x="461346" y="21634"/>
                      <a:pt x="461346" y="23797"/>
                      <a:pt x="452152" y="23257"/>
                    </a:cubicBezTo>
                    <a:cubicBezTo>
                      <a:pt x="443499" y="22716"/>
                      <a:pt x="443499" y="21634"/>
                      <a:pt x="434845" y="21093"/>
                    </a:cubicBezTo>
                    <a:cubicBezTo>
                      <a:pt x="426191" y="20552"/>
                      <a:pt x="426191" y="21093"/>
                      <a:pt x="417538" y="20552"/>
                    </a:cubicBezTo>
                    <a:cubicBezTo>
                      <a:pt x="408884" y="20012"/>
                      <a:pt x="408884" y="20552"/>
                      <a:pt x="400231" y="20012"/>
                    </a:cubicBezTo>
                    <a:cubicBezTo>
                      <a:pt x="391576" y="19471"/>
                      <a:pt x="391576" y="18930"/>
                      <a:pt x="382923" y="18930"/>
                    </a:cubicBezTo>
                    <a:cubicBezTo>
                      <a:pt x="374269" y="18389"/>
                      <a:pt x="374269" y="17848"/>
                      <a:pt x="365616" y="17307"/>
                    </a:cubicBezTo>
                    <a:cubicBezTo>
                      <a:pt x="356963" y="16766"/>
                      <a:pt x="356963" y="17848"/>
                      <a:pt x="348308" y="17307"/>
                    </a:cubicBezTo>
                    <a:cubicBezTo>
                      <a:pt x="339655" y="16766"/>
                      <a:pt x="339655" y="15685"/>
                      <a:pt x="331001" y="15144"/>
                    </a:cubicBezTo>
                    <a:cubicBezTo>
                      <a:pt x="322348" y="14603"/>
                      <a:pt x="322348" y="15685"/>
                      <a:pt x="313694" y="15144"/>
                    </a:cubicBezTo>
                    <a:cubicBezTo>
                      <a:pt x="305040" y="14603"/>
                      <a:pt x="305040" y="12980"/>
                      <a:pt x="296387" y="12440"/>
                    </a:cubicBezTo>
                    <a:cubicBezTo>
                      <a:pt x="287733" y="11899"/>
                      <a:pt x="287733" y="12980"/>
                      <a:pt x="279080" y="12440"/>
                    </a:cubicBezTo>
                    <a:cubicBezTo>
                      <a:pt x="270426" y="11899"/>
                      <a:pt x="270426" y="12980"/>
                      <a:pt x="261772" y="12440"/>
                    </a:cubicBezTo>
                    <a:cubicBezTo>
                      <a:pt x="253119" y="11899"/>
                      <a:pt x="253119" y="12980"/>
                      <a:pt x="244465" y="12440"/>
                    </a:cubicBezTo>
                    <a:cubicBezTo>
                      <a:pt x="235812" y="11899"/>
                      <a:pt x="235812" y="11358"/>
                      <a:pt x="227158" y="10817"/>
                    </a:cubicBezTo>
                    <a:cubicBezTo>
                      <a:pt x="218504" y="10276"/>
                      <a:pt x="218504" y="9195"/>
                      <a:pt x="209850" y="8654"/>
                    </a:cubicBezTo>
                    <a:cubicBezTo>
                      <a:pt x="201197" y="8113"/>
                      <a:pt x="201197" y="7572"/>
                      <a:pt x="192543" y="7572"/>
                    </a:cubicBezTo>
                    <a:cubicBezTo>
                      <a:pt x="183890" y="7031"/>
                      <a:pt x="183890" y="9195"/>
                      <a:pt x="174695" y="8654"/>
                    </a:cubicBezTo>
                    <a:cubicBezTo>
                      <a:pt x="166042" y="8113"/>
                      <a:pt x="166042" y="8654"/>
                      <a:pt x="157388" y="8654"/>
                    </a:cubicBezTo>
                    <a:cubicBezTo>
                      <a:pt x="148735" y="8113"/>
                      <a:pt x="148735" y="5949"/>
                      <a:pt x="140080" y="5409"/>
                    </a:cubicBezTo>
                    <a:cubicBezTo>
                      <a:pt x="131427" y="4868"/>
                      <a:pt x="131427" y="5409"/>
                      <a:pt x="122773" y="4868"/>
                    </a:cubicBezTo>
                    <a:cubicBezTo>
                      <a:pt x="114120" y="4327"/>
                      <a:pt x="114120" y="5949"/>
                      <a:pt x="104925" y="5409"/>
                    </a:cubicBezTo>
                    <a:cubicBezTo>
                      <a:pt x="96272" y="4868"/>
                      <a:pt x="96272" y="3786"/>
                      <a:pt x="87618" y="3786"/>
                    </a:cubicBezTo>
                    <a:cubicBezTo>
                      <a:pt x="78965" y="3245"/>
                      <a:pt x="78965" y="5409"/>
                      <a:pt x="69770" y="4868"/>
                    </a:cubicBezTo>
                    <a:cubicBezTo>
                      <a:pt x="61116" y="4327"/>
                      <a:pt x="61116" y="4327"/>
                      <a:pt x="52463" y="3786"/>
                    </a:cubicBezTo>
                    <a:cubicBezTo>
                      <a:pt x="43809" y="3245"/>
                      <a:pt x="43809" y="1623"/>
                      <a:pt x="35155" y="1082"/>
                    </a:cubicBezTo>
                    <a:cubicBezTo>
                      <a:pt x="26502" y="541"/>
                      <a:pt x="26502" y="1623"/>
                      <a:pt x="17307" y="1623"/>
                    </a:cubicBezTo>
                    <a:cubicBezTo>
                      <a:pt x="8654" y="1082"/>
                      <a:pt x="8654" y="541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1099791C-EEA8-29B4-BA4C-40E33D672332}"/>
                  </a:ext>
                </a:extLst>
              </p:cNvPr>
              <p:cNvSpPr/>
              <p:nvPr/>
            </p:nvSpPr>
            <p:spPr>
              <a:xfrm flipH="1">
                <a:off x="11365662" y="1164403"/>
                <a:ext cx="749908" cy="161596"/>
              </a:xfrm>
              <a:custGeom>
                <a:avLst/>
                <a:gdLst>
                  <a:gd name="connsiteX0" fmla="*/ 905386 w 905385"/>
                  <a:gd name="connsiteY0" fmla="*/ 184430 h 184430"/>
                  <a:gd name="connsiteX1" fmla="*/ 888078 w 905385"/>
                  <a:gd name="connsiteY1" fmla="*/ 180104 h 184430"/>
                  <a:gd name="connsiteX2" fmla="*/ 870771 w 905385"/>
                  <a:gd name="connsiteY2" fmla="*/ 175777 h 184430"/>
                  <a:gd name="connsiteX3" fmla="*/ 853464 w 905385"/>
                  <a:gd name="connsiteY3" fmla="*/ 172532 h 184430"/>
                  <a:gd name="connsiteX4" fmla="*/ 835616 w 905385"/>
                  <a:gd name="connsiteY4" fmla="*/ 169828 h 184430"/>
                  <a:gd name="connsiteX5" fmla="*/ 818309 w 905385"/>
                  <a:gd name="connsiteY5" fmla="*/ 164960 h 184430"/>
                  <a:gd name="connsiteX6" fmla="*/ 801001 w 905385"/>
                  <a:gd name="connsiteY6" fmla="*/ 161715 h 184430"/>
                  <a:gd name="connsiteX7" fmla="*/ 783694 w 905385"/>
                  <a:gd name="connsiteY7" fmla="*/ 158470 h 184430"/>
                  <a:gd name="connsiteX8" fmla="*/ 766387 w 905385"/>
                  <a:gd name="connsiteY8" fmla="*/ 154684 h 184430"/>
                  <a:gd name="connsiteX9" fmla="*/ 748539 w 905385"/>
                  <a:gd name="connsiteY9" fmla="*/ 151979 h 184430"/>
                  <a:gd name="connsiteX10" fmla="*/ 731231 w 905385"/>
                  <a:gd name="connsiteY10" fmla="*/ 148734 h 184430"/>
                  <a:gd name="connsiteX11" fmla="*/ 713924 w 905385"/>
                  <a:gd name="connsiteY11" fmla="*/ 143867 h 184430"/>
                  <a:gd name="connsiteX12" fmla="*/ 696076 w 905385"/>
                  <a:gd name="connsiteY12" fmla="*/ 141703 h 184430"/>
                  <a:gd name="connsiteX13" fmla="*/ 678769 w 905385"/>
                  <a:gd name="connsiteY13" fmla="*/ 136836 h 184430"/>
                  <a:gd name="connsiteX14" fmla="*/ 660921 w 905385"/>
                  <a:gd name="connsiteY14" fmla="*/ 134131 h 184430"/>
                  <a:gd name="connsiteX15" fmla="*/ 643614 w 905385"/>
                  <a:gd name="connsiteY15" fmla="*/ 131427 h 184430"/>
                  <a:gd name="connsiteX16" fmla="*/ 626307 w 905385"/>
                  <a:gd name="connsiteY16" fmla="*/ 128182 h 184430"/>
                  <a:gd name="connsiteX17" fmla="*/ 608999 w 905385"/>
                  <a:gd name="connsiteY17" fmla="*/ 124396 h 184430"/>
                  <a:gd name="connsiteX18" fmla="*/ 592233 w 905385"/>
                  <a:gd name="connsiteY18" fmla="*/ 118987 h 184430"/>
                  <a:gd name="connsiteX19" fmla="*/ 574384 w 905385"/>
                  <a:gd name="connsiteY19" fmla="*/ 116824 h 184430"/>
                  <a:gd name="connsiteX20" fmla="*/ 557077 w 905385"/>
                  <a:gd name="connsiteY20" fmla="*/ 112497 h 184430"/>
                  <a:gd name="connsiteX21" fmla="*/ 539770 w 905385"/>
                  <a:gd name="connsiteY21" fmla="*/ 108711 h 184430"/>
                  <a:gd name="connsiteX22" fmla="*/ 522463 w 905385"/>
                  <a:gd name="connsiteY22" fmla="*/ 106007 h 184430"/>
                  <a:gd name="connsiteX23" fmla="*/ 505156 w 905385"/>
                  <a:gd name="connsiteY23" fmla="*/ 101139 h 184430"/>
                  <a:gd name="connsiteX24" fmla="*/ 487848 w 905385"/>
                  <a:gd name="connsiteY24" fmla="*/ 97353 h 184430"/>
                  <a:gd name="connsiteX25" fmla="*/ 470541 w 905385"/>
                  <a:gd name="connsiteY25" fmla="*/ 94649 h 184430"/>
                  <a:gd name="connsiteX26" fmla="*/ 453234 w 905385"/>
                  <a:gd name="connsiteY26" fmla="*/ 90863 h 184430"/>
                  <a:gd name="connsiteX27" fmla="*/ 435386 w 905385"/>
                  <a:gd name="connsiteY27" fmla="*/ 88700 h 184430"/>
                  <a:gd name="connsiteX28" fmla="*/ 418079 w 905385"/>
                  <a:gd name="connsiteY28" fmla="*/ 85455 h 184430"/>
                  <a:gd name="connsiteX29" fmla="*/ 400771 w 905385"/>
                  <a:gd name="connsiteY29" fmla="*/ 81669 h 184430"/>
                  <a:gd name="connsiteX30" fmla="*/ 383464 w 905385"/>
                  <a:gd name="connsiteY30" fmla="*/ 77342 h 184430"/>
                  <a:gd name="connsiteX31" fmla="*/ 366156 w 905385"/>
                  <a:gd name="connsiteY31" fmla="*/ 73556 h 184430"/>
                  <a:gd name="connsiteX32" fmla="*/ 348309 w 905385"/>
                  <a:gd name="connsiteY32" fmla="*/ 70852 h 184430"/>
                  <a:gd name="connsiteX33" fmla="*/ 331001 w 905385"/>
                  <a:gd name="connsiteY33" fmla="*/ 67606 h 184430"/>
                  <a:gd name="connsiteX34" fmla="*/ 314235 w 905385"/>
                  <a:gd name="connsiteY34" fmla="*/ 61657 h 184430"/>
                  <a:gd name="connsiteX35" fmla="*/ 296387 w 905385"/>
                  <a:gd name="connsiteY35" fmla="*/ 59494 h 184430"/>
                  <a:gd name="connsiteX36" fmla="*/ 279079 w 905385"/>
                  <a:gd name="connsiteY36" fmla="*/ 56789 h 184430"/>
                  <a:gd name="connsiteX37" fmla="*/ 261772 w 905385"/>
                  <a:gd name="connsiteY37" fmla="*/ 51922 h 184430"/>
                  <a:gd name="connsiteX38" fmla="*/ 243924 w 905385"/>
                  <a:gd name="connsiteY38" fmla="*/ 50299 h 184430"/>
                  <a:gd name="connsiteX39" fmla="*/ 227158 w 905385"/>
                  <a:gd name="connsiteY39" fmla="*/ 44891 h 184430"/>
                  <a:gd name="connsiteX40" fmla="*/ 209851 w 905385"/>
                  <a:gd name="connsiteY40" fmla="*/ 41105 h 184430"/>
                  <a:gd name="connsiteX41" fmla="*/ 192002 w 905385"/>
                  <a:gd name="connsiteY41" fmla="*/ 39482 h 184430"/>
                  <a:gd name="connsiteX42" fmla="*/ 174695 w 905385"/>
                  <a:gd name="connsiteY42" fmla="*/ 34074 h 184430"/>
                  <a:gd name="connsiteX43" fmla="*/ 156847 w 905385"/>
                  <a:gd name="connsiteY43" fmla="*/ 32451 h 184430"/>
                  <a:gd name="connsiteX44" fmla="*/ 139540 w 905385"/>
                  <a:gd name="connsiteY44" fmla="*/ 27583 h 184430"/>
                  <a:gd name="connsiteX45" fmla="*/ 121692 w 905385"/>
                  <a:gd name="connsiteY45" fmla="*/ 24879 h 184430"/>
                  <a:gd name="connsiteX46" fmla="*/ 104384 w 905385"/>
                  <a:gd name="connsiteY46" fmla="*/ 20552 h 184430"/>
                  <a:gd name="connsiteX47" fmla="*/ 87077 w 905385"/>
                  <a:gd name="connsiteY47" fmla="*/ 17307 h 184430"/>
                  <a:gd name="connsiteX48" fmla="*/ 69229 w 905385"/>
                  <a:gd name="connsiteY48" fmla="*/ 14603 h 184430"/>
                  <a:gd name="connsiteX49" fmla="*/ 51922 w 905385"/>
                  <a:gd name="connsiteY49" fmla="*/ 11899 h 184430"/>
                  <a:gd name="connsiteX50" fmla="*/ 34615 w 905385"/>
                  <a:gd name="connsiteY50" fmla="*/ 8113 h 184430"/>
                  <a:gd name="connsiteX51" fmla="*/ 17307 w 905385"/>
                  <a:gd name="connsiteY51" fmla="*/ 3786 h 184430"/>
                  <a:gd name="connsiteX52" fmla="*/ 0 w 905385"/>
                  <a:gd name="connsiteY52" fmla="*/ 0 h 18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905385" h="184430">
                    <a:moveTo>
                      <a:pt x="905386" y="184430"/>
                    </a:moveTo>
                    <a:cubicBezTo>
                      <a:pt x="896732" y="182808"/>
                      <a:pt x="896732" y="181726"/>
                      <a:pt x="888078" y="180104"/>
                    </a:cubicBezTo>
                    <a:cubicBezTo>
                      <a:pt x="879425" y="178481"/>
                      <a:pt x="879425" y="177399"/>
                      <a:pt x="870771" y="175777"/>
                    </a:cubicBezTo>
                    <a:cubicBezTo>
                      <a:pt x="862118" y="174154"/>
                      <a:pt x="862118" y="174154"/>
                      <a:pt x="853464" y="172532"/>
                    </a:cubicBezTo>
                    <a:cubicBezTo>
                      <a:pt x="844810" y="170909"/>
                      <a:pt x="844810" y="171991"/>
                      <a:pt x="835616" y="169828"/>
                    </a:cubicBezTo>
                    <a:cubicBezTo>
                      <a:pt x="826962" y="168205"/>
                      <a:pt x="826962" y="167123"/>
                      <a:pt x="818309" y="164960"/>
                    </a:cubicBezTo>
                    <a:cubicBezTo>
                      <a:pt x="809655" y="163337"/>
                      <a:pt x="809655" y="163337"/>
                      <a:pt x="801001" y="161715"/>
                    </a:cubicBezTo>
                    <a:cubicBezTo>
                      <a:pt x="792348" y="160092"/>
                      <a:pt x="792348" y="160092"/>
                      <a:pt x="783694" y="158470"/>
                    </a:cubicBezTo>
                    <a:cubicBezTo>
                      <a:pt x="775041" y="156847"/>
                      <a:pt x="775041" y="156306"/>
                      <a:pt x="766387" y="154684"/>
                    </a:cubicBezTo>
                    <a:cubicBezTo>
                      <a:pt x="757733" y="153061"/>
                      <a:pt x="757733" y="154143"/>
                      <a:pt x="748539" y="151979"/>
                    </a:cubicBezTo>
                    <a:cubicBezTo>
                      <a:pt x="739885" y="150357"/>
                      <a:pt x="739885" y="150357"/>
                      <a:pt x="731231" y="148734"/>
                    </a:cubicBezTo>
                    <a:cubicBezTo>
                      <a:pt x="722578" y="147112"/>
                      <a:pt x="722578" y="145489"/>
                      <a:pt x="713924" y="143867"/>
                    </a:cubicBezTo>
                    <a:cubicBezTo>
                      <a:pt x="705271" y="142244"/>
                      <a:pt x="704730" y="143867"/>
                      <a:pt x="696076" y="141703"/>
                    </a:cubicBezTo>
                    <a:cubicBezTo>
                      <a:pt x="687422" y="140081"/>
                      <a:pt x="687422" y="138458"/>
                      <a:pt x="678769" y="136836"/>
                    </a:cubicBezTo>
                    <a:cubicBezTo>
                      <a:pt x="670115" y="135213"/>
                      <a:pt x="670115" y="136295"/>
                      <a:pt x="660921" y="134131"/>
                    </a:cubicBezTo>
                    <a:cubicBezTo>
                      <a:pt x="652267" y="132509"/>
                      <a:pt x="652267" y="133050"/>
                      <a:pt x="643614" y="131427"/>
                    </a:cubicBezTo>
                    <a:cubicBezTo>
                      <a:pt x="634960" y="129804"/>
                      <a:pt x="634960" y="129804"/>
                      <a:pt x="626307" y="128182"/>
                    </a:cubicBezTo>
                    <a:cubicBezTo>
                      <a:pt x="617652" y="126559"/>
                      <a:pt x="617652" y="126559"/>
                      <a:pt x="608999" y="124396"/>
                    </a:cubicBezTo>
                    <a:cubicBezTo>
                      <a:pt x="600345" y="122773"/>
                      <a:pt x="600886" y="120610"/>
                      <a:pt x="592233" y="118987"/>
                    </a:cubicBezTo>
                    <a:cubicBezTo>
                      <a:pt x="583579" y="117365"/>
                      <a:pt x="583038" y="118447"/>
                      <a:pt x="574384" y="116824"/>
                    </a:cubicBezTo>
                    <a:cubicBezTo>
                      <a:pt x="565731" y="115201"/>
                      <a:pt x="565731" y="114661"/>
                      <a:pt x="557077" y="112497"/>
                    </a:cubicBezTo>
                    <a:cubicBezTo>
                      <a:pt x="548424" y="110334"/>
                      <a:pt x="548424" y="110875"/>
                      <a:pt x="539770" y="108711"/>
                    </a:cubicBezTo>
                    <a:cubicBezTo>
                      <a:pt x="531116" y="107089"/>
                      <a:pt x="531116" y="107630"/>
                      <a:pt x="522463" y="106007"/>
                    </a:cubicBezTo>
                    <a:cubicBezTo>
                      <a:pt x="513809" y="104384"/>
                      <a:pt x="513809" y="102762"/>
                      <a:pt x="505156" y="101139"/>
                    </a:cubicBezTo>
                    <a:cubicBezTo>
                      <a:pt x="496502" y="99517"/>
                      <a:pt x="496502" y="98976"/>
                      <a:pt x="487848" y="97353"/>
                    </a:cubicBezTo>
                    <a:cubicBezTo>
                      <a:pt x="479195" y="95731"/>
                      <a:pt x="479195" y="96272"/>
                      <a:pt x="470541" y="94649"/>
                    </a:cubicBezTo>
                    <a:cubicBezTo>
                      <a:pt x="461888" y="93026"/>
                      <a:pt x="461888" y="92486"/>
                      <a:pt x="453234" y="90863"/>
                    </a:cubicBezTo>
                    <a:cubicBezTo>
                      <a:pt x="444580" y="89241"/>
                      <a:pt x="444039" y="90322"/>
                      <a:pt x="435386" y="88700"/>
                    </a:cubicBezTo>
                    <a:cubicBezTo>
                      <a:pt x="426732" y="87077"/>
                      <a:pt x="426732" y="87077"/>
                      <a:pt x="418079" y="85455"/>
                    </a:cubicBezTo>
                    <a:cubicBezTo>
                      <a:pt x="409425" y="83832"/>
                      <a:pt x="409425" y="83291"/>
                      <a:pt x="400771" y="81669"/>
                    </a:cubicBezTo>
                    <a:cubicBezTo>
                      <a:pt x="392118" y="80046"/>
                      <a:pt x="392118" y="78964"/>
                      <a:pt x="383464" y="77342"/>
                    </a:cubicBezTo>
                    <a:cubicBezTo>
                      <a:pt x="374811" y="75719"/>
                      <a:pt x="374811" y="75719"/>
                      <a:pt x="366156" y="73556"/>
                    </a:cubicBezTo>
                    <a:cubicBezTo>
                      <a:pt x="357503" y="71933"/>
                      <a:pt x="357503" y="72474"/>
                      <a:pt x="348309" y="70852"/>
                    </a:cubicBezTo>
                    <a:cubicBezTo>
                      <a:pt x="339655" y="69229"/>
                      <a:pt x="339655" y="69770"/>
                      <a:pt x="331001" y="67606"/>
                    </a:cubicBezTo>
                    <a:cubicBezTo>
                      <a:pt x="322348" y="65984"/>
                      <a:pt x="322888" y="63280"/>
                      <a:pt x="314235" y="61657"/>
                    </a:cubicBezTo>
                    <a:cubicBezTo>
                      <a:pt x="305581" y="60035"/>
                      <a:pt x="305041" y="61657"/>
                      <a:pt x="296387" y="59494"/>
                    </a:cubicBezTo>
                    <a:cubicBezTo>
                      <a:pt x="287733" y="57871"/>
                      <a:pt x="287733" y="58412"/>
                      <a:pt x="279079" y="56789"/>
                    </a:cubicBezTo>
                    <a:cubicBezTo>
                      <a:pt x="270426" y="55167"/>
                      <a:pt x="270426" y="53544"/>
                      <a:pt x="261772" y="51922"/>
                    </a:cubicBezTo>
                    <a:cubicBezTo>
                      <a:pt x="253119" y="50299"/>
                      <a:pt x="252578" y="51922"/>
                      <a:pt x="243924" y="50299"/>
                    </a:cubicBezTo>
                    <a:cubicBezTo>
                      <a:pt x="235271" y="48677"/>
                      <a:pt x="235811" y="46513"/>
                      <a:pt x="227158" y="44891"/>
                    </a:cubicBezTo>
                    <a:cubicBezTo>
                      <a:pt x="218504" y="43268"/>
                      <a:pt x="218504" y="42727"/>
                      <a:pt x="209851" y="41105"/>
                    </a:cubicBezTo>
                    <a:cubicBezTo>
                      <a:pt x="201197" y="39482"/>
                      <a:pt x="200656" y="41105"/>
                      <a:pt x="192002" y="39482"/>
                    </a:cubicBezTo>
                    <a:cubicBezTo>
                      <a:pt x="183349" y="37860"/>
                      <a:pt x="183890" y="35696"/>
                      <a:pt x="174695" y="34074"/>
                    </a:cubicBezTo>
                    <a:cubicBezTo>
                      <a:pt x="166042" y="32451"/>
                      <a:pt x="165501" y="34074"/>
                      <a:pt x="156847" y="32451"/>
                    </a:cubicBezTo>
                    <a:cubicBezTo>
                      <a:pt x="148194" y="30829"/>
                      <a:pt x="148194" y="29206"/>
                      <a:pt x="139540" y="27583"/>
                    </a:cubicBezTo>
                    <a:cubicBezTo>
                      <a:pt x="130886" y="25961"/>
                      <a:pt x="130886" y="26502"/>
                      <a:pt x="121692" y="24879"/>
                    </a:cubicBezTo>
                    <a:cubicBezTo>
                      <a:pt x="112497" y="23257"/>
                      <a:pt x="113038" y="22175"/>
                      <a:pt x="104384" y="20552"/>
                    </a:cubicBezTo>
                    <a:cubicBezTo>
                      <a:pt x="95731" y="18930"/>
                      <a:pt x="95731" y="18930"/>
                      <a:pt x="87077" y="17307"/>
                    </a:cubicBezTo>
                    <a:cubicBezTo>
                      <a:pt x="78424" y="15685"/>
                      <a:pt x="78424" y="16226"/>
                      <a:pt x="69229" y="14603"/>
                    </a:cubicBezTo>
                    <a:cubicBezTo>
                      <a:pt x="60575" y="12980"/>
                      <a:pt x="60575" y="13521"/>
                      <a:pt x="51922" y="11899"/>
                    </a:cubicBezTo>
                    <a:cubicBezTo>
                      <a:pt x="43268" y="10276"/>
                      <a:pt x="43268" y="10276"/>
                      <a:pt x="34615" y="8113"/>
                    </a:cubicBezTo>
                    <a:cubicBezTo>
                      <a:pt x="25961" y="6490"/>
                      <a:pt x="25961" y="5409"/>
                      <a:pt x="17307" y="3786"/>
                    </a:cubicBezTo>
                    <a:cubicBezTo>
                      <a:pt x="8653" y="2163"/>
                      <a:pt x="8653" y="1623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F5B58C7-19CC-9718-589D-1285F31ADB77}"/>
                  </a:ext>
                </a:extLst>
              </p:cNvPr>
              <p:cNvSpPr/>
              <p:nvPr/>
            </p:nvSpPr>
            <p:spPr>
              <a:xfrm flipH="1">
                <a:off x="11274724" y="652129"/>
                <a:ext cx="752148" cy="529808"/>
              </a:xfrm>
              <a:custGeom>
                <a:avLst/>
                <a:gdLst>
                  <a:gd name="connsiteX0" fmla="*/ 908090 w 908089"/>
                  <a:gd name="connsiteY0" fmla="*/ 604672 h 604672"/>
                  <a:gd name="connsiteX1" fmla="*/ 892406 w 908089"/>
                  <a:gd name="connsiteY1" fmla="*/ 596559 h 604672"/>
                  <a:gd name="connsiteX2" fmla="*/ 877802 w 908089"/>
                  <a:gd name="connsiteY2" fmla="*/ 586824 h 604672"/>
                  <a:gd name="connsiteX3" fmla="*/ 864281 w 908089"/>
                  <a:gd name="connsiteY3" fmla="*/ 575466 h 604672"/>
                  <a:gd name="connsiteX4" fmla="*/ 849678 w 908089"/>
                  <a:gd name="connsiteY4" fmla="*/ 566272 h 604672"/>
                  <a:gd name="connsiteX5" fmla="*/ 835075 w 908089"/>
                  <a:gd name="connsiteY5" fmla="*/ 557077 h 604672"/>
                  <a:gd name="connsiteX6" fmla="*/ 821013 w 908089"/>
                  <a:gd name="connsiteY6" fmla="*/ 546260 h 604672"/>
                  <a:gd name="connsiteX7" fmla="*/ 805328 w 908089"/>
                  <a:gd name="connsiteY7" fmla="*/ 538148 h 604672"/>
                  <a:gd name="connsiteX8" fmla="*/ 791266 w 908089"/>
                  <a:gd name="connsiteY8" fmla="*/ 527871 h 604672"/>
                  <a:gd name="connsiteX9" fmla="*/ 776123 w 908089"/>
                  <a:gd name="connsiteY9" fmla="*/ 518677 h 604672"/>
                  <a:gd name="connsiteX10" fmla="*/ 760979 w 908089"/>
                  <a:gd name="connsiteY10" fmla="*/ 509482 h 604672"/>
                  <a:gd name="connsiteX11" fmla="*/ 746376 w 908089"/>
                  <a:gd name="connsiteY11" fmla="*/ 499747 h 604672"/>
                  <a:gd name="connsiteX12" fmla="*/ 732313 w 908089"/>
                  <a:gd name="connsiteY12" fmla="*/ 488930 h 604672"/>
                  <a:gd name="connsiteX13" fmla="*/ 717710 w 908089"/>
                  <a:gd name="connsiteY13" fmla="*/ 479195 h 604672"/>
                  <a:gd name="connsiteX14" fmla="*/ 703108 w 908089"/>
                  <a:gd name="connsiteY14" fmla="*/ 469459 h 604672"/>
                  <a:gd name="connsiteX15" fmla="*/ 689045 w 908089"/>
                  <a:gd name="connsiteY15" fmla="*/ 458642 h 604672"/>
                  <a:gd name="connsiteX16" fmla="*/ 673902 w 908089"/>
                  <a:gd name="connsiteY16" fmla="*/ 449448 h 604672"/>
                  <a:gd name="connsiteX17" fmla="*/ 659298 w 908089"/>
                  <a:gd name="connsiteY17" fmla="*/ 439712 h 604672"/>
                  <a:gd name="connsiteX18" fmla="*/ 644695 w 908089"/>
                  <a:gd name="connsiteY18" fmla="*/ 429977 h 604672"/>
                  <a:gd name="connsiteX19" fmla="*/ 629551 w 908089"/>
                  <a:gd name="connsiteY19" fmla="*/ 421324 h 604672"/>
                  <a:gd name="connsiteX20" fmla="*/ 616030 w 908089"/>
                  <a:gd name="connsiteY20" fmla="*/ 409966 h 604672"/>
                  <a:gd name="connsiteX21" fmla="*/ 600887 w 908089"/>
                  <a:gd name="connsiteY21" fmla="*/ 400771 h 604672"/>
                  <a:gd name="connsiteX22" fmla="*/ 585742 w 908089"/>
                  <a:gd name="connsiteY22" fmla="*/ 391577 h 604672"/>
                  <a:gd name="connsiteX23" fmla="*/ 570599 w 908089"/>
                  <a:gd name="connsiteY23" fmla="*/ 382382 h 604672"/>
                  <a:gd name="connsiteX24" fmla="*/ 555996 w 908089"/>
                  <a:gd name="connsiteY24" fmla="*/ 372647 h 604672"/>
                  <a:gd name="connsiteX25" fmla="*/ 541934 w 908089"/>
                  <a:gd name="connsiteY25" fmla="*/ 361830 h 604672"/>
                  <a:gd name="connsiteX26" fmla="*/ 527331 w 908089"/>
                  <a:gd name="connsiteY26" fmla="*/ 352094 h 604672"/>
                  <a:gd name="connsiteX27" fmla="*/ 512187 w 908089"/>
                  <a:gd name="connsiteY27" fmla="*/ 342900 h 604672"/>
                  <a:gd name="connsiteX28" fmla="*/ 497584 w 908089"/>
                  <a:gd name="connsiteY28" fmla="*/ 333165 h 604672"/>
                  <a:gd name="connsiteX29" fmla="*/ 483521 w 908089"/>
                  <a:gd name="connsiteY29" fmla="*/ 322348 h 604672"/>
                  <a:gd name="connsiteX30" fmla="*/ 469459 w 908089"/>
                  <a:gd name="connsiteY30" fmla="*/ 312071 h 604672"/>
                  <a:gd name="connsiteX31" fmla="*/ 454316 w 908089"/>
                  <a:gd name="connsiteY31" fmla="*/ 302877 h 604672"/>
                  <a:gd name="connsiteX32" fmla="*/ 440253 w 908089"/>
                  <a:gd name="connsiteY32" fmla="*/ 292601 h 604672"/>
                  <a:gd name="connsiteX33" fmla="*/ 425650 w 908089"/>
                  <a:gd name="connsiteY33" fmla="*/ 282865 h 604672"/>
                  <a:gd name="connsiteX34" fmla="*/ 410506 w 908089"/>
                  <a:gd name="connsiteY34" fmla="*/ 273671 h 604672"/>
                  <a:gd name="connsiteX35" fmla="*/ 394822 w 908089"/>
                  <a:gd name="connsiteY35" fmla="*/ 265558 h 604672"/>
                  <a:gd name="connsiteX36" fmla="*/ 380219 w 908089"/>
                  <a:gd name="connsiteY36" fmla="*/ 255823 h 604672"/>
                  <a:gd name="connsiteX37" fmla="*/ 366157 w 908089"/>
                  <a:gd name="connsiteY37" fmla="*/ 245006 h 604672"/>
                  <a:gd name="connsiteX38" fmla="*/ 352095 w 908089"/>
                  <a:gd name="connsiteY38" fmla="*/ 234730 h 604672"/>
                  <a:gd name="connsiteX39" fmla="*/ 336410 w 908089"/>
                  <a:gd name="connsiteY39" fmla="*/ 226617 h 604672"/>
                  <a:gd name="connsiteX40" fmla="*/ 322348 w 908089"/>
                  <a:gd name="connsiteY40" fmla="*/ 215800 h 604672"/>
                  <a:gd name="connsiteX41" fmla="*/ 306663 w 908089"/>
                  <a:gd name="connsiteY41" fmla="*/ 207146 h 604672"/>
                  <a:gd name="connsiteX42" fmla="*/ 293142 w 908089"/>
                  <a:gd name="connsiteY42" fmla="*/ 195788 h 604672"/>
                  <a:gd name="connsiteX43" fmla="*/ 277457 w 908089"/>
                  <a:gd name="connsiteY43" fmla="*/ 187676 h 604672"/>
                  <a:gd name="connsiteX44" fmla="*/ 262313 w 908089"/>
                  <a:gd name="connsiteY44" fmla="*/ 178481 h 604672"/>
                  <a:gd name="connsiteX45" fmla="*/ 248792 w 908089"/>
                  <a:gd name="connsiteY45" fmla="*/ 167123 h 604672"/>
                  <a:gd name="connsiteX46" fmla="*/ 233648 w 908089"/>
                  <a:gd name="connsiteY46" fmla="*/ 157929 h 604672"/>
                  <a:gd name="connsiteX47" fmla="*/ 219586 w 908089"/>
                  <a:gd name="connsiteY47" fmla="*/ 147112 h 604672"/>
                  <a:gd name="connsiteX48" fmla="*/ 204983 w 908089"/>
                  <a:gd name="connsiteY48" fmla="*/ 136836 h 604672"/>
                  <a:gd name="connsiteX49" fmla="*/ 189298 w 908089"/>
                  <a:gd name="connsiteY49" fmla="*/ 128723 h 604672"/>
                  <a:gd name="connsiteX50" fmla="*/ 175236 w 908089"/>
                  <a:gd name="connsiteY50" fmla="*/ 118447 h 604672"/>
                  <a:gd name="connsiteX51" fmla="*/ 160633 w 908089"/>
                  <a:gd name="connsiteY51" fmla="*/ 108170 h 604672"/>
                  <a:gd name="connsiteX52" fmla="*/ 145489 w 908089"/>
                  <a:gd name="connsiteY52" fmla="*/ 99517 h 604672"/>
                  <a:gd name="connsiteX53" fmla="*/ 131968 w 908089"/>
                  <a:gd name="connsiteY53" fmla="*/ 88159 h 604672"/>
                  <a:gd name="connsiteX54" fmla="*/ 117365 w 908089"/>
                  <a:gd name="connsiteY54" fmla="*/ 78424 h 604672"/>
                  <a:gd name="connsiteX55" fmla="*/ 101680 w 908089"/>
                  <a:gd name="connsiteY55" fmla="*/ 69770 h 604672"/>
                  <a:gd name="connsiteX56" fmla="*/ 87077 w 908089"/>
                  <a:gd name="connsiteY56" fmla="*/ 60035 h 604672"/>
                  <a:gd name="connsiteX57" fmla="*/ 72474 w 908089"/>
                  <a:gd name="connsiteY57" fmla="*/ 50299 h 604672"/>
                  <a:gd name="connsiteX58" fmla="*/ 57871 w 908089"/>
                  <a:gd name="connsiteY58" fmla="*/ 40564 h 604672"/>
                  <a:gd name="connsiteX59" fmla="*/ 42727 w 908089"/>
                  <a:gd name="connsiteY59" fmla="*/ 31369 h 604672"/>
                  <a:gd name="connsiteX60" fmla="*/ 29206 w 908089"/>
                  <a:gd name="connsiteY60" fmla="*/ 20012 h 604672"/>
                  <a:gd name="connsiteX61" fmla="*/ 14603 w 908089"/>
                  <a:gd name="connsiteY61" fmla="*/ 9735 h 604672"/>
                  <a:gd name="connsiteX62" fmla="*/ 0 w 908089"/>
                  <a:gd name="connsiteY62" fmla="*/ 0 h 60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908089" h="604672">
                    <a:moveTo>
                      <a:pt x="908090" y="604672"/>
                    </a:moveTo>
                    <a:cubicBezTo>
                      <a:pt x="900519" y="599805"/>
                      <a:pt x="899436" y="601427"/>
                      <a:pt x="892406" y="596559"/>
                    </a:cubicBezTo>
                    <a:cubicBezTo>
                      <a:pt x="884834" y="591692"/>
                      <a:pt x="885374" y="591692"/>
                      <a:pt x="877802" y="586824"/>
                    </a:cubicBezTo>
                    <a:cubicBezTo>
                      <a:pt x="870230" y="581956"/>
                      <a:pt x="871312" y="580334"/>
                      <a:pt x="864281" y="575466"/>
                    </a:cubicBezTo>
                    <a:cubicBezTo>
                      <a:pt x="856709" y="570599"/>
                      <a:pt x="856709" y="571139"/>
                      <a:pt x="849678" y="566272"/>
                    </a:cubicBezTo>
                    <a:cubicBezTo>
                      <a:pt x="842106" y="561404"/>
                      <a:pt x="842106" y="561945"/>
                      <a:pt x="835075" y="557077"/>
                    </a:cubicBezTo>
                    <a:cubicBezTo>
                      <a:pt x="827504" y="552210"/>
                      <a:pt x="828585" y="551128"/>
                      <a:pt x="821013" y="546260"/>
                    </a:cubicBezTo>
                    <a:cubicBezTo>
                      <a:pt x="813441" y="541393"/>
                      <a:pt x="812900" y="543015"/>
                      <a:pt x="805328" y="538148"/>
                    </a:cubicBezTo>
                    <a:cubicBezTo>
                      <a:pt x="797757" y="533280"/>
                      <a:pt x="798297" y="532739"/>
                      <a:pt x="791266" y="527871"/>
                    </a:cubicBezTo>
                    <a:cubicBezTo>
                      <a:pt x="783694" y="523004"/>
                      <a:pt x="783694" y="523544"/>
                      <a:pt x="776123" y="518677"/>
                    </a:cubicBezTo>
                    <a:cubicBezTo>
                      <a:pt x="768551" y="513809"/>
                      <a:pt x="768551" y="514350"/>
                      <a:pt x="760979" y="509482"/>
                    </a:cubicBezTo>
                    <a:cubicBezTo>
                      <a:pt x="753406" y="504615"/>
                      <a:pt x="753406" y="504615"/>
                      <a:pt x="746376" y="499747"/>
                    </a:cubicBezTo>
                    <a:cubicBezTo>
                      <a:pt x="738804" y="494879"/>
                      <a:pt x="739885" y="493798"/>
                      <a:pt x="732313" y="488930"/>
                    </a:cubicBezTo>
                    <a:cubicBezTo>
                      <a:pt x="724742" y="484062"/>
                      <a:pt x="724742" y="484062"/>
                      <a:pt x="717710" y="479195"/>
                    </a:cubicBezTo>
                    <a:cubicBezTo>
                      <a:pt x="710138" y="474327"/>
                      <a:pt x="710138" y="474327"/>
                      <a:pt x="703108" y="469459"/>
                    </a:cubicBezTo>
                    <a:cubicBezTo>
                      <a:pt x="695536" y="464592"/>
                      <a:pt x="696617" y="463510"/>
                      <a:pt x="689045" y="458642"/>
                    </a:cubicBezTo>
                    <a:cubicBezTo>
                      <a:pt x="681474" y="453775"/>
                      <a:pt x="681474" y="454316"/>
                      <a:pt x="673902" y="449448"/>
                    </a:cubicBezTo>
                    <a:cubicBezTo>
                      <a:pt x="666329" y="444580"/>
                      <a:pt x="666329" y="444580"/>
                      <a:pt x="659298" y="439712"/>
                    </a:cubicBezTo>
                    <a:cubicBezTo>
                      <a:pt x="651727" y="434845"/>
                      <a:pt x="652267" y="434845"/>
                      <a:pt x="644695" y="429977"/>
                    </a:cubicBezTo>
                    <a:cubicBezTo>
                      <a:pt x="637123" y="425109"/>
                      <a:pt x="636583" y="426191"/>
                      <a:pt x="629551" y="421324"/>
                    </a:cubicBezTo>
                    <a:cubicBezTo>
                      <a:pt x="621980" y="416456"/>
                      <a:pt x="623061" y="414833"/>
                      <a:pt x="616030" y="409966"/>
                    </a:cubicBezTo>
                    <a:cubicBezTo>
                      <a:pt x="608459" y="405098"/>
                      <a:pt x="608459" y="405639"/>
                      <a:pt x="600887" y="400771"/>
                    </a:cubicBezTo>
                    <a:cubicBezTo>
                      <a:pt x="593314" y="395904"/>
                      <a:pt x="593314" y="396444"/>
                      <a:pt x="585742" y="391577"/>
                    </a:cubicBezTo>
                    <a:cubicBezTo>
                      <a:pt x="578170" y="386709"/>
                      <a:pt x="578170" y="387250"/>
                      <a:pt x="570599" y="382382"/>
                    </a:cubicBezTo>
                    <a:cubicBezTo>
                      <a:pt x="563027" y="377515"/>
                      <a:pt x="563027" y="377515"/>
                      <a:pt x="555996" y="372647"/>
                    </a:cubicBezTo>
                    <a:cubicBezTo>
                      <a:pt x="548424" y="367779"/>
                      <a:pt x="549506" y="366697"/>
                      <a:pt x="541934" y="361830"/>
                    </a:cubicBezTo>
                    <a:cubicBezTo>
                      <a:pt x="534361" y="356962"/>
                      <a:pt x="534361" y="356962"/>
                      <a:pt x="527331" y="352094"/>
                    </a:cubicBezTo>
                    <a:cubicBezTo>
                      <a:pt x="519759" y="347227"/>
                      <a:pt x="519759" y="347768"/>
                      <a:pt x="512187" y="342900"/>
                    </a:cubicBezTo>
                    <a:cubicBezTo>
                      <a:pt x="504615" y="338032"/>
                      <a:pt x="505155" y="338032"/>
                      <a:pt x="497584" y="333165"/>
                    </a:cubicBezTo>
                    <a:cubicBezTo>
                      <a:pt x="490012" y="328297"/>
                      <a:pt x="491093" y="327215"/>
                      <a:pt x="483521" y="322348"/>
                    </a:cubicBezTo>
                    <a:cubicBezTo>
                      <a:pt x="475950" y="317480"/>
                      <a:pt x="476491" y="316939"/>
                      <a:pt x="469459" y="312071"/>
                    </a:cubicBezTo>
                    <a:cubicBezTo>
                      <a:pt x="461887" y="307204"/>
                      <a:pt x="461887" y="307745"/>
                      <a:pt x="454316" y="302877"/>
                    </a:cubicBezTo>
                    <a:cubicBezTo>
                      <a:pt x="446744" y="298009"/>
                      <a:pt x="447284" y="297469"/>
                      <a:pt x="440253" y="292601"/>
                    </a:cubicBezTo>
                    <a:cubicBezTo>
                      <a:pt x="432682" y="287733"/>
                      <a:pt x="432682" y="287733"/>
                      <a:pt x="425650" y="282865"/>
                    </a:cubicBezTo>
                    <a:cubicBezTo>
                      <a:pt x="418078" y="277998"/>
                      <a:pt x="418078" y="278539"/>
                      <a:pt x="410506" y="273671"/>
                    </a:cubicBezTo>
                    <a:cubicBezTo>
                      <a:pt x="402935" y="268803"/>
                      <a:pt x="402394" y="270426"/>
                      <a:pt x="394822" y="265558"/>
                    </a:cubicBezTo>
                    <a:cubicBezTo>
                      <a:pt x="387250" y="260691"/>
                      <a:pt x="387791" y="260691"/>
                      <a:pt x="380219" y="255823"/>
                    </a:cubicBezTo>
                    <a:cubicBezTo>
                      <a:pt x="372647" y="250955"/>
                      <a:pt x="373729" y="249874"/>
                      <a:pt x="366157" y="245006"/>
                    </a:cubicBezTo>
                    <a:cubicBezTo>
                      <a:pt x="358585" y="240138"/>
                      <a:pt x="359125" y="239597"/>
                      <a:pt x="352095" y="234730"/>
                    </a:cubicBezTo>
                    <a:cubicBezTo>
                      <a:pt x="344523" y="229862"/>
                      <a:pt x="343982" y="231485"/>
                      <a:pt x="336410" y="226617"/>
                    </a:cubicBezTo>
                    <a:cubicBezTo>
                      <a:pt x="328838" y="221749"/>
                      <a:pt x="329920" y="220667"/>
                      <a:pt x="322348" y="215800"/>
                    </a:cubicBezTo>
                    <a:cubicBezTo>
                      <a:pt x="314776" y="210932"/>
                      <a:pt x="314235" y="212014"/>
                      <a:pt x="306663" y="207146"/>
                    </a:cubicBezTo>
                    <a:cubicBezTo>
                      <a:pt x="299091" y="202279"/>
                      <a:pt x="300714" y="200656"/>
                      <a:pt x="293142" y="195788"/>
                    </a:cubicBezTo>
                    <a:cubicBezTo>
                      <a:pt x="285570" y="190921"/>
                      <a:pt x="285029" y="192543"/>
                      <a:pt x="277457" y="187676"/>
                    </a:cubicBezTo>
                    <a:cubicBezTo>
                      <a:pt x="269885" y="182808"/>
                      <a:pt x="269885" y="183349"/>
                      <a:pt x="262313" y="178481"/>
                    </a:cubicBezTo>
                    <a:cubicBezTo>
                      <a:pt x="254741" y="173613"/>
                      <a:pt x="255823" y="171991"/>
                      <a:pt x="248792" y="167123"/>
                    </a:cubicBezTo>
                    <a:cubicBezTo>
                      <a:pt x="241220" y="162256"/>
                      <a:pt x="241220" y="162796"/>
                      <a:pt x="233648" y="157929"/>
                    </a:cubicBezTo>
                    <a:cubicBezTo>
                      <a:pt x="226076" y="153061"/>
                      <a:pt x="227158" y="151979"/>
                      <a:pt x="219586" y="147112"/>
                    </a:cubicBezTo>
                    <a:cubicBezTo>
                      <a:pt x="212014" y="142244"/>
                      <a:pt x="212555" y="141703"/>
                      <a:pt x="204983" y="136836"/>
                    </a:cubicBezTo>
                    <a:cubicBezTo>
                      <a:pt x="197411" y="131968"/>
                      <a:pt x="196329" y="133590"/>
                      <a:pt x="189298" y="128723"/>
                    </a:cubicBezTo>
                    <a:cubicBezTo>
                      <a:pt x="181726" y="123855"/>
                      <a:pt x="182267" y="123314"/>
                      <a:pt x="175236" y="118447"/>
                    </a:cubicBezTo>
                    <a:cubicBezTo>
                      <a:pt x="167664" y="113579"/>
                      <a:pt x="168205" y="113038"/>
                      <a:pt x="160633" y="108170"/>
                    </a:cubicBezTo>
                    <a:cubicBezTo>
                      <a:pt x="153061" y="103303"/>
                      <a:pt x="152520" y="104384"/>
                      <a:pt x="145489" y="99517"/>
                    </a:cubicBezTo>
                    <a:cubicBezTo>
                      <a:pt x="137918" y="94649"/>
                      <a:pt x="138999" y="93027"/>
                      <a:pt x="131968" y="88159"/>
                    </a:cubicBezTo>
                    <a:cubicBezTo>
                      <a:pt x="124396" y="83291"/>
                      <a:pt x="124396" y="83291"/>
                      <a:pt x="117365" y="78424"/>
                    </a:cubicBezTo>
                    <a:cubicBezTo>
                      <a:pt x="109793" y="73556"/>
                      <a:pt x="109252" y="74638"/>
                      <a:pt x="101680" y="69770"/>
                    </a:cubicBezTo>
                    <a:cubicBezTo>
                      <a:pt x="94108" y="64902"/>
                      <a:pt x="94649" y="64902"/>
                      <a:pt x="87077" y="60035"/>
                    </a:cubicBezTo>
                    <a:cubicBezTo>
                      <a:pt x="79505" y="55167"/>
                      <a:pt x="80046" y="55167"/>
                      <a:pt x="72474" y="50299"/>
                    </a:cubicBezTo>
                    <a:cubicBezTo>
                      <a:pt x="64902" y="45432"/>
                      <a:pt x="64902" y="45432"/>
                      <a:pt x="57871" y="40564"/>
                    </a:cubicBezTo>
                    <a:cubicBezTo>
                      <a:pt x="50299" y="35696"/>
                      <a:pt x="50299" y="36237"/>
                      <a:pt x="42727" y="31369"/>
                    </a:cubicBezTo>
                    <a:cubicBezTo>
                      <a:pt x="35155" y="26502"/>
                      <a:pt x="36237" y="24879"/>
                      <a:pt x="29206" y="20012"/>
                    </a:cubicBezTo>
                    <a:cubicBezTo>
                      <a:pt x="21634" y="15144"/>
                      <a:pt x="22175" y="14603"/>
                      <a:pt x="14603" y="9735"/>
                    </a:cubicBezTo>
                    <a:cubicBezTo>
                      <a:pt x="7031" y="4868"/>
                      <a:pt x="7572" y="4868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2A74EB6-1424-14C2-D3A0-A3A8E6C176AD}"/>
                  </a:ext>
                </a:extLst>
              </p:cNvPr>
              <p:cNvSpPr/>
              <p:nvPr/>
            </p:nvSpPr>
            <p:spPr>
              <a:xfrm flipH="1">
                <a:off x="11170345" y="661133"/>
                <a:ext cx="283119" cy="426026"/>
              </a:xfrm>
              <a:custGeom>
                <a:avLst/>
                <a:gdLst>
                  <a:gd name="connsiteX0" fmla="*/ 341818 w 341818"/>
                  <a:gd name="connsiteY0" fmla="*/ 486226 h 486225"/>
                  <a:gd name="connsiteX1" fmla="*/ 331542 w 341818"/>
                  <a:gd name="connsiteY1" fmla="*/ 472164 h 486225"/>
                  <a:gd name="connsiteX2" fmla="*/ 321265 w 341818"/>
                  <a:gd name="connsiteY2" fmla="*/ 458101 h 486225"/>
                  <a:gd name="connsiteX3" fmla="*/ 312071 w 341818"/>
                  <a:gd name="connsiteY3" fmla="*/ 442958 h 486225"/>
                  <a:gd name="connsiteX4" fmla="*/ 301795 w 341818"/>
                  <a:gd name="connsiteY4" fmla="*/ 428895 h 486225"/>
                  <a:gd name="connsiteX5" fmla="*/ 291519 w 341818"/>
                  <a:gd name="connsiteY5" fmla="*/ 414833 h 486225"/>
                  <a:gd name="connsiteX6" fmla="*/ 280161 w 341818"/>
                  <a:gd name="connsiteY6" fmla="*/ 401312 h 486225"/>
                  <a:gd name="connsiteX7" fmla="*/ 269885 w 341818"/>
                  <a:gd name="connsiteY7" fmla="*/ 386709 h 486225"/>
                  <a:gd name="connsiteX8" fmla="*/ 259609 w 341818"/>
                  <a:gd name="connsiteY8" fmla="*/ 372647 h 486225"/>
                  <a:gd name="connsiteX9" fmla="*/ 249333 w 341818"/>
                  <a:gd name="connsiteY9" fmla="*/ 358585 h 486225"/>
                  <a:gd name="connsiteX10" fmla="*/ 239597 w 341818"/>
                  <a:gd name="connsiteY10" fmla="*/ 343982 h 486225"/>
                  <a:gd name="connsiteX11" fmla="*/ 229321 w 341818"/>
                  <a:gd name="connsiteY11" fmla="*/ 329920 h 486225"/>
                  <a:gd name="connsiteX12" fmla="*/ 219586 w 341818"/>
                  <a:gd name="connsiteY12" fmla="*/ 315317 h 486225"/>
                  <a:gd name="connsiteX13" fmla="*/ 210932 w 341818"/>
                  <a:gd name="connsiteY13" fmla="*/ 300173 h 486225"/>
                  <a:gd name="connsiteX14" fmla="*/ 199033 w 341818"/>
                  <a:gd name="connsiteY14" fmla="*/ 287192 h 486225"/>
                  <a:gd name="connsiteX15" fmla="*/ 189298 w 341818"/>
                  <a:gd name="connsiteY15" fmla="*/ 272589 h 486225"/>
                  <a:gd name="connsiteX16" fmla="*/ 179022 w 341818"/>
                  <a:gd name="connsiteY16" fmla="*/ 258527 h 486225"/>
                  <a:gd name="connsiteX17" fmla="*/ 170368 w 341818"/>
                  <a:gd name="connsiteY17" fmla="*/ 243383 h 486225"/>
                  <a:gd name="connsiteX18" fmla="*/ 159010 w 341818"/>
                  <a:gd name="connsiteY18" fmla="*/ 229862 h 486225"/>
                  <a:gd name="connsiteX19" fmla="*/ 148734 w 341818"/>
                  <a:gd name="connsiteY19" fmla="*/ 215800 h 486225"/>
                  <a:gd name="connsiteX20" fmla="*/ 140080 w 341818"/>
                  <a:gd name="connsiteY20" fmla="*/ 200656 h 486225"/>
                  <a:gd name="connsiteX21" fmla="*/ 130345 w 341818"/>
                  <a:gd name="connsiteY21" fmla="*/ 186053 h 486225"/>
                  <a:gd name="connsiteX22" fmla="*/ 120610 w 341818"/>
                  <a:gd name="connsiteY22" fmla="*/ 171450 h 486225"/>
                  <a:gd name="connsiteX23" fmla="*/ 109252 w 341818"/>
                  <a:gd name="connsiteY23" fmla="*/ 157929 h 486225"/>
                  <a:gd name="connsiteX24" fmla="*/ 100058 w 341818"/>
                  <a:gd name="connsiteY24" fmla="*/ 143326 h 486225"/>
                  <a:gd name="connsiteX25" fmla="*/ 90322 w 341818"/>
                  <a:gd name="connsiteY25" fmla="*/ 128723 h 486225"/>
                  <a:gd name="connsiteX26" fmla="*/ 80046 w 341818"/>
                  <a:gd name="connsiteY26" fmla="*/ 114661 h 486225"/>
                  <a:gd name="connsiteX27" fmla="*/ 69229 w 341818"/>
                  <a:gd name="connsiteY27" fmla="*/ 101139 h 486225"/>
                  <a:gd name="connsiteX28" fmla="*/ 58952 w 341818"/>
                  <a:gd name="connsiteY28" fmla="*/ 87077 h 486225"/>
                  <a:gd name="connsiteX29" fmla="*/ 49758 w 341818"/>
                  <a:gd name="connsiteY29" fmla="*/ 71933 h 486225"/>
                  <a:gd name="connsiteX30" fmla="*/ 38400 w 341818"/>
                  <a:gd name="connsiteY30" fmla="*/ 58412 h 486225"/>
                  <a:gd name="connsiteX31" fmla="*/ 28665 w 341818"/>
                  <a:gd name="connsiteY31" fmla="*/ 43809 h 486225"/>
                  <a:gd name="connsiteX32" fmla="*/ 20011 w 341818"/>
                  <a:gd name="connsiteY32" fmla="*/ 28665 h 486225"/>
                  <a:gd name="connsiteX33" fmla="*/ 8113 w 341818"/>
                  <a:gd name="connsiteY33" fmla="*/ 15685 h 486225"/>
                  <a:gd name="connsiteX34" fmla="*/ 0 w 341818"/>
                  <a:gd name="connsiteY34" fmla="*/ 0 h 48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341818" h="486225">
                    <a:moveTo>
                      <a:pt x="341818" y="486226"/>
                    </a:moveTo>
                    <a:cubicBezTo>
                      <a:pt x="336950" y="479195"/>
                      <a:pt x="336410" y="479195"/>
                      <a:pt x="331542" y="472164"/>
                    </a:cubicBezTo>
                    <a:cubicBezTo>
                      <a:pt x="326674" y="465133"/>
                      <a:pt x="326133" y="465133"/>
                      <a:pt x="321265" y="458101"/>
                    </a:cubicBezTo>
                    <a:cubicBezTo>
                      <a:pt x="316398" y="451070"/>
                      <a:pt x="317480" y="449989"/>
                      <a:pt x="312071" y="442958"/>
                    </a:cubicBezTo>
                    <a:cubicBezTo>
                      <a:pt x="307203" y="435927"/>
                      <a:pt x="306663" y="435927"/>
                      <a:pt x="301795" y="428895"/>
                    </a:cubicBezTo>
                    <a:cubicBezTo>
                      <a:pt x="296927" y="421864"/>
                      <a:pt x="296386" y="421864"/>
                      <a:pt x="291519" y="414833"/>
                    </a:cubicBezTo>
                    <a:cubicBezTo>
                      <a:pt x="286651" y="407802"/>
                      <a:pt x="285029" y="408884"/>
                      <a:pt x="280161" y="401312"/>
                    </a:cubicBezTo>
                    <a:cubicBezTo>
                      <a:pt x="275293" y="394281"/>
                      <a:pt x="275293" y="394281"/>
                      <a:pt x="269885" y="386709"/>
                    </a:cubicBezTo>
                    <a:cubicBezTo>
                      <a:pt x="265017" y="379678"/>
                      <a:pt x="265017" y="379678"/>
                      <a:pt x="259609" y="372647"/>
                    </a:cubicBezTo>
                    <a:cubicBezTo>
                      <a:pt x="254741" y="365616"/>
                      <a:pt x="254741" y="365616"/>
                      <a:pt x="249333" y="358585"/>
                    </a:cubicBezTo>
                    <a:cubicBezTo>
                      <a:pt x="244465" y="351554"/>
                      <a:pt x="245005" y="351013"/>
                      <a:pt x="239597" y="343982"/>
                    </a:cubicBezTo>
                    <a:cubicBezTo>
                      <a:pt x="234729" y="336951"/>
                      <a:pt x="234729" y="336951"/>
                      <a:pt x="229321" y="329920"/>
                    </a:cubicBezTo>
                    <a:cubicBezTo>
                      <a:pt x="224453" y="322888"/>
                      <a:pt x="224453" y="322888"/>
                      <a:pt x="219586" y="315317"/>
                    </a:cubicBezTo>
                    <a:cubicBezTo>
                      <a:pt x="214718" y="308286"/>
                      <a:pt x="216341" y="307204"/>
                      <a:pt x="210932" y="300173"/>
                    </a:cubicBezTo>
                    <a:cubicBezTo>
                      <a:pt x="206064" y="293142"/>
                      <a:pt x="203901" y="294223"/>
                      <a:pt x="199033" y="287192"/>
                    </a:cubicBezTo>
                    <a:cubicBezTo>
                      <a:pt x="194165" y="280161"/>
                      <a:pt x="194165" y="280161"/>
                      <a:pt x="189298" y="272589"/>
                    </a:cubicBezTo>
                    <a:cubicBezTo>
                      <a:pt x="184430" y="265558"/>
                      <a:pt x="184430" y="265558"/>
                      <a:pt x="179022" y="258527"/>
                    </a:cubicBezTo>
                    <a:cubicBezTo>
                      <a:pt x="174154" y="251496"/>
                      <a:pt x="175235" y="250414"/>
                      <a:pt x="170368" y="243383"/>
                    </a:cubicBezTo>
                    <a:cubicBezTo>
                      <a:pt x="165501" y="236352"/>
                      <a:pt x="164418" y="236893"/>
                      <a:pt x="159010" y="229862"/>
                    </a:cubicBezTo>
                    <a:cubicBezTo>
                      <a:pt x="154143" y="222831"/>
                      <a:pt x="153601" y="222831"/>
                      <a:pt x="148734" y="215800"/>
                    </a:cubicBezTo>
                    <a:cubicBezTo>
                      <a:pt x="143866" y="208769"/>
                      <a:pt x="144948" y="207687"/>
                      <a:pt x="140080" y="200656"/>
                    </a:cubicBezTo>
                    <a:cubicBezTo>
                      <a:pt x="135213" y="193625"/>
                      <a:pt x="135213" y="193625"/>
                      <a:pt x="130345" y="186053"/>
                    </a:cubicBezTo>
                    <a:cubicBezTo>
                      <a:pt x="125477" y="179022"/>
                      <a:pt x="126018" y="178481"/>
                      <a:pt x="120610" y="171450"/>
                    </a:cubicBezTo>
                    <a:cubicBezTo>
                      <a:pt x="115742" y="164419"/>
                      <a:pt x="114660" y="164960"/>
                      <a:pt x="109252" y="157929"/>
                    </a:cubicBezTo>
                    <a:cubicBezTo>
                      <a:pt x="104384" y="150898"/>
                      <a:pt x="104925" y="150357"/>
                      <a:pt x="100058" y="143326"/>
                    </a:cubicBezTo>
                    <a:cubicBezTo>
                      <a:pt x="95190" y="136295"/>
                      <a:pt x="95190" y="135754"/>
                      <a:pt x="90322" y="128723"/>
                    </a:cubicBezTo>
                    <a:cubicBezTo>
                      <a:pt x="85454" y="121692"/>
                      <a:pt x="84913" y="121692"/>
                      <a:pt x="80046" y="114661"/>
                    </a:cubicBezTo>
                    <a:cubicBezTo>
                      <a:pt x="75178" y="107630"/>
                      <a:pt x="74096" y="108170"/>
                      <a:pt x="69229" y="101139"/>
                    </a:cubicBezTo>
                    <a:cubicBezTo>
                      <a:pt x="64361" y="94108"/>
                      <a:pt x="64361" y="94108"/>
                      <a:pt x="58952" y="87077"/>
                    </a:cubicBezTo>
                    <a:cubicBezTo>
                      <a:pt x="54085" y="80046"/>
                      <a:pt x="54626" y="79505"/>
                      <a:pt x="49758" y="71933"/>
                    </a:cubicBezTo>
                    <a:cubicBezTo>
                      <a:pt x="44890" y="64902"/>
                      <a:pt x="43809" y="65443"/>
                      <a:pt x="38400" y="58412"/>
                    </a:cubicBezTo>
                    <a:cubicBezTo>
                      <a:pt x="33533" y="51381"/>
                      <a:pt x="34073" y="50840"/>
                      <a:pt x="28665" y="43809"/>
                    </a:cubicBezTo>
                    <a:cubicBezTo>
                      <a:pt x="23797" y="36778"/>
                      <a:pt x="24879" y="35696"/>
                      <a:pt x="20011" y="28665"/>
                    </a:cubicBezTo>
                    <a:cubicBezTo>
                      <a:pt x="15143" y="21634"/>
                      <a:pt x="12980" y="22716"/>
                      <a:pt x="8113" y="15685"/>
                    </a:cubicBezTo>
                    <a:cubicBezTo>
                      <a:pt x="3245" y="8654"/>
                      <a:pt x="4867" y="7031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B27E2A0-282C-B9F6-F229-672AC812BE3A}"/>
                  </a:ext>
                </a:extLst>
              </p:cNvPr>
              <p:cNvSpPr/>
              <p:nvPr/>
            </p:nvSpPr>
            <p:spPr>
              <a:xfrm flipH="1">
                <a:off x="11058351" y="687670"/>
                <a:ext cx="114233" cy="335987"/>
              </a:xfrm>
              <a:custGeom>
                <a:avLst/>
                <a:gdLst>
                  <a:gd name="connsiteX0" fmla="*/ 137917 w 137917"/>
                  <a:gd name="connsiteY0" fmla="*/ 383464 h 383463"/>
                  <a:gd name="connsiteX1" fmla="*/ 131968 w 137917"/>
                  <a:gd name="connsiteY1" fmla="*/ 366697 h 383463"/>
                  <a:gd name="connsiteX2" fmla="*/ 126019 w 137917"/>
                  <a:gd name="connsiteY2" fmla="*/ 349931 h 383463"/>
                  <a:gd name="connsiteX3" fmla="*/ 118447 w 137917"/>
                  <a:gd name="connsiteY3" fmla="*/ 333706 h 383463"/>
                  <a:gd name="connsiteX4" fmla="*/ 112497 w 137917"/>
                  <a:gd name="connsiteY4" fmla="*/ 316939 h 383463"/>
                  <a:gd name="connsiteX5" fmla="*/ 107630 w 137917"/>
                  <a:gd name="connsiteY5" fmla="*/ 299632 h 383463"/>
                  <a:gd name="connsiteX6" fmla="*/ 100598 w 137917"/>
                  <a:gd name="connsiteY6" fmla="*/ 283406 h 383463"/>
                  <a:gd name="connsiteX7" fmla="*/ 95190 w 137917"/>
                  <a:gd name="connsiteY7" fmla="*/ 266640 h 383463"/>
                  <a:gd name="connsiteX8" fmla="*/ 90863 w 137917"/>
                  <a:gd name="connsiteY8" fmla="*/ 249333 h 383463"/>
                  <a:gd name="connsiteX9" fmla="*/ 84373 w 137917"/>
                  <a:gd name="connsiteY9" fmla="*/ 233107 h 383463"/>
                  <a:gd name="connsiteX10" fmla="*/ 78424 w 137917"/>
                  <a:gd name="connsiteY10" fmla="*/ 216341 h 383463"/>
                  <a:gd name="connsiteX11" fmla="*/ 73556 w 137917"/>
                  <a:gd name="connsiteY11" fmla="*/ 199574 h 383463"/>
                  <a:gd name="connsiteX12" fmla="*/ 67066 w 137917"/>
                  <a:gd name="connsiteY12" fmla="*/ 183349 h 383463"/>
                  <a:gd name="connsiteX13" fmla="*/ 61117 w 137917"/>
                  <a:gd name="connsiteY13" fmla="*/ 166582 h 383463"/>
                  <a:gd name="connsiteX14" fmla="*/ 55167 w 137917"/>
                  <a:gd name="connsiteY14" fmla="*/ 149816 h 383463"/>
                  <a:gd name="connsiteX15" fmla="*/ 49758 w 137917"/>
                  <a:gd name="connsiteY15" fmla="*/ 133050 h 383463"/>
                  <a:gd name="connsiteX16" fmla="*/ 42727 w 137917"/>
                  <a:gd name="connsiteY16" fmla="*/ 116824 h 383463"/>
                  <a:gd name="connsiteX17" fmla="*/ 36237 w 137917"/>
                  <a:gd name="connsiteY17" fmla="*/ 100058 h 383463"/>
                  <a:gd name="connsiteX18" fmla="*/ 31910 w 137917"/>
                  <a:gd name="connsiteY18" fmla="*/ 82750 h 383463"/>
                  <a:gd name="connsiteX19" fmla="*/ 25420 w 137917"/>
                  <a:gd name="connsiteY19" fmla="*/ 65984 h 383463"/>
                  <a:gd name="connsiteX20" fmla="*/ 18930 w 137917"/>
                  <a:gd name="connsiteY20" fmla="*/ 49758 h 383463"/>
                  <a:gd name="connsiteX21" fmla="*/ 12981 w 137917"/>
                  <a:gd name="connsiteY21" fmla="*/ 32992 h 383463"/>
                  <a:gd name="connsiteX22" fmla="*/ 6490 w 137917"/>
                  <a:gd name="connsiteY22" fmla="*/ 16226 h 383463"/>
                  <a:gd name="connsiteX23" fmla="*/ 0 w 137917"/>
                  <a:gd name="connsiteY23" fmla="*/ 0 h 383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7917" h="383463">
                    <a:moveTo>
                      <a:pt x="137917" y="383464"/>
                    </a:moveTo>
                    <a:cubicBezTo>
                      <a:pt x="135213" y="375351"/>
                      <a:pt x="134672" y="375351"/>
                      <a:pt x="131968" y="366697"/>
                    </a:cubicBezTo>
                    <a:cubicBezTo>
                      <a:pt x="129264" y="358585"/>
                      <a:pt x="128723" y="358585"/>
                      <a:pt x="126019" y="349931"/>
                    </a:cubicBezTo>
                    <a:cubicBezTo>
                      <a:pt x="123314" y="341818"/>
                      <a:pt x="121151" y="342359"/>
                      <a:pt x="118447" y="333706"/>
                    </a:cubicBezTo>
                    <a:cubicBezTo>
                      <a:pt x="115742" y="325593"/>
                      <a:pt x="115202" y="325593"/>
                      <a:pt x="112497" y="316939"/>
                    </a:cubicBezTo>
                    <a:cubicBezTo>
                      <a:pt x="109793" y="308826"/>
                      <a:pt x="110875" y="308286"/>
                      <a:pt x="107630" y="299632"/>
                    </a:cubicBezTo>
                    <a:cubicBezTo>
                      <a:pt x="104925" y="291519"/>
                      <a:pt x="103303" y="291519"/>
                      <a:pt x="100598" y="283406"/>
                    </a:cubicBezTo>
                    <a:cubicBezTo>
                      <a:pt x="97894" y="275294"/>
                      <a:pt x="97894" y="274753"/>
                      <a:pt x="95190" y="266640"/>
                    </a:cubicBezTo>
                    <a:cubicBezTo>
                      <a:pt x="92486" y="258527"/>
                      <a:pt x="93568" y="257986"/>
                      <a:pt x="90863" y="249333"/>
                    </a:cubicBezTo>
                    <a:cubicBezTo>
                      <a:pt x="88159" y="241220"/>
                      <a:pt x="87077" y="241220"/>
                      <a:pt x="84373" y="233107"/>
                    </a:cubicBezTo>
                    <a:cubicBezTo>
                      <a:pt x="81668" y="224994"/>
                      <a:pt x="81128" y="224994"/>
                      <a:pt x="78424" y="216341"/>
                    </a:cubicBezTo>
                    <a:cubicBezTo>
                      <a:pt x="75719" y="208228"/>
                      <a:pt x="76260" y="207687"/>
                      <a:pt x="73556" y="199574"/>
                    </a:cubicBezTo>
                    <a:cubicBezTo>
                      <a:pt x="70851" y="191462"/>
                      <a:pt x="69770" y="191462"/>
                      <a:pt x="67066" y="183349"/>
                    </a:cubicBezTo>
                    <a:cubicBezTo>
                      <a:pt x="64361" y="175236"/>
                      <a:pt x="63821" y="175236"/>
                      <a:pt x="61117" y="166582"/>
                    </a:cubicBezTo>
                    <a:cubicBezTo>
                      <a:pt x="58412" y="158470"/>
                      <a:pt x="57871" y="158470"/>
                      <a:pt x="55167" y="149816"/>
                    </a:cubicBezTo>
                    <a:cubicBezTo>
                      <a:pt x="52462" y="141703"/>
                      <a:pt x="52462" y="141162"/>
                      <a:pt x="49758" y="133050"/>
                    </a:cubicBezTo>
                    <a:cubicBezTo>
                      <a:pt x="47054" y="124937"/>
                      <a:pt x="45972" y="124937"/>
                      <a:pt x="42727" y="116824"/>
                    </a:cubicBezTo>
                    <a:cubicBezTo>
                      <a:pt x="39482" y="108711"/>
                      <a:pt x="39482" y="108711"/>
                      <a:pt x="36237" y="100058"/>
                    </a:cubicBezTo>
                    <a:cubicBezTo>
                      <a:pt x="33533" y="91945"/>
                      <a:pt x="35155" y="90863"/>
                      <a:pt x="31910" y="82750"/>
                    </a:cubicBezTo>
                    <a:cubicBezTo>
                      <a:pt x="29206" y="74638"/>
                      <a:pt x="28665" y="74638"/>
                      <a:pt x="25420" y="65984"/>
                    </a:cubicBezTo>
                    <a:cubicBezTo>
                      <a:pt x="22716" y="57871"/>
                      <a:pt x="21634" y="57871"/>
                      <a:pt x="18930" y="49758"/>
                    </a:cubicBezTo>
                    <a:cubicBezTo>
                      <a:pt x="16226" y="41646"/>
                      <a:pt x="15685" y="41646"/>
                      <a:pt x="12981" y="32992"/>
                    </a:cubicBezTo>
                    <a:cubicBezTo>
                      <a:pt x="10276" y="24879"/>
                      <a:pt x="9736" y="24879"/>
                      <a:pt x="6490" y="16226"/>
                    </a:cubicBezTo>
                    <a:cubicBezTo>
                      <a:pt x="3786" y="8113"/>
                      <a:pt x="2704" y="8113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A5491C4-D7DF-82D8-E121-F3BA969850B0}"/>
                  </a:ext>
                </a:extLst>
              </p:cNvPr>
              <p:cNvSpPr/>
              <p:nvPr/>
            </p:nvSpPr>
            <p:spPr>
              <a:xfrm flipH="1">
                <a:off x="10891256" y="752119"/>
                <a:ext cx="35838" cy="239314"/>
              </a:xfrm>
              <a:custGeom>
                <a:avLst/>
                <a:gdLst>
                  <a:gd name="connsiteX0" fmla="*/ 43268 w 43268"/>
                  <a:gd name="connsiteY0" fmla="*/ 273130 h 273130"/>
                  <a:gd name="connsiteX1" fmla="*/ 41645 w 43268"/>
                  <a:gd name="connsiteY1" fmla="*/ 255823 h 273130"/>
                  <a:gd name="connsiteX2" fmla="*/ 40023 w 43268"/>
                  <a:gd name="connsiteY2" fmla="*/ 238516 h 273130"/>
                  <a:gd name="connsiteX3" fmla="*/ 36237 w 43268"/>
                  <a:gd name="connsiteY3" fmla="*/ 221749 h 273130"/>
                  <a:gd name="connsiteX4" fmla="*/ 34073 w 43268"/>
                  <a:gd name="connsiteY4" fmla="*/ 204442 h 273130"/>
                  <a:gd name="connsiteX5" fmla="*/ 30288 w 43268"/>
                  <a:gd name="connsiteY5" fmla="*/ 187676 h 273130"/>
                  <a:gd name="connsiteX6" fmla="*/ 27043 w 43268"/>
                  <a:gd name="connsiteY6" fmla="*/ 170368 h 273130"/>
                  <a:gd name="connsiteX7" fmla="*/ 27043 w 43268"/>
                  <a:gd name="connsiteY7" fmla="*/ 153061 h 273130"/>
                  <a:gd name="connsiteX8" fmla="*/ 23256 w 43268"/>
                  <a:gd name="connsiteY8" fmla="*/ 136295 h 273130"/>
                  <a:gd name="connsiteX9" fmla="*/ 21634 w 43268"/>
                  <a:gd name="connsiteY9" fmla="*/ 118987 h 273130"/>
                  <a:gd name="connsiteX10" fmla="*/ 16766 w 43268"/>
                  <a:gd name="connsiteY10" fmla="*/ 102221 h 273130"/>
                  <a:gd name="connsiteX11" fmla="*/ 13521 w 43268"/>
                  <a:gd name="connsiteY11" fmla="*/ 85455 h 273130"/>
                  <a:gd name="connsiteX12" fmla="*/ 11898 w 43268"/>
                  <a:gd name="connsiteY12" fmla="*/ 68147 h 273130"/>
                  <a:gd name="connsiteX13" fmla="*/ 10276 w 43268"/>
                  <a:gd name="connsiteY13" fmla="*/ 50840 h 273130"/>
                  <a:gd name="connsiteX14" fmla="*/ 6490 w 43268"/>
                  <a:gd name="connsiteY14" fmla="*/ 34074 h 273130"/>
                  <a:gd name="connsiteX15" fmla="*/ 4867 w 43268"/>
                  <a:gd name="connsiteY15" fmla="*/ 16766 h 273130"/>
                  <a:gd name="connsiteX16" fmla="*/ 0 w 43268"/>
                  <a:gd name="connsiteY16" fmla="*/ 0 h 273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3268" h="273130">
                    <a:moveTo>
                      <a:pt x="43268" y="273130"/>
                    </a:moveTo>
                    <a:cubicBezTo>
                      <a:pt x="42186" y="264477"/>
                      <a:pt x="42727" y="264477"/>
                      <a:pt x="41645" y="255823"/>
                    </a:cubicBezTo>
                    <a:cubicBezTo>
                      <a:pt x="40564" y="247169"/>
                      <a:pt x="41105" y="247169"/>
                      <a:pt x="40023" y="238516"/>
                    </a:cubicBezTo>
                    <a:cubicBezTo>
                      <a:pt x="38941" y="229862"/>
                      <a:pt x="37318" y="230403"/>
                      <a:pt x="36237" y="221749"/>
                    </a:cubicBezTo>
                    <a:cubicBezTo>
                      <a:pt x="35155" y="213096"/>
                      <a:pt x="35155" y="213096"/>
                      <a:pt x="34073" y="204442"/>
                    </a:cubicBezTo>
                    <a:cubicBezTo>
                      <a:pt x="32992" y="195788"/>
                      <a:pt x="31910" y="195788"/>
                      <a:pt x="30288" y="187676"/>
                    </a:cubicBezTo>
                    <a:cubicBezTo>
                      <a:pt x="29205" y="179022"/>
                      <a:pt x="28665" y="179022"/>
                      <a:pt x="27043" y="170368"/>
                    </a:cubicBezTo>
                    <a:cubicBezTo>
                      <a:pt x="25960" y="161715"/>
                      <a:pt x="28124" y="161174"/>
                      <a:pt x="27043" y="153061"/>
                    </a:cubicBezTo>
                    <a:cubicBezTo>
                      <a:pt x="25960" y="144407"/>
                      <a:pt x="24879" y="144407"/>
                      <a:pt x="23256" y="136295"/>
                    </a:cubicBezTo>
                    <a:cubicBezTo>
                      <a:pt x="22175" y="127641"/>
                      <a:pt x="22716" y="127641"/>
                      <a:pt x="21634" y="118987"/>
                    </a:cubicBezTo>
                    <a:cubicBezTo>
                      <a:pt x="20552" y="110334"/>
                      <a:pt x="18388" y="110875"/>
                      <a:pt x="16766" y="102221"/>
                    </a:cubicBezTo>
                    <a:cubicBezTo>
                      <a:pt x="15684" y="93567"/>
                      <a:pt x="15143" y="93567"/>
                      <a:pt x="13521" y="85455"/>
                    </a:cubicBezTo>
                    <a:cubicBezTo>
                      <a:pt x="12439" y="76801"/>
                      <a:pt x="12980" y="76801"/>
                      <a:pt x="11898" y="68147"/>
                    </a:cubicBezTo>
                    <a:cubicBezTo>
                      <a:pt x="10817" y="59494"/>
                      <a:pt x="11898" y="59494"/>
                      <a:pt x="10276" y="50840"/>
                    </a:cubicBezTo>
                    <a:cubicBezTo>
                      <a:pt x="9194" y="42186"/>
                      <a:pt x="8113" y="42186"/>
                      <a:pt x="6490" y="34074"/>
                    </a:cubicBezTo>
                    <a:cubicBezTo>
                      <a:pt x="5409" y="25420"/>
                      <a:pt x="5949" y="25420"/>
                      <a:pt x="4867" y="16766"/>
                    </a:cubicBezTo>
                    <a:cubicBezTo>
                      <a:pt x="3786" y="8113"/>
                      <a:pt x="1622" y="8654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044C7CB-5DC4-FE8F-892F-CC859E64EFF6}"/>
                  </a:ext>
                </a:extLst>
              </p:cNvPr>
              <p:cNvSpPr/>
              <p:nvPr/>
            </p:nvSpPr>
            <p:spPr>
              <a:xfrm flipH="1">
                <a:off x="10722819" y="854479"/>
                <a:ext cx="17023" cy="150222"/>
              </a:xfrm>
              <a:custGeom>
                <a:avLst/>
                <a:gdLst>
                  <a:gd name="connsiteX0" fmla="*/ 0 w 20552"/>
                  <a:gd name="connsiteY0" fmla="*/ 171450 h 171449"/>
                  <a:gd name="connsiteX1" fmla="*/ 3786 w 20552"/>
                  <a:gd name="connsiteY1" fmla="*/ 154684 h 171449"/>
                  <a:gd name="connsiteX2" fmla="*/ 4327 w 20552"/>
                  <a:gd name="connsiteY2" fmla="*/ 137376 h 171449"/>
                  <a:gd name="connsiteX3" fmla="*/ 8113 w 20552"/>
                  <a:gd name="connsiteY3" fmla="*/ 120610 h 171449"/>
                  <a:gd name="connsiteX4" fmla="*/ 9195 w 20552"/>
                  <a:gd name="connsiteY4" fmla="*/ 103303 h 171449"/>
                  <a:gd name="connsiteX5" fmla="*/ 9736 w 20552"/>
                  <a:gd name="connsiteY5" fmla="*/ 85995 h 171449"/>
                  <a:gd name="connsiteX6" fmla="*/ 12981 w 20552"/>
                  <a:gd name="connsiteY6" fmla="*/ 69229 h 171449"/>
                  <a:gd name="connsiteX7" fmla="*/ 14062 w 20552"/>
                  <a:gd name="connsiteY7" fmla="*/ 51922 h 171449"/>
                  <a:gd name="connsiteX8" fmla="*/ 16766 w 20552"/>
                  <a:gd name="connsiteY8" fmla="*/ 34614 h 171449"/>
                  <a:gd name="connsiteX9" fmla="*/ 18930 w 20552"/>
                  <a:gd name="connsiteY9" fmla="*/ 17307 h 171449"/>
                  <a:gd name="connsiteX10" fmla="*/ 20553 w 20552"/>
                  <a:gd name="connsiteY10" fmla="*/ 0 h 171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52" h="171449">
                    <a:moveTo>
                      <a:pt x="0" y="171450"/>
                    </a:moveTo>
                    <a:cubicBezTo>
                      <a:pt x="1082" y="162796"/>
                      <a:pt x="2704" y="163337"/>
                      <a:pt x="3786" y="154684"/>
                    </a:cubicBezTo>
                    <a:cubicBezTo>
                      <a:pt x="4868" y="146030"/>
                      <a:pt x="3245" y="146030"/>
                      <a:pt x="4327" y="137376"/>
                    </a:cubicBezTo>
                    <a:cubicBezTo>
                      <a:pt x="5409" y="128723"/>
                      <a:pt x="7031" y="128723"/>
                      <a:pt x="8113" y="120610"/>
                    </a:cubicBezTo>
                    <a:cubicBezTo>
                      <a:pt x="9195" y="112497"/>
                      <a:pt x="8113" y="111956"/>
                      <a:pt x="9195" y="103303"/>
                    </a:cubicBezTo>
                    <a:cubicBezTo>
                      <a:pt x="10276" y="94649"/>
                      <a:pt x="9195" y="94649"/>
                      <a:pt x="9736" y="85995"/>
                    </a:cubicBezTo>
                    <a:cubicBezTo>
                      <a:pt x="10817" y="77342"/>
                      <a:pt x="11899" y="77342"/>
                      <a:pt x="12981" y="69229"/>
                    </a:cubicBezTo>
                    <a:cubicBezTo>
                      <a:pt x="14062" y="60575"/>
                      <a:pt x="12981" y="60575"/>
                      <a:pt x="14062" y="51922"/>
                    </a:cubicBezTo>
                    <a:cubicBezTo>
                      <a:pt x="15144" y="43268"/>
                      <a:pt x="15685" y="43268"/>
                      <a:pt x="16766" y="34614"/>
                    </a:cubicBezTo>
                    <a:cubicBezTo>
                      <a:pt x="17848" y="25961"/>
                      <a:pt x="17848" y="25961"/>
                      <a:pt x="18930" y="17307"/>
                    </a:cubicBezTo>
                    <a:cubicBezTo>
                      <a:pt x="20012" y="8654"/>
                      <a:pt x="19471" y="8654"/>
                      <a:pt x="20553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BAB1D1F3-22C6-FA8E-7395-884EF99CC736}"/>
                  </a:ext>
                </a:extLst>
              </p:cNvPr>
              <p:cNvSpPr/>
              <p:nvPr/>
            </p:nvSpPr>
            <p:spPr>
              <a:xfrm flipH="1">
                <a:off x="10548557" y="996646"/>
                <a:ext cx="50173" cy="65870"/>
              </a:xfrm>
              <a:custGeom>
                <a:avLst/>
                <a:gdLst>
                  <a:gd name="connsiteX0" fmla="*/ 0 w 60575"/>
                  <a:gd name="connsiteY0" fmla="*/ 75178 h 75178"/>
                  <a:gd name="connsiteX1" fmla="*/ 11899 w 60575"/>
                  <a:gd name="connsiteY1" fmla="*/ 60034 h 75178"/>
                  <a:gd name="connsiteX2" fmla="*/ 25420 w 60575"/>
                  <a:gd name="connsiteY2" fmla="*/ 45972 h 75178"/>
                  <a:gd name="connsiteX3" fmla="*/ 37860 w 60575"/>
                  <a:gd name="connsiteY3" fmla="*/ 31369 h 75178"/>
                  <a:gd name="connsiteX4" fmla="*/ 49217 w 60575"/>
                  <a:gd name="connsiteY4" fmla="*/ 15685 h 75178"/>
                  <a:gd name="connsiteX5" fmla="*/ 60576 w 60575"/>
                  <a:gd name="connsiteY5" fmla="*/ 0 h 75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575" h="75178">
                    <a:moveTo>
                      <a:pt x="0" y="75178"/>
                    </a:moveTo>
                    <a:cubicBezTo>
                      <a:pt x="5949" y="67606"/>
                      <a:pt x="5949" y="67606"/>
                      <a:pt x="11899" y="60034"/>
                    </a:cubicBezTo>
                    <a:cubicBezTo>
                      <a:pt x="17848" y="52463"/>
                      <a:pt x="19471" y="53544"/>
                      <a:pt x="25420" y="45972"/>
                    </a:cubicBezTo>
                    <a:cubicBezTo>
                      <a:pt x="31370" y="38400"/>
                      <a:pt x="31910" y="38941"/>
                      <a:pt x="37860" y="31369"/>
                    </a:cubicBezTo>
                    <a:cubicBezTo>
                      <a:pt x="43809" y="23797"/>
                      <a:pt x="43268" y="23257"/>
                      <a:pt x="49217" y="15685"/>
                    </a:cubicBezTo>
                    <a:cubicBezTo>
                      <a:pt x="55167" y="8113"/>
                      <a:pt x="54626" y="7572"/>
                      <a:pt x="60576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22690447-DE6E-0007-5A23-6423639E2986}"/>
                  </a:ext>
                </a:extLst>
              </p:cNvPr>
              <p:cNvSpPr/>
              <p:nvPr/>
            </p:nvSpPr>
            <p:spPr>
              <a:xfrm flipH="1">
                <a:off x="10467473" y="1105641"/>
                <a:ext cx="32702" cy="30802"/>
              </a:xfrm>
              <a:custGeom>
                <a:avLst/>
                <a:gdLst>
                  <a:gd name="connsiteX0" fmla="*/ 0 w 39482"/>
                  <a:gd name="connsiteY0" fmla="*/ 35155 h 35155"/>
                  <a:gd name="connsiteX1" fmla="*/ 12440 w 39482"/>
                  <a:gd name="connsiteY1" fmla="*/ 22716 h 35155"/>
                  <a:gd name="connsiteX2" fmla="*/ 26502 w 39482"/>
                  <a:gd name="connsiteY2" fmla="*/ 11899 h 35155"/>
                  <a:gd name="connsiteX3" fmla="*/ 39482 w 39482"/>
                  <a:gd name="connsiteY3" fmla="*/ 0 h 35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482" h="35155">
                    <a:moveTo>
                      <a:pt x="0" y="35155"/>
                    </a:moveTo>
                    <a:cubicBezTo>
                      <a:pt x="6491" y="29747"/>
                      <a:pt x="5949" y="28665"/>
                      <a:pt x="12440" y="22716"/>
                    </a:cubicBezTo>
                    <a:cubicBezTo>
                      <a:pt x="18930" y="17307"/>
                      <a:pt x="19471" y="17848"/>
                      <a:pt x="26502" y="11899"/>
                    </a:cubicBezTo>
                    <a:cubicBezTo>
                      <a:pt x="32992" y="6490"/>
                      <a:pt x="32451" y="5409"/>
                      <a:pt x="39482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0A4CB00A-8C62-092D-8DA7-B2C85AB382B6}"/>
                  </a:ext>
                </a:extLst>
              </p:cNvPr>
              <p:cNvSpPr/>
              <p:nvPr/>
            </p:nvSpPr>
            <p:spPr>
              <a:xfrm flipH="1">
                <a:off x="10419988" y="1216531"/>
                <a:ext cx="10751" cy="4738"/>
              </a:xfrm>
              <a:custGeom>
                <a:avLst/>
                <a:gdLst>
                  <a:gd name="connsiteX0" fmla="*/ 0 w 12980"/>
                  <a:gd name="connsiteY0" fmla="*/ 5409 h 5408"/>
                  <a:gd name="connsiteX1" fmla="*/ 12981 w 12980"/>
                  <a:gd name="connsiteY1" fmla="*/ 0 h 5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80" h="5408">
                    <a:moveTo>
                      <a:pt x="0" y="5409"/>
                    </a:moveTo>
                    <a:cubicBezTo>
                      <a:pt x="6491" y="2163"/>
                      <a:pt x="7031" y="3245"/>
                      <a:pt x="12981" y="0"/>
                    </a:cubicBez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7F27AF4A-DD6A-B552-4FA9-15A3CC059D6D}"/>
                </a:ext>
              </a:extLst>
            </p:cNvPr>
            <p:cNvGrpSpPr/>
            <p:nvPr userDrawn="1"/>
          </p:nvGrpSpPr>
          <p:grpSpPr>
            <a:xfrm>
              <a:off x="4706909" y="1648624"/>
              <a:ext cx="1033829" cy="2106576"/>
              <a:chOff x="4887873" y="1765520"/>
              <a:chExt cx="1008816" cy="2055609"/>
            </a:xfrm>
          </p:grpSpPr>
          <p:sp>
            <p:nvSpPr>
              <p:cNvPr id="645" name="Freeform: Shape 644">
                <a:extLst>
                  <a:ext uri="{FF2B5EF4-FFF2-40B4-BE49-F238E27FC236}">
                    <a16:creationId xmlns:a16="http://schemas.microsoft.com/office/drawing/2014/main" id="{AEA94ECC-5504-8CB0-8522-F33D5D5A6302}"/>
                  </a:ext>
                </a:extLst>
              </p:cNvPr>
              <p:cNvSpPr/>
              <p:nvPr/>
            </p:nvSpPr>
            <p:spPr>
              <a:xfrm flipH="1">
                <a:off x="5103155" y="2873541"/>
                <a:ext cx="397246" cy="39623"/>
              </a:xfrm>
              <a:custGeom>
                <a:avLst/>
                <a:gdLst>
                  <a:gd name="connsiteX0" fmla="*/ 0 w 369367"/>
                  <a:gd name="connsiteY0" fmla="*/ 36842 h 36842"/>
                  <a:gd name="connsiteX1" fmla="*/ 369367 w 369367"/>
                  <a:gd name="connsiteY1" fmla="*/ 0 h 36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9367" h="36842">
                    <a:moveTo>
                      <a:pt x="0" y="36842"/>
                    </a:moveTo>
                    <a:lnTo>
                      <a:pt x="369367" y="0"/>
                    </a:lnTo>
                  </a:path>
                </a:pathLst>
              </a:custGeom>
              <a:ln w="188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46" name="Freeform: Shape 645">
                <a:extLst>
                  <a:ext uri="{FF2B5EF4-FFF2-40B4-BE49-F238E27FC236}">
                    <a16:creationId xmlns:a16="http://schemas.microsoft.com/office/drawing/2014/main" id="{C017ED82-26DE-118C-2C91-F69611D35864}"/>
                  </a:ext>
                </a:extLst>
              </p:cNvPr>
              <p:cNvSpPr/>
              <p:nvPr/>
            </p:nvSpPr>
            <p:spPr>
              <a:xfrm flipH="1">
                <a:off x="4887873" y="2865885"/>
                <a:ext cx="963286" cy="955210"/>
              </a:xfrm>
              <a:custGeom>
                <a:avLst/>
                <a:gdLst>
                  <a:gd name="connsiteX0" fmla="*/ 695511 w 895684"/>
                  <a:gd name="connsiteY0" fmla="*/ 7118 h 888174"/>
                  <a:gd name="connsiteX1" fmla="*/ 763716 w 895684"/>
                  <a:gd name="connsiteY1" fmla="*/ 317 h 888174"/>
                  <a:gd name="connsiteX2" fmla="*/ 830032 w 895684"/>
                  <a:gd name="connsiteY2" fmla="*/ 54541 h 888174"/>
                  <a:gd name="connsiteX3" fmla="*/ 895026 w 895684"/>
                  <a:gd name="connsiteY3" fmla="*/ 707688 h 888174"/>
                  <a:gd name="connsiteX4" fmla="*/ 778264 w 895684"/>
                  <a:gd name="connsiteY4" fmla="*/ 850523 h 888174"/>
                  <a:gd name="connsiteX5" fmla="*/ 405874 w 895684"/>
                  <a:gd name="connsiteY5" fmla="*/ 887743 h 888174"/>
                  <a:gd name="connsiteX6" fmla="*/ 260583 w 895684"/>
                  <a:gd name="connsiteY6" fmla="*/ 767392 h 888174"/>
                  <a:gd name="connsiteX7" fmla="*/ 228464 w 895684"/>
                  <a:gd name="connsiteY7" fmla="*/ 748309 h 888174"/>
                  <a:gd name="connsiteX8" fmla="*/ 171217 w 895684"/>
                  <a:gd name="connsiteY8" fmla="*/ 758512 h 888174"/>
                  <a:gd name="connsiteX9" fmla="*/ 164415 w 895684"/>
                  <a:gd name="connsiteY9" fmla="*/ 759079 h 888174"/>
                  <a:gd name="connsiteX10" fmla="*/ 164226 w 895684"/>
                  <a:gd name="connsiteY10" fmla="*/ 759079 h 888174"/>
                  <a:gd name="connsiteX11" fmla="*/ 70703 w 895684"/>
                  <a:gd name="connsiteY11" fmla="*/ 726582 h 888174"/>
                  <a:gd name="connsiteX12" fmla="*/ 170083 w 895684"/>
                  <a:gd name="connsiteY12" fmla="*/ 682182 h 888174"/>
                  <a:gd name="connsiteX13" fmla="*/ 188410 w 895684"/>
                  <a:gd name="connsiteY13" fmla="*/ 682560 h 888174"/>
                  <a:gd name="connsiteX14" fmla="*/ 193889 w 895684"/>
                  <a:gd name="connsiteY14" fmla="*/ 681993 h 888174"/>
                  <a:gd name="connsiteX15" fmla="*/ 218639 w 895684"/>
                  <a:gd name="connsiteY15" fmla="*/ 679537 h 888174"/>
                  <a:gd name="connsiteX16" fmla="*/ 250191 w 895684"/>
                  <a:gd name="connsiteY16" fmla="*/ 640995 h 888174"/>
                  <a:gd name="connsiteX17" fmla="*/ 221663 w 895684"/>
                  <a:gd name="connsiteY17" fmla="*/ 355703 h 888174"/>
                  <a:gd name="connsiteX18" fmla="*/ 179530 w 895684"/>
                  <a:gd name="connsiteY18" fmla="*/ 321128 h 888174"/>
                  <a:gd name="connsiteX19" fmla="*/ 152701 w 895684"/>
                  <a:gd name="connsiteY19" fmla="*/ 323773 h 888174"/>
                  <a:gd name="connsiteX20" fmla="*/ 86763 w 895684"/>
                  <a:gd name="connsiteY20" fmla="*/ 372518 h 888174"/>
                  <a:gd name="connsiteX21" fmla="*/ 609 w 895684"/>
                  <a:gd name="connsiteY21" fmla="*/ 398969 h 888174"/>
                  <a:gd name="connsiteX22" fmla="*/ 120960 w 895684"/>
                  <a:gd name="connsiteY22" fmla="*/ 252734 h 888174"/>
                  <a:gd name="connsiteX23" fmla="*/ 173295 w 895684"/>
                  <a:gd name="connsiteY23" fmla="*/ 247443 h 888174"/>
                  <a:gd name="connsiteX24" fmla="*/ 206926 w 895684"/>
                  <a:gd name="connsiteY24" fmla="*/ 206256 h 888174"/>
                  <a:gd name="connsiteX25" fmla="*/ 198046 w 895684"/>
                  <a:gd name="connsiteY25" fmla="*/ 117456 h 888174"/>
                  <a:gd name="connsiteX26" fmla="*/ 252270 w 895684"/>
                  <a:gd name="connsiteY26" fmla="*/ 51140 h 888174"/>
                  <a:gd name="connsiteX27" fmla="*/ 326332 w 895684"/>
                  <a:gd name="connsiteY27" fmla="*/ 43772 h 88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895684" h="888174">
                    <a:moveTo>
                      <a:pt x="695511" y="7118"/>
                    </a:moveTo>
                    <a:lnTo>
                      <a:pt x="763716" y="317"/>
                    </a:lnTo>
                    <a:cubicBezTo>
                      <a:pt x="796968" y="-3084"/>
                      <a:pt x="826631" y="21289"/>
                      <a:pt x="830032" y="54541"/>
                    </a:cubicBezTo>
                    <a:lnTo>
                      <a:pt x="895026" y="707688"/>
                    </a:lnTo>
                    <a:cubicBezTo>
                      <a:pt x="902205" y="779484"/>
                      <a:pt x="849870" y="843344"/>
                      <a:pt x="778264" y="850523"/>
                    </a:cubicBezTo>
                    <a:lnTo>
                      <a:pt x="405874" y="887743"/>
                    </a:lnTo>
                    <a:cubicBezTo>
                      <a:pt x="342014" y="893978"/>
                      <a:pt x="278910" y="831630"/>
                      <a:pt x="260583" y="767392"/>
                    </a:cubicBezTo>
                    <a:cubicBezTo>
                      <a:pt x="256615" y="753789"/>
                      <a:pt x="242445" y="745853"/>
                      <a:pt x="228464" y="748309"/>
                    </a:cubicBezTo>
                    <a:lnTo>
                      <a:pt x="171217" y="758512"/>
                    </a:lnTo>
                    <a:lnTo>
                      <a:pt x="164415" y="759079"/>
                    </a:lnTo>
                    <a:lnTo>
                      <a:pt x="164226" y="759079"/>
                    </a:lnTo>
                    <a:cubicBezTo>
                      <a:pt x="129084" y="760779"/>
                      <a:pt x="95832" y="748309"/>
                      <a:pt x="70703" y="726582"/>
                    </a:cubicBezTo>
                    <a:cubicBezTo>
                      <a:pt x="103012" y="720158"/>
                      <a:pt x="137209" y="698053"/>
                      <a:pt x="170083" y="682182"/>
                    </a:cubicBezTo>
                    <a:cubicBezTo>
                      <a:pt x="175940" y="683127"/>
                      <a:pt x="182175" y="683127"/>
                      <a:pt x="188410" y="682560"/>
                    </a:cubicBezTo>
                    <a:lnTo>
                      <a:pt x="193889" y="681993"/>
                    </a:lnTo>
                    <a:lnTo>
                      <a:pt x="218639" y="679537"/>
                    </a:lnTo>
                    <a:cubicBezTo>
                      <a:pt x="237911" y="677648"/>
                      <a:pt x="252081" y="660455"/>
                      <a:pt x="250191" y="640995"/>
                    </a:cubicBezTo>
                    <a:lnTo>
                      <a:pt x="221663" y="355703"/>
                    </a:lnTo>
                    <a:cubicBezTo>
                      <a:pt x="219584" y="334542"/>
                      <a:pt x="200690" y="319050"/>
                      <a:pt x="179530" y="321128"/>
                    </a:cubicBezTo>
                    <a:lnTo>
                      <a:pt x="152701" y="323773"/>
                    </a:lnTo>
                    <a:cubicBezTo>
                      <a:pt x="122660" y="326796"/>
                      <a:pt x="97910" y="346256"/>
                      <a:pt x="86763" y="372518"/>
                    </a:cubicBezTo>
                    <a:cubicBezTo>
                      <a:pt x="59368" y="383288"/>
                      <a:pt x="29705" y="396702"/>
                      <a:pt x="609" y="398969"/>
                    </a:cubicBezTo>
                    <a:cubicBezTo>
                      <a:pt x="-6382" y="325851"/>
                      <a:pt x="47653" y="259913"/>
                      <a:pt x="120960" y="252734"/>
                    </a:cubicBezTo>
                    <a:lnTo>
                      <a:pt x="173295" y="247443"/>
                    </a:lnTo>
                    <a:cubicBezTo>
                      <a:pt x="193889" y="245365"/>
                      <a:pt x="209004" y="226850"/>
                      <a:pt x="206926" y="206256"/>
                    </a:cubicBezTo>
                    <a:lnTo>
                      <a:pt x="198046" y="117456"/>
                    </a:lnTo>
                    <a:cubicBezTo>
                      <a:pt x="194644" y="84204"/>
                      <a:pt x="219017" y="54541"/>
                      <a:pt x="252270" y="51140"/>
                    </a:cubicBezTo>
                    <a:lnTo>
                      <a:pt x="326332" y="43772"/>
                    </a:lnTo>
                  </a:path>
                </a:pathLst>
              </a:custGeom>
              <a:solidFill>
                <a:srgbClr val="88BCAD"/>
              </a:solidFill>
              <a:ln w="49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50" name="Freeform: Shape 649">
                <a:extLst>
                  <a:ext uri="{FF2B5EF4-FFF2-40B4-BE49-F238E27FC236}">
                    <a16:creationId xmlns:a16="http://schemas.microsoft.com/office/drawing/2014/main" id="{ACA3E81D-A82B-3B60-4DD0-F1851B9E7C8D}"/>
                  </a:ext>
                </a:extLst>
              </p:cNvPr>
              <p:cNvSpPr/>
              <p:nvPr/>
            </p:nvSpPr>
            <p:spPr>
              <a:xfrm flipH="1">
                <a:off x="5630153" y="3250140"/>
                <a:ext cx="266536" cy="402334"/>
              </a:xfrm>
              <a:custGeom>
                <a:avLst/>
                <a:gdLst>
                  <a:gd name="connsiteX0" fmla="*/ 236225 w 247831"/>
                  <a:gd name="connsiteY0" fmla="*/ 324705 h 374099"/>
                  <a:gd name="connsiteX1" fmla="*/ 230745 w 247831"/>
                  <a:gd name="connsiteY1" fmla="*/ 325272 h 374099"/>
                  <a:gd name="connsiteX2" fmla="*/ 212419 w 247831"/>
                  <a:gd name="connsiteY2" fmla="*/ 324894 h 374099"/>
                  <a:gd name="connsiteX3" fmla="*/ 113039 w 247831"/>
                  <a:gd name="connsiteY3" fmla="*/ 369293 h 374099"/>
                  <a:gd name="connsiteX4" fmla="*/ 74118 w 247831"/>
                  <a:gd name="connsiteY4" fmla="*/ 367593 h 374099"/>
                  <a:gd name="connsiteX5" fmla="*/ 40488 w 247831"/>
                  <a:gd name="connsiteY5" fmla="*/ 42059 h 374099"/>
                  <a:gd name="connsiteX6" fmla="*/ 42755 w 247831"/>
                  <a:gd name="connsiteY6" fmla="*/ 41870 h 374099"/>
                  <a:gd name="connsiteX7" fmla="*/ 128909 w 247831"/>
                  <a:gd name="connsiteY7" fmla="*/ 15419 h 374099"/>
                  <a:gd name="connsiteX8" fmla="*/ 245482 w 247831"/>
                  <a:gd name="connsiteY8" fmla="*/ 101573 h 374099"/>
                  <a:gd name="connsiteX9" fmla="*/ 236225 w 247831"/>
                  <a:gd name="connsiteY9" fmla="*/ 324705 h 374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831" h="374099">
                    <a:moveTo>
                      <a:pt x="236225" y="324705"/>
                    </a:moveTo>
                    <a:lnTo>
                      <a:pt x="230745" y="325272"/>
                    </a:lnTo>
                    <a:cubicBezTo>
                      <a:pt x="224511" y="325839"/>
                      <a:pt x="218276" y="325839"/>
                      <a:pt x="212419" y="324894"/>
                    </a:cubicBezTo>
                    <a:cubicBezTo>
                      <a:pt x="179544" y="340764"/>
                      <a:pt x="145347" y="362870"/>
                      <a:pt x="113039" y="369293"/>
                    </a:cubicBezTo>
                    <a:cubicBezTo>
                      <a:pt x="99625" y="371939"/>
                      <a:pt x="79975" y="379496"/>
                      <a:pt x="74118" y="367593"/>
                    </a:cubicBezTo>
                    <a:cubicBezTo>
                      <a:pt x="36520" y="291075"/>
                      <a:pt x="-51334" y="84569"/>
                      <a:pt x="40488" y="42059"/>
                    </a:cubicBezTo>
                    <a:cubicBezTo>
                      <a:pt x="41244" y="42059"/>
                      <a:pt x="42000" y="41870"/>
                      <a:pt x="42755" y="41870"/>
                    </a:cubicBezTo>
                    <a:cubicBezTo>
                      <a:pt x="71851" y="39602"/>
                      <a:pt x="101514" y="26188"/>
                      <a:pt x="128909" y="15419"/>
                    </a:cubicBezTo>
                    <a:cubicBezTo>
                      <a:pt x="186724" y="-8009"/>
                      <a:pt x="234524" y="-21046"/>
                      <a:pt x="245482" y="101573"/>
                    </a:cubicBezTo>
                    <a:cubicBezTo>
                      <a:pt x="253229" y="187916"/>
                      <a:pt x="239625" y="245919"/>
                      <a:pt x="236225" y="324705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51" name="Freeform: Shape 650">
                <a:extLst>
                  <a:ext uri="{FF2B5EF4-FFF2-40B4-BE49-F238E27FC236}">
                    <a16:creationId xmlns:a16="http://schemas.microsoft.com/office/drawing/2014/main" id="{50017F50-E9DB-25BC-E0DB-B8043D3967EB}"/>
                  </a:ext>
                </a:extLst>
              </p:cNvPr>
              <p:cNvSpPr/>
              <p:nvPr/>
            </p:nvSpPr>
            <p:spPr>
              <a:xfrm rot="388799" flipH="1">
                <a:off x="4958635" y="2933159"/>
                <a:ext cx="541310" cy="814607"/>
              </a:xfrm>
              <a:custGeom>
                <a:avLst/>
                <a:gdLst>
                  <a:gd name="connsiteX0" fmla="*/ 0 w 503322"/>
                  <a:gd name="connsiteY0" fmla="*/ 0 h 757439"/>
                  <a:gd name="connsiteX1" fmla="*/ 503322 w 503322"/>
                  <a:gd name="connsiteY1" fmla="*/ 0 h 757439"/>
                  <a:gd name="connsiteX2" fmla="*/ 503322 w 503322"/>
                  <a:gd name="connsiteY2" fmla="*/ 639355 h 757439"/>
                  <a:gd name="connsiteX3" fmla="*/ 385238 w 503322"/>
                  <a:gd name="connsiteY3" fmla="*/ 757439 h 757439"/>
                  <a:gd name="connsiteX4" fmla="*/ 118273 w 503322"/>
                  <a:gd name="connsiteY4" fmla="*/ 757439 h 757439"/>
                  <a:gd name="connsiteX5" fmla="*/ 189 w 503322"/>
                  <a:gd name="connsiteY5" fmla="*/ 639355 h 757439"/>
                  <a:gd name="connsiteX6" fmla="*/ 189 w 503322"/>
                  <a:gd name="connsiteY6" fmla="*/ 0 h 757439"/>
                  <a:gd name="connsiteX7" fmla="*/ 189 w 503322"/>
                  <a:gd name="connsiteY7" fmla="*/ 0 h 757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3322" h="757439">
                    <a:moveTo>
                      <a:pt x="0" y="0"/>
                    </a:moveTo>
                    <a:lnTo>
                      <a:pt x="503322" y="0"/>
                    </a:lnTo>
                    <a:lnTo>
                      <a:pt x="503322" y="639355"/>
                    </a:lnTo>
                    <a:cubicBezTo>
                      <a:pt x="503322" y="704537"/>
                      <a:pt x="450420" y="757439"/>
                      <a:pt x="385238" y="757439"/>
                    </a:cubicBezTo>
                    <a:lnTo>
                      <a:pt x="118273" y="757439"/>
                    </a:lnTo>
                    <a:cubicBezTo>
                      <a:pt x="53091" y="757439"/>
                      <a:pt x="189" y="704537"/>
                      <a:pt x="189" y="639355"/>
                    </a:cubicBezTo>
                    <a:lnTo>
                      <a:pt x="189" y="0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rgbClr val="E1EBE5">
                  <a:alpha val="30000"/>
                </a:srgbClr>
              </a:solidFill>
              <a:ln w="495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53" name="Freeform: Shape 652">
                <a:extLst>
                  <a:ext uri="{FF2B5EF4-FFF2-40B4-BE49-F238E27FC236}">
                    <a16:creationId xmlns:a16="http://schemas.microsoft.com/office/drawing/2014/main" id="{354DA86F-4612-B0DB-554F-07890E454667}"/>
                  </a:ext>
                </a:extLst>
              </p:cNvPr>
              <p:cNvSpPr/>
              <p:nvPr/>
            </p:nvSpPr>
            <p:spPr>
              <a:xfrm flipH="1">
                <a:off x="5254738" y="2892437"/>
                <a:ext cx="596421" cy="928692"/>
              </a:xfrm>
              <a:custGeom>
                <a:avLst/>
                <a:gdLst>
                  <a:gd name="connsiteX0" fmla="*/ 554565 w 554565"/>
                  <a:gd name="connsiteY0" fmla="*/ 848128 h 863518"/>
                  <a:gd name="connsiteX1" fmla="*/ 405874 w 554565"/>
                  <a:gd name="connsiteY1" fmla="*/ 863054 h 863518"/>
                  <a:gd name="connsiteX2" fmla="*/ 265495 w 554565"/>
                  <a:gd name="connsiteY2" fmla="*/ 748748 h 863518"/>
                  <a:gd name="connsiteX3" fmla="*/ 233376 w 554565"/>
                  <a:gd name="connsiteY3" fmla="*/ 727588 h 863518"/>
                  <a:gd name="connsiteX4" fmla="*/ 171217 w 554565"/>
                  <a:gd name="connsiteY4" fmla="*/ 733823 h 863518"/>
                  <a:gd name="connsiteX5" fmla="*/ 164415 w 554565"/>
                  <a:gd name="connsiteY5" fmla="*/ 734389 h 863518"/>
                  <a:gd name="connsiteX6" fmla="*/ 164226 w 554565"/>
                  <a:gd name="connsiteY6" fmla="*/ 734389 h 863518"/>
                  <a:gd name="connsiteX7" fmla="*/ 70703 w 554565"/>
                  <a:gd name="connsiteY7" fmla="*/ 701893 h 863518"/>
                  <a:gd name="connsiteX8" fmla="*/ 170083 w 554565"/>
                  <a:gd name="connsiteY8" fmla="*/ 657493 h 863518"/>
                  <a:gd name="connsiteX9" fmla="*/ 188410 w 554565"/>
                  <a:gd name="connsiteY9" fmla="*/ 657871 h 863518"/>
                  <a:gd name="connsiteX10" fmla="*/ 193889 w 554565"/>
                  <a:gd name="connsiteY10" fmla="*/ 657304 h 863518"/>
                  <a:gd name="connsiteX11" fmla="*/ 218639 w 554565"/>
                  <a:gd name="connsiteY11" fmla="*/ 654848 h 863518"/>
                  <a:gd name="connsiteX12" fmla="*/ 250191 w 554565"/>
                  <a:gd name="connsiteY12" fmla="*/ 616305 h 863518"/>
                  <a:gd name="connsiteX13" fmla="*/ 221663 w 554565"/>
                  <a:gd name="connsiteY13" fmla="*/ 331014 h 863518"/>
                  <a:gd name="connsiteX14" fmla="*/ 179530 w 554565"/>
                  <a:gd name="connsiteY14" fmla="*/ 296439 h 863518"/>
                  <a:gd name="connsiteX15" fmla="*/ 152701 w 554565"/>
                  <a:gd name="connsiteY15" fmla="*/ 299084 h 863518"/>
                  <a:gd name="connsiteX16" fmla="*/ 86763 w 554565"/>
                  <a:gd name="connsiteY16" fmla="*/ 347829 h 863518"/>
                  <a:gd name="connsiteX17" fmla="*/ 609 w 554565"/>
                  <a:gd name="connsiteY17" fmla="*/ 374280 h 863518"/>
                  <a:gd name="connsiteX18" fmla="*/ 120960 w 554565"/>
                  <a:gd name="connsiteY18" fmla="*/ 228044 h 863518"/>
                  <a:gd name="connsiteX19" fmla="*/ 173295 w 554565"/>
                  <a:gd name="connsiteY19" fmla="*/ 222754 h 863518"/>
                  <a:gd name="connsiteX20" fmla="*/ 206926 w 554565"/>
                  <a:gd name="connsiteY20" fmla="*/ 181566 h 863518"/>
                  <a:gd name="connsiteX21" fmla="*/ 198234 w 554565"/>
                  <a:gd name="connsiteY21" fmla="*/ 94656 h 863518"/>
                  <a:gd name="connsiteX22" fmla="*/ 254159 w 554565"/>
                  <a:gd name="connsiteY22" fmla="*/ 26262 h 863518"/>
                  <a:gd name="connsiteX23" fmla="*/ 518101 w 554565"/>
                  <a:gd name="connsiteY23" fmla="*/ 0 h 86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54565" h="863518">
                    <a:moveTo>
                      <a:pt x="554565" y="848128"/>
                    </a:moveTo>
                    <a:lnTo>
                      <a:pt x="405874" y="863054"/>
                    </a:lnTo>
                    <a:cubicBezTo>
                      <a:pt x="342014" y="869289"/>
                      <a:pt x="282877" y="811853"/>
                      <a:pt x="265495" y="748748"/>
                    </a:cubicBezTo>
                    <a:cubicBezTo>
                      <a:pt x="261717" y="734767"/>
                      <a:pt x="247736" y="726265"/>
                      <a:pt x="233376" y="727588"/>
                    </a:cubicBezTo>
                    <a:lnTo>
                      <a:pt x="171217" y="733823"/>
                    </a:lnTo>
                    <a:lnTo>
                      <a:pt x="164415" y="734389"/>
                    </a:lnTo>
                    <a:lnTo>
                      <a:pt x="164226" y="734389"/>
                    </a:lnTo>
                    <a:cubicBezTo>
                      <a:pt x="129084" y="736090"/>
                      <a:pt x="95832" y="723620"/>
                      <a:pt x="70703" y="701893"/>
                    </a:cubicBezTo>
                    <a:cubicBezTo>
                      <a:pt x="103012" y="695469"/>
                      <a:pt x="137209" y="673363"/>
                      <a:pt x="170083" y="657493"/>
                    </a:cubicBezTo>
                    <a:cubicBezTo>
                      <a:pt x="175940" y="658438"/>
                      <a:pt x="182175" y="658438"/>
                      <a:pt x="188410" y="657871"/>
                    </a:cubicBezTo>
                    <a:lnTo>
                      <a:pt x="193889" y="657304"/>
                    </a:lnTo>
                    <a:lnTo>
                      <a:pt x="218639" y="654848"/>
                    </a:lnTo>
                    <a:cubicBezTo>
                      <a:pt x="237911" y="652959"/>
                      <a:pt x="252081" y="635765"/>
                      <a:pt x="250191" y="616305"/>
                    </a:cubicBezTo>
                    <a:lnTo>
                      <a:pt x="221663" y="331014"/>
                    </a:lnTo>
                    <a:cubicBezTo>
                      <a:pt x="219584" y="309853"/>
                      <a:pt x="200690" y="294360"/>
                      <a:pt x="179530" y="296439"/>
                    </a:cubicBezTo>
                    <a:lnTo>
                      <a:pt x="152701" y="299084"/>
                    </a:lnTo>
                    <a:cubicBezTo>
                      <a:pt x="122660" y="302107"/>
                      <a:pt x="97910" y="321567"/>
                      <a:pt x="86763" y="347829"/>
                    </a:cubicBezTo>
                    <a:cubicBezTo>
                      <a:pt x="59368" y="358598"/>
                      <a:pt x="29705" y="372013"/>
                      <a:pt x="609" y="374280"/>
                    </a:cubicBezTo>
                    <a:cubicBezTo>
                      <a:pt x="-6382" y="301162"/>
                      <a:pt x="47653" y="235224"/>
                      <a:pt x="120960" y="228044"/>
                    </a:cubicBezTo>
                    <a:lnTo>
                      <a:pt x="173295" y="222754"/>
                    </a:lnTo>
                    <a:cubicBezTo>
                      <a:pt x="193889" y="220676"/>
                      <a:pt x="209004" y="202160"/>
                      <a:pt x="206926" y="181566"/>
                    </a:cubicBezTo>
                    <a:lnTo>
                      <a:pt x="198234" y="94656"/>
                    </a:lnTo>
                    <a:cubicBezTo>
                      <a:pt x="194834" y="60270"/>
                      <a:pt x="219773" y="29663"/>
                      <a:pt x="254159" y="26262"/>
                    </a:cubicBezTo>
                    <a:lnTo>
                      <a:pt x="518101" y="0"/>
                    </a:ln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54" name="Freeform: Shape 653">
                <a:extLst>
                  <a:ext uri="{FF2B5EF4-FFF2-40B4-BE49-F238E27FC236}">
                    <a16:creationId xmlns:a16="http://schemas.microsoft.com/office/drawing/2014/main" id="{D661843D-F8AD-0B2F-533B-B08EEF40E4C4}"/>
                  </a:ext>
                </a:extLst>
              </p:cNvPr>
              <p:cNvSpPr/>
              <p:nvPr/>
            </p:nvSpPr>
            <p:spPr>
              <a:xfrm flipH="1">
                <a:off x="4887873" y="3189508"/>
                <a:ext cx="237836" cy="602269"/>
              </a:xfrm>
              <a:custGeom>
                <a:avLst/>
                <a:gdLst>
                  <a:gd name="connsiteX0" fmla="*/ 180055 w 221145"/>
                  <a:gd name="connsiteY0" fmla="*/ 0 h 560002"/>
                  <a:gd name="connsiteX1" fmla="*/ 220487 w 221145"/>
                  <a:gd name="connsiteY1" fmla="*/ 406776 h 560002"/>
                  <a:gd name="connsiteX2" fmla="*/ 103725 w 221145"/>
                  <a:gd name="connsiteY2" fmla="*/ 549611 h 560002"/>
                  <a:gd name="connsiteX3" fmla="*/ 0 w 221145"/>
                  <a:gd name="connsiteY3" fmla="*/ 560003 h 560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1145" h="560002">
                    <a:moveTo>
                      <a:pt x="180055" y="0"/>
                    </a:moveTo>
                    <a:lnTo>
                      <a:pt x="220487" y="406776"/>
                    </a:lnTo>
                    <a:cubicBezTo>
                      <a:pt x="227666" y="478572"/>
                      <a:pt x="175331" y="542432"/>
                      <a:pt x="103725" y="549611"/>
                    </a:cubicBezTo>
                    <a:lnTo>
                      <a:pt x="0" y="560003"/>
                    </a:ln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55" name="Freeform: Shape 654">
                <a:extLst>
                  <a:ext uri="{FF2B5EF4-FFF2-40B4-BE49-F238E27FC236}">
                    <a16:creationId xmlns:a16="http://schemas.microsoft.com/office/drawing/2014/main" id="{E78E68DA-2326-27DF-8BA2-E640C5FA11CC}"/>
                  </a:ext>
                </a:extLst>
              </p:cNvPr>
              <p:cNvSpPr/>
              <p:nvPr/>
            </p:nvSpPr>
            <p:spPr>
              <a:xfrm flipH="1">
                <a:off x="5131850" y="1765520"/>
                <a:ext cx="336070" cy="1038120"/>
              </a:xfrm>
              <a:custGeom>
                <a:avLst/>
                <a:gdLst>
                  <a:gd name="connsiteX0" fmla="*/ 154389 w 312485"/>
                  <a:gd name="connsiteY0" fmla="*/ 189124 h 965267"/>
                  <a:gd name="connsiteX1" fmla="*/ 236387 w 312485"/>
                  <a:gd name="connsiteY1" fmla="*/ 146235 h 965267"/>
                  <a:gd name="connsiteX2" fmla="*/ 264349 w 312485"/>
                  <a:gd name="connsiteY2" fmla="*/ 427748 h 965267"/>
                  <a:gd name="connsiteX3" fmla="*/ 129072 w 312485"/>
                  <a:gd name="connsiteY3" fmla="*/ 588532 h 965267"/>
                  <a:gd name="connsiteX4" fmla="*/ 305914 w 312485"/>
                  <a:gd name="connsiteY4" fmla="*/ 773688 h 965267"/>
                  <a:gd name="connsiteX5" fmla="*/ 131150 w 312485"/>
                  <a:gd name="connsiteY5" fmla="*/ 965268 h 965267"/>
                  <a:gd name="connsiteX6" fmla="*/ 126049 w 312485"/>
                  <a:gd name="connsiteY6" fmla="*/ 871745 h 965267"/>
                  <a:gd name="connsiteX7" fmla="*/ 221461 w 312485"/>
                  <a:gd name="connsiteY7" fmla="*/ 767075 h 965267"/>
                  <a:gd name="connsiteX8" fmla="*/ 178573 w 312485"/>
                  <a:gd name="connsiteY8" fmla="*/ 726265 h 965267"/>
                  <a:gd name="connsiteX9" fmla="*/ 32904 w 312485"/>
                  <a:gd name="connsiteY9" fmla="*/ 659760 h 965267"/>
                  <a:gd name="connsiteX10" fmla="*/ 109045 w 312485"/>
                  <a:gd name="connsiteY10" fmla="*/ 479138 h 965267"/>
                  <a:gd name="connsiteX11" fmla="*/ 229396 w 312485"/>
                  <a:gd name="connsiteY11" fmla="*/ 194036 h 965267"/>
                  <a:gd name="connsiteX12" fmla="*/ 192932 w 312485"/>
                  <a:gd name="connsiteY12" fmla="*/ 235413 h 965267"/>
                  <a:gd name="connsiteX13" fmla="*/ 24780 w 312485"/>
                  <a:gd name="connsiteY13" fmla="*/ 0 h 965267"/>
                  <a:gd name="connsiteX14" fmla="*/ 154200 w 312485"/>
                  <a:gd name="connsiteY14" fmla="*/ 188746 h 96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12485" h="965267">
                    <a:moveTo>
                      <a:pt x="154389" y="189124"/>
                    </a:moveTo>
                    <a:cubicBezTo>
                      <a:pt x="190098" y="191769"/>
                      <a:pt x="192932" y="138867"/>
                      <a:pt x="236387" y="146235"/>
                    </a:cubicBezTo>
                    <a:cubicBezTo>
                      <a:pt x="340679" y="155871"/>
                      <a:pt x="282298" y="370501"/>
                      <a:pt x="264349" y="427748"/>
                    </a:cubicBezTo>
                    <a:cubicBezTo>
                      <a:pt x="242622" y="493875"/>
                      <a:pt x="143620" y="515414"/>
                      <a:pt x="129072" y="588532"/>
                    </a:cubicBezTo>
                    <a:cubicBezTo>
                      <a:pt x="112068" y="673741"/>
                      <a:pt x="355038" y="716063"/>
                      <a:pt x="305914" y="773688"/>
                    </a:cubicBezTo>
                    <a:cubicBezTo>
                      <a:pt x="292689" y="789180"/>
                      <a:pt x="135873" y="848506"/>
                      <a:pt x="131150" y="965268"/>
                    </a:cubicBezTo>
                    <a:cubicBezTo>
                      <a:pt x="132284" y="935794"/>
                      <a:pt x="114524" y="904053"/>
                      <a:pt x="126049" y="871745"/>
                    </a:cubicBezTo>
                    <a:cubicBezTo>
                      <a:pt x="141353" y="825456"/>
                      <a:pt x="226373" y="793337"/>
                      <a:pt x="221461" y="767075"/>
                    </a:cubicBezTo>
                    <a:cubicBezTo>
                      <a:pt x="218060" y="748370"/>
                      <a:pt x="197088" y="733067"/>
                      <a:pt x="178573" y="726265"/>
                    </a:cubicBezTo>
                    <a:cubicBezTo>
                      <a:pt x="146832" y="713418"/>
                      <a:pt x="54442" y="691501"/>
                      <a:pt x="32904" y="659760"/>
                    </a:cubicBezTo>
                    <a:cubicBezTo>
                      <a:pt x="-30389" y="566237"/>
                      <a:pt x="69935" y="495009"/>
                      <a:pt x="109045" y="479138"/>
                    </a:cubicBezTo>
                    <a:cubicBezTo>
                      <a:pt x="221839" y="433605"/>
                      <a:pt x="318384" y="199326"/>
                      <a:pt x="229396" y="194036"/>
                    </a:cubicBezTo>
                    <a:cubicBezTo>
                      <a:pt x="203890" y="192524"/>
                      <a:pt x="222217" y="230311"/>
                      <a:pt x="192932" y="235413"/>
                    </a:cubicBezTo>
                    <a:cubicBezTo>
                      <a:pt x="63511" y="259596"/>
                      <a:pt x="-52306" y="131687"/>
                      <a:pt x="24780" y="0"/>
                    </a:cubicBezTo>
                    <a:cubicBezTo>
                      <a:pt x="2674" y="50257"/>
                      <a:pt x="78248" y="178921"/>
                      <a:pt x="154200" y="188746"/>
                    </a:cubicBezTo>
                    <a:close/>
                  </a:path>
                </a:pathLst>
              </a:custGeom>
              <a:solidFill>
                <a:srgbClr val="E1EBE5"/>
              </a:solidFill>
              <a:ln w="49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652" name="Freeform: Shape 651">
                <a:extLst>
                  <a:ext uri="{FF2B5EF4-FFF2-40B4-BE49-F238E27FC236}">
                    <a16:creationId xmlns:a16="http://schemas.microsoft.com/office/drawing/2014/main" id="{68647DF5-57B7-D162-1541-C0F1752C6AC9}"/>
                  </a:ext>
                </a:extLst>
              </p:cNvPr>
              <p:cNvSpPr/>
              <p:nvPr/>
            </p:nvSpPr>
            <p:spPr>
              <a:xfrm flipH="1">
                <a:off x="4941006" y="2865892"/>
                <a:ext cx="272687" cy="234414"/>
              </a:xfrm>
              <a:custGeom>
                <a:avLst/>
                <a:gdLst>
                  <a:gd name="connsiteX0" fmla="*/ 0 w 253550"/>
                  <a:gd name="connsiteY0" fmla="*/ 17315 h 217963"/>
                  <a:gd name="connsiteX1" fmla="*/ 169474 w 253550"/>
                  <a:gd name="connsiteY1" fmla="*/ 310 h 217963"/>
                  <a:gd name="connsiteX2" fmla="*/ 237491 w 253550"/>
                  <a:gd name="connsiteY2" fmla="*/ 55857 h 217963"/>
                  <a:gd name="connsiteX3" fmla="*/ 253551 w 253550"/>
                  <a:gd name="connsiteY3" fmla="*/ 217963 h 217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50" h="217963">
                    <a:moveTo>
                      <a:pt x="0" y="17315"/>
                    </a:moveTo>
                    <a:lnTo>
                      <a:pt x="169474" y="310"/>
                    </a:lnTo>
                    <a:cubicBezTo>
                      <a:pt x="203672" y="-3090"/>
                      <a:pt x="234090" y="21849"/>
                      <a:pt x="237491" y="55857"/>
                    </a:cubicBezTo>
                    <a:lnTo>
                      <a:pt x="253551" y="217963"/>
                    </a:lnTo>
                  </a:path>
                </a:pathLst>
              </a:custGeom>
              <a:noFill/>
              <a:ln w="158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lvl="0" rtl="0"/>
                <a:endParaRPr lang="da-DK">
                  <a:latin typeface="Verdana" panose="020B0604030504040204" pitchFamily="34" charset="0"/>
                </a:endParaRPr>
              </a:p>
            </p:txBody>
          </p: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9958A61D-8B15-9302-B862-B675BE940CFE}"/>
                  </a:ext>
                </a:extLst>
              </p:cNvPr>
              <p:cNvGrpSpPr/>
              <p:nvPr userDrawn="1"/>
            </p:nvGrpSpPr>
            <p:grpSpPr>
              <a:xfrm>
                <a:off x="5079983" y="3165639"/>
                <a:ext cx="180522" cy="248934"/>
                <a:chOff x="5079983" y="3165639"/>
                <a:chExt cx="180522" cy="248934"/>
              </a:xfrm>
            </p:grpSpPr>
            <p:sp>
              <p:nvSpPr>
                <p:cNvPr id="89" name="Freeform: Shape 88">
                  <a:extLst>
                    <a:ext uri="{FF2B5EF4-FFF2-40B4-BE49-F238E27FC236}">
                      <a16:creationId xmlns:a16="http://schemas.microsoft.com/office/drawing/2014/main" id="{B695D01F-D162-203B-AA17-47A7291F08E2}"/>
                    </a:ext>
                  </a:extLst>
                </p:cNvPr>
                <p:cNvSpPr/>
                <p:nvPr/>
              </p:nvSpPr>
              <p:spPr>
                <a:xfrm flipV="1">
                  <a:off x="5079983" y="3165639"/>
                  <a:ext cx="180522" cy="248934"/>
                </a:xfrm>
                <a:custGeom>
                  <a:avLst/>
                  <a:gdLst>
                    <a:gd name="connsiteX0" fmla="*/ 0 w 113097"/>
                    <a:gd name="connsiteY0" fmla="*/ 77980 h 155959"/>
                    <a:gd name="connsiteX1" fmla="*/ 56549 w 113097"/>
                    <a:gd name="connsiteY1" fmla="*/ 155960 h 155959"/>
                    <a:gd name="connsiteX2" fmla="*/ 113098 w 113097"/>
                    <a:gd name="connsiteY2" fmla="*/ 77980 h 155959"/>
                    <a:gd name="connsiteX3" fmla="*/ 56549 w 113097"/>
                    <a:gd name="connsiteY3" fmla="*/ 0 h 155959"/>
                    <a:gd name="connsiteX4" fmla="*/ 0 w 113097"/>
                    <a:gd name="connsiteY4" fmla="*/ 77980 h 155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097" h="155959">
                      <a:moveTo>
                        <a:pt x="0" y="77980"/>
                      </a:moveTo>
                      <a:cubicBezTo>
                        <a:pt x="0" y="121022"/>
                        <a:pt x="25213" y="155960"/>
                        <a:pt x="56549" y="155960"/>
                      </a:cubicBezTo>
                      <a:cubicBezTo>
                        <a:pt x="87885" y="155960"/>
                        <a:pt x="113098" y="121022"/>
                        <a:pt x="113098" y="77980"/>
                      </a:cubicBezTo>
                      <a:cubicBezTo>
                        <a:pt x="113098" y="34938"/>
                        <a:pt x="87885" y="0"/>
                        <a:pt x="56549" y="0"/>
                      </a:cubicBezTo>
                      <a:cubicBezTo>
                        <a:pt x="25213" y="0"/>
                        <a:pt x="0" y="34938"/>
                        <a:pt x="0" y="77980"/>
                      </a:cubicBezTo>
                      <a:close/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ABF019CE-D7EE-39A2-4314-4B08645A7023}"/>
                    </a:ext>
                  </a:extLst>
                </p:cNvPr>
                <p:cNvSpPr/>
                <p:nvPr/>
              </p:nvSpPr>
              <p:spPr>
                <a:xfrm rot="20676814" flipV="1">
                  <a:off x="5154147" y="3238652"/>
                  <a:ext cx="29895" cy="119580"/>
                </a:xfrm>
                <a:custGeom>
                  <a:avLst/>
                  <a:gdLst>
                    <a:gd name="connsiteX0" fmla="*/ 0 w 18729"/>
                    <a:gd name="connsiteY0" fmla="*/ 0 h 74918"/>
                    <a:gd name="connsiteX1" fmla="*/ 18730 w 18729"/>
                    <a:gd name="connsiteY1" fmla="*/ 74918 h 74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29" h="74918">
                      <a:moveTo>
                        <a:pt x="0" y="0"/>
                      </a:moveTo>
                      <a:lnTo>
                        <a:pt x="18730" y="74918"/>
                      </a:ln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</p:grp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776DEF43-65FC-9BE7-4A19-DD0CD35D0A36}"/>
                  </a:ext>
                </a:extLst>
              </p:cNvPr>
              <p:cNvGrpSpPr/>
              <p:nvPr userDrawn="1"/>
            </p:nvGrpSpPr>
            <p:grpSpPr>
              <a:xfrm>
                <a:off x="5194579" y="3422100"/>
                <a:ext cx="184018" cy="133446"/>
                <a:chOff x="5194579" y="3422100"/>
                <a:chExt cx="184018" cy="133446"/>
              </a:xfrm>
            </p:grpSpPr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C81899F8-EE00-A673-F181-8C4766B2A356}"/>
                    </a:ext>
                  </a:extLst>
                </p:cNvPr>
                <p:cNvSpPr/>
                <p:nvPr/>
              </p:nvSpPr>
              <p:spPr>
                <a:xfrm rot="13624121" flipV="1">
                  <a:off x="5219865" y="3396814"/>
                  <a:ext cx="133446" cy="184018"/>
                </a:xfrm>
                <a:custGeom>
                  <a:avLst/>
                  <a:gdLst>
                    <a:gd name="connsiteX0" fmla="*/ 0 w 113097"/>
                    <a:gd name="connsiteY0" fmla="*/ 77980 h 155959"/>
                    <a:gd name="connsiteX1" fmla="*/ 56549 w 113097"/>
                    <a:gd name="connsiteY1" fmla="*/ 155960 h 155959"/>
                    <a:gd name="connsiteX2" fmla="*/ 113098 w 113097"/>
                    <a:gd name="connsiteY2" fmla="*/ 77980 h 155959"/>
                    <a:gd name="connsiteX3" fmla="*/ 56549 w 113097"/>
                    <a:gd name="connsiteY3" fmla="*/ 0 h 155959"/>
                    <a:gd name="connsiteX4" fmla="*/ 0 w 113097"/>
                    <a:gd name="connsiteY4" fmla="*/ 77980 h 155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097" h="155959">
                      <a:moveTo>
                        <a:pt x="0" y="77980"/>
                      </a:moveTo>
                      <a:cubicBezTo>
                        <a:pt x="0" y="121022"/>
                        <a:pt x="25213" y="155960"/>
                        <a:pt x="56549" y="155960"/>
                      </a:cubicBezTo>
                      <a:cubicBezTo>
                        <a:pt x="87885" y="155960"/>
                        <a:pt x="113098" y="121022"/>
                        <a:pt x="113098" y="77980"/>
                      </a:cubicBezTo>
                      <a:cubicBezTo>
                        <a:pt x="113098" y="34938"/>
                        <a:pt x="87885" y="0"/>
                        <a:pt x="56549" y="0"/>
                      </a:cubicBezTo>
                      <a:cubicBezTo>
                        <a:pt x="25213" y="0"/>
                        <a:pt x="0" y="34938"/>
                        <a:pt x="0" y="77980"/>
                      </a:cubicBezTo>
                      <a:close/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93" name="Freeform: Shape 92">
                  <a:extLst>
                    <a:ext uri="{FF2B5EF4-FFF2-40B4-BE49-F238E27FC236}">
                      <a16:creationId xmlns:a16="http://schemas.microsoft.com/office/drawing/2014/main" id="{C25019B5-AB83-4CE6-3195-6E3655AB7B19}"/>
                    </a:ext>
                  </a:extLst>
                </p:cNvPr>
                <p:cNvSpPr/>
                <p:nvPr/>
              </p:nvSpPr>
              <p:spPr>
                <a:xfrm rot="12700935" flipV="1">
                  <a:off x="5280629" y="3441050"/>
                  <a:ext cx="22099" cy="88397"/>
                </a:xfrm>
                <a:custGeom>
                  <a:avLst/>
                  <a:gdLst>
                    <a:gd name="connsiteX0" fmla="*/ 0 w 18729"/>
                    <a:gd name="connsiteY0" fmla="*/ 0 h 74918"/>
                    <a:gd name="connsiteX1" fmla="*/ 18730 w 18729"/>
                    <a:gd name="connsiteY1" fmla="*/ 74918 h 74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29" h="74918">
                      <a:moveTo>
                        <a:pt x="0" y="0"/>
                      </a:moveTo>
                      <a:lnTo>
                        <a:pt x="18730" y="74918"/>
                      </a:lnTo>
                    </a:path>
                  </a:pathLst>
                </a:custGeom>
                <a:noFill/>
                <a:ln w="158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>
                    <a:latin typeface="Verdana" panose="020B0604030504040204" pitchFamily="34" charset="0"/>
                  </a:endParaRPr>
                </a:p>
              </p:txBody>
            </p:sp>
          </p:grpSp>
        </p:grpSp>
      </p:grp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5CBD68BE-97FC-828D-97F6-93182C6EA588}"/>
              </a:ext>
            </a:extLst>
          </p:cNvPr>
          <p:cNvSpPr/>
          <p:nvPr userDrawn="1"/>
        </p:nvSpPr>
        <p:spPr>
          <a:xfrm>
            <a:off x="643647" y="440448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1">
              <a:alpha val="82000"/>
            </a:scheme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lvl="0" algn="ctr" rtl="0"/>
            <a:endParaRPr lang="da-DK" sz="44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5" name="Text Placeholder 21">
            <a:extLst>
              <a:ext uri="{FF2B5EF4-FFF2-40B4-BE49-F238E27FC236}">
                <a16:creationId xmlns:a16="http://schemas.microsoft.com/office/drawing/2014/main" id="{25E6C4E6-41B1-330A-CDDC-8095A00DBD9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0947" y="2365827"/>
            <a:ext cx="4246057" cy="2009797"/>
          </a:xfrm>
          <a:noFill/>
        </p:spPr>
        <p:txBody>
          <a:bodyPr lIns="0" tIns="0" rIns="0" bIns="0" anchor="t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. </a:t>
            </a:r>
            <a:r>
              <a:rPr lang="da-DK" err="1"/>
              <a:t>Verdana</a:t>
            </a:r>
            <a:r>
              <a:rPr lang="da-DK"/>
              <a:t> Bold, 44 pkt.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ACAFC9B-F907-F19C-5BFF-A4FDB8A1DE58}"/>
              </a:ext>
            </a:extLst>
          </p:cNvPr>
          <p:cNvGrpSpPr/>
          <p:nvPr userDrawn="1"/>
        </p:nvGrpSpPr>
        <p:grpSpPr>
          <a:xfrm>
            <a:off x="340635" y="775153"/>
            <a:ext cx="1246104" cy="1246653"/>
            <a:chOff x="340635" y="775153"/>
            <a:chExt cx="1246104" cy="1246653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D2309A6A-8140-51EB-C44A-53BF20B016A8}"/>
                </a:ext>
              </a:extLst>
            </p:cNvPr>
            <p:cNvSpPr/>
            <p:nvPr/>
          </p:nvSpPr>
          <p:spPr>
            <a:xfrm>
              <a:off x="363284" y="775153"/>
              <a:ext cx="1223455" cy="1214813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chemeClr val="accent1">
                <a:alpha val="82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rtl="0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1A0D1E8B-DFF6-B548-43E4-87089449CD83}"/>
                </a:ext>
              </a:extLst>
            </p:cNvPr>
            <p:cNvGrpSpPr/>
            <p:nvPr userDrawn="1"/>
          </p:nvGrpSpPr>
          <p:grpSpPr>
            <a:xfrm rot="21350568">
              <a:off x="733167" y="1084709"/>
              <a:ext cx="483688" cy="595700"/>
              <a:chOff x="8865640" y="4805864"/>
              <a:chExt cx="300432" cy="370007"/>
            </a:xfrm>
            <a:solidFill>
              <a:schemeClr val="bg1"/>
            </a:solidFill>
          </p:grpSpPr>
          <p:sp>
            <p:nvSpPr>
              <p:cNvPr id="88" name="Freeform 5">
                <a:extLst>
                  <a:ext uri="{FF2B5EF4-FFF2-40B4-BE49-F238E27FC236}">
                    <a16:creationId xmlns:a16="http://schemas.microsoft.com/office/drawing/2014/main" id="{75171A68-5767-36CA-26F0-4BB3B577AA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65640" y="4805864"/>
                <a:ext cx="139752" cy="340735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5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5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91" name="Freeform 6">
                <a:extLst>
                  <a:ext uri="{FF2B5EF4-FFF2-40B4-BE49-F238E27FC236}">
                    <a16:creationId xmlns:a16="http://schemas.microsoft.com/office/drawing/2014/main" id="{0DCD0F10-3BF2-2A18-29B1-000BE14BE6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029731" y="4835136"/>
                <a:ext cx="136341" cy="340735"/>
              </a:xfrm>
              <a:custGeom>
                <a:avLst/>
                <a:gdLst>
                  <a:gd name="T0" fmla="*/ 43 w 143"/>
                  <a:gd name="T1" fmla="*/ 0 h 291"/>
                  <a:gd name="T2" fmla="*/ 143 w 143"/>
                  <a:gd name="T3" fmla="*/ 16 h 291"/>
                  <a:gd name="T4" fmla="*/ 100 w 143"/>
                  <a:gd name="T5" fmla="*/ 291 h 291"/>
                  <a:gd name="T6" fmla="*/ 0 w 143"/>
                  <a:gd name="T7" fmla="*/ 275 h 291"/>
                  <a:gd name="T8" fmla="*/ 43 w 143"/>
                  <a:gd name="T9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91">
                    <a:moveTo>
                      <a:pt x="43" y="0"/>
                    </a:moveTo>
                    <a:lnTo>
                      <a:pt x="143" y="16"/>
                    </a:lnTo>
                    <a:lnTo>
                      <a:pt x="100" y="291"/>
                    </a:lnTo>
                    <a:lnTo>
                      <a:pt x="0" y="275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158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a-DK"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226A2B8-D79D-8C87-58C0-CEA4D6336D93}"/>
                </a:ext>
              </a:extLst>
            </p:cNvPr>
            <p:cNvSpPr/>
            <p:nvPr/>
          </p:nvSpPr>
          <p:spPr>
            <a:xfrm>
              <a:off x="340635" y="806993"/>
              <a:ext cx="1223455" cy="1214813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rtl="0"/>
              <a:endParaRPr lang="da-DK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967464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49434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133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1"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14034860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685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6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solidFill>
                <a:schemeClr val="accent6"/>
              </a:solidFill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272718665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 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23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>
                <a:solidFill>
                  <a:schemeClr val="accent4"/>
                </a:solidFill>
              </a:defRPr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36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>
                <a:latin typeface="Verdana" panose="020B0604030504040204" pitchFamily="34" charset="0"/>
              </a:defRPr>
            </a:lvl1pPr>
            <a:lvl2pPr rtl="0">
              <a:defRPr sz="1400">
                <a:latin typeface="Verdana" panose="020B0604030504040204" pitchFamily="34" charset="0"/>
              </a:defRPr>
            </a:lvl2pPr>
            <a:lvl3pPr rtl="0">
              <a:defRPr sz="1400">
                <a:latin typeface="Verdana" panose="020B0604030504040204" pitchFamily="34" charset="0"/>
              </a:defRPr>
            </a:lvl3pPr>
            <a:lvl4pPr rtl="0">
              <a:defRPr sz="1400">
                <a:latin typeface="Verdana" panose="020B0604030504040204" pitchFamily="34" charset="0"/>
              </a:defRPr>
            </a:lvl4pPr>
            <a:lvl5pPr rtl="0">
              <a:defRPr sz="1400">
                <a:latin typeface="Verdana" panose="020B0604030504040204" pitchFamily="34" charset="0"/>
              </a:defRPr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26 pkt.</a:t>
            </a:r>
          </a:p>
        </p:txBody>
      </p:sp>
    </p:spTree>
    <p:extLst>
      <p:ext uri="{BB962C8B-B14F-4D97-AF65-F5344CB8AC3E}">
        <p14:creationId xmlns:p14="http://schemas.microsoft.com/office/powerpoint/2010/main" val="67858432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7625CD-4BD3-476C-8CCB-A355E447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77182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7625CD-4BD3-476C-8CCB-A355E447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7041539-0E90-4D5C-BCBC-070DE1EED0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1 Shape Name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732570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2830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8pt 18pt Medium" pitchFamily="2" charset="0"/>
              </a:defRPr>
            </a:lvl1pPr>
          </a:lstStyle>
          <a:p>
            <a:pPr lvl="0"/>
            <a:r>
              <a:rPr lang="da-DK"/>
              <a:t>Underoverskrift, DM Sans 18pt Medium, 2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cap="all" baseline="0"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8pt 18pt" pitchFamily="2" charset="0"/>
              </a:defRPr>
            </a:lvl1pPr>
          </a:lstStyle>
          <a:p>
            <a:pPr lvl="0"/>
            <a:r>
              <a:rPr lang="da-DK"/>
              <a:t>Dato, DM Sans 18pt</a:t>
            </a:r>
          </a:p>
        </p:txBody>
      </p:sp>
    </p:spTree>
    <p:extLst>
      <p:ext uri="{BB962C8B-B14F-4D97-AF65-F5344CB8AC3E}">
        <p14:creationId xmlns:p14="http://schemas.microsoft.com/office/powerpoint/2010/main" val="1318556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91B18A4C-037A-E88B-5D74-3E1FBE839745}"/>
              </a:ext>
            </a:extLst>
          </p:cNvPr>
          <p:cNvSpPr/>
          <p:nvPr userDrawn="1"/>
        </p:nvSpPr>
        <p:spPr>
          <a:xfrm>
            <a:off x="0" y="-21738"/>
            <a:ext cx="12192000" cy="6879738"/>
          </a:xfrm>
          <a:prstGeom prst="rect">
            <a:avLst/>
          </a:prstGeom>
          <a:solidFill>
            <a:srgbClr val="F6EEE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55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8" name="Graphic 39">
            <a:extLst>
              <a:ext uri="{FF2B5EF4-FFF2-40B4-BE49-F238E27FC236}">
                <a16:creationId xmlns:a16="http://schemas.microsoft.com/office/drawing/2014/main" id="{EB48F185-ED01-0524-CCF8-F34940BAE78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742816" y="1261444"/>
            <a:ext cx="360000" cy="360000"/>
          </a:xfrm>
          <a:prstGeom prst="rect">
            <a:avLst/>
          </a:prstGeom>
        </p:spPr>
      </p:pic>
      <p:pic>
        <p:nvPicPr>
          <p:cNvPr id="9" name="Graphic 41">
            <a:extLst>
              <a:ext uri="{FF2B5EF4-FFF2-40B4-BE49-F238E27FC236}">
                <a16:creationId xmlns:a16="http://schemas.microsoft.com/office/drawing/2014/main" id="{AD0646B0-FD73-EF95-9BDB-FF1FFA83BCC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742816" y="1806545"/>
            <a:ext cx="360000" cy="360000"/>
          </a:xfrm>
          <a:prstGeom prst="rect">
            <a:avLst/>
          </a:prstGeom>
        </p:spPr>
      </p:pic>
      <p:pic>
        <p:nvPicPr>
          <p:cNvPr id="10" name="Graphic 43">
            <a:extLst>
              <a:ext uri="{FF2B5EF4-FFF2-40B4-BE49-F238E27FC236}">
                <a16:creationId xmlns:a16="http://schemas.microsoft.com/office/drawing/2014/main" id="{44F137EB-4F04-2026-E774-E8B6852076A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42816" y="2407879"/>
            <a:ext cx="360000" cy="360000"/>
          </a:xfrm>
          <a:prstGeom prst="rect">
            <a:avLst/>
          </a:prstGeom>
        </p:spPr>
      </p:pic>
      <p:pic>
        <p:nvPicPr>
          <p:cNvPr id="11" name="Graphic 45">
            <a:extLst>
              <a:ext uri="{FF2B5EF4-FFF2-40B4-BE49-F238E27FC236}">
                <a16:creationId xmlns:a16="http://schemas.microsoft.com/office/drawing/2014/main" id="{3318CF6F-28B6-62EA-53B5-151E31A16DCA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42816" y="3506339"/>
            <a:ext cx="360000" cy="360000"/>
          </a:xfrm>
          <a:prstGeom prst="rect">
            <a:avLst/>
          </a:prstGeom>
        </p:spPr>
      </p:pic>
      <p:pic>
        <p:nvPicPr>
          <p:cNvPr id="12" name="Graphic 47">
            <a:extLst>
              <a:ext uri="{FF2B5EF4-FFF2-40B4-BE49-F238E27FC236}">
                <a16:creationId xmlns:a16="http://schemas.microsoft.com/office/drawing/2014/main" id="{4A2F1EA2-5C86-16C3-203E-BCC8FAF1A39F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742816" y="4047086"/>
            <a:ext cx="360000" cy="360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96EA04B-8742-0BAC-DD9B-124112164592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742816" y="736572"/>
            <a:ext cx="360000" cy="360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827C802-D958-290A-6F1C-D81723BD9158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742816" y="242152"/>
            <a:ext cx="360000" cy="360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810BCA5-F040-95AA-A3D4-F753B61E654D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742816" y="2957109"/>
            <a:ext cx="360000" cy="360000"/>
          </a:xfrm>
          <a:prstGeom prst="rect">
            <a:avLst/>
          </a:prstGeom>
        </p:spPr>
      </p:pic>
      <p:pic>
        <p:nvPicPr>
          <p:cNvPr id="18" name="Graphic 55">
            <a:extLst>
              <a:ext uri="{FF2B5EF4-FFF2-40B4-BE49-F238E27FC236}">
                <a16:creationId xmlns:a16="http://schemas.microsoft.com/office/drawing/2014/main" id="{9A292C6D-A2A6-97F8-6047-17A93B58BC66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746566" y="6057564"/>
            <a:ext cx="360000" cy="322440"/>
          </a:xfrm>
          <a:prstGeom prst="rect">
            <a:avLst/>
          </a:prstGeom>
        </p:spPr>
      </p:pic>
      <p:pic>
        <p:nvPicPr>
          <p:cNvPr id="19" name="Graphic 59">
            <a:extLst>
              <a:ext uri="{FF2B5EF4-FFF2-40B4-BE49-F238E27FC236}">
                <a16:creationId xmlns:a16="http://schemas.microsoft.com/office/drawing/2014/main" id="{0E03938D-E626-DD8A-DC19-87583B722B53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1738149" y="5016136"/>
            <a:ext cx="360000" cy="38057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ABE79918-D87A-EB79-D5FD-CC7F82591C31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1738149" y="4536405"/>
            <a:ext cx="360000" cy="360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D24ECD5B-7513-6FD4-EF67-A77500D9150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738149" y="5542009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393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161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7625CD-4BD3-476C-8CCB-A355E447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7625CD-4BD3-476C-8CCB-A355E447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7041539-0E90-4D5C-BCBC-070DE1EED0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1 Shape Name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8651948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29.xml"/><Relationship Id="rId10" Type="http://schemas.openxmlformats.org/officeDocument/2006/relationships/tags" Target="../tags/tag29.x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04" imgH="405" progId="TCLayout.ActiveDocument.1">
                  <p:embed/>
                </p:oleObj>
              </mc:Choice>
              <mc:Fallback>
                <p:oleObj name="think-cell Slide" r:id="rId13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650983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06" r:id="rId6"/>
    <p:sldLayoutId id="2147483707" r:id="rId7"/>
    <p:sldLayoutId id="2147483708" r:id="rId8"/>
    <p:sldLayoutId id="2147483709" r:id="rId9"/>
    <p:sldLayoutId id="2147483710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DM Sans 18pt 18pt ExtraBold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3759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s ExtraBold, 36 p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30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1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958387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04" r:id="rId2"/>
    <p:sldLayoutId id="2147483668" r:id="rId3"/>
    <p:sldLayoutId id="2147483669" r:id="rId4"/>
    <p:sldLayoutId id="2147483670" r:id="rId5"/>
    <p:sldLayoutId id="2147483671" r:id="rId6"/>
    <p:sldLayoutId id="2147483685" r:id="rId7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408298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Verdana" panose="020B060403050404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5" progId="TCLayout.ActiveDocument.1">
                  <p:embed/>
                </p:oleObj>
              </mc:Choice>
              <mc:Fallback>
                <p:oleObj name="think-cell Slide" r:id="rId11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4162365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Verdana" panose="020B060403050404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image" Target="../media/image56.png"/><Relationship Id="rId11" Type="http://schemas.openxmlformats.org/officeDocument/2006/relationships/image" Target="../media/image61.svg"/><Relationship Id="rId5" Type="http://schemas.openxmlformats.org/officeDocument/2006/relationships/image" Target="../media/image55.png"/><Relationship Id="rId10" Type="http://schemas.openxmlformats.org/officeDocument/2006/relationships/image" Target="../media/image60.png"/><Relationship Id="rId4" Type="http://schemas.openxmlformats.org/officeDocument/2006/relationships/image" Target="../media/image54.emf"/><Relationship Id="rId9" Type="http://schemas.openxmlformats.org/officeDocument/2006/relationships/image" Target="../media/image5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13" Type="http://schemas.openxmlformats.org/officeDocument/2006/relationships/image" Target="../media/image110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1.png"/><Relationship Id="rId12" Type="http://schemas.openxmlformats.org/officeDocument/2006/relationships/oleObject" Target="../embeddings/oleObject23.bin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07.png"/><Relationship Id="rId11" Type="http://schemas.openxmlformats.org/officeDocument/2006/relationships/image" Target="../media/image124.png"/><Relationship Id="rId5" Type="http://schemas.openxmlformats.org/officeDocument/2006/relationships/image" Target="../media/image102.png"/><Relationship Id="rId15" Type="http://schemas.openxmlformats.org/officeDocument/2006/relationships/image" Target="../media/image109.svg"/><Relationship Id="rId10" Type="http://schemas.openxmlformats.org/officeDocument/2006/relationships/image" Target="../media/image122.png"/><Relationship Id="rId4" Type="http://schemas.openxmlformats.org/officeDocument/2006/relationships/image" Target="../media/image126.emf"/><Relationship Id="rId9" Type="http://schemas.openxmlformats.org/officeDocument/2006/relationships/image" Target="../media/image120.png"/><Relationship Id="rId14" Type="http://schemas.openxmlformats.org/officeDocument/2006/relationships/image" Target="../media/image10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6.emf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25.png"/><Relationship Id="rId5" Type="http://schemas.openxmlformats.org/officeDocument/2006/relationships/image" Target="../media/image127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09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13" Type="http://schemas.openxmlformats.org/officeDocument/2006/relationships/image" Target="../media/image12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2.png"/><Relationship Id="rId12" Type="http://schemas.openxmlformats.org/officeDocument/2006/relationships/image" Target="../media/image122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26.emf"/><Relationship Id="rId11" Type="http://schemas.openxmlformats.org/officeDocument/2006/relationships/image" Target="../media/image120.png"/><Relationship Id="rId5" Type="http://schemas.openxmlformats.org/officeDocument/2006/relationships/image" Target="../media/image128.emf"/><Relationship Id="rId15" Type="http://schemas.openxmlformats.org/officeDocument/2006/relationships/image" Target="../media/image109.svg"/><Relationship Id="rId10" Type="http://schemas.openxmlformats.org/officeDocument/2006/relationships/image" Target="../media/image113.png"/><Relationship Id="rId4" Type="http://schemas.openxmlformats.org/officeDocument/2006/relationships/oleObject" Target="../embeddings/oleObject25.bin"/><Relationship Id="rId9" Type="http://schemas.openxmlformats.org/officeDocument/2006/relationships/image" Target="../media/image111.png"/><Relationship Id="rId14" Type="http://schemas.openxmlformats.org/officeDocument/2006/relationships/image" Target="../media/image10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7.xml"/><Relationship Id="rId5" Type="http://schemas.openxmlformats.org/officeDocument/2006/relationships/image" Target="../media/image130.png"/><Relationship Id="rId4" Type="http://schemas.openxmlformats.org/officeDocument/2006/relationships/image" Target="../media/image129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53.emf"/><Relationship Id="rId12" Type="http://schemas.openxmlformats.org/officeDocument/2006/relationships/image" Target="../media/image135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5.emf"/><Relationship Id="rId11" Type="http://schemas.openxmlformats.org/officeDocument/2006/relationships/image" Target="../media/image134.sv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133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2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svg"/><Relationship Id="rId13" Type="http://schemas.openxmlformats.org/officeDocument/2006/relationships/image" Target="../media/image142.png"/><Relationship Id="rId18" Type="http://schemas.openxmlformats.org/officeDocument/2006/relationships/image" Target="../media/image147.png"/><Relationship Id="rId26" Type="http://schemas.openxmlformats.org/officeDocument/2006/relationships/image" Target="../media/image155.png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150.png"/><Relationship Id="rId7" Type="http://schemas.openxmlformats.org/officeDocument/2006/relationships/image" Target="../media/image136.png"/><Relationship Id="rId12" Type="http://schemas.openxmlformats.org/officeDocument/2006/relationships/image" Target="../media/image141.svg"/><Relationship Id="rId17" Type="http://schemas.openxmlformats.org/officeDocument/2006/relationships/image" Target="../media/image146.png"/><Relationship Id="rId25" Type="http://schemas.openxmlformats.org/officeDocument/2006/relationships/image" Target="../media/image154.png"/><Relationship Id="rId2" Type="http://schemas.openxmlformats.org/officeDocument/2006/relationships/tags" Target="../tags/tag66.xml"/><Relationship Id="rId16" Type="http://schemas.openxmlformats.org/officeDocument/2006/relationships/image" Target="../media/image145.png"/><Relationship Id="rId20" Type="http://schemas.openxmlformats.org/officeDocument/2006/relationships/image" Target="../media/image149.png"/><Relationship Id="rId29" Type="http://schemas.openxmlformats.org/officeDocument/2006/relationships/image" Target="../media/image158.png"/><Relationship Id="rId1" Type="http://schemas.openxmlformats.org/officeDocument/2006/relationships/tags" Target="../tags/tag65.xml"/><Relationship Id="rId6" Type="http://schemas.openxmlformats.org/officeDocument/2006/relationships/image" Target="../media/image5.emf"/><Relationship Id="rId11" Type="http://schemas.openxmlformats.org/officeDocument/2006/relationships/image" Target="../media/image140.png"/><Relationship Id="rId24" Type="http://schemas.openxmlformats.org/officeDocument/2006/relationships/image" Target="../media/image153.png"/><Relationship Id="rId5" Type="http://schemas.openxmlformats.org/officeDocument/2006/relationships/oleObject" Target="../embeddings/oleObject31.bin"/><Relationship Id="rId15" Type="http://schemas.openxmlformats.org/officeDocument/2006/relationships/image" Target="../media/image144.png"/><Relationship Id="rId23" Type="http://schemas.openxmlformats.org/officeDocument/2006/relationships/image" Target="../media/image152.png"/><Relationship Id="rId28" Type="http://schemas.openxmlformats.org/officeDocument/2006/relationships/image" Target="../media/image157.png"/><Relationship Id="rId10" Type="http://schemas.openxmlformats.org/officeDocument/2006/relationships/image" Target="../media/image139.svg"/><Relationship Id="rId19" Type="http://schemas.openxmlformats.org/officeDocument/2006/relationships/image" Target="../media/image148.png"/><Relationship Id="rId31" Type="http://schemas.openxmlformats.org/officeDocument/2006/relationships/image" Target="../media/image160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38.png"/><Relationship Id="rId14" Type="http://schemas.openxmlformats.org/officeDocument/2006/relationships/image" Target="../media/image143.svg"/><Relationship Id="rId22" Type="http://schemas.openxmlformats.org/officeDocument/2006/relationships/image" Target="../media/image151.png"/><Relationship Id="rId27" Type="http://schemas.openxmlformats.org/officeDocument/2006/relationships/image" Target="../media/image156.png"/><Relationship Id="rId30" Type="http://schemas.openxmlformats.org/officeDocument/2006/relationships/image" Target="../media/image15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7.png"/><Relationship Id="rId13" Type="http://schemas.openxmlformats.org/officeDocument/2006/relationships/image" Target="../media/image172.png"/><Relationship Id="rId18" Type="http://schemas.openxmlformats.org/officeDocument/2006/relationships/image" Target="../media/image177.png"/><Relationship Id="rId3" Type="http://schemas.openxmlformats.org/officeDocument/2006/relationships/image" Target="../media/image162.svg"/><Relationship Id="rId21" Type="http://schemas.openxmlformats.org/officeDocument/2006/relationships/image" Target="../media/image180.png"/><Relationship Id="rId7" Type="http://schemas.openxmlformats.org/officeDocument/2006/relationships/image" Target="../media/image166.svg"/><Relationship Id="rId12" Type="http://schemas.openxmlformats.org/officeDocument/2006/relationships/image" Target="../media/image171.png"/><Relationship Id="rId17" Type="http://schemas.openxmlformats.org/officeDocument/2006/relationships/image" Target="../media/image176.svg"/><Relationship Id="rId2" Type="http://schemas.openxmlformats.org/officeDocument/2006/relationships/image" Target="../media/image161.png"/><Relationship Id="rId16" Type="http://schemas.openxmlformats.org/officeDocument/2006/relationships/image" Target="../media/image175.png"/><Relationship Id="rId20" Type="http://schemas.openxmlformats.org/officeDocument/2006/relationships/image" Target="../media/image179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65.png"/><Relationship Id="rId11" Type="http://schemas.openxmlformats.org/officeDocument/2006/relationships/image" Target="../media/image170.png"/><Relationship Id="rId5" Type="http://schemas.openxmlformats.org/officeDocument/2006/relationships/image" Target="../media/image164.svg"/><Relationship Id="rId15" Type="http://schemas.openxmlformats.org/officeDocument/2006/relationships/image" Target="../media/image174.png"/><Relationship Id="rId10" Type="http://schemas.openxmlformats.org/officeDocument/2006/relationships/image" Target="../media/image169.png"/><Relationship Id="rId19" Type="http://schemas.openxmlformats.org/officeDocument/2006/relationships/image" Target="../media/image178.jpeg"/><Relationship Id="rId4" Type="http://schemas.openxmlformats.org/officeDocument/2006/relationships/image" Target="../media/image163.png"/><Relationship Id="rId9" Type="http://schemas.openxmlformats.org/officeDocument/2006/relationships/image" Target="../media/image168.svg"/><Relationship Id="rId14" Type="http://schemas.openxmlformats.org/officeDocument/2006/relationships/image" Target="../media/image173.png"/><Relationship Id="rId22" Type="http://schemas.openxmlformats.org/officeDocument/2006/relationships/image" Target="../media/image18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6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6.png"/><Relationship Id="rId13" Type="http://schemas.openxmlformats.org/officeDocument/2006/relationships/image" Target="../media/image139.svg"/><Relationship Id="rId18" Type="http://schemas.openxmlformats.org/officeDocument/2006/relationships/image" Target="../media/image190.png"/><Relationship Id="rId26" Type="http://schemas.openxmlformats.org/officeDocument/2006/relationships/image" Target="../media/image196.png"/><Relationship Id="rId3" Type="http://schemas.openxmlformats.org/officeDocument/2006/relationships/image" Target="../media/image176.svg"/><Relationship Id="rId21" Type="http://schemas.openxmlformats.org/officeDocument/2006/relationships/image" Target="../media/image191.png"/><Relationship Id="rId7" Type="http://schemas.openxmlformats.org/officeDocument/2006/relationships/image" Target="../media/image185.svg"/><Relationship Id="rId12" Type="http://schemas.openxmlformats.org/officeDocument/2006/relationships/image" Target="../media/image138.png"/><Relationship Id="rId17" Type="http://schemas.openxmlformats.org/officeDocument/2006/relationships/image" Target="../media/image189.svg"/><Relationship Id="rId25" Type="http://schemas.openxmlformats.org/officeDocument/2006/relationships/image" Target="../media/image195.png"/><Relationship Id="rId33" Type="http://schemas.openxmlformats.org/officeDocument/2006/relationships/image" Target="../media/image202.jpeg"/><Relationship Id="rId2" Type="http://schemas.openxmlformats.org/officeDocument/2006/relationships/image" Target="../media/image175.png"/><Relationship Id="rId16" Type="http://schemas.openxmlformats.org/officeDocument/2006/relationships/image" Target="../media/image188.png"/><Relationship Id="rId20" Type="http://schemas.openxmlformats.org/officeDocument/2006/relationships/image" Target="../media/image143.svg"/><Relationship Id="rId29" Type="http://schemas.openxmlformats.org/officeDocument/2006/relationships/image" Target="../media/image198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84.png"/><Relationship Id="rId11" Type="http://schemas.openxmlformats.org/officeDocument/2006/relationships/image" Target="../media/image137.svg"/><Relationship Id="rId24" Type="http://schemas.openxmlformats.org/officeDocument/2006/relationships/image" Target="../media/image194.png"/><Relationship Id="rId32" Type="http://schemas.openxmlformats.org/officeDocument/2006/relationships/image" Target="../media/image201.jpeg"/><Relationship Id="rId5" Type="http://schemas.openxmlformats.org/officeDocument/2006/relationships/image" Target="../media/image183.svg"/><Relationship Id="rId15" Type="http://schemas.openxmlformats.org/officeDocument/2006/relationships/image" Target="../media/image141.svg"/><Relationship Id="rId23" Type="http://schemas.openxmlformats.org/officeDocument/2006/relationships/image" Target="../media/image193.png"/><Relationship Id="rId28" Type="http://schemas.openxmlformats.org/officeDocument/2006/relationships/image" Target="../media/image178.jpeg"/><Relationship Id="rId10" Type="http://schemas.openxmlformats.org/officeDocument/2006/relationships/image" Target="../media/image136.png"/><Relationship Id="rId19" Type="http://schemas.openxmlformats.org/officeDocument/2006/relationships/image" Target="../media/image142.png"/><Relationship Id="rId31" Type="http://schemas.openxmlformats.org/officeDocument/2006/relationships/image" Target="../media/image200.jpeg"/><Relationship Id="rId4" Type="http://schemas.openxmlformats.org/officeDocument/2006/relationships/image" Target="../media/image182.png"/><Relationship Id="rId9" Type="http://schemas.openxmlformats.org/officeDocument/2006/relationships/image" Target="../media/image187.svg"/><Relationship Id="rId14" Type="http://schemas.openxmlformats.org/officeDocument/2006/relationships/image" Target="../media/image140.png"/><Relationship Id="rId22" Type="http://schemas.openxmlformats.org/officeDocument/2006/relationships/image" Target="../media/image192.png"/><Relationship Id="rId27" Type="http://schemas.openxmlformats.org/officeDocument/2006/relationships/image" Target="../media/image197.png"/><Relationship Id="rId30" Type="http://schemas.openxmlformats.org/officeDocument/2006/relationships/image" Target="../media/image19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7.png"/><Relationship Id="rId13" Type="http://schemas.openxmlformats.org/officeDocument/2006/relationships/image" Target="../media/image212.svg"/><Relationship Id="rId18" Type="http://schemas.openxmlformats.org/officeDocument/2006/relationships/image" Target="../media/image217.png"/><Relationship Id="rId3" Type="http://schemas.openxmlformats.org/officeDocument/2006/relationships/image" Target="../media/image176.svg"/><Relationship Id="rId21" Type="http://schemas.openxmlformats.org/officeDocument/2006/relationships/image" Target="../media/image220.png"/><Relationship Id="rId7" Type="http://schemas.openxmlformats.org/officeDocument/2006/relationships/image" Target="../media/image206.svg"/><Relationship Id="rId12" Type="http://schemas.openxmlformats.org/officeDocument/2006/relationships/image" Target="../media/image211.png"/><Relationship Id="rId17" Type="http://schemas.openxmlformats.org/officeDocument/2006/relationships/image" Target="../media/image216.png"/><Relationship Id="rId25" Type="http://schemas.openxmlformats.org/officeDocument/2006/relationships/image" Target="../media/image181.png"/><Relationship Id="rId2" Type="http://schemas.openxmlformats.org/officeDocument/2006/relationships/image" Target="../media/image175.png"/><Relationship Id="rId16" Type="http://schemas.openxmlformats.org/officeDocument/2006/relationships/image" Target="../media/image215.png"/><Relationship Id="rId20" Type="http://schemas.openxmlformats.org/officeDocument/2006/relationships/image" Target="../media/image219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05.png"/><Relationship Id="rId11" Type="http://schemas.openxmlformats.org/officeDocument/2006/relationships/image" Target="../media/image210.svg"/><Relationship Id="rId24" Type="http://schemas.openxmlformats.org/officeDocument/2006/relationships/image" Target="../media/image199.png"/><Relationship Id="rId5" Type="http://schemas.openxmlformats.org/officeDocument/2006/relationships/image" Target="../media/image204.svg"/><Relationship Id="rId15" Type="http://schemas.openxmlformats.org/officeDocument/2006/relationships/image" Target="../media/image214.svg"/><Relationship Id="rId23" Type="http://schemas.openxmlformats.org/officeDocument/2006/relationships/image" Target="../media/image222.jpeg"/><Relationship Id="rId10" Type="http://schemas.openxmlformats.org/officeDocument/2006/relationships/image" Target="../media/image209.png"/><Relationship Id="rId19" Type="http://schemas.openxmlformats.org/officeDocument/2006/relationships/image" Target="../media/image218.png"/><Relationship Id="rId4" Type="http://schemas.openxmlformats.org/officeDocument/2006/relationships/image" Target="../media/image203.png"/><Relationship Id="rId9" Type="http://schemas.openxmlformats.org/officeDocument/2006/relationships/image" Target="../media/image208.svg"/><Relationship Id="rId14" Type="http://schemas.openxmlformats.org/officeDocument/2006/relationships/image" Target="../media/image213.png"/><Relationship Id="rId22" Type="http://schemas.openxmlformats.org/officeDocument/2006/relationships/image" Target="../media/image22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4.sv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23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54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6.png"/><Relationship Id="rId13" Type="http://schemas.openxmlformats.org/officeDocument/2006/relationships/image" Target="../media/image231.svg"/><Relationship Id="rId18" Type="http://schemas.openxmlformats.org/officeDocument/2006/relationships/image" Target="../media/image236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25.png"/><Relationship Id="rId12" Type="http://schemas.openxmlformats.org/officeDocument/2006/relationships/image" Target="../media/image230.png"/><Relationship Id="rId17" Type="http://schemas.openxmlformats.org/officeDocument/2006/relationships/image" Target="../media/image235.svg"/><Relationship Id="rId2" Type="http://schemas.openxmlformats.org/officeDocument/2006/relationships/tags" Target="../tags/tag70.xml"/><Relationship Id="rId16" Type="http://schemas.openxmlformats.org/officeDocument/2006/relationships/image" Target="../media/image234.png"/><Relationship Id="rId20" Type="http://schemas.openxmlformats.org/officeDocument/2006/relationships/image" Target="../media/image53.emf"/><Relationship Id="rId1" Type="http://schemas.openxmlformats.org/officeDocument/2006/relationships/tags" Target="../tags/tag69.xml"/><Relationship Id="rId6" Type="http://schemas.openxmlformats.org/officeDocument/2006/relationships/image" Target="../media/image54.emf"/><Relationship Id="rId11" Type="http://schemas.openxmlformats.org/officeDocument/2006/relationships/image" Target="../media/image229.svg"/><Relationship Id="rId5" Type="http://schemas.openxmlformats.org/officeDocument/2006/relationships/oleObject" Target="../embeddings/oleObject33.bin"/><Relationship Id="rId15" Type="http://schemas.openxmlformats.org/officeDocument/2006/relationships/image" Target="../media/image233.svg"/><Relationship Id="rId10" Type="http://schemas.openxmlformats.org/officeDocument/2006/relationships/image" Target="../media/image228.png"/><Relationship Id="rId19" Type="http://schemas.openxmlformats.org/officeDocument/2006/relationships/image" Target="../media/image237.sv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27.svg"/><Relationship Id="rId14" Type="http://schemas.openxmlformats.org/officeDocument/2006/relationships/image" Target="../media/image23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9.png"/><Relationship Id="rId13" Type="http://schemas.openxmlformats.org/officeDocument/2006/relationships/image" Target="../media/image244.png"/><Relationship Id="rId18" Type="http://schemas.openxmlformats.org/officeDocument/2006/relationships/image" Target="../media/image249.png"/><Relationship Id="rId26" Type="http://schemas.openxmlformats.org/officeDocument/2006/relationships/image" Target="../media/image212.svg"/><Relationship Id="rId39" Type="http://schemas.openxmlformats.org/officeDocument/2006/relationships/image" Target="../media/image254.png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252.png"/><Relationship Id="rId34" Type="http://schemas.openxmlformats.org/officeDocument/2006/relationships/image" Target="../media/image143.svg"/><Relationship Id="rId7" Type="http://schemas.openxmlformats.org/officeDocument/2006/relationships/image" Target="../media/image238.png"/><Relationship Id="rId12" Type="http://schemas.openxmlformats.org/officeDocument/2006/relationships/image" Target="../media/image243.png"/><Relationship Id="rId17" Type="http://schemas.openxmlformats.org/officeDocument/2006/relationships/image" Target="../media/image248.png"/><Relationship Id="rId25" Type="http://schemas.openxmlformats.org/officeDocument/2006/relationships/image" Target="../media/image211.png"/><Relationship Id="rId33" Type="http://schemas.openxmlformats.org/officeDocument/2006/relationships/image" Target="../media/image142.png"/><Relationship Id="rId38" Type="http://schemas.openxmlformats.org/officeDocument/2006/relationships/image" Target="../media/image189.svg"/><Relationship Id="rId2" Type="http://schemas.openxmlformats.org/officeDocument/2006/relationships/tags" Target="../tags/tag72.xml"/><Relationship Id="rId16" Type="http://schemas.openxmlformats.org/officeDocument/2006/relationships/image" Target="../media/image247.png"/><Relationship Id="rId20" Type="http://schemas.openxmlformats.org/officeDocument/2006/relationships/image" Target="../media/image251.svg"/><Relationship Id="rId29" Type="http://schemas.openxmlformats.org/officeDocument/2006/relationships/image" Target="../media/image138.png"/><Relationship Id="rId1" Type="http://schemas.openxmlformats.org/officeDocument/2006/relationships/tags" Target="../tags/tag71.xml"/><Relationship Id="rId6" Type="http://schemas.openxmlformats.org/officeDocument/2006/relationships/image" Target="../media/image5.emf"/><Relationship Id="rId11" Type="http://schemas.openxmlformats.org/officeDocument/2006/relationships/image" Target="../media/image242.png"/><Relationship Id="rId24" Type="http://schemas.openxmlformats.org/officeDocument/2006/relationships/image" Target="../media/image208.svg"/><Relationship Id="rId32" Type="http://schemas.openxmlformats.org/officeDocument/2006/relationships/image" Target="../media/image141.svg"/><Relationship Id="rId37" Type="http://schemas.openxmlformats.org/officeDocument/2006/relationships/image" Target="../media/image188.png"/><Relationship Id="rId5" Type="http://schemas.openxmlformats.org/officeDocument/2006/relationships/oleObject" Target="../embeddings/oleObject34.bin"/><Relationship Id="rId15" Type="http://schemas.openxmlformats.org/officeDocument/2006/relationships/image" Target="../media/image246.png"/><Relationship Id="rId23" Type="http://schemas.openxmlformats.org/officeDocument/2006/relationships/image" Target="../media/image207.png"/><Relationship Id="rId28" Type="http://schemas.openxmlformats.org/officeDocument/2006/relationships/image" Target="../media/image214.svg"/><Relationship Id="rId36" Type="http://schemas.openxmlformats.org/officeDocument/2006/relationships/image" Target="../media/image137.svg"/><Relationship Id="rId10" Type="http://schemas.openxmlformats.org/officeDocument/2006/relationships/image" Target="../media/image241.png"/><Relationship Id="rId19" Type="http://schemas.openxmlformats.org/officeDocument/2006/relationships/image" Target="../media/image250.png"/><Relationship Id="rId31" Type="http://schemas.openxmlformats.org/officeDocument/2006/relationships/image" Target="../media/image140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40.png"/><Relationship Id="rId14" Type="http://schemas.openxmlformats.org/officeDocument/2006/relationships/image" Target="../media/image245.png"/><Relationship Id="rId22" Type="http://schemas.openxmlformats.org/officeDocument/2006/relationships/image" Target="../media/image253.svg"/><Relationship Id="rId27" Type="http://schemas.openxmlformats.org/officeDocument/2006/relationships/image" Target="../media/image213.png"/><Relationship Id="rId30" Type="http://schemas.openxmlformats.org/officeDocument/2006/relationships/image" Target="../media/image139.svg"/><Relationship Id="rId35" Type="http://schemas.openxmlformats.org/officeDocument/2006/relationships/image" Target="../media/image13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6.svg"/><Relationship Id="rId13" Type="http://schemas.openxmlformats.org/officeDocument/2006/relationships/image" Target="../media/image261.png"/><Relationship Id="rId18" Type="http://schemas.openxmlformats.org/officeDocument/2006/relationships/image" Target="../media/image266.svg"/><Relationship Id="rId26" Type="http://schemas.openxmlformats.org/officeDocument/2006/relationships/image" Target="../media/image273.svg"/><Relationship Id="rId39" Type="http://schemas.openxmlformats.org/officeDocument/2006/relationships/image" Target="../media/image249.png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269.png"/><Relationship Id="rId34" Type="http://schemas.openxmlformats.org/officeDocument/2006/relationships/image" Target="../media/image281.png"/><Relationship Id="rId42" Type="http://schemas.openxmlformats.org/officeDocument/2006/relationships/image" Target="../media/image254.png"/><Relationship Id="rId7" Type="http://schemas.openxmlformats.org/officeDocument/2006/relationships/image" Target="../media/image255.png"/><Relationship Id="rId12" Type="http://schemas.openxmlformats.org/officeDocument/2006/relationships/image" Target="../media/image260.svg"/><Relationship Id="rId17" Type="http://schemas.openxmlformats.org/officeDocument/2006/relationships/image" Target="../media/image265.png"/><Relationship Id="rId25" Type="http://schemas.openxmlformats.org/officeDocument/2006/relationships/image" Target="../media/image209.png"/><Relationship Id="rId33" Type="http://schemas.openxmlformats.org/officeDocument/2006/relationships/image" Target="../media/image280.png"/><Relationship Id="rId38" Type="http://schemas.openxmlformats.org/officeDocument/2006/relationships/image" Target="../media/image285.png"/><Relationship Id="rId2" Type="http://schemas.openxmlformats.org/officeDocument/2006/relationships/tags" Target="../tags/tag74.xml"/><Relationship Id="rId16" Type="http://schemas.openxmlformats.org/officeDocument/2006/relationships/image" Target="../media/image264.svg"/><Relationship Id="rId20" Type="http://schemas.openxmlformats.org/officeDocument/2006/relationships/image" Target="../media/image268.svg"/><Relationship Id="rId29" Type="http://schemas.openxmlformats.org/officeDocument/2006/relationships/image" Target="../media/image276.png"/><Relationship Id="rId41" Type="http://schemas.openxmlformats.org/officeDocument/2006/relationships/image" Target="../media/image251.svg"/><Relationship Id="rId1" Type="http://schemas.openxmlformats.org/officeDocument/2006/relationships/tags" Target="../tags/tag73.xml"/><Relationship Id="rId6" Type="http://schemas.openxmlformats.org/officeDocument/2006/relationships/image" Target="../media/image5.emf"/><Relationship Id="rId11" Type="http://schemas.openxmlformats.org/officeDocument/2006/relationships/image" Target="../media/image259.png"/><Relationship Id="rId24" Type="http://schemas.openxmlformats.org/officeDocument/2006/relationships/image" Target="../media/image272.svg"/><Relationship Id="rId32" Type="http://schemas.openxmlformats.org/officeDocument/2006/relationships/image" Target="../media/image279.png"/><Relationship Id="rId37" Type="http://schemas.openxmlformats.org/officeDocument/2006/relationships/image" Target="../media/image284.png"/><Relationship Id="rId40" Type="http://schemas.openxmlformats.org/officeDocument/2006/relationships/image" Target="../media/image250.png"/><Relationship Id="rId5" Type="http://schemas.openxmlformats.org/officeDocument/2006/relationships/oleObject" Target="../embeddings/oleObject35.bin"/><Relationship Id="rId15" Type="http://schemas.openxmlformats.org/officeDocument/2006/relationships/image" Target="../media/image263.png"/><Relationship Id="rId23" Type="http://schemas.openxmlformats.org/officeDocument/2006/relationships/image" Target="../media/image271.png"/><Relationship Id="rId28" Type="http://schemas.openxmlformats.org/officeDocument/2006/relationships/image" Target="../media/image275.svg"/><Relationship Id="rId36" Type="http://schemas.openxmlformats.org/officeDocument/2006/relationships/image" Target="../media/image283.png"/><Relationship Id="rId10" Type="http://schemas.openxmlformats.org/officeDocument/2006/relationships/image" Target="../media/image258.svg"/><Relationship Id="rId19" Type="http://schemas.openxmlformats.org/officeDocument/2006/relationships/image" Target="../media/image267.png"/><Relationship Id="rId31" Type="http://schemas.openxmlformats.org/officeDocument/2006/relationships/image" Target="../media/image278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57.png"/><Relationship Id="rId14" Type="http://schemas.openxmlformats.org/officeDocument/2006/relationships/image" Target="../media/image262.svg"/><Relationship Id="rId22" Type="http://schemas.openxmlformats.org/officeDocument/2006/relationships/image" Target="../media/image270.svg"/><Relationship Id="rId27" Type="http://schemas.openxmlformats.org/officeDocument/2006/relationships/image" Target="../media/image274.png"/><Relationship Id="rId30" Type="http://schemas.openxmlformats.org/officeDocument/2006/relationships/image" Target="../media/image277.svg"/><Relationship Id="rId35" Type="http://schemas.openxmlformats.org/officeDocument/2006/relationships/image" Target="../media/image28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1.png"/><Relationship Id="rId3" Type="http://schemas.openxmlformats.org/officeDocument/2006/relationships/image" Target="../media/image287.png"/><Relationship Id="rId7" Type="http://schemas.openxmlformats.org/officeDocument/2006/relationships/image" Target="../media/image290.png"/><Relationship Id="rId2" Type="http://schemas.openxmlformats.org/officeDocument/2006/relationships/image" Target="../media/image286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89.png"/><Relationship Id="rId5" Type="http://schemas.openxmlformats.org/officeDocument/2006/relationships/image" Target="../media/image76.png"/><Relationship Id="rId4" Type="http://schemas.openxmlformats.org/officeDocument/2006/relationships/image" Target="../media/image288.png"/><Relationship Id="rId9" Type="http://schemas.openxmlformats.org/officeDocument/2006/relationships/image" Target="../media/image29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3.png"/><Relationship Id="rId7" Type="http://schemas.openxmlformats.org/officeDocument/2006/relationships/image" Target="../media/image29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96.jpeg"/><Relationship Id="rId5" Type="http://schemas.openxmlformats.org/officeDocument/2006/relationships/image" Target="../media/image295.png"/><Relationship Id="rId4" Type="http://schemas.openxmlformats.org/officeDocument/2006/relationships/image" Target="../media/image29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hyperlink" Target="https://almenkompas.dk/organisering" TargetMode="Externa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1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9.svg"/><Relationship Id="rId13" Type="http://schemas.openxmlformats.org/officeDocument/2006/relationships/image" Target="../media/image304.png"/><Relationship Id="rId18" Type="http://schemas.openxmlformats.org/officeDocument/2006/relationships/image" Target="../media/image133.png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135.png"/><Relationship Id="rId7" Type="http://schemas.openxmlformats.org/officeDocument/2006/relationships/image" Target="../media/image298.png"/><Relationship Id="rId12" Type="http://schemas.openxmlformats.org/officeDocument/2006/relationships/image" Target="../media/image303.svg"/><Relationship Id="rId17" Type="http://schemas.openxmlformats.org/officeDocument/2006/relationships/hyperlink" Target="https://www.linkedin.com/company/almenkompas/" TargetMode="External"/><Relationship Id="rId2" Type="http://schemas.openxmlformats.org/officeDocument/2006/relationships/tags" Target="../tags/tag78.xml"/><Relationship Id="rId16" Type="http://schemas.openxmlformats.org/officeDocument/2006/relationships/hyperlink" Target="https://almenkompas.dk/" TargetMode="External"/><Relationship Id="rId20" Type="http://schemas.openxmlformats.org/officeDocument/2006/relationships/image" Target="../media/image131.png"/><Relationship Id="rId1" Type="http://schemas.openxmlformats.org/officeDocument/2006/relationships/tags" Target="../tags/tag77.xml"/><Relationship Id="rId6" Type="http://schemas.openxmlformats.org/officeDocument/2006/relationships/image" Target="../media/image5.emf"/><Relationship Id="rId11" Type="http://schemas.openxmlformats.org/officeDocument/2006/relationships/image" Target="../media/image302.png"/><Relationship Id="rId5" Type="http://schemas.openxmlformats.org/officeDocument/2006/relationships/oleObject" Target="../embeddings/oleObject37.bin"/><Relationship Id="rId15" Type="http://schemas.openxmlformats.org/officeDocument/2006/relationships/hyperlink" Target="mailto:almenkompas@domea.dk" TargetMode="External"/><Relationship Id="rId10" Type="http://schemas.openxmlformats.org/officeDocument/2006/relationships/image" Target="../media/image301.svg"/><Relationship Id="rId19" Type="http://schemas.openxmlformats.org/officeDocument/2006/relationships/image" Target="../media/image134.sv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300.png"/><Relationship Id="rId14" Type="http://schemas.openxmlformats.org/officeDocument/2006/relationships/image" Target="../media/image305.svg"/><Relationship Id="rId22" Type="http://schemas.openxmlformats.org/officeDocument/2006/relationships/image" Target="../media/image1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5" Type="http://schemas.openxmlformats.org/officeDocument/2006/relationships/image" Target="../media/image67.png"/><Relationship Id="rId4" Type="http://schemas.openxmlformats.org/officeDocument/2006/relationships/image" Target="../media/image6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8.png"/><Relationship Id="rId12" Type="http://schemas.openxmlformats.org/officeDocument/2006/relationships/image" Target="../media/image73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5.emf"/><Relationship Id="rId11" Type="http://schemas.openxmlformats.org/officeDocument/2006/relationships/image" Target="../media/image72.pn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71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3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png"/><Relationship Id="rId18" Type="http://schemas.openxmlformats.org/officeDocument/2006/relationships/image" Target="../media/image91.png"/><Relationship Id="rId26" Type="http://schemas.openxmlformats.org/officeDocument/2006/relationships/image" Target="../media/image99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94.jpeg"/><Relationship Id="rId7" Type="http://schemas.openxmlformats.org/officeDocument/2006/relationships/image" Target="../media/image80.png"/><Relationship Id="rId12" Type="http://schemas.openxmlformats.org/officeDocument/2006/relationships/image" Target="../media/image85.png"/><Relationship Id="rId17" Type="http://schemas.openxmlformats.org/officeDocument/2006/relationships/image" Target="../media/image90.png"/><Relationship Id="rId25" Type="http://schemas.openxmlformats.org/officeDocument/2006/relationships/image" Target="../media/image98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89.png"/><Relationship Id="rId20" Type="http://schemas.openxmlformats.org/officeDocument/2006/relationships/image" Target="../media/image93.png"/><Relationship Id="rId1" Type="http://schemas.openxmlformats.org/officeDocument/2006/relationships/tags" Target="../tags/tag44.xml"/><Relationship Id="rId6" Type="http://schemas.openxmlformats.org/officeDocument/2006/relationships/image" Target="../media/image79.png"/><Relationship Id="rId11" Type="http://schemas.openxmlformats.org/officeDocument/2006/relationships/image" Target="../media/image84.png"/><Relationship Id="rId24" Type="http://schemas.openxmlformats.org/officeDocument/2006/relationships/image" Target="../media/image97.png"/><Relationship Id="rId5" Type="http://schemas.openxmlformats.org/officeDocument/2006/relationships/image" Target="../media/image78.emf"/><Relationship Id="rId15" Type="http://schemas.openxmlformats.org/officeDocument/2006/relationships/image" Target="../media/image88.png"/><Relationship Id="rId23" Type="http://schemas.openxmlformats.org/officeDocument/2006/relationships/image" Target="../media/image96.png"/><Relationship Id="rId10" Type="http://schemas.openxmlformats.org/officeDocument/2006/relationships/image" Target="../media/image83.png"/><Relationship Id="rId19" Type="http://schemas.openxmlformats.org/officeDocument/2006/relationships/image" Target="../media/image92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82.png"/><Relationship Id="rId14" Type="http://schemas.openxmlformats.org/officeDocument/2006/relationships/image" Target="../media/image87.png"/><Relationship Id="rId22" Type="http://schemas.openxmlformats.org/officeDocument/2006/relationships/image" Target="../media/image9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13" Type="http://schemas.openxmlformats.org/officeDocument/2006/relationships/image" Target="../media/image10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2.png"/><Relationship Id="rId12" Type="http://schemas.openxmlformats.org/officeDocument/2006/relationships/image" Target="../media/image107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01.png"/><Relationship Id="rId11" Type="http://schemas.openxmlformats.org/officeDocument/2006/relationships/image" Target="../media/image106.png"/><Relationship Id="rId5" Type="http://schemas.openxmlformats.org/officeDocument/2006/relationships/image" Target="../media/image100.emf"/><Relationship Id="rId10" Type="http://schemas.openxmlformats.org/officeDocument/2006/relationships/image" Target="../media/image105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04.png"/><Relationship Id="rId14" Type="http://schemas.openxmlformats.org/officeDocument/2006/relationships/image" Target="../media/image109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openxmlformats.org/officeDocument/2006/relationships/image" Target="../media/image107.png"/><Relationship Id="rId18" Type="http://schemas.openxmlformats.org/officeDocument/2006/relationships/image" Target="../media/image115.png"/><Relationship Id="rId26" Type="http://schemas.openxmlformats.org/officeDocument/2006/relationships/image" Target="../media/image123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118.png"/><Relationship Id="rId7" Type="http://schemas.openxmlformats.org/officeDocument/2006/relationships/image" Target="../media/image101.png"/><Relationship Id="rId12" Type="http://schemas.openxmlformats.org/officeDocument/2006/relationships/image" Target="../media/image106.png"/><Relationship Id="rId17" Type="http://schemas.openxmlformats.org/officeDocument/2006/relationships/image" Target="../media/image114.png"/><Relationship Id="rId25" Type="http://schemas.openxmlformats.org/officeDocument/2006/relationships/image" Target="../media/image122.png"/><Relationship Id="rId2" Type="http://schemas.openxmlformats.org/officeDocument/2006/relationships/tags" Target="../tags/tag48.xml"/><Relationship Id="rId16" Type="http://schemas.openxmlformats.org/officeDocument/2006/relationships/image" Target="../media/image113.png"/><Relationship Id="rId20" Type="http://schemas.openxmlformats.org/officeDocument/2006/relationships/image" Target="../media/image117.png"/><Relationship Id="rId29" Type="http://schemas.openxmlformats.org/officeDocument/2006/relationships/image" Target="../media/image109.svg"/><Relationship Id="rId1" Type="http://schemas.openxmlformats.org/officeDocument/2006/relationships/tags" Target="../tags/tag47.xml"/><Relationship Id="rId6" Type="http://schemas.openxmlformats.org/officeDocument/2006/relationships/image" Target="../media/image110.emf"/><Relationship Id="rId11" Type="http://schemas.openxmlformats.org/officeDocument/2006/relationships/image" Target="../media/image105.png"/><Relationship Id="rId24" Type="http://schemas.openxmlformats.org/officeDocument/2006/relationships/image" Target="../media/image121.png"/><Relationship Id="rId5" Type="http://schemas.openxmlformats.org/officeDocument/2006/relationships/oleObject" Target="../embeddings/oleObject23.bin"/><Relationship Id="rId15" Type="http://schemas.openxmlformats.org/officeDocument/2006/relationships/image" Target="../media/image112.png"/><Relationship Id="rId23" Type="http://schemas.openxmlformats.org/officeDocument/2006/relationships/image" Target="../media/image120.png"/><Relationship Id="rId28" Type="http://schemas.openxmlformats.org/officeDocument/2006/relationships/image" Target="../media/image108.png"/><Relationship Id="rId10" Type="http://schemas.openxmlformats.org/officeDocument/2006/relationships/image" Target="../media/image104.png"/><Relationship Id="rId19" Type="http://schemas.openxmlformats.org/officeDocument/2006/relationships/image" Target="../media/image116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3.png"/><Relationship Id="rId14" Type="http://schemas.openxmlformats.org/officeDocument/2006/relationships/image" Target="../media/image111.png"/><Relationship Id="rId22" Type="http://schemas.openxmlformats.org/officeDocument/2006/relationships/image" Target="../media/image119.png"/><Relationship Id="rId27" Type="http://schemas.openxmlformats.org/officeDocument/2006/relationships/image" Target="../media/image1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9.sv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08.png"/><Relationship Id="rId5" Type="http://schemas.openxmlformats.org/officeDocument/2006/relationships/image" Target="../media/image110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12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57F54A-12A3-E32C-3520-7E1B377D1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573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57F54A-12A3-E32C-3520-7E1B377D1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E6620F5-9948-0CFF-739F-6BA6ACA89B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606" y="1784717"/>
            <a:ext cx="5985445" cy="1820007"/>
          </a:xfrm>
        </p:spPr>
        <p:txBody>
          <a:bodyPr vert="horz"/>
          <a:lstStyle/>
          <a:p>
            <a:r>
              <a:rPr lang="da-DK" sz="6000" b="1" dirty="0">
                <a:solidFill>
                  <a:schemeClr val="accent1"/>
                </a:solidFill>
                <a:latin typeface="DM Sans 14pt"/>
              </a:rPr>
              <a:t>Prioriterings-</a:t>
            </a:r>
            <a:br>
              <a:rPr lang="da-DK" sz="6000" b="1" dirty="0">
                <a:solidFill>
                  <a:schemeClr val="accent1"/>
                </a:solidFill>
                <a:latin typeface="DM Sans 14pt" pitchFamily="2" charset="77"/>
              </a:rPr>
            </a:br>
            <a:r>
              <a:rPr lang="da-DK" sz="6000" b="1" dirty="0">
                <a:solidFill>
                  <a:schemeClr val="accent1"/>
                </a:solidFill>
                <a:latin typeface="DM Sans 14pt"/>
              </a:rPr>
              <a:t>workshop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3F895A4-0899-F0ED-8883-9EB776765E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21" name="Graphic 9">
            <a:extLst>
              <a:ext uri="{FF2B5EF4-FFF2-40B4-BE49-F238E27FC236}">
                <a16:creationId xmlns:a16="http://schemas.microsoft.com/office/drawing/2014/main" id="{EE84B6FE-EF90-F67A-A749-CA12A81C7B63}"/>
              </a:ext>
            </a:extLst>
          </p:cNvPr>
          <p:cNvGrpSpPr/>
          <p:nvPr/>
        </p:nvGrpSpPr>
        <p:grpSpPr>
          <a:xfrm>
            <a:off x="5705376" y="-499941"/>
            <a:ext cx="7604164" cy="7708303"/>
            <a:chOff x="3340713" y="653193"/>
            <a:chExt cx="7604164" cy="7708303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7F1611F-C47D-20C5-BDE9-5DEE2CE6E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340713" y="653193"/>
              <a:ext cx="7604164" cy="7708303"/>
            </a:xfrm>
            <a:custGeom>
              <a:avLst/>
              <a:gdLst>
                <a:gd name="connsiteX0" fmla="*/ -283 w 7604164"/>
                <a:gd name="connsiteY0" fmla="*/ -286 h 7708303"/>
                <a:gd name="connsiteX1" fmla="*/ 7603882 w 7604164"/>
                <a:gd name="connsiteY1" fmla="*/ -286 h 7708303"/>
                <a:gd name="connsiteX2" fmla="*/ 7603882 w 7604164"/>
                <a:gd name="connsiteY2" fmla="*/ 7708017 h 7708303"/>
                <a:gd name="connsiteX3" fmla="*/ -283 w 7604164"/>
                <a:gd name="connsiteY3" fmla="*/ 7708017 h 7708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04164" h="7708303">
                  <a:moveTo>
                    <a:pt x="-283" y="-286"/>
                  </a:moveTo>
                  <a:lnTo>
                    <a:pt x="7603882" y="-286"/>
                  </a:lnTo>
                  <a:lnTo>
                    <a:pt x="7603882" y="7708017"/>
                  </a:lnTo>
                  <a:lnTo>
                    <a:pt x="-283" y="7708017"/>
                  </a:lnTo>
                  <a:close/>
                </a:path>
              </a:pathLst>
            </a:cu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1A059502-A4CA-87E9-FABC-8878330F3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65273" y="1813834"/>
              <a:ext cx="5915244" cy="5995294"/>
            </a:xfrm>
            <a:custGeom>
              <a:avLst/>
              <a:gdLst>
                <a:gd name="connsiteX0" fmla="*/ 119 w 5915244"/>
                <a:gd name="connsiteY0" fmla="*/ 135 h 5995294"/>
                <a:gd name="connsiteX1" fmla="*/ 5915363 w 5915244"/>
                <a:gd name="connsiteY1" fmla="*/ 135 h 5995294"/>
                <a:gd name="connsiteX2" fmla="*/ 5915363 w 5915244"/>
                <a:gd name="connsiteY2" fmla="*/ 5995430 h 5995294"/>
                <a:gd name="connsiteX3" fmla="*/ 119 w 5915244"/>
                <a:gd name="connsiteY3" fmla="*/ 5995430 h 599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15244" h="5995294">
                  <a:moveTo>
                    <a:pt x="119" y="135"/>
                  </a:moveTo>
                  <a:lnTo>
                    <a:pt x="5915363" y="135"/>
                  </a:lnTo>
                  <a:lnTo>
                    <a:pt x="5915363" y="5995430"/>
                  </a:lnTo>
                  <a:lnTo>
                    <a:pt x="119" y="5995430"/>
                  </a:lnTo>
                  <a:close/>
                </a:path>
              </a:pathLst>
            </a:cu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39781E7-B312-26B8-9FB7-E781A0CC8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33365" y="2118002"/>
              <a:ext cx="5386950" cy="5467001"/>
            </a:xfrm>
            <a:custGeom>
              <a:avLst/>
              <a:gdLst>
                <a:gd name="connsiteX0" fmla="*/ 107 w 5386950"/>
                <a:gd name="connsiteY0" fmla="*/ 140 h 5467001"/>
                <a:gd name="connsiteX1" fmla="*/ 5387057 w 5386950"/>
                <a:gd name="connsiteY1" fmla="*/ 140 h 5467001"/>
                <a:gd name="connsiteX2" fmla="*/ 5387057 w 5386950"/>
                <a:gd name="connsiteY2" fmla="*/ 5467142 h 5467001"/>
                <a:gd name="connsiteX3" fmla="*/ 107 w 5386950"/>
                <a:gd name="connsiteY3" fmla="*/ 5467142 h 5467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6950" h="5467001">
                  <a:moveTo>
                    <a:pt x="107" y="140"/>
                  </a:moveTo>
                  <a:lnTo>
                    <a:pt x="5387057" y="140"/>
                  </a:lnTo>
                  <a:lnTo>
                    <a:pt x="5387057" y="5467142"/>
                  </a:lnTo>
                  <a:lnTo>
                    <a:pt x="107" y="5467142"/>
                  </a:lnTo>
                  <a:close/>
                </a:path>
              </a:pathLst>
            </a:cu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02D91532-E882-4339-380E-13DB8906F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01566" y="2622281"/>
              <a:ext cx="4490464" cy="4562516"/>
            </a:xfrm>
            <a:custGeom>
              <a:avLst/>
              <a:gdLst>
                <a:gd name="connsiteX0" fmla="*/ 97 w 4490464"/>
                <a:gd name="connsiteY0" fmla="*/ 147 h 4562516"/>
                <a:gd name="connsiteX1" fmla="*/ 4490561 w 4490464"/>
                <a:gd name="connsiteY1" fmla="*/ 147 h 4562516"/>
                <a:gd name="connsiteX2" fmla="*/ 4490561 w 4490464"/>
                <a:gd name="connsiteY2" fmla="*/ 4562664 h 4562516"/>
                <a:gd name="connsiteX3" fmla="*/ 97 w 4490464"/>
                <a:gd name="connsiteY3" fmla="*/ 4562664 h 456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464" h="4562516">
                  <a:moveTo>
                    <a:pt x="97" y="147"/>
                  </a:moveTo>
                  <a:lnTo>
                    <a:pt x="4490561" y="147"/>
                  </a:lnTo>
                  <a:lnTo>
                    <a:pt x="4490561" y="4562664"/>
                  </a:lnTo>
                  <a:lnTo>
                    <a:pt x="97" y="4562664"/>
                  </a:lnTo>
                  <a:close/>
                </a:path>
              </a:pathLst>
            </a:cu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E15A0AC-57DC-067E-FC5F-99FD1AF9E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261763" y="2982480"/>
              <a:ext cx="3906140" cy="3962207"/>
            </a:xfrm>
            <a:custGeom>
              <a:avLst/>
              <a:gdLst>
                <a:gd name="connsiteX0" fmla="*/ 105 w 3906140"/>
                <a:gd name="connsiteY0" fmla="*/ 155 h 3962207"/>
                <a:gd name="connsiteX1" fmla="*/ 3906246 w 3906140"/>
                <a:gd name="connsiteY1" fmla="*/ 155 h 3962207"/>
                <a:gd name="connsiteX2" fmla="*/ 3906246 w 3906140"/>
                <a:gd name="connsiteY2" fmla="*/ 3962363 h 3962207"/>
                <a:gd name="connsiteX3" fmla="*/ 105 w 3906140"/>
                <a:gd name="connsiteY3" fmla="*/ 3962363 h 396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6140" h="3962207">
                  <a:moveTo>
                    <a:pt x="105" y="155"/>
                  </a:moveTo>
                  <a:lnTo>
                    <a:pt x="3906246" y="155"/>
                  </a:lnTo>
                  <a:lnTo>
                    <a:pt x="3906246" y="3962363"/>
                  </a:lnTo>
                  <a:lnTo>
                    <a:pt x="105" y="3962363"/>
                  </a:lnTo>
                  <a:close/>
                </a:path>
              </a:pathLst>
            </a:custGeom>
          </p:spPr>
        </p:pic>
      </p:grpSp>
      <p:grpSp>
        <p:nvGrpSpPr>
          <p:cNvPr id="13" name="Group 36">
            <a:extLst>
              <a:ext uri="{FF2B5EF4-FFF2-40B4-BE49-F238E27FC236}">
                <a16:creationId xmlns:a16="http://schemas.microsoft.com/office/drawing/2014/main" id="{80AF9516-0FEE-2822-6C35-1CFA002D7490}"/>
              </a:ext>
            </a:extLst>
          </p:cNvPr>
          <p:cNvGrpSpPr/>
          <p:nvPr/>
        </p:nvGrpSpPr>
        <p:grpSpPr>
          <a:xfrm>
            <a:off x="2855424" y="6337078"/>
            <a:ext cx="6130436" cy="324000"/>
            <a:chOff x="1013822" y="2279796"/>
            <a:chExt cx="6130436" cy="324000"/>
          </a:xfrm>
        </p:grpSpPr>
        <p:sp>
          <p:nvSpPr>
            <p:cNvPr id="14" name="Arrow: Pentagon 37">
              <a:extLst>
                <a:ext uri="{FF2B5EF4-FFF2-40B4-BE49-F238E27FC236}">
                  <a16:creationId xmlns:a16="http://schemas.microsoft.com/office/drawing/2014/main" id="{EEAC7B62-EFBB-3911-D108-962DCBAE3FFF}"/>
                </a:ext>
              </a:extLst>
            </p:cNvPr>
            <p:cNvSpPr/>
            <p:nvPr/>
          </p:nvSpPr>
          <p:spPr>
            <a:xfrm>
              <a:off x="1013822" y="2279796"/>
              <a:ext cx="2088000" cy="324000"/>
            </a:xfrm>
            <a:custGeom>
              <a:avLst/>
              <a:gdLst>
                <a:gd name="csX0" fmla="*/ 0 w 2088000"/>
                <a:gd name="csY0" fmla="*/ 0 h 324000"/>
                <a:gd name="csX1" fmla="*/ 680520 w 2088000"/>
                <a:gd name="csY1" fmla="*/ 0 h 324000"/>
                <a:gd name="csX2" fmla="*/ 1284000 w 2088000"/>
                <a:gd name="csY2" fmla="*/ 0 h 324000"/>
                <a:gd name="csX3" fmla="*/ 1926000 w 2088000"/>
                <a:gd name="csY3" fmla="*/ 0 h 324000"/>
                <a:gd name="csX4" fmla="*/ 2088000 w 2088000"/>
                <a:gd name="csY4" fmla="*/ 162000 h 324000"/>
                <a:gd name="csX5" fmla="*/ 1926000 w 2088000"/>
                <a:gd name="csY5" fmla="*/ 324000 h 324000"/>
                <a:gd name="csX6" fmla="*/ 1264740 w 2088000"/>
                <a:gd name="csY6" fmla="*/ 324000 h 324000"/>
                <a:gd name="csX7" fmla="*/ 584220 w 2088000"/>
                <a:gd name="csY7" fmla="*/ 324000 h 324000"/>
                <a:gd name="csX8" fmla="*/ 0 w 2088000"/>
                <a:gd name="csY8" fmla="*/ 324000 h 324000"/>
                <a:gd name="csX9" fmla="*/ 0 w 2088000"/>
                <a:gd name="csY9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2088000" h="324000" fill="none" extrusionOk="0">
                  <a:moveTo>
                    <a:pt x="0" y="0"/>
                  </a:moveTo>
                  <a:cubicBezTo>
                    <a:pt x="297922" y="-32125"/>
                    <a:pt x="526075" y="9855"/>
                    <a:pt x="680520" y="0"/>
                  </a:cubicBezTo>
                  <a:cubicBezTo>
                    <a:pt x="834965" y="-9855"/>
                    <a:pt x="986239" y="7537"/>
                    <a:pt x="1284000" y="0"/>
                  </a:cubicBezTo>
                  <a:cubicBezTo>
                    <a:pt x="1581761" y="-7537"/>
                    <a:pt x="1792418" y="-25677"/>
                    <a:pt x="1926000" y="0"/>
                  </a:cubicBezTo>
                  <a:cubicBezTo>
                    <a:pt x="1966839" y="33579"/>
                    <a:pt x="2033482" y="114652"/>
                    <a:pt x="2088000" y="162000"/>
                  </a:cubicBezTo>
                  <a:cubicBezTo>
                    <a:pt x="2042073" y="197524"/>
                    <a:pt x="1995486" y="243356"/>
                    <a:pt x="1926000" y="324000"/>
                  </a:cubicBezTo>
                  <a:cubicBezTo>
                    <a:pt x="1624776" y="340662"/>
                    <a:pt x="1527183" y="328108"/>
                    <a:pt x="1264740" y="324000"/>
                  </a:cubicBezTo>
                  <a:cubicBezTo>
                    <a:pt x="1002297" y="319892"/>
                    <a:pt x="784815" y="317957"/>
                    <a:pt x="584220" y="324000"/>
                  </a:cubicBezTo>
                  <a:cubicBezTo>
                    <a:pt x="383625" y="330043"/>
                    <a:pt x="117463" y="335917"/>
                    <a:pt x="0" y="324000"/>
                  </a:cubicBezTo>
                  <a:cubicBezTo>
                    <a:pt x="2586" y="184058"/>
                    <a:pt x="9616" y="116428"/>
                    <a:pt x="0" y="0"/>
                  </a:cubicBezTo>
                  <a:close/>
                </a:path>
                <a:path w="2088000" h="324000" stroke="0" extrusionOk="0">
                  <a:moveTo>
                    <a:pt x="0" y="0"/>
                  </a:moveTo>
                  <a:cubicBezTo>
                    <a:pt x="184970" y="-22540"/>
                    <a:pt x="532200" y="-13370"/>
                    <a:pt x="680520" y="0"/>
                  </a:cubicBezTo>
                  <a:cubicBezTo>
                    <a:pt x="828840" y="13370"/>
                    <a:pt x="1024179" y="16521"/>
                    <a:pt x="1284000" y="0"/>
                  </a:cubicBezTo>
                  <a:cubicBezTo>
                    <a:pt x="1543821" y="-16521"/>
                    <a:pt x="1694876" y="18351"/>
                    <a:pt x="1926000" y="0"/>
                  </a:cubicBezTo>
                  <a:cubicBezTo>
                    <a:pt x="1971517" y="33716"/>
                    <a:pt x="2024290" y="104334"/>
                    <a:pt x="2088000" y="162000"/>
                  </a:cubicBezTo>
                  <a:cubicBezTo>
                    <a:pt x="2059174" y="205642"/>
                    <a:pt x="1967808" y="274608"/>
                    <a:pt x="1926000" y="324000"/>
                  </a:cubicBezTo>
                  <a:cubicBezTo>
                    <a:pt x="1776439" y="310831"/>
                    <a:pt x="1533529" y="349520"/>
                    <a:pt x="1284000" y="324000"/>
                  </a:cubicBezTo>
                  <a:cubicBezTo>
                    <a:pt x="1034471" y="298480"/>
                    <a:pt x="799381" y="334712"/>
                    <a:pt x="642000" y="324000"/>
                  </a:cubicBezTo>
                  <a:cubicBezTo>
                    <a:pt x="484619" y="313288"/>
                    <a:pt x="313982" y="327644"/>
                    <a:pt x="0" y="324000"/>
                  </a:cubicBezTo>
                  <a:cubicBezTo>
                    <a:pt x="5536" y="237031"/>
                    <a:pt x="-8872" y="94167"/>
                    <a:pt x="0" y="0"/>
                  </a:cubicBezTo>
                  <a:close/>
                </a:path>
              </a:pathLst>
            </a:custGeom>
            <a:solidFill>
              <a:srgbClr val="F79FA7"/>
            </a:solidFill>
            <a:ln>
              <a:solidFill>
                <a:srgbClr val="F79FA7"/>
              </a:solidFill>
              <a:extLst>
                <a:ext uri="{C807C97D-BFC1-408E-A445-0C87EB9F89A2}">
                  <ask:lineSketchStyleProps xmlns:ask="http://schemas.microsoft.com/office/drawing/2018/sketchyshapes" sd="4159347165">
                    <a:prstGeom prst="homePlat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a-DK" sz="1000" dirty="0">
                  <a:latin typeface="DM Sans 14pt" pitchFamily="2" charset="77"/>
                </a:rPr>
                <a:t>Analyse</a:t>
              </a:r>
              <a:endParaRPr lang="en-DK" sz="1000" dirty="0">
                <a:latin typeface="DM Sans 14pt" pitchFamily="2" charset="77"/>
              </a:endParaRPr>
            </a:p>
          </p:txBody>
        </p:sp>
        <p:sp>
          <p:nvSpPr>
            <p:cNvPr id="15" name="Arrow: Chevron 38">
              <a:extLst>
                <a:ext uri="{FF2B5EF4-FFF2-40B4-BE49-F238E27FC236}">
                  <a16:creationId xmlns:a16="http://schemas.microsoft.com/office/drawing/2014/main" id="{35F32F5F-B682-5768-FE96-F49BC91887B7}"/>
                </a:ext>
              </a:extLst>
            </p:cNvPr>
            <p:cNvSpPr/>
            <p:nvPr/>
          </p:nvSpPr>
          <p:spPr>
            <a:xfrm>
              <a:off x="3035040" y="2279796"/>
              <a:ext cx="2088000" cy="324000"/>
            </a:xfrm>
            <a:custGeom>
              <a:avLst/>
              <a:gdLst>
                <a:gd name="csX0" fmla="*/ 0 w 2088000"/>
                <a:gd name="csY0" fmla="*/ 0 h 324000"/>
                <a:gd name="csX1" fmla="*/ 680520 w 2088000"/>
                <a:gd name="csY1" fmla="*/ 0 h 324000"/>
                <a:gd name="csX2" fmla="*/ 1361040 w 2088000"/>
                <a:gd name="csY2" fmla="*/ 0 h 324000"/>
                <a:gd name="csX3" fmla="*/ 1926000 w 2088000"/>
                <a:gd name="csY3" fmla="*/ 0 h 324000"/>
                <a:gd name="csX4" fmla="*/ 2088000 w 2088000"/>
                <a:gd name="csY4" fmla="*/ 162000 h 324000"/>
                <a:gd name="csX5" fmla="*/ 1926000 w 2088000"/>
                <a:gd name="csY5" fmla="*/ 324000 h 324000"/>
                <a:gd name="csX6" fmla="*/ 1284000 w 2088000"/>
                <a:gd name="csY6" fmla="*/ 324000 h 324000"/>
                <a:gd name="csX7" fmla="*/ 642000 w 2088000"/>
                <a:gd name="csY7" fmla="*/ 324000 h 324000"/>
                <a:gd name="csX8" fmla="*/ 0 w 2088000"/>
                <a:gd name="csY8" fmla="*/ 324000 h 324000"/>
                <a:gd name="csX9" fmla="*/ 162000 w 2088000"/>
                <a:gd name="csY9" fmla="*/ 162000 h 324000"/>
                <a:gd name="csX10" fmla="*/ 0 w 2088000"/>
                <a:gd name="csY10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088000" h="324000" fill="none" extrusionOk="0">
                  <a:moveTo>
                    <a:pt x="0" y="0"/>
                  </a:moveTo>
                  <a:cubicBezTo>
                    <a:pt x="163195" y="-30218"/>
                    <a:pt x="385045" y="-8991"/>
                    <a:pt x="680520" y="0"/>
                  </a:cubicBezTo>
                  <a:cubicBezTo>
                    <a:pt x="975995" y="8991"/>
                    <a:pt x="1182213" y="28937"/>
                    <a:pt x="1361040" y="0"/>
                  </a:cubicBezTo>
                  <a:cubicBezTo>
                    <a:pt x="1539867" y="-28937"/>
                    <a:pt x="1723071" y="-20122"/>
                    <a:pt x="1926000" y="0"/>
                  </a:cubicBezTo>
                  <a:cubicBezTo>
                    <a:pt x="1971250" y="29674"/>
                    <a:pt x="2021724" y="100982"/>
                    <a:pt x="2088000" y="162000"/>
                  </a:cubicBezTo>
                  <a:cubicBezTo>
                    <a:pt x="2046702" y="213254"/>
                    <a:pt x="1967935" y="285617"/>
                    <a:pt x="1926000" y="324000"/>
                  </a:cubicBezTo>
                  <a:cubicBezTo>
                    <a:pt x="1741727" y="326938"/>
                    <a:pt x="1591250" y="346997"/>
                    <a:pt x="1284000" y="324000"/>
                  </a:cubicBezTo>
                  <a:cubicBezTo>
                    <a:pt x="976750" y="301003"/>
                    <a:pt x="863368" y="295094"/>
                    <a:pt x="642000" y="324000"/>
                  </a:cubicBezTo>
                  <a:cubicBezTo>
                    <a:pt x="420632" y="352906"/>
                    <a:pt x="158882" y="334207"/>
                    <a:pt x="0" y="324000"/>
                  </a:cubicBezTo>
                  <a:cubicBezTo>
                    <a:pt x="49266" y="286522"/>
                    <a:pt x="116851" y="216104"/>
                    <a:pt x="162000" y="162000"/>
                  </a:cubicBezTo>
                  <a:cubicBezTo>
                    <a:pt x="80153" y="91431"/>
                    <a:pt x="45969" y="35553"/>
                    <a:pt x="0" y="0"/>
                  </a:cubicBezTo>
                  <a:close/>
                </a:path>
                <a:path w="2088000" h="324000" stroke="0" extrusionOk="0">
                  <a:moveTo>
                    <a:pt x="0" y="0"/>
                  </a:moveTo>
                  <a:cubicBezTo>
                    <a:pt x="218854" y="-9456"/>
                    <a:pt x="449021" y="12250"/>
                    <a:pt x="584220" y="0"/>
                  </a:cubicBezTo>
                  <a:cubicBezTo>
                    <a:pt x="719419" y="-12250"/>
                    <a:pt x="979676" y="-5343"/>
                    <a:pt x="1206960" y="0"/>
                  </a:cubicBezTo>
                  <a:cubicBezTo>
                    <a:pt x="1434244" y="5343"/>
                    <a:pt x="1672577" y="21127"/>
                    <a:pt x="1926000" y="0"/>
                  </a:cubicBezTo>
                  <a:cubicBezTo>
                    <a:pt x="1991446" y="61526"/>
                    <a:pt x="2020884" y="91189"/>
                    <a:pt x="2088000" y="162000"/>
                  </a:cubicBezTo>
                  <a:cubicBezTo>
                    <a:pt x="2008936" y="234226"/>
                    <a:pt x="1984407" y="253245"/>
                    <a:pt x="1926000" y="324000"/>
                  </a:cubicBezTo>
                  <a:cubicBezTo>
                    <a:pt x="1710715" y="307904"/>
                    <a:pt x="1491578" y="308052"/>
                    <a:pt x="1264740" y="324000"/>
                  </a:cubicBezTo>
                  <a:cubicBezTo>
                    <a:pt x="1037902" y="339948"/>
                    <a:pt x="910756" y="301702"/>
                    <a:pt x="603480" y="324000"/>
                  </a:cubicBezTo>
                  <a:cubicBezTo>
                    <a:pt x="296204" y="346298"/>
                    <a:pt x="173664" y="339021"/>
                    <a:pt x="0" y="324000"/>
                  </a:cubicBezTo>
                  <a:cubicBezTo>
                    <a:pt x="80541" y="256370"/>
                    <a:pt x="96973" y="240169"/>
                    <a:pt x="162000" y="162000"/>
                  </a:cubicBezTo>
                  <a:cubicBezTo>
                    <a:pt x="106116" y="102880"/>
                    <a:pt x="34376" y="30945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  <a:extLst>
                <a:ext uri="{C807C97D-BFC1-408E-A445-0C87EB9F89A2}">
                  <ask:lineSketchStyleProps xmlns:ask="http://schemas.microsoft.com/office/drawing/2018/sketchyshapes" sd="4003262445">
                    <a:prstGeom prst="chevron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a-DK" sz="1000" dirty="0">
                  <a:solidFill>
                    <a:schemeClr val="bg1"/>
                  </a:solidFill>
                  <a:latin typeface="DM Sans 14pt" pitchFamily="2" charset="77"/>
                </a:rPr>
                <a:t>Prioritering og handling</a:t>
              </a:r>
              <a:endParaRPr lang="en-DK" sz="1000" dirty="0">
                <a:solidFill>
                  <a:schemeClr val="bg1"/>
                </a:solidFill>
                <a:latin typeface="DM Sans 14pt" pitchFamily="2" charset="77"/>
              </a:endParaRPr>
            </a:p>
          </p:txBody>
        </p:sp>
        <p:sp>
          <p:nvSpPr>
            <p:cNvPr id="16" name="Arrow: Chevron 39">
              <a:extLst>
                <a:ext uri="{FF2B5EF4-FFF2-40B4-BE49-F238E27FC236}">
                  <a16:creationId xmlns:a16="http://schemas.microsoft.com/office/drawing/2014/main" id="{ED0461B3-FC9D-94CB-E866-2F554CDD0405}"/>
                </a:ext>
              </a:extLst>
            </p:cNvPr>
            <p:cNvSpPr/>
            <p:nvPr/>
          </p:nvSpPr>
          <p:spPr>
            <a:xfrm>
              <a:off x="5056258" y="2279796"/>
              <a:ext cx="2088000" cy="324000"/>
            </a:xfrm>
            <a:custGeom>
              <a:avLst/>
              <a:gdLst>
                <a:gd name="csX0" fmla="*/ 0 w 2088000"/>
                <a:gd name="csY0" fmla="*/ 0 h 324000"/>
                <a:gd name="csX1" fmla="*/ 680520 w 2088000"/>
                <a:gd name="csY1" fmla="*/ 0 h 324000"/>
                <a:gd name="csX2" fmla="*/ 1361040 w 2088000"/>
                <a:gd name="csY2" fmla="*/ 0 h 324000"/>
                <a:gd name="csX3" fmla="*/ 1926000 w 2088000"/>
                <a:gd name="csY3" fmla="*/ 0 h 324000"/>
                <a:gd name="csX4" fmla="*/ 2088000 w 2088000"/>
                <a:gd name="csY4" fmla="*/ 162000 h 324000"/>
                <a:gd name="csX5" fmla="*/ 1926000 w 2088000"/>
                <a:gd name="csY5" fmla="*/ 324000 h 324000"/>
                <a:gd name="csX6" fmla="*/ 1284000 w 2088000"/>
                <a:gd name="csY6" fmla="*/ 324000 h 324000"/>
                <a:gd name="csX7" fmla="*/ 642000 w 2088000"/>
                <a:gd name="csY7" fmla="*/ 324000 h 324000"/>
                <a:gd name="csX8" fmla="*/ 0 w 2088000"/>
                <a:gd name="csY8" fmla="*/ 324000 h 324000"/>
                <a:gd name="csX9" fmla="*/ 162000 w 2088000"/>
                <a:gd name="csY9" fmla="*/ 162000 h 324000"/>
                <a:gd name="csX10" fmla="*/ 0 w 2088000"/>
                <a:gd name="csY10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088000" h="324000" fill="none" extrusionOk="0">
                  <a:moveTo>
                    <a:pt x="0" y="0"/>
                  </a:moveTo>
                  <a:cubicBezTo>
                    <a:pt x="163195" y="-30218"/>
                    <a:pt x="385045" y="-8991"/>
                    <a:pt x="680520" y="0"/>
                  </a:cubicBezTo>
                  <a:cubicBezTo>
                    <a:pt x="975995" y="8991"/>
                    <a:pt x="1182213" y="28937"/>
                    <a:pt x="1361040" y="0"/>
                  </a:cubicBezTo>
                  <a:cubicBezTo>
                    <a:pt x="1539867" y="-28937"/>
                    <a:pt x="1723071" y="-20122"/>
                    <a:pt x="1926000" y="0"/>
                  </a:cubicBezTo>
                  <a:cubicBezTo>
                    <a:pt x="1971250" y="29674"/>
                    <a:pt x="2021724" y="100982"/>
                    <a:pt x="2088000" y="162000"/>
                  </a:cubicBezTo>
                  <a:cubicBezTo>
                    <a:pt x="2046702" y="213254"/>
                    <a:pt x="1967935" y="285617"/>
                    <a:pt x="1926000" y="324000"/>
                  </a:cubicBezTo>
                  <a:cubicBezTo>
                    <a:pt x="1741727" y="326938"/>
                    <a:pt x="1591250" y="346997"/>
                    <a:pt x="1284000" y="324000"/>
                  </a:cubicBezTo>
                  <a:cubicBezTo>
                    <a:pt x="976750" y="301003"/>
                    <a:pt x="863368" y="295094"/>
                    <a:pt x="642000" y="324000"/>
                  </a:cubicBezTo>
                  <a:cubicBezTo>
                    <a:pt x="420632" y="352906"/>
                    <a:pt x="158882" y="334207"/>
                    <a:pt x="0" y="324000"/>
                  </a:cubicBezTo>
                  <a:cubicBezTo>
                    <a:pt x="49266" y="286522"/>
                    <a:pt x="116851" y="216104"/>
                    <a:pt x="162000" y="162000"/>
                  </a:cubicBezTo>
                  <a:cubicBezTo>
                    <a:pt x="80153" y="91431"/>
                    <a:pt x="45969" y="35553"/>
                    <a:pt x="0" y="0"/>
                  </a:cubicBezTo>
                  <a:close/>
                </a:path>
                <a:path w="2088000" h="324000" stroke="0" extrusionOk="0">
                  <a:moveTo>
                    <a:pt x="0" y="0"/>
                  </a:moveTo>
                  <a:cubicBezTo>
                    <a:pt x="218854" y="-9456"/>
                    <a:pt x="449021" y="12250"/>
                    <a:pt x="584220" y="0"/>
                  </a:cubicBezTo>
                  <a:cubicBezTo>
                    <a:pt x="719419" y="-12250"/>
                    <a:pt x="979676" y="-5343"/>
                    <a:pt x="1206960" y="0"/>
                  </a:cubicBezTo>
                  <a:cubicBezTo>
                    <a:pt x="1434244" y="5343"/>
                    <a:pt x="1672577" y="21127"/>
                    <a:pt x="1926000" y="0"/>
                  </a:cubicBezTo>
                  <a:cubicBezTo>
                    <a:pt x="1991446" y="61526"/>
                    <a:pt x="2020884" y="91189"/>
                    <a:pt x="2088000" y="162000"/>
                  </a:cubicBezTo>
                  <a:cubicBezTo>
                    <a:pt x="2008936" y="234226"/>
                    <a:pt x="1984407" y="253245"/>
                    <a:pt x="1926000" y="324000"/>
                  </a:cubicBezTo>
                  <a:cubicBezTo>
                    <a:pt x="1710715" y="307904"/>
                    <a:pt x="1491578" y="308052"/>
                    <a:pt x="1264740" y="324000"/>
                  </a:cubicBezTo>
                  <a:cubicBezTo>
                    <a:pt x="1037902" y="339948"/>
                    <a:pt x="910756" y="301702"/>
                    <a:pt x="603480" y="324000"/>
                  </a:cubicBezTo>
                  <a:cubicBezTo>
                    <a:pt x="296204" y="346298"/>
                    <a:pt x="173664" y="339021"/>
                    <a:pt x="0" y="324000"/>
                  </a:cubicBezTo>
                  <a:cubicBezTo>
                    <a:pt x="80541" y="256370"/>
                    <a:pt x="96973" y="240169"/>
                    <a:pt x="162000" y="162000"/>
                  </a:cubicBezTo>
                  <a:cubicBezTo>
                    <a:pt x="106116" y="102880"/>
                    <a:pt x="34376" y="30945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>
              <a:solidFill>
                <a:srgbClr val="97A2BB"/>
              </a:solidFill>
              <a:extLst>
                <a:ext uri="{C807C97D-BFC1-408E-A445-0C87EB9F89A2}">
                  <ask:lineSketchStyleProps xmlns:ask="http://schemas.microsoft.com/office/drawing/2018/sketchyshapes" sd="4003262445">
                    <a:prstGeom prst="chevron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a-DK" sz="1000" dirty="0">
                  <a:solidFill>
                    <a:schemeClr val="bg1"/>
                  </a:solidFill>
                  <a:latin typeface="DM Sans 14pt" pitchFamily="2" charset="77"/>
                </a:rPr>
                <a:t>Opfølgning og rapporteting</a:t>
              </a:r>
              <a:endParaRPr lang="en-DK" sz="1000" dirty="0">
                <a:solidFill>
                  <a:schemeClr val="bg1"/>
                </a:solidFill>
                <a:latin typeface="DM Sans 14pt" pitchFamily="2" charset="77"/>
              </a:endParaRPr>
            </a:p>
          </p:txBody>
        </p:sp>
        <p:sp>
          <p:nvSpPr>
            <p:cNvPr id="17" name="Rectangle 41">
              <a:extLst>
                <a:ext uri="{FF2B5EF4-FFF2-40B4-BE49-F238E27FC236}">
                  <a16:creationId xmlns:a16="http://schemas.microsoft.com/office/drawing/2014/main" id="{180717C4-8EEE-7385-9206-DA709A20D59C}"/>
                </a:ext>
              </a:extLst>
            </p:cNvPr>
            <p:cNvSpPr/>
            <p:nvPr/>
          </p:nvSpPr>
          <p:spPr>
            <a:xfrm>
              <a:off x="6994478" y="2279796"/>
              <a:ext cx="149780" cy="324000"/>
            </a:xfrm>
            <a:custGeom>
              <a:avLst/>
              <a:gdLst>
                <a:gd name="csX0" fmla="*/ 0 w 149780"/>
                <a:gd name="csY0" fmla="*/ 0 h 324000"/>
                <a:gd name="csX1" fmla="*/ 149780 w 149780"/>
                <a:gd name="csY1" fmla="*/ 0 h 324000"/>
                <a:gd name="csX2" fmla="*/ 149780 w 149780"/>
                <a:gd name="csY2" fmla="*/ 324000 h 324000"/>
                <a:gd name="csX3" fmla="*/ 0 w 149780"/>
                <a:gd name="csY3" fmla="*/ 324000 h 324000"/>
                <a:gd name="csX4" fmla="*/ 0 w 149780"/>
                <a:gd name="csY4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149780" h="324000" fill="none" extrusionOk="0">
                  <a:moveTo>
                    <a:pt x="0" y="0"/>
                  </a:moveTo>
                  <a:cubicBezTo>
                    <a:pt x="40746" y="5521"/>
                    <a:pt x="75210" y="5103"/>
                    <a:pt x="149780" y="0"/>
                  </a:cubicBezTo>
                  <a:cubicBezTo>
                    <a:pt x="145494" y="88462"/>
                    <a:pt x="161916" y="247254"/>
                    <a:pt x="149780" y="324000"/>
                  </a:cubicBezTo>
                  <a:cubicBezTo>
                    <a:pt x="113554" y="328828"/>
                    <a:pt x="37270" y="331267"/>
                    <a:pt x="0" y="324000"/>
                  </a:cubicBezTo>
                  <a:cubicBezTo>
                    <a:pt x="-6932" y="249180"/>
                    <a:pt x="4418" y="124583"/>
                    <a:pt x="0" y="0"/>
                  </a:cubicBezTo>
                  <a:close/>
                </a:path>
                <a:path w="149780" h="324000" stroke="0" extrusionOk="0">
                  <a:moveTo>
                    <a:pt x="0" y="0"/>
                  </a:moveTo>
                  <a:cubicBezTo>
                    <a:pt x="62505" y="-1786"/>
                    <a:pt x="104633" y="6921"/>
                    <a:pt x="149780" y="0"/>
                  </a:cubicBezTo>
                  <a:cubicBezTo>
                    <a:pt x="164746" y="132473"/>
                    <a:pt x="165332" y="214292"/>
                    <a:pt x="149780" y="324000"/>
                  </a:cubicBezTo>
                  <a:cubicBezTo>
                    <a:pt x="78175" y="319200"/>
                    <a:pt x="74283" y="321331"/>
                    <a:pt x="0" y="324000"/>
                  </a:cubicBezTo>
                  <a:cubicBezTo>
                    <a:pt x="10596" y="258849"/>
                    <a:pt x="-14535" y="156227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>
              <a:solidFill>
                <a:srgbClr val="97A2BB"/>
              </a:solidFill>
              <a:extLst>
                <a:ext uri="{C807C97D-BFC1-408E-A445-0C87EB9F89A2}">
                  <ask:lineSketchStyleProps xmlns:ask="http://schemas.microsoft.com/office/drawing/2018/sketchyshapes" sd="1670402538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 sz="1200">
                <a:solidFill>
                  <a:srgbClr val="97A2BB"/>
                </a:solidFill>
                <a:latin typeface="DM Sans 14pt" pitchFamily="2" charset="77"/>
              </a:endParaRPr>
            </a:p>
          </p:txBody>
        </p:sp>
      </p:grpSp>
      <p:pic>
        <p:nvPicPr>
          <p:cNvPr id="18" name="Graphic 44" descr="Walk with solid fill">
            <a:extLst>
              <a:ext uri="{FF2B5EF4-FFF2-40B4-BE49-F238E27FC236}">
                <a16:creationId xmlns:a16="http://schemas.microsoft.com/office/drawing/2014/main" id="{7CD68824-53BB-4061-C9F7-866E39FB1E4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97442" y="5905426"/>
            <a:ext cx="446400" cy="446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558389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BBC442-9961-4109-0D66-DF29352B43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A183B8F-565C-ED56-F48D-7407095C7880}"/>
              </a:ext>
            </a:extLst>
          </p:cNvPr>
          <p:cNvGrpSpPr/>
          <p:nvPr/>
        </p:nvGrpSpPr>
        <p:grpSpPr>
          <a:xfrm>
            <a:off x="388048" y="1898374"/>
            <a:ext cx="5690513" cy="3888063"/>
            <a:chOff x="593439" y="1766886"/>
            <a:chExt cx="5184418" cy="3663573"/>
          </a:xfrm>
        </p:grpSpPr>
        <p:pic>
          <p:nvPicPr>
            <p:cNvPr id="9" name="Billede 9">
              <a:extLst>
                <a:ext uri="{FF2B5EF4-FFF2-40B4-BE49-F238E27FC236}">
                  <a16:creationId xmlns:a16="http://schemas.microsoft.com/office/drawing/2014/main" id="{E439B6B2-99C4-8B8E-81FA-2D0193CFB32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3439" y="1766886"/>
              <a:ext cx="5184418" cy="3663573"/>
            </a:xfrm>
            <a:prstGeom prst="rect">
              <a:avLst/>
            </a:prstGeom>
            <a:ln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Billede 10">
              <a:extLst>
                <a:ext uri="{FF2B5EF4-FFF2-40B4-BE49-F238E27FC236}">
                  <a16:creationId xmlns:a16="http://schemas.microsoft.com/office/drawing/2014/main" id="{17CD467E-AEFE-438C-0E83-E3189044A6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652110">
              <a:off x="2376241" y="3706940"/>
              <a:ext cx="458651" cy="648708"/>
            </a:xfrm>
            <a:prstGeom prst="rect">
              <a:avLst/>
            </a:prstGeom>
          </p:spPr>
        </p:pic>
        <p:pic>
          <p:nvPicPr>
            <p:cNvPr id="18" name="Billede 11">
              <a:extLst>
                <a:ext uri="{FF2B5EF4-FFF2-40B4-BE49-F238E27FC236}">
                  <a16:creationId xmlns:a16="http://schemas.microsoft.com/office/drawing/2014/main" id="{D2068795-BF62-DA4C-AB3A-31361198CB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10165366">
              <a:off x="2353163" y="2780292"/>
              <a:ext cx="458651" cy="648708"/>
            </a:xfrm>
            <a:prstGeom prst="rect">
              <a:avLst/>
            </a:prstGeom>
          </p:spPr>
        </p:pic>
        <p:pic>
          <p:nvPicPr>
            <p:cNvPr id="19" name="Billede 12">
              <a:extLst>
                <a:ext uri="{FF2B5EF4-FFF2-40B4-BE49-F238E27FC236}">
                  <a16:creationId xmlns:a16="http://schemas.microsoft.com/office/drawing/2014/main" id="{5AE1F9D0-AF90-8C98-19C1-0A0E03C35E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10800000">
              <a:off x="3549386" y="3781020"/>
              <a:ext cx="459174" cy="648709"/>
            </a:xfrm>
            <a:prstGeom prst="rect">
              <a:avLst/>
            </a:prstGeom>
          </p:spPr>
        </p:pic>
        <p:pic>
          <p:nvPicPr>
            <p:cNvPr id="20" name="Billede 13">
              <a:extLst>
                <a:ext uri="{FF2B5EF4-FFF2-40B4-BE49-F238E27FC236}">
                  <a16:creationId xmlns:a16="http://schemas.microsoft.com/office/drawing/2014/main" id="{F9FC88C2-9179-00D5-883D-46A8E828CB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9763297">
              <a:off x="3549386" y="2726738"/>
              <a:ext cx="459174" cy="648709"/>
            </a:xfrm>
            <a:prstGeom prst="rect">
              <a:avLst/>
            </a:prstGeom>
          </p:spPr>
        </p:pic>
        <p:pic>
          <p:nvPicPr>
            <p:cNvPr id="21" name="Billede 14">
              <a:extLst>
                <a:ext uri="{FF2B5EF4-FFF2-40B4-BE49-F238E27FC236}">
                  <a16:creationId xmlns:a16="http://schemas.microsoft.com/office/drawing/2014/main" id="{D943679D-59CE-C2A0-16B7-A18287C134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10800000">
              <a:off x="4706821" y="2780291"/>
              <a:ext cx="459174" cy="648709"/>
            </a:xfrm>
            <a:prstGeom prst="rect">
              <a:avLst/>
            </a:prstGeom>
          </p:spPr>
        </p:pic>
        <p:pic>
          <p:nvPicPr>
            <p:cNvPr id="22" name="Billede 15">
              <a:extLst>
                <a:ext uri="{FF2B5EF4-FFF2-40B4-BE49-F238E27FC236}">
                  <a16:creationId xmlns:a16="http://schemas.microsoft.com/office/drawing/2014/main" id="{87409C83-8522-756F-1127-1757DA45EB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1179830">
              <a:off x="4830138" y="4628695"/>
              <a:ext cx="458651" cy="648708"/>
            </a:xfrm>
            <a:prstGeom prst="rect">
              <a:avLst/>
            </a:prstGeom>
          </p:spPr>
        </p:pic>
        <p:pic>
          <p:nvPicPr>
            <p:cNvPr id="23" name="Billede 70">
              <a:extLst>
                <a:ext uri="{FF2B5EF4-FFF2-40B4-BE49-F238E27FC236}">
                  <a16:creationId xmlns:a16="http://schemas.microsoft.com/office/drawing/2014/main" id="{400F3C46-C661-269F-0DFF-E8E5C6356A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rot="10417343">
              <a:off x="4843375" y="3815680"/>
              <a:ext cx="459174" cy="648709"/>
            </a:xfrm>
            <a:prstGeom prst="rect">
              <a:avLst/>
            </a:prstGeom>
          </p:spPr>
        </p:pic>
      </p:grpSp>
      <p:sp>
        <p:nvSpPr>
          <p:cNvPr id="16" name="Rectangle: Top Corners Rounded 40">
            <a:extLst>
              <a:ext uri="{FF2B5EF4-FFF2-40B4-BE49-F238E27FC236}">
                <a16:creationId xmlns:a16="http://schemas.microsoft.com/office/drawing/2014/main" id="{A477517F-F404-5585-187B-8DC9FCA23165}"/>
              </a:ext>
            </a:extLst>
          </p:cNvPr>
          <p:cNvSpPr/>
          <p:nvPr/>
        </p:nvSpPr>
        <p:spPr>
          <a:xfrm rot="16200000">
            <a:off x="7947995" y="-386258"/>
            <a:ext cx="2789589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9AD2384-F07D-F8C3-2906-264932FF1C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AD2384-F07D-F8C3-2906-264932FF1C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B97488-915B-A30D-8E11-ABF46A0EB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ep 4: 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36EA0B0-5F73-2D97-D47B-7E39F3DC682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2A8C6D6B-4C4C-5575-67B6-66696BB575E9}"/>
              </a:ext>
            </a:extLst>
          </p:cNvPr>
          <p:cNvGrpSpPr/>
          <p:nvPr/>
        </p:nvGrpSpPr>
        <p:grpSpPr>
          <a:xfrm>
            <a:off x="6096000" y="739159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FB192FF3-45F5-8F6D-2C2A-8A1DA6D15B2A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Dialog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4B18970D-8EA8-38A6-A3BF-985922F6573E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14" name="Tekstfelt 82">
            <a:extLst>
              <a:ext uri="{FF2B5EF4-FFF2-40B4-BE49-F238E27FC236}">
                <a16:creationId xmlns:a16="http://schemas.microsoft.com/office/drawing/2014/main" id="{B5D2F75B-5037-D3FE-F106-C3FDF3245857}"/>
              </a:ext>
            </a:extLst>
          </p:cNvPr>
          <p:cNvSpPr txBox="1"/>
          <p:nvPr/>
        </p:nvSpPr>
        <p:spPr>
          <a:xfrm>
            <a:off x="10816642" y="1352179"/>
            <a:ext cx="10631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 14pt" pitchFamily="2" charset="77"/>
              </a:rPr>
              <a:t>25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 min</a:t>
            </a:r>
          </a:p>
        </p:txBody>
      </p:sp>
      <p:pic>
        <p:nvPicPr>
          <p:cNvPr id="15" name="Grafik 83">
            <a:extLst>
              <a:ext uri="{FF2B5EF4-FFF2-40B4-BE49-F238E27FC236}">
                <a16:creationId xmlns:a16="http://schemas.microsoft.com/office/drawing/2014/main" id="{67E5C834-EB98-6CE7-634A-BADA8FEC0F9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sp>
        <p:nvSpPr>
          <p:cNvPr id="32" name="Tekstfelt 3">
            <a:extLst>
              <a:ext uri="{FF2B5EF4-FFF2-40B4-BE49-F238E27FC236}">
                <a16:creationId xmlns:a16="http://schemas.microsoft.com/office/drawing/2014/main" id="{2B8B20CA-2929-50AB-41F2-49FF551A8B46}"/>
              </a:ext>
            </a:extLst>
          </p:cNvPr>
          <p:cNvSpPr txBox="1"/>
          <p:nvPr/>
        </p:nvSpPr>
        <p:spPr>
          <a:xfrm>
            <a:off x="6778909" y="2014233"/>
            <a:ext cx="5262932" cy="1668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samles igen og de nominerede målepunkter indsættes i ét samlet overblik – evt. som på billede.</a:t>
            </a:r>
          </a:p>
          <a:p>
            <a:pPr fontAlgn="base">
              <a:spcAft>
                <a:spcPts val="800"/>
              </a:spcAft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er gruppe præsenterer deres nominerede målepunkter. Under præsentationen byder de andre deltagere ind med spørgsmål eller kommentarer. </a:t>
            </a:r>
          </a:p>
          <a:p>
            <a:pPr lvl="0" fontAlgn="ctr">
              <a:lnSpc>
                <a:spcPct val="110000"/>
              </a:lnSpc>
              <a:defRPr/>
            </a:pPr>
            <a:r>
              <a:rPr lang="da-DK" sz="9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KIG PÅ MATERIALET igen angående uenighed)</a:t>
            </a:r>
          </a:p>
          <a:p>
            <a:pPr lvl="0" fontAlgn="ctr">
              <a:lnSpc>
                <a:spcPct val="110000"/>
              </a:lnSpc>
              <a:defRPr/>
            </a:pPr>
            <a:endParaRPr lang="da-DK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fontAlgn="ctr">
              <a:lnSpc>
                <a:spcPct val="110000"/>
              </a:lnSpc>
              <a:defRPr/>
            </a:pP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 har I fundet jeres prioriterede målepunkter!</a:t>
            </a:r>
          </a:p>
        </p:txBody>
      </p:sp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317CD3CA-9B11-81F7-A670-955769B220A7}"/>
              </a:ext>
            </a:extLst>
          </p:cNvPr>
          <p:cNvSpPr txBox="1">
            <a:spLocks/>
          </p:cNvSpPr>
          <p:nvPr/>
        </p:nvSpPr>
        <p:spPr>
          <a:xfrm>
            <a:off x="360001" y="956253"/>
            <a:ext cx="11472000" cy="4455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>
                <a:latin typeface="DM Sans 14pt" pitchFamily="2" charset="77"/>
                <a:ea typeface="Verdana" panose="020B0604030504040204" pitchFamily="34" charset="0"/>
              </a:rPr>
              <a:t>Enighed om prioritering</a:t>
            </a:r>
          </a:p>
        </p:txBody>
      </p:sp>
      <p:sp>
        <p:nvSpPr>
          <p:cNvPr id="11" name="Ellipse 2">
            <a:extLst>
              <a:ext uri="{FF2B5EF4-FFF2-40B4-BE49-F238E27FC236}">
                <a16:creationId xmlns:a16="http://schemas.microsoft.com/office/drawing/2014/main" id="{BA60958A-D210-6122-C55F-11B430FE3DAB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1"/>
                </a:solidFill>
                <a:latin typeface="DM Sans 14pt" pitchFamily="2" charset="77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214938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395C39-FFD8-9E34-F232-491D856999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FCEB763-6FE1-69E5-8956-A47CC35409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81453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CEB763-6FE1-69E5-8956-A47CC35409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868FCA1-29DF-EE6B-D0D3-034843E62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>
                <a:latin typeface="DM Sans 14pt" pitchFamily="2" charset="77"/>
              </a:rPr>
              <a:t>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498E61E-3D6E-1397-FA0A-CE3F10A808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1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3BC85071-1FE9-5649-45EA-15782142E2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77"/>
                <a:ea typeface="Verdana" panose="020B0604030504040204" pitchFamily="34" charset="0"/>
              </a:rPr>
              <a:t>Udvælg prioriterede målepunkter </a:t>
            </a: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7EC35591-2474-27E2-889B-54EC7B94828F}"/>
              </a:ext>
            </a:extLst>
          </p:cNvPr>
          <p:cNvSpPr/>
          <p:nvPr/>
        </p:nvSpPr>
        <p:spPr>
          <a:xfrm rot="16200000">
            <a:off x="8037952" y="-485046"/>
            <a:ext cx="2551409" cy="575669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" name="Tekstfelt 3">
            <a:extLst>
              <a:ext uri="{FF2B5EF4-FFF2-40B4-BE49-F238E27FC236}">
                <a16:creationId xmlns:a16="http://schemas.microsoft.com/office/drawing/2014/main" id="{76E1782A-F74B-9A16-85EC-D4E686D31C75}"/>
              </a:ext>
            </a:extLst>
          </p:cNvPr>
          <p:cNvSpPr txBox="1"/>
          <p:nvPr/>
        </p:nvSpPr>
        <p:spPr>
          <a:xfrm>
            <a:off x="6806295" y="2112469"/>
            <a:ext cx="4822323" cy="1302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går ud i samme grupper som før (E, S og G)</a:t>
            </a:r>
          </a:p>
          <a:p>
            <a:pPr fontAlgn="base">
              <a:spcAft>
                <a:spcPts val="800"/>
              </a:spcAft>
            </a:pPr>
            <a:r>
              <a:rPr lang="da-DK" sz="1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miner 2-3 målepunkter til at være de vigtigste </a:t>
            </a: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enfor jeres bogstav. Hvilke målepunkter er vigtigst for jer at</a:t>
            </a:r>
            <a:r>
              <a:rPr lang="da-DK" sz="1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ioritere </a:t>
            </a: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den kommende periode baseret på jeres indplacering i matricen og de drøftelser I har haft i gruppen og plenum?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B6015ACC-AE1A-A17D-5F2F-9358D4D540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320" y="1585353"/>
            <a:ext cx="3010093" cy="2083653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0552C5DE-8E6D-D4E2-4E37-30B0C87F99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01688" y="3832508"/>
            <a:ext cx="3178087" cy="22457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9" name="Forbindelse: buet 18">
            <a:extLst>
              <a:ext uri="{FF2B5EF4-FFF2-40B4-BE49-F238E27FC236}">
                <a16:creationId xmlns:a16="http://schemas.microsoft.com/office/drawing/2014/main" id="{9E4B8721-1873-E6F8-C214-0FBB99101F39}"/>
              </a:ext>
            </a:extLst>
          </p:cNvPr>
          <p:cNvCxnSpPr>
            <a:cxnSpLocks/>
          </p:cNvCxnSpPr>
          <p:nvPr/>
        </p:nvCxnSpPr>
        <p:spPr>
          <a:xfrm rot="16200000" flipH="1">
            <a:off x="2557093" y="2671774"/>
            <a:ext cx="1276227" cy="1187035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felt 82">
            <a:extLst>
              <a:ext uri="{FF2B5EF4-FFF2-40B4-BE49-F238E27FC236}">
                <a16:creationId xmlns:a16="http://schemas.microsoft.com/office/drawing/2014/main" id="{FD9B4BD0-89FF-DB6B-5BCF-474269BE8DDF}"/>
              </a:ext>
            </a:extLst>
          </p:cNvPr>
          <p:cNvSpPr txBox="1"/>
          <p:nvPr/>
        </p:nvSpPr>
        <p:spPr>
          <a:xfrm>
            <a:off x="10816642" y="1352179"/>
            <a:ext cx="1077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 14pt" pitchFamily="2" charset="77"/>
              </a:rPr>
              <a:t>20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 min</a:t>
            </a:r>
          </a:p>
        </p:txBody>
      </p:sp>
      <p:pic>
        <p:nvPicPr>
          <p:cNvPr id="14" name="Grafik 83">
            <a:extLst>
              <a:ext uri="{FF2B5EF4-FFF2-40B4-BE49-F238E27FC236}">
                <a16:creationId xmlns:a16="http://schemas.microsoft.com/office/drawing/2014/main" id="{13125578-D6F7-B83F-BB61-5433FD955E9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grpSp>
        <p:nvGrpSpPr>
          <p:cNvPr id="15" name="Group 9">
            <a:extLst>
              <a:ext uri="{FF2B5EF4-FFF2-40B4-BE49-F238E27FC236}">
                <a16:creationId xmlns:a16="http://schemas.microsoft.com/office/drawing/2014/main" id="{0E388890-78FC-9C84-2D72-136422F7E005}"/>
              </a:ext>
            </a:extLst>
          </p:cNvPr>
          <p:cNvGrpSpPr/>
          <p:nvPr/>
        </p:nvGrpSpPr>
        <p:grpSpPr>
          <a:xfrm>
            <a:off x="6096000" y="927842"/>
            <a:ext cx="1147510" cy="1156450"/>
            <a:chOff x="4156082" y="-3024236"/>
            <a:chExt cx="2183420" cy="2200431"/>
          </a:xfrm>
        </p:grpSpPr>
        <p:sp>
          <p:nvSpPr>
            <p:cNvPr id="16" name="Freeform: Shape 10">
              <a:extLst>
                <a:ext uri="{FF2B5EF4-FFF2-40B4-BE49-F238E27FC236}">
                  <a16:creationId xmlns:a16="http://schemas.microsoft.com/office/drawing/2014/main" id="{4EF23BFC-EA5B-20B8-797C-B6D68AF86552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Øvelse</a:t>
              </a:r>
            </a:p>
          </p:txBody>
        </p:sp>
        <p:sp>
          <p:nvSpPr>
            <p:cNvPr id="20" name="Freeform: Shape 11">
              <a:extLst>
                <a:ext uri="{FF2B5EF4-FFF2-40B4-BE49-F238E27FC236}">
                  <a16:creationId xmlns:a16="http://schemas.microsoft.com/office/drawing/2014/main" id="{E95AF4F2-DAB1-7415-A3CC-980EC425D5B8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66027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E9E727-D084-A23B-5364-3172A778A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9F78D46-4048-368E-8EEF-BEF50E0221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9755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F78D46-4048-368E-8EEF-BEF50E022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E095C48-A1DB-F2DF-CC46-7D75C59E6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>
                <a:latin typeface="DM Sans 14pt" pitchFamily="2" charset="77"/>
              </a:rPr>
              <a:t>Snak i plenum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7C59435-53CF-7AEC-BD35-50CBBF0B02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2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C833256A-639E-B092-81A1-6CB3780EF6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77"/>
                <a:ea typeface="Verdana" panose="020B0604030504040204" pitchFamily="34" charset="0"/>
              </a:rPr>
              <a:t>Enighed om prioritering</a:t>
            </a: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A375D305-C3A8-4FC7-A380-0237633F0A79}"/>
              </a:ext>
            </a:extLst>
          </p:cNvPr>
          <p:cNvSpPr/>
          <p:nvPr/>
        </p:nvSpPr>
        <p:spPr>
          <a:xfrm rot="16200000">
            <a:off x="7991144" y="-49775"/>
            <a:ext cx="2645019" cy="5756696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7E227374-303F-C857-5A58-44376FD0875F}"/>
              </a:ext>
            </a:extLst>
          </p:cNvPr>
          <p:cNvGrpSpPr/>
          <p:nvPr/>
        </p:nvGrpSpPr>
        <p:grpSpPr>
          <a:xfrm>
            <a:off x="6095999" y="927842"/>
            <a:ext cx="1147511" cy="1156450"/>
            <a:chOff x="4156082" y="-3024236"/>
            <a:chExt cx="2183422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DA896152-3DEF-176D-9CA9-1130252A54FB}"/>
                </a:ext>
              </a:extLst>
            </p:cNvPr>
            <p:cNvSpPr/>
            <p:nvPr/>
          </p:nvSpPr>
          <p:spPr>
            <a:xfrm>
              <a:off x="4189264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Dialog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E4C9E86B-D4D9-3CFB-9B92-DBA9F9706DFD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9" name="Tekstfelt 3">
            <a:extLst>
              <a:ext uri="{FF2B5EF4-FFF2-40B4-BE49-F238E27FC236}">
                <a16:creationId xmlns:a16="http://schemas.microsoft.com/office/drawing/2014/main" id="{87745142-DE4A-F094-4C7F-5EC4D889A9F7}"/>
              </a:ext>
            </a:extLst>
          </p:cNvPr>
          <p:cNvSpPr txBox="1"/>
          <p:nvPr/>
        </p:nvSpPr>
        <p:spPr>
          <a:xfrm>
            <a:off x="6715987" y="2101852"/>
            <a:ext cx="4822323" cy="17963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samles igen og de nominerede målepunkter indsættes i et samlet overblik – evt. som på billede.</a:t>
            </a:r>
          </a:p>
          <a:p>
            <a:pPr fontAlgn="base">
              <a:spcAft>
                <a:spcPts val="800"/>
              </a:spcAft>
            </a:pP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er gruppe præsenterer deres nominerede målepunkter. Under præsentationen byder de andre deltagere ind med spørgsmål eller kommentarer. </a:t>
            </a:r>
          </a:p>
          <a:p>
            <a:pPr lvl="0" fontAlgn="ctr">
              <a:lnSpc>
                <a:spcPct val="110000"/>
              </a:lnSpc>
              <a:defRPr/>
            </a:pPr>
            <a:r>
              <a:rPr lang="da-DK" sz="1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KIG PÅ MATERIALE igen angående uenighed)</a:t>
            </a:r>
          </a:p>
          <a:p>
            <a:pPr lvl="0" fontAlgn="ctr">
              <a:lnSpc>
                <a:spcPct val="110000"/>
              </a:lnSpc>
              <a:defRPr/>
            </a:pPr>
            <a:endParaRPr lang="da-DK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fontAlgn="ctr">
              <a:lnSpc>
                <a:spcPct val="110000"/>
              </a:lnSpc>
              <a:defRPr/>
            </a:pPr>
            <a:r>
              <a:rPr lang="da-DK" sz="1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 har I fundet jeres prioriterede målepunkter!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A9E7C9B4-EB01-FD74-08B9-EABCEE6E9F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439" y="1766886"/>
            <a:ext cx="5184418" cy="3663573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3B260663-1580-1556-7282-1A9F72F0AC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652110">
            <a:off x="2376241" y="3706940"/>
            <a:ext cx="458651" cy="648708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431B8D6F-6460-2507-5B29-4BC9B5FC53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165366">
            <a:off x="2353163" y="2780292"/>
            <a:ext cx="458651" cy="648708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D4486EF2-F5E7-F061-29F1-A096544D5F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0800000">
            <a:off x="3549386" y="3781020"/>
            <a:ext cx="459174" cy="648709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15912B69-851B-F7A8-4780-A9DCFB8E52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9763297">
            <a:off x="3549386" y="2726738"/>
            <a:ext cx="459174" cy="648709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D34F1AC5-5E0E-770E-9018-9A8A7276A51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0800000">
            <a:off x="4706821" y="2780291"/>
            <a:ext cx="459174" cy="648709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BDFCF3AF-8092-4AE2-46BC-A01EFDF792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1179830">
            <a:off x="4830138" y="4628695"/>
            <a:ext cx="458651" cy="648708"/>
          </a:xfrm>
          <a:prstGeom prst="rect">
            <a:avLst/>
          </a:prstGeom>
        </p:spPr>
      </p:pic>
      <p:pic>
        <p:nvPicPr>
          <p:cNvPr id="71" name="Billede 70">
            <a:extLst>
              <a:ext uri="{FF2B5EF4-FFF2-40B4-BE49-F238E27FC236}">
                <a16:creationId xmlns:a16="http://schemas.microsoft.com/office/drawing/2014/main" id="{E479A6CE-8B46-3027-84A1-299C83F8965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0417343">
            <a:off x="4843375" y="3815680"/>
            <a:ext cx="459174" cy="648709"/>
          </a:xfrm>
          <a:prstGeom prst="rect">
            <a:avLst/>
          </a:prstGeom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17FEF8CD-0CEA-965F-6FBB-CEEEAFB8876F}"/>
              </a:ext>
            </a:extLst>
          </p:cNvPr>
          <p:cNvSpPr txBox="1"/>
          <p:nvPr/>
        </p:nvSpPr>
        <p:spPr>
          <a:xfrm>
            <a:off x="10618918" y="412660"/>
            <a:ext cx="10631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 14pt" pitchFamily="2" charset="77"/>
              </a:rPr>
              <a:t>25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 min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3A8C917-276E-7B90-DAB1-0236956712B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129782" y="322293"/>
            <a:ext cx="500465" cy="480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058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793D4-A43A-457B-6BA6-63171567CB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A379F99-A0A9-0F73-EB4F-0124BC3DBD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37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379F99-A0A9-0F73-EB4F-0124BC3DBD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0CD90619-EFA2-2BA6-7F7F-2AB6985971CD}"/>
              </a:ext>
            </a:extLst>
          </p:cNvPr>
          <p:cNvSpPr/>
          <p:nvPr/>
        </p:nvSpPr>
        <p:spPr>
          <a:xfrm>
            <a:off x="0" y="1119433"/>
            <a:ext cx="12192000" cy="461913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a-DK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51A1092B-1A0C-678B-83CF-37114716BA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7274" y="2949677"/>
            <a:ext cx="6345012" cy="1430462"/>
          </a:xfrm>
        </p:spPr>
        <p:txBody>
          <a:bodyPr>
            <a:normAutofit/>
          </a:bodyPr>
          <a:lstStyle/>
          <a:p>
            <a:pPr lvl="0" defTabSz="1218925" hangingPunct="0">
              <a:spcBef>
                <a:spcPts val="2250"/>
              </a:spcBef>
              <a:defRPr/>
            </a:pPr>
            <a:r>
              <a:rPr lang="da-DK" sz="4800" b="1" dirty="0">
                <a:latin typeface="DM Sans 14pt" pitchFamily="2" charset="0"/>
                <a:sym typeface="Helvetica Neue"/>
              </a:rPr>
              <a:t>Opsamling og næste skridt…</a:t>
            </a:r>
          </a:p>
        </p:txBody>
      </p:sp>
      <p:pic>
        <p:nvPicPr>
          <p:cNvPr id="4" name="Billede 3" descr="Et billede, der indeholder cirkel, skærmbillede, mørke, kunst&#10;&#10;AI-genereret indhold kan være ukorrekt.">
            <a:extLst>
              <a:ext uri="{FF2B5EF4-FFF2-40B4-BE49-F238E27FC236}">
                <a16:creationId xmlns:a16="http://schemas.microsoft.com/office/drawing/2014/main" id="{7B542617-4775-CED3-7351-D4D05D460D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17783">
            <a:off x="9007255" y="1765354"/>
            <a:ext cx="3921881" cy="2648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5195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E1B1F7-9379-4708-CDFC-A4633ABEB3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E1B1F7-9379-4708-CDFC-A4633ABEB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FDCC9A-89DB-CE78-A003-7CA8B45CD0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9529" y="4374776"/>
            <a:ext cx="10060772" cy="413139"/>
          </a:xfrm>
        </p:spPr>
        <p:txBody>
          <a:bodyPr/>
          <a:lstStyle/>
          <a:p>
            <a:r>
              <a:rPr lang="da-DK" b="1" cap="none"/>
              <a:t>Nogle slides I evt. kan bruge i introduktion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A39B19-B184-AD7E-7873-3ADA33C11BB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5600" y="6405563"/>
            <a:ext cx="406400" cy="327025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4</a:t>
            </a:fld>
            <a:endParaRPr lang="da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48871F4-2783-827D-8D9B-EB8FDBD617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72559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CF368-981C-DE52-85C6-110506460B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2E706-B75C-0FEF-0722-91EBCAA994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12E706-B75C-0FEF-0722-91EBCAA99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84">
            <a:extLst>
              <a:ext uri="{FF2B5EF4-FFF2-40B4-BE49-F238E27FC236}">
                <a16:creationId xmlns:a16="http://schemas.microsoft.com/office/drawing/2014/main" id="{806940DC-C87D-8B85-DA53-5340839AF918}"/>
              </a:ext>
            </a:extLst>
          </p:cNvPr>
          <p:cNvSpPr/>
          <p:nvPr/>
        </p:nvSpPr>
        <p:spPr>
          <a:xfrm>
            <a:off x="669240" y="1725122"/>
            <a:ext cx="4199940" cy="4200416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lmenKompas</a:t>
            </a:r>
            <a:r>
              <a:rPr kumimoji="0" lang="da-DK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vil etablere en </a:t>
            </a:r>
            <a:r>
              <a:rPr kumimoji="0" lang="da-DK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ranchestandard</a:t>
            </a:r>
            <a:r>
              <a:rPr kumimoji="0" lang="da-DK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med tilh</a:t>
            </a:r>
            <a:r>
              <a:rPr kumimoji="0" lang="da-DK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ørende data og enkle værktøjer, som sætter de almene boligorganisationer i stand til at arbejde </a:t>
            </a:r>
            <a:r>
              <a:rPr kumimoji="0" lang="da-DK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ålbart</a:t>
            </a:r>
            <a:r>
              <a:rPr kumimoji="0" lang="da-DK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og </a:t>
            </a:r>
            <a:r>
              <a:rPr kumimoji="0" lang="da-DK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atabaseret</a:t>
            </a:r>
            <a:r>
              <a:rPr kumimoji="0" lang="da-DK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med bæredygtighed, herunder ESG-rapportering</a:t>
            </a:r>
            <a:endParaRPr kumimoji="0" lang="da-DK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DC324F66-7917-2808-4F3A-7B45B6D00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Missionen for </a:t>
            </a:r>
            <a:r>
              <a:rPr lang="da-DK" err="1"/>
              <a:t>AlmenKompas</a:t>
            </a:r>
            <a:endParaRPr lang="da-DK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0168B5E-7DDB-C369-E8D8-4904FCEF775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BA0516F-1D6D-D259-197F-93F350CF1D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reeform: Shape 47">
            <a:extLst>
              <a:ext uri="{FF2B5EF4-FFF2-40B4-BE49-F238E27FC236}">
                <a16:creationId xmlns:a16="http://schemas.microsoft.com/office/drawing/2014/main" id="{D7FB2D78-C8D2-A8AC-3073-1C2A0999415C}"/>
              </a:ext>
            </a:extLst>
          </p:cNvPr>
          <p:cNvSpPr/>
          <p:nvPr/>
        </p:nvSpPr>
        <p:spPr>
          <a:xfrm>
            <a:off x="5429459" y="5967910"/>
            <a:ext cx="6410116" cy="311679"/>
          </a:xfrm>
          <a:custGeom>
            <a:avLst/>
            <a:gdLst>
              <a:gd name="connsiteX0" fmla="*/ 0 w 1082244"/>
              <a:gd name="connsiteY0" fmla="*/ 43265 h 52622"/>
              <a:gd name="connsiteX1" fmla="*/ 17848 w 1082244"/>
              <a:gd name="connsiteY1" fmla="*/ 43265 h 52622"/>
              <a:gd name="connsiteX2" fmla="*/ 35696 w 1082244"/>
              <a:gd name="connsiteY2" fmla="*/ 43265 h 52622"/>
              <a:gd name="connsiteX3" fmla="*/ 53544 w 1082244"/>
              <a:gd name="connsiteY3" fmla="*/ 43806 h 52622"/>
              <a:gd name="connsiteX4" fmla="*/ 71393 w 1082244"/>
              <a:gd name="connsiteY4" fmla="*/ 43806 h 52622"/>
              <a:gd name="connsiteX5" fmla="*/ 89241 w 1082244"/>
              <a:gd name="connsiteY5" fmla="*/ 43806 h 52622"/>
              <a:gd name="connsiteX6" fmla="*/ 107089 w 1082244"/>
              <a:gd name="connsiteY6" fmla="*/ 42183 h 52622"/>
              <a:gd name="connsiteX7" fmla="*/ 124937 w 1082244"/>
              <a:gd name="connsiteY7" fmla="*/ 44346 h 52622"/>
              <a:gd name="connsiteX8" fmla="*/ 142785 w 1082244"/>
              <a:gd name="connsiteY8" fmla="*/ 44888 h 52622"/>
              <a:gd name="connsiteX9" fmla="*/ 160633 w 1082244"/>
              <a:gd name="connsiteY9" fmla="*/ 43265 h 52622"/>
              <a:gd name="connsiteX10" fmla="*/ 178481 w 1082244"/>
              <a:gd name="connsiteY10" fmla="*/ 44346 h 52622"/>
              <a:gd name="connsiteX11" fmla="*/ 196329 w 1082244"/>
              <a:gd name="connsiteY11" fmla="*/ 42724 h 52622"/>
              <a:gd name="connsiteX12" fmla="*/ 214177 w 1082244"/>
              <a:gd name="connsiteY12" fmla="*/ 43806 h 52622"/>
              <a:gd name="connsiteX13" fmla="*/ 232026 w 1082244"/>
              <a:gd name="connsiteY13" fmla="*/ 44346 h 52622"/>
              <a:gd name="connsiteX14" fmla="*/ 249874 w 1082244"/>
              <a:gd name="connsiteY14" fmla="*/ 44888 h 52622"/>
              <a:gd name="connsiteX15" fmla="*/ 267722 w 1082244"/>
              <a:gd name="connsiteY15" fmla="*/ 44346 h 52622"/>
              <a:gd name="connsiteX16" fmla="*/ 285570 w 1082244"/>
              <a:gd name="connsiteY16" fmla="*/ 42724 h 52622"/>
              <a:gd name="connsiteX17" fmla="*/ 303418 w 1082244"/>
              <a:gd name="connsiteY17" fmla="*/ 42724 h 52622"/>
              <a:gd name="connsiteX18" fmla="*/ 321266 w 1082244"/>
              <a:gd name="connsiteY18" fmla="*/ 44888 h 52622"/>
              <a:gd name="connsiteX19" fmla="*/ 339114 w 1082244"/>
              <a:gd name="connsiteY19" fmla="*/ 44346 h 52622"/>
              <a:gd name="connsiteX20" fmla="*/ 356962 w 1082244"/>
              <a:gd name="connsiteY20" fmla="*/ 44346 h 52622"/>
              <a:gd name="connsiteX21" fmla="*/ 374810 w 1082244"/>
              <a:gd name="connsiteY21" fmla="*/ 42724 h 52622"/>
              <a:gd name="connsiteX22" fmla="*/ 392658 w 1082244"/>
              <a:gd name="connsiteY22" fmla="*/ 42183 h 52622"/>
              <a:gd name="connsiteX23" fmla="*/ 410507 w 1082244"/>
              <a:gd name="connsiteY23" fmla="*/ 43806 h 52622"/>
              <a:gd name="connsiteX24" fmla="*/ 428355 w 1082244"/>
              <a:gd name="connsiteY24" fmla="*/ 44346 h 52622"/>
              <a:gd name="connsiteX25" fmla="*/ 446203 w 1082244"/>
              <a:gd name="connsiteY25" fmla="*/ 42183 h 52622"/>
              <a:gd name="connsiteX26" fmla="*/ 464051 w 1082244"/>
              <a:gd name="connsiteY26" fmla="*/ 44346 h 52622"/>
              <a:gd name="connsiteX27" fmla="*/ 481899 w 1082244"/>
              <a:gd name="connsiteY27" fmla="*/ 42724 h 52622"/>
              <a:gd name="connsiteX28" fmla="*/ 499747 w 1082244"/>
              <a:gd name="connsiteY28" fmla="*/ 42724 h 52622"/>
              <a:gd name="connsiteX29" fmla="*/ 517595 w 1082244"/>
              <a:gd name="connsiteY29" fmla="*/ 43806 h 52622"/>
              <a:gd name="connsiteX30" fmla="*/ 535443 w 1082244"/>
              <a:gd name="connsiteY30" fmla="*/ 43806 h 52622"/>
              <a:gd name="connsiteX31" fmla="*/ 553292 w 1082244"/>
              <a:gd name="connsiteY31" fmla="*/ 44346 h 52622"/>
              <a:gd name="connsiteX32" fmla="*/ 571139 w 1082244"/>
              <a:gd name="connsiteY32" fmla="*/ 42724 h 52622"/>
              <a:gd name="connsiteX33" fmla="*/ 588988 w 1082244"/>
              <a:gd name="connsiteY33" fmla="*/ 42724 h 52622"/>
              <a:gd name="connsiteX34" fmla="*/ 606835 w 1082244"/>
              <a:gd name="connsiteY34" fmla="*/ 43806 h 52622"/>
              <a:gd name="connsiteX35" fmla="*/ 624684 w 1082244"/>
              <a:gd name="connsiteY35" fmla="*/ 44346 h 52622"/>
              <a:gd name="connsiteX36" fmla="*/ 642532 w 1082244"/>
              <a:gd name="connsiteY36" fmla="*/ 42183 h 52622"/>
              <a:gd name="connsiteX37" fmla="*/ 660380 w 1082244"/>
              <a:gd name="connsiteY37" fmla="*/ 43806 h 52622"/>
              <a:gd name="connsiteX38" fmla="*/ 678228 w 1082244"/>
              <a:gd name="connsiteY38" fmla="*/ 43265 h 52622"/>
              <a:gd name="connsiteX39" fmla="*/ 696076 w 1082244"/>
              <a:gd name="connsiteY39" fmla="*/ 43265 h 52622"/>
              <a:gd name="connsiteX40" fmla="*/ 713924 w 1082244"/>
              <a:gd name="connsiteY40" fmla="*/ 43806 h 52622"/>
              <a:gd name="connsiteX41" fmla="*/ 731773 w 1082244"/>
              <a:gd name="connsiteY41" fmla="*/ 43806 h 52622"/>
              <a:gd name="connsiteX42" fmla="*/ 749620 w 1082244"/>
              <a:gd name="connsiteY42" fmla="*/ 44346 h 52622"/>
              <a:gd name="connsiteX43" fmla="*/ 765846 w 1082244"/>
              <a:gd name="connsiteY43" fmla="*/ 32988 h 52622"/>
              <a:gd name="connsiteX44" fmla="*/ 782612 w 1082244"/>
              <a:gd name="connsiteY44" fmla="*/ 22712 h 52622"/>
              <a:gd name="connsiteX45" fmla="*/ 798838 w 1082244"/>
              <a:gd name="connsiteY45" fmla="*/ 11895 h 52622"/>
              <a:gd name="connsiteX46" fmla="*/ 815605 w 1082244"/>
              <a:gd name="connsiteY46" fmla="*/ 1078 h 52622"/>
              <a:gd name="connsiteX47" fmla="*/ 806410 w 1082244"/>
              <a:gd name="connsiteY47" fmla="*/ 15141 h 52622"/>
              <a:gd name="connsiteX48" fmla="*/ 797756 w 1082244"/>
              <a:gd name="connsiteY48" fmla="*/ 29203 h 52622"/>
              <a:gd name="connsiteX49" fmla="*/ 789103 w 1082244"/>
              <a:gd name="connsiteY49" fmla="*/ 42724 h 52622"/>
              <a:gd name="connsiteX50" fmla="*/ 803706 w 1082244"/>
              <a:gd name="connsiteY50" fmla="*/ 38397 h 52622"/>
              <a:gd name="connsiteX51" fmla="*/ 819390 w 1082244"/>
              <a:gd name="connsiteY51" fmla="*/ 35693 h 52622"/>
              <a:gd name="connsiteX52" fmla="*/ 834535 w 1082244"/>
              <a:gd name="connsiteY52" fmla="*/ 31907 h 52622"/>
              <a:gd name="connsiteX53" fmla="*/ 825340 w 1082244"/>
              <a:gd name="connsiteY53" fmla="*/ 41101 h 52622"/>
              <a:gd name="connsiteX54" fmla="*/ 815063 w 1082244"/>
              <a:gd name="connsiteY54" fmla="*/ 49755 h 52622"/>
              <a:gd name="connsiteX55" fmla="*/ 832371 w 1082244"/>
              <a:gd name="connsiteY55" fmla="*/ 48673 h 52622"/>
              <a:gd name="connsiteX56" fmla="*/ 850219 w 1082244"/>
              <a:gd name="connsiteY56" fmla="*/ 49214 h 52622"/>
              <a:gd name="connsiteX57" fmla="*/ 868067 w 1082244"/>
              <a:gd name="connsiteY57" fmla="*/ 49755 h 52622"/>
              <a:gd name="connsiteX58" fmla="*/ 885915 w 1082244"/>
              <a:gd name="connsiteY58" fmla="*/ 49214 h 52622"/>
              <a:gd name="connsiteX59" fmla="*/ 903763 w 1082244"/>
              <a:gd name="connsiteY59" fmla="*/ 50296 h 52622"/>
              <a:gd name="connsiteX60" fmla="*/ 921612 w 1082244"/>
              <a:gd name="connsiteY60" fmla="*/ 49755 h 52622"/>
              <a:gd name="connsiteX61" fmla="*/ 939459 w 1082244"/>
              <a:gd name="connsiteY61" fmla="*/ 51378 h 52622"/>
              <a:gd name="connsiteX62" fmla="*/ 957308 w 1082244"/>
              <a:gd name="connsiteY62" fmla="*/ 50837 h 52622"/>
              <a:gd name="connsiteX63" fmla="*/ 975156 w 1082244"/>
              <a:gd name="connsiteY63" fmla="*/ 51378 h 52622"/>
              <a:gd name="connsiteX64" fmla="*/ 993004 w 1082244"/>
              <a:gd name="connsiteY64" fmla="*/ 51378 h 52622"/>
              <a:gd name="connsiteX65" fmla="*/ 1010852 w 1082244"/>
              <a:gd name="connsiteY65" fmla="*/ 49214 h 52622"/>
              <a:gd name="connsiteX66" fmla="*/ 1028700 w 1082244"/>
              <a:gd name="connsiteY66" fmla="*/ 51378 h 52622"/>
              <a:gd name="connsiteX67" fmla="*/ 1046548 w 1082244"/>
              <a:gd name="connsiteY67" fmla="*/ 50837 h 52622"/>
              <a:gd name="connsiteX68" fmla="*/ 1064397 w 1082244"/>
              <a:gd name="connsiteY68" fmla="*/ 50837 h 52622"/>
              <a:gd name="connsiteX69" fmla="*/ 1082244 w 1082244"/>
              <a:gd name="connsiteY69" fmla="*/ 51918 h 52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1082244" h="52622">
                <a:moveTo>
                  <a:pt x="0" y="43265"/>
                </a:moveTo>
                <a:cubicBezTo>
                  <a:pt x="8653" y="43265"/>
                  <a:pt x="8653" y="43265"/>
                  <a:pt x="17848" y="43265"/>
                </a:cubicBezTo>
                <a:cubicBezTo>
                  <a:pt x="26502" y="43265"/>
                  <a:pt x="26502" y="43265"/>
                  <a:pt x="35696" y="43265"/>
                </a:cubicBezTo>
                <a:cubicBezTo>
                  <a:pt x="44350" y="43265"/>
                  <a:pt x="44350" y="43806"/>
                  <a:pt x="53544" y="43806"/>
                </a:cubicBezTo>
                <a:cubicBezTo>
                  <a:pt x="62198" y="43806"/>
                  <a:pt x="62198" y="43806"/>
                  <a:pt x="71393" y="43806"/>
                </a:cubicBezTo>
                <a:cubicBezTo>
                  <a:pt x="80046" y="43806"/>
                  <a:pt x="80046" y="43806"/>
                  <a:pt x="89241" y="43806"/>
                </a:cubicBezTo>
                <a:cubicBezTo>
                  <a:pt x="97894" y="43806"/>
                  <a:pt x="97894" y="42183"/>
                  <a:pt x="107089" y="42183"/>
                </a:cubicBezTo>
                <a:cubicBezTo>
                  <a:pt x="115742" y="42183"/>
                  <a:pt x="115742" y="44346"/>
                  <a:pt x="124937" y="44346"/>
                </a:cubicBezTo>
                <a:cubicBezTo>
                  <a:pt x="133590" y="44346"/>
                  <a:pt x="133590" y="44888"/>
                  <a:pt x="142785" y="44888"/>
                </a:cubicBezTo>
                <a:cubicBezTo>
                  <a:pt x="151438" y="44888"/>
                  <a:pt x="151438" y="43265"/>
                  <a:pt x="160633" y="43265"/>
                </a:cubicBezTo>
                <a:cubicBezTo>
                  <a:pt x="169287" y="43265"/>
                  <a:pt x="169287" y="44346"/>
                  <a:pt x="178481" y="44346"/>
                </a:cubicBezTo>
                <a:cubicBezTo>
                  <a:pt x="187135" y="44346"/>
                  <a:pt x="187135" y="42724"/>
                  <a:pt x="196329" y="42724"/>
                </a:cubicBezTo>
                <a:cubicBezTo>
                  <a:pt x="204983" y="42724"/>
                  <a:pt x="204983" y="43806"/>
                  <a:pt x="214177" y="43806"/>
                </a:cubicBezTo>
                <a:cubicBezTo>
                  <a:pt x="222831" y="43806"/>
                  <a:pt x="222831" y="44346"/>
                  <a:pt x="232026" y="44346"/>
                </a:cubicBezTo>
                <a:cubicBezTo>
                  <a:pt x="240679" y="44346"/>
                  <a:pt x="240679" y="44888"/>
                  <a:pt x="249874" y="44888"/>
                </a:cubicBezTo>
                <a:cubicBezTo>
                  <a:pt x="258527" y="44888"/>
                  <a:pt x="258527" y="44346"/>
                  <a:pt x="267722" y="44346"/>
                </a:cubicBezTo>
                <a:cubicBezTo>
                  <a:pt x="276375" y="44346"/>
                  <a:pt x="276375" y="42724"/>
                  <a:pt x="285570" y="42724"/>
                </a:cubicBezTo>
                <a:cubicBezTo>
                  <a:pt x="294224" y="42724"/>
                  <a:pt x="294224" y="42724"/>
                  <a:pt x="303418" y="42724"/>
                </a:cubicBezTo>
                <a:cubicBezTo>
                  <a:pt x="312072" y="42724"/>
                  <a:pt x="312072" y="44888"/>
                  <a:pt x="321266" y="44888"/>
                </a:cubicBezTo>
                <a:cubicBezTo>
                  <a:pt x="329920" y="44888"/>
                  <a:pt x="329920" y="44346"/>
                  <a:pt x="339114" y="44346"/>
                </a:cubicBezTo>
                <a:cubicBezTo>
                  <a:pt x="347768" y="44346"/>
                  <a:pt x="347768" y="44346"/>
                  <a:pt x="356962" y="44346"/>
                </a:cubicBezTo>
                <a:cubicBezTo>
                  <a:pt x="365616" y="44346"/>
                  <a:pt x="365616" y="42724"/>
                  <a:pt x="374810" y="42724"/>
                </a:cubicBezTo>
                <a:cubicBezTo>
                  <a:pt x="383464" y="42724"/>
                  <a:pt x="383464" y="42183"/>
                  <a:pt x="392658" y="42183"/>
                </a:cubicBezTo>
                <a:cubicBezTo>
                  <a:pt x="401312" y="42183"/>
                  <a:pt x="401312" y="43806"/>
                  <a:pt x="410507" y="43806"/>
                </a:cubicBezTo>
                <a:cubicBezTo>
                  <a:pt x="419160" y="43806"/>
                  <a:pt x="419160" y="44346"/>
                  <a:pt x="428355" y="44346"/>
                </a:cubicBezTo>
                <a:cubicBezTo>
                  <a:pt x="437008" y="44346"/>
                  <a:pt x="437008" y="42183"/>
                  <a:pt x="446203" y="42183"/>
                </a:cubicBezTo>
                <a:cubicBezTo>
                  <a:pt x="454856" y="42183"/>
                  <a:pt x="454856" y="44346"/>
                  <a:pt x="464051" y="44346"/>
                </a:cubicBezTo>
                <a:cubicBezTo>
                  <a:pt x="472705" y="44346"/>
                  <a:pt x="472705" y="42724"/>
                  <a:pt x="481899" y="42724"/>
                </a:cubicBezTo>
                <a:cubicBezTo>
                  <a:pt x="490552" y="42724"/>
                  <a:pt x="490552" y="42724"/>
                  <a:pt x="499747" y="42724"/>
                </a:cubicBezTo>
                <a:cubicBezTo>
                  <a:pt x="508401" y="42724"/>
                  <a:pt x="508401" y="43806"/>
                  <a:pt x="517595" y="43806"/>
                </a:cubicBezTo>
                <a:cubicBezTo>
                  <a:pt x="526249" y="43806"/>
                  <a:pt x="526249" y="43806"/>
                  <a:pt x="535443" y="43806"/>
                </a:cubicBezTo>
                <a:cubicBezTo>
                  <a:pt x="544097" y="43806"/>
                  <a:pt x="544097" y="44346"/>
                  <a:pt x="553292" y="44346"/>
                </a:cubicBezTo>
                <a:cubicBezTo>
                  <a:pt x="561945" y="44346"/>
                  <a:pt x="561945" y="42724"/>
                  <a:pt x="571139" y="42724"/>
                </a:cubicBezTo>
                <a:cubicBezTo>
                  <a:pt x="579793" y="42724"/>
                  <a:pt x="579793" y="42724"/>
                  <a:pt x="588988" y="42724"/>
                </a:cubicBezTo>
                <a:cubicBezTo>
                  <a:pt x="597641" y="42724"/>
                  <a:pt x="597641" y="43806"/>
                  <a:pt x="606835" y="43806"/>
                </a:cubicBezTo>
                <a:cubicBezTo>
                  <a:pt x="615490" y="43806"/>
                  <a:pt x="615490" y="44346"/>
                  <a:pt x="624684" y="44346"/>
                </a:cubicBezTo>
                <a:cubicBezTo>
                  <a:pt x="633878" y="44346"/>
                  <a:pt x="633337" y="42183"/>
                  <a:pt x="642532" y="42183"/>
                </a:cubicBezTo>
                <a:cubicBezTo>
                  <a:pt x="651186" y="42183"/>
                  <a:pt x="651186" y="43806"/>
                  <a:pt x="660380" y="43806"/>
                </a:cubicBezTo>
                <a:cubicBezTo>
                  <a:pt x="669033" y="43806"/>
                  <a:pt x="669033" y="43265"/>
                  <a:pt x="678228" y="43265"/>
                </a:cubicBezTo>
                <a:cubicBezTo>
                  <a:pt x="686882" y="43265"/>
                  <a:pt x="686882" y="43265"/>
                  <a:pt x="696076" y="43265"/>
                </a:cubicBezTo>
                <a:cubicBezTo>
                  <a:pt x="704730" y="43265"/>
                  <a:pt x="704730" y="43806"/>
                  <a:pt x="713924" y="43806"/>
                </a:cubicBezTo>
                <a:cubicBezTo>
                  <a:pt x="722578" y="43806"/>
                  <a:pt x="722578" y="43806"/>
                  <a:pt x="731773" y="43806"/>
                </a:cubicBezTo>
                <a:cubicBezTo>
                  <a:pt x="740426" y="43806"/>
                  <a:pt x="741508" y="46510"/>
                  <a:pt x="749620" y="44346"/>
                </a:cubicBezTo>
                <a:cubicBezTo>
                  <a:pt x="758815" y="41642"/>
                  <a:pt x="757733" y="38397"/>
                  <a:pt x="765846" y="32988"/>
                </a:cubicBezTo>
                <a:cubicBezTo>
                  <a:pt x="773959" y="27580"/>
                  <a:pt x="774499" y="28121"/>
                  <a:pt x="782612" y="22712"/>
                </a:cubicBezTo>
                <a:cubicBezTo>
                  <a:pt x="790725" y="17304"/>
                  <a:pt x="790725" y="16763"/>
                  <a:pt x="798838" y="11895"/>
                </a:cubicBezTo>
                <a:cubicBezTo>
                  <a:pt x="806951" y="6487"/>
                  <a:pt x="806410" y="-3248"/>
                  <a:pt x="815605" y="1078"/>
                </a:cubicBezTo>
                <a:cubicBezTo>
                  <a:pt x="823176" y="4324"/>
                  <a:pt x="810737" y="8109"/>
                  <a:pt x="806410" y="15141"/>
                </a:cubicBezTo>
                <a:cubicBezTo>
                  <a:pt x="802083" y="22171"/>
                  <a:pt x="802083" y="22171"/>
                  <a:pt x="797756" y="29203"/>
                </a:cubicBezTo>
                <a:cubicBezTo>
                  <a:pt x="793429" y="36233"/>
                  <a:pt x="784776" y="35693"/>
                  <a:pt x="789103" y="42724"/>
                </a:cubicBezTo>
                <a:cubicBezTo>
                  <a:pt x="793429" y="49214"/>
                  <a:pt x="796134" y="40020"/>
                  <a:pt x="803706" y="38397"/>
                </a:cubicBezTo>
                <a:cubicBezTo>
                  <a:pt x="811278" y="36233"/>
                  <a:pt x="811818" y="37856"/>
                  <a:pt x="819390" y="35693"/>
                </a:cubicBezTo>
                <a:cubicBezTo>
                  <a:pt x="826962" y="33529"/>
                  <a:pt x="829126" y="26499"/>
                  <a:pt x="834535" y="31907"/>
                </a:cubicBezTo>
                <a:cubicBezTo>
                  <a:pt x="839402" y="36775"/>
                  <a:pt x="830207" y="36775"/>
                  <a:pt x="825340" y="41101"/>
                </a:cubicBezTo>
                <a:cubicBezTo>
                  <a:pt x="820472" y="45428"/>
                  <a:pt x="810737" y="44346"/>
                  <a:pt x="815063" y="49755"/>
                </a:cubicBezTo>
                <a:cubicBezTo>
                  <a:pt x="821013" y="56786"/>
                  <a:pt x="823718" y="48673"/>
                  <a:pt x="832371" y="48673"/>
                </a:cubicBezTo>
                <a:cubicBezTo>
                  <a:pt x="841025" y="48673"/>
                  <a:pt x="841025" y="49214"/>
                  <a:pt x="850219" y="49214"/>
                </a:cubicBezTo>
                <a:cubicBezTo>
                  <a:pt x="858873" y="49214"/>
                  <a:pt x="858873" y="49755"/>
                  <a:pt x="868067" y="49755"/>
                </a:cubicBezTo>
                <a:cubicBezTo>
                  <a:pt x="876721" y="49755"/>
                  <a:pt x="876721" y="49214"/>
                  <a:pt x="885915" y="49214"/>
                </a:cubicBezTo>
                <a:cubicBezTo>
                  <a:pt x="894569" y="49214"/>
                  <a:pt x="894569" y="50296"/>
                  <a:pt x="903763" y="50296"/>
                </a:cubicBezTo>
                <a:cubicBezTo>
                  <a:pt x="912417" y="50296"/>
                  <a:pt x="912417" y="49755"/>
                  <a:pt x="921612" y="49755"/>
                </a:cubicBezTo>
                <a:cubicBezTo>
                  <a:pt x="930265" y="49755"/>
                  <a:pt x="930265" y="51378"/>
                  <a:pt x="939459" y="51378"/>
                </a:cubicBezTo>
                <a:cubicBezTo>
                  <a:pt x="948113" y="51378"/>
                  <a:pt x="948113" y="50837"/>
                  <a:pt x="957308" y="50837"/>
                </a:cubicBezTo>
                <a:cubicBezTo>
                  <a:pt x="965961" y="50837"/>
                  <a:pt x="965961" y="51378"/>
                  <a:pt x="975156" y="51378"/>
                </a:cubicBezTo>
                <a:cubicBezTo>
                  <a:pt x="983809" y="51378"/>
                  <a:pt x="983809" y="51378"/>
                  <a:pt x="993004" y="51378"/>
                </a:cubicBezTo>
                <a:cubicBezTo>
                  <a:pt x="1001657" y="51378"/>
                  <a:pt x="1001657" y="49214"/>
                  <a:pt x="1010852" y="49214"/>
                </a:cubicBezTo>
                <a:cubicBezTo>
                  <a:pt x="1019506" y="49214"/>
                  <a:pt x="1019506" y="51378"/>
                  <a:pt x="1028700" y="51378"/>
                </a:cubicBezTo>
                <a:cubicBezTo>
                  <a:pt x="1037354" y="51378"/>
                  <a:pt x="1037354" y="50837"/>
                  <a:pt x="1046548" y="50837"/>
                </a:cubicBezTo>
                <a:cubicBezTo>
                  <a:pt x="1055202" y="50837"/>
                  <a:pt x="1055202" y="50837"/>
                  <a:pt x="1064397" y="50837"/>
                </a:cubicBezTo>
                <a:cubicBezTo>
                  <a:pt x="1073591" y="50837"/>
                  <a:pt x="1073050" y="51918"/>
                  <a:pt x="1082244" y="51918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9" name="Freeform: Shape 583">
            <a:extLst>
              <a:ext uri="{FF2B5EF4-FFF2-40B4-BE49-F238E27FC236}">
                <a16:creationId xmlns:a16="http://schemas.microsoft.com/office/drawing/2014/main" id="{C026AA31-9448-6225-8C65-07BC94DB9517}"/>
              </a:ext>
            </a:extLst>
          </p:cNvPr>
          <p:cNvSpPr/>
          <p:nvPr/>
        </p:nvSpPr>
        <p:spPr>
          <a:xfrm>
            <a:off x="383858" y="4692966"/>
            <a:ext cx="5127307" cy="1585021"/>
          </a:xfrm>
          <a:custGeom>
            <a:avLst/>
            <a:gdLst>
              <a:gd name="connsiteX0" fmla="*/ 0 w 4808220"/>
              <a:gd name="connsiteY0" fmla="*/ 0 h 982980"/>
              <a:gd name="connsiteX1" fmla="*/ 22860 w 4808220"/>
              <a:gd name="connsiteY1" fmla="*/ 45720 h 982980"/>
              <a:gd name="connsiteX2" fmla="*/ 68580 w 4808220"/>
              <a:gd name="connsiteY2" fmla="*/ 68580 h 982980"/>
              <a:gd name="connsiteX3" fmla="*/ 129540 w 4808220"/>
              <a:gd name="connsiteY3" fmla="*/ 144780 h 982980"/>
              <a:gd name="connsiteX4" fmla="*/ 144780 w 4808220"/>
              <a:gd name="connsiteY4" fmla="*/ 167640 h 982980"/>
              <a:gd name="connsiteX5" fmla="*/ 152400 w 4808220"/>
              <a:gd name="connsiteY5" fmla="*/ 190500 h 982980"/>
              <a:gd name="connsiteX6" fmla="*/ 175260 w 4808220"/>
              <a:gd name="connsiteY6" fmla="*/ 205740 h 982980"/>
              <a:gd name="connsiteX7" fmla="*/ 190500 w 4808220"/>
              <a:gd name="connsiteY7" fmla="*/ 228600 h 982980"/>
              <a:gd name="connsiteX8" fmla="*/ 243840 w 4808220"/>
              <a:gd name="connsiteY8" fmla="*/ 297180 h 982980"/>
              <a:gd name="connsiteX9" fmla="*/ 274320 w 4808220"/>
              <a:gd name="connsiteY9" fmla="*/ 335280 h 982980"/>
              <a:gd name="connsiteX10" fmla="*/ 289560 w 4808220"/>
              <a:gd name="connsiteY10" fmla="*/ 365760 h 982980"/>
              <a:gd name="connsiteX11" fmla="*/ 342900 w 4808220"/>
              <a:gd name="connsiteY11" fmla="*/ 419100 h 982980"/>
              <a:gd name="connsiteX12" fmla="*/ 365760 w 4808220"/>
              <a:gd name="connsiteY12" fmla="*/ 441960 h 982980"/>
              <a:gd name="connsiteX13" fmla="*/ 449580 w 4808220"/>
              <a:gd name="connsiteY13" fmla="*/ 495300 h 982980"/>
              <a:gd name="connsiteX14" fmla="*/ 480060 w 4808220"/>
              <a:gd name="connsiteY14" fmla="*/ 510540 h 982980"/>
              <a:gd name="connsiteX15" fmla="*/ 510540 w 4808220"/>
              <a:gd name="connsiteY15" fmla="*/ 541020 h 982980"/>
              <a:gd name="connsiteX16" fmla="*/ 533400 w 4808220"/>
              <a:gd name="connsiteY16" fmla="*/ 556260 h 982980"/>
              <a:gd name="connsiteX17" fmla="*/ 556260 w 4808220"/>
              <a:gd name="connsiteY17" fmla="*/ 594360 h 982980"/>
              <a:gd name="connsiteX18" fmla="*/ 586740 w 4808220"/>
              <a:gd name="connsiteY18" fmla="*/ 617220 h 982980"/>
              <a:gd name="connsiteX19" fmla="*/ 640080 w 4808220"/>
              <a:gd name="connsiteY19" fmla="*/ 647700 h 982980"/>
              <a:gd name="connsiteX20" fmla="*/ 670560 w 4808220"/>
              <a:gd name="connsiteY20" fmla="*/ 662940 h 982980"/>
              <a:gd name="connsiteX21" fmla="*/ 754380 w 4808220"/>
              <a:gd name="connsiteY21" fmla="*/ 716280 h 982980"/>
              <a:gd name="connsiteX22" fmla="*/ 784860 w 4808220"/>
              <a:gd name="connsiteY22" fmla="*/ 739140 h 982980"/>
              <a:gd name="connsiteX23" fmla="*/ 960120 w 4808220"/>
              <a:gd name="connsiteY23" fmla="*/ 807720 h 982980"/>
              <a:gd name="connsiteX24" fmla="*/ 1059180 w 4808220"/>
              <a:gd name="connsiteY24" fmla="*/ 838200 h 982980"/>
              <a:gd name="connsiteX25" fmla="*/ 1097280 w 4808220"/>
              <a:gd name="connsiteY25" fmla="*/ 861060 h 982980"/>
              <a:gd name="connsiteX26" fmla="*/ 1143000 w 4808220"/>
              <a:gd name="connsiteY26" fmla="*/ 883920 h 982980"/>
              <a:gd name="connsiteX27" fmla="*/ 1203960 w 4808220"/>
              <a:gd name="connsiteY27" fmla="*/ 922020 h 982980"/>
              <a:gd name="connsiteX28" fmla="*/ 1257300 w 4808220"/>
              <a:gd name="connsiteY28" fmla="*/ 937260 h 982980"/>
              <a:gd name="connsiteX29" fmla="*/ 1386840 w 4808220"/>
              <a:gd name="connsiteY29" fmla="*/ 952500 h 982980"/>
              <a:gd name="connsiteX30" fmla="*/ 1455420 w 4808220"/>
              <a:gd name="connsiteY30" fmla="*/ 967740 h 982980"/>
              <a:gd name="connsiteX31" fmla="*/ 1889760 w 4808220"/>
              <a:gd name="connsiteY31" fmla="*/ 967740 h 982980"/>
              <a:gd name="connsiteX32" fmla="*/ 2453640 w 4808220"/>
              <a:gd name="connsiteY32" fmla="*/ 975360 h 982980"/>
              <a:gd name="connsiteX33" fmla="*/ 2560320 w 4808220"/>
              <a:gd name="connsiteY33" fmla="*/ 982980 h 982980"/>
              <a:gd name="connsiteX34" fmla="*/ 3779520 w 4808220"/>
              <a:gd name="connsiteY34" fmla="*/ 975360 h 982980"/>
              <a:gd name="connsiteX35" fmla="*/ 3916680 w 4808220"/>
              <a:gd name="connsiteY35" fmla="*/ 960120 h 982980"/>
              <a:gd name="connsiteX36" fmla="*/ 4061460 w 4808220"/>
              <a:gd name="connsiteY36" fmla="*/ 937260 h 982980"/>
              <a:gd name="connsiteX37" fmla="*/ 4808220 w 4808220"/>
              <a:gd name="connsiteY37" fmla="*/ 937260 h 982980"/>
              <a:gd name="connsiteX0" fmla="*/ 0 w 4808220"/>
              <a:gd name="connsiteY0" fmla="*/ 0 h 982980"/>
              <a:gd name="connsiteX1" fmla="*/ 22860 w 4808220"/>
              <a:gd name="connsiteY1" fmla="*/ 45720 h 982980"/>
              <a:gd name="connsiteX2" fmla="*/ 68580 w 4808220"/>
              <a:gd name="connsiteY2" fmla="*/ 68580 h 982980"/>
              <a:gd name="connsiteX3" fmla="*/ 129540 w 4808220"/>
              <a:gd name="connsiteY3" fmla="*/ 144780 h 982980"/>
              <a:gd name="connsiteX4" fmla="*/ 144780 w 4808220"/>
              <a:gd name="connsiteY4" fmla="*/ 167640 h 982980"/>
              <a:gd name="connsiteX5" fmla="*/ 152400 w 4808220"/>
              <a:gd name="connsiteY5" fmla="*/ 190500 h 982980"/>
              <a:gd name="connsiteX6" fmla="*/ 175260 w 4808220"/>
              <a:gd name="connsiteY6" fmla="*/ 205740 h 982980"/>
              <a:gd name="connsiteX7" fmla="*/ 190500 w 4808220"/>
              <a:gd name="connsiteY7" fmla="*/ 228600 h 982980"/>
              <a:gd name="connsiteX8" fmla="*/ 243840 w 4808220"/>
              <a:gd name="connsiteY8" fmla="*/ 297180 h 982980"/>
              <a:gd name="connsiteX9" fmla="*/ 274320 w 4808220"/>
              <a:gd name="connsiteY9" fmla="*/ 335280 h 982980"/>
              <a:gd name="connsiteX10" fmla="*/ 289560 w 4808220"/>
              <a:gd name="connsiteY10" fmla="*/ 365760 h 982980"/>
              <a:gd name="connsiteX11" fmla="*/ 342900 w 4808220"/>
              <a:gd name="connsiteY11" fmla="*/ 419100 h 982980"/>
              <a:gd name="connsiteX12" fmla="*/ 365760 w 4808220"/>
              <a:gd name="connsiteY12" fmla="*/ 441960 h 982980"/>
              <a:gd name="connsiteX13" fmla="*/ 449580 w 4808220"/>
              <a:gd name="connsiteY13" fmla="*/ 495300 h 982980"/>
              <a:gd name="connsiteX14" fmla="*/ 480060 w 4808220"/>
              <a:gd name="connsiteY14" fmla="*/ 510540 h 982980"/>
              <a:gd name="connsiteX15" fmla="*/ 510540 w 4808220"/>
              <a:gd name="connsiteY15" fmla="*/ 541020 h 982980"/>
              <a:gd name="connsiteX16" fmla="*/ 533400 w 4808220"/>
              <a:gd name="connsiteY16" fmla="*/ 556260 h 982980"/>
              <a:gd name="connsiteX17" fmla="*/ 556260 w 4808220"/>
              <a:gd name="connsiteY17" fmla="*/ 594360 h 982980"/>
              <a:gd name="connsiteX18" fmla="*/ 586740 w 4808220"/>
              <a:gd name="connsiteY18" fmla="*/ 617220 h 982980"/>
              <a:gd name="connsiteX19" fmla="*/ 640080 w 4808220"/>
              <a:gd name="connsiteY19" fmla="*/ 647700 h 982980"/>
              <a:gd name="connsiteX20" fmla="*/ 670560 w 4808220"/>
              <a:gd name="connsiteY20" fmla="*/ 662940 h 982980"/>
              <a:gd name="connsiteX21" fmla="*/ 754380 w 4808220"/>
              <a:gd name="connsiteY21" fmla="*/ 716280 h 982980"/>
              <a:gd name="connsiteX22" fmla="*/ 784860 w 4808220"/>
              <a:gd name="connsiteY22" fmla="*/ 739140 h 982980"/>
              <a:gd name="connsiteX23" fmla="*/ 960120 w 4808220"/>
              <a:gd name="connsiteY23" fmla="*/ 807720 h 982980"/>
              <a:gd name="connsiteX24" fmla="*/ 1059180 w 4808220"/>
              <a:gd name="connsiteY24" fmla="*/ 838200 h 982980"/>
              <a:gd name="connsiteX25" fmla="*/ 1097280 w 4808220"/>
              <a:gd name="connsiteY25" fmla="*/ 861060 h 982980"/>
              <a:gd name="connsiteX26" fmla="*/ 1143000 w 4808220"/>
              <a:gd name="connsiteY26" fmla="*/ 883920 h 982980"/>
              <a:gd name="connsiteX27" fmla="*/ 1203960 w 4808220"/>
              <a:gd name="connsiteY27" fmla="*/ 922020 h 982980"/>
              <a:gd name="connsiteX28" fmla="*/ 1257300 w 4808220"/>
              <a:gd name="connsiteY28" fmla="*/ 937260 h 982980"/>
              <a:gd name="connsiteX29" fmla="*/ 1386840 w 4808220"/>
              <a:gd name="connsiteY29" fmla="*/ 952500 h 982980"/>
              <a:gd name="connsiteX30" fmla="*/ 1455420 w 4808220"/>
              <a:gd name="connsiteY30" fmla="*/ 967740 h 982980"/>
              <a:gd name="connsiteX31" fmla="*/ 2453640 w 4808220"/>
              <a:gd name="connsiteY31" fmla="*/ 975360 h 982980"/>
              <a:gd name="connsiteX32" fmla="*/ 2560320 w 4808220"/>
              <a:gd name="connsiteY32" fmla="*/ 982980 h 982980"/>
              <a:gd name="connsiteX33" fmla="*/ 3779520 w 4808220"/>
              <a:gd name="connsiteY33" fmla="*/ 975360 h 982980"/>
              <a:gd name="connsiteX34" fmla="*/ 3916680 w 4808220"/>
              <a:gd name="connsiteY34" fmla="*/ 960120 h 982980"/>
              <a:gd name="connsiteX35" fmla="*/ 4061460 w 4808220"/>
              <a:gd name="connsiteY35" fmla="*/ 937260 h 982980"/>
              <a:gd name="connsiteX36" fmla="*/ 4808220 w 4808220"/>
              <a:gd name="connsiteY36" fmla="*/ 937260 h 982980"/>
              <a:gd name="connsiteX0" fmla="*/ 0 w 4808220"/>
              <a:gd name="connsiteY0" fmla="*/ 0 h 982980"/>
              <a:gd name="connsiteX1" fmla="*/ 22860 w 4808220"/>
              <a:gd name="connsiteY1" fmla="*/ 45720 h 982980"/>
              <a:gd name="connsiteX2" fmla="*/ 68580 w 4808220"/>
              <a:gd name="connsiteY2" fmla="*/ 68580 h 982980"/>
              <a:gd name="connsiteX3" fmla="*/ 129540 w 4808220"/>
              <a:gd name="connsiteY3" fmla="*/ 144780 h 982980"/>
              <a:gd name="connsiteX4" fmla="*/ 144780 w 4808220"/>
              <a:gd name="connsiteY4" fmla="*/ 167640 h 982980"/>
              <a:gd name="connsiteX5" fmla="*/ 152400 w 4808220"/>
              <a:gd name="connsiteY5" fmla="*/ 190500 h 982980"/>
              <a:gd name="connsiteX6" fmla="*/ 175260 w 4808220"/>
              <a:gd name="connsiteY6" fmla="*/ 205740 h 982980"/>
              <a:gd name="connsiteX7" fmla="*/ 190500 w 4808220"/>
              <a:gd name="connsiteY7" fmla="*/ 228600 h 982980"/>
              <a:gd name="connsiteX8" fmla="*/ 243840 w 4808220"/>
              <a:gd name="connsiteY8" fmla="*/ 297180 h 982980"/>
              <a:gd name="connsiteX9" fmla="*/ 274320 w 4808220"/>
              <a:gd name="connsiteY9" fmla="*/ 335280 h 982980"/>
              <a:gd name="connsiteX10" fmla="*/ 289560 w 4808220"/>
              <a:gd name="connsiteY10" fmla="*/ 365760 h 982980"/>
              <a:gd name="connsiteX11" fmla="*/ 342900 w 4808220"/>
              <a:gd name="connsiteY11" fmla="*/ 419100 h 982980"/>
              <a:gd name="connsiteX12" fmla="*/ 365760 w 4808220"/>
              <a:gd name="connsiteY12" fmla="*/ 441960 h 982980"/>
              <a:gd name="connsiteX13" fmla="*/ 449580 w 4808220"/>
              <a:gd name="connsiteY13" fmla="*/ 495300 h 982980"/>
              <a:gd name="connsiteX14" fmla="*/ 480060 w 4808220"/>
              <a:gd name="connsiteY14" fmla="*/ 510540 h 982980"/>
              <a:gd name="connsiteX15" fmla="*/ 510540 w 4808220"/>
              <a:gd name="connsiteY15" fmla="*/ 541020 h 982980"/>
              <a:gd name="connsiteX16" fmla="*/ 533400 w 4808220"/>
              <a:gd name="connsiteY16" fmla="*/ 556260 h 982980"/>
              <a:gd name="connsiteX17" fmla="*/ 556260 w 4808220"/>
              <a:gd name="connsiteY17" fmla="*/ 594360 h 982980"/>
              <a:gd name="connsiteX18" fmla="*/ 586740 w 4808220"/>
              <a:gd name="connsiteY18" fmla="*/ 617220 h 982980"/>
              <a:gd name="connsiteX19" fmla="*/ 640080 w 4808220"/>
              <a:gd name="connsiteY19" fmla="*/ 647700 h 982980"/>
              <a:gd name="connsiteX20" fmla="*/ 670560 w 4808220"/>
              <a:gd name="connsiteY20" fmla="*/ 662940 h 982980"/>
              <a:gd name="connsiteX21" fmla="*/ 754380 w 4808220"/>
              <a:gd name="connsiteY21" fmla="*/ 716280 h 982980"/>
              <a:gd name="connsiteX22" fmla="*/ 784860 w 4808220"/>
              <a:gd name="connsiteY22" fmla="*/ 739140 h 982980"/>
              <a:gd name="connsiteX23" fmla="*/ 960120 w 4808220"/>
              <a:gd name="connsiteY23" fmla="*/ 807720 h 982980"/>
              <a:gd name="connsiteX24" fmla="*/ 1059180 w 4808220"/>
              <a:gd name="connsiteY24" fmla="*/ 838200 h 982980"/>
              <a:gd name="connsiteX25" fmla="*/ 1097280 w 4808220"/>
              <a:gd name="connsiteY25" fmla="*/ 861060 h 982980"/>
              <a:gd name="connsiteX26" fmla="*/ 1143000 w 4808220"/>
              <a:gd name="connsiteY26" fmla="*/ 883920 h 982980"/>
              <a:gd name="connsiteX27" fmla="*/ 1203960 w 4808220"/>
              <a:gd name="connsiteY27" fmla="*/ 922020 h 982980"/>
              <a:gd name="connsiteX28" fmla="*/ 1257300 w 4808220"/>
              <a:gd name="connsiteY28" fmla="*/ 937260 h 982980"/>
              <a:gd name="connsiteX29" fmla="*/ 1386840 w 4808220"/>
              <a:gd name="connsiteY29" fmla="*/ 952500 h 982980"/>
              <a:gd name="connsiteX30" fmla="*/ 1455420 w 4808220"/>
              <a:gd name="connsiteY30" fmla="*/ 982027 h 982980"/>
              <a:gd name="connsiteX31" fmla="*/ 2453640 w 4808220"/>
              <a:gd name="connsiteY31" fmla="*/ 975360 h 982980"/>
              <a:gd name="connsiteX32" fmla="*/ 2560320 w 4808220"/>
              <a:gd name="connsiteY32" fmla="*/ 982980 h 982980"/>
              <a:gd name="connsiteX33" fmla="*/ 3779520 w 4808220"/>
              <a:gd name="connsiteY33" fmla="*/ 975360 h 982980"/>
              <a:gd name="connsiteX34" fmla="*/ 3916680 w 4808220"/>
              <a:gd name="connsiteY34" fmla="*/ 960120 h 982980"/>
              <a:gd name="connsiteX35" fmla="*/ 4061460 w 4808220"/>
              <a:gd name="connsiteY35" fmla="*/ 937260 h 982980"/>
              <a:gd name="connsiteX36" fmla="*/ 4808220 w 4808220"/>
              <a:gd name="connsiteY36" fmla="*/ 937260 h 982980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097280 w 4808220"/>
              <a:gd name="connsiteY25" fmla="*/ 861060 h 989708"/>
              <a:gd name="connsiteX26" fmla="*/ 1143000 w 4808220"/>
              <a:gd name="connsiteY26" fmla="*/ 883920 h 989708"/>
              <a:gd name="connsiteX27" fmla="*/ 1203960 w 4808220"/>
              <a:gd name="connsiteY27" fmla="*/ 922020 h 989708"/>
              <a:gd name="connsiteX28" fmla="*/ 1257300 w 4808220"/>
              <a:gd name="connsiteY28" fmla="*/ 937260 h 989708"/>
              <a:gd name="connsiteX29" fmla="*/ 1386840 w 4808220"/>
              <a:gd name="connsiteY29" fmla="*/ 952500 h 989708"/>
              <a:gd name="connsiteX30" fmla="*/ 1455420 w 4808220"/>
              <a:gd name="connsiteY30" fmla="*/ 982027 h 989708"/>
              <a:gd name="connsiteX31" fmla="*/ 2434590 w 4808220"/>
              <a:gd name="connsiteY31" fmla="*/ 989647 h 989708"/>
              <a:gd name="connsiteX32" fmla="*/ 2560320 w 4808220"/>
              <a:gd name="connsiteY32" fmla="*/ 982980 h 989708"/>
              <a:gd name="connsiteX33" fmla="*/ 3779520 w 4808220"/>
              <a:gd name="connsiteY33" fmla="*/ 975360 h 989708"/>
              <a:gd name="connsiteX34" fmla="*/ 3916680 w 4808220"/>
              <a:gd name="connsiteY34" fmla="*/ 960120 h 989708"/>
              <a:gd name="connsiteX35" fmla="*/ 4061460 w 4808220"/>
              <a:gd name="connsiteY35" fmla="*/ 937260 h 989708"/>
              <a:gd name="connsiteX36" fmla="*/ 4808220 w 4808220"/>
              <a:gd name="connsiteY36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097280 w 4808220"/>
              <a:gd name="connsiteY25" fmla="*/ 861060 h 989708"/>
              <a:gd name="connsiteX26" fmla="*/ 1143000 w 4808220"/>
              <a:gd name="connsiteY26" fmla="*/ 883920 h 989708"/>
              <a:gd name="connsiteX27" fmla="*/ 1257300 w 4808220"/>
              <a:gd name="connsiteY27" fmla="*/ 937260 h 989708"/>
              <a:gd name="connsiteX28" fmla="*/ 1386840 w 4808220"/>
              <a:gd name="connsiteY28" fmla="*/ 952500 h 989708"/>
              <a:gd name="connsiteX29" fmla="*/ 1455420 w 4808220"/>
              <a:gd name="connsiteY29" fmla="*/ 982027 h 989708"/>
              <a:gd name="connsiteX30" fmla="*/ 2434590 w 4808220"/>
              <a:gd name="connsiteY30" fmla="*/ 989647 h 989708"/>
              <a:gd name="connsiteX31" fmla="*/ 2560320 w 4808220"/>
              <a:gd name="connsiteY31" fmla="*/ 982980 h 989708"/>
              <a:gd name="connsiteX32" fmla="*/ 3779520 w 4808220"/>
              <a:gd name="connsiteY32" fmla="*/ 975360 h 989708"/>
              <a:gd name="connsiteX33" fmla="*/ 3916680 w 4808220"/>
              <a:gd name="connsiteY33" fmla="*/ 960120 h 989708"/>
              <a:gd name="connsiteX34" fmla="*/ 4061460 w 4808220"/>
              <a:gd name="connsiteY34" fmla="*/ 937260 h 989708"/>
              <a:gd name="connsiteX35" fmla="*/ 4808220 w 4808220"/>
              <a:gd name="connsiteY35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097280 w 4808220"/>
              <a:gd name="connsiteY25" fmla="*/ 861060 h 989708"/>
              <a:gd name="connsiteX26" fmla="*/ 1257300 w 4808220"/>
              <a:gd name="connsiteY26" fmla="*/ 937260 h 989708"/>
              <a:gd name="connsiteX27" fmla="*/ 1386840 w 4808220"/>
              <a:gd name="connsiteY27" fmla="*/ 952500 h 989708"/>
              <a:gd name="connsiteX28" fmla="*/ 1455420 w 4808220"/>
              <a:gd name="connsiteY28" fmla="*/ 982027 h 989708"/>
              <a:gd name="connsiteX29" fmla="*/ 2434590 w 4808220"/>
              <a:gd name="connsiteY29" fmla="*/ 989647 h 989708"/>
              <a:gd name="connsiteX30" fmla="*/ 2560320 w 4808220"/>
              <a:gd name="connsiteY30" fmla="*/ 982980 h 989708"/>
              <a:gd name="connsiteX31" fmla="*/ 3779520 w 4808220"/>
              <a:gd name="connsiteY31" fmla="*/ 975360 h 989708"/>
              <a:gd name="connsiteX32" fmla="*/ 3916680 w 4808220"/>
              <a:gd name="connsiteY32" fmla="*/ 960120 h 989708"/>
              <a:gd name="connsiteX33" fmla="*/ 4061460 w 4808220"/>
              <a:gd name="connsiteY33" fmla="*/ 937260 h 989708"/>
              <a:gd name="connsiteX34" fmla="*/ 4808220 w 4808220"/>
              <a:gd name="connsiteY34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257300 w 4808220"/>
              <a:gd name="connsiteY25" fmla="*/ 937260 h 989708"/>
              <a:gd name="connsiteX26" fmla="*/ 1386840 w 4808220"/>
              <a:gd name="connsiteY26" fmla="*/ 952500 h 989708"/>
              <a:gd name="connsiteX27" fmla="*/ 1455420 w 4808220"/>
              <a:gd name="connsiteY27" fmla="*/ 982027 h 989708"/>
              <a:gd name="connsiteX28" fmla="*/ 2434590 w 4808220"/>
              <a:gd name="connsiteY28" fmla="*/ 989647 h 989708"/>
              <a:gd name="connsiteX29" fmla="*/ 2560320 w 4808220"/>
              <a:gd name="connsiteY29" fmla="*/ 982980 h 989708"/>
              <a:gd name="connsiteX30" fmla="*/ 3779520 w 4808220"/>
              <a:gd name="connsiteY30" fmla="*/ 975360 h 989708"/>
              <a:gd name="connsiteX31" fmla="*/ 3916680 w 4808220"/>
              <a:gd name="connsiteY31" fmla="*/ 960120 h 989708"/>
              <a:gd name="connsiteX32" fmla="*/ 4061460 w 4808220"/>
              <a:gd name="connsiteY32" fmla="*/ 937260 h 989708"/>
              <a:gd name="connsiteX33" fmla="*/ 4808220 w 4808220"/>
              <a:gd name="connsiteY33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257300 w 4808220"/>
              <a:gd name="connsiteY24" fmla="*/ 937260 h 989708"/>
              <a:gd name="connsiteX25" fmla="*/ 1386840 w 4808220"/>
              <a:gd name="connsiteY25" fmla="*/ 952500 h 989708"/>
              <a:gd name="connsiteX26" fmla="*/ 1455420 w 4808220"/>
              <a:gd name="connsiteY26" fmla="*/ 982027 h 989708"/>
              <a:gd name="connsiteX27" fmla="*/ 2434590 w 4808220"/>
              <a:gd name="connsiteY27" fmla="*/ 989647 h 989708"/>
              <a:gd name="connsiteX28" fmla="*/ 2560320 w 4808220"/>
              <a:gd name="connsiteY28" fmla="*/ 982980 h 989708"/>
              <a:gd name="connsiteX29" fmla="*/ 3779520 w 4808220"/>
              <a:gd name="connsiteY29" fmla="*/ 975360 h 989708"/>
              <a:gd name="connsiteX30" fmla="*/ 3916680 w 4808220"/>
              <a:gd name="connsiteY30" fmla="*/ 960120 h 989708"/>
              <a:gd name="connsiteX31" fmla="*/ 4061460 w 4808220"/>
              <a:gd name="connsiteY31" fmla="*/ 937260 h 989708"/>
              <a:gd name="connsiteX32" fmla="*/ 4808220 w 4808220"/>
              <a:gd name="connsiteY32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510540 w 4808220"/>
              <a:gd name="connsiteY14" fmla="*/ 541020 h 989708"/>
              <a:gd name="connsiteX15" fmla="*/ 533400 w 4808220"/>
              <a:gd name="connsiteY15" fmla="*/ 556260 h 989708"/>
              <a:gd name="connsiteX16" fmla="*/ 556260 w 4808220"/>
              <a:gd name="connsiteY16" fmla="*/ 594360 h 989708"/>
              <a:gd name="connsiteX17" fmla="*/ 586740 w 4808220"/>
              <a:gd name="connsiteY17" fmla="*/ 617220 h 989708"/>
              <a:gd name="connsiteX18" fmla="*/ 640080 w 4808220"/>
              <a:gd name="connsiteY18" fmla="*/ 647700 h 989708"/>
              <a:gd name="connsiteX19" fmla="*/ 670560 w 4808220"/>
              <a:gd name="connsiteY19" fmla="*/ 662940 h 989708"/>
              <a:gd name="connsiteX20" fmla="*/ 754380 w 4808220"/>
              <a:gd name="connsiteY20" fmla="*/ 716280 h 989708"/>
              <a:gd name="connsiteX21" fmla="*/ 784860 w 4808220"/>
              <a:gd name="connsiteY21" fmla="*/ 739140 h 989708"/>
              <a:gd name="connsiteX22" fmla="*/ 960120 w 4808220"/>
              <a:gd name="connsiteY22" fmla="*/ 807720 h 989708"/>
              <a:gd name="connsiteX23" fmla="*/ 1257300 w 4808220"/>
              <a:gd name="connsiteY23" fmla="*/ 937260 h 989708"/>
              <a:gd name="connsiteX24" fmla="*/ 1386840 w 4808220"/>
              <a:gd name="connsiteY24" fmla="*/ 952500 h 989708"/>
              <a:gd name="connsiteX25" fmla="*/ 1455420 w 4808220"/>
              <a:gd name="connsiteY25" fmla="*/ 982027 h 989708"/>
              <a:gd name="connsiteX26" fmla="*/ 2434590 w 4808220"/>
              <a:gd name="connsiteY26" fmla="*/ 989647 h 989708"/>
              <a:gd name="connsiteX27" fmla="*/ 2560320 w 4808220"/>
              <a:gd name="connsiteY27" fmla="*/ 982980 h 989708"/>
              <a:gd name="connsiteX28" fmla="*/ 3779520 w 4808220"/>
              <a:gd name="connsiteY28" fmla="*/ 975360 h 989708"/>
              <a:gd name="connsiteX29" fmla="*/ 3916680 w 4808220"/>
              <a:gd name="connsiteY29" fmla="*/ 960120 h 989708"/>
              <a:gd name="connsiteX30" fmla="*/ 4061460 w 4808220"/>
              <a:gd name="connsiteY30" fmla="*/ 937260 h 989708"/>
              <a:gd name="connsiteX31" fmla="*/ 4808220 w 4808220"/>
              <a:gd name="connsiteY31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510540 w 4808220"/>
              <a:gd name="connsiteY14" fmla="*/ 541020 h 989708"/>
              <a:gd name="connsiteX15" fmla="*/ 556260 w 4808220"/>
              <a:gd name="connsiteY15" fmla="*/ 594360 h 989708"/>
              <a:gd name="connsiteX16" fmla="*/ 586740 w 4808220"/>
              <a:gd name="connsiteY16" fmla="*/ 617220 h 989708"/>
              <a:gd name="connsiteX17" fmla="*/ 640080 w 4808220"/>
              <a:gd name="connsiteY17" fmla="*/ 647700 h 989708"/>
              <a:gd name="connsiteX18" fmla="*/ 670560 w 4808220"/>
              <a:gd name="connsiteY18" fmla="*/ 662940 h 989708"/>
              <a:gd name="connsiteX19" fmla="*/ 754380 w 4808220"/>
              <a:gd name="connsiteY19" fmla="*/ 716280 h 989708"/>
              <a:gd name="connsiteX20" fmla="*/ 784860 w 4808220"/>
              <a:gd name="connsiteY20" fmla="*/ 739140 h 989708"/>
              <a:gd name="connsiteX21" fmla="*/ 960120 w 4808220"/>
              <a:gd name="connsiteY21" fmla="*/ 807720 h 989708"/>
              <a:gd name="connsiteX22" fmla="*/ 1257300 w 4808220"/>
              <a:gd name="connsiteY22" fmla="*/ 937260 h 989708"/>
              <a:gd name="connsiteX23" fmla="*/ 1386840 w 4808220"/>
              <a:gd name="connsiteY23" fmla="*/ 952500 h 989708"/>
              <a:gd name="connsiteX24" fmla="*/ 1455420 w 4808220"/>
              <a:gd name="connsiteY24" fmla="*/ 982027 h 989708"/>
              <a:gd name="connsiteX25" fmla="*/ 2434590 w 4808220"/>
              <a:gd name="connsiteY25" fmla="*/ 989647 h 989708"/>
              <a:gd name="connsiteX26" fmla="*/ 2560320 w 4808220"/>
              <a:gd name="connsiteY26" fmla="*/ 982980 h 989708"/>
              <a:gd name="connsiteX27" fmla="*/ 3779520 w 4808220"/>
              <a:gd name="connsiteY27" fmla="*/ 975360 h 989708"/>
              <a:gd name="connsiteX28" fmla="*/ 3916680 w 4808220"/>
              <a:gd name="connsiteY28" fmla="*/ 960120 h 989708"/>
              <a:gd name="connsiteX29" fmla="*/ 4061460 w 4808220"/>
              <a:gd name="connsiteY29" fmla="*/ 937260 h 989708"/>
              <a:gd name="connsiteX30" fmla="*/ 4808220 w 4808220"/>
              <a:gd name="connsiteY30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152400 w 4808220"/>
              <a:gd name="connsiteY4" fmla="*/ 190500 h 989708"/>
              <a:gd name="connsiteX5" fmla="*/ 175260 w 4808220"/>
              <a:gd name="connsiteY5" fmla="*/ 205740 h 989708"/>
              <a:gd name="connsiteX6" fmla="*/ 190500 w 4808220"/>
              <a:gd name="connsiteY6" fmla="*/ 228600 h 989708"/>
              <a:gd name="connsiteX7" fmla="*/ 243840 w 4808220"/>
              <a:gd name="connsiteY7" fmla="*/ 297180 h 989708"/>
              <a:gd name="connsiteX8" fmla="*/ 274320 w 4808220"/>
              <a:gd name="connsiteY8" fmla="*/ 335280 h 989708"/>
              <a:gd name="connsiteX9" fmla="*/ 289560 w 4808220"/>
              <a:gd name="connsiteY9" fmla="*/ 365760 h 989708"/>
              <a:gd name="connsiteX10" fmla="*/ 342900 w 4808220"/>
              <a:gd name="connsiteY10" fmla="*/ 419100 h 989708"/>
              <a:gd name="connsiteX11" fmla="*/ 365760 w 4808220"/>
              <a:gd name="connsiteY11" fmla="*/ 441960 h 989708"/>
              <a:gd name="connsiteX12" fmla="*/ 449580 w 4808220"/>
              <a:gd name="connsiteY12" fmla="*/ 495300 h 989708"/>
              <a:gd name="connsiteX13" fmla="*/ 510540 w 4808220"/>
              <a:gd name="connsiteY13" fmla="*/ 541020 h 989708"/>
              <a:gd name="connsiteX14" fmla="*/ 556260 w 4808220"/>
              <a:gd name="connsiteY14" fmla="*/ 594360 h 989708"/>
              <a:gd name="connsiteX15" fmla="*/ 586740 w 4808220"/>
              <a:gd name="connsiteY15" fmla="*/ 617220 h 989708"/>
              <a:gd name="connsiteX16" fmla="*/ 640080 w 4808220"/>
              <a:gd name="connsiteY16" fmla="*/ 647700 h 989708"/>
              <a:gd name="connsiteX17" fmla="*/ 670560 w 4808220"/>
              <a:gd name="connsiteY17" fmla="*/ 662940 h 989708"/>
              <a:gd name="connsiteX18" fmla="*/ 754380 w 4808220"/>
              <a:gd name="connsiteY18" fmla="*/ 716280 h 989708"/>
              <a:gd name="connsiteX19" fmla="*/ 784860 w 4808220"/>
              <a:gd name="connsiteY19" fmla="*/ 739140 h 989708"/>
              <a:gd name="connsiteX20" fmla="*/ 960120 w 4808220"/>
              <a:gd name="connsiteY20" fmla="*/ 807720 h 989708"/>
              <a:gd name="connsiteX21" fmla="*/ 1257300 w 4808220"/>
              <a:gd name="connsiteY21" fmla="*/ 937260 h 989708"/>
              <a:gd name="connsiteX22" fmla="*/ 1386840 w 4808220"/>
              <a:gd name="connsiteY22" fmla="*/ 952500 h 989708"/>
              <a:gd name="connsiteX23" fmla="*/ 1455420 w 4808220"/>
              <a:gd name="connsiteY23" fmla="*/ 982027 h 989708"/>
              <a:gd name="connsiteX24" fmla="*/ 2434590 w 4808220"/>
              <a:gd name="connsiteY24" fmla="*/ 989647 h 989708"/>
              <a:gd name="connsiteX25" fmla="*/ 2560320 w 4808220"/>
              <a:gd name="connsiteY25" fmla="*/ 982980 h 989708"/>
              <a:gd name="connsiteX26" fmla="*/ 3779520 w 4808220"/>
              <a:gd name="connsiteY26" fmla="*/ 975360 h 989708"/>
              <a:gd name="connsiteX27" fmla="*/ 3916680 w 4808220"/>
              <a:gd name="connsiteY27" fmla="*/ 960120 h 989708"/>
              <a:gd name="connsiteX28" fmla="*/ 4061460 w 4808220"/>
              <a:gd name="connsiteY28" fmla="*/ 937260 h 989708"/>
              <a:gd name="connsiteX29" fmla="*/ 4808220 w 4808220"/>
              <a:gd name="connsiteY2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152400 w 4808220"/>
              <a:gd name="connsiteY4" fmla="*/ 190500 h 989708"/>
              <a:gd name="connsiteX5" fmla="*/ 175260 w 4808220"/>
              <a:gd name="connsiteY5" fmla="*/ 205740 h 989708"/>
              <a:gd name="connsiteX6" fmla="*/ 243840 w 4808220"/>
              <a:gd name="connsiteY6" fmla="*/ 297180 h 989708"/>
              <a:gd name="connsiteX7" fmla="*/ 274320 w 4808220"/>
              <a:gd name="connsiteY7" fmla="*/ 335280 h 989708"/>
              <a:gd name="connsiteX8" fmla="*/ 289560 w 4808220"/>
              <a:gd name="connsiteY8" fmla="*/ 365760 h 989708"/>
              <a:gd name="connsiteX9" fmla="*/ 342900 w 4808220"/>
              <a:gd name="connsiteY9" fmla="*/ 419100 h 989708"/>
              <a:gd name="connsiteX10" fmla="*/ 365760 w 4808220"/>
              <a:gd name="connsiteY10" fmla="*/ 441960 h 989708"/>
              <a:gd name="connsiteX11" fmla="*/ 449580 w 4808220"/>
              <a:gd name="connsiteY11" fmla="*/ 495300 h 989708"/>
              <a:gd name="connsiteX12" fmla="*/ 510540 w 4808220"/>
              <a:gd name="connsiteY12" fmla="*/ 541020 h 989708"/>
              <a:gd name="connsiteX13" fmla="*/ 556260 w 4808220"/>
              <a:gd name="connsiteY13" fmla="*/ 594360 h 989708"/>
              <a:gd name="connsiteX14" fmla="*/ 586740 w 4808220"/>
              <a:gd name="connsiteY14" fmla="*/ 617220 h 989708"/>
              <a:gd name="connsiteX15" fmla="*/ 640080 w 4808220"/>
              <a:gd name="connsiteY15" fmla="*/ 647700 h 989708"/>
              <a:gd name="connsiteX16" fmla="*/ 670560 w 4808220"/>
              <a:gd name="connsiteY16" fmla="*/ 662940 h 989708"/>
              <a:gd name="connsiteX17" fmla="*/ 754380 w 4808220"/>
              <a:gd name="connsiteY17" fmla="*/ 716280 h 989708"/>
              <a:gd name="connsiteX18" fmla="*/ 784860 w 4808220"/>
              <a:gd name="connsiteY18" fmla="*/ 739140 h 989708"/>
              <a:gd name="connsiteX19" fmla="*/ 960120 w 4808220"/>
              <a:gd name="connsiteY19" fmla="*/ 807720 h 989708"/>
              <a:gd name="connsiteX20" fmla="*/ 1257300 w 4808220"/>
              <a:gd name="connsiteY20" fmla="*/ 937260 h 989708"/>
              <a:gd name="connsiteX21" fmla="*/ 1386840 w 4808220"/>
              <a:gd name="connsiteY21" fmla="*/ 952500 h 989708"/>
              <a:gd name="connsiteX22" fmla="*/ 1455420 w 4808220"/>
              <a:gd name="connsiteY22" fmla="*/ 982027 h 989708"/>
              <a:gd name="connsiteX23" fmla="*/ 2434590 w 4808220"/>
              <a:gd name="connsiteY23" fmla="*/ 989647 h 989708"/>
              <a:gd name="connsiteX24" fmla="*/ 2560320 w 4808220"/>
              <a:gd name="connsiteY24" fmla="*/ 982980 h 989708"/>
              <a:gd name="connsiteX25" fmla="*/ 3779520 w 4808220"/>
              <a:gd name="connsiteY25" fmla="*/ 975360 h 989708"/>
              <a:gd name="connsiteX26" fmla="*/ 3916680 w 4808220"/>
              <a:gd name="connsiteY26" fmla="*/ 960120 h 989708"/>
              <a:gd name="connsiteX27" fmla="*/ 4061460 w 4808220"/>
              <a:gd name="connsiteY27" fmla="*/ 937260 h 989708"/>
              <a:gd name="connsiteX28" fmla="*/ 4808220 w 4808220"/>
              <a:gd name="connsiteY2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152400 w 4808220"/>
              <a:gd name="connsiteY4" fmla="*/ 190500 h 989708"/>
              <a:gd name="connsiteX5" fmla="*/ 243840 w 4808220"/>
              <a:gd name="connsiteY5" fmla="*/ 297180 h 989708"/>
              <a:gd name="connsiteX6" fmla="*/ 274320 w 4808220"/>
              <a:gd name="connsiteY6" fmla="*/ 335280 h 989708"/>
              <a:gd name="connsiteX7" fmla="*/ 289560 w 4808220"/>
              <a:gd name="connsiteY7" fmla="*/ 365760 h 989708"/>
              <a:gd name="connsiteX8" fmla="*/ 342900 w 4808220"/>
              <a:gd name="connsiteY8" fmla="*/ 419100 h 989708"/>
              <a:gd name="connsiteX9" fmla="*/ 365760 w 4808220"/>
              <a:gd name="connsiteY9" fmla="*/ 441960 h 989708"/>
              <a:gd name="connsiteX10" fmla="*/ 449580 w 4808220"/>
              <a:gd name="connsiteY10" fmla="*/ 495300 h 989708"/>
              <a:gd name="connsiteX11" fmla="*/ 510540 w 4808220"/>
              <a:gd name="connsiteY11" fmla="*/ 541020 h 989708"/>
              <a:gd name="connsiteX12" fmla="*/ 556260 w 4808220"/>
              <a:gd name="connsiteY12" fmla="*/ 594360 h 989708"/>
              <a:gd name="connsiteX13" fmla="*/ 586740 w 4808220"/>
              <a:gd name="connsiteY13" fmla="*/ 617220 h 989708"/>
              <a:gd name="connsiteX14" fmla="*/ 640080 w 4808220"/>
              <a:gd name="connsiteY14" fmla="*/ 647700 h 989708"/>
              <a:gd name="connsiteX15" fmla="*/ 670560 w 4808220"/>
              <a:gd name="connsiteY15" fmla="*/ 662940 h 989708"/>
              <a:gd name="connsiteX16" fmla="*/ 754380 w 4808220"/>
              <a:gd name="connsiteY16" fmla="*/ 716280 h 989708"/>
              <a:gd name="connsiteX17" fmla="*/ 784860 w 4808220"/>
              <a:gd name="connsiteY17" fmla="*/ 739140 h 989708"/>
              <a:gd name="connsiteX18" fmla="*/ 960120 w 4808220"/>
              <a:gd name="connsiteY18" fmla="*/ 807720 h 989708"/>
              <a:gd name="connsiteX19" fmla="*/ 1257300 w 4808220"/>
              <a:gd name="connsiteY19" fmla="*/ 937260 h 989708"/>
              <a:gd name="connsiteX20" fmla="*/ 1386840 w 4808220"/>
              <a:gd name="connsiteY20" fmla="*/ 952500 h 989708"/>
              <a:gd name="connsiteX21" fmla="*/ 1455420 w 4808220"/>
              <a:gd name="connsiteY21" fmla="*/ 982027 h 989708"/>
              <a:gd name="connsiteX22" fmla="*/ 2434590 w 4808220"/>
              <a:gd name="connsiteY22" fmla="*/ 989647 h 989708"/>
              <a:gd name="connsiteX23" fmla="*/ 2560320 w 4808220"/>
              <a:gd name="connsiteY23" fmla="*/ 982980 h 989708"/>
              <a:gd name="connsiteX24" fmla="*/ 3779520 w 4808220"/>
              <a:gd name="connsiteY24" fmla="*/ 975360 h 989708"/>
              <a:gd name="connsiteX25" fmla="*/ 3916680 w 4808220"/>
              <a:gd name="connsiteY25" fmla="*/ 960120 h 989708"/>
              <a:gd name="connsiteX26" fmla="*/ 4061460 w 4808220"/>
              <a:gd name="connsiteY26" fmla="*/ 937260 h 989708"/>
              <a:gd name="connsiteX27" fmla="*/ 4808220 w 4808220"/>
              <a:gd name="connsiteY2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243840 w 4808220"/>
              <a:gd name="connsiteY4" fmla="*/ 297180 h 989708"/>
              <a:gd name="connsiteX5" fmla="*/ 274320 w 4808220"/>
              <a:gd name="connsiteY5" fmla="*/ 335280 h 989708"/>
              <a:gd name="connsiteX6" fmla="*/ 289560 w 4808220"/>
              <a:gd name="connsiteY6" fmla="*/ 365760 h 989708"/>
              <a:gd name="connsiteX7" fmla="*/ 342900 w 4808220"/>
              <a:gd name="connsiteY7" fmla="*/ 419100 h 989708"/>
              <a:gd name="connsiteX8" fmla="*/ 365760 w 4808220"/>
              <a:gd name="connsiteY8" fmla="*/ 441960 h 989708"/>
              <a:gd name="connsiteX9" fmla="*/ 449580 w 4808220"/>
              <a:gd name="connsiteY9" fmla="*/ 495300 h 989708"/>
              <a:gd name="connsiteX10" fmla="*/ 510540 w 4808220"/>
              <a:gd name="connsiteY10" fmla="*/ 541020 h 989708"/>
              <a:gd name="connsiteX11" fmla="*/ 556260 w 4808220"/>
              <a:gd name="connsiteY11" fmla="*/ 594360 h 989708"/>
              <a:gd name="connsiteX12" fmla="*/ 586740 w 4808220"/>
              <a:gd name="connsiteY12" fmla="*/ 617220 h 989708"/>
              <a:gd name="connsiteX13" fmla="*/ 640080 w 4808220"/>
              <a:gd name="connsiteY13" fmla="*/ 647700 h 989708"/>
              <a:gd name="connsiteX14" fmla="*/ 670560 w 4808220"/>
              <a:gd name="connsiteY14" fmla="*/ 662940 h 989708"/>
              <a:gd name="connsiteX15" fmla="*/ 754380 w 4808220"/>
              <a:gd name="connsiteY15" fmla="*/ 716280 h 989708"/>
              <a:gd name="connsiteX16" fmla="*/ 784860 w 4808220"/>
              <a:gd name="connsiteY16" fmla="*/ 739140 h 989708"/>
              <a:gd name="connsiteX17" fmla="*/ 960120 w 4808220"/>
              <a:gd name="connsiteY17" fmla="*/ 807720 h 989708"/>
              <a:gd name="connsiteX18" fmla="*/ 1257300 w 4808220"/>
              <a:gd name="connsiteY18" fmla="*/ 937260 h 989708"/>
              <a:gd name="connsiteX19" fmla="*/ 1386840 w 4808220"/>
              <a:gd name="connsiteY19" fmla="*/ 952500 h 989708"/>
              <a:gd name="connsiteX20" fmla="*/ 1455420 w 4808220"/>
              <a:gd name="connsiteY20" fmla="*/ 982027 h 989708"/>
              <a:gd name="connsiteX21" fmla="*/ 2434590 w 4808220"/>
              <a:gd name="connsiteY21" fmla="*/ 989647 h 989708"/>
              <a:gd name="connsiteX22" fmla="*/ 2560320 w 4808220"/>
              <a:gd name="connsiteY22" fmla="*/ 982980 h 989708"/>
              <a:gd name="connsiteX23" fmla="*/ 3779520 w 4808220"/>
              <a:gd name="connsiteY23" fmla="*/ 975360 h 989708"/>
              <a:gd name="connsiteX24" fmla="*/ 3916680 w 4808220"/>
              <a:gd name="connsiteY24" fmla="*/ 960120 h 989708"/>
              <a:gd name="connsiteX25" fmla="*/ 4061460 w 4808220"/>
              <a:gd name="connsiteY25" fmla="*/ 937260 h 989708"/>
              <a:gd name="connsiteX26" fmla="*/ 4808220 w 4808220"/>
              <a:gd name="connsiteY26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289560 w 4808220"/>
              <a:gd name="connsiteY5" fmla="*/ 365760 h 989708"/>
              <a:gd name="connsiteX6" fmla="*/ 342900 w 4808220"/>
              <a:gd name="connsiteY6" fmla="*/ 419100 h 989708"/>
              <a:gd name="connsiteX7" fmla="*/ 365760 w 4808220"/>
              <a:gd name="connsiteY7" fmla="*/ 441960 h 989708"/>
              <a:gd name="connsiteX8" fmla="*/ 449580 w 4808220"/>
              <a:gd name="connsiteY8" fmla="*/ 495300 h 989708"/>
              <a:gd name="connsiteX9" fmla="*/ 510540 w 4808220"/>
              <a:gd name="connsiteY9" fmla="*/ 541020 h 989708"/>
              <a:gd name="connsiteX10" fmla="*/ 556260 w 4808220"/>
              <a:gd name="connsiteY10" fmla="*/ 594360 h 989708"/>
              <a:gd name="connsiteX11" fmla="*/ 586740 w 4808220"/>
              <a:gd name="connsiteY11" fmla="*/ 617220 h 989708"/>
              <a:gd name="connsiteX12" fmla="*/ 640080 w 4808220"/>
              <a:gd name="connsiteY12" fmla="*/ 647700 h 989708"/>
              <a:gd name="connsiteX13" fmla="*/ 670560 w 4808220"/>
              <a:gd name="connsiteY13" fmla="*/ 662940 h 989708"/>
              <a:gd name="connsiteX14" fmla="*/ 754380 w 4808220"/>
              <a:gd name="connsiteY14" fmla="*/ 716280 h 989708"/>
              <a:gd name="connsiteX15" fmla="*/ 784860 w 4808220"/>
              <a:gd name="connsiteY15" fmla="*/ 739140 h 989708"/>
              <a:gd name="connsiteX16" fmla="*/ 960120 w 4808220"/>
              <a:gd name="connsiteY16" fmla="*/ 807720 h 989708"/>
              <a:gd name="connsiteX17" fmla="*/ 1257300 w 4808220"/>
              <a:gd name="connsiteY17" fmla="*/ 937260 h 989708"/>
              <a:gd name="connsiteX18" fmla="*/ 1386840 w 4808220"/>
              <a:gd name="connsiteY18" fmla="*/ 952500 h 989708"/>
              <a:gd name="connsiteX19" fmla="*/ 1455420 w 4808220"/>
              <a:gd name="connsiteY19" fmla="*/ 982027 h 989708"/>
              <a:gd name="connsiteX20" fmla="*/ 2434590 w 4808220"/>
              <a:gd name="connsiteY20" fmla="*/ 989647 h 989708"/>
              <a:gd name="connsiteX21" fmla="*/ 2560320 w 4808220"/>
              <a:gd name="connsiteY21" fmla="*/ 982980 h 989708"/>
              <a:gd name="connsiteX22" fmla="*/ 3779520 w 4808220"/>
              <a:gd name="connsiteY22" fmla="*/ 975360 h 989708"/>
              <a:gd name="connsiteX23" fmla="*/ 3916680 w 4808220"/>
              <a:gd name="connsiteY23" fmla="*/ 960120 h 989708"/>
              <a:gd name="connsiteX24" fmla="*/ 4061460 w 4808220"/>
              <a:gd name="connsiteY24" fmla="*/ 937260 h 989708"/>
              <a:gd name="connsiteX25" fmla="*/ 4808220 w 4808220"/>
              <a:gd name="connsiteY25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365760 w 4808220"/>
              <a:gd name="connsiteY6" fmla="*/ 441960 h 989708"/>
              <a:gd name="connsiteX7" fmla="*/ 449580 w 4808220"/>
              <a:gd name="connsiteY7" fmla="*/ 495300 h 989708"/>
              <a:gd name="connsiteX8" fmla="*/ 510540 w 4808220"/>
              <a:gd name="connsiteY8" fmla="*/ 541020 h 989708"/>
              <a:gd name="connsiteX9" fmla="*/ 556260 w 4808220"/>
              <a:gd name="connsiteY9" fmla="*/ 594360 h 989708"/>
              <a:gd name="connsiteX10" fmla="*/ 586740 w 4808220"/>
              <a:gd name="connsiteY10" fmla="*/ 617220 h 989708"/>
              <a:gd name="connsiteX11" fmla="*/ 640080 w 4808220"/>
              <a:gd name="connsiteY11" fmla="*/ 647700 h 989708"/>
              <a:gd name="connsiteX12" fmla="*/ 670560 w 4808220"/>
              <a:gd name="connsiteY12" fmla="*/ 662940 h 989708"/>
              <a:gd name="connsiteX13" fmla="*/ 754380 w 4808220"/>
              <a:gd name="connsiteY13" fmla="*/ 716280 h 989708"/>
              <a:gd name="connsiteX14" fmla="*/ 784860 w 4808220"/>
              <a:gd name="connsiteY14" fmla="*/ 739140 h 989708"/>
              <a:gd name="connsiteX15" fmla="*/ 960120 w 4808220"/>
              <a:gd name="connsiteY15" fmla="*/ 807720 h 989708"/>
              <a:gd name="connsiteX16" fmla="*/ 1257300 w 4808220"/>
              <a:gd name="connsiteY16" fmla="*/ 937260 h 989708"/>
              <a:gd name="connsiteX17" fmla="*/ 1386840 w 4808220"/>
              <a:gd name="connsiteY17" fmla="*/ 952500 h 989708"/>
              <a:gd name="connsiteX18" fmla="*/ 1455420 w 4808220"/>
              <a:gd name="connsiteY18" fmla="*/ 982027 h 989708"/>
              <a:gd name="connsiteX19" fmla="*/ 2434590 w 4808220"/>
              <a:gd name="connsiteY19" fmla="*/ 989647 h 989708"/>
              <a:gd name="connsiteX20" fmla="*/ 2560320 w 4808220"/>
              <a:gd name="connsiteY20" fmla="*/ 982980 h 989708"/>
              <a:gd name="connsiteX21" fmla="*/ 3779520 w 4808220"/>
              <a:gd name="connsiteY21" fmla="*/ 975360 h 989708"/>
              <a:gd name="connsiteX22" fmla="*/ 3916680 w 4808220"/>
              <a:gd name="connsiteY22" fmla="*/ 960120 h 989708"/>
              <a:gd name="connsiteX23" fmla="*/ 4061460 w 4808220"/>
              <a:gd name="connsiteY23" fmla="*/ 937260 h 989708"/>
              <a:gd name="connsiteX24" fmla="*/ 4808220 w 4808220"/>
              <a:gd name="connsiteY24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586740 w 4808220"/>
              <a:gd name="connsiteY9" fmla="*/ 617220 h 989708"/>
              <a:gd name="connsiteX10" fmla="*/ 640080 w 4808220"/>
              <a:gd name="connsiteY10" fmla="*/ 647700 h 989708"/>
              <a:gd name="connsiteX11" fmla="*/ 670560 w 4808220"/>
              <a:gd name="connsiteY11" fmla="*/ 662940 h 989708"/>
              <a:gd name="connsiteX12" fmla="*/ 754380 w 4808220"/>
              <a:gd name="connsiteY12" fmla="*/ 716280 h 989708"/>
              <a:gd name="connsiteX13" fmla="*/ 784860 w 4808220"/>
              <a:gd name="connsiteY13" fmla="*/ 739140 h 989708"/>
              <a:gd name="connsiteX14" fmla="*/ 960120 w 4808220"/>
              <a:gd name="connsiteY14" fmla="*/ 807720 h 989708"/>
              <a:gd name="connsiteX15" fmla="*/ 1257300 w 4808220"/>
              <a:gd name="connsiteY15" fmla="*/ 937260 h 989708"/>
              <a:gd name="connsiteX16" fmla="*/ 1386840 w 4808220"/>
              <a:gd name="connsiteY16" fmla="*/ 952500 h 989708"/>
              <a:gd name="connsiteX17" fmla="*/ 1455420 w 4808220"/>
              <a:gd name="connsiteY17" fmla="*/ 982027 h 989708"/>
              <a:gd name="connsiteX18" fmla="*/ 2434590 w 4808220"/>
              <a:gd name="connsiteY18" fmla="*/ 989647 h 989708"/>
              <a:gd name="connsiteX19" fmla="*/ 2560320 w 4808220"/>
              <a:gd name="connsiteY19" fmla="*/ 982980 h 989708"/>
              <a:gd name="connsiteX20" fmla="*/ 3779520 w 4808220"/>
              <a:gd name="connsiteY20" fmla="*/ 975360 h 989708"/>
              <a:gd name="connsiteX21" fmla="*/ 3916680 w 4808220"/>
              <a:gd name="connsiteY21" fmla="*/ 960120 h 989708"/>
              <a:gd name="connsiteX22" fmla="*/ 4061460 w 4808220"/>
              <a:gd name="connsiteY22" fmla="*/ 937260 h 989708"/>
              <a:gd name="connsiteX23" fmla="*/ 4808220 w 4808220"/>
              <a:gd name="connsiteY23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670560 w 4808220"/>
              <a:gd name="connsiteY10" fmla="*/ 662940 h 989708"/>
              <a:gd name="connsiteX11" fmla="*/ 754380 w 4808220"/>
              <a:gd name="connsiteY11" fmla="*/ 716280 h 989708"/>
              <a:gd name="connsiteX12" fmla="*/ 784860 w 4808220"/>
              <a:gd name="connsiteY12" fmla="*/ 739140 h 989708"/>
              <a:gd name="connsiteX13" fmla="*/ 960120 w 4808220"/>
              <a:gd name="connsiteY13" fmla="*/ 807720 h 989708"/>
              <a:gd name="connsiteX14" fmla="*/ 1257300 w 4808220"/>
              <a:gd name="connsiteY14" fmla="*/ 937260 h 989708"/>
              <a:gd name="connsiteX15" fmla="*/ 1386840 w 4808220"/>
              <a:gd name="connsiteY15" fmla="*/ 952500 h 989708"/>
              <a:gd name="connsiteX16" fmla="*/ 1455420 w 4808220"/>
              <a:gd name="connsiteY16" fmla="*/ 982027 h 989708"/>
              <a:gd name="connsiteX17" fmla="*/ 2434590 w 4808220"/>
              <a:gd name="connsiteY17" fmla="*/ 989647 h 989708"/>
              <a:gd name="connsiteX18" fmla="*/ 2560320 w 4808220"/>
              <a:gd name="connsiteY18" fmla="*/ 982980 h 989708"/>
              <a:gd name="connsiteX19" fmla="*/ 3779520 w 4808220"/>
              <a:gd name="connsiteY19" fmla="*/ 975360 h 989708"/>
              <a:gd name="connsiteX20" fmla="*/ 3916680 w 4808220"/>
              <a:gd name="connsiteY20" fmla="*/ 960120 h 989708"/>
              <a:gd name="connsiteX21" fmla="*/ 4061460 w 4808220"/>
              <a:gd name="connsiteY21" fmla="*/ 937260 h 989708"/>
              <a:gd name="connsiteX22" fmla="*/ 4808220 w 4808220"/>
              <a:gd name="connsiteY22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784860 w 4808220"/>
              <a:gd name="connsiteY11" fmla="*/ 739140 h 989708"/>
              <a:gd name="connsiteX12" fmla="*/ 960120 w 4808220"/>
              <a:gd name="connsiteY12" fmla="*/ 807720 h 989708"/>
              <a:gd name="connsiteX13" fmla="*/ 1257300 w 4808220"/>
              <a:gd name="connsiteY13" fmla="*/ 937260 h 989708"/>
              <a:gd name="connsiteX14" fmla="*/ 1386840 w 4808220"/>
              <a:gd name="connsiteY14" fmla="*/ 952500 h 989708"/>
              <a:gd name="connsiteX15" fmla="*/ 1455420 w 4808220"/>
              <a:gd name="connsiteY15" fmla="*/ 982027 h 989708"/>
              <a:gd name="connsiteX16" fmla="*/ 2434590 w 4808220"/>
              <a:gd name="connsiteY16" fmla="*/ 989647 h 989708"/>
              <a:gd name="connsiteX17" fmla="*/ 2560320 w 4808220"/>
              <a:gd name="connsiteY17" fmla="*/ 982980 h 989708"/>
              <a:gd name="connsiteX18" fmla="*/ 3779520 w 4808220"/>
              <a:gd name="connsiteY18" fmla="*/ 975360 h 989708"/>
              <a:gd name="connsiteX19" fmla="*/ 3916680 w 4808220"/>
              <a:gd name="connsiteY19" fmla="*/ 960120 h 989708"/>
              <a:gd name="connsiteX20" fmla="*/ 4061460 w 4808220"/>
              <a:gd name="connsiteY20" fmla="*/ 937260 h 989708"/>
              <a:gd name="connsiteX21" fmla="*/ 4808220 w 4808220"/>
              <a:gd name="connsiteY21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57300 w 4808220"/>
              <a:gd name="connsiteY12" fmla="*/ 937260 h 989708"/>
              <a:gd name="connsiteX13" fmla="*/ 1386840 w 4808220"/>
              <a:gd name="connsiteY13" fmla="*/ 952500 h 989708"/>
              <a:gd name="connsiteX14" fmla="*/ 1455420 w 4808220"/>
              <a:gd name="connsiteY14" fmla="*/ 982027 h 989708"/>
              <a:gd name="connsiteX15" fmla="*/ 2434590 w 4808220"/>
              <a:gd name="connsiteY15" fmla="*/ 989647 h 989708"/>
              <a:gd name="connsiteX16" fmla="*/ 2560320 w 4808220"/>
              <a:gd name="connsiteY16" fmla="*/ 982980 h 989708"/>
              <a:gd name="connsiteX17" fmla="*/ 3779520 w 4808220"/>
              <a:gd name="connsiteY17" fmla="*/ 975360 h 989708"/>
              <a:gd name="connsiteX18" fmla="*/ 3916680 w 4808220"/>
              <a:gd name="connsiteY18" fmla="*/ 960120 h 989708"/>
              <a:gd name="connsiteX19" fmla="*/ 4061460 w 4808220"/>
              <a:gd name="connsiteY19" fmla="*/ 937260 h 989708"/>
              <a:gd name="connsiteX20" fmla="*/ 4808220 w 4808220"/>
              <a:gd name="connsiteY20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57300 w 4808220"/>
              <a:gd name="connsiteY12" fmla="*/ 937260 h 989708"/>
              <a:gd name="connsiteX13" fmla="*/ 1455420 w 4808220"/>
              <a:gd name="connsiteY13" fmla="*/ 982027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00150 w 4808220"/>
              <a:gd name="connsiteY12" fmla="*/ 918210 h 989708"/>
              <a:gd name="connsiteX13" fmla="*/ 1455420 w 4808220"/>
              <a:gd name="connsiteY13" fmla="*/ 982027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00150 w 4808220"/>
              <a:gd name="connsiteY12" fmla="*/ 918210 h 989708"/>
              <a:gd name="connsiteX13" fmla="*/ 1455420 w 4808220"/>
              <a:gd name="connsiteY13" fmla="*/ 982027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00150 w 4808220"/>
              <a:gd name="connsiteY12" fmla="*/ 918210 h 989708"/>
              <a:gd name="connsiteX13" fmla="*/ 1464945 w 4808220"/>
              <a:gd name="connsiteY13" fmla="*/ 977265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970 w 4809190"/>
              <a:gd name="connsiteY0" fmla="*/ 0 h 989708"/>
              <a:gd name="connsiteX1" fmla="*/ 23830 w 4809190"/>
              <a:gd name="connsiteY1" fmla="*/ 45720 h 989708"/>
              <a:gd name="connsiteX2" fmla="*/ 244810 w 4809190"/>
              <a:gd name="connsiteY2" fmla="*/ 297180 h 989708"/>
              <a:gd name="connsiteX3" fmla="*/ 275290 w 4809190"/>
              <a:gd name="connsiteY3" fmla="*/ 335280 h 989708"/>
              <a:gd name="connsiteX4" fmla="*/ 343870 w 4809190"/>
              <a:gd name="connsiteY4" fmla="*/ 419100 h 989708"/>
              <a:gd name="connsiteX5" fmla="*/ 450550 w 4809190"/>
              <a:gd name="connsiteY5" fmla="*/ 495300 h 989708"/>
              <a:gd name="connsiteX6" fmla="*/ 511510 w 4809190"/>
              <a:gd name="connsiteY6" fmla="*/ 541020 h 989708"/>
              <a:gd name="connsiteX7" fmla="*/ 557230 w 4809190"/>
              <a:gd name="connsiteY7" fmla="*/ 594360 h 989708"/>
              <a:gd name="connsiteX8" fmla="*/ 641050 w 4809190"/>
              <a:gd name="connsiteY8" fmla="*/ 647700 h 989708"/>
              <a:gd name="connsiteX9" fmla="*/ 755350 w 4809190"/>
              <a:gd name="connsiteY9" fmla="*/ 716280 h 989708"/>
              <a:gd name="connsiteX10" fmla="*/ 961090 w 4809190"/>
              <a:gd name="connsiteY10" fmla="*/ 807720 h 989708"/>
              <a:gd name="connsiteX11" fmla="*/ 1201120 w 4809190"/>
              <a:gd name="connsiteY11" fmla="*/ 918210 h 989708"/>
              <a:gd name="connsiteX12" fmla="*/ 1465915 w 4809190"/>
              <a:gd name="connsiteY12" fmla="*/ 977265 h 989708"/>
              <a:gd name="connsiteX13" fmla="*/ 2435560 w 4809190"/>
              <a:gd name="connsiteY13" fmla="*/ 989647 h 989708"/>
              <a:gd name="connsiteX14" fmla="*/ 2561290 w 4809190"/>
              <a:gd name="connsiteY14" fmla="*/ 982980 h 989708"/>
              <a:gd name="connsiteX15" fmla="*/ 3780490 w 4809190"/>
              <a:gd name="connsiteY15" fmla="*/ 975360 h 989708"/>
              <a:gd name="connsiteX16" fmla="*/ 3917650 w 4809190"/>
              <a:gd name="connsiteY16" fmla="*/ 960120 h 989708"/>
              <a:gd name="connsiteX17" fmla="*/ 4062430 w 4809190"/>
              <a:gd name="connsiteY17" fmla="*/ 937260 h 989708"/>
              <a:gd name="connsiteX18" fmla="*/ 4809190 w 4809190"/>
              <a:gd name="connsiteY1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42900 w 4808220"/>
              <a:gd name="connsiteY4" fmla="*/ 419100 h 989708"/>
              <a:gd name="connsiteX5" fmla="*/ 449580 w 4808220"/>
              <a:gd name="connsiteY5" fmla="*/ 495300 h 989708"/>
              <a:gd name="connsiteX6" fmla="*/ 510540 w 4808220"/>
              <a:gd name="connsiteY6" fmla="*/ 541020 h 989708"/>
              <a:gd name="connsiteX7" fmla="*/ 556260 w 4808220"/>
              <a:gd name="connsiteY7" fmla="*/ 594360 h 989708"/>
              <a:gd name="connsiteX8" fmla="*/ 640080 w 4808220"/>
              <a:gd name="connsiteY8" fmla="*/ 647700 h 989708"/>
              <a:gd name="connsiteX9" fmla="*/ 754380 w 4808220"/>
              <a:gd name="connsiteY9" fmla="*/ 716280 h 989708"/>
              <a:gd name="connsiteX10" fmla="*/ 960120 w 4808220"/>
              <a:gd name="connsiteY10" fmla="*/ 807720 h 989708"/>
              <a:gd name="connsiteX11" fmla="*/ 1200150 w 4808220"/>
              <a:gd name="connsiteY11" fmla="*/ 918210 h 989708"/>
              <a:gd name="connsiteX12" fmla="*/ 1464945 w 4808220"/>
              <a:gd name="connsiteY12" fmla="*/ 977265 h 989708"/>
              <a:gd name="connsiteX13" fmla="*/ 2434590 w 4808220"/>
              <a:gd name="connsiteY13" fmla="*/ 989647 h 989708"/>
              <a:gd name="connsiteX14" fmla="*/ 2560320 w 4808220"/>
              <a:gd name="connsiteY14" fmla="*/ 982980 h 989708"/>
              <a:gd name="connsiteX15" fmla="*/ 3779520 w 4808220"/>
              <a:gd name="connsiteY15" fmla="*/ 975360 h 989708"/>
              <a:gd name="connsiteX16" fmla="*/ 3916680 w 4808220"/>
              <a:gd name="connsiteY16" fmla="*/ 960120 h 989708"/>
              <a:gd name="connsiteX17" fmla="*/ 4061460 w 4808220"/>
              <a:gd name="connsiteY17" fmla="*/ 937260 h 989708"/>
              <a:gd name="connsiteX18" fmla="*/ 4808220 w 4808220"/>
              <a:gd name="connsiteY1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10540 w 4808220"/>
              <a:gd name="connsiteY6" fmla="*/ 541020 h 989708"/>
              <a:gd name="connsiteX7" fmla="*/ 556260 w 4808220"/>
              <a:gd name="connsiteY7" fmla="*/ 594360 h 989708"/>
              <a:gd name="connsiteX8" fmla="*/ 640080 w 4808220"/>
              <a:gd name="connsiteY8" fmla="*/ 647700 h 989708"/>
              <a:gd name="connsiteX9" fmla="*/ 754380 w 4808220"/>
              <a:gd name="connsiteY9" fmla="*/ 716280 h 989708"/>
              <a:gd name="connsiteX10" fmla="*/ 960120 w 4808220"/>
              <a:gd name="connsiteY10" fmla="*/ 807720 h 989708"/>
              <a:gd name="connsiteX11" fmla="*/ 1200150 w 4808220"/>
              <a:gd name="connsiteY11" fmla="*/ 918210 h 989708"/>
              <a:gd name="connsiteX12" fmla="*/ 1464945 w 4808220"/>
              <a:gd name="connsiteY12" fmla="*/ 977265 h 989708"/>
              <a:gd name="connsiteX13" fmla="*/ 2434590 w 4808220"/>
              <a:gd name="connsiteY13" fmla="*/ 989647 h 989708"/>
              <a:gd name="connsiteX14" fmla="*/ 2560320 w 4808220"/>
              <a:gd name="connsiteY14" fmla="*/ 982980 h 989708"/>
              <a:gd name="connsiteX15" fmla="*/ 3779520 w 4808220"/>
              <a:gd name="connsiteY15" fmla="*/ 975360 h 989708"/>
              <a:gd name="connsiteX16" fmla="*/ 3916680 w 4808220"/>
              <a:gd name="connsiteY16" fmla="*/ 960120 h 989708"/>
              <a:gd name="connsiteX17" fmla="*/ 4061460 w 4808220"/>
              <a:gd name="connsiteY17" fmla="*/ 937260 h 989708"/>
              <a:gd name="connsiteX18" fmla="*/ 4808220 w 4808220"/>
              <a:gd name="connsiteY1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56260 w 4808220"/>
              <a:gd name="connsiteY6" fmla="*/ 594360 h 989708"/>
              <a:gd name="connsiteX7" fmla="*/ 640080 w 4808220"/>
              <a:gd name="connsiteY7" fmla="*/ 647700 h 989708"/>
              <a:gd name="connsiteX8" fmla="*/ 754380 w 4808220"/>
              <a:gd name="connsiteY8" fmla="*/ 71628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54380 w 4808220"/>
              <a:gd name="connsiteY8" fmla="*/ 71628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97242 w 4808220"/>
              <a:gd name="connsiteY8" fmla="*/ 73533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97242 w 4808220"/>
              <a:gd name="connsiteY8" fmla="*/ 73533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97242 w 4808220"/>
              <a:gd name="connsiteY8" fmla="*/ 73533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589020 w 4808220"/>
              <a:gd name="connsiteY14" fmla="*/ 965835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5127307"/>
              <a:gd name="connsiteY0" fmla="*/ 0 h 1585021"/>
              <a:gd name="connsiteX1" fmla="*/ 341947 w 5127307"/>
              <a:gd name="connsiteY1" fmla="*/ 641033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341947 w 5127307"/>
              <a:gd name="connsiteY1" fmla="*/ 641033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341947 w 5127307"/>
              <a:gd name="connsiteY1" fmla="*/ 641033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13360 w 5127307"/>
              <a:gd name="connsiteY1" fmla="*/ 426721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13360 w 5127307"/>
              <a:gd name="connsiteY1" fmla="*/ 426721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424815 w 5127307"/>
              <a:gd name="connsiteY2" fmla="*/ 749618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424815 w 5127307"/>
              <a:gd name="connsiteY2" fmla="*/ 749618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367665 w 5127307"/>
              <a:gd name="connsiteY2" fmla="*/ 65913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67665 w 5127307"/>
              <a:gd name="connsiteY2" fmla="*/ 65913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67665 w 5127307"/>
              <a:gd name="connsiteY2" fmla="*/ 65913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53377 w 5127307"/>
              <a:gd name="connsiteY2" fmla="*/ 64008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53377 w 5127307"/>
              <a:gd name="connsiteY2" fmla="*/ 640080 h 1585021"/>
              <a:gd name="connsiteX3" fmla="*/ 493394 w 5127307"/>
              <a:gd name="connsiteY3" fmla="*/ 830581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53377 w 5127307"/>
              <a:gd name="connsiteY2" fmla="*/ 640080 h 1585021"/>
              <a:gd name="connsiteX3" fmla="*/ 493394 w 5127307"/>
              <a:gd name="connsiteY3" fmla="*/ 830581 h 1585021"/>
              <a:gd name="connsiteX4" fmla="*/ 628649 w 5127307"/>
              <a:gd name="connsiteY4" fmla="*/ 985838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127307" h="1585021">
                <a:moveTo>
                  <a:pt x="0" y="0"/>
                </a:moveTo>
                <a:cubicBezTo>
                  <a:pt x="31432" y="105727"/>
                  <a:pt x="106839" y="267654"/>
                  <a:pt x="165735" y="374334"/>
                </a:cubicBezTo>
                <a:cubicBezTo>
                  <a:pt x="224631" y="481014"/>
                  <a:pt x="298767" y="564039"/>
                  <a:pt x="353377" y="640080"/>
                </a:cubicBezTo>
                <a:cubicBezTo>
                  <a:pt x="407987" y="716121"/>
                  <a:pt x="447515" y="772955"/>
                  <a:pt x="493394" y="830581"/>
                </a:cubicBezTo>
                <a:cubicBezTo>
                  <a:pt x="539273" y="888207"/>
                  <a:pt x="582770" y="942499"/>
                  <a:pt x="628649" y="985838"/>
                </a:cubicBezTo>
                <a:cubicBezTo>
                  <a:pt x="674528" y="1029177"/>
                  <a:pt x="729138" y="1059816"/>
                  <a:pt x="768667" y="1090613"/>
                </a:cubicBezTo>
                <a:cubicBezTo>
                  <a:pt x="808196" y="1121410"/>
                  <a:pt x="834072" y="1145223"/>
                  <a:pt x="865822" y="1170623"/>
                </a:cubicBezTo>
                <a:cubicBezTo>
                  <a:pt x="897572" y="1196023"/>
                  <a:pt x="917416" y="1216343"/>
                  <a:pt x="959167" y="1243013"/>
                </a:cubicBezTo>
                <a:cubicBezTo>
                  <a:pt x="1000918" y="1269683"/>
                  <a:pt x="1062989" y="1303973"/>
                  <a:pt x="1116329" y="1330643"/>
                </a:cubicBezTo>
                <a:cubicBezTo>
                  <a:pt x="1169669" y="1357313"/>
                  <a:pt x="1195387" y="1366203"/>
                  <a:pt x="1279207" y="1403033"/>
                </a:cubicBezTo>
                <a:cubicBezTo>
                  <a:pt x="1363027" y="1439863"/>
                  <a:pt x="1433928" y="1489031"/>
                  <a:pt x="1519237" y="1513523"/>
                </a:cubicBezTo>
                <a:cubicBezTo>
                  <a:pt x="1617662" y="1541781"/>
                  <a:pt x="1578292" y="1560672"/>
                  <a:pt x="1784032" y="1572578"/>
                </a:cubicBezTo>
                <a:cubicBezTo>
                  <a:pt x="1989772" y="1584484"/>
                  <a:pt x="2569527" y="1582420"/>
                  <a:pt x="2753677" y="1584960"/>
                </a:cubicBezTo>
                <a:cubicBezTo>
                  <a:pt x="2789318" y="1585770"/>
                  <a:pt x="2843756" y="1578293"/>
                  <a:pt x="2879407" y="1578293"/>
                </a:cubicBezTo>
                <a:lnTo>
                  <a:pt x="3908107" y="1561148"/>
                </a:lnTo>
                <a:cubicBezTo>
                  <a:pt x="3953827" y="1556068"/>
                  <a:pt x="4157027" y="1560196"/>
                  <a:pt x="4235767" y="1555433"/>
                </a:cubicBezTo>
                <a:cubicBezTo>
                  <a:pt x="4314507" y="1550671"/>
                  <a:pt x="4331689" y="1532573"/>
                  <a:pt x="4380547" y="1532573"/>
                </a:cubicBezTo>
                <a:lnTo>
                  <a:pt x="5127307" y="1532573"/>
                </a:ln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  <a:headEnd type="oval"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grpSp>
        <p:nvGrpSpPr>
          <p:cNvPr id="12" name="Group 642">
            <a:extLst>
              <a:ext uri="{FF2B5EF4-FFF2-40B4-BE49-F238E27FC236}">
                <a16:creationId xmlns:a16="http://schemas.microsoft.com/office/drawing/2014/main" id="{36626B09-6AF5-9826-39AB-5D7DE979F042}"/>
              </a:ext>
            </a:extLst>
          </p:cNvPr>
          <p:cNvGrpSpPr/>
          <p:nvPr/>
        </p:nvGrpSpPr>
        <p:grpSpPr>
          <a:xfrm>
            <a:off x="249740" y="1486242"/>
            <a:ext cx="1231831" cy="1231831"/>
            <a:chOff x="3771899" y="1730444"/>
            <a:chExt cx="1231831" cy="1231831"/>
          </a:xfrm>
        </p:grpSpPr>
        <p:grpSp>
          <p:nvGrpSpPr>
            <p:cNvPr id="13" name="Group 588">
              <a:extLst>
                <a:ext uri="{FF2B5EF4-FFF2-40B4-BE49-F238E27FC236}">
                  <a16:creationId xmlns:a16="http://schemas.microsoft.com/office/drawing/2014/main" id="{060AA774-AA74-2020-47B0-ABD8F499E558}"/>
                </a:ext>
              </a:extLst>
            </p:cNvPr>
            <p:cNvGrpSpPr/>
            <p:nvPr/>
          </p:nvGrpSpPr>
          <p:grpSpPr>
            <a:xfrm>
              <a:off x="3771899" y="1730444"/>
              <a:ext cx="1231831" cy="1231831"/>
              <a:chOff x="352424" y="1597094"/>
              <a:chExt cx="1448637" cy="1448637"/>
            </a:xfrm>
          </p:grpSpPr>
          <p:sp>
            <p:nvSpPr>
              <p:cNvPr id="16" name="Oval 586">
                <a:extLst>
                  <a:ext uri="{FF2B5EF4-FFF2-40B4-BE49-F238E27FC236}">
                    <a16:creationId xmlns:a16="http://schemas.microsoft.com/office/drawing/2014/main" id="{08DF5DE2-F969-E96A-2DC5-01673591A780}"/>
                  </a:ext>
                </a:extLst>
              </p:cNvPr>
              <p:cNvSpPr/>
              <p:nvPr/>
            </p:nvSpPr>
            <p:spPr>
              <a:xfrm>
                <a:off x="352424" y="1597094"/>
                <a:ext cx="1448637" cy="144863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" name="Oval 587">
                <a:extLst>
                  <a:ext uri="{FF2B5EF4-FFF2-40B4-BE49-F238E27FC236}">
                    <a16:creationId xmlns:a16="http://schemas.microsoft.com/office/drawing/2014/main" id="{AE08DD03-C80A-6864-5FE0-8D7A465BAFE5}"/>
                  </a:ext>
                </a:extLst>
              </p:cNvPr>
              <p:cNvSpPr/>
              <p:nvPr/>
            </p:nvSpPr>
            <p:spPr>
              <a:xfrm>
                <a:off x="477086" y="1721757"/>
                <a:ext cx="1199314" cy="1199312"/>
              </a:xfrm>
              <a:prstGeom prst="ellipse">
                <a:avLst/>
              </a:pr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4" name="Freeform: Shape 591">
              <a:extLst>
                <a:ext uri="{FF2B5EF4-FFF2-40B4-BE49-F238E27FC236}">
                  <a16:creationId xmlns:a16="http://schemas.microsoft.com/office/drawing/2014/main" id="{44989313-30DB-F86A-52A0-667744ED8501}"/>
                </a:ext>
              </a:extLst>
            </p:cNvPr>
            <p:cNvSpPr/>
            <p:nvPr/>
          </p:nvSpPr>
          <p:spPr>
            <a:xfrm>
              <a:off x="4098465" y="2127284"/>
              <a:ext cx="578698" cy="438150"/>
            </a:xfrm>
            <a:custGeom>
              <a:avLst/>
              <a:gdLst/>
              <a:ahLst/>
              <a:cxnLst/>
              <a:rect l="l" t="t" r="r" b="b"/>
              <a:pathLst>
                <a:path w="75629" h="57261">
                  <a:moveTo>
                    <a:pt x="70210" y="0"/>
                  </a:moveTo>
                  <a:cubicBezTo>
                    <a:pt x="71401" y="0"/>
                    <a:pt x="72405" y="55"/>
                    <a:pt x="73224" y="167"/>
                  </a:cubicBezTo>
                  <a:cubicBezTo>
                    <a:pt x="74042" y="279"/>
                    <a:pt x="74638" y="465"/>
                    <a:pt x="75010" y="725"/>
                  </a:cubicBezTo>
                  <a:cubicBezTo>
                    <a:pt x="75382" y="985"/>
                    <a:pt x="75587" y="1339"/>
                    <a:pt x="75624" y="1785"/>
                  </a:cubicBezTo>
                  <a:cubicBezTo>
                    <a:pt x="75661" y="2232"/>
                    <a:pt x="75494" y="2753"/>
                    <a:pt x="75121" y="3348"/>
                  </a:cubicBezTo>
                  <a:lnTo>
                    <a:pt x="60499" y="34044"/>
                  </a:lnTo>
                  <a:lnTo>
                    <a:pt x="60499" y="48108"/>
                  </a:lnTo>
                  <a:cubicBezTo>
                    <a:pt x="60499" y="50043"/>
                    <a:pt x="60294" y="51606"/>
                    <a:pt x="59885" y="52796"/>
                  </a:cubicBezTo>
                  <a:cubicBezTo>
                    <a:pt x="59476" y="53987"/>
                    <a:pt x="58843" y="54917"/>
                    <a:pt x="57988" y="55587"/>
                  </a:cubicBezTo>
                  <a:cubicBezTo>
                    <a:pt x="57132" y="56257"/>
                    <a:pt x="56053" y="56703"/>
                    <a:pt x="54751" y="56926"/>
                  </a:cubicBezTo>
                  <a:cubicBezTo>
                    <a:pt x="53448" y="57150"/>
                    <a:pt x="51904" y="57261"/>
                    <a:pt x="50118" y="57261"/>
                  </a:cubicBezTo>
                  <a:cubicBezTo>
                    <a:pt x="48332" y="57261"/>
                    <a:pt x="46807" y="57150"/>
                    <a:pt x="45542" y="56926"/>
                  </a:cubicBezTo>
                  <a:cubicBezTo>
                    <a:pt x="44277" y="56703"/>
                    <a:pt x="43235" y="56257"/>
                    <a:pt x="42416" y="55587"/>
                  </a:cubicBezTo>
                  <a:cubicBezTo>
                    <a:pt x="41598" y="54917"/>
                    <a:pt x="40984" y="53987"/>
                    <a:pt x="40575" y="52796"/>
                  </a:cubicBezTo>
                  <a:cubicBezTo>
                    <a:pt x="40165" y="51606"/>
                    <a:pt x="39961" y="50043"/>
                    <a:pt x="39961" y="48108"/>
                  </a:cubicBezTo>
                  <a:cubicBezTo>
                    <a:pt x="39961" y="45876"/>
                    <a:pt x="40072" y="43811"/>
                    <a:pt x="40296" y="41913"/>
                  </a:cubicBezTo>
                  <a:cubicBezTo>
                    <a:pt x="40519" y="40016"/>
                    <a:pt x="40872" y="38211"/>
                    <a:pt x="41356" y="36500"/>
                  </a:cubicBezTo>
                  <a:cubicBezTo>
                    <a:pt x="41840" y="34788"/>
                    <a:pt x="42509" y="33095"/>
                    <a:pt x="43365" y="31421"/>
                  </a:cubicBezTo>
                  <a:cubicBezTo>
                    <a:pt x="44221" y="29747"/>
                    <a:pt x="45244" y="27979"/>
                    <a:pt x="46435" y="26119"/>
                  </a:cubicBezTo>
                  <a:lnTo>
                    <a:pt x="61504" y="3237"/>
                  </a:lnTo>
                  <a:cubicBezTo>
                    <a:pt x="61876" y="2641"/>
                    <a:pt x="62285" y="2158"/>
                    <a:pt x="62732" y="1785"/>
                  </a:cubicBezTo>
                  <a:cubicBezTo>
                    <a:pt x="63178" y="1413"/>
                    <a:pt x="63736" y="1097"/>
                    <a:pt x="64406" y="837"/>
                  </a:cubicBezTo>
                  <a:cubicBezTo>
                    <a:pt x="65076" y="576"/>
                    <a:pt x="65876" y="372"/>
                    <a:pt x="66806" y="223"/>
                  </a:cubicBezTo>
                  <a:cubicBezTo>
                    <a:pt x="67736" y="74"/>
                    <a:pt x="68871" y="0"/>
                    <a:pt x="70210" y="0"/>
                  </a:cubicBezTo>
                  <a:close/>
                  <a:moveTo>
                    <a:pt x="30250" y="0"/>
                  </a:moveTo>
                  <a:cubicBezTo>
                    <a:pt x="31440" y="0"/>
                    <a:pt x="32426" y="55"/>
                    <a:pt x="33208" y="167"/>
                  </a:cubicBezTo>
                  <a:cubicBezTo>
                    <a:pt x="33989" y="279"/>
                    <a:pt x="34584" y="465"/>
                    <a:pt x="34994" y="725"/>
                  </a:cubicBezTo>
                  <a:cubicBezTo>
                    <a:pt x="35403" y="985"/>
                    <a:pt x="35608" y="1339"/>
                    <a:pt x="35608" y="1785"/>
                  </a:cubicBezTo>
                  <a:cubicBezTo>
                    <a:pt x="35608" y="2232"/>
                    <a:pt x="35459" y="2753"/>
                    <a:pt x="35161" y="3348"/>
                  </a:cubicBezTo>
                  <a:lnTo>
                    <a:pt x="20539" y="34044"/>
                  </a:lnTo>
                  <a:lnTo>
                    <a:pt x="20539" y="48108"/>
                  </a:lnTo>
                  <a:cubicBezTo>
                    <a:pt x="20539" y="50043"/>
                    <a:pt x="20334" y="51606"/>
                    <a:pt x="19925" y="52796"/>
                  </a:cubicBezTo>
                  <a:cubicBezTo>
                    <a:pt x="19516" y="53987"/>
                    <a:pt x="18883" y="54917"/>
                    <a:pt x="18027" y="55587"/>
                  </a:cubicBezTo>
                  <a:cubicBezTo>
                    <a:pt x="17172" y="56257"/>
                    <a:pt x="16093" y="56703"/>
                    <a:pt x="14790" y="56926"/>
                  </a:cubicBezTo>
                  <a:cubicBezTo>
                    <a:pt x="13488" y="57150"/>
                    <a:pt x="11944" y="57261"/>
                    <a:pt x="10158" y="57261"/>
                  </a:cubicBezTo>
                  <a:cubicBezTo>
                    <a:pt x="8372" y="57261"/>
                    <a:pt x="6847" y="57150"/>
                    <a:pt x="5582" y="56926"/>
                  </a:cubicBezTo>
                  <a:cubicBezTo>
                    <a:pt x="4316" y="56703"/>
                    <a:pt x="3275" y="56257"/>
                    <a:pt x="2456" y="55587"/>
                  </a:cubicBezTo>
                  <a:cubicBezTo>
                    <a:pt x="1638" y="54917"/>
                    <a:pt x="1024" y="53987"/>
                    <a:pt x="614" y="52796"/>
                  </a:cubicBezTo>
                  <a:cubicBezTo>
                    <a:pt x="205" y="51606"/>
                    <a:pt x="0" y="50043"/>
                    <a:pt x="0" y="48108"/>
                  </a:cubicBezTo>
                  <a:cubicBezTo>
                    <a:pt x="0" y="45876"/>
                    <a:pt x="112" y="43811"/>
                    <a:pt x="335" y="41913"/>
                  </a:cubicBezTo>
                  <a:cubicBezTo>
                    <a:pt x="559" y="40016"/>
                    <a:pt x="912" y="38211"/>
                    <a:pt x="1396" y="36500"/>
                  </a:cubicBezTo>
                  <a:cubicBezTo>
                    <a:pt x="1879" y="34788"/>
                    <a:pt x="2549" y="33095"/>
                    <a:pt x="3405" y="31421"/>
                  </a:cubicBezTo>
                  <a:cubicBezTo>
                    <a:pt x="4261" y="29747"/>
                    <a:pt x="5284" y="27979"/>
                    <a:pt x="6474" y="26119"/>
                  </a:cubicBezTo>
                  <a:lnTo>
                    <a:pt x="21543" y="3237"/>
                  </a:lnTo>
                  <a:cubicBezTo>
                    <a:pt x="21915" y="2641"/>
                    <a:pt x="22325" y="2158"/>
                    <a:pt x="22771" y="1785"/>
                  </a:cubicBezTo>
                  <a:cubicBezTo>
                    <a:pt x="23218" y="1413"/>
                    <a:pt x="23776" y="1097"/>
                    <a:pt x="24445" y="837"/>
                  </a:cubicBezTo>
                  <a:cubicBezTo>
                    <a:pt x="25115" y="576"/>
                    <a:pt x="25915" y="372"/>
                    <a:pt x="26845" y="223"/>
                  </a:cubicBezTo>
                  <a:cubicBezTo>
                    <a:pt x="27776" y="74"/>
                    <a:pt x="28910" y="0"/>
                    <a:pt x="30250" y="0"/>
                  </a:cubicBez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9264D11-45D9-3CD2-FC4D-8C39747935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603470"/>
          </a:xfrm>
        </p:spPr>
        <p:txBody>
          <a:bodyPr/>
          <a:lstStyle/>
          <a:p>
            <a:r>
              <a:rPr lang="da-DK"/>
              <a:t>Fælles målepunkter, data og værktøjer, så vi kan handle - sammen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A72CDEDC-0162-3A22-BC15-20637D8AF4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54562" y="643709"/>
            <a:ext cx="8578407" cy="5444154"/>
          </a:xfrm>
          <a:prstGeom prst="rect">
            <a:avLst/>
          </a:prstGeom>
        </p:spPr>
      </p:pic>
      <p:pic>
        <p:nvPicPr>
          <p:cNvPr id="4" name="Billede 11" descr="Et billede, der indeholder Font/skrifttype, Grafik, skærmbillede, grafisk design&#10;&#10;Automatisk genereret beskrivelse">
            <a:extLst>
              <a:ext uri="{FF2B5EF4-FFF2-40B4-BE49-F238E27FC236}">
                <a16:creationId xmlns:a16="http://schemas.microsoft.com/office/drawing/2014/main" id="{1497FC50-4343-7DD3-1741-672CC6A8CB58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6197" y="5560860"/>
            <a:ext cx="736002" cy="435216"/>
          </a:xfrm>
          <a:prstGeom prst="rect">
            <a:avLst/>
          </a:prstGeom>
        </p:spPr>
      </p:pic>
      <p:pic>
        <p:nvPicPr>
          <p:cNvPr id="5" name="Billede 24" descr="Et billede, der indeholder Font/skrifttype, Grafik, grafisk design, logo&#10;&#10;Automatisk genereret beskrivelse">
            <a:extLst>
              <a:ext uri="{FF2B5EF4-FFF2-40B4-BE49-F238E27FC236}">
                <a16:creationId xmlns:a16="http://schemas.microsoft.com/office/drawing/2014/main" id="{172D35B2-418F-18D2-57E3-BB213F817C70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0365" y="5650925"/>
            <a:ext cx="1006108" cy="255086"/>
          </a:xfrm>
          <a:prstGeom prst="rect">
            <a:avLst/>
          </a:prstGeom>
        </p:spPr>
      </p:pic>
      <p:pic>
        <p:nvPicPr>
          <p:cNvPr id="10" name="Grafik 8">
            <a:extLst>
              <a:ext uri="{FF2B5EF4-FFF2-40B4-BE49-F238E27FC236}">
                <a16:creationId xmlns:a16="http://schemas.microsoft.com/office/drawing/2014/main" id="{6A42C8C5-D730-6D92-2B7B-283C6C23B3E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838063" y="5483335"/>
            <a:ext cx="1049364" cy="590267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0FF76C01-B154-2E6F-83BD-151A5029E23E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6535" y="5544420"/>
            <a:ext cx="678073" cy="4680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622479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624485D-D8EE-6914-3C92-32F3F9E434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24485D-D8EE-6914-3C92-32F3F9E43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3B0490-78C3-9AFF-7744-44A24A0E6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Udviklingen af rammerne for bæredygtighed</a:t>
            </a:r>
            <a:endParaRPr lang="da-DK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9EBF18-AD8E-A711-A418-67249B96CC0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Fra overordnede idealer til en målbar, databaseret tilgang med ESG</a:t>
            </a: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CD1964-AFE9-2B39-0393-30C268F522F6}"/>
              </a:ext>
            </a:extLst>
          </p:cNvPr>
          <p:cNvSpPr/>
          <p:nvPr/>
        </p:nvSpPr>
        <p:spPr>
          <a:xfrm>
            <a:off x="0" y="5275513"/>
            <a:ext cx="12192000" cy="181233"/>
          </a:xfrm>
          <a:custGeom>
            <a:avLst/>
            <a:gdLst>
              <a:gd name="csX0" fmla="*/ 0 w 12192000"/>
              <a:gd name="csY0" fmla="*/ 0 h 181233"/>
              <a:gd name="csX1" fmla="*/ 555413 w 12192000"/>
              <a:gd name="csY1" fmla="*/ 0 h 181233"/>
              <a:gd name="csX2" fmla="*/ 1110827 w 12192000"/>
              <a:gd name="csY2" fmla="*/ 0 h 181233"/>
              <a:gd name="csX3" fmla="*/ 1666240 w 12192000"/>
              <a:gd name="csY3" fmla="*/ 0 h 181233"/>
              <a:gd name="csX4" fmla="*/ 1977813 w 12192000"/>
              <a:gd name="csY4" fmla="*/ 0 h 181233"/>
              <a:gd name="csX5" fmla="*/ 2533227 w 12192000"/>
              <a:gd name="csY5" fmla="*/ 0 h 181233"/>
              <a:gd name="csX6" fmla="*/ 3454400 w 12192000"/>
              <a:gd name="csY6" fmla="*/ 0 h 181233"/>
              <a:gd name="csX7" fmla="*/ 4253653 w 12192000"/>
              <a:gd name="csY7" fmla="*/ 0 h 181233"/>
              <a:gd name="csX8" fmla="*/ 4687147 w 12192000"/>
              <a:gd name="csY8" fmla="*/ 0 h 181233"/>
              <a:gd name="csX9" fmla="*/ 5608320 w 12192000"/>
              <a:gd name="csY9" fmla="*/ 0 h 181233"/>
              <a:gd name="csX10" fmla="*/ 6041813 w 12192000"/>
              <a:gd name="csY10" fmla="*/ 0 h 181233"/>
              <a:gd name="csX11" fmla="*/ 6841067 w 12192000"/>
              <a:gd name="csY11" fmla="*/ 0 h 181233"/>
              <a:gd name="csX12" fmla="*/ 7152640 w 12192000"/>
              <a:gd name="csY12" fmla="*/ 0 h 181233"/>
              <a:gd name="csX13" fmla="*/ 7829973 w 12192000"/>
              <a:gd name="csY13" fmla="*/ 0 h 181233"/>
              <a:gd name="csX14" fmla="*/ 8629227 w 12192000"/>
              <a:gd name="csY14" fmla="*/ 0 h 181233"/>
              <a:gd name="csX15" fmla="*/ 9550400 w 12192000"/>
              <a:gd name="csY15" fmla="*/ 0 h 181233"/>
              <a:gd name="csX16" fmla="*/ 10471573 w 12192000"/>
              <a:gd name="csY16" fmla="*/ 0 h 181233"/>
              <a:gd name="csX17" fmla="*/ 11026987 w 12192000"/>
              <a:gd name="csY17" fmla="*/ 0 h 181233"/>
              <a:gd name="csX18" fmla="*/ 12192000 w 12192000"/>
              <a:gd name="csY18" fmla="*/ 0 h 181233"/>
              <a:gd name="csX19" fmla="*/ 12192000 w 12192000"/>
              <a:gd name="csY19" fmla="*/ 181233 h 181233"/>
              <a:gd name="csX20" fmla="*/ 11392747 w 12192000"/>
              <a:gd name="csY20" fmla="*/ 181233 h 181233"/>
              <a:gd name="csX21" fmla="*/ 10837333 w 12192000"/>
              <a:gd name="csY21" fmla="*/ 181233 h 181233"/>
              <a:gd name="csX22" fmla="*/ 10160000 w 12192000"/>
              <a:gd name="csY22" fmla="*/ 181233 h 181233"/>
              <a:gd name="csX23" fmla="*/ 9848427 w 12192000"/>
              <a:gd name="csY23" fmla="*/ 181233 h 181233"/>
              <a:gd name="csX24" fmla="*/ 9414933 w 12192000"/>
              <a:gd name="csY24" fmla="*/ 181233 h 181233"/>
              <a:gd name="csX25" fmla="*/ 9103360 w 12192000"/>
              <a:gd name="csY25" fmla="*/ 181233 h 181233"/>
              <a:gd name="csX26" fmla="*/ 8426027 w 12192000"/>
              <a:gd name="csY26" fmla="*/ 181233 h 181233"/>
              <a:gd name="csX27" fmla="*/ 7992533 w 12192000"/>
              <a:gd name="csY27" fmla="*/ 181233 h 181233"/>
              <a:gd name="csX28" fmla="*/ 7315200 w 12192000"/>
              <a:gd name="csY28" fmla="*/ 181233 h 181233"/>
              <a:gd name="csX29" fmla="*/ 6759787 w 12192000"/>
              <a:gd name="csY29" fmla="*/ 181233 h 181233"/>
              <a:gd name="csX30" fmla="*/ 5838613 w 12192000"/>
              <a:gd name="csY30" fmla="*/ 181233 h 181233"/>
              <a:gd name="csX31" fmla="*/ 5527040 w 12192000"/>
              <a:gd name="csY31" fmla="*/ 181233 h 181233"/>
              <a:gd name="csX32" fmla="*/ 4971627 w 12192000"/>
              <a:gd name="csY32" fmla="*/ 181233 h 181233"/>
              <a:gd name="csX33" fmla="*/ 4172373 w 12192000"/>
              <a:gd name="csY33" fmla="*/ 181233 h 181233"/>
              <a:gd name="csX34" fmla="*/ 3373120 w 12192000"/>
              <a:gd name="csY34" fmla="*/ 181233 h 181233"/>
              <a:gd name="csX35" fmla="*/ 2695787 w 12192000"/>
              <a:gd name="csY35" fmla="*/ 181233 h 181233"/>
              <a:gd name="csX36" fmla="*/ 1896533 w 12192000"/>
              <a:gd name="csY36" fmla="*/ 181233 h 181233"/>
              <a:gd name="csX37" fmla="*/ 975360 w 12192000"/>
              <a:gd name="csY37" fmla="*/ 181233 h 181233"/>
              <a:gd name="csX38" fmla="*/ 0 w 12192000"/>
              <a:gd name="csY38" fmla="*/ 181233 h 181233"/>
              <a:gd name="csX39" fmla="*/ 0 w 12192000"/>
              <a:gd name="csY39" fmla="*/ 0 h 181233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  <a:cxn ang="0">
                <a:pos x="csX34" y="csY34"/>
              </a:cxn>
              <a:cxn ang="0">
                <a:pos x="csX35" y="csY35"/>
              </a:cxn>
              <a:cxn ang="0">
                <a:pos x="csX36" y="csY36"/>
              </a:cxn>
              <a:cxn ang="0">
                <a:pos x="csX37" y="csY37"/>
              </a:cxn>
              <a:cxn ang="0">
                <a:pos x="csX38" y="csY38"/>
              </a:cxn>
              <a:cxn ang="0">
                <a:pos x="csX39" y="csY39"/>
              </a:cxn>
            </a:cxnLst>
            <a:rect l="l" t="t" r="r" b="b"/>
            <a:pathLst>
              <a:path w="12192000" h="181233" fill="none" extrusionOk="0">
                <a:moveTo>
                  <a:pt x="0" y="0"/>
                </a:moveTo>
                <a:cubicBezTo>
                  <a:pt x="210919" y="-6188"/>
                  <a:pt x="329949" y="3626"/>
                  <a:pt x="555413" y="0"/>
                </a:cubicBezTo>
                <a:cubicBezTo>
                  <a:pt x="780877" y="-3626"/>
                  <a:pt x="855236" y="19450"/>
                  <a:pt x="1110827" y="0"/>
                </a:cubicBezTo>
                <a:cubicBezTo>
                  <a:pt x="1366418" y="-19450"/>
                  <a:pt x="1396192" y="-19564"/>
                  <a:pt x="1666240" y="0"/>
                </a:cubicBezTo>
                <a:cubicBezTo>
                  <a:pt x="1936288" y="19564"/>
                  <a:pt x="1880466" y="-3753"/>
                  <a:pt x="1977813" y="0"/>
                </a:cubicBezTo>
                <a:cubicBezTo>
                  <a:pt x="2075160" y="3753"/>
                  <a:pt x="2360806" y="-6715"/>
                  <a:pt x="2533227" y="0"/>
                </a:cubicBezTo>
                <a:cubicBezTo>
                  <a:pt x="2705648" y="6715"/>
                  <a:pt x="3209693" y="26371"/>
                  <a:pt x="3454400" y="0"/>
                </a:cubicBezTo>
                <a:cubicBezTo>
                  <a:pt x="3699107" y="-26371"/>
                  <a:pt x="3863010" y="39752"/>
                  <a:pt x="4253653" y="0"/>
                </a:cubicBezTo>
                <a:cubicBezTo>
                  <a:pt x="4644296" y="-39752"/>
                  <a:pt x="4544969" y="-16533"/>
                  <a:pt x="4687147" y="0"/>
                </a:cubicBezTo>
                <a:cubicBezTo>
                  <a:pt x="4829325" y="16533"/>
                  <a:pt x="5350044" y="-34111"/>
                  <a:pt x="5608320" y="0"/>
                </a:cubicBezTo>
                <a:cubicBezTo>
                  <a:pt x="5866596" y="34111"/>
                  <a:pt x="5862406" y="19593"/>
                  <a:pt x="6041813" y="0"/>
                </a:cubicBezTo>
                <a:cubicBezTo>
                  <a:pt x="6221220" y="-19593"/>
                  <a:pt x="6677771" y="-13249"/>
                  <a:pt x="6841067" y="0"/>
                </a:cubicBezTo>
                <a:cubicBezTo>
                  <a:pt x="7004363" y="13249"/>
                  <a:pt x="7050349" y="-396"/>
                  <a:pt x="7152640" y="0"/>
                </a:cubicBezTo>
                <a:cubicBezTo>
                  <a:pt x="7254931" y="396"/>
                  <a:pt x="7689647" y="-7911"/>
                  <a:pt x="7829973" y="0"/>
                </a:cubicBezTo>
                <a:cubicBezTo>
                  <a:pt x="7970299" y="7911"/>
                  <a:pt x="8267991" y="9313"/>
                  <a:pt x="8629227" y="0"/>
                </a:cubicBezTo>
                <a:cubicBezTo>
                  <a:pt x="8990463" y="-9313"/>
                  <a:pt x="9218411" y="-42143"/>
                  <a:pt x="9550400" y="0"/>
                </a:cubicBezTo>
                <a:cubicBezTo>
                  <a:pt x="9882389" y="42143"/>
                  <a:pt x="10081218" y="38893"/>
                  <a:pt x="10471573" y="0"/>
                </a:cubicBezTo>
                <a:cubicBezTo>
                  <a:pt x="10861928" y="-38893"/>
                  <a:pt x="10836397" y="12597"/>
                  <a:pt x="11026987" y="0"/>
                </a:cubicBezTo>
                <a:cubicBezTo>
                  <a:pt x="11217577" y="-12597"/>
                  <a:pt x="11627606" y="-41091"/>
                  <a:pt x="12192000" y="0"/>
                </a:cubicBezTo>
                <a:cubicBezTo>
                  <a:pt x="12193919" y="42321"/>
                  <a:pt x="12195645" y="126668"/>
                  <a:pt x="12192000" y="181233"/>
                </a:cubicBezTo>
                <a:cubicBezTo>
                  <a:pt x="11887756" y="188718"/>
                  <a:pt x="11603810" y="159920"/>
                  <a:pt x="11392747" y="181233"/>
                </a:cubicBezTo>
                <a:cubicBezTo>
                  <a:pt x="11181684" y="202546"/>
                  <a:pt x="11113863" y="164105"/>
                  <a:pt x="10837333" y="181233"/>
                </a:cubicBezTo>
                <a:cubicBezTo>
                  <a:pt x="10560803" y="198361"/>
                  <a:pt x="10312120" y="169442"/>
                  <a:pt x="10160000" y="181233"/>
                </a:cubicBezTo>
                <a:cubicBezTo>
                  <a:pt x="10007880" y="193024"/>
                  <a:pt x="9916466" y="176222"/>
                  <a:pt x="9848427" y="181233"/>
                </a:cubicBezTo>
                <a:cubicBezTo>
                  <a:pt x="9780388" y="186244"/>
                  <a:pt x="9611268" y="167700"/>
                  <a:pt x="9414933" y="181233"/>
                </a:cubicBezTo>
                <a:cubicBezTo>
                  <a:pt x="9218598" y="194766"/>
                  <a:pt x="9242853" y="193003"/>
                  <a:pt x="9103360" y="181233"/>
                </a:cubicBezTo>
                <a:cubicBezTo>
                  <a:pt x="8963867" y="169463"/>
                  <a:pt x="8692188" y="192882"/>
                  <a:pt x="8426027" y="181233"/>
                </a:cubicBezTo>
                <a:cubicBezTo>
                  <a:pt x="8159866" y="169584"/>
                  <a:pt x="8155940" y="202351"/>
                  <a:pt x="7992533" y="181233"/>
                </a:cubicBezTo>
                <a:cubicBezTo>
                  <a:pt x="7829126" y="160115"/>
                  <a:pt x="7520978" y="199878"/>
                  <a:pt x="7315200" y="181233"/>
                </a:cubicBezTo>
                <a:cubicBezTo>
                  <a:pt x="7109422" y="162588"/>
                  <a:pt x="6948086" y="161088"/>
                  <a:pt x="6759787" y="181233"/>
                </a:cubicBezTo>
                <a:cubicBezTo>
                  <a:pt x="6571488" y="201378"/>
                  <a:pt x="6066203" y="156955"/>
                  <a:pt x="5838613" y="181233"/>
                </a:cubicBezTo>
                <a:cubicBezTo>
                  <a:pt x="5611023" y="205511"/>
                  <a:pt x="5601664" y="195691"/>
                  <a:pt x="5527040" y="181233"/>
                </a:cubicBezTo>
                <a:cubicBezTo>
                  <a:pt x="5452416" y="166775"/>
                  <a:pt x="5147280" y="157970"/>
                  <a:pt x="4971627" y="181233"/>
                </a:cubicBezTo>
                <a:cubicBezTo>
                  <a:pt x="4795974" y="204496"/>
                  <a:pt x="4429450" y="150827"/>
                  <a:pt x="4172373" y="181233"/>
                </a:cubicBezTo>
                <a:cubicBezTo>
                  <a:pt x="3915296" y="211639"/>
                  <a:pt x="3561558" y="164452"/>
                  <a:pt x="3373120" y="181233"/>
                </a:cubicBezTo>
                <a:cubicBezTo>
                  <a:pt x="3184682" y="198014"/>
                  <a:pt x="2833903" y="202502"/>
                  <a:pt x="2695787" y="181233"/>
                </a:cubicBezTo>
                <a:cubicBezTo>
                  <a:pt x="2557671" y="159964"/>
                  <a:pt x="2132475" y="218278"/>
                  <a:pt x="1896533" y="181233"/>
                </a:cubicBezTo>
                <a:cubicBezTo>
                  <a:pt x="1660591" y="144188"/>
                  <a:pt x="1374880" y="147560"/>
                  <a:pt x="975360" y="181233"/>
                </a:cubicBezTo>
                <a:cubicBezTo>
                  <a:pt x="575840" y="214906"/>
                  <a:pt x="450331" y="214591"/>
                  <a:pt x="0" y="181233"/>
                </a:cubicBezTo>
                <a:cubicBezTo>
                  <a:pt x="-1884" y="103220"/>
                  <a:pt x="4061" y="38925"/>
                  <a:pt x="0" y="0"/>
                </a:cubicBezTo>
                <a:close/>
              </a:path>
              <a:path w="12192000" h="181233" stroke="0" extrusionOk="0">
                <a:moveTo>
                  <a:pt x="0" y="0"/>
                </a:moveTo>
                <a:cubicBezTo>
                  <a:pt x="123031" y="16138"/>
                  <a:pt x="335985" y="6626"/>
                  <a:pt x="433493" y="0"/>
                </a:cubicBezTo>
                <a:cubicBezTo>
                  <a:pt x="531001" y="-6626"/>
                  <a:pt x="911827" y="-43918"/>
                  <a:pt x="1354667" y="0"/>
                </a:cubicBezTo>
                <a:cubicBezTo>
                  <a:pt x="1797507" y="43918"/>
                  <a:pt x="1666350" y="-4752"/>
                  <a:pt x="1910080" y="0"/>
                </a:cubicBezTo>
                <a:cubicBezTo>
                  <a:pt x="2153810" y="4752"/>
                  <a:pt x="2146089" y="-3032"/>
                  <a:pt x="2221653" y="0"/>
                </a:cubicBezTo>
                <a:cubicBezTo>
                  <a:pt x="2297217" y="3032"/>
                  <a:pt x="2536791" y="-2115"/>
                  <a:pt x="2777067" y="0"/>
                </a:cubicBezTo>
                <a:cubicBezTo>
                  <a:pt x="3017343" y="2115"/>
                  <a:pt x="3364065" y="-27316"/>
                  <a:pt x="3576320" y="0"/>
                </a:cubicBezTo>
                <a:cubicBezTo>
                  <a:pt x="3788575" y="27316"/>
                  <a:pt x="3962962" y="17181"/>
                  <a:pt x="4131733" y="0"/>
                </a:cubicBezTo>
                <a:cubicBezTo>
                  <a:pt x="4300504" y="-17181"/>
                  <a:pt x="4350031" y="-7917"/>
                  <a:pt x="4443307" y="0"/>
                </a:cubicBezTo>
                <a:cubicBezTo>
                  <a:pt x="4536583" y="7917"/>
                  <a:pt x="4856211" y="18415"/>
                  <a:pt x="5242560" y="0"/>
                </a:cubicBezTo>
                <a:cubicBezTo>
                  <a:pt x="5628909" y="-18415"/>
                  <a:pt x="5563008" y="-12243"/>
                  <a:pt x="5676053" y="0"/>
                </a:cubicBezTo>
                <a:cubicBezTo>
                  <a:pt x="5789098" y="12243"/>
                  <a:pt x="6092671" y="-2525"/>
                  <a:pt x="6231467" y="0"/>
                </a:cubicBezTo>
                <a:cubicBezTo>
                  <a:pt x="6370263" y="2525"/>
                  <a:pt x="6738941" y="-5083"/>
                  <a:pt x="6908800" y="0"/>
                </a:cubicBezTo>
                <a:cubicBezTo>
                  <a:pt x="7078659" y="5083"/>
                  <a:pt x="7143552" y="3440"/>
                  <a:pt x="7342293" y="0"/>
                </a:cubicBezTo>
                <a:cubicBezTo>
                  <a:pt x="7541034" y="-3440"/>
                  <a:pt x="8016450" y="44160"/>
                  <a:pt x="8263467" y="0"/>
                </a:cubicBezTo>
                <a:cubicBezTo>
                  <a:pt x="8510484" y="-44160"/>
                  <a:pt x="8519119" y="-16732"/>
                  <a:pt x="8696960" y="0"/>
                </a:cubicBezTo>
                <a:cubicBezTo>
                  <a:pt x="8874801" y="16732"/>
                  <a:pt x="9241442" y="-3192"/>
                  <a:pt x="9496213" y="0"/>
                </a:cubicBezTo>
                <a:cubicBezTo>
                  <a:pt x="9750984" y="3192"/>
                  <a:pt x="9784416" y="-13210"/>
                  <a:pt x="9929707" y="0"/>
                </a:cubicBezTo>
                <a:cubicBezTo>
                  <a:pt x="10074998" y="13210"/>
                  <a:pt x="10502244" y="-352"/>
                  <a:pt x="10850880" y="0"/>
                </a:cubicBezTo>
                <a:cubicBezTo>
                  <a:pt x="11199516" y="352"/>
                  <a:pt x="11138568" y="2602"/>
                  <a:pt x="11284373" y="0"/>
                </a:cubicBezTo>
                <a:cubicBezTo>
                  <a:pt x="11430178" y="-2602"/>
                  <a:pt x="11772566" y="20650"/>
                  <a:pt x="12192000" y="0"/>
                </a:cubicBezTo>
                <a:cubicBezTo>
                  <a:pt x="12189253" y="46458"/>
                  <a:pt x="12199962" y="106859"/>
                  <a:pt x="12192000" y="181233"/>
                </a:cubicBezTo>
                <a:cubicBezTo>
                  <a:pt x="11993409" y="166403"/>
                  <a:pt x="11862043" y="180264"/>
                  <a:pt x="11758507" y="181233"/>
                </a:cubicBezTo>
                <a:cubicBezTo>
                  <a:pt x="11654971" y="182202"/>
                  <a:pt x="11306195" y="151231"/>
                  <a:pt x="11081173" y="181233"/>
                </a:cubicBezTo>
                <a:cubicBezTo>
                  <a:pt x="10856151" y="211235"/>
                  <a:pt x="10683321" y="194722"/>
                  <a:pt x="10403840" y="181233"/>
                </a:cubicBezTo>
                <a:cubicBezTo>
                  <a:pt x="10124359" y="167744"/>
                  <a:pt x="10035777" y="170682"/>
                  <a:pt x="9726507" y="181233"/>
                </a:cubicBezTo>
                <a:cubicBezTo>
                  <a:pt x="9417237" y="191784"/>
                  <a:pt x="9492282" y="166054"/>
                  <a:pt x="9293013" y="181233"/>
                </a:cubicBezTo>
                <a:cubicBezTo>
                  <a:pt x="9093744" y="196412"/>
                  <a:pt x="8981148" y="186014"/>
                  <a:pt x="8859520" y="181233"/>
                </a:cubicBezTo>
                <a:cubicBezTo>
                  <a:pt x="8737892" y="176452"/>
                  <a:pt x="8493704" y="187885"/>
                  <a:pt x="8182187" y="181233"/>
                </a:cubicBezTo>
                <a:cubicBezTo>
                  <a:pt x="7870670" y="174581"/>
                  <a:pt x="7645790" y="169672"/>
                  <a:pt x="7504853" y="181233"/>
                </a:cubicBezTo>
                <a:cubicBezTo>
                  <a:pt x="7363916" y="192794"/>
                  <a:pt x="7320299" y="195839"/>
                  <a:pt x="7193280" y="181233"/>
                </a:cubicBezTo>
                <a:cubicBezTo>
                  <a:pt x="7066261" y="166627"/>
                  <a:pt x="6779112" y="150416"/>
                  <a:pt x="6515947" y="181233"/>
                </a:cubicBezTo>
                <a:cubicBezTo>
                  <a:pt x="6252782" y="212050"/>
                  <a:pt x="6084854" y="190150"/>
                  <a:pt x="5716693" y="181233"/>
                </a:cubicBezTo>
                <a:cubicBezTo>
                  <a:pt x="5348532" y="172316"/>
                  <a:pt x="5331604" y="196295"/>
                  <a:pt x="5161280" y="181233"/>
                </a:cubicBezTo>
                <a:cubicBezTo>
                  <a:pt x="4990956" y="166171"/>
                  <a:pt x="4769567" y="179772"/>
                  <a:pt x="4605867" y="181233"/>
                </a:cubicBezTo>
                <a:cubicBezTo>
                  <a:pt x="4442167" y="182694"/>
                  <a:pt x="3997746" y="192267"/>
                  <a:pt x="3806613" y="181233"/>
                </a:cubicBezTo>
                <a:cubicBezTo>
                  <a:pt x="3615480" y="170199"/>
                  <a:pt x="3465125" y="188901"/>
                  <a:pt x="3373120" y="181233"/>
                </a:cubicBezTo>
                <a:cubicBezTo>
                  <a:pt x="3281115" y="173565"/>
                  <a:pt x="3089378" y="169207"/>
                  <a:pt x="2817707" y="181233"/>
                </a:cubicBezTo>
                <a:cubicBezTo>
                  <a:pt x="2546036" y="193259"/>
                  <a:pt x="2278002" y="156393"/>
                  <a:pt x="2140373" y="181233"/>
                </a:cubicBezTo>
                <a:cubicBezTo>
                  <a:pt x="2002744" y="206073"/>
                  <a:pt x="1776026" y="207507"/>
                  <a:pt x="1584960" y="181233"/>
                </a:cubicBezTo>
                <a:cubicBezTo>
                  <a:pt x="1393894" y="154959"/>
                  <a:pt x="1103426" y="182523"/>
                  <a:pt x="663787" y="181233"/>
                </a:cubicBezTo>
                <a:cubicBezTo>
                  <a:pt x="224148" y="179943"/>
                  <a:pt x="175901" y="172401"/>
                  <a:pt x="0" y="181233"/>
                </a:cubicBezTo>
                <a:cubicBezTo>
                  <a:pt x="-4587" y="99985"/>
                  <a:pt x="1934" y="78703"/>
                  <a:pt x="0" y="0"/>
                </a:cubicBezTo>
                <a:close/>
              </a:path>
            </a:pathLst>
          </a:custGeom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351050286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D1ADCBA-818A-DE0E-376F-07310E2E1713}"/>
              </a:ext>
            </a:extLst>
          </p:cNvPr>
          <p:cNvCxnSpPr>
            <a:stCxn id="13" idx="0"/>
          </p:cNvCxnSpPr>
          <p:nvPr/>
        </p:nvCxnSpPr>
        <p:spPr>
          <a:xfrm>
            <a:off x="424222" y="3526617"/>
            <a:ext cx="1380" cy="1748896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4EF9C6-97F2-A7A8-E6FF-54A13ED3396D}"/>
              </a:ext>
            </a:extLst>
          </p:cNvPr>
          <p:cNvGrpSpPr/>
          <p:nvPr/>
        </p:nvGrpSpPr>
        <p:grpSpPr>
          <a:xfrm rot="10800000">
            <a:off x="214076" y="3012254"/>
            <a:ext cx="424589" cy="514669"/>
            <a:chOff x="352424" y="3433220"/>
            <a:chExt cx="1582577" cy="1918336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EE18FBA-1B20-0CE4-2F6C-BE32422ABB10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AF53888-7F92-D253-5683-D839EBFA7517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13270789-6F6F-8D37-9BC6-96DDE50AAC5F}"/>
              </a:ext>
            </a:extLst>
          </p:cNvPr>
          <p:cNvSpPr/>
          <p:nvPr/>
        </p:nvSpPr>
        <p:spPr>
          <a:xfrm>
            <a:off x="609044" y="3052671"/>
            <a:ext cx="2083256" cy="1086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98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rundtland-rapporten: Starten på det moderne bæredygtighedsbegreb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E5CD3FA-0FB8-55A1-E973-EB5906143949}"/>
              </a:ext>
            </a:extLst>
          </p:cNvPr>
          <p:cNvCxnSpPr>
            <a:cxnSpLocks/>
            <a:stCxn id="34" idx="0"/>
          </p:cNvCxnSpPr>
          <p:nvPr/>
        </p:nvCxnSpPr>
        <p:spPr>
          <a:xfrm flipH="1">
            <a:off x="2619117" y="2562314"/>
            <a:ext cx="2" cy="2923513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3712DFD-308D-5E77-9AB3-AA342E8D8D7A}"/>
              </a:ext>
            </a:extLst>
          </p:cNvPr>
          <p:cNvGrpSpPr/>
          <p:nvPr/>
        </p:nvGrpSpPr>
        <p:grpSpPr>
          <a:xfrm rot="10800000">
            <a:off x="2408971" y="2047952"/>
            <a:ext cx="424589" cy="514669"/>
            <a:chOff x="352424" y="3433220"/>
            <a:chExt cx="1582577" cy="1918336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CF8FBED-E050-5475-0B5B-C5D737C12552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37EDB44-BBC8-1DDE-1CCB-27EE792B9A8D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A5FA9E87-69B5-4A67-AFD2-338459B4A68C}"/>
              </a:ext>
            </a:extLst>
          </p:cNvPr>
          <p:cNvSpPr/>
          <p:nvPr/>
        </p:nvSpPr>
        <p:spPr>
          <a:xfrm>
            <a:off x="2889873" y="2118482"/>
            <a:ext cx="2083256" cy="1421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990’er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ra tanke til politisk hand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+ ideen om ”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riple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ottom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line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3622423-D903-1AAC-251F-5F4FD3731244}"/>
              </a:ext>
            </a:extLst>
          </p:cNvPr>
          <p:cNvCxnSpPr>
            <a:stCxn id="39" idx="0"/>
          </p:cNvCxnSpPr>
          <p:nvPr/>
        </p:nvCxnSpPr>
        <p:spPr>
          <a:xfrm>
            <a:off x="5033736" y="3526617"/>
            <a:ext cx="1380" cy="1748896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B75ED06-0DC8-3468-16FE-367D8CAC4399}"/>
              </a:ext>
            </a:extLst>
          </p:cNvPr>
          <p:cNvGrpSpPr/>
          <p:nvPr/>
        </p:nvGrpSpPr>
        <p:grpSpPr>
          <a:xfrm rot="10800000">
            <a:off x="4823590" y="3012254"/>
            <a:ext cx="424589" cy="514669"/>
            <a:chOff x="352424" y="3433220"/>
            <a:chExt cx="1582577" cy="1918336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0CE7F8C-A066-4A95-73E4-D684B0E02CB6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B5CDC9F-475B-D211-17E9-1B3ABED8D438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BE44F593-1B2B-8116-1E7C-2A2A9FBEEE9C}"/>
              </a:ext>
            </a:extLst>
          </p:cNvPr>
          <p:cNvSpPr/>
          <p:nvPr/>
        </p:nvSpPr>
        <p:spPr>
          <a:xfrm>
            <a:off x="5218558" y="3052671"/>
            <a:ext cx="2083256" cy="19024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00’er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SR og frivillige standarder (fx Global Compact, ISO14001 mv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042466E-B3A9-A0F3-27EF-CD1411470681}"/>
              </a:ext>
            </a:extLst>
          </p:cNvPr>
          <p:cNvCxnSpPr>
            <a:cxnSpLocks/>
            <a:stCxn id="55" idx="0"/>
          </p:cNvCxnSpPr>
          <p:nvPr/>
        </p:nvCxnSpPr>
        <p:spPr>
          <a:xfrm flipH="1">
            <a:off x="7224827" y="2352000"/>
            <a:ext cx="2" cy="2923513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5E08E84-2851-BCD8-39BA-A93FD87E674E}"/>
              </a:ext>
            </a:extLst>
          </p:cNvPr>
          <p:cNvGrpSpPr/>
          <p:nvPr/>
        </p:nvGrpSpPr>
        <p:grpSpPr>
          <a:xfrm rot="10800000">
            <a:off x="7014681" y="1837638"/>
            <a:ext cx="424589" cy="514669"/>
            <a:chOff x="352424" y="3433220"/>
            <a:chExt cx="1582577" cy="1918336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2FA76E3-CC13-DED3-96AF-E9821CA6BB2F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A6C5838-DCE9-7A69-1AD5-2D974ECEB48A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CFA331A5-BD96-7A0D-1658-D5BE73B30634}"/>
              </a:ext>
            </a:extLst>
          </p:cNvPr>
          <p:cNvSpPr/>
          <p:nvPr/>
        </p:nvSpPr>
        <p:spPr>
          <a:xfrm>
            <a:off x="7408115" y="1914100"/>
            <a:ext cx="2083256" cy="208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10’ern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SG som investorværktøj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15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: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Ns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Verdensmå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B3BEDDD-CD24-C59D-8CFB-EA75E4F213B2}"/>
              </a:ext>
            </a:extLst>
          </p:cNvPr>
          <p:cNvCxnSpPr>
            <a:stCxn id="60" idx="0"/>
          </p:cNvCxnSpPr>
          <p:nvPr/>
        </p:nvCxnSpPr>
        <p:spPr>
          <a:xfrm>
            <a:off x="9625887" y="3526617"/>
            <a:ext cx="1380" cy="1748896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1539B35-8FDE-FFE2-F18F-04C23D772BC2}"/>
              </a:ext>
            </a:extLst>
          </p:cNvPr>
          <p:cNvGrpSpPr/>
          <p:nvPr/>
        </p:nvGrpSpPr>
        <p:grpSpPr>
          <a:xfrm rot="10800000">
            <a:off x="9415741" y="3012254"/>
            <a:ext cx="424589" cy="514669"/>
            <a:chOff x="352424" y="3433220"/>
            <a:chExt cx="1582577" cy="1918336"/>
          </a:xfrm>
        </p:grpSpPr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34F8115-C9B8-D7A8-F8F9-CE008F539FAD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8044DF6-64F0-59C5-6CD4-718F2D5A7487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689364B1-5F4D-E0AD-D49B-539CB6B74231}"/>
              </a:ext>
            </a:extLst>
          </p:cNvPr>
          <p:cNvSpPr/>
          <p:nvPr/>
        </p:nvSpPr>
        <p:spPr>
          <a:xfrm>
            <a:off x="9810709" y="3052671"/>
            <a:ext cx="2083256" cy="18319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020’er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SG i regul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SG obligatorisk for virksomheder (EU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tadig i konstant udvikling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69E515F-03F6-5E48-4895-4424FCE18AB2}"/>
              </a:ext>
            </a:extLst>
          </p:cNvPr>
          <p:cNvGrpSpPr>
            <a:grpSpLocks noChangeAspect="1"/>
          </p:cNvGrpSpPr>
          <p:nvPr/>
        </p:nvGrpSpPr>
        <p:grpSpPr>
          <a:xfrm>
            <a:off x="8944846" y="4510985"/>
            <a:ext cx="235931" cy="749987"/>
            <a:chOff x="6489723" y="5343074"/>
            <a:chExt cx="122249" cy="381840"/>
          </a:xfrm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E8B94B7-DE79-EC27-801D-0B113229964E}"/>
                </a:ext>
              </a:extLst>
            </p:cNvPr>
            <p:cNvSpPr/>
            <p:nvPr/>
          </p:nvSpPr>
          <p:spPr>
            <a:xfrm>
              <a:off x="6537335" y="5381474"/>
              <a:ext cx="43268" cy="43268"/>
            </a:xfrm>
            <a:custGeom>
              <a:avLst/>
              <a:gdLst>
                <a:gd name="connsiteX0" fmla="*/ 43268 w 43268"/>
                <a:gd name="connsiteY0" fmla="*/ 21634 h 43268"/>
                <a:gd name="connsiteX1" fmla="*/ 21634 w 43268"/>
                <a:gd name="connsiteY1" fmla="*/ 43268 h 43268"/>
                <a:gd name="connsiteX2" fmla="*/ 0 w 43268"/>
                <a:gd name="connsiteY2" fmla="*/ 21634 h 43268"/>
                <a:gd name="connsiteX3" fmla="*/ 21634 w 43268"/>
                <a:gd name="connsiteY3" fmla="*/ 0 h 43268"/>
                <a:gd name="connsiteX4" fmla="*/ 43268 w 43268"/>
                <a:gd name="connsiteY4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68" h="43268">
                  <a:moveTo>
                    <a:pt x="43268" y="21634"/>
                  </a:moveTo>
                  <a:cubicBezTo>
                    <a:pt x="43268" y="33582"/>
                    <a:pt x="33582" y="43268"/>
                    <a:pt x="21634" y="43268"/>
                  </a:cubicBezTo>
                  <a:cubicBezTo>
                    <a:pt x="9686" y="43268"/>
                    <a:pt x="0" y="33582"/>
                    <a:pt x="0" y="21634"/>
                  </a:cubicBezTo>
                  <a:cubicBezTo>
                    <a:pt x="0" y="9686"/>
                    <a:pt x="9686" y="0"/>
                    <a:pt x="21634" y="0"/>
                  </a:cubicBezTo>
                  <a:cubicBezTo>
                    <a:pt x="33582" y="0"/>
                    <a:pt x="43268" y="9686"/>
                    <a:pt x="43268" y="21634"/>
                  </a:cubicBezTo>
                  <a:close/>
                </a:path>
              </a:pathLst>
            </a:custGeom>
            <a:solidFill>
              <a:srgbClr val="E1EBE5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6FDA1DD7-7C1B-A0BC-BF3B-E9F7C5E199CF}"/>
                </a:ext>
              </a:extLst>
            </p:cNvPr>
            <p:cNvSpPr/>
            <p:nvPr/>
          </p:nvSpPr>
          <p:spPr>
            <a:xfrm>
              <a:off x="6497853" y="5343074"/>
              <a:ext cx="113037" cy="122232"/>
            </a:xfrm>
            <a:custGeom>
              <a:avLst/>
              <a:gdLst>
                <a:gd name="connsiteX0" fmla="*/ 98435 w 113037"/>
                <a:gd name="connsiteY0" fmla="*/ 61116 h 122232"/>
                <a:gd name="connsiteX1" fmla="*/ 113037 w 113037"/>
                <a:gd name="connsiteY1" fmla="*/ 41105 h 122232"/>
                <a:gd name="connsiteX2" fmla="*/ 91945 w 113037"/>
                <a:gd name="connsiteY2" fmla="*/ 20552 h 122232"/>
                <a:gd name="connsiteX3" fmla="*/ 77341 w 113037"/>
                <a:gd name="connsiteY3" fmla="*/ 26502 h 122232"/>
                <a:gd name="connsiteX4" fmla="*/ 77882 w 113037"/>
                <a:gd name="connsiteY4" fmla="*/ 21093 h 122232"/>
                <a:gd name="connsiteX5" fmla="*/ 56789 w 113037"/>
                <a:gd name="connsiteY5" fmla="*/ 0 h 122232"/>
                <a:gd name="connsiteX6" fmla="*/ 35696 w 113037"/>
                <a:gd name="connsiteY6" fmla="*/ 21093 h 122232"/>
                <a:gd name="connsiteX7" fmla="*/ 36237 w 113037"/>
                <a:gd name="connsiteY7" fmla="*/ 25961 h 122232"/>
                <a:gd name="connsiteX8" fmla="*/ 21634 w 113037"/>
                <a:gd name="connsiteY8" fmla="*/ 20011 h 122232"/>
                <a:gd name="connsiteX9" fmla="*/ 541 w 113037"/>
                <a:gd name="connsiteY9" fmla="*/ 41105 h 122232"/>
                <a:gd name="connsiteX10" fmla="*/ 15684 w 113037"/>
                <a:gd name="connsiteY10" fmla="*/ 61116 h 122232"/>
                <a:gd name="connsiteX11" fmla="*/ 0 w 113037"/>
                <a:gd name="connsiteY11" fmla="*/ 81128 h 122232"/>
                <a:gd name="connsiteX12" fmla="*/ 21093 w 113037"/>
                <a:gd name="connsiteY12" fmla="*/ 102221 h 122232"/>
                <a:gd name="connsiteX13" fmla="*/ 35696 w 113037"/>
                <a:gd name="connsiteY13" fmla="*/ 96272 h 122232"/>
                <a:gd name="connsiteX14" fmla="*/ 35155 w 113037"/>
                <a:gd name="connsiteY14" fmla="*/ 101139 h 122232"/>
                <a:gd name="connsiteX15" fmla="*/ 56248 w 113037"/>
                <a:gd name="connsiteY15" fmla="*/ 122232 h 122232"/>
                <a:gd name="connsiteX16" fmla="*/ 77341 w 113037"/>
                <a:gd name="connsiteY16" fmla="*/ 101139 h 122232"/>
                <a:gd name="connsiteX17" fmla="*/ 76801 w 113037"/>
                <a:gd name="connsiteY17" fmla="*/ 95730 h 122232"/>
                <a:gd name="connsiteX18" fmla="*/ 91403 w 113037"/>
                <a:gd name="connsiteY18" fmla="*/ 101680 h 122232"/>
                <a:gd name="connsiteX19" fmla="*/ 112497 w 113037"/>
                <a:gd name="connsiteY19" fmla="*/ 80587 h 122232"/>
                <a:gd name="connsiteX20" fmla="*/ 98435 w 113037"/>
                <a:gd name="connsiteY20" fmla="*/ 61116 h 12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3037" h="122232">
                  <a:moveTo>
                    <a:pt x="98435" y="61116"/>
                  </a:moveTo>
                  <a:cubicBezTo>
                    <a:pt x="107088" y="58412"/>
                    <a:pt x="113037" y="50840"/>
                    <a:pt x="113037" y="41105"/>
                  </a:cubicBezTo>
                  <a:cubicBezTo>
                    <a:pt x="113037" y="29747"/>
                    <a:pt x="103843" y="20552"/>
                    <a:pt x="91945" y="20552"/>
                  </a:cubicBezTo>
                  <a:cubicBezTo>
                    <a:pt x="86536" y="20552"/>
                    <a:pt x="81128" y="22716"/>
                    <a:pt x="77341" y="26502"/>
                  </a:cubicBezTo>
                  <a:cubicBezTo>
                    <a:pt x="77882" y="24879"/>
                    <a:pt x="77882" y="23257"/>
                    <a:pt x="77882" y="21093"/>
                  </a:cubicBezTo>
                  <a:cubicBezTo>
                    <a:pt x="77882" y="9735"/>
                    <a:pt x="68688" y="0"/>
                    <a:pt x="56789" y="0"/>
                  </a:cubicBezTo>
                  <a:cubicBezTo>
                    <a:pt x="45431" y="0"/>
                    <a:pt x="35696" y="9194"/>
                    <a:pt x="35696" y="21093"/>
                  </a:cubicBezTo>
                  <a:cubicBezTo>
                    <a:pt x="35696" y="22716"/>
                    <a:pt x="35696" y="24338"/>
                    <a:pt x="36237" y="25961"/>
                  </a:cubicBezTo>
                  <a:cubicBezTo>
                    <a:pt x="32451" y="22175"/>
                    <a:pt x="27583" y="20011"/>
                    <a:pt x="21634" y="20011"/>
                  </a:cubicBezTo>
                  <a:cubicBezTo>
                    <a:pt x="10276" y="20011"/>
                    <a:pt x="541" y="29206"/>
                    <a:pt x="541" y="41105"/>
                  </a:cubicBezTo>
                  <a:cubicBezTo>
                    <a:pt x="541" y="50840"/>
                    <a:pt x="7031" y="58953"/>
                    <a:pt x="15684" y="61116"/>
                  </a:cubicBezTo>
                  <a:cubicBezTo>
                    <a:pt x="7031" y="63279"/>
                    <a:pt x="0" y="71392"/>
                    <a:pt x="0" y="81128"/>
                  </a:cubicBezTo>
                  <a:cubicBezTo>
                    <a:pt x="0" y="92486"/>
                    <a:pt x="9194" y="102221"/>
                    <a:pt x="21093" y="102221"/>
                  </a:cubicBezTo>
                  <a:cubicBezTo>
                    <a:pt x="26501" y="102221"/>
                    <a:pt x="31910" y="100058"/>
                    <a:pt x="35696" y="96272"/>
                  </a:cubicBezTo>
                  <a:cubicBezTo>
                    <a:pt x="35155" y="97894"/>
                    <a:pt x="35155" y="99517"/>
                    <a:pt x="35155" y="101139"/>
                  </a:cubicBezTo>
                  <a:cubicBezTo>
                    <a:pt x="35155" y="112497"/>
                    <a:pt x="44350" y="122232"/>
                    <a:pt x="56248" y="122232"/>
                  </a:cubicBezTo>
                  <a:cubicBezTo>
                    <a:pt x="67606" y="122232"/>
                    <a:pt x="77341" y="113038"/>
                    <a:pt x="77341" y="101139"/>
                  </a:cubicBezTo>
                  <a:cubicBezTo>
                    <a:pt x="77341" y="99517"/>
                    <a:pt x="77341" y="97353"/>
                    <a:pt x="76801" y="95730"/>
                  </a:cubicBezTo>
                  <a:cubicBezTo>
                    <a:pt x="80586" y="99517"/>
                    <a:pt x="85454" y="101680"/>
                    <a:pt x="91403" y="101680"/>
                  </a:cubicBezTo>
                  <a:cubicBezTo>
                    <a:pt x="102762" y="101680"/>
                    <a:pt x="112497" y="92486"/>
                    <a:pt x="112497" y="80587"/>
                  </a:cubicBezTo>
                  <a:cubicBezTo>
                    <a:pt x="113037" y="71933"/>
                    <a:pt x="107088" y="63820"/>
                    <a:pt x="98435" y="61116"/>
                  </a:cubicBezTo>
                  <a:close/>
                </a:path>
              </a:pathLst>
            </a:custGeom>
            <a:solidFill>
              <a:srgbClr val="FACCD0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9666E43B-109B-BE9C-94A3-66062CFFBA1A}"/>
                </a:ext>
              </a:extLst>
            </p:cNvPr>
            <p:cNvSpPr/>
            <p:nvPr/>
          </p:nvSpPr>
          <p:spPr>
            <a:xfrm>
              <a:off x="6537335" y="5381474"/>
              <a:ext cx="43268" cy="43268"/>
            </a:xfrm>
            <a:custGeom>
              <a:avLst/>
              <a:gdLst>
                <a:gd name="connsiteX0" fmla="*/ 43268 w 43268"/>
                <a:gd name="connsiteY0" fmla="*/ 21634 h 43268"/>
                <a:gd name="connsiteX1" fmla="*/ 21634 w 43268"/>
                <a:gd name="connsiteY1" fmla="*/ 43268 h 43268"/>
                <a:gd name="connsiteX2" fmla="*/ 0 w 43268"/>
                <a:gd name="connsiteY2" fmla="*/ 21634 h 43268"/>
                <a:gd name="connsiteX3" fmla="*/ 21634 w 43268"/>
                <a:gd name="connsiteY3" fmla="*/ 0 h 43268"/>
                <a:gd name="connsiteX4" fmla="*/ 43268 w 43268"/>
                <a:gd name="connsiteY4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68" h="43268">
                  <a:moveTo>
                    <a:pt x="43268" y="21634"/>
                  </a:moveTo>
                  <a:cubicBezTo>
                    <a:pt x="43268" y="33582"/>
                    <a:pt x="33582" y="43268"/>
                    <a:pt x="21634" y="43268"/>
                  </a:cubicBezTo>
                  <a:cubicBezTo>
                    <a:pt x="9686" y="43268"/>
                    <a:pt x="0" y="33582"/>
                    <a:pt x="0" y="21634"/>
                  </a:cubicBezTo>
                  <a:cubicBezTo>
                    <a:pt x="0" y="9686"/>
                    <a:pt x="9686" y="0"/>
                    <a:pt x="21634" y="0"/>
                  </a:cubicBezTo>
                  <a:cubicBezTo>
                    <a:pt x="33582" y="0"/>
                    <a:pt x="43268" y="9686"/>
                    <a:pt x="43268" y="21634"/>
                  </a:cubicBezTo>
                  <a:close/>
                </a:path>
              </a:pathLst>
            </a:custGeom>
            <a:solidFill>
              <a:srgbClr val="FEF5F6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2AC248BB-2B15-AE7D-D968-5A95B93274BE}"/>
                </a:ext>
              </a:extLst>
            </p:cNvPr>
            <p:cNvSpPr/>
            <p:nvPr/>
          </p:nvSpPr>
          <p:spPr>
            <a:xfrm>
              <a:off x="6547423" y="5550648"/>
              <a:ext cx="53918" cy="53844"/>
            </a:xfrm>
            <a:custGeom>
              <a:avLst/>
              <a:gdLst>
                <a:gd name="connsiteX0" fmla="*/ 187 w 53918"/>
                <a:gd name="connsiteY0" fmla="*/ 53657 h 53844"/>
                <a:gd name="connsiteX1" fmla="*/ 12627 w 53918"/>
                <a:gd name="connsiteY1" fmla="*/ 12552 h 53844"/>
                <a:gd name="connsiteX2" fmla="*/ 53732 w 53918"/>
                <a:gd name="connsiteY2" fmla="*/ 113 h 53844"/>
                <a:gd name="connsiteX3" fmla="*/ 41292 w 53918"/>
                <a:gd name="connsiteY3" fmla="*/ 41218 h 53844"/>
                <a:gd name="connsiteX4" fmla="*/ 187 w 53918"/>
                <a:gd name="connsiteY4" fmla="*/ 53657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8" h="53844">
                  <a:moveTo>
                    <a:pt x="187" y="53657"/>
                  </a:moveTo>
                  <a:cubicBezTo>
                    <a:pt x="187" y="53657"/>
                    <a:pt x="-2517" y="27156"/>
                    <a:pt x="12627" y="12552"/>
                  </a:cubicBezTo>
                  <a:cubicBezTo>
                    <a:pt x="27771" y="-2050"/>
                    <a:pt x="53732" y="113"/>
                    <a:pt x="53732" y="113"/>
                  </a:cubicBezTo>
                  <a:cubicBezTo>
                    <a:pt x="53732" y="113"/>
                    <a:pt x="56436" y="26614"/>
                    <a:pt x="41292" y="41218"/>
                  </a:cubicBezTo>
                  <a:cubicBezTo>
                    <a:pt x="26689" y="56361"/>
                    <a:pt x="187" y="53657"/>
                    <a:pt x="187" y="53657"/>
                  </a:cubicBezTo>
                  <a:close/>
                </a:path>
              </a:pathLst>
            </a:custGeom>
            <a:solidFill>
              <a:srgbClr val="4BA38A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A35A112C-3AA9-E275-220E-E509CE9F4F08}"/>
                </a:ext>
              </a:extLst>
            </p:cNvPr>
            <p:cNvSpPr/>
            <p:nvPr/>
          </p:nvSpPr>
          <p:spPr>
            <a:xfrm>
              <a:off x="6492257" y="5622507"/>
              <a:ext cx="53918" cy="53844"/>
            </a:xfrm>
            <a:custGeom>
              <a:avLst/>
              <a:gdLst>
                <a:gd name="connsiteX0" fmla="*/ 187 w 53918"/>
                <a:gd name="connsiteY0" fmla="*/ 187 h 53844"/>
                <a:gd name="connsiteX1" fmla="*/ 12626 w 53918"/>
                <a:gd name="connsiteY1" fmla="*/ 41292 h 53844"/>
                <a:gd name="connsiteX2" fmla="*/ 53731 w 53918"/>
                <a:gd name="connsiteY2" fmla="*/ 53732 h 53844"/>
                <a:gd name="connsiteX3" fmla="*/ 41292 w 53918"/>
                <a:gd name="connsiteY3" fmla="*/ 12627 h 53844"/>
                <a:gd name="connsiteX4" fmla="*/ 187 w 53918"/>
                <a:gd name="connsiteY4" fmla="*/ 187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8" h="53844">
                  <a:moveTo>
                    <a:pt x="187" y="187"/>
                  </a:moveTo>
                  <a:cubicBezTo>
                    <a:pt x="187" y="187"/>
                    <a:pt x="-2517" y="26689"/>
                    <a:pt x="12626" y="41292"/>
                  </a:cubicBezTo>
                  <a:cubicBezTo>
                    <a:pt x="27230" y="55895"/>
                    <a:pt x="53731" y="53732"/>
                    <a:pt x="53731" y="53732"/>
                  </a:cubicBezTo>
                  <a:cubicBezTo>
                    <a:pt x="53731" y="53732"/>
                    <a:pt x="56435" y="27230"/>
                    <a:pt x="41292" y="12627"/>
                  </a:cubicBezTo>
                  <a:cubicBezTo>
                    <a:pt x="26688" y="-2517"/>
                    <a:pt x="187" y="187"/>
                    <a:pt x="187" y="187"/>
                  </a:cubicBezTo>
                  <a:close/>
                </a:path>
              </a:pathLst>
            </a:custGeom>
            <a:solidFill>
              <a:srgbClr val="4BA38A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8B02637-BCA0-5250-F9DB-1F51C2ADD641}"/>
                </a:ext>
              </a:extLst>
            </p:cNvPr>
            <p:cNvSpPr/>
            <p:nvPr/>
          </p:nvSpPr>
          <p:spPr>
            <a:xfrm>
              <a:off x="6545988" y="5465306"/>
              <a:ext cx="3245" cy="259608"/>
            </a:xfrm>
            <a:custGeom>
              <a:avLst/>
              <a:gdLst>
                <a:gd name="connsiteX0" fmla="*/ 541 w 3245"/>
                <a:gd name="connsiteY0" fmla="*/ 0 h 259608"/>
                <a:gd name="connsiteX1" fmla="*/ 1623 w 3245"/>
                <a:gd name="connsiteY1" fmla="*/ 17307 h 259608"/>
                <a:gd name="connsiteX2" fmla="*/ 541 w 3245"/>
                <a:gd name="connsiteY2" fmla="*/ 34615 h 259608"/>
                <a:gd name="connsiteX3" fmla="*/ 541 w 3245"/>
                <a:gd name="connsiteY3" fmla="*/ 51922 h 259608"/>
                <a:gd name="connsiteX4" fmla="*/ 2164 w 3245"/>
                <a:gd name="connsiteY4" fmla="*/ 69229 h 259608"/>
                <a:gd name="connsiteX5" fmla="*/ 2164 w 3245"/>
                <a:gd name="connsiteY5" fmla="*/ 86536 h 259608"/>
                <a:gd name="connsiteX6" fmla="*/ 0 w 3245"/>
                <a:gd name="connsiteY6" fmla="*/ 103843 h 259608"/>
                <a:gd name="connsiteX7" fmla="*/ 1623 w 3245"/>
                <a:gd name="connsiteY7" fmla="*/ 121151 h 259608"/>
                <a:gd name="connsiteX8" fmla="*/ 541 w 3245"/>
                <a:gd name="connsiteY8" fmla="*/ 138458 h 259608"/>
                <a:gd name="connsiteX9" fmla="*/ 1623 w 3245"/>
                <a:gd name="connsiteY9" fmla="*/ 155766 h 259608"/>
                <a:gd name="connsiteX10" fmla="*/ 1623 w 3245"/>
                <a:gd name="connsiteY10" fmla="*/ 173073 h 259608"/>
                <a:gd name="connsiteX11" fmla="*/ 1082 w 3245"/>
                <a:gd name="connsiteY11" fmla="*/ 190380 h 259608"/>
                <a:gd name="connsiteX12" fmla="*/ 1623 w 3245"/>
                <a:gd name="connsiteY12" fmla="*/ 207687 h 259608"/>
                <a:gd name="connsiteX13" fmla="*/ 3246 w 3245"/>
                <a:gd name="connsiteY13" fmla="*/ 224994 h 259608"/>
                <a:gd name="connsiteX14" fmla="*/ 2704 w 3245"/>
                <a:gd name="connsiteY14" fmla="*/ 242302 h 259608"/>
                <a:gd name="connsiteX15" fmla="*/ 2164 w 3245"/>
                <a:gd name="connsiteY15" fmla="*/ 259609 h 25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45" h="259608">
                  <a:moveTo>
                    <a:pt x="541" y="0"/>
                  </a:moveTo>
                  <a:cubicBezTo>
                    <a:pt x="541" y="8653"/>
                    <a:pt x="1623" y="8653"/>
                    <a:pt x="1623" y="17307"/>
                  </a:cubicBezTo>
                  <a:cubicBezTo>
                    <a:pt x="1623" y="25961"/>
                    <a:pt x="541" y="25961"/>
                    <a:pt x="541" y="34615"/>
                  </a:cubicBezTo>
                  <a:cubicBezTo>
                    <a:pt x="541" y="43268"/>
                    <a:pt x="541" y="43268"/>
                    <a:pt x="541" y="51922"/>
                  </a:cubicBezTo>
                  <a:cubicBezTo>
                    <a:pt x="541" y="60575"/>
                    <a:pt x="2164" y="60575"/>
                    <a:pt x="2164" y="69229"/>
                  </a:cubicBezTo>
                  <a:cubicBezTo>
                    <a:pt x="2164" y="77883"/>
                    <a:pt x="2164" y="77883"/>
                    <a:pt x="2164" y="86536"/>
                  </a:cubicBezTo>
                  <a:cubicBezTo>
                    <a:pt x="2164" y="95190"/>
                    <a:pt x="0" y="95190"/>
                    <a:pt x="0" y="103843"/>
                  </a:cubicBezTo>
                  <a:cubicBezTo>
                    <a:pt x="0" y="112497"/>
                    <a:pt x="1623" y="112497"/>
                    <a:pt x="1623" y="121151"/>
                  </a:cubicBezTo>
                  <a:cubicBezTo>
                    <a:pt x="1623" y="129804"/>
                    <a:pt x="541" y="129804"/>
                    <a:pt x="541" y="138458"/>
                  </a:cubicBezTo>
                  <a:cubicBezTo>
                    <a:pt x="541" y="147111"/>
                    <a:pt x="1623" y="147111"/>
                    <a:pt x="1623" y="155766"/>
                  </a:cubicBezTo>
                  <a:cubicBezTo>
                    <a:pt x="1623" y="164419"/>
                    <a:pt x="1623" y="164419"/>
                    <a:pt x="1623" y="173073"/>
                  </a:cubicBezTo>
                  <a:cubicBezTo>
                    <a:pt x="1623" y="181726"/>
                    <a:pt x="1082" y="181726"/>
                    <a:pt x="1082" y="190380"/>
                  </a:cubicBezTo>
                  <a:cubicBezTo>
                    <a:pt x="1082" y="199034"/>
                    <a:pt x="1623" y="199034"/>
                    <a:pt x="1623" y="207687"/>
                  </a:cubicBezTo>
                  <a:cubicBezTo>
                    <a:pt x="1623" y="216341"/>
                    <a:pt x="3246" y="216341"/>
                    <a:pt x="3246" y="224994"/>
                  </a:cubicBezTo>
                  <a:cubicBezTo>
                    <a:pt x="3246" y="233648"/>
                    <a:pt x="2704" y="233648"/>
                    <a:pt x="2704" y="242302"/>
                  </a:cubicBezTo>
                  <a:cubicBezTo>
                    <a:pt x="2704" y="250955"/>
                    <a:pt x="2164" y="250955"/>
                    <a:pt x="2164" y="259609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D0A2DBE7-1920-003E-A6CD-5E2019D6C7E8}"/>
                </a:ext>
              </a:extLst>
            </p:cNvPr>
            <p:cNvSpPr/>
            <p:nvPr/>
          </p:nvSpPr>
          <p:spPr>
            <a:xfrm>
              <a:off x="6497853" y="5344696"/>
              <a:ext cx="114119" cy="122232"/>
            </a:xfrm>
            <a:custGeom>
              <a:avLst/>
              <a:gdLst>
                <a:gd name="connsiteX0" fmla="*/ 98435 w 114119"/>
                <a:gd name="connsiteY0" fmla="*/ 59494 h 122232"/>
                <a:gd name="connsiteX1" fmla="*/ 108170 w 114119"/>
                <a:gd name="connsiteY1" fmla="*/ 51922 h 122232"/>
                <a:gd name="connsiteX2" fmla="*/ 114120 w 114119"/>
                <a:gd name="connsiteY2" fmla="*/ 40023 h 122232"/>
                <a:gd name="connsiteX3" fmla="*/ 106548 w 114119"/>
                <a:gd name="connsiteY3" fmla="*/ 25961 h 122232"/>
                <a:gd name="connsiteX4" fmla="*/ 92486 w 114119"/>
                <a:gd name="connsiteY4" fmla="*/ 18930 h 122232"/>
                <a:gd name="connsiteX5" fmla="*/ 77341 w 114119"/>
                <a:gd name="connsiteY5" fmla="*/ 24338 h 122232"/>
                <a:gd name="connsiteX6" fmla="*/ 77882 w 114119"/>
                <a:gd name="connsiteY6" fmla="*/ 20012 h 122232"/>
                <a:gd name="connsiteX7" fmla="*/ 72474 w 114119"/>
                <a:gd name="connsiteY7" fmla="*/ 4867 h 122232"/>
                <a:gd name="connsiteX8" fmla="*/ 57330 w 114119"/>
                <a:gd name="connsiteY8" fmla="*/ 0 h 122232"/>
                <a:gd name="connsiteX9" fmla="*/ 42186 w 114119"/>
                <a:gd name="connsiteY9" fmla="*/ 5409 h 122232"/>
                <a:gd name="connsiteX10" fmla="*/ 36237 w 114119"/>
                <a:gd name="connsiteY10" fmla="*/ 20552 h 122232"/>
                <a:gd name="connsiteX11" fmla="*/ 37318 w 114119"/>
                <a:gd name="connsiteY11" fmla="*/ 24879 h 122232"/>
                <a:gd name="connsiteX12" fmla="*/ 22175 w 114119"/>
                <a:gd name="connsiteY12" fmla="*/ 20552 h 122232"/>
                <a:gd name="connsiteX13" fmla="*/ 7571 w 114119"/>
                <a:gd name="connsiteY13" fmla="*/ 25961 h 122232"/>
                <a:gd name="connsiteX14" fmla="*/ 0 w 114119"/>
                <a:gd name="connsiteY14" fmla="*/ 40564 h 122232"/>
                <a:gd name="connsiteX15" fmla="*/ 5949 w 114119"/>
                <a:gd name="connsiteY15" fmla="*/ 53003 h 122232"/>
                <a:gd name="connsiteX16" fmla="*/ 15143 w 114119"/>
                <a:gd name="connsiteY16" fmla="*/ 61116 h 122232"/>
                <a:gd name="connsiteX17" fmla="*/ 4326 w 114119"/>
                <a:gd name="connsiteY17" fmla="*/ 68147 h 122232"/>
                <a:gd name="connsiteX18" fmla="*/ 1081 w 114119"/>
                <a:gd name="connsiteY18" fmla="*/ 81668 h 122232"/>
                <a:gd name="connsiteX19" fmla="*/ 7031 w 114119"/>
                <a:gd name="connsiteY19" fmla="*/ 96272 h 122232"/>
                <a:gd name="connsiteX20" fmla="*/ 21634 w 114119"/>
                <a:gd name="connsiteY20" fmla="*/ 102762 h 122232"/>
                <a:gd name="connsiteX21" fmla="*/ 35696 w 114119"/>
                <a:gd name="connsiteY21" fmla="*/ 96272 h 122232"/>
                <a:gd name="connsiteX22" fmla="*/ 34614 w 114119"/>
                <a:gd name="connsiteY22" fmla="*/ 101680 h 122232"/>
                <a:gd name="connsiteX23" fmla="*/ 40564 w 114119"/>
                <a:gd name="connsiteY23" fmla="*/ 117365 h 122232"/>
                <a:gd name="connsiteX24" fmla="*/ 56248 w 114119"/>
                <a:gd name="connsiteY24" fmla="*/ 122232 h 122232"/>
                <a:gd name="connsiteX25" fmla="*/ 70311 w 114119"/>
                <a:gd name="connsiteY25" fmla="*/ 115742 h 122232"/>
                <a:gd name="connsiteX26" fmla="*/ 77341 w 114119"/>
                <a:gd name="connsiteY26" fmla="*/ 101680 h 122232"/>
                <a:gd name="connsiteX27" fmla="*/ 76801 w 114119"/>
                <a:gd name="connsiteY27" fmla="*/ 96272 h 122232"/>
                <a:gd name="connsiteX28" fmla="*/ 91403 w 114119"/>
                <a:gd name="connsiteY28" fmla="*/ 101680 h 122232"/>
                <a:gd name="connsiteX29" fmla="*/ 105466 w 114119"/>
                <a:gd name="connsiteY29" fmla="*/ 95190 h 122232"/>
                <a:gd name="connsiteX30" fmla="*/ 111415 w 114119"/>
                <a:gd name="connsiteY30" fmla="*/ 81128 h 122232"/>
                <a:gd name="connsiteX31" fmla="*/ 98435 w 114119"/>
                <a:gd name="connsiteY31" fmla="*/ 59494 h 12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4119" h="122232">
                  <a:moveTo>
                    <a:pt x="98435" y="59494"/>
                  </a:moveTo>
                  <a:cubicBezTo>
                    <a:pt x="102762" y="58412"/>
                    <a:pt x="105466" y="55167"/>
                    <a:pt x="108170" y="51922"/>
                  </a:cubicBezTo>
                  <a:cubicBezTo>
                    <a:pt x="110875" y="48677"/>
                    <a:pt x="114120" y="44891"/>
                    <a:pt x="114120" y="40023"/>
                  </a:cubicBezTo>
                  <a:cubicBezTo>
                    <a:pt x="114120" y="34074"/>
                    <a:pt x="110333" y="29747"/>
                    <a:pt x="106548" y="25961"/>
                  </a:cubicBezTo>
                  <a:cubicBezTo>
                    <a:pt x="102762" y="22175"/>
                    <a:pt x="97894" y="18930"/>
                    <a:pt x="92486" y="18930"/>
                  </a:cubicBezTo>
                  <a:cubicBezTo>
                    <a:pt x="87077" y="18930"/>
                    <a:pt x="81128" y="20552"/>
                    <a:pt x="77341" y="24338"/>
                  </a:cubicBezTo>
                  <a:cubicBezTo>
                    <a:pt x="77882" y="22716"/>
                    <a:pt x="77882" y="21634"/>
                    <a:pt x="77882" y="20012"/>
                  </a:cubicBezTo>
                  <a:cubicBezTo>
                    <a:pt x="77882" y="14062"/>
                    <a:pt x="76260" y="8653"/>
                    <a:pt x="72474" y="4867"/>
                  </a:cubicBezTo>
                  <a:cubicBezTo>
                    <a:pt x="68688" y="1082"/>
                    <a:pt x="63279" y="0"/>
                    <a:pt x="57330" y="0"/>
                  </a:cubicBezTo>
                  <a:cubicBezTo>
                    <a:pt x="51381" y="0"/>
                    <a:pt x="45972" y="1622"/>
                    <a:pt x="42186" y="5409"/>
                  </a:cubicBezTo>
                  <a:cubicBezTo>
                    <a:pt x="38400" y="9195"/>
                    <a:pt x="36237" y="14603"/>
                    <a:pt x="36237" y="20552"/>
                  </a:cubicBezTo>
                  <a:cubicBezTo>
                    <a:pt x="36237" y="22175"/>
                    <a:pt x="37318" y="23257"/>
                    <a:pt x="37318" y="24879"/>
                  </a:cubicBezTo>
                  <a:cubicBezTo>
                    <a:pt x="33533" y="21093"/>
                    <a:pt x="28124" y="20552"/>
                    <a:pt x="22175" y="20552"/>
                  </a:cubicBezTo>
                  <a:cubicBezTo>
                    <a:pt x="16226" y="20552"/>
                    <a:pt x="11358" y="22175"/>
                    <a:pt x="7571" y="25961"/>
                  </a:cubicBezTo>
                  <a:cubicBezTo>
                    <a:pt x="3786" y="29747"/>
                    <a:pt x="0" y="34614"/>
                    <a:pt x="0" y="40564"/>
                  </a:cubicBezTo>
                  <a:cubicBezTo>
                    <a:pt x="0" y="45431"/>
                    <a:pt x="3245" y="49217"/>
                    <a:pt x="5949" y="53003"/>
                  </a:cubicBezTo>
                  <a:cubicBezTo>
                    <a:pt x="8653" y="56789"/>
                    <a:pt x="10817" y="59494"/>
                    <a:pt x="15143" y="61116"/>
                  </a:cubicBezTo>
                  <a:cubicBezTo>
                    <a:pt x="10817" y="62198"/>
                    <a:pt x="7031" y="64361"/>
                    <a:pt x="4326" y="68147"/>
                  </a:cubicBezTo>
                  <a:cubicBezTo>
                    <a:pt x="1622" y="71392"/>
                    <a:pt x="1081" y="76801"/>
                    <a:pt x="1081" y="81668"/>
                  </a:cubicBezTo>
                  <a:cubicBezTo>
                    <a:pt x="1081" y="87618"/>
                    <a:pt x="3245" y="92486"/>
                    <a:pt x="7031" y="96272"/>
                  </a:cubicBezTo>
                  <a:cubicBezTo>
                    <a:pt x="10817" y="100058"/>
                    <a:pt x="16226" y="102762"/>
                    <a:pt x="21634" y="102762"/>
                  </a:cubicBezTo>
                  <a:cubicBezTo>
                    <a:pt x="27043" y="102762"/>
                    <a:pt x="31910" y="100058"/>
                    <a:pt x="35696" y="96272"/>
                  </a:cubicBezTo>
                  <a:cubicBezTo>
                    <a:pt x="35155" y="97894"/>
                    <a:pt x="34614" y="100058"/>
                    <a:pt x="34614" y="101680"/>
                  </a:cubicBezTo>
                  <a:cubicBezTo>
                    <a:pt x="34614" y="107629"/>
                    <a:pt x="36778" y="113579"/>
                    <a:pt x="40564" y="117365"/>
                  </a:cubicBezTo>
                  <a:cubicBezTo>
                    <a:pt x="44350" y="121151"/>
                    <a:pt x="50299" y="122232"/>
                    <a:pt x="56248" y="122232"/>
                  </a:cubicBezTo>
                  <a:cubicBezTo>
                    <a:pt x="62198" y="122232"/>
                    <a:pt x="66524" y="119528"/>
                    <a:pt x="70311" y="115742"/>
                  </a:cubicBezTo>
                  <a:cubicBezTo>
                    <a:pt x="74096" y="111956"/>
                    <a:pt x="77341" y="107629"/>
                    <a:pt x="77341" y="101680"/>
                  </a:cubicBezTo>
                  <a:cubicBezTo>
                    <a:pt x="77341" y="100058"/>
                    <a:pt x="77341" y="97894"/>
                    <a:pt x="76801" y="96272"/>
                  </a:cubicBezTo>
                  <a:cubicBezTo>
                    <a:pt x="80586" y="100058"/>
                    <a:pt x="85454" y="101680"/>
                    <a:pt x="91403" y="101680"/>
                  </a:cubicBezTo>
                  <a:cubicBezTo>
                    <a:pt x="97353" y="101680"/>
                    <a:pt x="101680" y="98976"/>
                    <a:pt x="105466" y="95190"/>
                  </a:cubicBezTo>
                  <a:cubicBezTo>
                    <a:pt x="109252" y="91404"/>
                    <a:pt x="111415" y="87077"/>
                    <a:pt x="111415" y="81128"/>
                  </a:cubicBezTo>
                  <a:cubicBezTo>
                    <a:pt x="111956" y="70311"/>
                    <a:pt x="107088" y="62198"/>
                    <a:pt x="98435" y="59494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FCF835E-1BBE-021C-FD24-E38E3C9D0A77}"/>
                </a:ext>
              </a:extLst>
            </p:cNvPr>
            <p:cNvSpPr/>
            <p:nvPr/>
          </p:nvSpPr>
          <p:spPr>
            <a:xfrm>
              <a:off x="6537875" y="5381474"/>
              <a:ext cx="42727" cy="43268"/>
            </a:xfrm>
            <a:custGeom>
              <a:avLst/>
              <a:gdLst>
                <a:gd name="connsiteX0" fmla="*/ 42727 w 42727"/>
                <a:gd name="connsiteY0" fmla="*/ 21634 h 43268"/>
                <a:gd name="connsiteX1" fmla="*/ 36237 w 42727"/>
                <a:gd name="connsiteY1" fmla="*/ 6490 h 43268"/>
                <a:gd name="connsiteX2" fmla="*/ 21093 w 42727"/>
                <a:gd name="connsiteY2" fmla="*/ 0 h 43268"/>
                <a:gd name="connsiteX3" fmla="*/ 5409 w 42727"/>
                <a:gd name="connsiteY3" fmla="*/ 6490 h 43268"/>
                <a:gd name="connsiteX4" fmla="*/ 0 w 42727"/>
                <a:gd name="connsiteY4" fmla="*/ 22175 h 43268"/>
                <a:gd name="connsiteX5" fmla="*/ 5409 w 42727"/>
                <a:gd name="connsiteY5" fmla="*/ 37319 h 43268"/>
                <a:gd name="connsiteX6" fmla="*/ 20553 w 42727"/>
                <a:gd name="connsiteY6" fmla="*/ 43268 h 43268"/>
                <a:gd name="connsiteX7" fmla="*/ 35155 w 42727"/>
                <a:gd name="connsiteY7" fmla="*/ 36778 h 43268"/>
                <a:gd name="connsiteX8" fmla="*/ 42727 w 42727"/>
                <a:gd name="connsiteY8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27" h="43268">
                  <a:moveTo>
                    <a:pt x="42727" y="21634"/>
                  </a:moveTo>
                  <a:cubicBezTo>
                    <a:pt x="42727" y="15685"/>
                    <a:pt x="40564" y="10276"/>
                    <a:pt x="36237" y="6490"/>
                  </a:cubicBezTo>
                  <a:cubicBezTo>
                    <a:pt x="32451" y="2704"/>
                    <a:pt x="27043" y="0"/>
                    <a:pt x="21093" y="0"/>
                  </a:cubicBezTo>
                  <a:cubicBezTo>
                    <a:pt x="15144" y="0"/>
                    <a:pt x="9736" y="2164"/>
                    <a:pt x="5409" y="6490"/>
                  </a:cubicBezTo>
                  <a:cubicBezTo>
                    <a:pt x="1623" y="10276"/>
                    <a:pt x="0" y="16226"/>
                    <a:pt x="0" y="22175"/>
                  </a:cubicBezTo>
                  <a:cubicBezTo>
                    <a:pt x="0" y="28124"/>
                    <a:pt x="1623" y="33533"/>
                    <a:pt x="5409" y="37319"/>
                  </a:cubicBezTo>
                  <a:cubicBezTo>
                    <a:pt x="9195" y="41105"/>
                    <a:pt x="14603" y="43268"/>
                    <a:pt x="20553" y="43268"/>
                  </a:cubicBezTo>
                  <a:cubicBezTo>
                    <a:pt x="26502" y="43268"/>
                    <a:pt x="31370" y="40564"/>
                    <a:pt x="35155" y="36778"/>
                  </a:cubicBezTo>
                  <a:cubicBezTo>
                    <a:pt x="40023" y="32451"/>
                    <a:pt x="42727" y="27583"/>
                    <a:pt x="42727" y="21634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4418EC1F-50E8-921B-7260-395CAEACF015}"/>
                </a:ext>
              </a:extLst>
            </p:cNvPr>
            <p:cNvSpPr/>
            <p:nvPr/>
          </p:nvSpPr>
          <p:spPr>
            <a:xfrm>
              <a:off x="6545154" y="5548491"/>
              <a:ext cx="58496" cy="58084"/>
            </a:xfrm>
            <a:custGeom>
              <a:avLst/>
              <a:gdLst>
                <a:gd name="connsiteX0" fmla="*/ 2997 w 58496"/>
                <a:gd name="connsiteY0" fmla="*/ 55273 h 58084"/>
                <a:gd name="connsiteX1" fmla="*/ 2456 w 58496"/>
                <a:gd name="connsiteY1" fmla="*/ 41211 h 58084"/>
                <a:gd name="connsiteX2" fmla="*/ 6783 w 58496"/>
                <a:gd name="connsiteY2" fmla="*/ 27149 h 58084"/>
                <a:gd name="connsiteX3" fmla="*/ 14355 w 58496"/>
                <a:gd name="connsiteY3" fmla="*/ 14169 h 58084"/>
                <a:gd name="connsiteX4" fmla="*/ 27335 w 58496"/>
                <a:gd name="connsiteY4" fmla="*/ 7137 h 58084"/>
                <a:gd name="connsiteX5" fmla="*/ 41397 w 58496"/>
                <a:gd name="connsiteY5" fmla="*/ 1729 h 58084"/>
                <a:gd name="connsiteX6" fmla="*/ 55460 w 58496"/>
                <a:gd name="connsiteY6" fmla="*/ 2811 h 58084"/>
                <a:gd name="connsiteX7" fmla="*/ 56541 w 58496"/>
                <a:gd name="connsiteY7" fmla="*/ 16873 h 58084"/>
                <a:gd name="connsiteX8" fmla="*/ 52756 w 58496"/>
                <a:gd name="connsiteY8" fmla="*/ 31476 h 58084"/>
                <a:gd name="connsiteX9" fmla="*/ 43020 w 58496"/>
                <a:gd name="connsiteY9" fmla="*/ 42834 h 58084"/>
                <a:gd name="connsiteX10" fmla="*/ 31122 w 58496"/>
                <a:gd name="connsiteY10" fmla="*/ 50947 h 58084"/>
                <a:gd name="connsiteX11" fmla="*/ 17059 w 58496"/>
                <a:gd name="connsiteY11" fmla="*/ 56355 h 58084"/>
                <a:gd name="connsiteX12" fmla="*/ 2997 w 58496"/>
                <a:gd name="connsiteY12" fmla="*/ 55273 h 5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496" h="58084">
                  <a:moveTo>
                    <a:pt x="2997" y="55273"/>
                  </a:moveTo>
                  <a:cubicBezTo>
                    <a:pt x="-2412" y="49865"/>
                    <a:pt x="833" y="49865"/>
                    <a:pt x="2456" y="41211"/>
                  </a:cubicBezTo>
                  <a:cubicBezTo>
                    <a:pt x="2997" y="36884"/>
                    <a:pt x="5161" y="32017"/>
                    <a:pt x="6783" y="27149"/>
                  </a:cubicBezTo>
                  <a:cubicBezTo>
                    <a:pt x="8406" y="22822"/>
                    <a:pt x="10569" y="17954"/>
                    <a:pt x="14355" y="14169"/>
                  </a:cubicBezTo>
                  <a:cubicBezTo>
                    <a:pt x="18141" y="10383"/>
                    <a:pt x="23009" y="8760"/>
                    <a:pt x="27335" y="7137"/>
                  </a:cubicBezTo>
                  <a:cubicBezTo>
                    <a:pt x="32203" y="4974"/>
                    <a:pt x="37071" y="2270"/>
                    <a:pt x="41397" y="1729"/>
                  </a:cubicBezTo>
                  <a:cubicBezTo>
                    <a:pt x="49510" y="647"/>
                    <a:pt x="50592" y="-2057"/>
                    <a:pt x="55460" y="2811"/>
                  </a:cubicBezTo>
                  <a:cubicBezTo>
                    <a:pt x="60869" y="8219"/>
                    <a:pt x="57623" y="8760"/>
                    <a:pt x="56541" y="16873"/>
                  </a:cubicBezTo>
                  <a:cubicBezTo>
                    <a:pt x="56001" y="21200"/>
                    <a:pt x="54919" y="26609"/>
                    <a:pt x="52756" y="31476"/>
                  </a:cubicBezTo>
                  <a:cubicBezTo>
                    <a:pt x="51133" y="35803"/>
                    <a:pt x="46806" y="39048"/>
                    <a:pt x="43020" y="42834"/>
                  </a:cubicBezTo>
                  <a:cubicBezTo>
                    <a:pt x="39234" y="46620"/>
                    <a:pt x="35448" y="48783"/>
                    <a:pt x="31122" y="50947"/>
                  </a:cubicBezTo>
                  <a:cubicBezTo>
                    <a:pt x="26254" y="53110"/>
                    <a:pt x="21927" y="55814"/>
                    <a:pt x="17059" y="56355"/>
                  </a:cubicBezTo>
                  <a:cubicBezTo>
                    <a:pt x="8946" y="57437"/>
                    <a:pt x="8406" y="60141"/>
                    <a:pt x="2997" y="55273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EBD1E58-31E5-0904-3719-CA20ACC5BCB2}"/>
                </a:ext>
              </a:extLst>
            </p:cNvPr>
            <p:cNvSpPr/>
            <p:nvPr/>
          </p:nvSpPr>
          <p:spPr>
            <a:xfrm>
              <a:off x="6489723" y="5621110"/>
              <a:ext cx="58503" cy="57634"/>
            </a:xfrm>
            <a:custGeom>
              <a:avLst/>
              <a:gdLst>
                <a:gd name="connsiteX0" fmla="*/ 3261 w 58503"/>
                <a:gd name="connsiteY0" fmla="*/ 2125 h 57634"/>
                <a:gd name="connsiteX1" fmla="*/ 1639 w 58503"/>
                <a:gd name="connsiteY1" fmla="*/ 16188 h 57634"/>
                <a:gd name="connsiteX2" fmla="*/ 5966 w 58503"/>
                <a:gd name="connsiteY2" fmla="*/ 30791 h 57634"/>
                <a:gd name="connsiteX3" fmla="*/ 14619 w 58503"/>
                <a:gd name="connsiteY3" fmla="*/ 42689 h 57634"/>
                <a:gd name="connsiteX4" fmla="*/ 27600 w 58503"/>
                <a:gd name="connsiteY4" fmla="*/ 49720 h 57634"/>
                <a:gd name="connsiteX5" fmla="*/ 41662 w 58503"/>
                <a:gd name="connsiteY5" fmla="*/ 54588 h 57634"/>
                <a:gd name="connsiteX6" fmla="*/ 56264 w 58503"/>
                <a:gd name="connsiteY6" fmla="*/ 55129 h 57634"/>
                <a:gd name="connsiteX7" fmla="*/ 54642 w 58503"/>
                <a:gd name="connsiteY7" fmla="*/ 40526 h 57634"/>
                <a:gd name="connsiteX8" fmla="*/ 51938 w 58503"/>
                <a:gd name="connsiteY8" fmla="*/ 26463 h 57634"/>
                <a:gd name="connsiteX9" fmla="*/ 43825 w 58503"/>
                <a:gd name="connsiteY9" fmla="*/ 14565 h 57634"/>
                <a:gd name="connsiteX10" fmla="*/ 32468 w 58503"/>
                <a:gd name="connsiteY10" fmla="*/ 4829 h 57634"/>
                <a:gd name="connsiteX11" fmla="*/ 17864 w 58503"/>
                <a:gd name="connsiteY11" fmla="*/ 3207 h 57634"/>
                <a:gd name="connsiteX12" fmla="*/ 3261 w 58503"/>
                <a:gd name="connsiteY12" fmla="*/ 2125 h 57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503" h="57634">
                  <a:moveTo>
                    <a:pt x="3261" y="2125"/>
                  </a:moveTo>
                  <a:cubicBezTo>
                    <a:pt x="-2147" y="7534"/>
                    <a:pt x="557" y="8075"/>
                    <a:pt x="1639" y="16188"/>
                  </a:cubicBezTo>
                  <a:cubicBezTo>
                    <a:pt x="2179" y="20514"/>
                    <a:pt x="3802" y="25923"/>
                    <a:pt x="5966" y="30791"/>
                  </a:cubicBezTo>
                  <a:cubicBezTo>
                    <a:pt x="7588" y="35118"/>
                    <a:pt x="10833" y="39444"/>
                    <a:pt x="14619" y="42689"/>
                  </a:cubicBezTo>
                  <a:cubicBezTo>
                    <a:pt x="18405" y="46475"/>
                    <a:pt x="23273" y="47557"/>
                    <a:pt x="27600" y="49720"/>
                  </a:cubicBezTo>
                  <a:cubicBezTo>
                    <a:pt x="32468" y="51884"/>
                    <a:pt x="36794" y="54047"/>
                    <a:pt x="41662" y="54588"/>
                  </a:cubicBezTo>
                  <a:cubicBezTo>
                    <a:pt x="49775" y="55670"/>
                    <a:pt x="51397" y="60537"/>
                    <a:pt x="56264" y="55129"/>
                  </a:cubicBezTo>
                  <a:cubicBezTo>
                    <a:pt x="61673" y="49720"/>
                    <a:pt x="55724" y="48639"/>
                    <a:pt x="54642" y="40526"/>
                  </a:cubicBezTo>
                  <a:cubicBezTo>
                    <a:pt x="54102" y="36199"/>
                    <a:pt x="53560" y="31331"/>
                    <a:pt x="51938" y="26463"/>
                  </a:cubicBezTo>
                  <a:cubicBezTo>
                    <a:pt x="50315" y="22137"/>
                    <a:pt x="47070" y="18351"/>
                    <a:pt x="43825" y="14565"/>
                  </a:cubicBezTo>
                  <a:cubicBezTo>
                    <a:pt x="40039" y="10779"/>
                    <a:pt x="36794" y="6993"/>
                    <a:pt x="32468" y="4829"/>
                  </a:cubicBezTo>
                  <a:cubicBezTo>
                    <a:pt x="27600" y="2667"/>
                    <a:pt x="22191" y="3748"/>
                    <a:pt x="17864" y="3207"/>
                  </a:cubicBezTo>
                  <a:cubicBezTo>
                    <a:pt x="9211" y="2125"/>
                    <a:pt x="8670" y="-2742"/>
                    <a:pt x="3261" y="2125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A0F5AC15-A7BF-1652-C92B-48F2984AD269}"/>
              </a:ext>
            </a:extLst>
          </p:cNvPr>
          <p:cNvSpPr/>
          <p:nvPr/>
        </p:nvSpPr>
        <p:spPr>
          <a:xfrm>
            <a:off x="2885241" y="3854539"/>
            <a:ext cx="1080756" cy="1405777"/>
          </a:xfrm>
          <a:custGeom>
            <a:avLst/>
            <a:gdLst>
              <a:gd name="connsiteX0" fmla="*/ 716629 w 755165"/>
              <a:gd name="connsiteY0" fmla="*/ 859731 h 1161525"/>
              <a:gd name="connsiteX1" fmla="*/ 678228 w 755165"/>
              <a:gd name="connsiteY1" fmla="*/ 715864 h 1161525"/>
              <a:gd name="connsiteX2" fmla="*/ 651726 w 755165"/>
              <a:gd name="connsiteY2" fmla="*/ 729386 h 1161525"/>
              <a:gd name="connsiteX3" fmla="*/ 653349 w 755165"/>
              <a:gd name="connsiteY3" fmla="*/ 609857 h 1161525"/>
              <a:gd name="connsiteX4" fmla="*/ 671197 w 755165"/>
              <a:gd name="connsiteY4" fmla="*/ 561180 h 1161525"/>
              <a:gd name="connsiteX5" fmla="*/ 601968 w 755165"/>
              <a:gd name="connsiteY5" fmla="*/ 395680 h 1161525"/>
              <a:gd name="connsiteX6" fmla="*/ 612244 w 755165"/>
              <a:gd name="connsiteY6" fmla="*/ 381077 h 1161525"/>
              <a:gd name="connsiteX7" fmla="*/ 547882 w 755165"/>
              <a:gd name="connsiteY7" fmla="*/ 255599 h 1161525"/>
              <a:gd name="connsiteX8" fmla="*/ 515972 w 755165"/>
              <a:gd name="connsiteY8" fmla="*/ 116060 h 1161525"/>
              <a:gd name="connsiteX9" fmla="*/ 504074 w 755165"/>
              <a:gd name="connsiteY9" fmla="*/ 44126 h 1161525"/>
              <a:gd name="connsiteX10" fmla="*/ 400771 w 755165"/>
              <a:gd name="connsiteY10" fmla="*/ 112815 h 1161525"/>
              <a:gd name="connsiteX11" fmla="*/ 270426 w 755165"/>
              <a:gd name="connsiteY11" fmla="*/ 280479 h 1161525"/>
              <a:gd name="connsiteX12" fmla="*/ 94108 w 755165"/>
              <a:gd name="connsiteY12" fmla="*/ 432999 h 1161525"/>
              <a:gd name="connsiteX13" fmla="*/ 207146 w 755165"/>
              <a:gd name="connsiteY13" fmla="*/ 553609 h 1161525"/>
              <a:gd name="connsiteX14" fmla="*/ 212554 w 755165"/>
              <a:gd name="connsiteY14" fmla="*/ 588764 h 1161525"/>
              <a:gd name="connsiteX15" fmla="*/ 157388 w 755165"/>
              <a:gd name="connsiteY15" fmla="*/ 597959 h 1161525"/>
              <a:gd name="connsiteX16" fmla="*/ 117905 w 755165"/>
              <a:gd name="connsiteY16" fmla="*/ 684495 h 1161525"/>
              <a:gd name="connsiteX17" fmla="*/ 133049 w 755165"/>
              <a:gd name="connsiteY17" fmla="*/ 748856 h 1161525"/>
              <a:gd name="connsiteX18" fmla="*/ 69229 w 755165"/>
              <a:gd name="connsiteY18" fmla="*/ 785093 h 1161525"/>
              <a:gd name="connsiteX19" fmla="*/ 56789 w 755165"/>
              <a:gd name="connsiteY19" fmla="*/ 847291 h 1161525"/>
              <a:gd name="connsiteX20" fmla="*/ 81128 w 755165"/>
              <a:gd name="connsiteY20" fmla="*/ 894886 h 1161525"/>
              <a:gd name="connsiteX21" fmla="*/ 81128 w 755165"/>
              <a:gd name="connsiteY21" fmla="*/ 894886 h 1161525"/>
              <a:gd name="connsiteX22" fmla="*/ 0 w 755165"/>
              <a:gd name="connsiteY22" fmla="*/ 1029558 h 1161525"/>
              <a:gd name="connsiteX23" fmla="*/ 76260 w 755165"/>
              <a:gd name="connsiteY23" fmla="*/ 1161526 h 1161525"/>
              <a:gd name="connsiteX24" fmla="*/ 228239 w 755165"/>
              <a:gd name="connsiteY24" fmla="*/ 1161526 h 1161525"/>
              <a:gd name="connsiteX25" fmla="*/ 304499 w 755165"/>
              <a:gd name="connsiteY25" fmla="*/ 1029558 h 1161525"/>
              <a:gd name="connsiteX26" fmla="*/ 303958 w 755165"/>
              <a:gd name="connsiteY26" fmla="*/ 1019282 h 1161525"/>
              <a:gd name="connsiteX27" fmla="*/ 304499 w 755165"/>
              <a:gd name="connsiteY27" fmla="*/ 1019282 h 1161525"/>
              <a:gd name="connsiteX28" fmla="*/ 409425 w 755165"/>
              <a:gd name="connsiteY28" fmla="*/ 935450 h 1161525"/>
              <a:gd name="connsiteX29" fmla="*/ 452693 w 755165"/>
              <a:gd name="connsiteY29" fmla="*/ 1032803 h 1161525"/>
              <a:gd name="connsiteX30" fmla="*/ 608999 w 755165"/>
              <a:gd name="connsiteY30" fmla="*/ 967901 h 1161525"/>
              <a:gd name="connsiteX31" fmla="*/ 644695 w 755165"/>
              <a:gd name="connsiteY31" fmla="*/ 1101492 h 1161525"/>
              <a:gd name="connsiteX32" fmla="*/ 669574 w 755165"/>
              <a:gd name="connsiteY32" fmla="*/ 1101492 h 1161525"/>
              <a:gd name="connsiteX33" fmla="*/ 748538 w 755165"/>
              <a:gd name="connsiteY33" fmla="*/ 924092 h 1161525"/>
              <a:gd name="connsiteX34" fmla="*/ 716629 w 755165"/>
              <a:gd name="connsiteY34" fmla="*/ 859731 h 1161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755165" h="1161525">
                <a:moveTo>
                  <a:pt x="716629" y="859731"/>
                </a:moveTo>
                <a:cubicBezTo>
                  <a:pt x="790725" y="749938"/>
                  <a:pt x="746916" y="689903"/>
                  <a:pt x="678228" y="715864"/>
                </a:cubicBezTo>
                <a:lnTo>
                  <a:pt x="651726" y="729386"/>
                </a:lnTo>
                <a:cubicBezTo>
                  <a:pt x="726904" y="620674"/>
                  <a:pt x="714465" y="569293"/>
                  <a:pt x="653349" y="609857"/>
                </a:cubicBezTo>
                <a:lnTo>
                  <a:pt x="671197" y="561180"/>
                </a:lnTo>
                <a:cubicBezTo>
                  <a:pt x="687422" y="468695"/>
                  <a:pt x="662543" y="408660"/>
                  <a:pt x="601968" y="395680"/>
                </a:cubicBezTo>
                <a:lnTo>
                  <a:pt x="612244" y="381077"/>
                </a:lnTo>
                <a:cubicBezTo>
                  <a:pt x="643614" y="305358"/>
                  <a:pt x="629010" y="229098"/>
                  <a:pt x="547882" y="255599"/>
                </a:cubicBezTo>
                <a:cubicBezTo>
                  <a:pt x="586283" y="190697"/>
                  <a:pt x="578170" y="108488"/>
                  <a:pt x="515972" y="116060"/>
                </a:cubicBezTo>
                <a:cubicBezTo>
                  <a:pt x="564649" y="54402"/>
                  <a:pt x="534902" y="11675"/>
                  <a:pt x="504074" y="44126"/>
                </a:cubicBezTo>
                <a:cubicBezTo>
                  <a:pt x="509482" y="-32675"/>
                  <a:pt x="455397" y="-8877"/>
                  <a:pt x="400771" y="112815"/>
                </a:cubicBezTo>
                <a:cubicBezTo>
                  <a:pt x="361289" y="91180"/>
                  <a:pt x="295846" y="178257"/>
                  <a:pt x="270426" y="280479"/>
                </a:cubicBezTo>
                <a:cubicBezTo>
                  <a:pt x="209309" y="243701"/>
                  <a:pt x="108711" y="314552"/>
                  <a:pt x="94108" y="432999"/>
                </a:cubicBezTo>
                <a:cubicBezTo>
                  <a:pt x="87077" y="519535"/>
                  <a:pt x="136835" y="574702"/>
                  <a:pt x="207146" y="553609"/>
                </a:cubicBezTo>
                <a:lnTo>
                  <a:pt x="212554" y="588764"/>
                </a:lnTo>
                <a:cubicBezTo>
                  <a:pt x="191461" y="581192"/>
                  <a:pt x="172531" y="583356"/>
                  <a:pt x="157388" y="597959"/>
                </a:cubicBezTo>
                <a:cubicBezTo>
                  <a:pt x="141162" y="613102"/>
                  <a:pt x="128722" y="622297"/>
                  <a:pt x="117905" y="684495"/>
                </a:cubicBezTo>
                <a:lnTo>
                  <a:pt x="133049" y="748856"/>
                </a:lnTo>
                <a:cubicBezTo>
                  <a:pt x="108170" y="749938"/>
                  <a:pt x="86536" y="760214"/>
                  <a:pt x="69229" y="785093"/>
                </a:cubicBezTo>
                <a:cubicBezTo>
                  <a:pt x="56789" y="804564"/>
                  <a:pt x="52462" y="825116"/>
                  <a:pt x="56789" y="847291"/>
                </a:cubicBezTo>
                <a:cubicBezTo>
                  <a:pt x="58412" y="866221"/>
                  <a:pt x="67065" y="881906"/>
                  <a:pt x="81128" y="894886"/>
                </a:cubicBezTo>
                <a:lnTo>
                  <a:pt x="81128" y="894886"/>
                </a:lnTo>
                <a:cubicBezTo>
                  <a:pt x="32992" y="920306"/>
                  <a:pt x="0" y="971146"/>
                  <a:pt x="0" y="1029558"/>
                </a:cubicBezTo>
                <a:cubicBezTo>
                  <a:pt x="0" y="1085807"/>
                  <a:pt x="30828" y="1135024"/>
                  <a:pt x="76260" y="1161526"/>
                </a:cubicBezTo>
                <a:lnTo>
                  <a:pt x="228239" y="1161526"/>
                </a:lnTo>
                <a:cubicBezTo>
                  <a:pt x="273671" y="1135024"/>
                  <a:pt x="304499" y="1085807"/>
                  <a:pt x="304499" y="1029558"/>
                </a:cubicBezTo>
                <a:cubicBezTo>
                  <a:pt x="304499" y="1026313"/>
                  <a:pt x="304499" y="1022527"/>
                  <a:pt x="303958" y="1019282"/>
                </a:cubicBezTo>
                <a:lnTo>
                  <a:pt x="304499" y="1019282"/>
                </a:lnTo>
                <a:cubicBezTo>
                  <a:pt x="354258" y="1045243"/>
                  <a:pt x="384545" y="1000352"/>
                  <a:pt x="409425" y="935450"/>
                </a:cubicBezTo>
                <a:lnTo>
                  <a:pt x="452693" y="1032803"/>
                </a:lnTo>
                <a:cubicBezTo>
                  <a:pt x="553832" y="1096083"/>
                  <a:pt x="608999" y="967901"/>
                  <a:pt x="608999" y="967901"/>
                </a:cubicBezTo>
                <a:cubicBezTo>
                  <a:pt x="608999" y="967901"/>
                  <a:pt x="591691" y="1074449"/>
                  <a:pt x="644695" y="1101492"/>
                </a:cubicBezTo>
                <a:cubicBezTo>
                  <a:pt x="651726" y="1104737"/>
                  <a:pt x="660380" y="1100951"/>
                  <a:pt x="669574" y="1101492"/>
                </a:cubicBezTo>
                <a:cubicBezTo>
                  <a:pt x="733395" y="1091215"/>
                  <a:pt x="755570" y="990076"/>
                  <a:pt x="748538" y="924092"/>
                </a:cubicBezTo>
                <a:cubicBezTo>
                  <a:pt x="743671" y="879202"/>
                  <a:pt x="716629" y="859731"/>
                  <a:pt x="716629" y="859731"/>
                </a:cubicBezTo>
                <a:close/>
              </a:path>
            </a:pathLst>
          </a:custGeom>
          <a:solidFill>
            <a:srgbClr val="88BCAD"/>
          </a:solidFill>
          <a:ln w="540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233A420C-8F9B-D997-DE1D-5731E6A294F1}"/>
              </a:ext>
            </a:extLst>
          </p:cNvPr>
          <p:cNvSpPr/>
          <p:nvPr/>
        </p:nvSpPr>
        <p:spPr>
          <a:xfrm>
            <a:off x="3423974" y="4506235"/>
            <a:ext cx="215957" cy="754737"/>
          </a:xfrm>
          <a:custGeom>
            <a:avLst/>
            <a:gdLst>
              <a:gd name="connsiteX0" fmla="*/ 0 w 150897"/>
              <a:gd name="connsiteY0" fmla="*/ 76260 h 623602"/>
              <a:gd name="connsiteX1" fmla="*/ 0 w 150897"/>
              <a:gd name="connsiteY1" fmla="*/ 623602 h 623602"/>
              <a:gd name="connsiteX2" fmla="*/ 74096 w 150897"/>
              <a:gd name="connsiteY2" fmla="*/ 623602 h 623602"/>
              <a:gd name="connsiteX3" fmla="*/ 74096 w 150897"/>
              <a:gd name="connsiteY3" fmla="*/ 289356 h 623602"/>
              <a:gd name="connsiteX4" fmla="*/ 150898 w 150897"/>
              <a:gd name="connsiteY4" fmla="*/ 40023 h 623602"/>
              <a:gd name="connsiteX5" fmla="*/ 126559 w 150897"/>
              <a:gd name="connsiteY5" fmla="*/ 40023 h 623602"/>
              <a:gd name="connsiteX6" fmla="*/ 73556 w 150897"/>
              <a:gd name="connsiteY6" fmla="*/ 204983 h 623602"/>
              <a:gd name="connsiteX7" fmla="*/ 70311 w 150897"/>
              <a:gd name="connsiteY7" fmla="*/ 0 h 623602"/>
              <a:gd name="connsiteX8" fmla="*/ 48677 w 150897"/>
              <a:gd name="connsiteY8" fmla="*/ 0 h 623602"/>
              <a:gd name="connsiteX9" fmla="*/ 0 w 150897"/>
              <a:gd name="connsiteY9" fmla="*/ 76260 h 623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0897" h="623602">
                <a:moveTo>
                  <a:pt x="0" y="76260"/>
                </a:moveTo>
                <a:lnTo>
                  <a:pt x="0" y="623602"/>
                </a:lnTo>
                <a:lnTo>
                  <a:pt x="74096" y="623602"/>
                </a:lnTo>
                <a:lnTo>
                  <a:pt x="74096" y="289356"/>
                </a:lnTo>
                <a:lnTo>
                  <a:pt x="150898" y="40023"/>
                </a:lnTo>
                <a:lnTo>
                  <a:pt x="126559" y="40023"/>
                </a:lnTo>
                <a:lnTo>
                  <a:pt x="73556" y="204983"/>
                </a:lnTo>
                <a:lnTo>
                  <a:pt x="70311" y="0"/>
                </a:lnTo>
                <a:lnTo>
                  <a:pt x="48677" y="0"/>
                </a:lnTo>
                <a:cubicBezTo>
                  <a:pt x="49758" y="0"/>
                  <a:pt x="44350" y="63821"/>
                  <a:pt x="0" y="76260"/>
                </a:cubicBezTo>
                <a:close/>
              </a:path>
            </a:pathLst>
          </a:custGeom>
          <a:solidFill>
            <a:srgbClr val="CADBCF"/>
          </a:solidFill>
          <a:ln w="540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602BE2CB-246C-28AA-32A3-AEBE9BB4DDAB}"/>
              </a:ext>
            </a:extLst>
          </p:cNvPr>
          <p:cNvGrpSpPr/>
          <p:nvPr/>
        </p:nvGrpSpPr>
        <p:grpSpPr>
          <a:xfrm>
            <a:off x="4011477" y="4674643"/>
            <a:ext cx="305746" cy="618199"/>
            <a:chOff x="4020759" y="4169004"/>
            <a:chExt cx="305746" cy="618199"/>
          </a:xfrm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9D200A9-0B91-D52F-68C1-003243536A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21574" y="4170584"/>
              <a:ext cx="304707" cy="494212"/>
            </a:xfrm>
            <a:custGeom>
              <a:avLst/>
              <a:gdLst>
                <a:gd name="connsiteX0" fmla="*/ 106520 w 212910"/>
                <a:gd name="connsiteY0" fmla="*/ 408343 h 408343"/>
                <a:gd name="connsiteX1" fmla="*/ 180076 w 212910"/>
                <a:gd name="connsiteY1" fmla="*/ 334787 h 408343"/>
                <a:gd name="connsiteX2" fmla="*/ 202792 w 212910"/>
                <a:gd name="connsiteY2" fmla="*/ 208228 h 408343"/>
                <a:gd name="connsiteX3" fmla="*/ 107061 w 212910"/>
                <a:gd name="connsiteY3" fmla="*/ 0 h 408343"/>
                <a:gd name="connsiteX4" fmla="*/ 105979 w 212910"/>
                <a:gd name="connsiteY4" fmla="*/ 0 h 408343"/>
                <a:gd name="connsiteX5" fmla="*/ 10249 w 212910"/>
                <a:gd name="connsiteY5" fmla="*/ 208228 h 408343"/>
                <a:gd name="connsiteX6" fmla="*/ 32964 w 212910"/>
                <a:gd name="connsiteY6" fmla="*/ 334787 h 408343"/>
                <a:gd name="connsiteX7" fmla="*/ 71906 w 212910"/>
                <a:gd name="connsiteY7" fmla="*/ 373728 h 408343"/>
                <a:gd name="connsiteX8" fmla="*/ 106520 w 212910"/>
                <a:gd name="connsiteY8" fmla="*/ 408343 h 408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910" h="408343">
                  <a:moveTo>
                    <a:pt x="106520" y="408343"/>
                  </a:moveTo>
                  <a:lnTo>
                    <a:pt x="180076" y="334787"/>
                  </a:lnTo>
                  <a:cubicBezTo>
                    <a:pt x="213068" y="301795"/>
                    <a:pt x="222262" y="250955"/>
                    <a:pt x="202792" y="208228"/>
                  </a:cubicBezTo>
                  <a:lnTo>
                    <a:pt x="107061" y="0"/>
                  </a:lnTo>
                  <a:lnTo>
                    <a:pt x="105979" y="0"/>
                  </a:lnTo>
                  <a:lnTo>
                    <a:pt x="10249" y="208228"/>
                  </a:lnTo>
                  <a:cubicBezTo>
                    <a:pt x="-9222" y="250955"/>
                    <a:pt x="-569" y="301254"/>
                    <a:pt x="32964" y="334787"/>
                  </a:cubicBezTo>
                  <a:lnTo>
                    <a:pt x="71906" y="373728"/>
                  </a:lnTo>
                  <a:lnTo>
                    <a:pt x="106520" y="408343"/>
                  </a:lnTo>
                  <a:close/>
                </a:path>
              </a:pathLst>
            </a:custGeom>
            <a:solidFill>
              <a:srgbClr val="88BCAC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57B00947-92D4-81B6-7568-667F80BE243E}"/>
                </a:ext>
              </a:extLst>
            </p:cNvPr>
            <p:cNvSpPr/>
            <p:nvPr/>
          </p:nvSpPr>
          <p:spPr>
            <a:xfrm>
              <a:off x="4171699" y="4311975"/>
              <a:ext cx="3870" cy="475228"/>
            </a:xfrm>
            <a:custGeom>
              <a:avLst/>
              <a:gdLst>
                <a:gd name="connsiteX0" fmla="*/ 0 w 2704"/>
                <a:gd name="connsiteY0" fmla="*/ 0 h 392658"/>
                <a:gd name="connsiteX1" fmla="*/ 1623 w 2704"/>
                <a:gd name="connsiteY1" fmla="*/ 17848 h 392658"/>
                <a:gd name="connsiteX2" fmla="*/ 541 w 2704"/>
                <a:gd name="connsiteY2" fmla="*/ 35696 h 392658"/>
                <a:gd name="connsiteX3" fmla="*/ 2164 w 2704"/>
                <a:gd name="connsiteY3" fmla="*/ 53544 h 392658"/>
                <a:gd name="connsiteX4" fmla="*/ 1081 w 2704"/>
                <a:gd name="connsiteY4" fmla="*/ 71392 h 392658"/>
                <a:gd name="connsiteX5" fmla="*/ 1081 w 2704"/>
                <a:gd name="connsiteY5" fmla="*/ 89241 h 392658"/>
                <a:gd name="connsiteX6" fmla="*/ 541 w 2704"/>
                <a:gd name="connsiteY6" fmla="*/ 107089 h 392658"/>
                <a:gd name="connsiteX7" fmla="*/ 2704 w 2704"/>
                <a:gd name="connsiteY7" fmla="*/ 124937 h 392658"/>
                <a:gd name="connsiteX8" fmla="*/ 2164 w 2704"/>
                <a:gd name="connsiteY8" fmla="*/ 142785 h 392658"/>
                <a:gd name="connsiteX9" fmla="*/ 1623 w 2704"/>
                <a:gd name="connsiteY9" fmla="*/ 160633 h 392658"/>
                <a:gd name="connsiteX10" fmla="*/ 1081 w 2704"/>
                <a:gd name="connsiteY10" fmla="*/ 178481 h 392658"/>
                <a:gd name="connsiteX11" fmla="*/ 2704 w 2704"/>
                <a:gd name="connsiteY11" fmla="*/ 196329 h 392658"/>
                <a:gd name="connsiteX12" fmla="*/ 2704 w 2704"/>
                <a:gd name="connsiteY12" fmla="*/ 214177 h 392658"/>
                <a:gd name="connsiteX13" fmla="*/ 1623 w 2704"/>
                <a:gd name="connsiteY13" fmla="*/ 232026 h 392658"/>
                <a:gd name="connsiteX14" fmla="*/ 1623 w 2704"/>
                <a:gd name="connsiteY14" fmla="*/ 249874 h 392658"/>
                <a:gd name="connsiteX15" fmla="*/ 2704 w 2704"/>
                <a:gd name="connsiteY15" fmla="*/ 267722 h 392658"/>
                <a:gd name="connsiteX16" fmla="*/ 2164 w 2704"/>
                <a:gd name="connsiteY16" fmla="*/ 285570 h 392658"/>
                <a:gd name="connsiteX17" fmla="*/ 1623 w 2704"/>
                <a:gd name="connsiteY17" fmla="*/ 303418 h 392658"/>
                <a:gd name="connsiteX18" fmla="*/ 541 w 2704"/>
                <a:gd name="connsiteY18" fmla="*/ 321266 h 392658"/>
                <a:gd name="connsiteX19" fmla="*/ 0 w 2704"/>
                <a:gd name="connsiteY19" fmla="*/ 339114 h 392658"/>
                <a:gd name="connsiteX20" fmla="*/ 541 w 2704"/>
                <a:gd name="connsiteY20" fmla="*/ 356962 h 392658"/>
                <a:gd name="connsiteX21" fmla="*/ 0 w 2704"/>
                <a:gd name="connsiteY21" fmla="*/ 374811 h 392658"/>
                <a:gd name="connsiteX22" fmla="*/ 1081 w 2704"/>
                <a:gd name="connsiteY22" fmla="*/ 392659 h 392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04" h="392658">
                  <a:moveTo>
                    <a:pt x="0" y="0"/>
                  </a:moveTo>
                  <a:cubicBezTo>
                    <a:pt x="0" y="9195"/>
                    <a:pt x="1623" y="9195"/>
                    <a:pt x="1623" y="17848"/>
                  </a:cubicBezTo>
                  <a:cubicBezTo>
                    <a:pt x="1623" y="27043"/>
                    <a:pt x="541" y="27043"/>
                    <a:pt x="541" y="35696"/>
                  </a:cubicBezTo>
                  <a:cubicBezTo>
                    <a:pt x="541" y="44891"/>
                    <a:pt x="2164" y="44891"/>
                    <a:pt x="2164" y="53544"/>
                  </a:cubicBezTo>
                  <a:cubicBezTo>
                    <a:pt x="2164" y="62739"/>
                    <a:pt x="1081" y="62739"/>
                    <a:pt x="1081" y="71392"/>
                  </a:cubicBezTo>
                  <a:cubicBezTo>
                    <a:pt x="1081" y="80587"/>
                    <a:pt x="1081" y="80587"/>
                    <a:pt x="1081" y="89241"/>
                  </a:cubicBezTo>
                  <a:cubicBezTo>
                    <a:pt x="1081" y="98435"/>
                    <a:pt x="541" y="98435"/>
                    <a:pt x="541" y="107089"/>
                  </a:cubicBezTo>
                  <a:cubicBezTo>
                    <a:pt x="541" y="116283"/>
                    <a:pt x="2704" y="116283"/>
                    <a:pt x="2704" y="124937"/>
                  </a:cubicBezTo>
                  <a:cubicBezTo>
                    <a:pt x="2704" y="134132"/>
                    <a:pt x="2164" y="134132"/>
                    <a:pt x="2164" y="142785"/>
                  </a:cubicBezTo>
                  <a:cubicBezTo>
                    <a:pt x="2164" y="151980"/>
                    <a:pt x="1623" y="151980"/>
                    <a:pt x="1623" y="160633"/>
                  </a:cubicBezTo>
                  <a:cubicBezTo>
                    <a:pt x="1623" y="169828"/>
                    <a:pt x="1081" y="169828"/>
                    <a:pt x="1081" y="178481"/>
                  </a:cubicBezTo>
                  <a:cubicBezTo>
                    <a:pt x="1081" y="187676"/>
                    <a:pt x="2704" y="187676"/>
                    <a:pt x="2704" y="196329"/>
                  </a:cubicBezTo>
                  <a:cubicBezTo>
                    <a:pt x="2704" y="205524"/>
                    <a:pt x="2704" y="205524"/>
                    <a:pt x="2704" y="214177"/>
                  </a:cubicBezTo>
                  <a:cubicBezTo>
                    <a:pt x="2704" y="223372"/>
                    <a:pt x="1623" y="223372"/>
                    <a:pt x="1623" y="232026"/>
                  </a:cubicBezTo>
                  <a:cubicBezTo>
                    <a:pt x="1623" y="241220"/>
                    <a:pt x="1623" y="241220"/>
                    <a:pt x="1623" y="249874"/>
                  </a:cubicBezTo>
                  <a:cubicBezTo>
                    <a:pt x="1623" y="259068"/>
                    <a:pt x="2704" y="259068"/>
                    <a:pt x="2704" y="267722"/>
                  </a:cubicBezTo>
                  <a:cubicBezTo>
                    <a:pt x="2704" y="276916"/>
                    <a:pt x="2164" y="276916"/>
                    <a:pt x="2164" y="285570"/>
                  </a:cubicBezTo>
                  <a:cubicBezTo>
                    <a:pt x="2164" y="294764"/>
                    <a:pt x="1623" y="294764"/>
                    <a:pt x="1623" y="303418"/>
                  </a:cubicBezTo>
                  <a:cubicBezTo>
                    <a:pt x="1623" y="312613"/>
                    <a:pt x="541" y="312613"/>
                    <a:pt x="541" y="321266"/>
                  </a:cubicBezTo>
                  <a:cubicBezTo>
                    <a:pt x="541" y="330461"/>
                    <a:pt x="0" y="330461"/>
                    <a:pt x="0" y="339114"/>
                  </a:cubicBezTo>
                  <a:cubicBezTo>
                    <a:pt x="0" y="348309"/>
                    <a:pt x="541" y="348309"/>
                    <a:pt x="541" y="356962"/>
                  </a:cubicBezTo>
                  <a:cubicBezTo>
                    <a:pt x="541" y="366157"/>
                    <a:pt x="0" y="366157"/>
                    <a:pt x="0" y="374811"/>
                  </a:cubicBezTo>
                  <a:cubicBezTo>
                    <a:pt x="0" y="383464"/>
                    <a:pt x="1081" y="384005"/>
                    <a:pt x="1081" y="392659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BEB1980-7116-4847-1A08-9D6D52A13704}"/>
                </a:ext>
              </a:extLst>
            </p:cNvPr>
            <p:cNvSpPr/>
            <p:nvPr/>
          </p:nvSpPr>
          <p:spPr>
            <a:xfrm>
              <a:off x="4109001" y="4395107"/>
              <a:ext cx="65793" cy="54330"/>
            </a:xfrm>
            <a:custGeom>
              <a:avLst/>
              <a:gdLst>
                <a:gd name="connsiteX0" fmla="*/ 0 w 45972"/>
                <a:gd name="connsiteY0" fmla="*/ 0 h 44890"/>
                <a:gd name="connsiteX1" fmla="*/ 11358 w 45972"/>
                <a:gd name="connsiteY1" fmla="*/ 11358 h 44890"/>
                <a:gd name="connsiteX2" fmla="*/ 23256 w 45972"/>
                <a:gd name="connsiteY2" fmla="*/ 22175 h 44890"/>
                <a:gd name="connsiteX3" fmla="*/ 34073 w 45972"/>
                <a:gd name="connsiteY3" fmla="*/ 34074 h 44890"/>
                <a:gd name="connsiteX4" fmla="*/ 45972 w 45972"/>
                <a:gd name="connsiteY4" fmla="*/ 44891 h 4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72" h="44890">
                  <a:moveTo>
                    <a:pt x="0" y="0"/>
                  </a:moveTo>
                  <a:cubicBezTo>
                    <a:pt x="5409" y="5409"/>
                    <a:pt x="5409" y="5409"/>
                    <a:pt x="11358" y="11358"/>
                  </a:cubicBezTo>
                  <a:cubicBezTo>
                    <a:pt x="16766" y="16767"/>
                    <a:pt x="17307" y="16767"/>
                    <a:pt x="23256" y="22175"/>
                  </a:cubicBezTo>
                  <a:cubicBezTo>
                    <a:pt x="28665" y="27584"/>
                    <a:pt x="28665" y="28124"/>
                    <a:pt x="34073" y="34074"/>
                  </a:cubicBezTo>
                  <a:cubicBezTo>
                    <a:pt x="39482" y="39482"/>
                    <a:pt x="40564" y="38941"/>
                    <a:pt x="45972" y="44891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59E08CE8-F18B-0155-2CF7-399D028B80DE}"/>
                </a:ext>
              </a:extLst>
            </p:cNvPr>
            <p:cNvSpPr/>
            <p:nvPr/>
          </p:nvSpPr>
          <p:spPr>
            <a:xfrm>
              <a:off x="4173246" y="4471694"/>
              <a:ext cx="56505" cy="47784"/>
            </a:xfrm>
            <a:custGeom>
              <a:avLst/>
              <a:gdLst>
                <a:gd name="connsiteX0" fmla="*/ 39482 w 39482"/>
                <a:gd name="connsiteY0" fmla="*/ 0 h 39482"/>
                <a:gd name="connsiteX1" fmla="*/ 25961 w 39482"/>
                <a:gd name="connsiteY1" fmla="*/ 12440 h 39482"/>
                <a:gd name="connsiteX2" fmla="*/ 13521 w 39482"/>
                <a:gd name="connsiteY2" fmla="*/ 26502 h 39482"/>
                <a:gd name="connsiteX3" fmla="*/ 0 w 39482"/>
                <a:gd name="connsiteY3" fmla="*/ 39482 h 39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82" h="39482">
                  <a:moveTo>
                    <a:pt x="39482" y="0"/>
                  </a:moveTo>
                  <a:cubicBezTo>
                    <a:pt x="32992" y="6490"/>
                    <a:pt x="32451" y="5949"/>
                    <a:pt x="25961" y="12440"/>
                  </a:cubicBezTo>
                  <a:cubicBezTo>
                    <a:pt x="19471" y="18930"/>
                    <a:pt x="20012" y="20012"/>
                    <a:pt x="13521" y="26502"/>
                  </a:cubicBezTo>
                  <a:cubicBezTo>
                    <a:pt x="7031" y="32992"/>
                    <a:pt x="6491" y="32451"/>
                    <a:pt x="0" y="3948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ABAAB18-6E09-DAE8-0EFD-43F3B110A8D2}"/>
                </a:ext>
              </a:extLst>
            </p:cNvPr>
            <p:cNvSpPr/>
            <p:nvPr/>
          </p:nvSpPr>
          <p:spPr>
            <a:xfrm>
              <a:off x="4115192" y="4514241"/>
              <a:ext cx="56505" cy="50402"/>
            </a:xfrm>
            <a:custGeom>
              <a:avLst/>
              <a:gdLst>
                <a:gd name="connsiteX0" fmla="*/ 0 w 39482"/>
                <a:gd name="connsiteY0" fmla="*/ 0 h 41645"/>
                <a:gd name="connsiteX1" fmla="*/ 12981 w 39482"/>
                <a:gd name="connsiteY1" fmla="*/ 14062 h 41645"/>
                <a:gd name="connsiteX2" fmla="*/ 27584 w 39482"/>
                <a:gd name="connsiteY2" fmla="*/ 26502 h 41645"/>
                <a:gd name="connsiteX3" fmla="*/ 39482 w 39482"/>
                <a:gd name="connsiteY3" fmla="*/ 41646 h 4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82" h="41645">
                  <a:moveTo>
                    <a:pt x="0" y="0"/>
                  </a:moveTo>
                  <a:cubicBezTo>
                    <a:pt x="6491" y="6490"/>
                    <a:pt x="6491" y="7031"/>
                    <a:pt x="12981" y="14062"/>
                  </a:cubicBezTo>
                  <a:cubicBezTo>
                    <a:pt x="19471" y="20552"/>
                    <a:pt x="21093" y="19471"/>
                    <a:pt x="27584" y="26502"/>
                  </a:cubicBezTo>
                  <a:cubicBezTo>
                    <a:pt x="34074" y="32992"/>
                    <a:pt x="32992" y="34615"/>
                    <a:pt x="39482" y="41646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228A5D5-0A19-C492-30D1-764674DBCEED}"/>
                </a:ext>
              </a:extLst>
            </p:cNvPr>
            <p:cNvSpPr/>
            <p:nvPr/>
          </p:nvSpPr>
          <p:spPr>
            <a:xfrm>
              <a:off x="4020759" y="4169004"/>
              <a:ext cx="305746" cy="495791"/>
            </a:xfrm>
            <a:custGeom>
              <a:avLst/>
              <a:gdLst>
                <a:gd name="connsiteX0" fmla="*/ 107630 w 213636"/>
                <a:gd name="connsiteY0" fmla="*/ 409649 h 409648"/>
                <a:gd name="connsiteX1" fmla="*/ 119528 w 213636"/>
                <a:gd name="connsiteY1" fmla="*/ 397209 h 409648"/>
                <a:gd name="connsiteX2" fmla="*/ 132509 w 213636"/>
                <a:gd name="connsiteY2" fmla="*/ 385310 h 409648"/>
                <a:gd name="connsiteX3" fmla="*/ 144407 w 213636"/>
                <a:gd name="connsiteY3" fmla="*/ 372871 h 409648"/>
                <a:gd name="connsiteX4" fmla="*/ 156306 w 213636"/>
                <a:gd name="connsiteY4" fmla="*/ 360431 h 409648"/>
                <a:gd name="connsiteX5" fmla="*/ 168205 w 213636"/>
                <a:gd name="connsiteY5" fmla="*/ 347992 h 409648"/>
                <a:gd name="connsiteX6" fmla="*/ 180104 w 213636"/>
                <a:gd name="connsiteY6" fmla="*/ 335011 h 409648"/>
                <a:gd name="connsiteX7" fmla="*/ 191462 w 213636"/>
                <a:gd name="connsiteY7" fmla="*/ 322031 h 409648"/>
                <a:gd name="connsiteX8" fmla="*/ 201197 w 213636"/>
                <a:gd name="connsiteY8" fmla="*/ 307969 h 409648"/>
                <a:gd name="connsiteX9" fmla="*/ 206605 w 213636"/>
                <a:gd name="connsiteY9" fmla="*/ 291743 h 409648"/>
                <a:gd name="connsiteX10" fmla="*/ 210932 w 213636"/>
                <a:gd name="connsiteY10" fmla="*/ 275518 h 409648"/>
                <a:gd name="connsiteX11" fmla="*/ 213636 w 213636"/>
                <a:gd name="connsiteY11" fmla="*/ 258751 h 409648"/>
                <a:gd name="connsiteX12" fmla="*/ 212014 w 213636"/>
                <a:gd name="connsiteY12" fmla="*/ 241985 h 409648"/>
                <a:gd name="connsiteX13" fmla="*/ 208228 w 213636"/>
                <a:gd name="connsiteY13" fmla="*/ 225218 h 409648"/>
                <a:gd name="connsiteX14" fmla="*/ 203901 w 213636"/>
                <a:gd name="connsiteY14" fmla="*/ 208452 h 409648"/>
                <a:gd name="connsiteX15" fmla="*/ 195788 w 213636"/>
                <a:gd name="connsiteY15" fmla="*/ 192767 h 409648"/>
                <a:gd name="connsiteX16" fmla="*/ 187675 w 213636"/>
                <a:gd name="connsiteY16" fmla="*/ 177083 h 409648"/>
                <a:gd name="connsiteX17" fmla="*/ 180104 w 213636"/>
                <a:gd name="connsiteY17" fmla="*/ 161398 h 409648"/>
                <a:gd name="connsiteX18" fmla="*/ 174695 w 213636"/>
                <a:gd name="connsiteY18" fmla="*/ 144631 h 409648"/>
                <a:gd name="connsiteX19" fmla="*/ 166583 w 213636"/>
                <a:gd name="connsiteY19" fmla="*/ 128947 h 409648"/>
                <a:gd name="connsiteX20" fmla="*/ 160092 w 213636"/>
                <a:gd name="connsiteY20" fmla="*/ 112721 h 409648"/>
                <a:gd name="connsiteX21" fmla="*/ 152520 w 213636"/>
                <a:gd name="connsiteY21" fmla="*/ 96496 h 409648"/>
                <a:gd name="connsiteX22" fmla="*/ 143866 w 213636"/>
                <a:gd name="connsiteY22" fmla="*/ 81352 h 409648"/>
                <a:gd name="connsiteX23" fmla="*/ 138458 w 213636"/>
                <a:gd name="connsiteY23" fmla="*/ 64585 h 409648"/>
                <a:gd name="connsiteX24" fmla="*/ 129264 w 213636"/>
                <a:gd name="connsiteY24" fmla="*/ 49442 h 409648"/>
                <a:gd name="connsiteX25" fmla="*/ 123855 w 213636"/>
                <a:gd name="connsiteY25" fmla="*/ 32675 h 409648"/>
                <a:gd name="connsiteX26" fmla="*/ 116283 w 213636"/>
                <a:gd name="connsiteY26" fmla="*/ 16450 h 409648"/>
                <a:gd name="connsiteX27" fmla="*/ 109252 w 213636"/>
                <a:gd name="connsiteY27" fmla="*/ 224 h 409648"/>
                <a:gd name="connsiteX28" fmla="*/ 107089 w 213636"/>
                <a:gd name="connsiteY28" fmla="*/ 765 h 409648"/>
                <a:gd name="connsiteX29" fmla="*/ 99517 w 213636"/>
                <a:gd name="connsiteY29" fmla="*/ 16450 h 409648"/>
                <a:gd name="connsiteX30" fmla="*/ 92486 w 213636"/>
                <a:gd name="connsiteY30" fmla="*/ 32675 h 409648"/>
                <a:gd name="connsiteX31" fmla="*/ 84373 w 213636"/>
                <a:gd name="connsiteY31" fmla="*/ 48360 h 409648"/>
                <a:gd name="connsiteX32" fmla="*/ 77342 w 213636"/>
                <a:gd name="connsiteY32" fmla="*/ 64585 h 409648"/>
                <a:gd name="connsiteX33" fmla="*/ 70851 w 213636"/>
                <a:gd name="connsiteY33" fmla="*/ 80811 h 409648"/>
                <a:gd name="connsiteX34" fmla="*/ 64361 w 213636"/>
                <a:gd name="connsiteY34" fmla="*/ 97037 h 409648"/>
                <a:gd name="connsiteX35" fmla="*/ 56789 w 213636"/>
                <a:gd name="connsiteY35" fmla="*/ 112721 h 409648"/>
                <a:gd name="connsiteX36" fmla="*/ 49758 w 213636"/>
                <a:gd name="connsiteY36" fmla="*/ 128947 h 409648"/>
                <a:gd name="connsiteX37" fmla="*/ 42727 w 213636"/>
                <a:gd name="connsiteY37" fmla="*/ 145172 h 409648"/>
                <a:gd name="connsiteX38" fmla="*/ 34615 w 213636"/>
                <a:gd name="connsiteY38" fmla="*/ 160857 h 409648"/>
                <a:gd name="connsiteX39" fmla="*/ 27043 w 213636"/>
                <a:gd name="connsiteY39" fmla="*/ 177083 h 409648"/>
                <a:gd name="connsiteX40" fmla="*/ 19471 w 213636"/>
                <a:gd name="connsiteY40" fmla="*/ 193308 h 409648"/>
                <a:gd name="connsiteX41" fmla="*/ 10817 w 213636"/>
                <a:gd name="connsiteY41" fmla="*/ 208993 h 409648"/>
                <a:gd name="connsiteX42" fmla="*/ 5949 w 213636"/>
                <a:gd name="connsiteY42" fmla="*/ 225218 h 409648"/>
                <a:gd name="connsiteX43" fmla="*/ 2164 w 213636"/>
                <a:gd name="connsiteY43" fmla="*/ 241985 h 409648"/>
                <a:gd name="connsiteX44" fmla="*/ 0 w 213636"/>
                <a:gd name="connsiteY44" fmla="*/ 259292 h 409648"/>
                <a:gd name="connsiteX45" fmla="*/ 3786 w 213636"/>
                <a:gd name="connsiteY45" fmla="*/ 276058 h 409648"/>
                <a:gd name="connsiteX46" fmla="*/ 8113 w 213636"/>
                <a:gd name="connsiteY46" fmla="*/ 292284 h 409648"/>
                <a:gd name="connsiteX47" fmla="*/ 12981 w 213636"/>
                <a:gd name="connsiteY47" fmla="*/ 309051 h 409648"/>
                <a:gd name="connsiteX48" fmla="*/ 22716 w 213636"/>
                <a:gd name="connsiteY48" fmla="*/ 323113 h 409648"/>
                <a:gd name="connsiteX49" fmla="*/ 33533 w 213636"/>
                <a:gd name="connsiteY49" fmla="*/ 336634 h 409648"/>
                <a:gd name="connsiteX50" fmla="*/ 46513 w 213636"/>
                <a:gd name="connsiteY50" fmla="*/ 349614 h 409648"/>
                <a:gd name="connsiteX51" fmla="*/ 59494 w 213636"/>
                <a:gd name="connsiteY51" fmla="*/ 362595 h 409648"/>
                <a:gd name="connsiteX52" fmla="*/ 72474 w 213636"/>
                <a:gd name="connsiteY52" fmla="*/ 375575 h 40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13636" h="409648">
                  <a:moveTo>
                    <a:pt x="107630" y="409649"/>
                  </a:moveTo>
                  <a:cubicBezTo>
                    <a:pt x="113579" y="403700"/>
                    <a:pt x="113579" y="403159"/>
                    <a:pt x="119528" y="397209"/>
                  </a:cubicBezTo>
                  <a:cubicBezTo>
                    <a:pt x="125477" y="391260"/>
                    <a:pt x="126019" y="391801"/>
                    <a:pt x="132509" y="385310"/>
                  </a:cubicBezTo>
                  <a:cubicBezTo>
                    <a:pt x="138458" y="379361"/>
                    <a:pt x="138458" y="378820"/>
                    <a:pt x="144407" y="372871"/>
                  </a:cubicBezTo>
                  <a:cubicBezTo>
                    <a:pt x="150357" y="366921"/>
                    <a:pt x="150357" y="366381"/>
                    <a:pt x="156306" y="360431"/>
                  </a:cubicBezTo>
                  <a:cubicBezTo>
                    <a:pt x="162256" y="354482"/>
                    <a:pt x="162256" y="353941"/>
                    <a:pt x="168205" y="347992"/>
                  </a:cubicBezTo>
                  <a:cubicBezTo>
                    <a:pt x="174154" y="342042"/>
                    <a:pt x="173613" y="341502"/>
                    <a:pt x="180104" y="335011"/>
                  </a:cubicBezTo>
                  <a:cubicBezTo>
                    <a:pt x="184430" y="330685"/>
                    <a:pt x="188217" y="326899"/>
                    <a:pt x="191462" y="322031"/>
                  </a:cubicBezTo>
                  <a:cubicBezTo>
                    <a:pt x="194707" y="317163"/>
                    <a:pt x="198492" y="312836"/>
                    <a:pt x="201197" y="307969"/>
                  </a:cubicBezTo>
                  <a:cubicBezTo>
                    <a:pt x="203901" y="303101"/>
                    <a:pt x="204983" y="297152"/>
                    <a:pt x="206605" y="291743"/>
                  </a:cubicBezTo>
                  <a:cubicBezTo>
                    <a:pt x="208228" y="286335"/>
                    <a:pt x="209851" y="280926"/>
                    <a:pt x="210932" y="275518"/>
                  </a:cubicBezTo>
                  <a:cubicBezTo>
                    <a:pt x="212014" y="270109"/>
                    <a:pt x="213636" y="264160"/>
                    <a:pt x="213636" y="258751"/>
                  </a:cubicBezTo>
                  <a:cubicBezTo>
                    <a:pt x="213636" y="253343"/>
                    <a:pt x="213096" y="247393"/>
                    <a:pt x="212014" y="241985"/>
                  </a:cubicBezTo>
                  <a:cubicBezTo>
                    <a:pt x="211473" y="236576"/>
                    <a:pt x="209851" y="231168"/>
                    <a:pt x="208228" y="225218"/>
                  </a:cubicBezTo>
                  <a:cubicBezTo>
                    <a:pt x="206605" y="219810"/>
                    <a:pt x="206064" y="213860"/>
                    <a:pt x="203901" y="208452"/>
                  </a:cubicBezTo>
                  <a:cubicBezTo>
                    <a:pt x="200115" y="200339"/>
                    <a:pt x="199034" y="200880"/>
                    <a:pt x="195788" y="192767"/>
                  </a:cubicBezTo>
                  <a:cubicBezTo>
                    <a:pt x="192002" y="184655"/>
                    <a:pt x="191462" y="185195"/>
                    <a:pt x="187675" y="177083"/>
                  </a:cubicBezTo>
                  <a:cubicBezTo>
                    <a:pt x="183890" y="168970"/>
                    <a:pt x="183890" y="168970"/>
                    <a:pt x="180104" y="161398"/>
                  </a:cubicBezTo>
                  <a:cubicBezTo>
                    <a:pt x="176318" y="153285"/>
                    <a:pt x="177940" y="152744"/>
                    <a:pt x="174695" y="144631"/>
                  </a:cubicBezTo>
                  <a:cubicBezTo>
                    <a:pt x="170909" y="136519"/>
                    <a:pt x="170368" y="137059"/>
                    <a:pt x="166583" y="128947"/>
                  </a:cubicBezTo>
                  <a:cubicBezTo>
                    <a:pt x="162796" y="120834"/>
                    <a:pt x="163878" y="120293"/>
                    <a:pt x="160092" y="112721"/>
                  </a:cubicBezTo>
                  <a:cubicBezTo>
                    <a:pt x="156306" y="104608"/>
                    <a:pt x="156306" y="104608"/>
                    <a:pt x="152520" y="96496"/>
                  </a:cubicBezTo>
                  <a:cubicBezTo>
                    <a:pt x="148734" y="88383"/>
                    <a:pt x="147653" y="88924"/>
                    <a:pt x="143866" y="81352"/>
                  </a:cubicBezTo>
                  <a:cubicBezTo>
                    <a:pt x="140081" y="73239"/>
                    <a:pt x="141703" y="72698"/>
                    <a:pt x="138458" y="64585"/>
                  </a:cubicBezTo>
                  <a:cubicBezTo>
                    <a:pt x="134672" y="56473"/>
                    <a:pt x="133049" y="57554"/>
                    <a:pt x="129264" y="49442"/>
                  </a:cubicBezTo>
                  <a:cubicBezTo>
                    <a:pt x="125477" y="41329"/>
                    <a:pt x="127100" y="40788"/>
                    <a:pt x="123855" y="32675"/>
                  </a:cubicBezTo>
                  <a:cubicBezTo>
                    <a:pt x="120069" y="24562"/>
                    <a:pt x="120069" y="24562"/>
                    <a:pt x="116283" y="16450"/>
                  </a:cubicBezTo>
                  <a:cubicBezTo>
                    <a:pt x="112497" y="8337"/>
                    <a:pt x="113038" y="8337"/>
                    <a:pt x="109252" y="224"/>
                  </a:cubicBezTo>
                  <a:cubicBezTo>
                    <a:pt x="109252" y="-317"/>
                    <a:pt x="107089" y="224"/>
                    <a:pt x="107089" y="765"/>
                  </a:cubicBezTo>
                  <a:cubicBezTo>
                    <a:pt x="102762" y="8337"/>
                    <a:pt x="103303" y="8878"/>
                    <a:pt x="99517" y="16450"/>
                  </a:cubicBezTo>
                  <a:cubicBezTo>
                    <a:pt x="95730" y="24562"/>
                    <a:pt x="96272" y="24562"/>
                    <a:pt x="92486" y="32675"/>
                  </a:cubicBezTo>
                  <a:cubicBezTo>
                    <a:pt x="88700" y="40788"/>
                    <a:pt x="88159" y="40247"/>
                    <a:pt x="84373" y="48360"/>
                  </a:cubicBezTo>
                  <a:cubicBezTo>
                    <a:pt x="80587" y="56473"/>
                    <a:pt x="80587" y="56473"/>
                    <a:pt x="77342" y="64585"/>
                  </a:cubicBezTo>
                  <a:cubicBezTo>
                    <a:pt x="73556" y="72698"/>
                    <a:pt x="74096" y="72698"/>
                    <a:pt x="70851" y="80811"/>
                  </a:cubicBezTo>
                  <a:cubicBezTo>
                    <a:pt x="67066" y="88924"/>
                    <a:pt x="68147" y="89465"/>
                    <a:pt x="64361" y="97037"/>
                  </a:cubicBezTo>
                  <a:cubicBezTo>
                    <a:pt x="60575" y="105149"/>
                    <a:pt x="60034" y="104608"/>
                    <a:pt x="56789" y="112721"/>
                  </a:cubicBezTo>
                  <a:cubicBezTo>
                    <a:pt x="53004" y="120834"/>
                    <a:pt x="53544" y="120834"/>
                    <a:pt x="49758" y="128947"/>
                  </a:cubicBezTo>
                  <a:cubicBezTo>
                    <a:pt x="45972" y="137059"/>
                    <a:pt x="46513" y="137059"/>
                    <a:pt x="42727" y="145172"/>
                  </a:cubicBezTo>
                  <a:cubicBezTo>
                    <a:pt x="38941" y="153285"/>
                    <a:pt x="38400" y="152744"/>
                    <a:pt x="34615" y="160857"/>
                  </a:cubicBezTo>
                  <a:cubicBezTo>
                    <a:pt x="30828" y="168970"/>
                    <a:pt x="30828" y="168970"/>
                    <a:pt x="27043" y="177083"/>
                  </a:cubicBezTo>
                  <a:cubicBezTo>
                    <a:pt x="23257" y="185195"/>
                    <a:pt x="23257" y="185195"/>
                    <a:pt x="19471" y="193308"/>
                  </a:cubicBezTo>
                  <a:cubicBezTo>
                    <a:pt x="15685" y="201421"/>
                    <a:pt x="14603" y="200880"/>
                    <a:pt x="10817" y="208993"/>
                  </a:cubicBezTo>
                  <a:cubicBezTo>
                    <a:pt x="8653" y="214401"/>
                    <a:pt x="7572" y="219810"/>
                    <a:pt x="5949" y="225218"/>
                  </a:cubicBezTo>
                  <a:cubicBezTo>
                    <a:pt x="4327" y="230627"/>
                    <a:pt x="3245" y="236576"/>
                    <a:pt x="2164" y="241985"/>
                  </a:cubicBezTo>
                  <a:cubicBezTo>
                    <a:pt x="1623" y="247393"/>
                    <a:pt x="0" y="253343"/>
                    <a:pt x="0" y="259292"/>
                  </a:cubicBezTo>
                  <a:cubicBezTo>
                    <a:pt x="0" y="265241"/>
                    <a:pt x="2704" y="270650"/>
                    <a:pt x="3786" y="276058"/>
                  </a:cubicBezTo>
                  <a:cubicBezTo>
                    <a:pt x="4868" y="281467"/>
                    <a:pt x="6490" y="286875"/>
                    <a:pt x="8113" y="292284"/>
                  </a:cubicBezTo>
                  <a:cubicBezTo>
                    <a:pt x="9736" y="297692"/>
                    <a:pt x="10276" y="303642"/>
                    <a:pt x="12981" y="309051"/>
                  </a:cubicBezTo>
                  <a:cubicBezTo>
                    <a:pt x="15685" y="313918"/>
                    <a:pt x="19471" y="318786"/>
                    <a:pt x="22716" y="323113"/>
                  </a:cubicBezTo>
                  <a:cubicBezTo>
                    <a:pt x="25961" y="327439"/>
                    <a:pt x="29206" y="332307"/>
                    <a:pt x="33533" y="336634"/>
                  </a:cubicBezTo>
                  <a:cubicBezTo>
                    <a:pt x="40023" y="343124"/>
                    <a:pt x="40023" y="343124"/>
                    <a:pt x="46513" y="349614"/>
                  </a:cubicBezTo>
                  <a:cubicBezTo>
                    <a:pt x="53004" y="356104"/>
                    <a:pt x="53004" y="356104"/>
                    <a:pt x="59494" y="362595"/>
                  </a:cubicBezTo>
                  <a:cubicBezTo>
                    <a:pt x="65984" y="369085"/>
                    <a:pt x="65984" y="369085"/>
                    <a:pt x="72474" y="37557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D5A5A7EE-460E-F9EF-2673-1CF86996DD6F}"/>
              </a:ext>
            </a:extLst>
          </p:cNvPr>
          <p:cNvSpPr/>
          <p:nvPr/>
        </p:nvSpPr>
        <p:spPr>
          <a:xfrm>
            <a:off x="3743652" y="4163233"/>
            <a:ext cx="223045" cy="1030901"/>
          </a:xfrm>
          <a:custGeom>
            <a:avLst/>
            <a:gdLst>
              <a:gd name="connsiteX0" fmla="*/ 0 w 155850"/>
              <a:gd name="connsiteY0" fmla="*/ 0 h 851783"/>
              <a:gd name="connsiteX1" fmla="*/ 13521 w 155850"/>
              <a:gd name="connsiteY1" fmla="*/ 12440 h 851783"/>
              <a:gd name="connsiteX2" fmla="*/ 23257 w 155850"/>
              <a:gd name="connsiteY2" fmla="*/ 27583 h 851783"/>
              <a:gd name="connsiteX3" fmla="*/ 27584 w 155850"/>
              <a:gd name="connsiteY3" fmla="*/ 45432 h 851783"/>
              <a:gd name="connsiteX4" fmla="*/ 30288 w 155850"/>
              <a:gd name="connsiteY4" fmla="*/ 63820 h 851783"/>
              <a:gd name="connsiteX5" fmla="*/ 28125 w 155850"/>
              <a:gd name="connsiteY5" fmla="*/ 82210 h 851783"/>
              <a:gd name="connsiteX6" fmla="*/ 22716 w 155850"/>
              <a:gd name="connsiteY6" fmla="*/ 100058 h 851783"/>
              <a:gd name="connsiteX7" fmla="*/ 16767 w 155850"/>
              <a:gd name="connsiteY7" fmla="*/ 117365 h 851783"/>
              <a:gd name="connsiteX8" fmla="*/ 11899 w 155850"/>
              <a:gd name="connsiteY8" fmla="*/ 130345 h 851783"/>
              <a:gd name="connsiteX9" fmla="*/ 3246 w 155850"/>
              <a:gd name="connsiteY9" fmla="*/ 141162 h 851783"/>
              <a:gd name="connsiteX10" fmla="*/ 5950 w 155850"/>
              <a:gd name="connsiteY10" fmla="*/ 140621 h 851783"/>
              <a:gd name="connsiteX11" fmla="*/ 23257 w 155850"/>
              <a:gd name="connsiteY11" fmla="*/ 146571 h 851783"/>
              <a:gd name="connsiteX12" fmla="*/ 38942 w 155850"/>
              <a:gd name="connsiteY12" fmla="*/ 155765 h 851783"/>
              <a:gd name="connsiteX13" fmla="*/ 51922 w 155850"/>
              <a:gd name="connsiteY13" fmla="*/ 169287 h 851783"/>
              <a:gd name="connsiteX14" fmla="*/ 61657 w 155850"/>
              <a:gd name="connsiteY14" fmla="*/ 184971 h 851783"/>
              <a:gd name="connsiteX15" fmla="*/ 68148 w 155850"/>
              <a:gd name="connsiteY15" fmla="*/ 202279 h 851783"/>
              <a:gd name="connsiteX16" fmla="*/ 71393 w 155850"/>
              <a:gd name="connsiteY16" fmla="*/ 220127 h 851783"/>
              <a:gd name="connsiteX17" fmla="*/ 75179 w 155850"/>
              <a:gd name="connsiteY17" fmla="*/ 237975 h 851783"/>
              <a:gd name="connsiteX18" fmla="*/ 78424 w 155850"/>
              <a:gd name="connsiteY18" fmla="*/ 256364 h 851783"/>
              <a:gd name="connsiteX19" fmla="*/ 75719 w 155850"/>
              <a:gd name="connsiteY19" fmla="*/ 274753 h 851783"/>
              <a:gd name="connsiteX20" fmla="*/ 75719 w 155850"/>
              <a:gd name="connsiteY20" fmla="*/ 291519 h 851783"/>
              <a:gd name="connsiteX21" fmla="*/ 72474 w 155850"/>
              <a:gd name="connsiteY21" fmla="*/ 308286 h 851783"/>
              <a:gd name="connsiteX22" fmla="*/ 67066 w 155850"/>
              <a:gd name="connsiteY22" fmla="*/ 323970 h 851783"/>
              <a:gd name="connsiteX23" fmla="*/ 61117 w 155850"/>
              <a:gd name="connsiteY23" fmla="*/ 339655 h 851783"/>
              <a:gd name="connsiteX24" fmla="*/ 53544 w 155850"/>
              <a:gd name="connsiteY24" fmla="*/ 353717 h 851783"/>
              <a:gd name="connsiteX25" fmla="*/ 67066 w 155850"/>
              <a:gd name="connsiteY25" fmla="*/ 346686 h 851783"/>
              <a:gd name="connsiteX26" fmla="*/ 82210 w 155850"/>
              <a:gd name="connsiteY26" fmla="*/ 342900 h 851783"/>
              <a:gd name="connsiteX27" fmla="*/ 96813 w 155850"/>
              <a:gd name="connsiteY27" fmla="*/ 345604 h 851783"/>
              <a:gd name="connsiteX28" fmla="*/ 104925 w 155850"/>
              <a:gd name="connsiteY28" fmla="*/ 360748 h 851783"/>
              <a:gd name="connsiteX29" fmla="*/ 102221 w 155850"/>
              <a:gd name="connsiteY29" fmla="*/ 378596 h 851783"/>
              <a:gd name="connsiteX30" fmla="*/ 97895 w 155850"/>
              <a:gd name="connsiteY30" fmla="*/ 395904 h 851783"/>
              <a:gd name="connsiteX31" fmla="*/ 90323 w 155850"/>
              <a:gd name="connsiteY31" fmla="*/ 412129 h 851783"/>
              <a:gd name="connsiteX32" fmla="*/ 82210 w 155850"/>
              <a:gd name="connsiteY32" fmla="*/ 427814 h 851783"/>
              <a:gd name="connsiteX33" fmla="*/ 74638 w 155850"/>
              <a:gd name="connsiteY33" fmla="*/ 444039 h 851783"/>
              <a:gd name="connsiteX34" fmla="*/ 64361 w 155850"/>
              <a:gd name="connsiteY34" fmla="*/ 458642 h 851783"/>
              <a:gd name="connsiteX35" fmla="*/ 55167 w 155850"/>
              <a:gd name="connsiteY35" fmla="*/ 473786 h 851783"/>
              <a:gd name="connsiteX36" fmla="*/ 50299 w 155850"/>
              <a:gd name="connsiteY36" fmla="*/ 477572 h 851783"/>
              <a:gd name="connsiteX37" fmla="*/ 65984 w 155850"/>
              <a:gd name="connsiteY37" fmla="*/ 467296 h 851783"/>
              <a:gd name="connsiteX38" fmla="*/ 83291 w 155850"/>
              <a:gd name="connsiteY38" fmla="*/ 460265 h 851783"/>
              <a:gd name="connsiteX39" fmla="*/ 101680 w 155850"/>
              <a:gd name="connsiteY39" fmla="*/ 457560 h 851783"/>
              <a:gd name="connsiteX40" fmla="*/ 120069 w 155850"/>
              <a:gd name="connsiteY40" fmla="*/ 458102 h 851783"/>
              <a:gd name="connsiteX41" fmla="*/ 136836 w 155850"/>
              <a:gd name="connsiteY41" fmla="*/ 465673 h 851783"/>
              <a:gd name="connsiteX42" fmla="*/ 147112 w 155850"/>
              <a:gd name="connsiteY42" fmla="*/ 478654 h 851783"/>
              <a:gd name="connsiteX43" fmla="*/ 153061 w 155850"/>
              <a:gd name="connsiteY43" fmla="*/ 494339 h 851783"/>
              <a:gd name="connsiteX44" fmla="*/ 155766 w 155850"/>
              <a:gd name="connsiteY44" fmla="*/ 511646 h 851783"/>
              <a:gd name="connsiteX45" fmla="*/ 153061 w 155850"/>
              <a:gd name="connsiteY45" fmla="*/ 528953 h 851783"/>
              <a:gd name="connsiteX46" fmla="*/ 148194 w 155850"/>
              <a:gd name="connsiteY46" fmla="*/ 545720 h 851783"/>
              <a:gd name="connsiteX47" fmla="*/ 141704 w 155850"/>
              <a:gd name="connsiteY47" fmla="*/ 561945 h 851783"/>
              <a:gd name="connsiteX48" fmla="*/ 134672 w 155850"/>
              <a:gd name="connsiteY48" fmla="*/ 577630 h 851783"/>
              <a:gd name="connsiteX49" fmla="*/ 127100 w 155850"/>
              <a:gd name="connsiteY49" fmla="*/ 593314 h 851783"/>
              <a:gd name="connsiteX50" fmla="*/ 117906 w 155850"/>
              <a:gd name="connsiteY50" fmla="*/ 607376 h 851783"/>
              <a:gd name="connsiteX51" fmla="*/ 128723 w 155850"/>
              <a:gd name="connsiteY51" fmla="*/ 620357 h 851783"/>
              <a:gd name="connsiteX52" fmla="*/ 138459 w 155850"/>
              <a:gd name="connsiteY52" fmla="*/ 634960 h 851783"/>
              <a:gd name="connsiteX53" fmla="*/ 145489 w 155850"/>
              <a:gd name="connsiteY53" fmla="*/ 651186 h 851783"/>
              <a:gd name="connsiteX54" fmla="*/ 148194 w 155850"/>
              <a:gd name="connsiteY54" fmla="*/ 668493 h 851783"/>
              <a:gd name="connsiteX55" fmla="*/ 149816 w 155850"/>
              <a:gd name="connsiteY55" fmla="*/ 685800 h 851783"/>
              <a:gd name="connsiteX56" fmla="*/ 151438 w 155850"/>
              <a:gd name="connsiteY56" fmla="*/ 703107 h 851783"/>
              <a:gd name="connsiteX57" fmla="*/ 148734 w 155850"/>
              <a:gd name="connsiteY57" fmla="*/ 720415 h 851783"/>
              <a:gd name="connsiteX58" fmla="*/ 147653 w 155850"/>
              <a:gd name="connsiteY58" fmla="*/ 737722 h 851783"/>
              <a:gd name="connsiteX59" fmla="*/ 142785 w 155850"/>
              <a:gd name="connsiteY59" fmla="*/ 754488 h 851783"/>
              <a:gd name="connsiteX60" fmla="*/ 140081 w 155850"/>
              <a:gd name="connsiteY60" fmla="*/ 771796 h 851783"/>
              <a:gd name="connsiteX61" fmla="*/ 132509 w 155850"/>
              <a:gd name="connsiteY61" fmla="*/ 788021 h 851783"/>
              <a:gd name="connsiteX62" fmla="*/ 125478 w 155850"/>
              <a:gd name="connsiteY62" fmla="*/ 804247 h 851783"/>
              <a:gd name="connsiteX63" fmla="*/ 115742 w 155850"/>
              <a:gd name="connsiteY63" fmla="*/ 818850 h 851783"/>
              <a:gd name="connsiteX64" fmla="*/ 102762 w 155850"/>
              <a:gd name="connsiteY64" fmla="*/ 831289 h 851783"/>
              <a:gd name="connsiteX65" fmla="*/ 89782 w 155850"/>
              <a:gd name="connsiteY65" fmla="*/ 842647 h 851783"/>
              <a:gd name="connsiteX66" fmla="*/ 74638 w 155850"/>
              <a:gd name="connsiteY66" fmla="*/ 850760 h 851783"/>
              <a:gd name="connsiteX67" fmla="*/ 57331 w 155850"/>
              <a:gd name="connsiteY67" fmla="*/ 850760 h 851783"/>
              <a:gd name="connsiteX68" fmla="*/ 40564 w 155850"/>
              <a:gd name="connsiteY68" fmla="*/ 845351 h 851783"/>
              <a:gd name="connsiteX69" fmla="*/ 28665 w 155850"/>
              <a:gd name="connsiteY69" fmla="*/ 832371 h 851783"/>
              <a:gd name="connsiteX70" fmla="*/ 19471 w 155850"/>
              <a:gd name="connsiteY70" fmla="*/ 817227 h 851783"/>
              <a:gd name="connsiteX71" fmla="*/ 12981 w 155850"/>
              <a:gd name="connsiteY71" fmla="*/ 801001 h 851783"/>
              <a:gd name="connsiteX72" fmla="*/ 9195 w 155850"/>
              <a:gd name="connsiteY72" fmla="*/ 783694 h 851783"/>
              <a:gd name="connsiteX73" fmla="*/ 5409 w 155850"/>
              <a:gd name="connsiteY73" fmla="*/ 766387 h 851783"/>
              <a:gd name="connsiteX74" fmla="*/ 6491 w 155850"/>
              <a:gd name="connsiteY74" fmla="*/ 748539 h 851783"/>
              <a:gd name="connsiteX75" fmla="*/ 8113 w 155850"/>
              <a:gd name="connsiteY75" fmla="*/ 731232 h 851783"/>
              <a:gd name="connsiteX76" fmla="*/ 8654 w 155850"/>
              <a:gd name="connsiteY76" fmla="*/ 713384 h 851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155850" h="851783">
                <a:moveTo>
                  <a:pt x="0" y="0"/>
                </a:moveTo>
                <a:cubicBezTo>
                  <a:pt x="5409" y="2163"/>
                  <a:pt x="9736" y="7572"/>
                  <a:pt x="13521" y="12440"/>
                </a:cubicBezTo>
                <a:cubicBezTo>
                  <a:pt x="17308" y="16766"/>
                  <a:pt x="20553" y="21634"/>
                  <a:pt x="23257" y="27583"/>
                </a:cubicBezTo>
                <a:cubicBezTo>
                  <a:pt x="25420" y="32992"/>
                  <a:pt x="26502" y="38941"/>
                  <a:pt x="27584" y="45432"/>
                </a:cubicBezTo>
                <a:cubicBezTo>
                  <a:pt x="28665" y="51381"/>
                  <a:pt x="30288" y="57330"/>
                  <a:pt x="30288" y="63820"/>
                </a:cubicBezTo>
                <a:cubicBezTo>
                  <a:pt x="30288" y="69770"/>
                  <a:pt x="29206" y="75719"/>
                  <a:pt x="28125" y="82210"/>
                </a:cubicBezTo>
                <a:cubicBezTo>
                  <a:pt x="27043" y="88159"/>
                  <a:pt x="24338" y="93567"/>
                  <a:pt x="22716" y="100058"/>
                </a:cubicBezTo>
                <a:cubicBezTo>
                  <a:pt x="21093" y="106007"/>
                  <a:pt x="19471" y="111415"/>
                  <a:pt x="16767" y="117365"/>
                </a:cubicBezTo>
                <a:cubicBezTo>
                  <a:pt x="15144" y="121692"/>
                  <a:pt x="14063" y="126559"/>
                  <a:pt x="11899" y="130345"/>
                </a:cubicBezTo>
                <a:cubicBezTo>
                  <a:pt x="9736" y="134672"/>
                  <a:pt x="5409" y="137376"/>
                  <a:pt x="3246" y="141162"/>
                </a:cubicBezTo>
                <a:cubicBezTo>
                  <a:pt x="3786" y="141162"/>
                  <a:pt x="5409" y="140621"/>
                  <a:pt x="5950" y="140621"/>
                </a:cubicBezTo>
                <a:cubicBezTo>
                  <a:pt x="11899" y="141162"/>
                  <a:pt x="17848" y="143867"/>
                  <a:pt x="23257" y="146571"/>
                </a:cubicBezTo>
                <a:cubicBezTo>
                  <a:pt x="28665" y="148734"/>
                  <a:pt x="34615" y="151438"/>
                  <a:pt x="38942" y="155765"/>
                </a:cubicBezTo>
                <a:cubicBezTo>
                  <a:pt x="43268" y="159551"/>
                  <a:pt x="48136" y="163878"/>
                  <a:pt x="51922" y="169287"/>
                </a:cubicBezTo>
                <a:cubicBezTo>
                  <a:pt x="55167" y="174154"/>
                  <a:pt x="58953" y="179563"/>
                  <a:pt x="61657" y="184971"/>
                </a:cubicBezTo>
                <a:cubicBezTo>
                  <a:pt x="64361" y="190380"/>
                  <a:pt x="65984" y="196329"/>
                  <a:pt x="68148" y="202279"/>
                </a:cubicBezTo>
                <a:cubicBezTo>
                  <a:pt x="70311" y="207687"/>
                  <a:pt x="70311" y="214177"/>
                  <a:pt x="71393" y="220127"/>
                </a:cubicBezTo>
                <a:cubicBezTo>
                  <a:pt x="72474" y="226076"/>
                  <a:pt x="74638" y="232025"/>
                  <a:pt x="75179" y="237975"/>
                </a:cubicBezTo>
                <a:cubicBezTo>
                  <a:pt x="75719" y="243924"/>
                  <a:pt x="78424" y="249874"/>
                  <a:pt x="78424" y="256364"/>
                </a:cubicBezTo>
                <a:cubicBezTo>
                  <a:pt x="78424" y="262313"/>
                  <a:pt x="76261" y="268263"/>
                  <a:pt x="75719" y="274753"/>
                </a:cubicBezTo>
                <a:cubicBezTo>
                  <a:pt x="75179" y="280161"/>
                  <a:pt x="76801" y="286111"/>
                  <a:pt x="75719" y="291519"/>
                </a:cubicBezTo>
                <a:cubicBezTo>
                  <a:pt x="74638" y="296928"/>
                  <a:pt x="73556" y="302877"/>
                  <a:pt x="72474" y="308286"/>
                </a:cubicBezTo>
                <a:cubicBezTo>
                  <a:pt x="71393" y="313694"/>
                  <a:pt x="68689" y="319103"/>
                  <a:pt x="67066" y="323970"/>
                </a:cubicBezTo>
                <a:cubicBezTo>
                  <a:pt x="65444" y="329379"/>
                  <a:pt x="63280" y="334787"/>
                  <a:pt x="61117" y="339655"/>
                </a:cubicBezTo>
                <a:cubicBezTo>
                  <a:pt x="58953" y="345063"/>
                  <a:pt x="56789" y="348849"/>
                  <a:pt x="53544" y="353717"/>
                </a:cubicBezTo>
                <a:cubicBezTo>
                  <a:pt x="58412" y="350472"/>
                  <a:pt x="62198" y="348849"/>
                  <a:pt x="67066" y="346686"/>
                </a:cubicBezTo>
                <a:cubicBezTo>
                  <a:pt x="72474" y="343982"/>
                  <a:pt x="77883" y="343441"/>
                  <a:pt x="82210" y="342900"/>
                </a:cubicBezTo>
                <a:cubicBezTo>
                  <a:pt x="88159" y="341818"/>
                  <a:pt x="93027" y="342900"/>
                  <a:pt x="96813" y="345604"/>
                </a:cubicBezTo>
                <a:cubicBezTo>
                  <a:pt x="101140" y="348849"/>
                  <a:pt x="104385" y="353717"/>
                  <a:pt x="104925" y="360748"/>
                </a:cubicBezTo>
                <a:cubicBezTo>
                  <a:pt x="105466" y="365616"/>
                  <a:pt x="103303" y="371565"/>
                  <a:pt x="102221" y="378596"/>
                </a:cubicBezTo>
                <a:cubicBezTo>
                  <a:pt x="101140" y="384005"/>
                  <a:pt x="100058" y="389954"/>
                  <a:pt x="97895" y="395904"/>
                </a:cubicBezTo>
                <a:cubicBezTo>
                  <a:pt x="96272" y="401312"/>
                  <a:pt x="93027" y="406180"/>
                  <a:pt x="90323" y="412129"/>
                </a:cubicBezTo>
                <a:cubicBezTo>
                  <a:pt x="88159" y="417538"/>
                  <a:pt x="84914" y="422405"/>
                  <a:pt x="82210" y="427814"/>
                </a:cubicBezTo>
                <a:cubicBezTo>
                  <a:pt x="79506" y="432681"/>
                  <a:pt x="77883" y="438631"/>
                  <a:pt x="74638" y="444039"/>
                </a:cubicBezTo>
                <a:cubicBezTo>
                  <a:pt x="71393" y="448907"/>
                  <a:pt x="67606" y="453775"/>
                  <a:pt x="64361" y="458642"/>
                </a:cubicBezTo>
                <a:cubicBezTo>
                  <a:pt x="61117" y="463510"/>
                  <a:pt x="58953" y="468919"/>
                  <a:pt x="55167" y="473786"/>
                </a:cubicBezTo>
                <a:cubicBezTo>
                  <a:pt x="54085" y="475409"/>
                  <a:pt x="51381" y="475950"/>
                  <a:pt x="50299" y="477572"/>
                </a:cubicBezTo>
                <a:cubicBezTo>
                  <a:pt x="55708" y="473786"/>
                  <a:pt x="60576" y="470000"/>
                  <a:pt x="65984" y="467296"/>
                </a:cubicBezTo>
                <a:cubicBezTo>
                  <a:pt x="71934" y="464051"/>
                  <a:pt x="77883" y="461888"/>
                  <a:pt x="83291" y="460265"/>
                </a:cubicBezTo>
                <a:cubicBezTo>
                  <a:pt x="89782" y="458102"/>
                  <a:pt x="95731" y="458102"/>
                  <a:pt x="101680" y="457560"/>
                </a:cubicBezTo>
                <a:cubicBezTo>
                  <a:pt x="108170" y="457020"/>
                  <a:pt x="114120" y="457020"/>
                  <a:pt x="120069" y="458102"/>
                </a:cubicBezTo>
                <a:cubicBezTo>
                  <a:pt x="126559" y="459183"/>
                  <a:pt x="131968" y="461888"/>
                  <a:pt x="136836" y="465673"/>
                </a:cubicBezTo>
                <a:cubicBezTo>
                  <a:pt x="141704" y="469459"/>
                  <a:pt x="144408" y="473786"/>
                  <a:pt x="147112" y="478654"/>
                </a:cubicBezTo>
                <a:cubicBezTo>
                  <a:pt x="149816" y="483522"/>
                  <a:pt x="151980" y="488389"/>
                  <a:pt x="153061" y="494339"/>
                </a:cubicBezTo>
                <a:cubicBezTo>
                  <a:pt x="154143" y="499747"/>
                  <a:pt x="156306" y="505696"/>
                  <a:pt x="155766" y="511646"/>
                </a:cubicBezTo>
                <a:cubicBezTo>
                  <a:pt x="155766" y="517054"/>
                  <a:pt x="154143" y="523004"/>
                  <a:pt x="153061" y="528953"/>
                </a:cubicBezTo>
                <a:cubicBezTo>
                  <a:pt x="151980" y="534361"/>
                  <a:pt x="149816" y="539770"/>
                  <a:pt x="148194" y="545720"/>
                </a:cubicBezTo>
                <a:cubicBezTo>
                  <a:pt x="146571" y="551128"/>
                  <a:pt x="143867" y="555996"/>
                  <a:pt x="141704" y="561945"/>
                </a:cubicBezTo>
                <a:cubicBezTo>
                  <a:pt x="139540" y="567354"/>
                  <a:pt x="137376" y="572221"/>
                  <a:pt x="134672" y="577630"/>
                </a:cubicBezTo>
                <a:cubicBezTo>
                  <a:pt x="131968" y="582497"/>
                  <a:pt x="130346" y="588447"/>
                  <a:pt x="127100" y="593314"/>
                </a:cubicBezTo>
                <a:cubicBezTo>
                  <a:pt x="123855" y="598182"/>
                  <a:pt x="121692" y="602509"/>
                  <a:pt x="117906" y="607376"/>
                </a:cubicBezTo>
                <a:cubicBezTo>
                  <a:pt x="122233" y="610622"/>
                  <a:pt x="124937" y="614949"/>
                  <a:pt x="128723" y="620357"/>
                </a:cubicBezTo>
                <a:cubicBezTo>
                  <a:pt x="131968" y="624684"/>
                  <a:pt x="135754" y="629552"/>
                  <a:pt x="138459" y="634960"/>
                </a:cubicBezTo>
                <a:cubicBezTo>
                  <a:pt x="140621" y="639828"/>
                  <a:pt x="143867" y="645236"/>
                  <a:pt x="145489" y="651186"/>
                </a:cubicBezTo>
                <a:cubicBezTo>
                  <a:pt x="147112" y="656594"/>
                  <a:pt x="147653" y="662543"/>
                  <a:pt x="148194" y="668493"/>
                </a:cubicBezTo>
                <a:cubicBezTo>
                  <a:pt x="149276" y="673901"/>
                  <a:pt x="149276" y="679851"/>
                  <a:pt x="149816" y="685800"/>
                </a:cubicBezTo>
                <a:cubicBezTo>
                  <a:pt x="150357" y="691208"/>
                  <a:pt x="151438" y="697158"/>
                  <a:pt x="151438" y="703107"/>
                </a:cubicBezTo>
                <a:cubicBezTo>
                  <a:pt x="151438" y="709057"/>
                  <a:pt x="149276" y="714465"/>
                  <a:pt x="148734" y="720415"/>
                </a:cubicBezTo>
                <a:cubicBezTo>
                  <a:pt x="148194" y="726364"/>
                  <a:pt x="148734" y="732313"/>
                  <a:pt x="147653" y="737722"/>
                </a:cubicBezTo>
                <a:cubicBezTo>
                  <a:pt x="146571" y="743671"/>
                  <a:pt x="143867" y="749080"/>
                  <a:pt x="142785" y="754488"/>
                </a:cubicBezTo>
                <a:cubicBezTo>
                  <a:pt x="141163" y="760437"/>
                  <a:pt x="141704" y="766387"/>
                  <a:pt x="140081" y="771796"/>
                </a:cubicBezTo>
                <a:cubicBezTo>
                  <a:pt x="137917" y="777745"/>
                  <a:pt x="134672" y="782613"/>
                  <a:pt x="132509" y="788021"/>
                </a:cubicBezTo>
                <a:cubicBezTo>
                  <a:pt x="130346" y="793430"/>
                  <a:pt x="128182" y="799379"/>
                  <a:pt x="125478" y="804247"/>
                </a:cubicBezTo>
                <a:cubicBezTo>
                  <a:pt x="122233" y="809655"/>
                  <a:pt x="118987" y="814523"/>
                  <a:pt x="115742" y="818850"/>
                </a:cubicBezTo>
                <a:cubicBezTo>
                  <a:pt x="111957" y="823717"/>
                  <a:pt x="107089" y="826962"/>
                  <a:pt x="102762" y="831289"/>
                </a:cubicBezTo>
                <a:cubicBezTo>
                  <a:pt x="98435" y="835616"/>
                  <a:pt x="94108" y="839402"/>
                  <a:pt x="89782" y="842647"/>
                </a:cubicBezTo>
                <a:cubicBezTo>
                  <a:pt x="84373" y="845892"/>
                  <a:pt x="79506" y="849678"/>
                  <a:pt x="74638" y="850760"/>
                </a:cubicBezTo>
                <a:cubicBezTo>
                  <a:pt x="68689" y="852382"/>
                  <a:pt x="62739" y="851842"/>
                  <a:pt x="57331" y="850760"/>
                </a:cubicBezTo>
                <a:cubicBezTo>
                  <a:pt x="51381" y="849678"/>
                  <a:pt x="45432" y="848597"/>
                  <a:pt x="40564" y="845351"/>
                </a:cubicBezTo>
                <a:cubicBezTo>
                  <a:pt x="35697" y="842106"/>
                  <a:pt x="32451" y="837238"/>
                  <a:pt x="28665" y="832371"/>
                </a:cubicBezTo>
                <a:cubicBezTo>
                  <a:pt x="25420" y="828044"/>
                  <a:pt x="22175" y="823176"/>
                  <a:pt x="19471" y="817227"/>
                </a:cubicBezTo>
                <a:cubicBezTo>
                  <a:pt x="17308" y="812359"/>
                  <a:pt x="14603" y="806951"/>
                  <a:pt x="12981" y="801001"/>
                </a:cubicBezTo>
                <a:cubicBezTo>
                  <a:pt x="11358" y="795593"/>
                  <a:pt x="10276" y="789644"/>
                  <a:pt x="9195" y="783694"/>
                </a:cubicBezTo>
                <a:cubicBezTo>
                  <a:pt x="8113" y="778286"/>
                  <a:pt x="5950" y="772336"/>
                  <a:pt x="5409" y="766387"/>
                </a:cubicBezTo>
                <a:cubicBezTo>
                  <a:pt x="4868" y="760437"/>
                  <a:pt x="6491" y="754488"/>
                  <a:pt x="6491" y="748539"/>
                </a:cubicBezTo>
                <a:cubicBezTo>
                  <a:pt x="6491" y="742589"/>
                  <a:pt x="7572" y="737181"/>
                  <a:pt x="8113" y="731232"/>
                </a:cubicBezTo>
                <a:cubicBezTo>
                  <a:pt x="8654" y="725282"/>
                  <a:pt x="7572" y="719333"/>
                  <a:pt x="8654" y="713384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986AE0BD-8F17-FFBD-A07C-A18073F2B2F5}"/>
              </a:ext>
            </a:extLst>
          </p:cNvPr>
          <p:cNvSpPr/>
          <p:nvPr/>
        </p:nvSpPr>
        <p:spPr>
          <a:xfrm>
            <a:off x="3524600" y="3995005"/>
            <a:ext cx="179577" cy="144663"/>
          </a:xfrm>
          <a:custGeom>
            <a:avLst/>
            <a:gdLst>
              <a:gd name="connsiteX0" fmla="*/ 0 w 125477"/>
              <a:gd name="connsiteY0" fmla="*/ 72474 h 119528"/>
              <a:gd name="connsiteX1" fmla="*/ 8653 w 125477"/>
              <a:gd name="connsiteY1" fmla="*/ 54626 h 119528"/>
              <a:gd name="connsiteX2" fmla="*/ 18930 w 125477"/>
              <a:gd name="connsiteY2" fmla="*/ 38401 h 119528"/>
              <a:gd name="connsiteX3" fmla="*/ 32451 w 125477"/>
              <a:gd name="connsiteY3" fmla="*/ 24338 h 119528"/>
              <a:gd name="connsiteX4" fmla="*/ 47054 w 125477"/>
              <a:gd name="connsiteY4" fmla="*/ 11899 h 119528"/>
              <a:gd name="connsiteX5" fmla="*/ 64361 w 125477"/>
              <a:gd name="connsiteY5" fmla="*/ 3245 h 119528"/>
              <a:gd name="connsiteX6" fmla="*/ 79505 w 125477"/>
              <a:gd name="connsiteY6" fmla="*/ 0 h 119528"/>
              <a:gd name="connsiteX7" fmla="*/ 94649 w 125477"/>
              <a:gd name="connsiteY7" fmla="*/ 2704 h 119528"/>
              <a:gd name="connsiteX8" fmla="*/ 109793 w 125477"/>
              <a:gd name="connsiteY8" fmla="*/ 13521 h 119528"/>
              <a:gd name="connsiteX9" fmla="*/ 118987 w 125477"/>
              <a:gd name="connsiteY9" fmla="*/ 29747 h 119528"/>
              <a:gd name="connsiteX10" fmla="*/ 122232 w 125477"/>
              <a:gd name="connsiteY10" fmla="*/ 47595 h 119528"/>
              <a:gd name="connsiteX11" fmla="*/ 125477 w 125477"/>
              <a:gd name="connsiteY11" fmla="*/ 65984 h 119528"/>
              <a:gd name="connsiteX12" fmla="*/ 123314 w 125477"/>
              <a:gd name="connsiteY12" fmla="*/ 84373 h 119528"/>
              <a:gd name="connsiteX13" fmla="*/ 117905 w 125477"/>
              <a:gd name="connsiteY13" fmla="*/ 102221 h 119528"/>
              <a:gd name="connsiteX14" fmla="*/ 111956 w 125477"/>
              <a:gd name="connsiteY14" fmla="*/ 119528 h 119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5477" h="119528">
                <a:moveTo>
                  <a:pt x="0" y="72474"/>
                </a:moveTo>
                <a:cubicBezTo>
                  <a:pt x="2704" y="66525"/>
                  <a:pt x="5409" y="60575"/>
                  <a:pt x="8653" y="54626"/>
                </a:cubicBezTo>
                <a:cubicBezTo>
                  <a:pt x="11898" y="48677"/>
                  <a:pt x="15143" y="43268"/>
                  <a:pt x="18930" y="38401"/>
                </a:cubicBezTo>
                <a:cubicBezTo>
                  <a:pt x="23256" y="32992"/>
                  <a:pt x="28124" y="28665"/>
                  <a:pt x="32451" y="24338"/>
                </a:cubicBezTo>
                <a:cubicBezTo>
                  <a:pt x="37319" y="19471"/>
                  <a:pt x="41645" y="15144"/>
                  <a:pt x="47054" y="11899"/>
                </a:cubicBezTo>
                <a:cubicBezTo>
                  <a:pt x="57871" y="5949"/>
                  <a:pt x="54626" y="7572"/>
                  <a:pt x="64361" y="3245"/>
                </a:cubicBezTo>
                <a:cubicBezTo>
                  <a:pt x="69229" y="1623"/>
                  <a:pt x="74637" y="0"/>
                  <a:pt x="79505" y="0"/>
                </a:cubicBezTo>
                <a:cubicBezTo>
                  <a:pt x="84913" y="0"/>
                  <a:pt x="89781" y="1082"/>
                  <a:pt x="94649" y="2704"/>
                </a:cubicBezTo>
                <a:cubicBezTo>
                  <a:pt x="100058" y="4868"/>
                  <a:pt x="105466" y="8654"/>
                  <a:pt x="109793" y="13521"/>
                </a:cubicBezTo>
                <a:cubicBezTo>
                  <a:pt x="113579" y="17848"/>
                  <a:pt x="116283" y="23798"/>
                  <a:pt x="118987" y="29747"/>
                </a:cubicBezTo>
                <a:cubicBezTo>
                  <a:pt x="121151" y="35155"/>
                  <a:pt x="121692" y="41105"/>
                  <a:pt x="122232" y="47595"/>
                </a:cubicBezTo>
                <a:cubicBezTo>
                  <a:pt x="123314" y="53544"/>
                  <a:pt x="125477" y="59494"/>
                  <a:pt x="125477" y="65984"/>
                </a:cubicBezTo>
                <a:cubicBezTo>
                  <a:pt x="125477" y="71933"/>
                  <a:pt x="124396" y="77883"/>
                  <a:pt x="123314" y="84373"/>
                </a:cubicBezTo>
                <a:cubicBezTo>
                  <a:pt x="122232" y="90322"/>
                  <a:pt x="119528" y="95731"/>
                  <a:pt x="117905" y="102221"/>
                </a:cubicBezTo>
                <a:cubicBezTo>
                  <a:pt x="116283" y="108170"/>
                  <a:pt x="114120" y="113579"/>
                  <a:pt x="111956" y="119528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5" name="Freeform: Shape 94">
            <a:extLst>
              <a:ext uri="{FF2B5EF4-FFF2-40B4-BE49-F238E27FC236}">
                <a16:creationId xmlns:a16="http://schemas.microsoft.com/office/drawing/2014/main" id="{D7B58D29-4174-5846-DA07-62B74E4C9ECB}"/>
              </a:ext>
            </a:extLst>
          </p:cNvPr>
          <p:cNvSpPr/>
          <p:nvPr/>
        </p:nvSpPr>
        <p:spPr>
          <a:xfrm>
            <a:off x="2884467" y="3856834"/>
            <a:ext cx="776667" cy="1374681"/>
          </a:xfrm>
          <a:custGeom>
            <a:avLst/>
            <a:gdLst>
              <a:gd name="connsiteX0" fmla="*/ 47595 w 542686"/>
              <a:gd name="connsiteY0" fmla="*/ 1135833 h 1135832"/>
              <a:gd name="connsiteX1" fmla="*/ 36237 w 542686"/>
              <a:gd name="connsiteY1" fmla="*/ 1122311 h 1135832"/>
              <a:gd name="connsiteX2" fmla="*/ 25961 w 542686"/>
              <a:gd name="connsiteY2" fmla="*/ 1108249 h 1135832"/>
              <a:gd name="connsiteX3" fmla="*/ 16767 w 542686"/>
              <a:gd name="connsiteY3" fmla="*/ 1093646 h 1135832"/>
              <a:gd name="connsiteX4" fmla="*/ 8654 w 542686"/>
              <a:gd name="connsiteY4" fmla="*/ 1077961 h 1135832"/>
              <a:gd name="connsiteX5" fmla="*/ 4327 w 542686"/>
              <a:gd name="connsiteY5" fmla="*/ 1061195 h 1135832"/>
              <a:gd name="connsiteX6" fmla="*/ 1082 w 542686"/>
              <a:gd name="connsiteY6" fmla="*/ 1043888 h 1135832"/>
              <a:gd name="connsiteX7" fmla="*/ 0 w 542686"/>
              <a:gd name="connsiteY7" fmla="*/ 1026580 h 1135832"/>
              <a:gd name="connsiteX8" fmla="*/ 2164 w 542686"/>
              <a:gd name="connsiteY8" fmla="*/ 1008191 h 1135832"/>
              <a:gd name="connsiteX9" fmla="*/ 3786 w 542686"/>
              <a:gd name="connsiteY9" fmla="*/ 989803 h 1135832"/>
              <a:gd name="connsiteX10" fmla="*/ 9195 w 542686"/>
              <a:gd name="connsiteY10" fmla="*/ 971955 h 1135832"/>
              <a:gd name="connsiteX11" fmla="*/ 18389 w 542686"/>
              <a:gd name="connsiteY11" fmla="*/ 955729 h 1135832"/>
              <a:gd name="connsiteX12" fmla="*/ 27043 w 542686"/>
              <a:gd name="connsiteY12" fmla="*/ 939503 h 1135832"/>
              <a:gd name="connsiteX13" fmla="*/ 38942 w 542686"/>
              <a:gd name="connsiteY13" fmla="*/ 925441 h 1135832"/>
              <a:gd name="connsiteX14" fmla="*/ 52463 w 542686"/>
              <a:gd name="connsiteY14" fmla="*/ 913002 h 1135832"/>
              <a:gd name="connsiteX15" fmla="*/ 67066 w 542686"/>
              <a:gd name="connsiteY15" fmla="*/ 901644 h 1135832"/>
              <a:gd name="connsiteX16" fmla="*/ 83291 w 542686"/>
              <a:gd name="connsiteY16" fmla="*/ 892449 h 1135832"/>
              <a:gd name="connsiteX17" fmla="*/ 70311 w 542686"/>
              <a:gd name="connsiteY17" fmla="*/ 880010 h 1135832"/>
              <a:gd name="connsiteX18" fmla="*/ 61657 w 542686"/>
              <a:gd name="connsiteY18" fmla="*/ 864866 h 1135832"/>
              <a:gd name="connsiteX19" fmla="*/ 57872 w 542686"/>
              <a:gd name="connsiteY19" fmla="*/ 847559 h 1135832"/>
              <a:gd name="connsiteX20" fmla="*/ 54627 w 542686"/>
              <a:gd name="connsiteY20" fmla="*/ 830251 h 1135832"/>
              <a:gd name="connsiteX21" fmla="*/ 58412 w 542686"/>
              <a:gd name="connsiteY21" fmla="*/ 812403 h 1135832"/>
              <a:gd name="connsiteX22" fmla="*/ 62198 w 542686"/>
              <a:gd name="connsiteY22" fmla="*/ 794555 h 1135832"/>
              <a:gd name="connsiteX23" fmla="*/ 73015 w 542686"/>
              <a:gd name="connsiteY23" fmla="*/ 779952 h 1135832"/>
              <a:gd name="connsiteX24" fmla="*/ 84373 w 542686"/>
              <a:gd name="connsiteY24" fmla="*/ 765349 h 1135832"/>
              <a:gd name="connsiteX25" fmla="*/ 100058 w 542686"/>
              <a:gd name="connsiteY25" fmla="*/ 756155 h 1135832"/>
              <a:gd name="connsiteX26" fmla="*/ 116825 w 542686"/>
              <a:gd name="connsiteY26" fmla="*/ 749664 h 1135832"/>
              <a:gd name="connsiteX27" fmla="*/ 135213 w 542686"/>
              <a:gd name="connsiteY27" fmla="*/ 746419 h 1135832"/>
              <a:gd name="connsiteX28" fmla="*/ 128723 w 542686"/>
              <a:gd name="connsiteY28" fmla="*/ 731276 h 1135832"/>
              <a:gd name="connsiteX29" fmla="*/ 122233 w 542686"/>
              <a:gd name="connsiteY29" fmla="*/ 716672 h 1135832"/>
              <a:gd name="connsiteX30" fmla="*/ 121151 w 542686"/>
              <a:gd name="connsiteY30" fmla="*/ 700988 h 1135832"/>
              <a:gd name="connsiteX31" fmla="*/ 119529 w 542686"/>
              <a:gd name="connsiteY31" fmla="*/ 685303 h 1135832"/>
              <a:gd name="connsiteX32" fmla="*/ 121692 w 542686"/>
              <a:gd name="connsiteY32" fmla="*/ 667996 h 1135832"/>
              <a:gd name="connsiteX33" fmla="*/ 124937 w 542686"/>
              <a:gd name="connsiteY33" fmla="*/ 651229 h 1135832"/>
              <a:gd name="connsiteX34" fmla="*/ 128182 w 542686"/>
              <a:gd name="connsiteY34" fmla="*/ 633922 h 1135832"/>
              <a:gd name="connsiteX35" fmla="*/ 138459 w 542686"/>
              <a:gd name="connsiteY35" fmla="*/ 619860 h 1135832"/>
              <a:gd name="connsiteX36" fmla="*/ 148734 w 542686"/>
              <a:gd name="connsiteY36" fmla="*/ 606339 h 1135832"/>
              <a:gd name="connsiteX37" fmla="*/ 160633 w 542686"/>
              <a:gd name="connsiteY37" fmla="*/ 593899 h 1135832"/>
              <a:gd name="connsiteX38" fmla="*/ 176318 w 542686"/>
              <a:gd name="connsiteY38" fmla="*/ 586327 h 1135832"/>
              <a:gd name="connsiteX39" fmla="*/ 193625 w 542686"/>
              <a:gd name="connsiteY39" fmla="*/ 584705 h 1135832"/>
              <a:gd name="connsiteX40" fmla="*/ 213096 w 542686"/>
              <a:gd name="connsiteY40" fmla="*/ 588491 h 1135832"/>
              <a:gd name="connsiteX41" fmla="*/ 209851 w 542686"/>
              <a:gd name="connsiteY41" fmla="*/ 570643 h 1135832"/>
              <a:gd name="connsiteX42" fmla="*/ 208228 w 542686"/>
              <a:gd name="connsiteY42" fmla="*/ 551713 h 1135832"/>
              <a:gd name="connsiteX43" fmla="*/ 188217 w 542686"/>
              <a:gd name="connsiteY43" fmla="*/ 557662 h 1135832"/>
              <a:gd name="connsiteX44" fmla="*/ 168205 w 542686"/>
              <a:gd name="connsiteY44" fmla="*/ 556580 h 1135832"/>
              <a:gd name="connsiteX45" fmla="*/ 149276 w 542686"/>
              <a:gd name="connsiteY45" fmla="*/ 550631 h 1135832"/>
              <a:gd name="connsiteX46" fmla="*/ 132509 w 542686"/>
              <a:gd name="connsiteY46" fmla="*/ 543059 h 1135832"/>
              <a:gd name="connsiteX47" fmla="*/ 119529 w 542686"/>
              <a:gd name="connsiteY47" fmla="*/ 530079 h 1135832"/>
              <a:gd name="connsiteX48" fmla="*/ 108170 w 542686"/>
              <a:gd name="connsiteY48" fmla="*/ 515476 h 1135832"/>
              <a:gd name="connsiteX49" fmla="*/ 101140 w 542686"/>
              <a:gd name="connsiteY49" fmla="*/ 498168 h 1135832"/>
              <a:gd name="connsiteX50" fmla="*/ 95731 w 542686"/>
              <a:gd name="connsiteY50" fmla="*/ 480861 h 1135832"/>
              <a:gd name="connsiteX51" fmla="*/ 94108 w 542686"/>
              <a:gd name="connsiteY51" fmla="*/ 462472 h 1135832"/>
              <a:gd name="connsiteX52" fmla="*/ 94108 w 542686"/>
              <a:gd name="connsiteY52" fmla="*/ 444083 h 1135832"/>
              <a:gd name="connsiteX53" fmla="*/ 95190 w 542686"/>
              <a:gd name="connsiteY53" fmla="*/ 425694 h 1135832"/>
              <a:gd name="connsiteX54" fmla="*/ 98435 w 542686"/>
              <a:gd name="connsiteY54" fmla="*/ 407846 h 1135832"/>
              <a:gd name="connsiteX55" fmla="*/ 103844 w 542686"/>
              <a:gd name="connsiteY55" fmla="*/ 390539 h 1135832"/>
              <a:gd name="connsiteX56" fmla="*/ 108712 w 542686"/>
              <a:gd name="connsiteY56" fmla="*/ 372691 h 1135832"/>
              <a:gd name="connsiteX57" fmla="*/ 116283 w 542686"/>
              <a:gd name="connsiteY57" fmla="*/ 355924 h 1135832"/>
              <a:gd name="connsiteX58" fmla="*/ 126019 w 542686"/>
              <a:gd name="connsiteY58" fmla="*/ 340240 h 1135832"/>
              <a:gd name="connsiteX59" fmla="*/ 137376 w 542686"/>
              <a:gd name="connsiteY59" fmla="*/ 325637 h 1135832"/>
              <a:gd name="connsiteX60" fmla="*/ 149816 w 542686"/>
              <a:gd name="connsiteY60" fmla="*/ 312115 h 1135832"/>
              <a:gd name="connsiteX61" fmla="*/ 163878 w 542686"/>
              <a:gd name="connsiteY61" fmla="*/ 300217 h 1135832"/>
              <a:gd name="connsiteX62" fmla="*/ 177940 w 542686"/>
              <a:gd name="connsiteY62" fmla="*/ 288318 h 1135832"/>
              <a:gd name="connsiteX63" fmla="*/ 193625 w 542686"/>
              <a:gd name="connsiteY63" fmla="*/ 279123 h 1135832"/>
              <a:gd name="connsiteX64" fmla="*/ 210932 w 542686"/>
              <a:gd name="connsiteY64" fmla="*/ 272092 h 1135832"/>
              <a:gd name="connsiteX65" fmla="*/ 229321 w 542686"/>
              <a:gd name="connsiteY65" fmla="*/ 271010 h 1135832"/>
              <a:gd name="connsiteX66" fmla="*/ 247710 w 542686"/>
              <a:gd name="connsiteY66" fmla="*/ 270470 h 1135832"/>
              <a:gd name="connsiteX67" fmla="*/ 265559 w 542686"/>
              <a:gd name="connsiteY67" fmla="*/ 275337 h 1135832"/>
              <a:gd name="connsiteX68" fmla="*/ 274212 w 542686"/>
              <a:gd name="connsiteY68" fmla="*/ 280746 h 1135832"/>
              <a:gd name="connsiteX69" fmla="*/ 275294 w 542686"/>
              <a:gd name="connsiteY69" fmla="*/ 264520 h 1135832"/>
              <a:gd name="connsiteX70" fmla="*/ 281243 w 542686"/>
              <a:gd name="connsiteY70" fmla="*/ 249376 h 1135832"/>
              <a:gd name="connsiteX71" fmla="*/ 285570 w 542686"/>
              <a:gd name="connsiteY71" fmla="*/ 233692 h 1135832"/>
              <a:gd name="connsiteX72" fmla="*/ 290438 w 542686"/>
              <a:gd name="connsiteY72" fmla="*/ 218007 h 1135832"/>
              <a:gd name="connsiteX73" fmla="*/ 299091 w 542686"/>
              <a:gd name="connsiteY73" fmla="*/ 203945 h 1135832"/>
              <a:gd name="connsiteX74" fmla="*/ 307204 w 542686"/>
              <a:gd name="connsiteY74" fmla="*/ 187719 h 1135832"/>
              <a:gd name="connsiteX75" fmla="*/ 315858 w 542686"/>
              <a:gd name="connsiteY75" fmla="*/ 171494 h 1135832"/>
              <a:gd name="connsiteX76" fmla="*/ 325052 w 542686"/>
              <a:gd name="connsiteY76" fmla="*/ 155809 h 1135832"/>
              <a:gd name="connsiteX77" fmla="*/ 337492 w 542686"/>
              <a:gd name="connsiteY77" fmla="*/ 142829 h 1135832"/>
              <a:gd name="connsiteX78" fmla="*/ 349931 w 542686"/>
              <a:gd name="connsiteY78" fmla="*/ 129848 h 1135832"/>
              <a:gd name="connsiteX79" fmla="*/ 363453 w 542686"/>
              <a:gd name="connsiteY79" fmla="*/ 117950 h 1135832"/>
              <a:gd name="connsiteX80" fmla="*/ 379678 w 542686"/>
              <a:gd name="connsiteY80" fmla="*/ 109296 h 1135832"/>
              <a:gd name="connsiteX81" fmla="*/ 397526 w 542686"/>
              <a:gd name="connsiteY81" fmla="*/ 111459 h 1135832"/>
              <a:gd name="connsiteX82" fmla="*/ 402394 w 542686"/>
              <a:gd name="connsiteY82" fmla="*/ 113623 h 1135832"/>
              <a:gd name="connsiteX83" fmla="*/ 411589 w 542686"/>
              <a:gd name="connsiteY83" fmla="*/ 91989 h 1135832"/>
              <a:gd name="connsiteX84" fmla="*/ 418619 w 542686"/>
              <a:gd name="connsiteY84" fmla="*/ 74681 h 1135832"/>
              <a:gd name="connsiteX85" fmla="*/ 428896 w 542686"/>
              <a:gd name="connsiteY85" fmla="*/ 58997 h 1135832"/>
              <a:gd name="connsiteX86" fmla="*/ 439172 w 542686"/>
              <a:gd name="connsiteY86" fmla="*/ 43853 h 1135832"/>
              <a:gd name="connsiteX87" fmla="*/ 449989 w 542686"/>
              <a:gd name="connsiteY87" fmla="*/ 28709 h 1135832"/>
              <a:gd name="connsiteX88" fmla="*/ 462428 w 542686"/>
              <a:gd name="connsiteY88" fmla="*/ 15188 h 1135832"/>
              <a:gd name="connsiteX89" fmla="*/ 477032 w 542686"/>
              <a:gd name="connsiteY89" fmla="*/ 3289 h 1135832"/>
              <a:gd name="connsiteX90" fmla="*/ 495421 w 542686"/>
              <a:gd name="connsiteY90" fmla="*/ 1125 h 1135832"/>
              <a:gd name="connsiteX91" fmla="*/ 504074 w 542686"/>
              <a:gd name="connsiteY91" fmla="*/ 20596 h 1135832"/>
              <a:gd name="connsiteX92" fmla="*/ 505156 w 542686"/>
              <a:gd name="connsiteY92" fmla="*/ 42230 h 1135832"/>
              <a:gd name="connsiteX93" fmla="*/ 517055 w 542686"/>
              <a:gd name="connsiteY93" fmla="*/ 33036 h 1135832"/>
              <a:gd name="connsiteX94" fmla="*/ 531658 w 542686"/>
              <a:gd name="connsiteY94" fmla="*/ 33577 h 1135832"/>
              <a:gd name="connsiteX95" fmla="*/ 541393 w 542686"/>
              <a:gd name="connsiteY95" fmla="*/ 44394 h 1135832"/>
              <a:gd name="connsiteX96" fmla="*/ 542475 w 542686"/>
              <a:gd name="connsiteY96" fmla="*/ 60078 h 1135832"/>
              <a:gd name="connsiteX97" fmla="*/ 538148 w 542686"/>
              <a:gd name="connsiteY97" fmla="*/ 75222 h 1135832"/>
              <a:gd name="connsiteX98" fmla="*/ 534362 w 542686"/>
              <a:gd name="connsiteY98" fmla="*/ 90366 h 1135832"/>
              <a:gd name="connsiteX99" fmla="*/ 525168 w 542686"/>
              <a:gd name="connsiteY99" fmla="*/ 106051 h 1135832"/>
              <a:gd name="connsiteX100" fmla="*/ 512187 w 542686"/>
              <a:gd name="connsiteY100" fmla="*/ 118490 h 1135832"/>
              <a:gd name="connsiteX101" fmla="*/ 494339 w 542686"/>
              <a:gd name="connsiteY101" fmla="*/ 126062 h 1135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542686" h="1135832">
                <a:moveTo>
                  <a:pt x="47595" y="1135833"/>
                </a:moveTo>
                <a:cubicBezTo>
                  <a:pt x="43268" y="1132047"/>
                  <a:pt x="40023" y="1126638"/>
                  <a:pt x="36237" y="1122311"/>
                </a:cubicBezTo>
                <a:cubicBezTo>
                  <a:pt x="32451" y="1117985"/>
                  <a:pt x="29206" y="1113117"/>
                  <a:pt x="25961" y="1108249"/>
                </a:cubicBezTo>
                <a:cubicBezTo>
                  <a:pt x="22716" y="1103381"/>
                  <a:pt x="19471" y="1098514"/>
                  <a:pt x="16767" y="1093646"/>
                </a:cubicBezTo>
                <a:cubicBezTo>
                  <a:pt x="14063" y="1088238"/>
                  <a:pt x="10817" y="1083370"/>
                  <a:pt x="8654" y="1077961"/>
                </a:cubicBezTo>
                <a:cubicBezTo>
                  <a:pt x="6491" y="1072553"/>
                  <a:pt x="5409" y="1066604"/>
                  <a:pt x="4327" y="1061195"/>
                </a:cubicBezTo>
                <a:cubicBezTo>
                  <a:pt x="3246" y="1055787"/>
                  <a:pt x="1623" y="1049837"/>
                  <a:pt x="1082" y="1043888"/>
                </a:cubicBezTo>
                <a:cubicBezTo>
                  <a:pt x="541" y="1037938"/>
                  <a:pt x="0" y="1032530"/>
                  <a:pt x="0" y="1026580"/>
                </a:cubicBezTo>
                <a:cubicBezTo>
                  <a:pt x="0" y="1020090"/>
                  <a:pt x="1082" y="1014141"/>
                  <a:pt x="2164" y="1008191"/>
                </a:cubicBezTo>
                <a:cubicBezTo>
                  <a:pt x="2704" y="1002242"/>
                  <a:pt x="2704" y="995752"/>
                  <a:pt x="3786" y="989803"/>
                </a:cubicBezTo>
                <a:cubicBezTo>
                  <a:pt x="5409" y="983853"/>
                  <a:pt x="7031" y="977904"/>
                  <a:pt x="9195" y="971955"/>
                </a:cubicBezTo>
                <a:cubicBezTo>
                  <a:pt x="11358" y="966005"/>
                  <a:pt x="15144" y="961138"/>
                  <a:pt x="18389" y="955729"/>
                </a:cubicBezTo>
                <a:cubicBezTo>
                  <a:pt x="21093" y="950320"/>
                  <a:pt x="23257" y="944371"/>
                  <a:pt x="27043" y="939503"/>
                </a:cubicBezTo>
                <a:cubicBezTo>
                  <a:pt x="30829" y="934636"/>
                  <a:pt x="34615" y="929768"/>
                  <a:pt x="38942" y="925441"/>
                </a:cubicBezTo>
                <a:cubicBezTo>
                  <a:pt x="43268" y="921114"/>
                  <a:pt x="47595" y="916788"/>
                  <a:pt x="52463" y="913002"/>
                </a:cubicBezTo>
                <a:cubicBezTo>
                  <a:pt x="57331" y="909216"/>
                  <a:pt x="61657" y="904889"/>
                  <a:pt x="67066" y="901644"/>
                </a:cubicBezTo>
                <a:cubicBezTo>
                  <a:pt x="71934" y="898399"/>
                  <a:pt x="77883" y="895154"/>
                  <a:pt x="83291" y="892449"/>
                </a:cubicBezTo>
                <a:cubicBezTo>
                  <a:pt x="78965" y="888663"/>
                  <a:pt x="74097" y="884877"/>
                  <a:pt x="70311" y="880010"/>
                </a:cubicBezTo>
                <a:cubicBezTo>
                  <a:pt x="67066" y="875142"/>
                  <a:pt x="63821" y="869733"/>
                  <a:pt x="61657" y="864866"/>
                </a:cubicBezTo>
                <a:cubicBezTo>
                  <a:pt x="59494" y="859457"/>
                  <a:pt x="58953" y="853508"/>
                  <a:pt x="57872" y="847559"/>
                </a:cubicBezTo>
                <a:cubicBezTo>
                  <a:pt x="56789" y="842150"/>
                  <a:pt x="54627" y="836201"/>
                  <a:pt x="54627" y="830251"/>
                </a:cubicBezTo>
                <a:cubicBezTo>
                  <a:pt x="54627" y="824302"/>
                  <a:pt x="57331" y="818353"/>
                  <a:pt x="58412" y="812403"/>
                </a:cubicBezTo>
                <a:cubicBezTo>
                  <a:pt x="59494" y="806454"/>
                  <a:pt x="59494" y="799963"/>
                  <a:pt x="62198" y="794555"/>
                </a:cubicBezTo>
                <a:cubicBezTo>
                  <a:pt x="64902" y="789146"/>
                  <a:pt x="69770" y="784820"/>
                  <a:pt x="73015" y="779952"/>
                </a:cubicBezTo>
                <a:cubicBezTo>
                  <a:pt x="76801" y="775084"/>
                  <a:pt x="79506" y="769135"/>
                  <a:pt x="84373" y="765349"/>
                </a:cubicBezTo>
                <a:cubicBezTo>
                  <a:pt x="89241" y="761563"/>
                  <a:pt x="95190" y="759400"/>
                  <a:pt x="100058" y="756155"/>
                </a:cubicBezTo>
                <a:cubicBezTo>
                  <a:pt x="105466" y="753450"/>
                  <a:pt x="110875" y="751287"/>
                  <a:pt x="116825" y="749664"/>
                </a:cubicBezTo>
                <a:cubicBezTo>
                  <a:pt x="122774" y="748042"/>
                  <a:pt x="129264" y="746419"/>
                  <a:pt x="135213" y="746419"/>
                </a:cubicBezTo>
                <a:cubicBezTo>
                  <a:pt x="132509" y="742093"/>
                  <a:pt x="130346" y="736143"/>
                  <a:pt x="128723" y="731276"/>
                </a:cubicBezTo>
                <a:cubicBezTo>
                  <a:pt x="127100" y="726408"/>
                  <a:pt x="123314" y="722081"/>
                  <a:pt x="122233" y="716672"/>
                </a:cubicBezTo>
                <a:cubicBezTo>
                  <a:pt x="121151" y="711805"/>
                  <a:pt x="121692" y="705855"/>
                  <a:pt x="121151" y="700988"/>
                </a:cubicBezTo>
                <a:cubicBezTo>
                  <a:pt x="120610" y="696120"/>
                  <a:pt x="119529" y="690712"/>
                  <a:pt x="119529" y="685303"/>
                </a:cubicBezTo>
                <a:cubicBezTo>
                  <a:pt x="119529" y="679354"/>
                  <a:pt x="121151" y="673945"/>
                  <a:pt x="121692" y="667996"/>
                </a:cubicBezTo>
                <a:cubicBezTo>
                  <a:pt x="122233" y="662046"/>
                  <a:pt x="123855" y="656638"/>
                  <a:pt x="124937" y="651229"/>
                </a:cubicBezTo>
                <a:cubicBezTo>
                  <a:pt x="126559" y="645280"/>
                  <a:pt x="126019" y="639331"/>
                  <a:pt x="128182" y="633922"/>
                </a:cubicBezTo>
                <a:cubicBezTo>
                  <a:pt x="130346" y="628514"/>
                  <a:pt x="135213" y="624728"/>
                  <a:pt x="138459" y="619860"/>
                </a:cubicBezTo>
                <a:cubicBezTo>
                  <a:pt x="141704" y="614992"/>
                  <a:pt x="144408" y="610125"/>
                  <a:pt x="148734" y="606339"/>
                </a:cubicBezTo>
                <a:cubicBezTo>
                  <a:pt x="153061" y="602012"/>
                  <a:pt x="156306" y="597144"/>
                  <a:pt x="160633" y="593899"/>
                </a:cubicBezTo>
                <a:cubicBezTo>
                  <a:pt x="165501" y="590654"/>
                  <a:pt x="170910" y="587950"/>
                  <a:pt x="176318" y="586327"/>
                </a:cubicBezTo>
                <a:cubicBezTo>
                  <a:pt x="181727" y="584705"/>
                  <a:pt x="187676" y="584705"/>
                  <a:pt x="193625" y="584705"/>
                </a:cubicBezTo>
                <a:cubicBezTo>
                  <a:pt x="200115" y="584705"/>
                  <a:pt x="206606" y="586327"/>
                  <a:pt x="213096" y="588491"/>
                </a:cubicBezTo>
                <a:cubicBezTo>
                  <a:pt x="211474" y="582541"/>
                  <a:pt x="210932" y="577133"/>
                  <a:pt x="209851" y="570643"/>
                </a:cubicBezTo>
                <a:cubicBezTo>
                  <a:pt x="208769" y="564693"/>
                  <a:pt x="208769" y="558203"/>
                  <a:pt x="208228" y="551713"/>
                </a:cubicBezTo>
                <a:cubicBezTo>
                  <a:pt x="201738" y="553876"/>
                  <a:pt x="194707" y="556580"/>
                  <a:pt x="188217" y="557662"/>
                </a:cubicBezTo>
                <a:cubicBezTo>
                  <a:pt x="181185" y="558203"/>
                  <a:pt x="174695" y="557662"/>
                  <a:pt x="168205" y="556580"/>
                </a:cubicBezTo>
                <a:cubicBezTo>
                  <a:pt x="161715" y="555499"/>
                  <a:pt x="155225" y="553335"/>
                  <a:pt x="149276" y="550631"/>
                </a:cubicBezTo>
                <a:cubicBezTo>
                  <a:pt x="143326" y="548468"/>
                  <a:pt x="137376" y="546304"/>
                  <a:pt x="132509" y="543059"/>
                </a:cubicBezTo>
                <a:cubicBezTo>
                  <a:pt x="127642" y="539814"/>
                  <a:pt x="123855" y="534405"/>
                  <a:pt x="119529" y="530079"/>
                </a:cubicBezTo>
                <a:cubicBezTo>
                  <a:pt x="115742" y="525752"/>
                  <a:pt x="111416" y="520884"/>
                  <a:pt x="108170" y="515476"/>
                </a:cubicBezTo>
                <a:cubicBezTo>
                  <a:pt x="105466" y="510067"/>
                  <a:pt x="103303" y="504118"/>
                  <a:pt x="101140" y="498168"/>
                </a:cubicBezTo>
                <a:cubicBezTo>
                  <a:pt x="98976" y="492760"/>
                  <a:pt x="96813" y="486810"/>
                  <a:pt x="95731" y="480861"/>
                </a:cubicBezTo>
                <a:cubicBezTo>
                  <a:pt x="94649" y="474912"/>
                  <a:pt x="94649" y="468962"/>
                  <a:pt x="94108" y="462472"/>
                </a:cubicBezTo>
                <a:cubicBezTo>
                  <a:pt x="93568" y="456523"/>
                  <a:pt x="93568" y="450573"/>
                  <a:pt x="94108" y="444083"/>
                </a:cubicBezTo>
                <a:cubicBezTo>
                  <a:pt x="94108" y="438134"/>
                  <a:pt x="94108" y="432184"/>
                  <a:pt x="95190" y="425694"/>
                </a:cubicBezTo>
                <a:cubicBezTo>
                  <a:pt x="95731" y="419745"/>
                  <a:pt x="96813" y="413795"/>
                  <a:pt x="98435" y="407846"/>
                </a:cubicBezTo>
                <a:cubicBezTo>
                  <a:pt x="99517" y="401897"/>
                  <a:pt x="101680" y="396488"/>
                  <a:pt x="103844" y="390539"/>
                </a:cubicBezTo>
                <a:cubicBezTo>
                  <a:pt x="105466" y="384589"/>
                  <a:pt x="106007" y="378640"/>
                  <a:pt x="108712" y="372691"/>
                </a:cubicBezTo>
                <a:cubicBezTo>
                  <a:pt x="110875" y="366741"/>
                  <a:pt x="113038" y="361333"/>
                  <a:pt x="116283" y="355924"/>
                </a:cubicBezTo>
                <a:cubicBezTo>
                  <a:pt x="118987" y="350516"/>
                  <a:pt x="122774" y="345107"/>
                  <a:pt x="126019" y="340240"/>
                </a:cubicBezTo>
                <a:cubicBezTo>
                  <a:pt x="129264" y="334831"/>
                  <a:pt x="133591" y="330504"/>
                  <a:pt x="137376" y="325637"/>
                </a:cubicBezTo>
                <a:cubicBezTo>
                  <a:pt x="141163" y="320769"/>
                  <a:pt x="145489" y="316442"/>
                  <a:pt x="149816" y="312115"/>
                </a:cubicBezTo>
                <a:cubicBezTo>
                  <a:pt x="154143" y="307789"/>
                  <a:pt x="159011" y="304002"/>
                  <a:pt x="163878" y="300217"/>
                </a:cubicBezTo>
                <a:cubicBezTo>
                  <a:pt x="168746" y="296431"/>
                  <a:pt x="173073" y="291563"/>
                  <a:pt x="177940" y="288318"/>
                </a:cubicBezTo>
                <a:cubicBezTo>
                  <a:pt x="183349" y="285073"/>
                  <a:pt x="188217" y="281287"/>
                  <a:pt x="193625" y="279123"/>
                </a:cubicBezTo>
                <a:cubicBezTo>
                  <a:pt x="199574" y="276419"/>
                  <a:pt x="204983" y="273715"/>
                  <a:pt x="210932" y="272092"/>
                </a:cubicBezTo>
                <a:cubicBezTo>
                  <a:pt x="216882" y="270470"/>
                  <a:pt x="223372" y="271010"/>
                  <a:pt x="229321" y="271010"/>
                </a:cubicBezTo>
                <a:cubicBezTo>
                  <a:pt x="235271" y="270470"/>
                  <a:pt x="241761" y="269388"/>
                  <a:pt x="247710" y="270470"/>
                </a:cubicBezTo>
                <a:cubicBezTo>
                  <a:pt x="253660" y="271551"/>
                  <a:pt x="259609" y="273174"/>
                  <a:pt x="265559" y="275337"/>
                </a:cubicBezTo>
                <a:cubicBezTo>
                  <a:pt x="268804" y="276419"/>
                  <a:pt x="271508" y="279123"/>
                  <a:pt x="274212" y="280746"/>
                </a:cubicBezTo>
                <a:cubicBezTo>
                  <a:pt x="274753" y="275878"/>
                  <a:pt x="274212" y="269929"/>
                  <a:pt x="275294" y="264520"/>
                </a:cubicBezTo>
                <a:cubicBezTo>
                  <a:pt x="276376" y="259653"/>
                  <a:pt x="279621" y="254785"/>
                  <a:pt x="281243" y="249376"/>
                </a:cubicBezTo>
                <a:cubicBezTo>
                  <a:pt x="282866" y="244509"/>
                  <a:pt x="283947" y="239100"/>
                  <a:pt x="285570" y="233692"/>
                </a:cubicBezTo>
                <a:cubicBezTo>
                  <a:pt x="287193" y="228824"/>
                  <a:pt x="288274" y="223416"/>
                  <a:pt x="290438" y="218007"/>
                </a:cubicBezTo>
                <a:cubicBezTo>
                  <a:pt x="292601" y="213139"/>
                  <a:pt x="296387" y="208813"/>
                  <a:pt x="299091" y="203945"/>
                </a:cubicBezTo>
                <a:cubicBezTo>
                  <a:pt x="301796" y="198536"/>
                  <a:pt x="303959" y="193128"/>
                  <a:pt x="307204" y="187719"/>
                </a:cubicBezTo>
                <a:cubicBezTo>
                  <a:pt x="309908" y="182311"/>
                  <a:pt x="312613" y="176902"/>
                  <a:pt x="315858" y="171494"/>
                </a:cubicBezTo>
                <a:cubicBezTo>
                  <a:pt x="319103" y="166085"/>
                  <a:pt x="321807" y="160677"/>
                  <a:pt x="325052" y="155809"/>
                </a:cubicBezTo>
                <a:cubicBezTo>
                  <a:pt x="328838" y="150941"/>
                  <a:pt x="333706" y="147155"/>
                  <a:pt x="337492" y="142829"/>
                </a:cubicBezTo>
                <a:cubicBezTo>
                  <a:pt x="341819" y="137961"/>
                  <a:pt x="345604" y="133634"/>
                  <a:pt x="349931" y="129848"/>
                </a:cubicBezTo>
                <a:cubicBezTo>
                  <a:pt x="354799" y="125521"/>
                  <a:pt x="358585" y="120654"/>
                  <a:pt x="363453" y="117950"/>
                </a:cubicBezTo>
                <a:cubicBezTo>
                  <a:pt x="368861" y="114163"/>
                  <a:pt x="374270" y="110378"/>
                  <a:pt x="379678" y="109296"/>
                </a:cubicBezTo>
                <a:cubicBezTo>
                  <a:pt x="386168" y="107673"/>
                  <a:pt x="392118" y="108755"/>
                  <a:pt x="397526" y="111459"/>
                </a:cubicBezTo>
                <a:cubicBezTo>
                  <a:pt x="398608" y="112000"/>
                  <a:pt x="401312" y="113082"/>
                  <a:pt x="402394" y="113623"/>
                </a:cubicBezTo>
                <a:cubicBezTo>
                  <a:pt x="405098" y="106592"/>
                  <a:pt x="407802" y="99020"/>
                  <a:pt x="411589" y="91989"/>
                </a:cubicBezTo>
                <a:cubicBezTo>
                  <a:pt x="414293" y="86039"/>
                  <a:pt x="415915" y="80090"/>
                  <a:pt x="418619" y="74681"/>
                </a:cubicBezTo>
                <a:cubicBezTo>
                  <a:pt x="421864" y="69273"/>
                  <a:pt x="425651" y="64405"/>
                  <a:pt x="428896" y="58997"/>
                </a:cubicBezTo>
                <a:cubicBezTo>
                  <a:pt x="432141" y="53588"/>
                  <a:pt x="435927" y="48721"/>
                  <a:pt x="439172" y="43853"/>
                </a:cubicBezTo>
                <a:cubicBezTo>
                  <a:pt x="442958" y="38444"/>
                  <a:pt x="446203" y="33577"/>
                  <a:pt x="449989" y="28709"/>
                </a:cubicBezTo>
                <a:cubicBezTo>
                  <a:pt x="454315" y="23841"/>
                  <a:pt x="458102" y="18974"/>
                  <a:pt x="462428" y="15188"/>
                </a:cubicBezTo>
                <a:cubicBezTo>
                  <a:pt x="467837" y="10320"/>
                  <a:pt x="472164" y="5993"/>
                  <a:pt x="477032" y="3289"/>
                </a:cubicBezTo>
                <a:cubicBezTo>
                  <a:pt x="484062" y="44"/>
                  <a:pt x="490553" y="-1038"/>
                  <a:pt x="495421" y="1125"/>
                </a:cubicBezTo>
                <a:cubicBezTo>
                  <a:pt x="500829" y="3830"/>
                  <a:pt x="502992" y="11402"/>
                  <a:pt x="504074" y="20596"/>
                </a:cubicBezTo>
                <a:cubicBezTo>
                  <a:pt x="505156" y="26546"/>
                  <a:pt x="506238" y="34117"/>
                  <a:pt x="505156" y="42230"/>
                </a:cubicBezTo>
                <a:cubicBezTo>
                  <a:pt x="509483" y="38444"/>
                  <a:pt x="513268" y="34658"/>
                  <a:pt x="517055" y="33036"/>
                </a:cubicBezTo>
                <a:cubicBezTo>
                  <a:pt x="522463" y="30331"/>
                  <a:pt x="527330" y="31413"/>
                  <a:pt x="531658" y="33577"/>
                </a:cubicBezTo>
                <a:cubicBezTo>
                  <a:pt x="535985" y="35740"/>
                  <a:pt x="539770" y="38985"/>
                  <a:pt x="541393" y="44394"/>
                </a:cubicBezTo>
                <a:cubicBezTo>
                  <a:pt x="542475" y="48721"/>
                  <a:pt x="543015" y="54129"/>
                  <a:pt x="542475" y="60078"/>
                </a:cubicBezTo>
                <a:cubicBezTo>
                  <a:pt x="541934" y="64946"/>
                  <a:pt x="539770" y="69814"/>
                  <a:pt x="538148" y="75222"/>
                </a:cubicBezTo>
                <a:cubicBezTo>
                  <a:pt x="536525" y="80090"/>
                  <a:pt x="536525" y="85498"/>
                  <a:pt x="534362" y="90366"/>
                </a:cubicBezTo>
                <a:cubicBezTo>
                  <a:pt x="531658" y="95775"/>
                  <a:pt x="528413" y="101183"/>
                  <a:pt x="525168" y="106051"/>
                </a:cubicBezTo>
                <a:cubicBezTo>
                  <a:pt x="521381" y="111459"/>
                  <a:pt x="516513" y="115245"/>
                  <a:pt x="512187" y="118490"/>
                </a:cubicBezTo>
                <a:cubicBezTo>
                  <a:pt x="506238" y="120113"/>
                  <a:pt x="499747" y="121736"/>
                  <a:pt x="494339" y="126062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3189FE0D-9B7D-5E44-D2EA-9669377D78DA}"/>
              </a:ext>
            </a:extLst>
          </p:cNvPr>
          <p:cNvSpPr/>
          <p:nvPr/>
        </p:nvSpPr>
        <p:spPr>
          <a:xfrm>
            <a:off x="3245945" y="5097980"/>
            <a:ext cx="71211" cy="134844"/>
          </a:xfrm>
          <a:custGeom>
            <a:avLst/>
            <a:gdLst>
              <a:gd name="connsiteX0" fmla="*/ 49758 w 49758"/>
              <a:gd name="connsiteY0" fmla="*/ 0 h 111415"/>
              <a:gd name="connsiteX1" fmla="*/ 48677 w 49758"/>
              <a:gd name="connsiteY1" fmla="*/ 17848 h 111415"/>
              <a:gd name="connsiteX2" fmla="*/ 44890 w 49758"/>
              <a:gd name="connsiteY2" fmla="*/ 35696 h 111415"/>
              <a:gd name="connsiteX3" fmla="*/ 38941 w 49758"/>
              <a:gd name="connsiteY3" fmla="*/ 52463 h 111415"/>
              <a:gd name="connsiteX4" fmla="*/ 32992 w 49758"/>
              <a:gd name="connsiteY4" fmla="*/ 69229 h 111415"/>
              <a:gd name="connsiteX5" fmla="*/ 22716 w 49758"/>
              <a:gd name="connsiteY5" fmla="*/ 83832 h 111415"/>
              <a:gd name="connsiteX6" fmla="*/ 12981 w 49758"/>
              <a:gd name="connsiteY6" fmla="*/ 98976 h 111415"/>
              <a:gd name="connsiteX7" fmla="*/ 0 w 49758"/>
              <a:gd name="connsiteY7" fmla="*/ 111416 h 111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758" h="111415">
                <a:moveTo>
                  <a:pt x="49758" y="0"/>
                </a:moveTo>
                <a:cubicBezTo>
                  <a:pt x="49758" y="5950"/>
                  <a:pt x="49217" y="11899"/>
                  <a:pt x="48677" y="17848"/>
                </a:cubicBezTo>
                <a:cubicBezTo>
                  <a:pt x="48136" y="23798"/>
                  <a:pt x="46513" y="29747"/>
                  <a:pt x="44890" y="35696"/>
                </a:cubicBezTo>
                <a:cubicBezTo>
                  <a:pt x="43268" y="41646"/>
                  <a:pt x="41105" y="47054"/>
                  <a:pt x="38941" y="52463"/>
                </a:cubicBezTo>
                <a:cubicBezTo>
                  <a:pt x="36778" y="57871"/>
                  <a:pt x="35696" y="64361"/>
                  <a:pt x="32992" y="69229"/>
                </a:cubicBezTo>
                <a:cubicBezTo>
                  <a:pt x="30288" y="74637"/>
                  <a:pt x="25960" y="78965"/>
                  <a:pt x="22716" y="83832"/>
                </a:cubicBezTo>
                <a:cubicBezTo>
                  <a:pt x="19471" y="88700"/>
                  <a:pt x="16766" y="94108"/>
                  <a:pt x="12981" y="98976"/>
                </a:cubicBezTo>
                <a:cubicBezTo>
                  <a:pt x="9194" y="103303"/>
                  <a:pt x="4326" y="107630"/>
                  <a:pt x="0" y="111416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79EBDC58-58A5-5E2A-1E74-FE8D40AEACDC}"/>
              </a:ext>
            </a:extLst>
          </p:cNvPr>
          <p:cNvSpPr/>
          <p:nvPr/>
        </p:nvSpPr>
        <p:spPr>
          <a:xfrm>
            <a:off x="3423200" y="4599841"/>
            <a:ext cx="3094" cy="410425"/>
          </a:xfrm>
          <a:custGeom>
            <a:avLst/>
            <a:gdLst>
              <a:gd name="connsiteX0" fmla="*/ 541 w 2162"/>
              <a:gd name="connsiteY0" fmla="*/ 0 h 339114"/>
              <a:gd name="connsiteX1" fmla="*/ 0 w 2162"/>
              <a:gd name="connsiteY1" fmla="*/ 17848 h 339114"/>
              <a:gd name="connsiteX2" fmla="*/ 0 w 2162"/>
              <a:gd name="connsiteY2" fmla="*/ 35696 h 339114"/>
              <a:gd name="connsiteX3" fmla="*/ 1622 w 2162"/>
              <a:gd name="connsiteY3" fmla="*/ 53544 h 339114"/>
              <a:gd name="connsiteX4" fmla="*/ 2163 w 2162"/>
              <a:gd name="connsiteY4" fmla="*/ 71392 h 339114"/>
              <a:gd name="connsiteX5" fmla="*/ 541 w 2162"/>
              <a:gd name="connsiteY5" fmla="*/ 89241 h 339114"/>
              <a:gd name="connsiteX6" fmla="*/ 0 w 2162"/>
              <a:gd name="connsiteY6" fmla="*/ 107089 h 339114"/>
              <a:gd name="connsiteX7" fmla="*/ 0 w 2162"/>
              <a:gd name="connsiteY7" fmla="*/ 124937 h 339114"/>
              <a:gd name="connsiteX8" fmla="*/ 0 w 2162"/>
              <a:gd name="connsiteY8" fmla="*/ 142785 h 339114"/>
              <a:gd name="connsiteX9" fmla="*/ 0 w 2162"/>
              <a:gd name="connsiteY9" fmla="*/ 160633 h 339114"/>
              <a:gd name="connsiteX10" fmla="*/ 1622 w 2162"/>
              <a:gd name="connsiteY10" fmla="*/ 178481 h 339114"/>
              <a:gd name="connsiteX11" fmla="*/ 1081 w 2162"/>
              <a:gd name="connsiteY11" fmla="*/ 196329 h 339114"/>
              <a:gd name="connsiteX12" fmla="*/ 2163 w 2162"/>
              <a:gd name="connsiteY12" fmla="*/ 214177 h 339114"/>
              <a:gd name="connsiteX13" fmla="*/ 2163 w 2162"/>
              <a:gd name="connsiteY13" fmla="*/ 232025 h 339114"/>
              <a:gd name="connsiteX14" fmla="*/ 1622 w 2162"/>
              <a:gd name="connsiteY14" fmla="*/ 249874 h 339114"/>
              <a:gd name="connsiteX15" fmla="*/ 2163 w 2162"/>
              <a:gd name="connsiteY15" fmla="*/ 267722 h 339114"/>
              <a:gd name="connsiteX16" fmla="*/ 1622 w 2162"/>
              <a:gd name="connsiteY16" fmla="*/ 285570 h 339114"/>
              <a:gd name="connsiteX17" fmla="*/ 1081 w 2162"/>
              <a:gd name="connsiteY17" fmla="*/ 303418 h 339114"/>
              <a:gd name="connsiteX18" fmla="*/ 1081 w 2162"/>
              <a:gd name="connsiteY18" fmla="*/ 321266 h 339114"/>
              <a:gd name="connsiteX19" fmla="*/ 2163 w 2162"/>
              <a:gd name="connsiteY19" fmla="*/ 339114 h 33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162" h="339114">
                <a:moveTo>
                  <a:pt x="541" y="0"/>
                </a:moveTo>
                <a:cubicBezTo>
                  <a:pt x="541" y="8653"/>
                  <a:pt x="0" y="8653"/>
                  <a:pt x="0" y="17848"/>
                </a:cubicBezTo>
                <a:cubicBezTo>
                  <a:pt x="0" y="26502"/>
                  <a:pt x="0" y="26502"/>
                  <a:pt x="0" y="35696"/>
                </a:cubicBezTo>
                <a:cubicBezTo>
                  <a:pt x="0" y="44350"/>
                  <a:pt x="1622" y="44350"/>
                  <a:pt x="1622" y="53544"/>
                </a:cubicBezTo>
                <a:cubicBezTo>
                  <a:pt x="1622" y="62198"/>
                  <a:pt x="2163" y="62198"/>
                  <a:pt x="2163" y="71392"/>
                </a:cubicBezTo>
                <a:cubicBezTo>
                  <a:pt x="2163" y="80046"/>
                  <a:pt x="541" y="80046"/>
                  <a:pt x="541" y="89241"/>
                </a:cubicBezTo>
                <a:cubicBezTo>
                  <a:pt x="541" y="97894"/>
                  <a:pt x="0" y="97894"/>
                  <a:pt x="0" y="107089"/>
                </a:cubicBezTo>
                <a:cubicBezTo>
                  <a:pt x="0" y="115742"/>
                  <a:pt x="0" y="115742"/>
                  <a:pt x="0" y="124937"/>
                </a:cubicBezTo>
                <a:cubicBezTo>
                  <a:pt x="0" y="133590"/>
                  <a:pt x="0" y="133590"/>
                  <a:pt x="0" y="142785"/>
                </a:cubicBezTo>
                <a:cubicBezTo>
                  <a:pt x="0" y="151438"/>
                  <a:pt x="0" y="151438"/>
                  <a:pt x="0" y="160633"/>
                </a:cubicBezTo>
                <a:cubicBezTo>
                  <a:pt x="0" y="169287"/>
                  <a:pt x="1622" y="169287"/>
                  <a:pt x="1622" y="178481"/>
                </a:cubicBezTo>
                <a:cubicBezTo>
                  <a:pt x="1622" y="187135"/>
                  <a:pt x="1081" y="187135"/>
                  <a:pt x="1081" y="196329"/>
                </a:cubicBezTo>
                <a:cubicBezTo>
                  <a:pt x="1081" y="204983"/>
                  <a:pt x="2163" y="204983"/>
                  <a:pt x="2163" y="214177"/>
                </a:cubicBezTo>
                <a:cubicBezTo>
                  <a:pt x="2163" y="223372"/>
                  <a:pt x="2163" y="222831"/>
                  <a:pt x="2163" y="232025"/>
                </a:cubicBezTo>
                <a:cubicBezTo>
                  <a:pt x="2163" y="240679"/>
                  <a:pt x="1622" y="240679"/>
                  <a:pt x="1622" y="249874"/>
                </a:cubicBezTo>
                <a:cubicBezTo>
                  <a:pt x="1622" y="258527"/>
                  <a:pt x="2163" y="258527"/>
                  <a:pt x="2163" y="267722"/>
                </a:cubicBezTo>
                <a:cubicBezTo>
                  <a:pt x="2163" y="276375"/>
                  <a:pt x="1622" y="276375"/>
                  <a:pt x="1622" y="285570"/>
                </a:cubicBezTo>
                <a:cubicBezTo>
                  <a:pt x="1622" y="294223"/>
                  <a:pt x="1081" y="294223"/>
                  <a:pt x="1081" y="303418"/>
                </a:cubicBezTo>
                <a:cubicBezTo>
                  <a:pt x="1081" y="312072"/>
                  <a:pt x="1081" y="312072"/>
                  <a:pt x="1081" y="321266"/>
                </a:cubicBezTo>
                <a:cubicBezTo>
                  <a:pt x="1081" y="329920"/>
                  <a:pt x="2163" y="329920"/>
                  <a:pt x="2163" y="339114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A421573B-5474-7EF2-4777-98FBBF27816F}"/>
              </a:ext>
            </a:extLst>
          </p:cNvPr>
          <p:cNvSpPr/>
          <p:nvPr/>
        </p:nvSpPr>
        <p:spPr>
          <a:xfrm>
            <a:off x="3528470" y="4884585"/>
            <a:ext cx="3870" cy="251359"/>
          </a:xfrm>
          <a:custGeom>
            <a:avLst/>
            <a:gdLst>
              <a:gd name="connsiteX0" fmla="*/ 1081 w 2704"/>
              <a:gd name="connsiteY0" fmla="*/ 0 h 207686"/>
              <a:gd name="connsiteX1" fmla="*/ 541 w 2704"/>
              <a:gd name="connsiteY1" fmla="*/ 17307 h 207686"/>
              <a:gd name="connsiteX2" fmla="*/ 2704 w 2704"/>
              <a:gd name="connsiteY2" fmla="*/ 34614 h 207686"/>
              <a:gd name="connsiteX3" fmla="*/ 0 w 2704"/>
              <a:gd name="connsiteY3" fmla="*/ 51922 h 207686"/>
              <a:gd name="connsiteX4" fmla="*/ 1081 w 2704"/>
              <a:gd name="connsiteY4" fmla="*/ 69229 h 207686"/>
              <a:gd name="connsiteX5" fmla="*/ 541 w 2704"/>
              <a:gd name="connsiteY5" fmla="*/ 86536 h 207686"/>
              <a:gd name="connsiteX6" fmla="*/ 2164 w 2704"/>
              <a:gd name="connsiteY6" fmla="*/ 103844 h 207686"/>
              <a:gd name="connsiteX7" fmla="*/ 1081 w 2704"/>
              <a:gd name="connsiteY7" fmla="*/ 121151 h 207686"/>
              <a:gd name="connsiteX8" fmla="*/ 1622 w 2704"/>
              <a:gd name="connsiteY8" fmla="*/ 138458 h 207686"/>
              <a:gd name="connsiteX9" fmla="*/ 2164 w 2704"/>
              <a:gd name="connsiteY9" fmla="*/ 155765 h 207686"/>
              <a:gd name="connsiteX10" fmla="*/ 2164 w 2704"/>
              <a:gd name="connsiteY10" fmla="*/ 173073 h 207686"/>
              <a:gd name="connsiteX11" fmla="*/ 2164 w 2704"/>
              <a:gd name="connsiteY11" fmla="*/ 190380 h 207686"/>
              <a:gd name="connsiteX12" fmla="*/ 2704 w 2704"/>
              <a:gd name="connsiteY12" fmla="*/ 207687 h 207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04" h="207686">
                <a:moveTo>
                  <a:pt x="1081" y="0"/>
                </a:moveTo>
                <a:cubicBezTo>
                  <a:pt x="1081" y="8653"/>
                  <a:pt x="541" y="8653"/>
                  <a:pt x="541" y="17307"/>
                </a:cubicBezTo>
                <a:cubicBezTo>
                  <a:pt x="541" y="25961"/>
                  <a:pt x="2704" y="25961"/>
                  <a:pt x="2704" y="34614"/>
                </a:cubicBezTo>
                <a:cubicBezTo>
                  <a:pt x="2704" y="43268"/>
                  <a:pt x="0" y="43268"/>
                  <a:pt x="0" y="51922"/>
                </a:cubicBezTo>
                <a:cubicBezTo>
                  <a:pt x="0" y="60575"/>
                  <a:pt x="1081" y="60575"/>
                  <a:pt x="1081" y="69229"/>
                </a:cubicBezTo>
                <a:cubicBezTo>
                  <a:pt x="1081" y="77882"/>
                  <a:pt x="541" y="77882"/>
                  <a:pt x="541" y="86536"/>
                </a:cubicBezTo>
                <a:cubicBezTo>
                  <a:pt x="541" y="95190"/>
                  <a:pt x="2164" y="95190"/>
                  <a:pt x="2164" y="103844"/>
                </a:cubicBezTo>
                <a:cubicBezTo>
                  <a:pt x="2164" y="112497"/>
                  <a:pt x="1081" y="112497"/>
                  <a:pt x="1081" y="121151"/>
                </a:cubicBezTo>
                <a:cubicBezTo>
                  <a:pt x="1081" y="129804"/>
                  <a:pt x="1622" y="129804"/>
                  <a:pt x="1622" y="138458"/>
                </a:cubicBezTo>
                <a:cubicBezTo>
                  <a:pt x="1622" y="147112"/>
                  <a:pt x="2164" y="147112"/>
                  <a:pt x="2164" y="155765"/>
                </a:cubicBezTo>
                <a:cubicBezTo>
                  <a:pt x="2164" y="164419"/>
                  <a:pt x="2164" y="164419"/>
                  <a:pt x="2164" y="173073"/>
                </a:cubicBezTo>
                <a:cubicBezTo>
                  <a:pt x="2164" y="181726"/>
                  <a:pt x="2164" y="181726"/>
                  <a:pt x="2164" y="190380"/>
                </a:cubicBezTo>
                <a:cubicBezTo>
                  <a:pt x="2164" y="199033"/>
                  <a:pt x="2704" y="199033"/>
                  <a:pt x="2704" y="207687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E65353FF-473D-737D-C775-B77B59C680CF}"/>
              </a:ext>
            </a:extLst>
          </p:cNvPr>
          <p:cNvSpPr/>
          <p:nvPr/>
        </p:nvSpPr>
        <p:spPr>
          <a:xfrm>
            <a:off x="3529244" y="4539619"/>
            <a:ext cx="3096" cy="231722"/>
          </a:xfrm>
          <a:custGeom>
            <a:avLst/>
            <a:gdLst>
              <a:gd name="connsiteX0" fmla="*/ 2164 w 2163"/>
              <a:gd name="connsiteY0" fmla="*/ 0 h 191461"/>
              <a:gd name="connsiteX1" fmla="*/ 0 w 2163"/>
              <a:gd name="connsiteY1" fmla="*/ 17307 h 191461"/>
              <a:gd name="connsiteX2" fmla="*/ 1081 w 2163"/>
              <a:gd name="connsiteY2" fmla="*/ 34615 h 191461"/>
              <a:gd name="connsiteX3" fmla="*/ 0 w 2163"/>
              <a:gd name="connsiteY3" fmla="*/ 51922 h 191461"/>
              <a:gd name="connsiteX4" fmla="*/ 2164 w 2163"/>
              <a:gd name="connsiteY4" fmla="*/ 69229 h 191461"/>
              <a:gd name="connsiteX5" fmla="*/ 0 w 2163"/>
              <a:gd name="connsiteY5" fmla="*/ 86536 h 191461"/>
              <a:gd name="connsiteX6" fmla="*/ 0 w 2163"/>
              <a:gd name="connsiteY6" fmla="*/ 103844 h 191461"/>
              <a:gd name="connsiteX7" fmla="*/ 541 w 2163"/>
              <a:gd name="connsiteY7" fmla="*/ 121151 h 191461"/>
              <a:gd name="connsiteX8" fmla="*/ 1081 w 2163"/>
              <a:gd name="connsiteY8" fmla="*/ 138458 h 191461"/>
              <a:gd name="connsiteX9" fmla="*/ 1081 w 2163"/>
              <a:gd name="connsiteY9" fmla="*/ 155765 h 191461"/>
              <a:gd name="connsiteX10" fmla="*/ 0 w 2163"/>
              <a:gd name="connsiteY10" fmla="*/ 173613 h 191461"/>
              <a:gd name="connsiteX11" fmla="*/ 541 w 2163"/>
              <a:gd name="connsiteY11" fmla="*/ 191462 h 191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63" h="191461">
                <a:moveTo>
                  <a:pt x="2164" y="0"/>
                </a:moveTo>
                <a:cubicBezTo>
                  <a:pt x="2164" y="8653"/>
                  <a:pt x="0" y="8653"/>
                  <a:pt x="0" y="17307"/>
                </a:cubicBezTo>
                <a:cubicBezTo>
                  <a:pt x="0" y="25961"/>
                  <a:pt x="1081" y="25961"/>
                  <a:pt x="1081" y="34615"/>
                </a:cubicBezTo>
                <a:cubicBezTo>
                  <a:pt x="1081" y="43268"/>
                  <a:pt x="0" y="43268"/>
                  <a:pt x="0" y="51922"/>
                </a:cubicBezTo>
                <a:cubicBezTo>
                  <a:pt x="0" y="60575"/>
                  <a:pt x="2164" y="60575"/>
                  <a:pt x="2164" y="69229"/>
                </a:cubicBezTo>
                <a:cubicBezTo>
                  <a:pt x="2164" y="77883"/>
                  <a:pt x="0" y="77883"/>
                  <a:pt x="0" y="86536"/>
                </a:cubicBezTo>
                <a:cubicBezTo>
                  <a:pt x="0" y="95190"/>
                  <a:pt x="0" y="95190"/>
                  <a:pt x="0" y="103844"/>
                </a:cubicBezTo>
                <a:cubicBezTo>
                  <a:pt x="0" y="112497"/>
                  <a:pt x="541" y="112497"/>
                  <a:pt x="541" y="121151"/>
                </a:cubicBezTo>
                <a:cubicBezTo>
                  <a:pt x="541" y="129804"/>
                  <a:pt x="1081" y="129804"/>
                  <a:pt x="1081" y="138458"/>
                </a:cubicBezTo>
                <a:cubicBezTo>
                  <a:pt x="1081" y="147112"/>
                  <a:pt x="1081" y="147112"/>
                  <a:pt x="1081" y="155765"/>
                </a:cubicBezTo>
                <a:cubicBezTo>
                  <a:pt x="1081" y="164419"/>
                  <a:pt x="0" y="164419"/>
                  <a:pt x="0" y="173613"/>
                </a:cubicBezTo>
                <a:cubicBezTo>
                  <a:pt x="0" y="182808"/>
                  <a:pt x="541" y="182267"/>
                  <a:pt x="541" y="191462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F78E65C7-DBD4-F420-6FC4-DFE269E58A26}"/>
              </a:ext>
            </a:extLst>
          </p:cNvPr>
          <p:cNvSpPr/>
          <p:nvPr/>
        </p:nvSpPr>
        <p:spPr>
          <a:xfrm>
            <a:off x="3530791" y="4556638"/>
            <a:ext cx="75083" cy="202921"/>
          </a:xfrm>
          <a:custGeom>
            <a:avLst/>
            <a:gdLst>
              <a:gd name="connsiteX0" fmla="*/ 52463 w 52463"/>
              <a:gd name="connsiteY0" fmla="*/ 0 h 167664"/>
              <a:gd name="connsiteX1" fmla="*/ 47055 w 52463"/>
              <a:gd name="connsiteY1" fmla="*/ 16767 h 167664"/>
              <a:gd name="connsiteX2" fmla="*/ 40564 w 52463"/>
              <a:gd name="connsiteY2" fmla="*/ 32992 h 167664"/>
              <a:gd name="connsiteX3" fmla="*/ 37860 w 52463"/>
              <a:gd name="connsiteY3" fmla="*/ 50299 h 167664"/>
              <a:gd name="connsiteX4" fmla="*/ 32451 w 52463"/>
              <a:gd name="connsiteY4" fmla="*/ 67066 h 167664"/>
              <a:gd name="connsiteX5" fmla="*/ 25420 w 52463"/>
              <a:gd name="connsiteY5" fmla="*/ 83291 h 167664"/>
              <a:gd name="connsiteX6" fmla="*/ 20012 w 52463"/>
              <a:gd name="connsiteY6" fmla="*/ 100058 h 167664"/>
              <a:gd name="connsiteX7" fmla="*/ 16226 w 52463"/>
              <a:gd name="connsiteY7" fmla="*/ 117365 h 167664"/>
              <a:gd name="connsiteX8" fmla="*/ 11358 w 52463"/>
              <a:gd name="connsiteY8" fmla="*/ 134132 h 167664"/>
              <a:gd name="connsiteX9" fmla="*/ 3786 w 52463"/>
              <a:gd name="connsiteY9" fmla="*/ 150357 h 167664"/>
              <a:gd name="connsiteX10" fmla="*/ 0 w 52463"/>
              <a:gd name="connsiteY10" fmla="*/ 167664 h 167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463" h="167664">
                <a:moveTo>
                  <a:pt x="52463" y="0"/>
                </a:moveTo>
                <a:cubicBezTo>
                  <a:pt x="49759" y="8654"/>
                  <a:pt x="49759" y="8654"/>
                  <a:pt x="47055" y="16767"/>
                </a:cubicBezTo>
                <a:cubicBezTo>
                  <a:pt x="44350" y="25420"/>
                  <a:pt x="43268" y="24879"/>
                  <a:pt x="40564" y="32992"/>
                </a:cubicBezTo>
                <a:cubicBezTo>
                  <a:pt x="37860" y="41646"/>
                  <a:pt x="40023" y="42187"/>
                  <a:pt x="37860" y="50299"/>
                </a:cubicBezTo>
                <a:cubicBezTo>
                  <a:pt x="35155" y="58953"/>
                  <a:pt x="35155" y="58412"/>
                  <a:pt x="32451" y="67066"/>
                </a:cubicBezTo>
                <a:cubicBezTo>
                  <a:pt x="29747" y="75719"/>
                  <a:pt x="27584" y="74638"/>
                  <a:pt x="25420" y="83291"/>
                </a:cubicBezTo>
                <a:cubicBezTo>
                  <a:pt x="22716" y="91945"/>
                  <a:pt x="22716" y="91945"/>
                  <a:pt x="20012" y="100058"/>
                </a:cubicBezTo>
                <a:cubicBezTo>
                  <a:pt x="17308" y="108711"/>
                  <a:pt x="18930" y="109252"/>
                  <a:pt x="16226" y="117365"/>
                </a:cubicBezTo>
                <a:cubicBezTo>
                  <a:pt x="13521" y="126019"/>
                  <a:pt x="14063" y="126019"/>
                  <a:pt x="11358" y="134132"/>
                </a:cubicBezTo>
                <a:cubicBezTo>
                  <a:pt x="8654" y="142785"/>
                  <a:pt x="6491" y="141703"/>
                  <a:pt x="3786" y="150357"/>
                </a:cubicBezTo>
                <a:cubicBezTo>
                  <a:pt x="1082" y="159011"/>
                  <a:pt x="2704" y="159551"/>
                  <a:pt x="0" y="167664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18DF6E6D-0EDE-05EA-ECFC-D3FFF65C1024}"/>
              </a:ext>
            </a:extLst>
          </p:cNvPr>
          <p:cNvSpPr/>
          <p:nvPr/>
        </p:nvSpPr>
        <p:spPr>
          <a:xfrm>
            <a:off x="3530017" y="4592640"/>
            <a:ext cx="93657" cy="267070"/>
          </a:xfrm>
          <a:custGeom>
            <a:avLst/>
            <a:gdLst>
              <a:gd name="connsiteX0" fmla="*/ 65443 w 65442"/>
              <a:gd name="connsiteY0" fmla="*/ 0 h 220667"/>
              <a:gd name="connsiteX1" fmla="*/ 61657 w 65442"/>
              <a:gd name="connsiteY1" fmla="*/ 17307 h 220667"/>
              <a:gd name="connsiteX2" fmla="*/ 56789 w 65442"/>
              <a:gd name="connsiteY2" fmla="*/ 34615 h 220667"/>
              <a:gd name="connsiteX3" fmla="*/ 49759 w 65442"/>
              <a:gd name="connsiteY3" fmla="*/ 50840 h 220667"/>
              <a:gd name="connsiteX4" fmla="*/ 44891 w 65442"/>
              <a:gd name="connsiteY4" fmla="*/ 67606 h 220667"/>
              <a:gd name="connsiteX5" fmla="*/ 39482 w 65442"/>
              <a:gd name="connsiteY5" fmla="*/ 84373 h 220667"/>
              <a:gd name="connsiteX6" fmla="*/ 36778 w 65442"/>
              <a:gd name="connsiteY6" fmla="*/ 102221 h 220667"/>
              <a:gd name="connsiteX7" fmla="*/ 30829 w 65442"/>
              <a:gd name="connsiteY7" fmla="*/ 118987 h 220667"/>
              <a:gd name="connsiteX8" fmla="*/ 26502 w 65442"/>
              <a:gd name="connsiteY8" fmla="*/ 136295 h 220667"/>
              <a:gd name="connsiteX9" fmla="*/ 20553 w 65442"/>
              <a:gd name="connsiteY9" fmla="*/ 153061 h 220667"/>
              <a:gd name="connsiteX10" fmla="*/ 15144 w 65442"/>
              <a:gd name="connsiteY10" fmla="*/ 169828 h 220667"/>
              <a:gd name="connsiteX11" fmla="*/ 9736 w 65442"/>
              <a:gd name="connsiteY11" fmla="*/ 186594 h 220667"/>
              <a:gd name="connsiteX12" fmla="*/ 5409 w 65442"/>
              <a:gd name="connsiteY12" fmla="*/ 203901 h 220667"/>
              <a:gd name="connsiteX13" fmla="*/ 0 w 65442"/>
              <a:gd name="connsiteY13" fmla="*/ 220668 h 220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5442" h="220667">
                <a:moveTo>
                  <a:pt x="65443" y="0"/>
                </a:moveTo>
                <a:cubicBezTo>
                  <a:pt x="62739" y="8654"/>
                  <a:pt x="64361" y="8654"/>
                  <a:pt x="61657" y="17307"/>
                </a:cubicBezTo>
                <a:cubicBezTo>
                  <a:pt x="58953" y="25961"/>
                  <a:pt x="59494" y="25961"/>
                  <a:pt x="56789" y="34615"/>
                </a:cubicBezTo>
                <a:cubicBezTo>
                  <a:pt x="54085" y="43268"/>
                  <a:pt x="52463" y="42727"/>
                  <a:pt x="49759" y="50840"/>
                </a:cubicBezTo>
                <a:cubicBezTo>
                  <a:pt x="47055" y="59494"/>
                  <a:pt x="47055" y="59494"/>
                  <a:pt x="44891" y="67606"/>
                </a:cubicBezTo>
                <a:cubicBezTo>
                  <a:pt x="42187" y="76260"/>
                  <a:pt x="41646" y="75719"/>
                  <a:pt x="39482" y="84373"/>
                </a:cubicBezTo>
                <a:cubicBezTo>
                  <a:pt x="36778" y="93027"/>
                  <a:pt x="38942" y="93568"/>
                  <a:pt x="36778" y="102221"/>
                </a:cubicBezTo>
                <a:cubicBezTo>
                  <a:pt x="34074" y="110875"/>
                  <a:pt x="33533" y="110334"/>
                  <a:pt x="30829" y="118987"/>
                </a:cubicBezTo>
                <a:cubicBezTo>
                  <a:pt x="28125" y="127641"/>
                  <a:pt x="28665" y="127641"/>
                  <a:pt x="26502" y="136295"/>
                </a:cubicBezTo>
                <a:cubicBezTo>
                  <a:pt x="23798" y="144949"/>
                  <a:pt x="23257" y="144407"/>
                  <a:pt x="20553" y="153061"/>
                </a:cubicBezTo>
                <a:cubicBezTo>
                  <a:pt x="17848" y="161715"/>
                  <a:pt x="17848" y="161715"/>
                  <a:pt x="15144" y="169828"/>
                </a:cubicBezTo>
                <a:cubicBezTo>
                  <a:pt x="12440" y="178481"/>
                  <a:pt x="12440" y="178481"/>
                  <a:pt x="9736" y="186594"/>
                </a:cubicBezTo>
                <a:cubicBezTo>
                  <a:pt x="7031" y="195248"/>
                  <a:pt x="7572" y="195248"/>
                  <a:pt x="5409" y="203901"/>
                </a:cubicBezTo>
                <a:cubicBezTo>
                  <a:pt x="2704" y="212555"/>
                  <a:pt x="2704" y="212555"/>
                  <a:pt x="0" y="220668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75706E5C-0DF4-0935-B679-51D9FF87A248}"/>
              </a:ext>
            </a:extLst>
          </p:cNvPr>
          <p:cNvSpPr/>
          <p:nvPr/>
        </p:nvSpPr>
        <p:spPr>
          <a:xfrm>
            <a:off x="3375209" y="4506235"/>
            <a:ext cx="119976" cy="102114"/>
          </a:xfrm>
          <a:custGeom>
            <a:avLst/>
            <a:gdLst>
              <a:gd name="connsiteX0" fmla="*/ 83832 w 83832"/>
              <a:gd name="connsiteY0" fmla="*/ 0 h 84372"/>
              <a:gd name="connsiteX1" fmla="*/ 81128 w 83832"/>
              <a:gd name="connsiteY1" fmla="*/ 18389 h 84372"/>
              <a:gd name="connsiteX2" fmla="*/ 75179 w 83832"/>
              <a:gd name="connsiteY2" fmla="*/ 36237 h 84372"/>
              <a:gd name="connsiteX3" fmla="*/ 65443 w 83832"/>
              <a:gd name="connsiteY3" fmla="*/ 52463 h 84372"/>
              <a:gd name="connsiteX4" fmla="*/ 53004 w 83832"/>
              <a:gd name="connsiteY4" fmla="*/ 66525 h 84372"/>
              <a:gd name="connsiteX5" fmla="*/ 36778 w 83832"/>
              <a:gd name="connsiteY5" fmla="*/ 76260 h 84372"/>
              <a:gd name="connsiteX6" fmla="*/ 18389 w 83832"/>
              <a:gd name="connsiteY6" fmla="*/ 81128 h 84372"/>
              <a:gd name="connsiteX7" fmla="*/ 0 w 83832"/>
              <a:gd name="connsiteY7" fmla="*/ 84373 h 84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832" h="84372">
                <a:moveTo>
                  <a:pt x="83832" y="0"/>
                </a:moveTo>
                <a:cubicBezTo>
                  <a:pt x="83832" y="6490"/>
                  <a:pt x="82210" y="12440"/>
                  <a:pt x="81128" y="18389"/>
                </a:cubicBezTo>
                <a:cubicBezTo>
                  <a:pt x="79506" y="24338"/>
                  <a:pt x="77883" y="30288"/>
                  <a:pt x="75179" y="36237"/>
                </a:cubicBezTo>
                <a:cubicBezTo>
                  <a:pt x="72474" y="41645"/>
                  <a:pt x="69770" y="47595"/>
                  <a:pt x="65443" y="52463"/>
                </a:cubicBezTo>
                <a:cubicBezTo>
                  <a:pt x="61657" y="57330"/>
                  <a:pt x="57872" y="62739"/>
                  <a:pt x="53004" y="66525"/>
                </a:cubicBezTo>
                <a:cubicBezTo>
                  <a:pt x="48136" y="70311"/>
                  <a:pt x="42187" y="73556"/>
                  <a:pt x="36778" y="76260"/>
                </a:cubicBezTo>
                <a:cubicBezTo>
                  <a:pt x="31370" y="78964"/>
                  <a:pt x="24879" y="80046"/>
                  <a:pt x="18389" y="81128"/>
                </a:cubicBezTo>
                <a:cubicBezTo>
                  <a:pt x="12440" y="82750"/>
                  <a:pt x="6491" y="84373"/>
                  <a:pt x="0" y="84373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3228888A-0F6D-99A8-A4C3-87E6FC223737}"/>
              </a:ext>
            </a:extLst>
          </p:cNvPr>
          <p:cNvSpPr/>
          <p:nvPr/>
        </p:nvSpPr>
        <p:spPr>
          <a:xfrm>
            <a:off x="3441002" y="4444050"/>
            <a:ext cx="147841" cy="62184"/>
          </a:xfrm>
          <a:custGeom>
            <a:avLst/>
            <a:gdLst>
              <a:gd name="connsiteX0" fmla="*/ 103303 w 103302"/>
              <a:gd name="connsiteY0" fmla="*/ 0 h 51380"/>
              <a:gd name="connsiteX1" fmla="*/ 99517 w 103302"/>
              <a:gd name="connsiteY1" fmla="*/ 15685 h 51380"/>
              <a:gd name="connsiteX2" fmla="*/ 91404 w 103302"/>
              <a:gd name="connsiteY2" fmla="*/ 29206 h 51380"/>
              <a:gd name="connsiteX3" fmla="*/ 81668 w 103302"/>
              <a:gd name="connsiteY3" fmla="*/ 42187 h 51380"/>
              <a:gd name="connsiteX4" fmla="*/ 67066 w 103302"/>
              <a:gd name="connsiteY4" fmla="*/ 49218 h 51380"/>
              <a:gd name="connsiteX5" fmla="*/ 50840 w 103302"/>
              <a:gd name="connsiteY5" fmla="*/ 51381 h 51380"/>
              <a:gd name="connsiteX6" fmla="*/ 34615 w 103302"/>
              <a:gd name="connsiteY6" fmla="*/ 48677 h 51380"/>
              <a:gd name="connsiteX7" fmla="*/ 19471 w 103302"/>
              <a:gd name="connsiteY7" fmla="*/ 42187 h 51380"/>
              <a:gd name="connsiteX8" fmla="*/ 9195 w 103302"/>
              <a:gd name="connsiteY8" fmla="*/ 29747 h 51380"/>
              <a:gd name="connsiteX9" fmla="*/ 1623 w 103302"/>
              <a:gd name="connsiteY9" fmla="*/ 15685 h 51380"/>
              <a:gd name="connsiteX10" fmla="*/ 0 w 103302"/>
              <a:gd name="connsiteY10" fmla="*/ 0 h 51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3302" h="51380">
                <a:moveTo>
                  <a:pt x="103303" y="0"/>
                </a:moveTo>
                <a:cubicBezTo>
                  <a:pt x="103303" y="5409"/>
                  <a:pt x="101140" y="10817"/>
                  <a:pt x="99517" y="15685"/>
                </a:cubicBezTo>
                <a:cubicBezTo>
                  <a:pt x="97894" y="21093"/>
                  <a:pt x="94649" y="24879"/>
                  <a:pt x="91404" y="29206"/>
                </a:cubicBezTo>
                <a:cubicBezTo>
                  <a:pt x="88159" y="33533"/>
                  <a:pt x="85996" y="38941"/>
                  <a:pt x="81668" y="42187"/>
                </a:cubicBezTo>
                <a:cubicBezTo>
                  <a:pt x="77342" y="45432"/>
                  <a:pt x="71934" y="47595"/>
                  <a:pt x="67066" y="49218"/>
                </a:cubicBezTo>
                <a:cubicBezTo>
                  <a:pt x="62198" y="50840"/>
                  <a:pt x="56789" y="51381"/>
                  <a:pt x="50840" y="51381"/>
                </a:cubicBezTo>
                <a:cubicBezTo>
                  <a:pt x="45432" y="51381"/>
                  <a:pt x="40023" y="50299"/>
                  <a:pt x="34615" y="48677"/>
                </a:cubicBezTo>
                <a:cubicBezTo>
                  <a:pt x="29206" y="47054"/>
                  <a:pt x="23798" y="45432"/>
                  <a:pt x="19471" y="42187"/>
                </a:cubicBezTo>
                <a:cubicBezTo>
                  <a:pt x="15144" y="38941"/>
                  <a:pt x="12440" y="34074"/>
                  <a:pt x="9195" y="29747"/>
                </a:cubicBezTo>
                <a:cubicBezTo>
                  <a:pt x="5949" y="25420"/>
                  <a:pt x="3245" y="21093"/>
                  <a:pt x="1623" y="15685"/>
                </a:cubicBezTo>
                <a:cubicBezTo>
                  <a:pt x="0" y="10817"/>
                  <a:pt x="0" y="5409"/>
                  <a:pt x="0" y="0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6FA63366-B30D-99B2-5286-CEBCE4DE1C58}"/>
              </a:ext>
            </a:extLst>
          </p:cNvPr>
          <p:cNvSpPr/>
          <p:nvPr/>
        </p:nvSpPr>
        <p:spPr>
          <a:xfrm>
            <a:off x="3586523" y="4518672"/>
            <a:ext cx="89788" cy="37311"/>
          </a:xfrm>
          <a:custGeom>
            <a:avLst/>
            <a:gdLst>
              <a:gd name="connsiteX0" fmla="*/ 62739 w 62738"/>
              <a:gd name="connsiteY0" fmla="*/ 0 h 30828"/>
              <a:gd name="connsiteX1" fmla="*/ 59494 w 62738"/>
              <a:gd name="connsiteY1" fmla="*/ 15685 h 30828"/>
              <a:gd name="connsiteX2" fmla="*/ 48136 w 62738"/>
              <a:gd name="connsiteY2" fmla="*/ 27584 h 30828"/>
              <a:gd name="connsiteX3" fmla="*/ 31910 w 62738"/>
              <a:gd name="connsiteY3" fmla="*/ 30829 h 30828"/>
              <a:gd name="connsiteX4" fmla="*/ 16226 w 62738"/>
              <a:gd name="connsiteY4" fmla="*/ 27043 h 30828"/>
              <a:gd name="connsiteX5" fmla="*/ 3245 w 62738"/>
              <a:gd name="connsiteY5" fmla="*/ 16226 h 30828"/>
              <a:gd name="connsiteX6" fmla="*/ 0 w 62738"/>
              <a:gd name="connsiteY6" fmla="*/ 0 h 30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738" h="30828">
                <a:moveTo>
                  <a:pt x="62739" y="0"/>
                </a:moveTo>
                <a:cubicBezTo>
                  <a:pt x="62739" y="5949"/>
                  <a:pt x="62198" y="10817"/>
                  <a:pt x="59494" y="15685"/>
                </a:cubicBezTo>
                <a:cubicBezTo>
                  <a:pt x="56789" y="20552"/>
                  <a:pt x="53003" y="24879"/>
                  <a:pt x="48136" y="27584"/>
                </a:cubicBezTo>
                <a:cubicBezTo>
                  <a:pt x="43268" y="30288"/>
                  <a:pt x="37860" y="30829"/>
                  <a:pt x="31910" y="30829"/>
                </a:cubicBezTo>
                <a:cubicBezTo>
                  <a:pt x="25960" y="30829"/>
                  <a:pt x="21093" y="29747"/>
                  <a:pt x="16226" y="27043"/>
                </a:cubicBezTo>
                <a:cubicBezTo>
                  <a:pt x="11358" y="24338"/>
                  <a:pt x="5949" y="21093"/>
                  <a:pt x="3245" y="16226"/>
                </a:cubicBezTo>
                <a:cubicBezTo>
                  <a:pt x="541" y="11358"/>
                  <a:pt x="0" y="5409"/>
                  <a:pt x="0" y="0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E362DE7D-9521-9708-EA5B-BA2E3DCB2FA3}"/>
              </a:ext>
            </a:extLst>
          </p:cNvPr>
          <p:cNvSpPr txBox="1"/>
          <p:nvPr/>
        </p:nvSpPr>
        <p:spPr>
          <a:xfrm>
            <a:off x="468358" y="4230574"/>
            <a:ext cx="2131795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"Udvikling, der imødekommer nutidens behov uden at kompromittere fremtidige generationers muligheder for at opfylde deres behov."</a:t>
            </a:r>
          </a:p>
        </p:txBody>
      </p:sp>
      <p:cxnSp>
        <p:nvCxnSpPr>
          <p:cNvPr id="7" name="Lige forbindelse 6">
            <a:extLst>
              <a:ext uri="{FF2B5EF4-FFF2-40B4-BE49-F238E27FC236}">
                <a16:creationId xmlns:a16="http://schemas.microsoft.com/office/drawing/2014/main" id="{16E0A4D2-A3BE-7098-1592-B6A66DE7120F}"/>
              </a:ext>
            </a:extLst>
          </p:cNvPr>
          <p:cNvCxnSpPr>
            <a:cxnSpLocks/>
            <a:stCxn id="9" idx="1"/>
            <a:endCxn id="9" idx="3"/>
          </p:cNvCxnSpPr>
          <p:nvPr/>
        </p:nvCxnSpPr>
        <p:spPr>
          <a:xfrm>
            <a:off x="0" y="5366130"/>
            <a:ext cx="12192000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" name="Group 72">
            <a:extLst>
              <a:ext uri="{FF2B5EF4-FFF2-40B4-BE49-F238E27FC236}">
                <a16:creationId xmlns:a16="http://schemas.microsoft.com/office/drawing/2014/main" id="{94552292-49B9-1DF6-7A6E-4FF0F4105E16}"/>
              </a:ext>
            </a:extLst>
          </p:cNvPr>
          <p:cNvGrpSpPr>
            <a:grpSpLocks noChangeAspect="1"/>
          </p:cNvGrpSpPr>
          <p:nvPr/>
        </p:nvGrpSpPr>
        <p:grpSpPr>
          <a:xfrm>
            <a:off x="9194211" y="4862622"/>
            <a:ext cx="124574" cy="396000"/>
            <a:chOff x="6489723" y="5343074"/>
            <a:chExt cx="122249" cy="381840"/>
          </a:xfrm>
        </p:grpSpPr>
        <p:sp>
          <p:nvSpPr>
            <p:cNvPr id="14" name="Freeform: Shape 73">
              <a:extLst>
                <a:ext uri="{FF2B5EF4-FFF2-40B4-BE49-F238E27FC236}">
                  <a16:creationId xmlns:a16="http://schemas.microsoft.com/office/drawing/2014/main" id="{51D966AF-E2EB-CE95-8049-06BFA2794943}"/>
                </a:ext>
              </a:extLst>
            </p:cNvPr>
            <p:cNvSpPr/>
            <p:nvPr/>
          </p:nvSpPr>
          <p:spPr>
            <a:xfrm>
              <a:off x="6537335" y="5381474"/>
              <a:ext cx="43268" cy="43268"/>
            </a:xfrm>
            <a:custGeom>
              <a:avLst/>
              <a:gdLst>
                <a:gd name="connsiteX0" fmla="*/ 43268 w 43268"/>
                <a:gd name="connsiteY0" fmla="*/ 21634 h 43268"/>
                <a:gd name="connsiteX1" fmla="*/ 21634 w 43268"/>
                <a:gd name="connsiteY1" fmla="*/ 43268 h 43268"/>
                <a:gd name="connsiteX2" fmla="*/ 0 w 43268"/>
                <a:gd name="connsiteY2" fmla="*/ 21634 h 43268"/>
                <a:gd name="connsiteX3" fmla="*/ 21634 w 43268"/>
                <a:gd name="connsiteY3" fmla="*/ 0 h 43268"/>
                <a:gd name="connsiteX4" fmla="*/ 43268 w 43268"/>
                <a:gd name="connsiteY4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68" h="43268">
                  <a:moveTo>
                    <a:pt x="43268" y="21634"/>
                  </a:moveTo>
                  <a:cubicBezTo>
                    <a:pt x="43268" y="33582"/>
                    <a:pt x="33582" y="43268"/>
                    <a:pt x="21634" y="43268"/>
                  </a:cubicBezTo>
                  <a:cubicBezTo>
                    <a:pt x="9686" y="43268"/>
                    <a:pt x="0" y="33582"/>
                    <a:pt x="0" y="21634"/>
                  </a:cubicBezTo>
                  <a:cubicBezTo>
                    <a:pt x="0" y="9686"/>
                    <a:pt x="9686" y="0"/>
                    <a:pt x="21634" y="0"/>
                  </a:cubicBezTo>
                  <a:cubicBezTo>
                    <a:pt x="33582" y="0"/>
                    <a:pt x="43268" y="9686"/>
                    <a:pt x="43268" y="21634"/>
                  </a:cubicBezTo>
                  <a:close/>
                </a:path>
              </a:pathLst>
            </a:custGeom>
            <a:solidFill>
              <a:srgbClr val="E1EBE5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5" name="Freeform: Shape 74">
              <a:extLst>
                <a:ext uri="{FF2B5EF4-FFF2-40B4-BE49-F238E27FC236}">
                  <a16:creationId xmlns:a16="http://schemas.microsoft.com/office/drawing/2014/main" id="{530CCD71-2995-509F-BAF0-E51B73C3B811}"/>
                </a:ext>
              </a:extLst>
            </p:cNvPr>
            <p:cNvSpPr/>
            <p:nvPr/>
          </p:nvSpPr>
          <p:spPr>
            <a:xfrm>
              <a:off x="6497853" y="5343074"/>
              <a:ext cx="113037" cy="122232"/>
            </a:xfrm>
            <a:custGeom>
              <a:avLst/>
              <a:gdLst>
                <a:gd name="connsiteX0" fmla="*/ 98435 w 113037"/>
                <a:gd name="connsiteY0" fmla="*/ 61116 h 122232"/>
                <a:gd name="connsiteX1" fmla="*/ 113037 w 113037"/>
                <a:gd name="connsiteY1" fmla="*/ 41105 h 122232"/>
                <a:gd name="connsiteX2" fmla="*/ 91945 w 113037"/>
                <a:gd name="connsiteY2" fmla="*/ 20552 h 122232"/>
                <a:gd name="connsiteX3" fmla="*/ 77341 w 113037"/>
                <a:gd name="connsiteY3" fmla="*/ 26502 h 122232"/>
                <a:gd name="connsiteX4" fmla="*/ 77882 w 113037"/>
                <a:gd name="connsiteY4" fmla="*/ 21093 h 122232"/>
                <a:gd name="connsiteX5" fmla="*/ 56789 w 113037"/>
                <a:gd name="connsiteY5" fmla="*/ 0 h 122232"/>
                <a:gd name="connsiteX6" fmla="*/ 35696 w 113037"/>
                <a:gd name="connsiteY6" fmla="*/ 21093 h 122232"/>
                <a:gd name="connsiteX7" fmla="*/ 36237 w 113037"/>
                <a:gd name="connsiteY7" fmla="*/ 25961 h 122232"/>
                <a:gd name="connsiteX8" fmla="*/ 21634 w 113037"/>
                <a:gd name="connsiteY8" fmla="*/ 20011 h 122232"/>
                <a:gd name="connsiteX9" fmla="*/ 541 w 113037"/>
                <a:gd name="connsiteY9" fmla="*/ 41105 h 122232"/>
                <a:gd name="connsiteX10" fmla="*/ 15684 w 113037"/>
                <a:gd name="connsiteY10" fmla="*/ 61116 h 122232"/>
                <a:gd name="connsiteX11" fmla="*/ 0 w 113037"/>
                <a:gd name="connsiteY11" fmla="*/ 81128 h 122232"/>
                <a:gd name="connsiteX12" fmla="*/ 21093 w 113037"/>
                <a:gd name="connsiteY12" fmla="*/ 102221 h 122232"/>
                <a:gd name="connsiteX13" fmla="*/ 35696 w 113037"/>
                <a:gd name="connsiteY13" fmla="*/ 96272 h 122232"/>
                <a:gd name="connsiteX14" fmla="*/ 35155 w 113037"/>
                <a:gd name="connsiteY14" fmla="*/ 101139 h 122232"/>
                <a:gd name="connsiteX15" fmla="*/ 56248 w 113037"/>
                <a:gd name="connsiteY15" fmla="*/ 122232 h 122232"/>
                <a:gd name="connsiteX16" fmla="*/ 77341 w 113037"/>
                <a:gd name="connsiteY16" fmla="*/ 101139 h 122232"/>
                <a:gd name="connsiteX17" fmla="*/ 76801 w 113037"/>
                <a:gd name="connsiteY17" fmla="*/ 95730 h 122232"/>
                <a:gd name="connsiteX18" fmla="*/ 91403 w 113037"/>
                <a:gd name="connsiteY18" fmla="*/ 101680 h 122232"/>
                <a:gd name="connsiteX19" fmla="*/ 112497 w 113037"/>
                <a:gd name="connsiteY19" fmla="*/ 80587 h 122232"/>
                <a:gd name="connsiteX20" fmla="*/ 98435 w 113037"/>
                <a:gd name="connsiteY20" fmla="*/ 61116 h 12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3037" h="122232">
                  <a:moveTo>
                    <a:pt x="98435" y="61116"/>
                  </a:moveTo>
                  <a:cubicBezTo>
                    <a:pt x="107088" y="58412"/>
                    <a:pt x="113037" y="50840"/>
                    <a:pt x="113037" y="41105"/>
                  </a:cubicBezTo>
                  <a:cubicBezTo>
                    <a:pt x="113037" y="29747"/>
                    <a:pt x="103843" y="20552"/>
                    <a:pt x="91945" y="20552"/>
                  </a:cubicBezTo>
                  <a:cubicBezTo>
                    <a:pt x="86536" y="20552"/>
                    <a:pt x="81128" y="22716"/>
                    <a:pt x="77341" y="26502"/>
                  </a:cubicBezTo>
                  <a:cubicBezTo>
                    <a:pt x="77882" y="24879"/>
                    <a:pt x="77882" y="23257"/>
                    <a:pt x="77882" y="21093"/>
                  </a:cubicBezTo>
                  <a:cubicBezTo>
                    <a:pt x="77882" y="9735"/>
                    <a:pt x="68688" y="0"/>
                    <a:pt x="56789" y="0"/>
                  </a:cubicBezTo>
                  <a:cubicBezTo>
                    <a:pt x="45431" y="0"/>
                    <a:pt x="35696" y="9194"/>
                    <a:pt x="35696" y="21093"/>
                  </a:cubicBezTo>
                  <a:cubicBezTo>
                    <a:pt x="35696" y="22716"/>
                    <a:pt x="35696" y="24338"/>
                    <a:pt x="36237" y="25961"/>
                  </a:cubicBezTo>
                  <a:cubicBezTo>
                    <a:pt x="32451" y="22175"/>
                    <a:pt x="27583" y="20011"/>
                    <a:pt x="21634" y="20011"/>
                  </a:cubicBezTo>
                  <a:cubicBezTo>
                    <a:pt x="10276" y="20011"/>
                    <a:pt x="541" y="29206"/>
                    <a:pt x="541" y="41105"/>
                  </a:cubicBezTo>
                  <a:cubicBezTo>
                    <a:pt x="541" y="50840"/>
                    <a:pt x="7031" y="58953"/>
                    <a:pt x="15684" y="61116"/>
                  </a:cubicBezTo>
                  <a:cubicBezTo>
                    <a:pt x="7031" y="63279"/>
                    <a:pt x="0" y="71392"/>
                    <a:pt x="0" y="81128"/>
                  </a:cubicBezTo>
                  <a:cubicBezTo>
                    <a:pt x="0" y="92486"/>
                    <a:pt x="9194" y="102221"/>
                    <a:pt x="21093" y="102221"/>
                  </a:cubicBezTo>
                  <a:cubicBezTo>
                    <a:pt x="26501" y="102221"/>
                    <a:pt x="31910" y="100058"/>
                    <a:pt x="35696" y="96272"/>
                  </a:cubicBezTo>
                  <a:cubicBezTo>
                    <a:pt x="35155" y="97894"/>
                    <a:pt x="35155" y="99517"/>
                    <a:pt x="35155" y="101139"/>
                  </a:cubicBezTo>
                  <a:cubicBezTo>
                    <a:pt x="35155" y="112497"/>
                    <a:pt x="44350" y="122232"/>
                    <a:pt x="56248" y="122232"/>
                  </a:cubicBezTo>
                  <a:cubicBezTo>
                    <a:pt x="67606" y="122232"/>
                    <a:pt x="77341" y="113038"/>
                    <a:pt x="77341" y="101139"/>
                  </a:cubicBezTo>
                  <a:cubicBezTo>
                    <a:pt x="77341" y="99517"/>
                    <a:pt x="77341" y="97353"/>
                    <a:pt x="76801" y="95730"/>
                  </a:cubicBezTo>
                  <a:cubicBezTo>
                    <a:pt x="80586" y="99517"/>
                    <a:pt x="85454" y="101680"/>
                    <a:pt x="91403" y="101680"/>
                  </a:cubicBezTo>
                  <a:cubicBezTo>
                    <a:pt x="102762" y="101680"/>
                    <a:pt x="112497" y="92486"/>
                    <a:pt x="112497" y="80587"/>
                  </a:cubicBezTo>
                  <a:cubicBezTo>
                    <a:pt x="113037" y="71933"/>
                    <a:pt x="107088" y="63820"/>
                    <a:pt x="98435" y="61116"/>
                  </a:cubicBezTo>
                  <a:close/>
                </a:path>
              </a:pathLst>
            </a:custGeom>
            <a:solidFill>
              <a:srgbClr val="FACCD0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6" name="Freeform: Shape 75">
              <a:extLst>
                <a:ext uri="{FF2B5EF4-FFF2-40B4-BE49-F238E27FC236}">
                  <a16:creationId xmlns:a16="http://schemas.microsoft.com/office/drawing/2014/main" id="{66BC063A-3E02-E0A7-4AC7-67EF3070501C}"/>
                </a:ext>
              </a:extLst>
            </p:cNvPr>
            <p:cNvSpPr/>
            <p:nvPr/>
          </p:nvSpPr>
          <p:spPr>
            <a:xfrm>
              <a:off x="6537335" y="5381474"/>
              <a:ext cx="43268" cy="43268"/>
            </a:xfrm>
            <a:custGeom>
              <a:avLst/>
              <a:gdLst>
                <a:gd name="connsiteX0" fmla="*/ 43268 w 43268"/>
                <a:gd name="connsiteY0" fmla="*/ 21634 h 43268"/>
                <a:gd name="connsiteX1" fmla="*/ 21634 w 43268"/>
                <a:gd name="connsiteY1" fmla="*/ 43268 h 43268"/>
                <a:gd name="connsiteX2" fmla="*/ 0 w 43268"/>
                <a:gd name="connsiteY2" fmla="*/ 21634 h 43268"/>
                <a:gd name="connsiteX3" fmla="*/ 21634 w 43268"/>
                <a:gd name="connsiteY3" fmla="*/ 0 h 43268"/>
                <a:gd name="connsiteX4" fmla="*/ 43268 w 43268"/>
                <a:gd name="connsiteY4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68" h="43268">
                  <a:moveTo>
                    <a:pt x="43268" y="21634"/>
                  </a:moveTo>
                  <a:cubicBezTo>
                    <a:pt x="43268" y="33582"/>
                    <a:pt x="33582" y="43268"/>
                    <a:pt x="21634" y="43268"/>
                  </a:cubicBezTo>
                  <a:cubicBezTo>
                    <a:pt x="9686" y="43268"/>
                    <a:pt x="0" y="33582"/>
                    <a:pt x="0" y="21634"/>
                  </a:cubicBezTo>
                  <a:cubicBezTo>
                    <a:pt x="0" y="9686"/>
                    <a:pt x="9686" y="0"/>
                    <a:pt x="21634" y="0"/>
                  </a:cubicBezTo>
                  <a:cubicBezTo>
                    <a:pt x="33582" y="0"/>
                    <a:pt x="43268" y="9686"/>
                    <a:pt x="43268" y="21634"/>
                  </a:cubicBezTo>
                  <a:close/>
                </a:path>
              </a:pathLst>
            </a:custGeom>
            <a:solidFill>
              <a:srgbClr val="FEF5F6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7" name="Freeform: Shape 76">
              <a:extLst>
                <a:ext uri="{FF2B5EF4-FFF2-40B4-BE49-F238E27FC236}">
                  <a16:creationId xmlns:a16="http://schemas.microsoft.com/office/drawing/2014/main" id="{7D4267A9-B6C4-B66C-64A3-7D322E51408C}"/>
                </a:ext>
              </a:extLst>
            </p:cNvPr>
            <p:cNvSpPr/>
            <p:nvPr/>
          </p:nvSpPr>
          <p:spPr>
            <a:xfrm>
              <a:off x="6547423" y="5550648"/>
              <a:ext cx="53918" cy="53844"/>
            </a:xfrm>
            <a:custGeom>
              <a:avLst/>
              <a:gdLst>
                <a:gd name="connsiteX0" fmla="*/ 187 w 53918"/>
                <a:gd name="connsiteY0" fmla="*/ 53657 h 53844"/>
                <a:gd name="connsiteX1" fmla="*/ 12627 w 53918"/>
                <a:gd name="connsiteY1" fmla="*/ 12552 h 53844"/>
                <a:gd name="connsiteX2" fmla="*/ 53732 w 53918"/>
                <a:gd name="connsiteY2" fmla="*/ 113 h 53844"/>
                <a:gd name="connsiteX3" fmla="*/ 41292 w 53918"/>
                <a:gd name="connsiteY3" fmla="*/ 41218 h 53844"/>
                <a:gd name="connsiteX4" fmla="*/ 187 w 53918"/>
                <a:gd name="connsiteY4" fmla="*/ 53657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8" h="53844">
                  <a:moveTo>
                    <a:pt x="187" y="53657"/>
                  </a:moveTo>
                  <a:cubicBezTo>
                    <a:pt x="187" y="53657"/>
                    <a:pt x="-2517" y="27156"/>
                    <a:pt x="12627" y="12552"/>
                  </a:cubicBezTo>
                  <a:cubicBezTo>
                    <a:pt x="27771" y="-2050"/>
                    <a:pt x="53732" y="113"/>
                    <a:pt x="53732" y="113"/>
                  </a:cubicBezTo>
                  <a:cubicBezTo>
                    <a:pt x="53732" y="113"/>
                    <a:pt x="56436" y="26614"/>
                    <a:pt x="41292" y="41218"/>
                  </a:cubicBezTo>
                  <a:cubicBezTo>
                    <a:pt x="26689" y="56361"/>
                    <a:pt x="187" y="53657"/>
                    <a:pt x="187" y="53657"/>
                  </a:cubicBezTo>
                  <a:close/>
                </a:path>
              </a:pathLst>
            </a:custGeom>
            <a:solidFill>
              <a:srgbClr val="4BA38A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8" name="Freeform: Shape 77">
              <a:extLst>
                <a:ext uri="{FF2B5EF4-FFF2-40B4-BE49-F238E27FC236}">
                  <a16:creationId xmlns:a16="http://schemas.microsoft.com/office/drawing/2014/main" id="{30E8D73A-6D0F-2BB2-9C3F-B09AE9491086}"/>
                </a:ext>
              </a:extLst>
            </p:cNvPr>
            <p:cNvSpPr/>
            <p:nvPr/>
          </p:nvSpPr>
          <p:spPr>
            <a:xfrm>
              <a:off x="6492257" y="5622507"/>
              <a:ext cx="53918" cy="53844"/>
            </a:xfrm>
            <a:custGeom>
              <a:avLst/>
              <a:gdLst>
                <a:gd name="connsiteX0" fmla="*/ 187 w 53918"/>
                <a:gd name="connsiteY0" fmla="*/ 187 h 53844"/>
                <a:gd name="connsiteX1" fmla="*/ 12626 w 53918"/>
                <a:gd name="connsiteY1" fmla="*/ 41292 h 53844"/>
                <a:gd name="connsiteX2" fmla="*/ 53731 w 53918"/>
                <a:gd name="connsiteY2" fmla="*/ 53732 h 53844"/>
                <a:gd name="connsiteX3" fmla="*/ 41292 w 53918"/>
                <a:gd name="connsiteY3" fmla="*/ 12627 h 53844"/>
                <a:gd name="connsiteX4" fmla="*/ 187 w 53918"/>
                <a:gd name="connsiteY4" fmla="*/ 187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8" h="53844">
                  <a:moveTo>
                    <a:pt x="187" y="187"/>
                  </a:moveTo>
                  <a:cubicBezTo>
                    <a:pt x="187" y="187"/>
                    <a:pt x="-2517" y="26689"/>
                    <a:pt x="12626" y="41292"/>
                  </a:cubicBezTo>
                  <a:cubicBezTo>
                    <a:pt x="27230" y="55895"/>
                    <a:pt x="53731" y="53732"/>
                    <a:pt x="53731" y="53732"/>
                  </a:cubicBezTo>
                  <a:cubicBezTo>
                    <a:pt x="53731" y="53732"/>
                    <a:pt x="56435" y="27230"/>
                    <a:pt x="41292" y="12627"/>
                  </a:cubicBezTo>
                  <a:cubicBezTo>
                    <a:pt x="26688" y="-2517"/>
                    <a:pt x="187" y="187"/>
                    <a:pt x="187" y="187"/>
                  </a:cubicBezTo>
                  <a:close/>
                </a:path>
              </a:pathLst>
            </a:custGeom>
            <a:solidFill>
              <a:srgbClr val="4BA38A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19" name="Freeform: Shape 78">
              <a:extLst>
                <a:ext uri="{FF2B5EF4-FFF2-40B4-BE49-F238E27FC236}">
                  <a16:creationId xmlns:a16="http://schemas.microsoft.com/office/drawing/2014/main" id="{34445D91-5E32-2C75-3F3E-98614EB9C276}"/>
                </a:ext>
              </a:extLst>
            </p:cNvPr>
            <p:cNvSpPr/>
            <p:nvPr/>
          </p:nvSpPr>
          <p:spPr>
            <a:xfrm>
              <a:off x="6545988" y="5465306"/>
              <a:ext cx="3245" cy="259608"/>
            </a:xfrm>
            <a:custGeom>
              <a:avLst/>
              <a:gdLst>
                <a:gd name="connsiteX0" fmla="*/ 541 w 3245"/>
                <a:gd name="connsiteY0" fmla="*/ 0 h 259608"/>
                <a:gd name="connsiteX1" fmla="*/ 1623 w 3245"/>
                <a:gd name="connsiteY1" fmla="*/ 17307 h 259608"/>
                <a:gd name="connsiteX2" fmla="*/ 541 w 3245"/>
                <a:gd name="connsiteY2" fmla="*/ 34615 h 259608"/>
                <a:gd name="connsiteX3" fmla="*/ 541 w 3245"/>
                <a:gd name="connsiteY3" fmla="*/ 51922 h 259608"/>
                <a:gd name="connsiteX4" fmla="*/ 2164 w 3245"/>
                <a:gd name="connsiteY4" fmla="*/ 69229 h 259608"/>
                <a:gd name="connsiteX5" fmla="*/ 2164 w 3245"/>
                <a:gd name="connsiteY5" fmla="*/ 86536 h 259608"/>
                <a:gd name="connsiteX6" fmla="*/ 0 w 3245"/>
                <a:gd name="connsiteY6" fmla="*/ 103843 h 259608"/>
                <a:gd name="connsiteX7" fmla="*/ 1623 w 3245"/>
                <a:gd name="connsiteY7" fmla="*/ 121151 h 259608"/>
                <a:gd name="connsiteX8" fmla="*/ 541 w 3245"/>
                <a:gd name="connsiteY8" fmla="*/ 138458 h 259608"/>
                <a:gd name="connsiteX9" fmla="*/ 1623 w 3245"/>
                <a:gd name="connsiteY9" fmla="*/ 155766 h 259608"/>
                <a:gd name="connsiteX10" fmla="*/ 1623 w 3245"/>
                <a:gd name="connsiteY10" fmla="*/ 173073 h 259608"/>
                <a:gd name="connsiteX11" fmla="*/ 1082 w 3245"/>
                <a:gd name="connsiteY11" fmla="*/ 190380 h 259608"/>
                <a:gd name="connsiteX12" fmla="*/ 1623 w 3245"/>
                <a:gd name="connsiteY12" fmla="*/ 207687 h 259608"/>
                <a:gd name="connsiteX13" fmla="*/ 3246 w 3245"/>
                <a:gd name="connsiteY13" fmla="*/ 224994 h 259608"/>
                <a:gd name="connsiteX14" fmla="*/ 2704 w 3245"/>
                <a:gd name="connsiteY14" fmla="*/ 242302 h 259608"/>
                <a:gd name="connsiteX15" fmla="*/ 2164 w 3245"/>
                <a:gd name="connsiteY15" fmla="*/ 259609 h 25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45" h="259608">
                  <a:moveTo>
                    <a:pt x="541" y="0"/>
                  </a:moveTo>
                  <a:cubicBezTo>
                    <a:pt x="541" y="8653"/>
                    <a:pt x="1623" y="8653"/>
                    <a:pt x="1623" y="17307"/>
                  </a:cubicBezTo>
                  <a:cubicBezTo>
                    <a:pt x="1623" y="25961"/>
                    <a:pt x="541" y="25961"/>
                    <a:pt x="541" y="34615"/>
                  </a:cubicBezTo>
                  <a:cubicBezTo>
                    <a:pt x="541" y="43268"/>
                    <a:pt x="541" y="43268"/>
                    <a:pt x="541" y="51922"/>
                  </a:cubicBezTo>
                  <a:cubicBezTo>
                    <a:pt x="541" y="60575"/>
                    <a:pt x="2164" y="60575"/>
                    <a:pt x="2164" y="69229"/>
                  </a:cubicBezTo>
                  <a:cubicBezTo>
                    <a:pt x="2164" y="77883"/>
                    <a:pt x="2164" y="77883"/>
                    <a:pt x="2164" y="86536"/>
                  </a:cubicBezTo>
                  <a:cubicBezTo>
                    <a:pt x="2164" y="95190"/>
                    <a:pt x="0" y="95190"/>
                    <a:pt x="0" y="103843"/>
                  </a:cubicBezTo>
                  <a:cubicBezTo>
                    <a:pt x="0" y="112497"/>
                    <a:pt x="1623" y="112497"/>
                    <a:pt x="1623" y="121151"/>
                  </a:cubicBezTo>
                  <a:cubicBezTo>
                    <a:pt x="1623" y="129804"/>
                    <a:pt x="541" y="129804"/>
                    <a:pt x="541" y="138458"/>
                  </a:cubicBezTo>
                  <a:cubicBezTo>
                    <a:pt x="541" y="147111"/>
                    <a:pt x="1623" y="147111"/>
                    <a:pt x="1623" y="155766"/>
                  </a:cubicBezTo>
                  <a:cubicBezTo>
                    <a:pt x="1623" y="164419"/>
                    <a:pt x="1623" y="164419"/>
                    <a:pt x="1623" y="173073"/>
                  </a:cubicBezTo>
                  <a:cubicBezTo>
                    <a:pt x="1623" y="181726"/>
                    <a:pt x="1082" y="181726"/>
                    <a:pt x="1082" y="190380"/>
                  </a:cubicBezTo>
                  <a:cubicBezTo>
                    <a:pt x="1082" y="199034"/>
                    <a:pt x="1623" y="199034"/>
                    <a:pt x="1623" y="207687"/>
                  </a:cubicBezTo>
                  <a:cubicBezTo>
                    <a:pt x="1623" y="216341"/>
                    <a:pt x="3246" y="216341"/>
                    <a:pt x="3246" y="224994"/>
                  </a:cubicBezTo>
                  <a:cubicBezTo>
                    <a:pt x="3246" y="233648"/>
                    <a:pt x="2704" y="233648"/>
                    <a:pt x="2704" y="242302"/>
                  </a:cubicBezTo>
                  <a:cubicBezTo>
                    <a:pt x="2704" y="250955"/>
                    <a:pt x="2164" y="250955"/>
                    <a:pt x="2164" y="259609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20" name="Freeform: Shape 79">
              <a:extLst>
                <a:ext uri="{FF2B5EF4-FFF2-40B4-BE49-F238E27FC236}">
                  <a16:creationId xmlns:a16="http://schemas.microsoft.com/office/drawing/2014/main" id="{17101AA5-7835-C59D-67D1-6C8DFBCA2A2A}"/>
                </a:ext>
              </a:extLst>
            </p:cNvPr>
            <p:cNvSpPr/>
            <p:nvPr/>
          </p:nvSpPr>
          <p:spPr>
            <a:xfrm>
              <a:off x="6497853" y="5344696"/>
              <a:ext cx="114119" cy="122232"/>
            </a:xfrm>
            <a:custGeom>
              <a:avLst/>
              <a:gdLst>
                <a:gd name="connsiteX0" fmla="*/ 98435 w 114119"/>
                <a:gd name="connsiteY0" fmla="*/ 59494 h 122232"/>
                <a:gd name="connsiteX1" fmla="*/ 108170 w 114119"/>
                <a:gd name="connsiteY1" fmla="*/ 51922 h 122232"/>
                <a:gd name="connsiteX2" fmla="*/ 114120 w 114119"/>
                <a:gd name="connsiteY2" fmla="*/ 40023 h 122232"/>
                <a:gd name="connsiteX3" fmla="*/ 106548 w 114119"/>
                <a:gd name="connsiteY3" fmla="*/ 25961 h 122232"/>
                <a:gd name="connsiteX4" fmla="*/ 92486 w 114119"/>
                <a:gd name="connsiteY4" fmla="*/ 18930 h 122232"/>
                <a:gd name="connsiteX5" fmla="*/ 77341 w 114119"/>
                <a:gd name="connsiteY5" fmla="*/ 24338 h 122232"/>
                <a:gd name="connsiteX6" fmla="*/ 77882 w 114119"/>
                <a:gd name="connsiteY6" fmla="*/ 20012 h 122232"/>
                <a:gd name="connsiteX7" fmla="*/ 72474 w 114119"/>
                <a:gd name="connsiteY7" fmla="*/ 4867 h 122232"/>
                <a:gd name="connsiteX8" fmla="*/ 57330 w 114119"/>
                <a:gd name="connsiteY8" fmla="*/ 0 h 122232"/>
                <a:gd name="connsiteX9" fmla="*/ 42186 w 114119"/>
                <a:gd name="connsiteY9" fmla="*/ 5409 h 122232"/>
                <a:gd name="connsiteX10" fmla="*/ 36237 w 114119"/>
                <a:gd name="connsiteY10" fmla="*/ 20552 h 122232"/>
                <a:gd name="connsiteX11" fmla="*/ 37318 w 114119"/>
                <a:gd name="connsiteY11" fmla="*/ 24879 h 122232"/>
                <a:gd name="connsiteX12" fmla="*/ 22175 w 114119"/>
                <a:gd name="connsiteY12" fmla="*/ 20552 h 122232"/>
                <a:gd name="connsiteX13" fmla="*/ 7571 w 114119"/>
                <a:gd name="connsiteY13" fmla="*/ 25961 h 122232"/>
                <a:gd name="connsiteX14" fmla="*/ 0 w 114119"/>
                <a:gd name="connsiteY14" fmla="*/ 40564 h 122232"/>
                <a:gd name="connsiteX15" fmla="*/ 5949 w 114119"/>
                <a:gd name="connsiteY15" fmla="*/ 53003 h 122232"/>
                <a:gd name="connsiteX16" fmla="*/ 15143 w 114119"/>
                <a:gd name="connsiteY16" fmla="*/ 61116 h 122232"/>
                <a:gd name="connsiteX17" fmla="*/ 4326 w 114119"/>
                <a:gd name="connsiteY17" fmla="*/ 68147 h 122232"/>
                <a:gd name="connsiteX18" fmla="*/ 1081 w 114119"/>
                <a:gd name="connsiteY18" fmla="*/ 81668 h 122232"/>
                <a:gd name="connsiteX19" fmla="*/ 7031 w 114119"/>
                <a:gd name="connsiteY19" fmla="*/ 96272 h 122232"/>
                <a:gd name="connsiteX20" fmla="*/ 21634 w 114119"/>
                <a:gd name="connsiteY20" fmla="*/ 102762 h 122232"/>
                <a:gd name="connsiteX21" fmla="*/ 35696 w 114119"/>
                <a:gd name="connsiteY21" fmla="*/ 96272 h 122232"/>
                <a:gd name="connsiteX22" fmla="*/ 34614 w 114119"/>
                <a:gd name="connsiteY22" fmla="*/ 101680 h 122232"/>
                <a:gd name="connsiteX23" fmla="*/ 40564 w 114119"/>
                <a:gd name="connsiteY23" fmla="*/ 117365 h 122232"/>
                <a:gd name="connsiteX24" fmla="*/ 56248 w 114119"/>
                <a:gd name="connsiteY24" fmla="*/ 122232 h 122232"/>
                <a:gd name="connsiteX25" fmla="*/ 70311 w 114119"/>
                <a:gd name="connsiteY25" fmla="*/ 115742 h 122232"/>
                <a:gd name="connsiteX26" fmla="*/ 77341 w 114119"/>
                <a:gd name="connsiteY26" fmla="*/ 101680 h 122232"/>
                <a:gd name="connsiteX27" fmla="*/ 76801 w 114119"/>
                <a:gd name="connsiteY27" fmla="*/ 96272 h 122232"/>
                <a:gd name="connsiteX28" fmla="*/ 91403 w 114119"/>
                <a:gd name="connsiteY28" fmla="*/ 101680 h 122232"/>
                <a:gd name="connsiteX29" fmla="*/ 105466 w 114119"/>
                <a:gd name="connsiteY29" fmla="*/ 95190 h 122232"/>
                <a:gd name="connsiteX30" fmla="*/ 111415 w 114119"/>
                <a:gd name="connsiteY30" fmla="*/ 81128 h 122232"/>
                <a:gd name="connsiteX31" fmla="*/ 98435 w 114119"/>
                <a:gd name="connsiteY31" fmla="*/ 59494 h 12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4119" h="122232">
                  <a:moveTo>
                    <a:pt x="98435" y="59494"/>
                  </a:moveTo>
                  <a:cubicBezTo>
                    <a:pt x="102762" y="58412"/>
                    <a:pt x="105466" y="55167"/>
                    <a:pt x="108170" y="51922"/>
                  </a:cubicBezTo>
                  <a:cubicBezTo>
                    <a:pt x="110875" y="48677"/>
                    <a:pt x="114120" y="44891"/>
                    <a:pt x="114120" y="40023"/>
                  </a:cubicBezTo>
                  <a:cubicBezTo>
                    <a:pt x="114120" y="34074"/>
                    <a:pt x="110333" y="29747"/>
                    <a:pt x="106548" y="25961"/>
                  </a:cubicBezTo>
                  <a:cubicBezTo>
                    <a:pt x="102762" y="22175"/>
                    <a:pt x="97894" y="18930"/>
                    <a:pt x="92486" y="18930"/>
                  </a:cubicBezTo>
                  <a:cubicBezTo>
                    <a:pt x="87077" y="18930"/>
                    <a:pt x="81128" y="20552"/>
                    <a:pt x="77341" y="24338"/>
                  </a:cubicBezTo>
                  <a:cubicBezTo>
                    <a:pt x="77882" y="22716"/>
                    <a:pt x="77882" y="21634"/>
                    <a:pt x="77882" y="20012"/>
                  </a:cubicBezTo>
                  <a:cubicBezTo>
                    <a:pt x="77882" y="14062"/>
                    <a:pt x="76260" y="8653"/>
                    <a:pt x="72474" y="4867"/>
                  </a:cubicBezTo>
                  <a:cubicBezTo>
                    <a:pt x="68688" y="1082"/>
                    <a:pt x="63279" y="0"/>
                    <a:pt x="57330" y="0"/>
                  </a:cubicBezTo>
                  <a:cubicBezTo>
                    <a:pt x="51381" y="0"/>
                    <a:pt x="45972" y="1622"/>
                    <a:pt x="42186" y="5409"/>
                  </a:cubicBezTo>
                  <a:cubicBezTo>
                    <a:pt x="38400" y="9195"/>
                    <a:pt x="36237" y="14603"/>
                    <a:pt x="36237" y="20552"/>
                  </a:cubicBezTo>
                  <a:cubicBezTo>
                    <a:pt x="36237" y="22175"/>
                    <a:pt x="37318" y="23257"/>
                    <a:pt x="37318" y="24879"/>
                  </a:cubicBezTo>
                  <a:cubicBezTo>
                    <a:pt x="33533" y="21093"/>
                    <a:pt x="28124" y="20552"/>
                    <a:pt x="22175" y="20552"/>
                  </a:cubicBezTo>
                  <a:cubicBezTo>
                    <a:pt x="16226" y="20552"/>
                    <a:pt x="11358" y="22175"/>
                    <a:pt x="7571" y="25961"/>
                  </a:cubicBezTo>
                  <a:cubicBezTo>
                    <a:pt x="3786" y="29747"/>
                    <a:pt x="0" y="34614"/>
                    <a:pt x="0" y="40564"/>
                  </a:cubicBezTo>
                  <a:cubicBezTo>
                    <a:pt x="0" y="45431"/>
                    <a:pt x="3245" y="49217"/>
                    <a:pt x="5949" y="53003"/>
                  </a:cubicBezTo>
                  <a:cubicBezTo>
                    <a:pt x="8653" y="56789"/>
                    <a:pt x="10817" y="59494"/>
                    <a:pt x="15143" y="61116"/>
                  </a:cubicBezTo>
                  <a:cubicBezTo>
                    <a:pt x="10817" y="62198"/>
                    <a:pt x="7031" y="64361"/>
                    <a:pt x="4326" y="68147"/>
                  </a:cubicBezTo>
                  <a:cubicBezTo>
                    <a:pt x="1622" y="71392"/>
                    <a:pt x="1081" y="76801"/>
                    <a:pt x="1081" y="81668"/>
                  </a:cubicBezTo>
                  <a:cubicBezTo>
                    <a:pt x="1081" y="87618"/>
                    <a:pt x="3245" y="92486"/>
                    <a:pt x="7031" y="96272"/>
                  </a:cubicBezTo>
                  <a:cubicBezTo>
                    <a:pt x="10817" y="100058"/>
                    <a:pt x="16226" y="102762"/>
                    <a:pt x="21634" y="102762"/>
                  </a:cubicBezTo>
                  <a:cubicBezTo>
                    <a:pt x="27043" y="102762"/>
                    <a:pt x="31910" y="100058"/>
                    <a:pt x="35696" y="96272"/>
                  </a:cubicBezTo>
                  <a:cubicBezTo>
                    <a:pt x="35155" y="97894"/>
                    <a:pt x="34614" y="100058"/>
                    <a:pt x="34614" y="101680"/>
                  </a:cubicBezTo>
                  <a:cubicBezTo>
                    <a:pt x="34614" y="107629"/>
                    <a:pt x="36778" y="113579"/>
                    <a:pt x="40564" y="117365"/>
                  </a:cubicBezTo>
                  <a:cubicBezTo>
                    <a:pt x="44350" y="121151"/>
                    <a:pt x="50299" y="122232"/>
                    <a:pt x="56248" y="122232"/>
                  </a:cubicBezTo>
                  <a:cubicBezTo>
                    <a:pt x="62198" y="122232"/>
                    <a:pt x="66524" y="119528"/>
                    <a:pt x="70311" y="115742"/>
                  </a:cubicBezTo>
                  <a:cubicBezTo>
                    <a:pt x="74096" y="111956"/>
                    <a:pt x="77341" y="107629"/>
                    <a:pt x="77341" y="101680"/>
                  </a:cubicBezTo>
                  <a:cubicBezTo>
                    <a:pt x="77341" y="100058"/>
                    <a:pt x="77341" y="97894"/>
                    <a:pt x="76801" y="96272"/>
                  </a:cubicBezTo>
                  <a:cubicBezTo>
                    <a:pt x="80586" y="100058"/>
                    <a:pt x="85454" y="101680"/>
                    <a:pt x="91403" y="101680"/>
                  </a:cubicBezTo>
                  <a:cubicBezTo>
                    <a:pt x="97353" y="101680"/>
                    <a:pt x="101680" y="98976"/>
                    <a:pt x="105466" y="95190"/>
                  </a:cubicBezTo>
                  <a:cubicBezTo>
                    <a:pt x="109252" y="91404"/>
                    <a:pt x="111415" y="87077"/>
                    <a:pt x="111415" y="81128"/>
                  </a:cubicBezTo>
                  <a:cubicBezTo>
                    <a:pt x="111956" y="70311"/>
                    <a:pt x="107088" y="62198"/>
                    <a:pt x="98435" y="59494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21" name="Freeform: Shape 80">
              <a:extLst>
                <a:ext uri="{FF2B5EF4-FFF2-40B4-BE49-F238E27FC236}">
                  <a16:creationId xmlns:a16="http://schemas.microsoft.com/office/drawing/2014/main" id="{107ED013-4CA6-392E-1EC5-91C1F6285457}"/>
                </a:ext>
              </a:extLst>
            </p:cNvPr>
            <p:cNvSpPr/>
            <p:nvPr/>
          </p:nvSpPr>
          <p:spPr>
            <a:xfrm>
              <a:off x="6537875" y="5381474"/>
              <a:ext cx="42727" cy="43268"/>
            </a:xfrm>
            <a:custGeom>
              <a:avLst/>
              <a:gdLst>
                <a:gd name="connsiteX0" fmla="*/ 42727 w 42727"/>
                <a:gd name="connsiteY0" fmla="*/ 21634 h 43268"/>
                <a:gd name="connsiteX1" fmla="*/ 36237 w 42727"/>
                <a:gd name="connsiteY1" fmla="*/ 6490 h 43268"/>
                <a:gd name="connsiteX2" fmla="*/ 21093 w 42727"/>
                <a:gd name="connsiteY2" fmla="*/ 0 h 43268"/>
                <a:gd name="connsiteX3" fmla="*/ 5409 w 42727"/>
                <a:gd name="connsiteY3" fmla="*/ 6490 h 43268"/>
                <a:gd name="connsiteX4" fmla="*/ 0 w 42727"/>
                <a:gd name="connsiteY4" fmla="*/ 22175 h 43268"/>
                <a:gd name="connsiteX5" fmla="*/ 5409 w 42727"/>
                <a:gd name="connsiteY5" fmla="*/ 37319 h 43268"/>
                <a:gd name="connsiteX6" fmla="*/ 20553 w 42727"/>
                <a:gd name="connsiteY6" fmla="*/ 43268 h 43268"/>
                <a:gd name="connsiteX7" fmla="*/ 35155 w 42727"/>
                <a:gd name="connsiteY7" fmla="*/ 36778 h 43268"/>
                <a:gd name="connsiteX8" fmla="*/ 42727 w 42727"/>
                <a:gd name="connsiteY8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27" h="43268">
                  <a:moveTo>
                    <a:pt x="42727" y="21634"/>
                  </a:moveTo>
                  <a:cubicBezTo>
                    <a:pt x="42727" y="15685"/>
                    <a:pt x="40564" y="10276"/>
                    <a:pt x="36237" y="6490"/>
                  </a:cubicBezTo>
                  <a:cubicBezTo>
                    <a:pt x="32451" y="2704"/>
                    <a:pt x="27043" y="0"/>
                    <a:pt x="21093" y="0"/>
                  </a:cubicBezTo>
                  <a:cubicBezTo>
                    <a:pt x="15144" y="0"/>
                    <a:pt x="9736" y="2164"/>
                    <a:pt x="5409" y="6490"/>
                  </a:cubicBezTo>
                  <a:cubicBezTo>
                    <a:pt x="1623" y="10276"/>
                    <a:pt x="0" y="16226"/>
                    <a:pt x="0" y="22175"/>
                  </a:cubicBezTo>
                  <a:cubicBezTo>
                    <a:pt x="0" y="28124"/>
                    <a:pt x="1623" y="33533"/>
                    <a:pt x="5409" y="37319"/>
                  </a:cubicBezTo>
                  <a:cubicBezTo>
                    <a:pt x="9195" y="41105"/>
                    <a:pt x="14603" y="43268"/>
                    <a:pt x="20553" y="43268"/>
                  </a:cubicBezTo>
                  <a:cubicBezTo>
                    <a:pt x="26502" y="43268"/>
                    <a:pt x="31370" y="40564"/>
                    <a:pt x="35155" y="36778"/>
                  </a:cubicBezTo>
                  <a:cubicBezTo>
                    <a:pt x="40023" y="32451"/>
                    <a:pt x="42727" y="27583"/>
                    <a:pt x="42727" y="21634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22" name="Freeform: Shape 81">
              <a:extLst>
                <a:ext uri="{FF2B5EF4-FFF2-40B4-BE49-F238E27FC236}">
                  <a16:creationId xmlns:a16="http://schemas.microsoft.com/office/drawing/2014/main" id="{175188E3-C42C-1414-E47D-DD1E4F6E4234}"/>
                </a:ext>
              </a:extLst>
            </p:cNvPr>
            <p:cNvSpPr/>
            <p:nvPr/>
          </p:nvSpPr>
          <p:spPr>
            <a:xfrm>
              <a:off x="6545154" y="5548491"/>
              <a:ext cx="58496" cy="58084"/>
            </a:xfrm>
            <a:custGeom>
              <a:avLst/>
              <a:gdLst>
                <a:gd name="connsiteX0" fmla="*/ 2997 w 58496"/>
                <a:gd name="connsiteY0" fmla="*/ 55273 h 58084"/>
                <a:gd name="connsiteX1" fmla="*/ 2456 w 58496"/>
                <a:gd name="connsiteY1" fmla="*/ 41211 h 58084"/>
                <a:gd name="connsiteX2" fmla="*/ 6783 w 58496"/>
                <a:gd name="connsiteY2" fmla="*/ 27149 h 58084"/>
                <a:gd name="connsiteX3" fmla="*/ 14355 w 58496"/>
                <a:gd name="connsiteY3" fmla="*/ 14169 h 58084"/>
                <a:gd name="connsiteX4" fmla="*/ 27335 w 58496"/>
                <a:gd name="connsiteY4" fmla="*/ 7137 h 58084"/>
                <a:gd name="connsiteX5" fmla="*/ 41397 w 58496"/>
                <a:gd name="connsiteY5" fmla="*/ 1729 h 58084"/>
                <a:gd name="connsiteX6" fmla="*/ 55460 w 58496"/>
                <a:gd name="connsiteY6" fmla="*/ 2811 h 58084"/>
                <a:gd name="connsiteX7" fmla="*/ 56541 w 58496"/>
                <a:gd name="connsiteY7" fmla="*/ 16873 h 58084"/>
                <a:gd name="connsiteX8" fmla="*/ 52756 w 58496"/>
                <a:gd name="connsiteY8" fmla="*/ 31476 h 58084"/>
                <a:gd name="connsiteX9" fmla="*/ 43020 w 58496"/>
                <a:gd name="connsiteY9" fmla="*/ 42834 h 58084"/>
                <a:gd name="connsiteX10" fmla="*/ 31122 w 58496"/>
                <a:gd name="connsiteY10" fmla="*/ 50947 h 58084"/>
                <a:gd name="connsiteX11" fmla="*/ 17059 w 58496"/>
                <a:gd name="connsiteY11" fmla="*/ 56355 h 58084"/>
                <a:gd name="connsiteX12" fmla="*/ 2997 w 58496"/>
                <a:gd name="connsiteY12" fmla="*/ 55273 h 5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496" h="58084">
                  <a:moveTo>
                    <a:pt x="2997" y="55273"/>
                  </a:moveTo>
                  <a:cubicBezTo>
                    <a:pt x="-2412" y="49865"/>
                    <a:pt x="833" y="49865"/>
                    <a:pt x="2456" y="41211"/>
                  </a:cubicBezTo>
                  <a:cubicBezTo>
                    <a:pt x="2997" y="36884"/>
                    <a:pt x="5161" y="32017"/>
                    <a:pt x="6783" y="27149"/>
                  </a:cubicBezTo>
                  <a:cubicBezTo>
                    <a:pt x="8406" y="22822"/>
                    <a:pt x="10569" y="17954"/>
                    <a:pt x="14355" y="14169"/>
                  </a:cubicBezTo>
                  <a:cubicBezTo>
                    <a:pt x="18141" y="10383"/>
                    <a:pt x="23009" y="8760"/>
                    <a:pt x="27335" y="7137"/>
                  </a:cubicBezTo>
                  <a:cubicBezTo>
                    <a:pt x="32203" y="4974"/>
                    <a:pt x="37071" y="2270"/>
                    <a:pt x="41397" y="1729"/>
                  </a:cubicBezTo>
                  <a:cubicBezTo>
                    <a:pt x="49510" y="647"/>
                    <a:pt x="50592" y="-2057"/>
                    <a:pt x="55460" y="2811"/>
                  </a:cubicBezTo>
                  <a:cubicBezTo>
                    <a:pt x="60869" y="8219"/>
                    <a:pt x="57623" y="8760"/>
                    <a:pt x="56541" y="16873"/>
                  </a:cubicBezTo>
                  <a:cubicBezTo>
                    <a:pt x="56001" y="21200"/>
                    <a:pt x="54919" y="26609"/>
                    <a:pt x="52756" y="31476"/>
                  </a:cubicBezTo>
                  <a:cubicBezTo>
                    <a:pt x="51133" y="35803"/>
                    <a:pt x="46806" y="39048"/>
                    <a:pt x="43020" y="42834"/>
                  </a:cubicBezTo>
                  <a:cubicBezTo>
                    <a:pt x="39234" y="46620"/>
                    <a:pt x="35448" y="48783"/>
                    <a:pt x="31122" y="50947"/>
                  </a:cubicBezTo>
                  <a:cubicBezTo>
                    <a:pt x="26254" y="53110"/>
                    <a:pt x="21927" y="55814"/>
                    <a:pt x="17059" y="56355"/>
                  </a:cubicBezTo>
                  <a:cubicBezTo>
                    <a:pt x="8946" y="57437"/>
                    <a:pt x="8406" y="60141"/>
                    <a:pt x="2997" y="55273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  <p:sp>
          <p:nvSpPr>
            <p:cNvPr id="23" name="Freeform: Shape 82">
              <a:extLst>
                <a:ext uri="{FF2B5EF4-FFF2-40B4-BE49-F238E27FC236}">
                  <a16:creationId xmlns:a16="http://schemas.microsoft.com/office/drawing/2014/main" id="{AE80785E-A6DB-81F5-24C5-50F61AA0904D}"/>
                </a:ext>
              </a:extLst>
            </p:cNvPr>
            <p:cNvSpPr/>
            <p:nvPr/>
          </p:nvSpPr>
          <p:spPr>
            <a:xfrm>
              <a:off x="6489723" y="5621110"/>
              <a:ext cx="58503" cy="57634"/>
            </a:xfrm>
            <a:custGeom>
              <a:avLst/>
              <a:gdLst>
                <a:gd name="connsiteX0" fmla="*/ 3261 w 58503"/>
                <a:gd name="connsiteY0" fmla="*/ 2125 h 57634"/>
                <a:gd name="connsiteX1" fmla="*/ 1639 w 58503"/>
                <a:gd name="connsiteY1" fmla="*/ 16188 h 57634"/>
                <a:gd name="connsiteX2" fmla="*/ 5966 w 58503"/>
                <a:gd name="connsiteY2" fmla="*/ 30791 h 57634"/>
                <a:gd name="connsiteX3" fmla="*/ 14619 w 58503"/>
                <a:gd name="connsiteY3" fmla="*/ 42689 h 57634"/>
                <a:gd name="connsiteX4" fmla="*/ 27600 w 58503"/>
                <a:gd name="connsiteY4" fmla="*/ 49720 h 57634"/>
                <a:gd name="connsiteX5" fmla="*/ 41662 w 58503"/>
                <a:gd name="connsiteY5" fmla="*/ 54588 h 57634"/>
                <a:gd name="connsiteX6" fmla="*/ 56264 w 58503"/>
                <a:gd name="connsiteY6" fmla="*/ 55129 h 57634"/>
                <a:gd name="connsiteX7" fmla="*/ 54642 w 58503"/>
                <a:gd name="connsiteY7" fmla="*/ 40526 h 57634"/>
                <a:gd name="connsiteX8" fmla="*/ 51938 w 58503"/>
                <a:gd name="connsiteY8" fmla="*/ 26463 h 57634"/>
                <a:gd name="connsiteX9" fmla="*/ 43825 w 58503"/>
                <a:gd name="connsiteY9" fmla="*/ 14565 h 57634"/>
                <a:gd name="connsiteX10" fmla="*/ 32468 w 58503"/>
                <a:gd name="connsiteY10" fmla="*/ 4829 h 57634"/>
                <a:gd name="connsiteX11" fmla="*/ 17864 w 58503"/>
                <a:gd name="connsiteY11" fmla="*/ 3207 h 57634"/>
                <a:gd name="connsiteX12" fmla="*/ 3261 w 58503"/>
                <a:gd name="connsiteY12" fmla="*/ 2125 h 57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503" h="57634">
                  <a:moveTo>
                    <a:pt x="3261" y="2125"/>
                  </a:moveTo>
                  <a:cubicBezTo>
                    <a:pt x="-2147" y="7534"/>
                    <a:pt x="557" y="8075"/>
                    <a:pt x="1639" y="16188"/>
                  </a:cubicBezTo>
                  <a:cubicBezTo>
                    <a:pt x="2179" y="20514"/>
                    <a:pt x="3802" y="25923"/>
                    <a:pt x="5966" y="30791"/>
                  </a:cubicBezTo>
                  <a:cubicBezTo>
                    <a:pt x="7588" y="35118"/>
                    <a:pt x="10833" y="39444"/>
                    <a:pt x="14619" y="42689"/>
                  </a:cubicBezTo>
                  <a:cubicBezTo>
                    <a:pt x="18405" y="46475"/>
                    <a:pt x="23273" y="47557"/>
                    <a:pt x="27600" y="49720"/>
                  </a:cubicBezTo>
                  <a:cubicBezTo>
                    <a:pt x="32468" y="51884"/>
                    <a:pt x="36794" y="54047"/>
                    <a:pt x="41662" y="54588"/>
                  </a:cubicBezTo>
                  <a:cubicBezTo>
                    <a:pt x="49775" y="55670"/>
                    <a:pt x="51397" y="60537"/>
                    <a:pt x="56264" y="55129"/>
                  </a:cubicBezTo>
                  <a:cubicBezTo>
                    <a:pt x="61673" y="49720"/>
                    <a:pt x="55724" y="48639"/>
                    <a:pt x="54642" y="40526"/>
                  </a:cubicBezTo>
                  <a:cubicBezTo>
                    <a:pt x="54102" y="36199"/>
                    <a:pt x="53560" y="31331"/>
                    <a:pt x="51938" y="26463"/>
                  </a:cubicBezTo>
                  <a:cubicBezTo>
                    <a:pt x="50315" y="22137"/>
                    <a:pt x="47070" y="18351"/>
                    <a:pt x="43825" y="14565"/>
                  </a:cubicBezTo>
                  <a:cubicBezTo>
                    <a:pt x="40039" y="10779"/>
                    <a:pt x="36794" y="6993"/>
                    <a:pt x="32468" y="4829"/>
                  </a:cubicBezTo>
                  <a:cubicBezTo>
                    <a:pt x="27600" y="2667"/>
                    <a:pt x="22191" y="3748"/>
                    <a:pt x="17864" y="3207"/>
                  </a:cubicBezTo>
                  <a:cubicBezTo>
                    <a:pt x="9211" y="2125"/>
                    <a:pt x="8670" y="-2742"/>
                    <a:pt x="3261" y="2125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 14p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23017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CADE1A-9045-96FD-F29C-11AA6DB1DE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CD9697-2840-7FE6-C644-B89C19B033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CD9697-2840-7FE6-C644-B89C19B03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496981AC-7C70-840C-E6F7-7E4344A95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>
                <a:ea typeface="Verdana" panose="020B0604030504040204" pitchFamily="34" charset="0"/>
              </a:rPr>
              <a:t>En sektor der løser en samfundsopgav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F393681-5B61-7A57-65EF-6D092CA845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99B71137-60EB-9A75-E109-EC16DE0ACC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4155389-BBF9-7854-0F91-29FE48ED60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>
                <a:ea typeface="Verdana" panose="020B0604030504040204" pitchFamily="34" charset="0"/>
              </a:rPr>
              <a:t>Drevet demokratisk og non-profit</a:t>
            </a:r>
          </a:p>
        </p:txBody>
      </p:sp>
      <p:sp>
        <p:nvSpPr>
          <p:cNvPr id="16" name="Rectangle: Rounded Corners 3">
            <a:extLst>
              <a:ext uri="{FF2B5EF4-FFF2-40B4-BE49-F238E27FC236}">
                <a16:creationId xmlns:a16="http://schemas.microsoft.com/office/drawing/2014/main" id="{E9DDE379-14BA-AC67-78BB-C67D2B6D14A5}"/>
              </a:ext>
            </a:extLst>
          </p:cNvPr>
          <p:cNvSpPr/>
          <p:nvPr/>
        </p:nvSpPr>
        <p:spPr>
          <a:xfrm>
            <a:off x="394172" y="1883642"/>
            <a:ext cx="5976136" cy="2752417"/>
          </a:xfrm>
          <a:custGeom>
            <a:avLst/>
            <a:gdLst>
              <a:gd name="csX0" fmla="*/ 0 w 5976136"/>
              <a:gd name="csY0" fmla="*/ 183476 h 2752417"/>
              <a:gd name="csX1" fmla="*/ 183476 w 5976136"/>
              <a:gd name="csY1" fmla="*/ 0 h 2752417"/>
              <a:gd name="csX2" fmla="*/ 862811 w 5976136"/>
              <a:gd name="csY2" fmla="*/ 0 h 2752417"/>
              <a:gd name="csX3" fmla="*/ 1317778 w 5976136"/>
              <a:gd name="csY3" fmla="*/ 0 h 2752417"/>
              <a:gd name="csX4" fmla="*/ 1828837 w 5976136"/>
              <a:gd name="csY4" fmla="*/ 0 h 2752417"/>
              <a:gd name="csX5" fmla="*/ 2508171 w 5976136"/>
              <a:gd name="csY5" fmla="*/ 0 h 2752417"/>
              <a:gd name="csX6" fmla="*/ 3019230 w 5976136"/>
              <a:gd name="csY6" fmla="*/ 0 h 2752417"/>
              <a:gd name="csX7" fmla="*/ 3474197 w 5976136"/>
              <a:gd name="csY7" fmla="*/ 0 h 2752417"/>
              <a:gd name="csX8" fmla="*/ 3985256 w 5976136"/>
              <a:gd name="csY8" fmla="*/ 0 h 2752417"/>
              <a:gd name="csX9" fmla="*/ 4552407 w 5976136"/>
              <a:gd name="csY9" fmla="*/ 0 h 2752417"/>
              <a:gd name="csX10" fmla="*/ 5175650 w 5976136"/>
              <a:gd name="csY10" fmla="*/ 0 h 2752417"/>
              <a:gd name="csX11" fmla="*/ 5792660 w 5976136"/>
              <a:gd name="csY11" fmla="*/ 0 h 2752417"/>
              <a:gd name="csX12" fmla="*/ 5976136 w 5976136"/>
              <a:gd name="csY12" fmla="*/ 183476 h 2752417"/>
              <a:gd name="csX13" fmla="*/ 5976136 w 5976136"/>
              <a:gd name="csY13" fmla="*/ 779842 h 2752417"/>
              <a:gd name="csX14" fmla="*/ 5976136 w 5976136"/>
              <a:gd name="csY14" fmla="*/ 1400063 h 2752417"/>
              <a:gd name="csX15" fmla="*/ 5976136 w 5976136"/>
              <a:gd name="csY15" fmla="*/ 1972575 h 2752417"/>
              <a:gd name="csX16" fmla="*/ 5976136 w 5976136"/>
              <a:gd name="csY16" fmla="*/ 2568941 h 2752417"/>
              <a:gd name="csX17" fmla="*/ 5792660 w 5976136"/>
              <a:gd name="csY17" fmla="*/ 2752417 h 2752417"/>
              <a:gd name="csX18" fmla="*/ 5169417 w 5976136"/>
              <a:gd name="csY18" fmla="*/ 2752417 h 2752417"/>
              <a:gd name="csX19" fmla="*/ 4433991 w 5976136"/>
              <a:gd name="csY19" fmla="*/ 2752417 h 2752417"/>
              <a:gd name="csX20" fmla="*/ 3810748 w 5976136"/>
              <a:gd name="csY20" fmla="*/ 2752417 h 2752417"/>
              <a:gd name="csX21" fmla="*/ 3075322 w 5976136"/>
              <a:gd name="csY21" fmla="*/ 2752417 h 2752417"/>
              <a:gd name="csX22" fmla="*/ 2508171 w 5976136"/>
              <a:gd name="csY22" fmla="*/ 2752417 h 2752417"/>
              <a:gd name="csX23" fmla="*/ 1997112 w 5976136"/>
              <a:gd name="csY23" fmla="*/ 2752417 h 2752417"/>
              <a:gd name="csX24" fmla="*/ 1373869 w 5976136"/>
              <a:gd name="csY24" fmla="*/ 2752417 h 2752417"/>
              <a:gd name="csX25" fmla="*/ 183476 w 5976136"/>
              <a:gd name="csY25" fmla="*/ 2752417 h 2752417"/>
              <a:gd name="csX26" fmla="*/ 0 w 5976136"/>
              <a:gd name="csY26" fmla="*/ 2568941 h 2752417"/>
              <a:gd name="csX27" fmla="*/ 0 w 5976136"/>
              <a:gd name="csY27" fmla="*/ 2044139 h 2752417"/>
              <a:gd name="csX28" fmla="*/ 0 w 5976136"/>
              <a:gd name="csY28" fmla="*/ 1423918 h 2752417"/>
              <a:gd name="csX29" fmla="*/ 0 w 5976136"/>
              <a:gd name="csY29" fmla="*/ 875261 h 2752417"/>
              <a:gd name="csX30" fmla="*/ 0 w 5976136"/>
              <a:gd name="csY30" fmla="*/ 183476 h 275241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</a:cxnLst>
            <a:rect l="l" t="t" r="r" b="b"/>
            <a:pathLst>
              <a:path w="5976136" h="2752417" fill="none" extrusionOk="0">
                <a:moveTo>
                  <a:pt x="0" y="183476"/>
                </a:moveTo>
                <a:cubicBezTo>
                  <a:pt x="-16748" y="99098"/>
                  <a:pt x="74336" y="16711"/>
                  <a:pt x="183476" y="0"/>
                </a:cubicBezTo>
                <a:cubicBezTo>
                  <a:pt x="365260" y="-17071"/>
                  <a:pt x="626883" y="21390"/>
                  <a:pt x="862811" y="0"/>
                </a:cubicBezTo>
                <a:cubicBezTo>
                  <a:pt x="1098740" y="-21390"/>
                  <a:pt x="1152344" y="-6351"/>
                  <a:pt x="1317778" y="0"/>
                </a:cubicBezTo>
                <a:cubicBezTo>
                  <a:pt x="1483212" y="6351"/>
                  <a:pt x="1642344" y="8561"/>
                  <a:pt x="1828837" y="0"/>
                </a:cubicBezTo>
                <a:cubicBezTo>
                  <a:pt x="2015330" y="-8561"/>
                  <a:pt x="2238380" y="8818"/>
                  <a:pt x="2508171" y="0"/>
                </a:cubicBezTo>
                <a:cubicBezTo>
                  <a:pt x="2777962" y="-8818"/>
                  <a:pt x="2791404" y="-7422"/>
                  <a:pt x="3019230" y="0"/>
                </a:cubicBezTo>
                <a:cubicBezTo>
                  <a:pt x="3247056" y="7422"/>
                  <a:pt x="3353424" y="-269"/>
                  <a:pt x="3474197" y="0"/>
                </a:cubicBezTo>
                <a:cubicBezTo>
                  <a:pt x="3594970" y="269"/>
                  <a:pt x="3882146" y="2796"/>
                  <a:pt x="3985256" y="0"/>
                </a:cubicBezTo>
                <a:cubicBezTo>
                  <a:pt x="4088366" y="-2796"/>
                  <a:pt x="4382183" y="-20633"/>
                  <a:pt x="4552407" y="0"/>
                </a:cubicBezTo>
                <a:cubicBezTo>
                  <a:pt x="4722631" y="20633"/>
                  <a:pt x="5039308" y="6224"/>
                  <a:pt x="5175650" y="0"/>
                </a:cubicBezTo>
                <a:cubicBezTo>
                  <a:pt x="5311992" y="-6224"/>
                  <a:pt x="5492719" y="7775"/>
                  <a:pt x="5792660" y="0"/>
                </a:cubicBezTo>
                <a:cubicBezTo>
                  <a:pt x="5902454" y="21753"/>
                  <a:pt x="5987015" y="87206"/>
                  <a:pt x="5976136" y="183476"/>
                </a:cubicBezTo>
                <a:cubicBezTo>
                  <a:pt x="5971596" y="443859"/>
                  <a:pt x="5963000" y="565573"/>
                  <a:pt x="5976136" y="779842"/>
                </a:cubicBezTo>
                <a:cubicBezTo>
                  <a:pt x="5989272" y="994111"/>
                  <a:pt x="6000839" y="1242757"/>
                  <a:pt x="5976136" y="1400063"/>
                </a:cubicBezTo>
                <a:cubicBezTo>
                  <a:pt x="5951433" y="1557369"/>
                  <a:pt x="5969580" y="1845379"/>
                  <a:pt x="5976136" y="1972575"/>
                </a:cubicBezTo>
                <a:cubicBezTo>
                  <a:pt x="5982692" y="2099771"/>
                  <a:pt x="5970295" y="2388884"/>
                  <a:pt x="5976136" y="2568941"/>
                </a:cubicBezTo>
                <a:cubicBezTo>
                  <a:pt x="5976497" y="2686702"/>
                  <a:pt x="5897692" y="2749096"/>
                  <a:pt x="5792660" y="2752417"/>
                </a:cubicBezTo>
                <a:cubicBezTo>
                  <a:pt x="5626653" y="2736414"/>
                  <a:pt x="5410423" y="2773039"/>
                  <a:pt x="5169417" y="2752417"/>
                </a:cubicBezTo>
                <a:cubicBezTo>
                  <a:pt x="4928411" y="2731795"/>
                  <a:pt x="4747341" y="2729441"/>
                  <a:pt x="4433991" y="2752417"/>
                </a:cubicBezTo>
                <a:cubicBezTo>
                  <a:pt x="4120641" y="2775393"/>
                  <a:pt x="4092478" y="2730677"/>
                  <a:pt x="3810748" y="2752417"/>
                </a:cubicBezTo>
                <a:cubicBezTo>
                  <a:pt x="3529018" y="2774157"/>
                  <a:pt x="3312691" y="2782212"/>
                  <a:pt x="3075322" y="2752417"/>
                </a:cubicBezTo>
                <a:cubicBezTo>
                  <a:pt x="2837953" y="2722622"/>
                  <a:pt x="2752242" y="2732974"/>
                  <a:pt x="2508171" y="2752417"/>
                </a:cubicBezTo>
                <a:cubicBezTo>
                  <a:pt x="2264100" y="2771860"/>
                  <a:pt x="2105618" y="2738640"/>
                  <a:pt x="1997112" y="2752417"/>
                </a:cubicBezTo>
                <a:cubicBezTo>
                  <a:pt x="1888606" y="2766194"/>
                  <a:pt x="1515763" y="2721416"/>
                  <a:pt x="1373869" y="2752417"/>
                </a:cubicBezTo>
                <a:cubicBezTo>
                  <a:pt x="1231975" y="2783418"/>
                  <a:pt x="628220" y="2790050"/>
                  <a:pt x="183476" y="2752417"/>
                </a:cubicBezTo>
                <a:cubicBezTo>
                  <a:pt x="101614" y="2736409"/>
                  <a:pt x="298" y="2661598"/>
                  <a:pt x="0" y="2568941"/>
                </a:cubicBezTo>
                <a:cubicBezTo>
                  <a:pt x="14967" y="2396856"/>
                  <a:pt x="13794" y="2176946"/>
                  <a:pt x="0" y="2044139"/>
                </a:cubicBezTo>
                <a:cubicBezTo>
                  <a:pt x="-13794" y="1911332"/>
                  <a:pt x="1092" y="1732664"/>
                  <a:pt x="0" y="1423918"/>
                </a:cubicBezTo>
                <a:cubicBezTo>
                  <a:pt x="-1092" y="1115172"/>
                  <a:pt x="11401" y="1014557"/>
                  <a:pt x="0" y="875261"/>
                </a:cubicBezTo>
                <a:cubicBezTo>
                  <a:pt x="-11401" y="735965"/>
                  <a:pt x="-4488" y="460228"/>
                  <a:pt x="0" y="183476"/>
                </a:cubicBezTo>
                <a:close/>
              </a:path>
              <a:path w="5976136" h="2752417" stroke="0" extrusionOk="0">
                <a:moveTo>
                  <a:pt x="0" y="183476"/>
                </a:moveTo>
                <a:cubicBezTo>
                  <a:pt x="-13606" y="73752"/>
                  <a:pt x="61625" y="7701"/>
                  <a:pt x="183476" y="0"/>
                </a:cubicBezTo>
                <a:cubicBezTo>
                  <a:pt x="353968" y="32192"/>
                  <a:pt x="714313" y="-33593"/>
                  <a:pt x="918902" y="0"/>
                </a:cubicBezTo>
                <a:cubicBezTo>
                  <a:pt x="1123491" y="33593"/>
                  <a:pt x="1233775" y="19181"/>
                  <a:pt x="1486053" y="0"/>
                </a:cubicBezTo>
                <a:cubicBezTo>
                  <a:pt x="1738331" y="-19181"/>
                  <a:pt x="1852405" y="14358"/>
                  <a:pt x="1997112" y="0"/>
                </a:cubicBezTo>
                <a:cubicBezTo>
                  <a:pt x="2141819" y="-14358"/>
                  <a:pt x="2522868" y="3943"/>
                  <a:pt x="2676447" y="0"/>
                </a:cubicBezTo>
                <a:cubicBezTo>
                  <a:pt x="2830026" y="-3943"/>
                  <a:pt x="2983137" y="-14755"/>
                  <a:pt x="3243597" y="0"/>
                </a:cubicBezTo>
                <a:cubicBezTo>
                  <a:pt x="3504057" y="14755"/>
                  <a:pt x="3722659" y="16905"/>
                  <a:pt x="3979024" y="0"/>
                </a:cubicBezTo>
                <a:cubicBezTo>
                  <a:pt x="4235389" y="-16905"/>
                  <a:pt x="4256340" y="20181"/>
                  <a:pt x="4490083" y="0"/>
                </a:cubicBezTo>
                <a:cubicBezTo>
                  <a:pt x="4723826" y="-20181"/>
                  <a:pt x="5009956" y="12509"/>
                  <a:pt x="5225509" y="0"/>
                </a:cubicBezTo>
                <a:cubicBezTo>
                  <a:pt x="5441062" y="-12509"/>
                  <a:pt x="5542570" y="-1032"/>
                  <a:pt x="5792660" y="0"/>
                </a:cubicBezTo>
                <a:cubicBezTo>
                  <a:pt x="5868897" y="-1435"/>
                  <a:pt x="5981187" y="68295"/>
                  <a:pt x="5976136" y="183476"/>
                </a:cubicBezTo>
                <a:cubicBezTo>
                  <a:pt x="5976994" y="324115"/>
                  <a:pt x="5951888" y="569972"/>
                  <a:pt x="5976136" y="803697"/>
                </a:cubicBezTo>
                <a:cubicBezTo>
                  <a:pt x="6000384" y="1037422"/>
                  <a:pt x="5957253" y="1200049"/>
                  <a:pt x="5976136" y="1447772"/>
                </a:cubicBezTo>
                <a:cubicBezTo>
                  <a:pt x="5995019" y="1695495"/>
                  <a:pt x="6004563" y="2263810"/>
                  <a:pt x="5976136" y="2568941"/>
                </a:cubicBezTo>
                <a:cubicBezTo>
                  <a:pt x="5956298" y="2673530"/>
                  <a:pt x="5889616" y="2749398"/>
                  <a:pt x="5792660" y="2752417"/>
                </a:cubicBezTo>
                <a:cubicBezTo>
                  <a:pt x="5656258" y="2728087"/>
                  <a:pt x="5251080" y="2731410"/>
                  <a:pt x="5113325" y="2752417"/>
                </a:cubicBezTo>
                <a:cubicBezTo>
                  <a:pt x="4975571" y="2773424"/>
                  <a:pt x="4624786" y="2738696"/>
                  <a:pt x="4490083" y="2752417"/>
                </a:cubicBezTo>
                <a:cubicBezTo>
                  <a:pt x="4355380" y="2766138"/>
                  <a:pt x="4127924" y="2730842"/>
                  <a:pt x="4035116" y="2752417"/>
                </a:cubicBezTo>
                <a:cubicBezTo>
                  <a:pt x="3942308" y="2773992"/>
                  <a:pt x="3683507" y="2736098"/>
                  <a:pt x="3524057" y="2752417"/>
                </a:cubicBezTo>
                <a:cubicBezTo>
                  <a:pt x="3364607" y="2768736"/>
                  <a:pt x="2977827" y="2764975"/>
                  <a:pt x="2788630" y="2752417"/>
                </a:cubicBezTo>
                <a:cubicBezTo>
                  <a:pt x="2599433" y="2739859"/>
                  <a:pt x="2297899" y="2723566"/>
                  <a:pt x="2165388" y="2752417"/>
                </a:cubicBezTo>
                <a:cubicBezTo>
                  <a:pt x="2032877" y="2781268"/>
                  <a:pt x="1855595" y="2734017"/>
                  <a:pt x="1654329" y="2752417"/>
                </a:cubicBezTo>
                <a:cubicBezTo>
                  <a:pt x="1453063" y="2770817"/>
                  <a:pt x="1159647" y="2743541"/>
                  <a:pt x="1031086" y="2752417"/>
                </a:cubicBezTo>
                <a:cubicBezTo>
                  <a:pt x="902525" y="2761293"/>
                  <a:pt x="536350" y="2722150"/>
                  <a:pt x="183476" y="2752417"/>
                </a:cubicBezTo>
                <a:cubicBezTo>
                  <a:pt x="87109" y="2737150"/>
                  <a:pt x="1725" y="2672137"/>
                  <a:pt x="0" y="2568941"/>
                </a:cubicBezTo>
                <a:cubicBezTo>
                  <a:pt x="2452" y="2342944"/>
                  <a:pt x="575" y="2211689"/>
                  <a:pt x="0" y="1924865"/>
                </a:cubicBezTo>
                <a:cubicBezTo>
                  <a:pt x="-575" y="1638041"/>
                  <a:pt x="-5326" y="1510553"/>
                  <a:pt x="0" y="1304645"/>
                </a:cubicBezTo>
                <a:cubicBezTo>
                  <a:pt x="5326" y="1098737"/>
                  <a:pt x="10490" y="1024230"/>
                  <a:pt x="0" y="755988"/>
                </a:cubicBezTo>
                <a:cubicBezTo>
                  <a:pt x="-10490" y="487746"/>
                  <a:pt x="-3044" y="317937"/>
                  <a:pt x="0" y="183476"/>
                </a:cubicBezTo>
                <a:close/>
              </a:path>
            </a:pathLst>
          </a:custGeom>
          <a:solidFill>
            <a:schemeClr val="bg1">
              <a:lumMod val="95000"/>
              <a:alpha val="78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666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SG er det styringsredskab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, der hjælper os med at leve op til formålsparagraffen: Det sikrer, at vi skaber 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værdi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for beboere og samfund, samtidig med at vi holder 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økonomien i balance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g 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inimerer risici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or miljø og mennesker – på en 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rdentlig og gennemsigtig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åd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rincipper for ES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atadrevet standardisering – fælles, valide målepunkt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Væsentlighed – fokus på det, der betyder mes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ransparens – åbenhed om konkrete resultater og udfordring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æredygtig balance – miljø, socialt og økonomi i helhe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Involvering og ansvar – beboerdemokratiet og ledelsen tager ejerskab og handler.</a:t>
            </a: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" name="Graphic 9">
            <a:extLst>
              <a:ext uri="{FF2B5EF4-FFF2-40B4-BE49-F238E27FC236}">
                <a16:creationId xmlns:a16="http://schemas.microsoft.com/office/drawing/2014/main" id="{87F5E7A9-A47B-15F0-4431-A02C78A32372}"/>
              </a:ext>
            </a:extLst>
          </p:cNvPr>
          <p:cNvSpPr/>
          <p:nvPr/>
        </p:nvSpPr>
        <p:spPr>
          <a:xfrm>
            <a:off x="7844064" y="4297493"/>
            <a:ext cx="1880219" cy="1913828"/>
          </a:xfrm>
          <a:custGeom>
            <a:avLst/>
            <a:gdLst>
              <a:gd name="connsiteX0" fmla="*/ 1045115 w 2090225"/>
              <a:gd name="connsiteY0" fmla="*/ 2082868 h 2082867"/>
              <a:gd name="connsiteX1" fmla="*/ 2090226 w 2090225"/>
              <a:gd name="connsiteY1" fmla="*/ 1041435 h 2082867"/>
              <a:gd name="connsiteX2" fmla="*/ 1045115 w 2090225"/>
              <a:gd name="connsiteY2" fmla="*/ 0 h 2082867"/>
              <a:gd name="connsiteX3" fmla="*/ 0 w 2090225"/>
              <a:gd name="connsiteY3" fmla="*/ 1041435 h 2082867"/>
              <a:gd name="connsiteX4" fmla="*/ 1045115 w 2090225"/>
              <a:gd name="connsiteY4" fmla="*/ 2082868 h 2082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225" h="2082867">
                <a:moveTo>
                  <a:pt x="1045115" y="2082868"/>
                </a:moveTo>
                <a:cubicBezTo>
                  <a:pt x="1622314" y="2082868"/>
                  <a:pt x="2090226" y="1616600"/>
                  <a:pt x="2090226" y="1041435"/>
                </a:cubicBezTo>
                <a:cubicBezTo>
                  <a:pt x="2090226" y="466266"/>
                  <a:pt x="1622314" y="0"/>
                  <a:pt x="1045115" y="0"/>
                </a:cubicBezTo>
                <a:cubicBezTo>
                  <a:pt x="467913" y="0"/>
                  <a:pt x="0" y="466266"/>
                  <a:pt x="0" y="1041435"/>
                </a:cubicBezTo>
                <a:cubicBezTo>
                  <a:pt x="0" y="1616600"/>
                  <a:pt x="467913" y="2082868"/>
                  <a:pt x="1045115" y="2082868"/>
                </a:cubicBezTo>
                <a:close/>
              </a:path>
            </a:pathLst>
          </a:custGeom>
          <a:solidFill>
            <a:schemeClr val="bg1">
              <a:alpha val="58000"/>
            </a:schemeClr>
          </a:solidFill>
          <a:ln w="28575" cap="flat">
            <a:solidFill>
              <a:schemeClr val="accent6"/>
            </a:solidFill>
            <a:prstDash val="solid"/>
            <a:miter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id="{45D1812B-8624-70D8-2CF0-1C75E07F7942}"/>
              </a:ext>
            </a:extLst>
          </p:cNvPr>
          <p:cNvSpPr/>
          <p:nvPr/>
        </p:nvSpPr>
        <p:spPr>
          <a:xfrm>
            <a:off x="5811997" y="4317476"/>
            <a:ext cx="1880219" cy="191382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chemeClr val="bg1">
              <a:alpha val="58000"/>
            </a:schemeClr>
          </a:solidFill>
          <a:ln w="28575" cap="flat">
            <a:solidFill>
              <a:srgbClr val="88BCAD"/>
            </a:solidFill>
            <a:prstDash val="solid"/>
            <a:miter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0" name="Graphic 5">
            <a:extLst>
              <a:ext uri="{FF2B5EF4-FFF2-40B4-BE49-F238E27FC236}">
                <a16:creationId xmlns:a16="http://schemas.microsoft.com/office/drawing/2014/main" id="{1329A0DB-3A07-B539-1D0E-898A2D84D2F5}"/>
              </a:ext>
            </a:extLst>
          </p:cNvPr>
          <p:cNvSpPr/>
          <p:nvPr/>
        </p:nvSpPr>
        <p:spPr>
          <a:xfrm>
            <a:off x="9856017" y="4222671"/>
            <a:ext cx="2018178" cy="2008633"/>
          </a:xfrm>
          <a:custGeom>
            <a:avLst/>
            <a:gdLst>
              <a:gd name="connsiteX0" fmla="*/ 1540115 w 2068146"/>
              <a:gd name="connsiteY0" fmla="*/ 109518 h 2053427"/>
              <a:gd name="connsiteX1" fmla="*/ 882859 w 2068146"/>
              <a:gd name="connsiteY1" fmla="*/ 6187 h 2053427"/>
              <a:gd name="connsiteX2" fmla="*/ 356860 w 2068146"/>
              <a:gd name="connsiteY2" fmla="*/ 272246 h 2053427"/>
              <a:gd name="connsiteX3" fmla="*/ 54805 w 2068146"/>
              <a:gd name="connsiteY3" fmla="*/ 861064 h 2053427"/>
              <a:gd name="connsiteX4" fmla="*/ 147251 w 2068146"/>
              <a:gd name="connsiteY4" fmla="*/ 1440064 h 2053427"/>
              <a:gd name="connsiteX5" fmla="*/ 617883 w 2068146"/>
              <a:gd name="connsiteY5" fmla="*/ 1907386 h 2053427"/>
              <a:gd name="connsiteX6" fmla="*/ 1200983 w 2068146"/>
              <a:gd name="connsiteY6" fmla="*/ 1999181 h 2053427"/>
              <a:gd name="connsiteX7" fmla="*/ 1793969 w 2068146"/>
              <a:gd name="connsiteY7" fmla="*/ 1699250 h 2053427"/>
              <a:gd name="connsiteX8" fmla="*/ 2061914 w 2068146"/>
              <a:gd name="connsiteY8" fmla="*/ 1176950 h 2053427"/>
              <a:gd name="connsiteX9" fmla="*/ 1957854 w 2068146"/>
              <a:gd name="connsiteY9" fmla="*/ 524316 h 2053427"/>
              <a:gd name="connsiteX10" fmla="*/ 1540366 w 2068146"/>
              <a:gd name="connsiteY10" fmla="*/ 109763 h 2053427"/>
              <a:gd name="connsiteX11" fmla="*/ 1540115 w 2068146"/>
              <a:gd name="connsiteY11" fmla="*/ 109518 h 2053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8146" h="2053427">
                <a:moveTo>
                  <a:pt x="1540115" y="109518"/>
                </a:moveTo>
                <a:lnTo>
                  <a:pt x="882859" y="6187"/>
                </a:lnTo>
                <a:cubicBezTo>
                  <a:pt x="668061" y="-27684"/>
                  <a:pt x="455732" y="79820"/>
                  <a:pt x="356860" y="272246"/>
                </a:cubicBezTo>
                <a:lnTo>
                  <a:pt x="54805" y="861064"/>
                </a:lnTo>
                <a:cubicBezTo>
                  <a:pt x="-44068" y="1053492"/>
                  <a:pt x="-6743" y="1287396"/>
                  <a:pt x="147251" y="1440064"/>
                </a:cubicBezTo>
                <a:lnTo>
                  <a:pt x="617883" y="1907386"/>
                </a:lnTo>
                <a:cubicBezTo>
                  <a:pt x="771631" y="2060049"/>
                  <a:pt x="1007193" y="2097111"/>
                  <a:pt x="1200983" y="1999181"/>
                </a:cubicBezTo>
                <a:lnTo>
                  <a:pt x="1793969" y="1699250"/>
                </a:lnTo>
                <a:cubicBezTo>
                  <a:pt x="1987764" y="1601069"/>
                  <a:pt x="2096029" y="1390235"/>
                  <a:pt x="2061914" y="1176950"/>
                </a:cubicBezTo>
                <a:lnTo>
                  <a:pt x="1957854" y="524316"/>
                </a:lnTo>
                <a:cubicBezTo>
                  <a:pt x="1923739" y="311026"/>
                  <a:pt x="1755409" y="143634"/>
                  <a:pt x="1540366" y="109763"/>
                </a:cubicBezTo>
                <a:lnTo>
                  <a:pt x="1540115" y="109518"/>
                </a:lnTo>
                <a:close/>
              </a:path>
            </a:pathLst>
          </a:custGeom>
          <a:solidFill>
            <a:schemeClr val="bg1">
              <a:alpha val="58000"/>
            </a:schemeClr>
          </a:solidFill>
          <a:ln w="28575" cap="flat">
            <a:solidFill>
              <a:schemeClr val="accent4"/>
            </a:solidFill>
            <a:prstDash val="solid"/>
            <a:miter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4" name="Graphic 7">
            <a:extLst>
              <a:ext uri="{FF2B5EF4-FFF2-40B4-BE49-F238E27FC236}">
                <a16:creationId xmlns:a16="http://schemas.microsoft.com/office/drawing/2014/main" id="{9516E953-3AB2-827A-F477-D47B25EF0B4E}"/>
              </a:ext>
            </a:extLst>
          </p:cNvPr>
          <p:cNvSpPr/>
          <p:nvPr/>
        </p:nvSpPr>
        <p:spPr>
          <a:xfrm>
            <a:off x="5882934" y="4380906"/>
            <a:ext cx="1755587" cy="178696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88BCAD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</a:t>
            </a:r>
          </a:p>
        </p:txBody>
      </p:sp>
      <p:sp>
        <p:nvSpPr>
          <p:cNvPr id="28" name="Graphic 5">
            <a:extLst>
              <a:ext uri="{FF2B5EF4-FFF2-40B4-BE49-F238E27FC236}">
                <a16:creationId xmlns:a16="http://schemas.microsoft.com/office/drawing/2014/main" id="{8E46D492-1160-8BEE-A87A-5B524F562120}"/>
              </a:ext>
            </a:extLst>
          </p:cNvPr>
          <p:cNvSpPr/>
          <p:nvPr/>
        </p:nvSpPr>
        <p:spPr>
          <a:xfrm>
            <a:off x="9951780" y="4274873"/>
            <a:ext cx="1880219" cy="1871326"/>
          </a:xfrm>
          <a:custGeom>
            <a:avLst/>
            <a:gdLst>
              <a:gd name="connsiteX0" fmla="*/ 1540115 w 2068146"/>
              <a:gd name="connsiteY0" fmla="*/ 109518 h 2053427"/>
              <a:gd name="connsiteX1" fmla="*/ 882859 w 2068146"/>
              <a:gd name="connsiteY1" fmla="*/ 6187 h 2053427"/>
              <a:gd name="connsiteX2" fmla="*/ 356860 w 2068146"/>
              <a:gd name="connsiteY2" fmla="*/ 272246 h 2053427"/>
              <a:gd name="connsiteX3" fmla="*/ 54805 w 2068146"/>
              <a:gd name="connsiteY3" fmla="*/ 861064 h 2053427"/>
              <a:gd name="connsiteX4" fmla="*/ 147251 w 2068146"/>
              <a:gd name="connsiteY4" fmla="*/ 1440064 h 2053427"/>
              <a:gd name="connsiteX5" fmla="*/ 617883 w 2068146"/>
              <a:gd name="connsiteY5" fmla="*/ 1907386 h 2053427"/>
              <a:gd name="connsiteX6" fmla="*/ 1200983 w 2068146"/>
              <a:gd name="connsiteY6" fmla="*/ 1999181 h 2053427"/>
              <a:gd name="connsiteX7" fmla="*/ 1793969 w 2068146"/>
              <a:gd name="connsiteY7" fmla="*/ 1699250 h 2053427"/>
              <a:gd name="connsiteX8" fmla="*/ 2061914 w 2068146"/>
              <a:gd name="connsiteY8" fmla="*/ 1176950 h 2053427"/>
              <a:gd name="connsiteX9" fmla="*/ 1957854 w 2068146"/>
              <a:gd name="connsiteY9" fmla="*/ 524316 h 2053427"/>
              <a:gd name="connsiteX10" fmla="*/ 1540366 w 2068146"/>
              <a:gd name="connsiteY10" fmla="*/ 109763 h 2053427"/>
              <a:gd name="connsiteX11" fmla="*/ 1540115 w 2068146"/>
              <a:gd name="connsiteY11" fmla="*/ 109518 h 2053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8146" h="2053427">
                <a:moveTo>
                  <a:pt x="1540115" y="109518"/>
                </a:moveTo>
                <a:lnTo>
                  <a:pt x="882859" y="6187"/>
                </a:lnTo>
                <a:cubicBezTo>
                  <a:pt x="668061" y="-27684"/>
                  <a:pt x="455732" y="79820"/>
                  <a:pt x="356860" y="272246"/>
                </a:cubicBezTo>
                <a:lnTo>
                  <a:pt x="54805" y="861064"/>
                </a:lnTo>
                <a:cubicBezTo>
                  <a:pt x="-44068" y="1053492"/>
                  <a:pt x="-6743" y="1287396"/>
                  <a:pt x="147251" y="1440064"/>
                </a:cubicBezTo>
                <a:lnTo>
                  <a:pt x="617883" y="1907386"/>
                </a:lnTo>
                <a:cubicBezTo>
                  <a:pt x="771631" y="2060049"/>
                  <a:pt x="1007193" y="2097111"/>
                  <a:pt x="1200983" y="1999181"/>
                </a:cubicBezTo>
                <a:lnTo>
                  <a:pt x="1793969" y="1699250"/>
                </a:lnTo>
                <a:cubicBezTo>
                  <a:pt x="1987764" y="1601069"/>
                  <a:pt x="2096029" y="1390235"/>
                  <a:pt x="2061914" y="1176950"/>
                </a:cubicBezTo>
                <a:lnTo>
                  <a:pt x="1957854" y="524316"/>
                </a:lnTo>
                <a:cubicBezTo>
                  <a:pt x="1923739" y="311026"/>
                  <a:pt x="1755409" y="143634"/>
                  <a:pt x="1540366" y="109763"/>
                </a:cubicBezTo>
                <a:lnTo>
                  <a:pt x="1540115" y="109518"/>
                </a:lnTo>
                <a:close/>
              </a:path>
            </a:pathLst>
          </a:custGeom>
          <a:solidFill>
            <a:srgbClr val="97A2BB"/>
          </a:solidFill>
          <a:ln w="5206" cap="flat">
            <a:noFill/>
            <a:prstDash val="solid"/>
            <a:miter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G</a:t>
            </a:r>
          </a:p>
        </p:txBody>
      </p:sp>
      <p:sp>
        <p:nvSpPr>
          <p:cNvPr id="30" name="Graphic 9">
            <a:extLst>
              <a:ext uri="{FF2B5EF4-FFF2-40B4-BE49-F238E27FC236}">
                <a16:creationId xmlns:a16="http://schemas.microsoft.com/office/drawing/2014/main" id="{BD6CDE2D-6B24-104B-503D-630100C8E6F6}"/>
              </a:ext>
            </a:extLst>
          </p:cNvPr>
          <p:cNvSpPr/>
          <p:nvPr/>
        </p:nvSpPr>
        <p:spPr>
          <a:xfrm>
            <a:off x="7939328" y="4376235"/>
            <a:ext cx="1738882" cy="1769964"/>
          </a:xfrm>
          <a:custGeom>
            <a:avLst/>
            <a:gdLst>
              <a:gd name="connsiteX0" fmla="*/ 1045115 w 2090225"/>
              <a:gd name="connsiteY0" fmla="*/ 2082868 h 2082867"/>
              <a:gd name="connsiteX1" fmla="*/ 2090226 w 2090225"/>
              <a:gd name="connsiteY1" fmla="*/ 1041435 h 2082867"/>
              <a:gd name="connsiteX2" fmla="*/ 1045115 w 2090225"/>
              <a:gd name="connsiteY2" fmla="*/ 0 h 2082867"/>
              <a:gd name="connsiteX3" fmla="*/ 0 w 2090225"/>
              <a:gd name="connsiteY3" fmla="*/ 1041435 h 2082867"/>
              <a:gd name="connsiteX4" fmla="*/ 1045115 w 2090225"/>
              <a:gd name="connsiteY4" fmla="*/ 2082868 h 2082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225" h="2082867">
                <a:moveTo>
                  <a:pt x="1045115" y="2082868"/>
                </a:moveTo>
                <a:cubicBezTo>
                  <a:pt x="1622314" y="2082868"/>
                  <a:pt x="2090226" y="1616600"/>
                  <a:pt x="2090226" y="1041435"/>
                </a:cubicBezTo>
                <a:cubicBezTo>
                  <a:pt x="2090226" y="466266"/>
                  <a:pt x="1622314" y="0"/>
                  <a:pt x="1045115" y="0"/>
                </a:cubicBezTo>
                <a:cubicBezTo>
                  <a:pt x="467913" y="0"/>
                  <a:pt x="0" y="466266"/>
                  <a:pt x="0" y="1041435"/>
                </a:cubicBezTo>
                <a:cubicBezTo>
                  <a:pt x="0" y="1616600"/>
                  <a:pt x="467913" y="2082868"/>
                  <a:pt x="1045115" y="2082868"/>
                </a:cubicBezTo>
                <a:close/>
              </a:path>
            </a:pathLst>
          </a:custGeom>
          <a:solidFill>
            <a:srgbClr val="FACCD0"/>
          </a:solidFill>
          <a:ln w="5213" cap="flat">
            <a:noFill/>
            <a:prstDash val="solid"/>
            <a:miter/>
          </a:ln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</a:t>
            </a:r>
          </a:p>
        </p:txBody>
      </p:sp>
      <p:sp>
        <p:nvSpPr>
          <p:cNvPr id="31" name="TextBox 21">
            <a:extLst>
              <a:ext uri="{FF2B5EF4-FFF2-40B4-BE49-F238E27FC236}">
                <a16:creationId xmlns:a16="http://schemas.microsoft.com/office/drawing/2014/main" id="{063E1F94-0C3B-E639-8A94-4589967BCEDE}"/>
              </a:ext>
            </a:extLst>
          </p:cNvPr>
          <p:cNvSpPr txBox="1"/>
          <p:nvPr/>
        </p:nvSpPr>
        <p:spPr>
          <a:xfrm>
            <a:off x="10140984" y="5014995"/>
            <a:ext cx="1559281" cy="49244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00.000+ 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ngageret i det formelle beboerdemokrat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500 Boligorganisationer</a:t>
            </a:r>
          </a:p>
        </p:txBody>
      </p:sp>
      <p:sp>
        <p:nvSpPr>
          <p:cNvPr id="32" name="TextBox 22">
            <a:extLst>
              <a:ext uri="{FF2B5EF4-FFF2-40B4-BE49-F238E27FC236}">
                <a16:creationId xmlns:a16="http://schemas.microsoft.com/office/drawing/2014/main" id="{6E0C5B58-7E9F-E8DB-7D4B-D3744DD0D5A7}"/>
              </a:ext>
            </a:extLst>
          </p:cNvPr>
          <p:cNvSpPr txBox="1"/>
          <p:nvPr/>
        </p:nvSpPr>
        <p:spPr>
          <a:xfrm>
            <a:off x="8001014" y="4991050"/>
            <a:ext cx="1623199" cy="5693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3.000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medarbejde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7.000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afdelin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.000.000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beboere</a:t>
            </a:r>
          </a:p>
        </p:txBody>
      </p:sp>
      <p:sp>
        <p:nvSpPr>
          <p:cNvPr id="33" name="Oval 24">
            <a:extLst>
              <a:ext uri="{FF2B5EF4-FFF2-40B4-BE49-F238E27FC236}">
                <a16:creationId xmlns:a16="http://schemas.microsoft.com/office/drawing/2014/main" id="{812D4FAD-4F45-2208-6BAD-FFC8B7F67B33}"/>
              </a:ext>
            </a:extLst>
          </p:cNvPr>
          <p:cNvSpPr/>
          <p:nvPr/>
        </p:nvSpPr>
        <p:spPr>
          <a:xfrm>
            <a:off x="7165873" y="4584582"/>
            <a:ext cx="182608" cy="185872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 w="34925">
            <a:solidFill>
              <a:srgbClr val="88BCA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4" name="Oval 25">
            <a:extLst>
              <a:ext uri="{FF2B5EF4-FFF2-40B4-BE49-F238E27FC236}">
                <a16:creationId xmlns:a16="http://schemas.microsoft.com/office/drawing/2014/main" id="{392BF207-5BE0-0504-BE5F-4560680AECA5}"/>
              </a:ext>
            </a:extLst>
          </p:cNvPr>
          <p:cNvSpPr/>
          <p:nvPr/>
        </p:nvSpPr>
        <p:spPr>
          <a:xfrm>
            <a:off x="11498106" y="5699101"/>
            <a:ext cx="202159" cy="202646"/>
          </a:xfrm>
          <a:prstGeom prst="ellipse">
            <a:avLst/>
          </a:prstGeom>
          <a:solidFill>
            <a:schemeClr val="accent4"/>
          </a:solidFill>
          <a:ln w="34925">
            <a:solidFill>
              <a:srgbClr val="97A2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5" name="Oval 26">
            <a:extLst>
              <a:ext uri="{FF2B5EF4-FFF2-40B4-BE49-F238E27FC236}">
                <a16:creationId xmlns:a16="http://schemas.microsoft.com/office/drawing/2014/main" id="{2CA10AED-823D-B81D-9489-FCCAE60B4DCF}"/>
              </a:ext>
            </a:extLst>
          </p:cNvPr>
          <p:cNvSpPr/>
          <p:nvPr/>
        </p:nvSpPr>
        <p:spPr>
          <a:xfrm>
            <a:off x="7830266" y="4876925"/>
            <a:ext cx="186351" cy="190352"/>
          </a:xfrm>
          <a:prstGeom prst="ellipse">
            <a:avLst/>
          </a:prstGeom>
          <a:solidFill>
            <a:schemeClr val="accent6"/>
          </a:solidFill>
          <a:ln w="34925">
            <a:solidFill>
              <a:srgbClr val="FACC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6" name="TextBox 22">
            <a:extLst>
              <a:ext uri="{FF2B5EF4-FFF2-40B4-BE49-F238E27FC236}">
                <a16:creationId xmlns:a16="http://schemas.microsoft.com/office/drawing/2014/main" id="{9E1DED2A-0E54-51EF-BDFF-40F000BA8D50}"/>
              </a:ext>
            </a:extLst>
          </p:cNvPr>
          <p:cNvSpPr txBox="1"/>
          <p:nvPr/>
        </p:nvSpPr>
        <p:spPr>
          <a:xfrm>
            <a:off x="5936629" y="4993139"/>
            <a:ext cx="1755587" cy="5693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600.000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boli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90.000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bygnin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00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km</a:t>
            </a:r>
            <a:r>
              <a:rPr kumimoji="0" lang="da-DK" sz="90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</a:t>
            </a:r>
            <a:r>
              <a:rPr kumimoji="0" lang="da-DK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udeområde</a:t>
            </a: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C901A119-8A69-E381-B847-EDCA9D93552A}"/>
              </a:ext>
            </a:extLst>
          </p:cNvPr>
          <p:cNvSpPr txBox="1"/>
          <p:nvPr/>
        </p:nvSpPr>
        <p:spPr>
          <a:xfrm>
            <a:off x="6898025" y="6431641"/>
            <a:ext cx="45145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SG: (E</a:t>
            </a: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nvironment, </a:t>
            </a: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</a:t>
            </a: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cial og </a:t>
            </a: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G</a:t>
            </a: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vernance)</a:t>
            </a:r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CB69273D-05E1-DB18-B3F0-A0A1640BF291}"/>
              </a:ext>
            </a:extLst>
          </p:cNvPr>
          <p:cNvSpPr txBox="1"/>
          <p:nvPr/>
        </p:nvSpPr>
        <p:spPr>
          <a:xfrm>
            <a:off x="7497054" y="1613224"/>
            <a:ext cx="400105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§ 5 b. </a:t>
            </a: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mene boligorganisationer har som formål at stille passende boliger til rådighed for alle med behov herfor til en rimelig husleje samt at give beboerne indflydelse på egne </a:t>
            </a:r>
            <a:r>
              <a:rPr kumimoji="0" lang="da-DK" sz="140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forhold</a:t>
            </a: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29856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5ACCE-3D98-C505-179D-9B76A4B7B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627941-79D2-578B-DDA2-5615361410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627941-79D2-578B-DDA2-561536141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0">
            <a:extLst>
              <a:ext uri="{FF2B5EF4-FFF2-40B4-BE49-F238E27FC236}">
                <a16:creationId xmlns:a16="http://schemas.microsoft.com/office/drawing/2014/main" id="{63476E3E-28B3-F1FD-CE33-1F2AFCD35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AlmenKompas målepunktern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03F1B1F-2073-8BDB-32DF-DA0498B9FF0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pPr lvl="0"/>
            <a:fld id="{6A814B08-8399-43E7-AAE4-68AF4906CF08}" type="slidenum">
              <a:rPr lang="da-DK" noProof="0" smtClean="0"/>
              <a:pPr lvl="0"/>
              <a:t>18</a:t>
            </a:fld>
            <a:endParaRPr lang="da-DK" noProof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548C5E06-3697-B62B-261C-0C320FA0B7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1075495"/>
            <a:ext cx="11472000" cy="445510"/>
          </a:xfrm>
        </p:spPr>
        <p:txBody>
          <a:bodyPr/>
          <a:lstStyle/>
          <a:p>
            <a:r>
              <a:rPr lang="da-DK"/>
              <a:t>Vi måler på det, der er vigtigt for jer</a:t>
            </a:r>
          </a:p>
        </p:txBody>
      </p:sp>
      <p:sp>
        <p:nvSpPr>
          <p:cNvPr id="19" name="Rectangle: Rounded Corners 44">
            <a:extLst>
              <a:ext uri="{FF2B5EF4-FFF2-40B4-BE49-F238E27FC236}">
                <a16:creationId xmlns:a16="http://schemas.microsoft.com/office/drawing/2014/main" id="{6905630B-0E76-606F-BFB7-2692620A0247}"/>
              </a:ext>
            </a:extLst>
          </p:cNvPr>
          <p:cNvSpPr/>
          <p:nvPr/>
        </p:nvSpPr>
        <p:spPr>
          <a:xfrm>
            <a:off x="10367338" y="1948326"/>
            <a:ext cx="121828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DM Sans 14pt" pitchFamily="2" charset="77"/>
                <a:ea typeface="Verdana" panose="020B0604030504040204" pitchFamily="34" charset="0"/>
              </a:rPr>
              <a:t>Governance</a:t>
            </a:r>
          </a:p>
        </p:txBody>
      </p:sp>
      <p:sp>
        <p:nvSpPr>
          <p:cNvPr id="32" name="Flowchart: Alternate Process 31">
            <a:extLst>
              <a:ext uri="{FF2B5EF4-FFF2-40B4-BE49-F238E27FC236}">
                <a16:creationId xmlns:a16="http://schemas.microsoft.com/office/drawing/2014/main" id="{30DB0126-7CA0-D89B-DD7D-AFC9960E856A}"/>
              </a:ext>
            </a:extLst>
          </p:cNvPr>
          <p:cNvSpPr/>
          <p:nvPr/>
        </p:nvSpPr>
        <p:spPr>
          <a:xfrm>
            <a:off x="4076700" y="3278317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ergiforbrug</a:t>
            </a:r>
          </a:p>
        </p:txBody>
      </p:sp>
      <p:sp>
        <p:nvSpPr>
          <p:cNvPr id="104" name="Flowchart: Alternate Process 103">
            <a:extLst>
              <a:ext uri="{FF2B5EF4-FFF2-40B4-BE49-F238E27FC236}">
                <a16:creationId xmlns:a16="http://schemas.microsoft.com/office/drawing/2014/main" id="{6EA6700F-8172-60EA-61A4-76C65FF8DA2D}"/>
              </a:ext>
            </a:extLst>
          </p:cNvPr>
          <p:cNvSpPr/>
          <p:nvPr/>
        </p:nvSpPr>
        <p:spPr>
          <a:xfrm>
            <a:off x="9366297" y="2832164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eboerdemokrati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B42EB16-C005-6047-97F3-2CDC7462C3EF}"/>
              </a:ext>
            </a:extLst>
          </p:cNvPr>
          <p:cNvCxnSpPr>
            <a:cxnSpLocks/>
          </p:cNvCxnSpPr>
          <p:nvPr/>
        </p:nvCxnSpPr>
        <p:spPr>
          <a:xfrm>
            <a:off x="6599212" y="1590994"/>
            <a:ext cx="0" cy="468280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62">
            <a:extLst>
              <a:ext uri="{FF2B5EF4-FFF2-40B4-BE49-F238E27FC236}">
                <a16:creationId xmlns:a16="http://schemas.microsoft.com/office/drawing/2014/main" id="{B470B511-8C1D-B719-67A7-B4E573F4599C}"/>
              </a:ext>
            </a:extLst>
          </p:cNvPr>
          <p:cNvSpPr/>
          <p:nvPr/>
        </p:nvSpPr>
        <p:spPr>
          <a:xfrm>
            <a:off x="5120965" y="1948326"/>
            <a:ext cx="46326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  <a:ea typeface="Verdana" panose="020B0604030504040204" pitchFamily="34" charset="0"/>
              </a:rPr>
              <a:t>Miljø</a:t>
            </a:r>
          </a:p>
        </p:txBody>
      </p:sp>
      <p:sp>
        <p:nvSpPr>
          <p:cNvPr id="60" name="Rectangle: Rounded Corners 85">
            <a:extLst>
              <a:ext uri="{FF2B5EF4-FFF2-40B4-BE49-F238E27FC236}">
                <a16:creationId xmlns:a16="http://schemas.microsoft.com/office/drawing/2014/main" id="{A9111995-338C-F9AA-177B-F1C38BC72041}"/>
              </a:ext>
            </a:extLst>
          </p:cNvPr>
          <p:cNvSpPr/>
          <p:nvPr/>
        </p:nvSpPr>
        <p:spPr>
          <a:xfrm>
            <a:off x="7769387" y="1948326"/>
            <a:ext cx="59631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DM Sans 14pt" pitchFamily="2" charset="77"/>
                <a:ea typeface="Verdana" panose="020B0604030504040204" pitchFamily="34" charset="0"/>
              </a:rPr>
              <a:t>Social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B19B256-9A44-464F-52C9-E25F88578113}"/>
              </a:ext>
            </a:extLst>
          </p:cNvPr>
          <p:cNvSpPr/>
          <p:nvPr/>
        </p:nvSpPr>
        <p:spPr>
          <a:xfrm>
            <a:off x="4076700" y="2595930"/>
            <a:ext cx="2473277" cy="216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AFTRYK</a:t>
            </a:r>
          </a:p>
        </p:txBody>
      </p:sp>
      <p:sp>
        <p:nvSpPr>
          <p:cNvPr id="31" name="Flowchart: Alternate Process 30">
            <a:extLst>
              <a:ext uri="{FF2B5EF4-FFF2-40B4-BE49-F238E27FC236}">
                <a16:creationId xmlns:a16="http://schemas.microsoft.com/office/drawing/2014/main" id="{F3D2687B-51D5-ECE2-A39E-2B34CE0A38D5}"/>
              </a:ext>
            </a:extLst>
          </p:cNvPr>
          <p:cNvSpPr/>
          <p:nvPr/>
        </p:nvSpPr>
        <p:spPr>
          <a:xfrm>
            <a:off x="4076700" y="2829376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aftryk</a:t>
            </a:r>
          </a:p>
        </p:txBody>
      </p:sp>
      <p:sp>
        <p:nvSpPr>
          <p:cNvPr id="33" name="Flowchart: Alternate Process 32">
            <a:extLst>
              <a:ext uri="{FF2B5EF4-FFF2-40B4-BE49-F238E27FC236}">
                <a16:creationId xmlns:a16="http://schemas.microsoft.com/office/drawing/2014/main" id="{65A4AF7B-BC13-47A2-658C-A097AA41C7AE}"/>
              </a:ext>
            </a:extLst>
          </p:cNvPr>
          <p:cNvSpPr/>
          <p:nvPr/>
        </p:nvSpPr>
        <p:spPr>
          <a:xfrm>
            <a:off x="4076700" y="3727258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ergimærkning</a:t>
            </a:r>
            <a:endParaRPr kumimoji="0" lang="da-DK" sz="800" i="0" u="none" strike="noStrike" kern="1200" cap="none" spc="0" normalizeH="0" baseline="0" noProof="0">
              <a:ln>
                <a:noFill/>
              </a:ln>
              <a:solidFill>
                <a:srgbClr val="004C4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Flowchart: Alternate Process 33">
            <a:extLst>
              <a:ext uri="{FF2B5EF4-FFF2-40B4-BE49-F238E27FC236}">
                <a16:creationId xmlns:a16="http://schemas.microsoft.com/office/drawing/2014/main" id="{18592D85-8D52-C158-0D61-4F0E40FE21C3}"/>
              </a:ext>
            </a:extLst>
          </p:cNvPr>
          <p:cNvSpPr/>
          <p:nvPr/>
        </p:nvSpPr>
        <p:spPr>
          <a:xfrm>
            <a:off x="4076700" y="4440513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årbarhed for klimaændringer 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99826505-8433-36C9-50AD-43E36B959965}"/>
              </a:ext>
            </a:extLst>
          </p:cNvPr>
          <p:cNvSpPr/>
          <p:nvPr/>
        </p:nvSpPr>
        <p:spPr>
          <a:xfrm>
            <a:off x="4076700" y="4207067"/>
            <a:ext cx="2473277" cy="216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TILPASNING</a:t>
            </a:r>
          </a:p>
        </p:txBody>
      </p:sp>
      <p:sp>
        <p:nvSpPr>
          <p:cNvPr id="35" name="Flowchart: Alternate Process 34">
            <a:extLst>
              <a:ext uri="{FF2B5EF4-FFF2-40B4-BE49-F238E27FC236}">
                <a16:creationId xmlns:a16="http://schemas.microsoft.com/office/drawing/2014/main" id="{14643FF5-C0F1-F79A-0623-9858A3750EDC}"/>
              </a:ext>
            </a:extLst>
          </p:cNvPr>
          <p:cNvSpPr/>
          <p:nvPr/>
        </p:nvSpPr>
        <p:spPr>
          <a:xfrm>
            <a:off x="4076700" y="5153768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odiversitet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00CEE09C-7717-92A7-AE76-5578C4FFA7BF}"/>
              </a:ext>
            </a:extLst>
          </p:cNvPr>
          <p:cNvSpPr/>
          <p:nvPr/>
        </p:nvSpPr>
        <p:spPr>
          <a:xfrm>
            <a:off x="4076700" y="4920322"/>
            <a:ext cx="2473277" cy="216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ODIVERSITET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96EF0CE6-DDD8-B3A5-078C-44DE0E010821}"/>
              </a:ext>
            </a:extLst>
          </p:cNvPr>
          <p:cNvSpPr/>
          <p:nvPr/>
        </p:nvSpPr>
        <p:spPr>
          <a:xfrm>
            <a:off x="4076700" y="5622287"/>
            <a:ext cx="2473277" cy="216000"/>
          </a:xfrm>
          <a:prstGeom prst="roundRect">
            <a:avLst>
              <a:gd name="adj" fmla="val 20000"/>
            </a:avLst>
          </a:prstGeom>
          <a:solidFill>
            <a:srgbClr val="339C91"/>
          </a:solidFill>
          <a:ln>
            <a:solidFill>
              <a:srgbClr val="339C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IRKULARITET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326E508B-80F1-45B9-0015-86165E0C1EFF}"/>
              </a:ext>
            </a:extLst>
          </p:cNvPr>
          <p:cNvSpPr/>
          <p:nvPr/>
        </p:nvSpPr>
        <p:spPr>
          <a:xfrm>
            <a:off x="6721498" y="2595930"/>
            <a:ext cx="2473277" cy="216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E</a:t>
            </a:r>
          </a:p>
        </p:txBody>
      </p:sp>
      <p:sp>
        <p:nvSpPr>
          <p:cNvPr id="77" name="Flowchart: Alternate Process 76">
            <a:extLst>
              <a:ext uri="{FF2B5EF4-FFF2-40B4-BE49-F238E27FC236}">
                <a16:creationId xmlns:a16="http://schemas.microsoft.com/office/drawing/2014/main" id="{D4EA1571-D65B-F242-61D3-EA22ADF36BA0}"/>
              </a:ext>
            </a:extLst>
          </p:cNvPr>
          <p:cNvSpPr/>
          <p:nvPr/>
        </p:nvSpPr>
        <p:spPr>
          <a:xfrm>
            <a:off x="6721498" y="2831767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 dirty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sammen-sætning</a:t>
            </a:r>
          </a:p>
        </p:txBody>
      </p:sp>
      <p:sp>
        <p:nvSpPr>
          <p:cNvPr id="78" name="Flowchart: Alternate Process 77">
            <a:extLst>
              <a:ext uri="{FF2B5EF4-FFF2-40B4-BE49-F238E27FC236}">
                <a16:creationId xmlns:a16="http://schemas.microsoft.com/office/drawing/2014/main" id="{A963FCD3-5AE4-DE54-5C7D-A7821ABEB74E}"/>
              </a:ext>
            </a:extLst>
          </p:cNvPr>
          <p:cNvSpPr/>
          <p:nvPr/>
        </p:nvSpPr>
        <p:spPr>
          <a:xfrm>
            <a:off x="6721498" y="3200315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trivsel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D68471CE-52FD-E776-CFA5-4FBDFA0AAE3F}"/>
              </a:ext>
            </a:extLst>
          </p:cNvPr>
          <p:cNvSpPr/>
          <p:nvPr/>
        </p:nvSpPr>
        <p:spPr>
          <a:xfrm>
            <a:off x="6721498" y="3602122"/>
            <a:ext cx="2473277" cy="216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OKALOMRÅDE</a:t>
            </a:r>
          </a:p>
        </p:txBody>
      </p:sp>
      <p:sp>
        <p:nvSpPr>
          <p:cNvPr id="95" name="Flowchart: Alternate Process 94">
            <a:extLst>
              <a:ext uri="{FF2B5EF4-FFF2-40B4-BE49-F238E27FC236}">
                <a16:creationId xmlns:a16="http://schemas.microsoft.com/office/drawing/2014/main" id="{E5C45DE2-9DBB-FD42-42CA-4EAD14A4C199}"/>
              </a:ext>
            </a:extLst>
          </p:cNvPr>
          <p:cNvSpPr/>
          <p:nvPr/>
        </p:nvSpPr>
        <p:spPr>
          <a:xfrm>
            <a:off x="6721498" y="4206507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del af almene boliger i området</a:t>
            </a:r>
          </a:p>
        </p:txBody>
      </p:sp>
      <p:sp>
        <p:nvSpPr>
          <p:cNvPr id="96" name="Flowchart: Alternate Process 95">
            <a:extLst>
              <a:ext uri="{FF2B5EF4-FFF2-40B4-BE49-F238E27FC236}">
                <a16:creationId xmlns:a16="http://schemas.microsoft.com/office/drawing/2014/main" id="{36028A7F-7BC5-8568-2CE7-B75BD778767A}"/>
              </a:ext>
            </a:extLst>
          </p:cNvPr>
          <p:cNvSpPr/>
          <p:nvPr/>
        </p:nvSpPr>
        <p:spPr>
          <a:xfrm>
            <a:off x="6721498" y="5581247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ivschancer</a:t>
            </a:r>
            <a:endParaRPr kumimoji="0" lang="da-DK" sz="1200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7ECCF5BD-2A9B-ED75-64B9-610586873086}"/>
              </a:ext>
            </a:extLst>
          </p:cNvPr>
          <p:cNvSpPr/>
          <p:nvPr/>
        </p:nvSpPr>
        <p:spPr>
          <a:xfrm>
            <a:off x="6721498" y="4970838"/>
            <a:ext cx="2473277" cy="216000"/>
          </a:xfrm>
          <a:prstGeom prst="roundRect">
            <a:avLst>
              <a:gd name="adj" fmla="val 2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EBOERE</a:t>
            </a:r>
          </a:p>
        </p:txBody>
      </p:sp>
      <p:sp>
        <p:nvSpPr>
          <p:cNvPr id="99" name="Flowchart: Alternate Process 98">
            <a:extLst>
              <a:ext uri="{FF2B5EF4-FFF2-40B4-BE49-F238E27FC236}">
                <a16:creationId xmlns:a16="http://schemas.microsoft.com/office/drawing/2014/main" id="{CBA8D963-A6C0-D35A-AA19-09885CAB61BF}"/>
              </a:ext>
            </a:extLst>
          </p:cNvPr>
          <p:cNvSpPr/>
          <p:nvPr/>
        </p:nvSpPr>
        <p:spPr>
          <a:xfrm>
            <a:off x="6721498" y="5949800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ivskvalitet og Sundhed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34ADB68F-0C41-AA45-3F30-BEE047533BB6}"/>
              </a:ext>
            </a:extLst>
          </p:cNvPr>
          <p:cNvSpPr/>
          <p:nvPr/>
        </p:nvSpPr>
        <p:spPr>
          <a:xfrm>
            <a:off x="9366297" y="2595930"/>
            <a:ext cx="2473277" cy="216000"/>
          </a:xfrm>
          <a:prstGeom prst="roundRect">
            <a:avLst>
              <a:gd name="adj" fmla="val 2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KTIV DELTAGELSE</a:t>
            </a:r>
          </a:p>
        </p:txBody>
      </p:sp>
      <p:sp>
        <p:nvSpPr>
          <p:cNvPr id="105" name="Flowchart: Alternate Process 104">
            <a:extLst>
              <a:ext uri="{FF2B5EF4-FFF2-40B4-BE49-F238E27FC236}">
                <a16:creationId xmlns:a16="http://schemas.microsoft.com/office/drawing/2014/main" id="{A0E2FCAA-2B18-FA7D-9F50-93595F87B3B6}"/>
              </a:ext>
            </a:extLst>
          </p:cNvPr>
          <p:cNvSpPr/>
          <p:nvPr/>
        </p:nvSpPr>
        <p:spPr>
          <a:xfrm>
            <a:off x="9366297" y="3323297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rivillighed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FF58BA9C-FAEE-BF36-4881-A808A3FE0BB9}"/>
              </a:ext>
            </a:extLst>
          </p:cNvPr>
          <p:cNvSpPr/>
          <p:nvPr/>
        </p:nvSpPr>
        <p:spPr>
          <a:xfrm>
            <a:off x="9366297" y="3859375"/>
            <a:ext cx="2473277" cy="216000"/>
          </a:xfrm>
          <a:prstGeom prst="roundRect">
            <a:avLst>
              <a:gd name="adj" fmla="val 2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TYRING</a:t>
            </a:r>
          </a:p>
        </p:txBody>
      </p:sp>
      <p:sp>
        <p:nvSpPr>
          <p:cNvPr id="109" name="Flowchart: Alternate Process 108">
            <a:extLst>
              <a:ext uri="{FF2B5EF4-FFF2-40B4-BE49-F238E27FC236}">
                <a16:creationId xmlns:a16="http://schemas.microsoft.com/office/drawing/2014/main" id="{ECCAFC80-CF36-09CE-CDB4-183B895066BA}"/>
              </a:ext>
            </a:extLst>
          </p:cNvPr>
          <p:cNvSpPr/>
          <p:nvPr/>
        </p:nvSpPr>
        <p:spPr>
          <a:xfrm>
            <a:off x="9366297" y="4084320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Økonomistyring</a:t>
            </a: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4BD36DCE-0707-65AB-31E6-208748255B5A}"/>
              </a:ext>
            </a:extLst>
          </p:cNvPr>
          <p:cNvSpPr/>
          <p:nvPr/>
        </p:nvSpPr>
        <p:spPr>
          <a:xfrm>
            <a:off x="9366297" y="5100242"/>
            <a:ext cx="2473277" cy="216000"/>
          </a:xfrm>
          <a:prstGeom prst="roundRect">
            <a:avLst>
              <a:gd name="adj" fmla="val 2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SVARLIGHED</a:t>
            </a:r>
          </a:p>
        </p:txBody>
      </p:sp>
      <p:sp>
        <p:nvSpPr>
          <p:cNvPr id="113" name="Flowchart: Alternate Process 112">
            <a:extLst>
              <a:ext uri="{FF2B5EF4-FFF2-40B4-BE49-F238E27FC236}">
                <a16:creationId xmlns:a16="http://schemas.microsoft.com/office/drawing/2014/main" id="{3ADCA112-47E0-F8CB-EDA4-2AF860025545}"/>
              </a:ext>
            </a:extLst>
          </p:cNvPr>
          <p:cNvSpPr/>
          <p:nvPr/>
        </p:nvSpPr>
        <p:spPr>
          <a:xfrm>
            <a:off x="9366297" y="5336476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Politikker og praksis</a:t>
            </a:r>
          </a:p>
        </p:txBody>
      </p:sp>
      <p:sp>
        <p:nvSpPr>
          <p:cNvPr id="94" name="Flowchart: Alternate Process 93">
            <a:extLst>
              <a:ext uri="{FF2B5EF4-FFF2-40B4-BE49-F238E27FC236}">
                <a16:creationId xmlns:a16="http://schemas.microsoft.com/office/drawing/2014/main" id="{43250670-E463-AE7F-9531-EC2C46F29266}"/>
              </a:ext>
            </a:extLst>
          </p:cNvPr>
          <p:cNvSpPr/>
          <p:nvPr/>
        </p:nvSpPr>
        <p:spPr>
          <a:xfrm>
            <a:off x="6721498" y="3837959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lmenboligers betalbarhed</a:t>
            </a:r>
          </a:p>
        </p:txBody>
      </p:sp>
      <p:sp>
        <p:nvSpPr>
          <p:cNvPr id="4" name="Flowchart: Alternate Process 3">
            <a:extLst>
              <a:ext uri="{FF2B5EF4-FFF2-40B4-BE49-F238E27FC236}">
                <a16:creationId xmlns:a16="http://schemas.microsoft.com/office/drawing/2014/main" id="{10D502F5-62F0-40CD-9814-58E2D7BBCBBC}"/>
              </a:ext>
            </a:extLst>
          </p:cNvPr>
          <p:cNvSpPr/>
          <p:nvPr/>
        </p:nvSpPr>
        <p:spPr>
          <a:xfrm>
            <a:off x="6721498" y="4575055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0" bIns="45720" rtlCol="0" anchor="ctr"/>
          <a:lstStyle/>
          <a:p>
            <a:pPr marL="287655" algn="ctr" defTabSz="914309">
              <a:defRPr/>
            </a:pPr>
            <a:r>
              <a:rPr lang="da-DK" sz="1000">
                <a:solidFill>
                  <a:srgbClr val="EF3E50"/>
                </a:solidFill>
                <a:latin typeface="Verdana"/>
                <a:ea typeface="Verdana"/>
              </a:rPr>
              <a:t>Funktioner i området</a:t>
            </a:r>
            <a:endParaRPr lang="da-DK" sz="1000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Flowchart: Alternate Process 11">
            <a:extLst>
              <a:ext uri="{FF2B5EF4-FFF2-40B4-BE49-F238E27FC236}">
                <a16:creationId xmlns:a16="http://schemas.microsoft.com/office/drawing/2014/main" id="{2270510E-DC78-512E-2C56-7945DFA4FAF4}"/>
              </a:ext>
            </a:extLst>
          </p:cNvPr>
          <p:cNvSpPr/>
          <p:nvPr/>
        </p:nvSpPr>
        <p:spPr>
          <a:xfrm>
            <a:off x="9366297" y="5827613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ociale klausuler</a:t>
            </a:r>
          </a:p>
        </p:txBody>
      </p:sp>
      <p:sp>
        <p:nvSpPr>
          <p:cNvPr id="5" name="Flowchart: Alternate Process 4">
            <a:extLst>
              <a:ext uri="{FF2B5EF4-FFF2-40B4-BE49-F238E27FC236}">
                <a16:creationId xmlns:a16="http://schemas.microsoft.com/office/drawing/2014/main" id="{916DA46B-70FD-BA3E-52C5-AFA1D1B1C5FB}"/>
              </a:ext>
            </a:extLst>
          </p:cNvPr>
          <p:cNvSpPr/>
          <p:nvPr/>
        </p:nvSpPr>
        <p:spPr>
          <a:xfrm>
            <a:off x="6721498" y="5208253"/>
            <a:ext cx="2473277" cy="324000"/>
          </a:xfrm>
          <a:prstGeom prst="flowChartAlternate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okalt fællesskab</a:t>
            </a:r>
            <a:endParaRPr kumimoji="0" lang="da-DK" sz="800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Flowchart: Alternate Process 109">
            <a:extLst>
              <a:ext uri="{FF2B5EF4-FFF2-40B4-BE49-F238E27FC236}">
                <a16:creationId xmlns:a16="http://schemas.microsoft.com/office/drawing/2014/main" id="{042A3B00-9F5C-D681-4706-D61F5F0D1535}"/>
              </a:ext>
            </a:extLst>
          </p:cNvPr>
          <p:cNvSpPr/>
          <p:nvPr/>
        </p:nvSpPr>
        <p:spPr>
          <a:xfrm>
            <a:off x="9366297" y="4575453"/>
            <a:ext cx="2473277" cy="446188"/>
          </a:xfrm>
          <a:prstGeom prst="flowChartAlternateProcess">
            <a:avLst/>
          </a:prstGeom>
          <a:solidFill>
            <a:schemeClr val="accent5"/>
          </a:solidFill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verholdelse af regulering</a:t>
            </a:r>
          </a:p>
        </p:txBody>
      </p:sp>
      <p:sp>
        <p:nvSpPr>
          <p:cNvPr id="2" name="Flowchart: Alternate Process 34">
            <a:extLst>
              <a:ext uri="{FF2B5EF4-FFF2-40B4-BE49-F238E27FC236}">
                <a16:creationId xmlns:a16="http://schemas.microsoft.com/office/drawing/2014/main" id="{FE224FF6-5C2B-1312-A2C0-F8C01DA92F6C}"/>
              </a:ext>
            </a:extLst>
          </p:cNvPr>
          <p:cNvSpPr/>
          <p:nvPr/>
        </p:nvSpPr>
        <p:spPr>
          <a:xfrm>
            <a:off x="4076700" y="5867017"/>
            <a:ext cx="2473277" cy="406784"/>
          </a:xfrm>
          <a:prstGeom prst="flowChartAlternateProcess">
            <a:avLst/>
          </a:prstGeom>
          <a:solidFill>
            <a:srgbClr val="B5CEBD"/>
          </a:solidFill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ffald</a:t>
            </a:r>
          </a:p>
        </p:txBody>
      </p:sp>
      <p:grpSp>
        <p:nvGrpSpPr>
          <p:cNvPr id="9" name="Group 330">
            <a:extLst>
              <a:ext uri="{FF2B5EF4-FFF2-40B4-BE49-F238E27FC236}">
                <a16:creationId xmlns:a16="http://schemas.microsoft.com/office/drawing/2014/main" id="{5085CBFB-5394-F042-2416-7D399F52EDC1}"/>
              </a:ext>
            </a:extLst>
          </p:cNvPr>
          <p:cNvGrpSpPr/>
          <p:nvPr/>
        </p:nvGrpSpPr>
        <p:grpSpPr>
          <a:xfrm>
            <a:off x="4076700" y="1593684"/>
            <a:ext cx="958810" cy="966280"/>
            <a:chOff x="4156082" y="-3024236"/>
            <a:chExt cx="2183420" cy="2200431"/>
          </a:xfrm>
        </p:grpSpPr>
        <p:sp>
          <p:nvSpPr>
            <p:cNvPr id="17" name="Freeform: Shape 328">
              <a:extLst>
                <a:ext uri="{FF2B5EF4-FFF2-40B4-BE49-F238E27FC236}">
                  <a16:creationId xmlns:a16="http://schemas.microsoft.com/office/drawing/2014/main" id="{D74925BC-D806-6DC3-2949-E14DFBE54D5C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4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22" name="Freeform: Shape 329">
              <a:extLst>
                <a:ext uri="{FF2B5EF4-FFF2-40B4-BE49-F238E27FC236}">
                  <a16:creationId xmlns:a16="http://schemas.microsoft.com/office/drawing/2014/main" id="{DBB64142-13BC-55F4-95A8-AAF3F340BB74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6" name="Group 331">
            <a:extLst>
              <a:ext uri="{FF2B5EF4-FFF2-40B4-BE49-F238E27FC236}">
                <a16:creationId xmlns:a16="http://schemas.microsoft.com/office/drawing/2014/main" id="{E2747BDF-9C85-CFEF-EEA0-05CEDA578DE0}"/>
              </a:ext>
            </a:extLst>
          </p:cNvPr>
          <p:cNvGrpSpPr/>
          <p:nvPr/>
        </p:nvGrpSpPr>
        <p:grpSpPr>
          <a:xfrm>
            <a:off x="6721498" y="1593684"/>
            <a:ext cx="962976" cy="963400"/>
            <a:chOff x="3092692" y="-1631033"/>
            <a:chExt cx="2192906" cy="2193874"/>
          </a:xfrm>
        </p:grpSpPr>
        <p:sp>
          <p:nvSpPr>
            <p:cNvPr id="27" name="Freeform: Shape 326">
              <a:extLst>
                <a:ext uri="{FF2B5EF4-FFF2-40B4-BE49-F238E27FC236}">
                  <a16:creationId xmlns:a16="http://schemas.microsoft.com/office/drawing/2014/main" id="{3C46E6CC-53BF-F96F-4770-8B607CD3D46E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" name="Freeform: Shape 327">
              <a:extLst>
                <a:ext uri="{FF2B5EF4-FFF2-40B4-BE49-F238E27FC236}">
                  <a16:creationId xmlns:a16="http://schemas.microsoft.com/office/drawing/2014/main" id="{EC06BEF3-4FCE-1B45-B8AB-A9B4248963DD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  <p:grpSp>
        <p:nvGrpSpPr>
          <p:cNvPr id="29" name="Group 332">
            <a:extLst>
              <a:ext uri="{FF2B5EF4-FFF2-40B4-BE49-F238E27FC236}">
                <a16:creationId xmlns:a16="http://schemas.microsoft.com/office/drawing/2014/main" id="{3BC33D9C-8DF5-C642-98D6-8433FD176983}"/>
              </a:ext>
            </a:extLst>
          </p:cNvPr>
          <p:cNvGrpSpPr/>
          <p:nvPr/>
        </p:nvGrpSpPr>
        <p:grpSpPr>
          <a:xfrm rot="21410080">
            <a:off x="9374513" y="1603171"/>
            <a:ext cx="905270" cy="898990"/>
            <a:chOff x="8336051" y="3610471"/>
            <a:chExt cx="2227633" cy="2212181"/>
          </a:xfrm>
        </p:grpSpPr>
        <p:sp>
          <p:nvSpPr>
            <p:cNvPr id="36" name="Freeform: Shape 333">
              <a:extLst>
                <a:ext uri="{FF2B5EF4-FFF2-40B4-BE49-F238E27FC236}">
                  <a16:creationId xmlns:a16="http://schemas.microsoft.com/office/drawing/2014/main" id="{D5924AE8-AA80-C6BF-618D-019C9ACC896D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38" name="Freeform: Shape 334">
              <a:extLst>
                <a:ext uri="{FF2B5EF4-FFF2-40B4-BE49-F238E27FC236}">
                  <a16:creationId xmlns:a16="http://schemas.microsoft.com/office/drawing/2014/main" id="{031205D3-37D4-96C4-A0B5-CB416EEE1B87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54C5CA5-53ED-A9B4-C353-887AE969E44F}"/>
              </a:ext>
            </a:extLst>
          </p:cNvPr>
          <p:cNvGrpSpPr/>
          <p:nvPr/>
        </p:nvGrpSpPr>
        <p:grpSpPr>
          <a:xfrm>
            <a:off x="-3882" y="1781728"/>
            <a:ext cx="3904843" cy="4531641"/>
            <a:chOff x="-413321" y="1687355"/>
            <a:chExt cx="3962699" cy="4598785"/>
          </a:xfrm>
        </p:grpSpPr>
        <p:sp>
          <p:nvSpPr>
            <p:cNvPr id="39" name="Freeform: Shape 436">
              <a:extLst>
                <a:ext uri="{FF2B5EF4-FFF2-40B4-BE49-F238E27FC236}">
                  <a16:creationId xmlns:a16="http://schemas.microsoft.com/office/drawing/2014/main" id="{5C7281B2-1BDC-F2DD-62F3-2BB42D718648}"/>
                </a:ext>
              </a:extLst>
            </p:cNvPr>
            <p:cNvSpPr/>
            <p:nvPr/>
          </p:nvSpPr>
          <p:spPr>
            <a:xfrm>
              <a:off x="-413321" y="1837113"/>
              <a:ext cx="3962699" cy="2592595"/>
            </a:xfrm>
            <a:custGeom>
              <a:avLst/>
              <a:gdLst>
                <a:gd name="connsiteX0" fmla="*/ 0 w 5278343"/>
                <a:gd name="connsiteY0" fmla="*/ 0 h 2746919"/>
                <a:gd name="connsiteX1" fmla="*/ 4465467 w 5278343"/>
                <a:gd name="connsiteY1" fmla="*/ 0 h 2746919"/>
                <a:gd name="connsiteX2" fmla="*/ 5278343 w 5278343"/>
                <a:gd name="connsiteY2" fmla="*/ 2341564 h 2746919"/>
                <a:gd name="connsiteX3" fmla="*/ 5137624 w 5278343"/>
                <a:gd name="connsiteY3" fmla="*/ 2746919 h 2746919"/>
                <a:gd name="connsiteX4" fmla="*/ 0 w 5278343"/>
                <a:gd name="connsiteY4" fmla="*/ 2746919 h 274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78343" h="2746919">
                  <a:moveTo>
                    <a:pt x="0" y="0"/>
                  </a:moveTo>
                  <a:lnTo>
                    <a:pt x="4465467" y="0"/>
                  </a:lnTo>
                  <a:lnTo>
                    <a:pt x="5278343" y="2341564"/>
                  </a:lnTo>
                  <a:lnTo>
                    <a:pt x="5137624" y="2746919"/>
                  </a:lnTo>
                  <a:lnTo>
                    <a:pt x="0" y="2746919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0" name="Freeform: Shape 438">
              <a:extLst>
                <a:ext uri="{FF2B5EF4-FFF2-40B4-BE49-F238E27FC236}">
                  <a16:creationId xmlns:a16="http://schemas.microsoft.com/office/drawing/2014/main" id="{2172FC4C-8A83-374A-28E4-8AA21DEEB36F}"/>
                </a:ext>
              </a:extLst>
            </p:cNvPr>
            <p:cNvSpPr/>
            <p:nvPr/>
          </p:nvSpPr>
          <p:spPr>
            <a:xfrm>
              <a:off x="-409381" y="4421729"/>
              <a:ext cx="3845592" cy="1864411"/>
            </a:xfrm>
            <a:custGeom>
              <a:avLst/>
              <a:gdLst>
                <a:gd name="connsiteX0" fmla="*/ 0 w 5089667"/>
                <a:gd name="connsiteY0" fmla="*/ 0 h 1809038"/>
                <a:gd name="connsiteX1" fmla="*/ 5089667 w 5089667"/>
                <a:gd name="connsiteY1" fmla="*/ 0 h 1809038"/>
                <a:gd name="connsiteX2" fmla="*/ 4461657 w 5089667"/>
                <a:gd name="connsiteY2" fmla="*/ 1809038 h 1809038"/>
                <a:gd name="connsiteX3" fmla="*/ 0 w 5089667"/>
                <a:gd name="connsiteY3" fmla="*/ 1809038 h 1809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9667" h="1809038">
                  <a:moveTo>
                    <a:pt x="0" y="0"/>
                  </a:moveTo>
                  <a:lnTo>
                    <a:pt x="5089667" y="0"/>
                  </a:lnTo>
                  <a:lnTo>
                    <a:pt x="4461657" y="1809038"/>
                  </a:lnTo>
                  <a:lnTo>
                    <a:pt x="0" y="18090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spcAft>
                  <a:spcPts val="300"/>
                </a:spcAft>
              </a:pPr>
              <a:endParaRPr lang="da-DK" sz="12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3" name="TextBox 35">
              <a:extLst>
                <a:ext uri="{FF2B5EF4-FFF2-40B4-BE49-F238E27FC236}">
                  <a16:creationId xmlns:a16="http://schemas.microsoft.com/office/drawing/2014/main" id="{A3396AC8-3EE7-E180-8EFB-8F23ED1BAE03}"/>
                </a:ext>
              </a:extLst>
            </p:cNvPr>
            <p:cNvSpPr txBox="1"/>
            <p:nvPr/>
          </p:nvSpPr>
          <p:spPr>
            <a:xfrm>
              <a:off x="-79966" y="3930517"/>
              <a:ext cx="3262721" cy="56220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230400" indent="-230400">
                <a:buClr>
                  <a:schemeClr val="tx1"/>
                </a:buClr>
                <a:buFont typeface="Wingdings" panose="05000000000000000000" pitchFamily="2" charset="2"/>
                <a:buChar char="ü"/>
              </a:pPr>
              <a:r>
                <a:rPr lang="da-DK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Dækker de mest relevante ESG-områder ud fra dobbeltvæsentlighed, lovkrav og andre initiativer</a:t>
              </a:r>
            </a:p>
          </p:txBody>
        </p:sp>
        <p:sp>
          <p:nvSpPr>
            <p:cNvPr id="44" name="TextBox 37">
              <a:extLst>
                <a:ext uri="{FF2B5EF4-FFF2-40B4-BE49-F238E27FC236}">
                  <a16:creationId xmlns:a16="http://schemas.microsoft.com/office/drawing/2014/main" id="{1EA52345-4FD6-F669-506A-CCC458FE7BA4}"/>
                </a:ext>
              </a:extLst>
            </p:cNvPr>
            <p:cNvSpPr txBox="1"/>
            <p:nvPr/>
          </p:nvSpPr>
          <p:spPr>
            <a:xfrm>
              <a:off x="-79966" y="5494198"/>
              <a:ext cx="2872205" cy="37480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230400" indent="-230400">
                <a:buClr>
                  <a:schemeClr val="tx1"/>
                </a:buClr>
                <a:buFont typeface="Wingdings" panose="05000000000000000000" pitchFamily="2" charset="2"/>
                <a:buChar char="ü"/>
              </a:pPr>
              <a:r>
                <a:rPr lang="da-DK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Data kan indsamles og omsættes til handling</a:t>
              </a:r>
            </a:p>
          </p:txBody>
        </p:sp>
        <p:sp>
          <p:nvSpPr>
            <p:cNvPr id="45" name="TextBox 38">
              <a:extLst>
                <a:ext uri="{FF2B5EF4-FFF2-40B4-BE49-F238E27FC236}">
                  <a16:creationId xmlns:a16="http://schemas.microsoft.com/office/drawing/2014/main" id="{53BD4F5E-63A0-E24A-3580-609BF1E4D2FC}"/>
                </a:ext>
              </a:extLst>
            </p:cNvPr>
            <p:cNvSpPr txBox="1"/>
            <p:nvPr/>
          </p:nvSpPr>
          <p:spPr>
            <a:xfrm>
              <a:off x="-79966" y="4712358"/>
              <a:ext cx="2983120" cy="56220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230400" indent="-230400">
                <a:buClr>
                  <a:schemeClr val="tx1"/>
                </a:buClr>
                <a:buFont typeface="Wingdings" panose="05000000000000000000" pitchFamily="2" charset="2"/>
                <a:buChar char="ü"/>
              </a:pPr>
              <a:r>
                <a:rPr lang="da-DK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Opleves værdiskabende af boligorganisationer og/eller interessenter</a:t>
              </a:r>
            </a:p>
          </p:txBody>
        </p:sp>
        <p:sp>
          <p:nvSpPr>
            <p:cNvPr id="52" name="Freeform: Shape 120">
              <a:extLst>
                <a:ext uri="{FF2B5EF4-FFF2-40B4-BE49-F238E27FC236}">
                  <a16:creationId xmlns:a16="http://schemas.microsoft.com/office/drawing/2014/main" id="{37593E83-0BE6-C162-33DD-87BE6E8C3DB8}"/>
                </a:ext>
              </a:extLst>
            </p:cNvPr>
            <p:cNvSpPr/>
            <p:nvPr/>
          </p:nvSpPr>
          <p:spPr>
            <a:xfrm rot="10800000">
              <a:off x="-2260" y="1687355"/>
              <a:ext cx="3381034" cy="129823"/>
            </a:xfrm>
            <a:custGeom>
              <a:avLst/>
              <a:gdLst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964642 w 11867103"/>
                <a:gd name="connsiteY6" fmla="*/ 70339 h 2964609"/>
                <a:gd name="connsiteX7" fmla="*/ 994787 w 11867103"/>
                <a:gd name="connsiteY7" fmla="*/ 80387 h 2964609"/>
                <a:gd name="connsiteX8" fmla="*/ 1356528 w 11867103"/>
                <a:gd name="connsiteY8" fmla="*/ 80387 h 2964609"/>
                <a:gd name="connsiteX9" fmla="*/ 1758462 w 11867103"/>
                <a:gd name="connsiteY9" fmla="*/ 40193 h 2964609"/>
                <a:gd name="connsiteX10" fmla="*/ 1889090 w 11867103"/>
                <a:gd name="connsiteY10" fmla="*/ 20097 h 2964609"/>
                <a:gd name="connsiteX11" fmla="*/ 2140299 w 11867103"/>
                <a:gd name="connsiteY11" fmla="*/ 40193 h 2964609"/>
                <a:gd name="connsiteX12" fmla="*/ 2200589 w 11867103"/>
                <a:gd name="connsiteY12" fmla="*/ 50242 h 2964609"/>
                <a:gd name="connsiteX13" fmla="*/ 4652387 w 11867103"/>
                <a:gd name="connsiteY13" fmla="*/ 60290 h 2964609"/>
                <a:gd name="connsiteX14" fmla="*/ 4692580 w 11867103"/>
                <a:gd name="connsiteY14" fmla="*/ 70339 h 2964609"/>
                <a:gd name="connsiteX15" fmla="*/ 4843306 w 11867103"/>
                <a:gd name="connsiteY15" fmla="*/ 90435 h 2964609"/>
                <a:gd name="connsiteX16" fmla="*/ 5677319 w 11867103"/>
                <a:gd name="connsiteY16" fmla="*/ 80387 h 2964609"/>
                <a:gd name="connsiteX17" fmla="*/ 6169688 w 11867103"/>
                <a:gd name="connsiteY17" fmla="*/ 110532 h 2964609"/>
                <a:gd name="connsiteX18" fmla="*/ 6420897 w 11867103"/>
                <a:gd name="connsiteY18" fmla="*/ 90435 h 2964609"/>
                <a:gd name="connsiteX19" fmla="*/ 6511332 w 11867103"/>
                <a:gd name="connsiteY19" fmla="*/ 30145 h 2964609"/>
                <a:gd name="connsiteX20" fmla="*/ 6571622 w 11867103"/>
                <a:gd name="connsiteY20" fmla="*/ 20097 h 2964609"/>
                <a:gd name="connsiteX21" fmla="*/ 6641961 w 11867103"/>
                <a:gd name="connsiteY21" fmla="*/ 0 h 2964609"/>
                <a:gd name="connsiteX22" fmla="*/ 7204668 w 11867103"/>
                <a:gd name="connsiteY22" fmla="*/ 10048 h 2964609"/>
                <a:gd name="connsiteX23" fmla="*/ 7285055 w 11867103"/>
                <a:gd name="connsiteY23" fmla="*/ 30145 h 2964609"/>
                <a:gd name="connsiteX24" fmla="*/ 7375490 w 11867103"/>
                <a:gd name="connsiteY24" fmla="*/ 40193 h 2964609"/>
                <a:gd name="connsiteX25" fmla="*/ 7928150 w 11867103"/>
                <a:gd name="connsiteY25" fmla="*/ 60290 h 2964609"/>
                <a:gd name="connsiteX26" fmla="*/ 8109020 w 11867103"/>
                <a:gd name="connsiteY26" fmla="*/ 80387 h 2964609"/>
                <a:gd name="connsiteX27" fmla="*/ 8219552 w 11867103"/>
                <a:gd name="connsiteY27" fmla="*/ 90435 h 2964609"/>
                <a:gd name="connsiteX28" fmla="*/ 8299939 w 11867103"/>
                <a:gd name="connsiteY28" fmla="*/ 100484 h 2964609"/>
                <a:gd name="connsiteX29" fmla="*/ 8521002 w 11867103"/>
                <a:gd name="connsiteY29" fmla="*/ 110532 h 2964609"/>
                <a:gd name="connsiteX30" fmla="*/ 9515789 w 11867103"/>
                <a:gd name="connsiteY30" fmla="*/ 100484 h 2964609"/>
                <a:gd name="connsiteX31" fmla="*/ 9606224 w 11867103"/>
                <a:gd name="connsiteY31" fmla="*/ 90435 h 2964609"/>
                <a:gd name="connsiteX32" fmla="*/ 9716756 w 11867103"/>
                <a:gd name="connsiteY32" fmla="*/ 80387 h 2964609"/>
                <a:gd name="connsiteX33" fmla="*/ 9797143 w 11867103"/>
                <a:gd name="connsiteY33" fmla="*/ 70339 h 2964609"/>
                <a:gd name="connsiteX34" fmla="*/ 9947868 w 11867103"/>
                <a:gd name="connsiteY34" fmla="*/ 60290 h 2964609"/>
                <a:gd name="connsiteX35" fmla="*/ 10791930 w 11867103"/>
                <a:gd name="connsiteY35" fmla="*/ 30145 h 2964609"/>
                <a:gd name="connsiteX36" fmla="*/ 11736475 w 11867103"/>
                <a:gd name="connsiteY36" fmla="*/ 50242 h 2964609"/>
                <a:gd name="connsiteX37" fmla="*/ 11766620 w 11867103"/>
                <a:gd name="connsiteY37" fmla="*/ 80387 h 2964609"/>
                <a:gd name="connsiteX38" fmla="*/ 11786717 w 11867103"/>
                <a:gd name="connsiteY38" fmla="*/ 120580 h 2964609"/>
                <a:gd name="connsiteX39" fmla="*/ 11806813 w 11867103"/>
                <a:gd name="connsiteY39" fmla="*/ 211015 h 2964609"/>
                <a:gd name="connsiteX40" fmla="*/ 11816862 w 11867103"/>
                <a:gd name="connsiteY40" fmla="*/ 251209 h 2964609"/>
                <a:gd name="connsiteX41" fmla="*/ 11826910 w 11867103"/>
                <a:gd name="connsiteY41" fmla="*/ 341644 h 2964609"/>
                <a:gd name="connsiteX42" fmla="*/ 11836958 w 11867103"/>
                <a:gd name="connsiteY42" fmla="*/ 422031 h 2964609"/>
                <a:gd name="connsiteX43" fmla="*/ 11826910 w 11867103"/>
                <a:gd name="connsiteY43" fmla="*/ 733530 h 2964609"/>
                <a:gd name="connsiteX44" fmla="*/ 11816862 w 11867103"/>
                <a:gd name="connsiteY44" fmla="*/ 793820 h 2964609"/>
                <a:gd name="connsiteX45" fmla="*/ 11806813 w 11867103"/>
                <a:gd name="connsiteY45" fmla="*/ 864158 h 2964609"/>
                <a:gd name="connsiteX46" fmla="*/ 11816862 w 11867103"/>
                <a:gd name="connsiteY46" fmla="*/ 2331218 h 2964609"/>
                <a:gd name="connsiteX47" fmla="*/ 11826910 w 11867103"/>
                <a:gd name="connsiteY47" fmla="*/ 2401556 h 2964609"/>
                <a:gd name="connsiteX48" fmla="*/ 11836958 w 11867103"/>
                <a:gd name="connsiteY48" fmla="*/ 2431701 h 2964609"/>
                <a:gd name="connsiteX49" fmla="*/ 11857055 w 11867103"/>
                <a:gd name="connsiteY49" fmla="*/ 2562330 h 2964609"/>
                <a:gd name="connsiteX50" fmla="*/ 11867103 w 11867103"/>
                <a:gd name="connsiteY50" fmla="*/ 2602523 h 2964609"/>
                <a:gd name="connsiteX51" fmla="*/ 11857055 w 11867103"/>
                <a:gd name="connsiteY51" fmla="*/ 2833635 h 2964609"/>
                <a:gd name="connsiteX52" fmla="*/ 11836958 w 11867103"/>
                <a:gd name="connsiteY52" fmla="*/ 2863780 h 2964609"/>
                <a:gd name="connsiteX53" fmla="*/ 11033090 w 11867103"/>
                <a:gd name="connsiteY53" fmla="*/ 2853732 h 2964609"/>
                <a:gd name="connsiteX54" fmla="*/ 10621108 w 11867103"/>
                <a:gd name="connsiteY54" fmla="*/ 2843684 h 2964609"/>
                <a:gd name="connsiteX55" fmla="*/ 10128739 w 11867103"/>
                <a:gd name="connsiteY55" fmla="*/ 2853732 h 2964609"/>
                <a:gd name="connsiteX56" fmla="*/ 10048352 w 11867103"/>
                <a:gd name="connsiteY56" fmla="*/ 2863780 h 2964609"/>
                <a:gd name="connsiteX57" fmla="*/ 9555982 w 11867103"/>
                <a:gd name="connsiteY57" fmla="*/ 2853732 h 2964609"/>
                <a:gd name="connsiteX58" fmla="*/ 9445451 w 11867103"/>
                <a:gd name="connsiteY58" fmla="*/ 2843684 h 2964609"/>
                <a:gd name="connsiteX59" fmla="*/ 9415306 w 11867103"/>
                <a:gd name="connsiteY59" fmla="*/ 2823587 h 2964609"/>
                <a:gd name="connsiteX60" fmla="*/ 9204290 w 11867103"/>
                <a:gd name="connsiteY60" fmla="*/ 2803490 h 2964609"/>
                <a:gd name="connsiteX61" fmla="*/ 9073662 w 11867103"/>
                <a:gd name="connsiteY61" fmla="*/ 2783393 h 2964609"/>
                <a:gd name="connsiteX62" fmla="*/ 8812404 w 11867103"/>
                <a:gd name="connsiteY62" fmla="*/ 2773345 h 2964609"/>
                <a:gd name="connsiteX63" fmla="*/ 8400422 w 11867103"/>
                <a:gd name="connsiteY63" fmla="*/ 2763297 h 2964609"/>
                <a:gd name="connsiteX64" fmla="*/ 8269793 w 11867103"/>
                <a:gd name="connsiteY64" fmla="*/ 2753248 h 2964609"/>
                <a:gd name="connsiteX65" fmla="*/ 7797521 w 11867103"/>
                <a:gd name="connsiteY65" fmla="*/ 2773345 h 2964609"/>
                <a:gd name="connsiteX66" fmla="*/ 7717134 w 11867103"/>
                <a:gd name="connsiteY66" fmla="*/ 2783393 h 2964609"/>
                <a:gd name="connsiteX67" fmla="*/ 7486022 w 11867103"/>
                <a:gd name="connsiteY67" fmla="*/ 2813539 h 2964609"/>
                <a:gd name="connsiteX68" fmla="*/ 7395587 w 11867103"/>
                <a:gd name="connsiteY68" fmla="*/ 2833635 h 2964609"/>
                <a:gd name="connsiteX69" fmla="*/ 7325248 w 11867103"/>
                <a:gd name="connsiteY69" fmla="*/ 2843684 h 2964609"/>
                <a:gd name="connsiteX70" fmla="*/ 6863024 w 11867103"/>
                <a:gd name="connsiteY70" fmla="*/ 2833635 h 2964609"/>
                <a:gd name="connsiteX71" fmla="*/ 6722347 w 11867103"/>
                <a:gd name="connsiteY71" fmla="*/ 2823587 h 2964609"/>
                <a:gd name="connsiteX72" fmla="*/ 4903596 w 11867103"/>
                <a:gd name="connsiteY72" fmla="*/ 2873829 h 2964609"/>
                <a:gd name="connsiteX73" fmla="*/ 4722725 w 11867103"/>
                <a:gd name="connsiteY73" fmla="*/ 2914022 h 2964609"/>
                <a:gd name="connsiteX74" fmla="*/ 4300695 w 11867103"/>
                <a:gd name="connsiteY74" fmla="*/ 2893925 h 2964609"/>
                <a:gd name="connsiteX75" fmla="*/ 4059534 w 11867103"/>
                <a:gd name="connsiteY75" fmla="*/ 2853732 h 2964609"/>
                <a:gd name="connsiteX76" fmla="*/ 3768132 w 11867103"/>
                <a:gd name="connsiteY76" fmla="*/ 2823587 h 2964609"/>
                <a:gd name="connsiteX77" fmla="*/ 3627455 w 11867103"/>
                <a:gd name="connsiteY77" fmla="*/ 2813539 h 2964609"/>
                <a:gd name="connsiteX78" fmla="*/ 3125037 w 11867103"/>
                <a:gd name="connsiteY78" fmla="*/ 2823587 h 2964609"/>
                <a:gd name="connsiteX79" fmla="*/ 3064747 w 11867103"/>
                <a:gd name="connsiteY79" fmla="*/ 2833635 h 2964609"/>
                <a:gd name="connsiteX80" fmla="*/ 2009670 w 11867103"/>
                <a:gd name="connsiteY80" fmla="*/ 2843684 h 2964609"/>
                <a:gd name="connsiteX81" fmla="*/ 1678075 w 11867103"/>
                <a:gd name="connsiteY81" fmla="*/ 2934119 h 2964609"/>
                <a:gd name="connsiteX82" fmla="*/ 1607736 w 11867103"/>
                <a:gd name="connsiteY82" fmla="*/ 2964264 h 2964609"/>
                <a:gd name="connsiteX83" fmla="*/ 1135464 w 11867103"/>
                <a:gd name="connsiteY83" fmla="*/ 2944167 h 2964609"/>
                <a:gd name="connsiteX84" fmla="*/ 944545 w 11867103"/>
                <a:gd name="connsiteY84" fmla="*/ 2914022 h 2964609"/>
                <a:gd name="connsiteX85" fmla="*/ 723481 w 11867103"/>
                <a:gd name="connsiteY85" fmla="*/ 2873829 h 2964609"/>
                <a:gd name="connsiteX86" fmla="*/ 643095 w 11867103"/>
                <a:gd name="connsiteY86" fmla="*/ 2863780 h 2964609"/>
                <a:gd name="connsiteX87" fmla="*/ 371789 w 11867103"/>
                <a:gd name="connsiteY87" fmla="*/ 2823587 h 2964609"/>
                <a:gd name="connsiteX88" fmla="*/ 0 w 11867103"/>
                <a:gd name="connsiteY88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964642 w 11867103"/>
                <a:gd name="connsiteY6" fmla="*/ 70339 h 2964609"/>
                <a:gd name="connsiteX7" fmla="*/ 1356528 w 11867103"/>
                <a:gd name="connsiteY7" fmla="*/ 80387 h 2964609"/>
                <a:gd name="connsiteX8" fmla="*/ 1758462 w 11867103"/>
                <a:gd name="connsiteY8" fmla="*/ 40193 h 2964609"/>
                <a:gd name="connsiteX9" fmla="*/ 1889090 w 11867103"/>
                <a:gd name="connsiteY9" fmla="*/ 20097 h 2964609"/>
                <a:gd name="connsiteX10" fmla="*/ 2140299 w 11867103"/>
                <a:gd name="connsiteY10" fmla="*/ 40193 h 2964609"/>
                <a:gd name="connsiteX11" fmla="*/ 2200589 w 11867103"/>
                <a:gd name="connsiteY11" fmla="*/ 50242 h 2964609"/>
                <a:gd name="connsiteX12" fmla="*/ 4652387 w 11867103"/>
                <a:gd name="connsiteY12" fmla="*/ 60290 h 2964609"/>
                <a:gd name="connsiteX13" fmla="*/ 4692580 w 11867103"/>
                <a:gd name="connsiteY13" fmla="*/ 70339 h 2964609"/>
                <a:gd name="connsiteX14" fmla="*/ 4843306 w 11867103"/>
                <a:gd name="connsiteY14" fmla="*/ 90435 h 2964609"/>
                <a:gd name="connsiteX15" fmla="*/ 5677319 w 11867103"/>
                <a:gd name="connsiteY15" fmla="*/ 80387 h 2964609"/>
                <a:gd name="connsiteX16" fmla="*/ 6169688 w 11867103"/>
                <a:gd name="connsiteY16" fmla="*/ 110532 h 2964609"/>
                <a:gd name="connsiteX17" fmla="*/ 6420897 w 11867103"/>
                <a:gd name="connsiteY17" fmla="*/ 90435 h 2964609"/>
                <a:gd name="connsiteX18" fmla="*/ 6511332 w 11867103"/>
                <a:gd name="connsiteY18" fmla="*/ 30145 h 2964609"/>
                <a:gd name="connsiteX19" fmla="*/ 6571622 w 11867103"/>
                <a:gd name="connsiteY19" fmla="*/ 20097 h 2964609"/>
                <a:gd name="connsiteX20" fmla="*/ 6641961 w 11867103"/>
                <a:gd name="connsiteY20" fmla="*/ 0 h 2964609"/>
                <a:gd name="connsiteX21" fmla="*/ 7204668 w 11867103"/>
                <a:gd name="connsiteY21" fmla="*/ 10048 h 2964609"/>
                <a:gd name="connsiteX22" fmla="*/ 7285055 w 11867103"/>
                <a:gd name="connsiteY22" fmla="*/ 30145 h 2964609"/>
                <a:gd name="connsiteX23" fmla="*/ 7375490 w 11867103"/>
                <a:gd name="connsiteY23" fmla="*/ 40193 h 2964609"/>
                <a:gd name="connsiteX24" fmla="*/ 7928150 w 11867103"/>
                <a:gd name="connsiteY24" fmla="*/ 60290 h 2964609"/>
                <a:gd name="connsiteX25" fmla="*/ 8109020 w 11867103"/>
                <a:gd name="connsiteY25" fmla="*/ 80387 h 2964609"/>
                <a:gd name="connsiteX26" fmla="*/ 8219552 w 11867103"/>
                <a:gd name="connsiteY26" fmla="*/ 90435 h 2964609"/>
                <a:gd name="connsiteX27" fmla="*/ 8299939 w 11867103"/>
                <a:gd name="connsiteY27" fmla="*/ 100484 h 2964609"/>
                <a:gd name="connsiteX28" fmla="*/ 8521002 w 11867103"/>
                <a:gd name="connsiteY28" fmla="*/ 110532 h 2964609"/>
                <a:gd name="connsiteX29" fmla="*/ 9515789 w 11867103"/>
                <a:gd name="connsiteY29" fmla="*/ 100484 h 2964609"/>
                <a:gd name="connsiteX30" fmla="*/ 9606224 w 11867103"/>
                <a:gd name="connsiteY30" fmla="*/ 90435 h 2964609"/>
                <a:gd name="connsiteX31" fmla="*/ 9716756 w 11867103"/>
                <a:gd name="connsiteY31" fmla="*/ 80387 h 2964609"/>
                <a:gd name="connsiteX32" fmla="*/ 9797143 w 11867103"/>
                <a:gd name="connsiteY32" fmla="*/ 70339 h 2964609"/>
                <a:gd name="connsiteX33" fmla="*/ 9947868 w 11867103"/>
                <a:gd name="connsiteY33" fmla="*/ 60290 h 2964609"/>
                <a:gd name="connsiteX34" fmla="*/ 10791930 w 11867103"/>
                <a:gd name="connsiteY34" fmla="*/ 30145 h 2964609"/>
                <a:gd name="connsiteX35" fmla="*/ 11736475 w 11867103"/>
                <a:gd name="connsiteY35" fmla="*/ 50242 h 2964609"/>
                <a:gd name="connsiteX36" fmla="*/ 11766620 w 11867103"/>
                <a:gd name="connsiteY36" fmla="*/ 80387 h 2964609"/>
                <a:gd name="connsiteX37" fmla="*/ 11786717 w 11867103"/>
                <a:gd name="connsiteY37" fmla="*/ 120580 h 2964609"/>
                <a:gd name="connsiteX38" fmla="*/ 11806813 w 11867103"/>
                <a:gd name="connsiteY38" fmla="*/ 211015 h 2964609"/>
                <a:gd name="connsiteX39" fmla="*/ 11816862 w 11867103"/>
                <a:gd name="connsiteY39" fmla="*/ 251209 h 2964609"/>
                <a:gd name="connsiteX40" fmla="*/ 11826910 w 11867103"/>
                <a:gd name="connsiteY40" fmla="*/ 341644 h 2964609"/>
                <a:gd name="connsiteX41" fmla="*/ 11836958 w 11867103"/>
                <a:gd name="connsiteY41" fmla="*/ 422031 h 2964609"/>
                <a:gd name="connsiteX42" fmla="*/ 11826910 w 11867103"/>
                <a:gd name="connsiteY42" fmla="*/ 733530 h 2964609"/>
                <a:gd name="connsiteX43" fmla="*/ 11816862 w 11867103"/>
                <a:gd name="connsiteY43" fmla="*/ 793820 h 2964609"/>
                <a:gd name="connsiteX44" fmla="*/ 11806813 w 11867103"/>
                <a:gd name="connsiteY44" fmla="*/ 864158 h 2964609"/>
                <a:gd name="connsiteX45" fmla="*/ 11816862 w 11867103"/>
                <a:gd name="connsiteY45" fmla="*/ 2331218 h 2964609"/>
                <a:gd name="connsiteX46" fmla="*/ 11826910 w 11867103"/>
                <a:gd name="connsiteY46" fmla="*/ 2401556 h 2964609"/>
                <a:gd name="connsiteX47" fmla="*/ 11836958 w 11867103"/>
                <a:gd name="connsiteY47" fmla="*/ 2431701 h 2964609"/>
                <a:gd name="connsiteX48" fmla="*/ 11857055 w 11867103"/>
                <a:gd name="connsiteY48" fmla="*/ 2562330 h 2964609"/>
                <a:gd name="connsiteX49" fmla="*/ 11867103 w 11867103"/>
                <a:gd name="connsiteY49" fmla="*/ 2602523 h 2964609"/>
                <a:gd name="connsiteX50" fmla="*/ 11857055 w 11867103"/>
                <a:gd name="connsiteY50" fmla="*/ 2833635 h 2964609"/>
                <a:gd name="connsiteX51" fmla="*/ 11836958 w 11867103"/>
                <a:gd name="connsiteY51" fmla="*/ 2863780 h 2964609"/>
                <a:gd name="connsiteX52" fmla="*/ 11033090 w 11867103"/>
                <a:gd name="connsiteY52" fmla="*/ 2853732 h 2964609"/>
                <a:gd name="connsiteX53" fmla="*/ 10621108 w 11867103"/>
                <a:gd name="connsiteY53" fmla="*/ 2843684 h 2964609"/>
                <a:gd name="connsiteX54" fmla="*/ 10128739 w 11867103"/>
                <a:gd name="connsiteY54" fmla="*/ 2853732 h 2964609"/>
                <a:gd name="connsiteX55" fmla="*/ 10048352 w 11867103"/>
                <a:gd name="connsiteY55" fmla="*/ 2863780 h 2964609"/>
                <a:gd name="connsiteX56" fmla="*/ 9555982 w 11867103"/>
                <a:gd name="connsiteY56" fmla="*/ 2853732 h 2964609"/>
                <a:gd name="connsiteX57" fmla="*/ 9445451 w 11867103"/>
                <a:gd name="connsiteY57" fmla="*/ 2843684 h 2964609"/>
                <a:gd name="connsiteX58" fmla="*/ 9415306 w 11867103"/>
                <a:gd name="connsiteY58" fmla="*/ 2823587 h 2964609"/>
                <a:gd name="connsiteX59" fmla="*/ 9204290 w 11867103"/>
                <a:gd name="connsiteY59" fmla="*/ 2803490 h 2964609"/>
                <a:gd name="connsiteX60" fmla="*/ 9073662 w 11867103"/>
                <a:gd name="connsiteY60" fmla="*/ 2783393 h 2964609"/>
                <a:gd name="connsiteX61" fmla="*/ 8812404 w 11867103"/>
                <a:gd name="connsiteY61" fmla="*/ 2773345 h 2964609"/>
                <a:gd name="connsiteX62" fmla="*/ 8400422 w 11867103"/>
                <a:gd name="connsiteY62" fmla="*/ 2763297 h 2964609"/>
                <a:gd name="connsiteX63" fmla="*/ 8269793 w 11867103"/>
                <a:gd name="connsiteY63" fmla="*/ 2753248 h 2964609"/>
                <a:gd name="connsiteX64" fmla="*/ 7797521 w 11867103"/>
                <a:gd name="connsiteY64" fmla="*/ 2773345 h 2964609"/>
                <a:gd name="connsiteX65" fmla="*/ 7717134 w 11867103"/>
                <a:gd name="connsiteY65" fmla="*/ 2783393 h 2964609"/>
                <a:gd name="connsiteX66" fmla="*/ 7486022 w 11867103"/>
                <a:gd name="connsiteY66" fmla="*/ 2813539 h 2964609"/>
                <a:gd name="connsiteX67" fmla="*/ 7395587 w 11867103"/>
                <a:gd name="connsiteY67" fmla="*/ 2833635 h 2964609"/>
                <a:gd name="connsiteX68" fmla="*/ 7325248 w 11867103"/>
                <a:gd name="connsiteY68" fmla="*/ 2843684 h 2964609"/>
                <a:gd name="connsiteX69" fmla="*/ 6863024 w 11867103"/>
                <a:gd name="connsiteY69" fmla="*/ 2833635 h 2964609"/>
                <a:gd name="connsiteX70" fmla="*/ 6722347 w 11867103"/>
                <a:gd name="connsiteY70" fmla="*/ 2823587 h 2964609"/>
                <a:gd name="connsiteX71" fmla="*/ 4903596 w 11867103"/>
                <a:gd name="connsiteY71" fmla="*/ 2873829 h 2964609"/>
                <a:gd name="connsiteX72" fmla="*/ 4722725 w 11867103"/>
                <a:gd name="connsiteY72" fmla="*/ 2914022 h 2964609"/>
                <a:gd name="connsiteX73" fmla="*/ 4300695 w 11867103"/>
                <a:gd name="connsiteY73" fmla="*/ 2893925 h 2964609"/>
                <a:gd name="connsiteX74" fmla="*/ 4059534 w 11867103"/>
                <a:gd name="connsiteY74" fmla="*/ 2853732 h 2964609"/>
                <a:gd name="connsiteX75" fmla="*/ 3768132 w 11867103"/>
                <a:gd name="connsiteY75" fmla="*/ 2823587 h 2964609"/>
                <a:gd name="connsiteX76" fmla="*/ 3627455 w 11867103"/>
                <a:gd name="connsiteY76" fmla="*/ 2813539 h 2964609"/>
                <a:gd name="connsiteX77" fmla="*/ 3125037 w 11867103"/>
                <a:gd name="connsiteY77" fmla="*/ 2823587 h 2964609"/>
                <a:gd name="connsiteX78" fmla="*/ 3064747 w 11867103"/>
                <a:gd name="connsiteY78" fmla="*/ 2833635 h 2964609"/>
                <a:gd name="connsiteX79" fmla="*/ 2009670 w 11867103"/>
                <a:gd name="connsiteY79" fmla="*/ 2843684 h 2964609"/>
                <a:gd name="connsiteX80" fmla="*/ 1678075 w 11867103"/>
                <a:gd name="connsiteY80" fmla="*/ 2934119 h 2964609"/>
                <a:gd name="connsiteX81" fmla="*/ 1607736 w 11867103"/>
                <a:gd name="connsiteY81" fmla="*/ 2964264 h 2964609"/>
                <a:gd name="connsiteX82" fmla="*/ 1135464 w 11867103"/>
                <a:gd name="connsiteY82" fmla="*/ 2944167 h 2964609"/>
                <a:gd name="connsiteX83" fmla="*/ 944545 w 11867103"/>
                <a:gd name="connsiteY83" fmla="*/ 2914022 h 2964609"/>
                <a:gd name="connsiteX84" fmla="*/ 723481 w 11867103"/>
                <a:gd name="connsiteY84" fmla="*/ 2873829 h 2964609"/>
                <a:gd name="connsiteX85" fmla="*/ 643095 w 11867103"/>
                <a:gd name="connsiteY85" fmla="*/ 2863780 h 2964609"/>
                <a:gd name="connsiteX86" fmla="*/ 371789 w 11867103"/>
                <a:gd name="connsiteY86" fmla="*/ 2823587 h 2964609"/>
                <a:gd name="connsiteX87" fmla="*/ 0 w 11867103"/>
                <a:gd name="connsiteY87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1356528 w 11867103"/>
                <a:gd name="connsiteY6" fmla="*/ 80387 h 2964609"/>
                <a:gd name="connsiteX7" fmla="*/ 1758462 w 11867103"/>
                <a:gd name="connsiteY7" fmla="*/ 40193 h 2964609"/>
                <a:gd name="connsiteX8" fmla="*/ 1889090 w 11867103"/>
                <a:gd name="connsiteY8" fmla="*/ 20097 h 2964609"/>
                <a:gd name="connsiteX9" fmla="*/ 2140299 w 11867103"/>
                <a:gd name="connsiteY9" fmla="*/ 40193 h 2964609"/>
                <a:gd name="connsiteX10" fmla="*/ 2200589 w 11867103"/>
                <a:gd name="connsiteY10" fmla="*/ 50242 h 2964609"/>
                <a:gd name="connsiteX11" fmla="*/ 4652387 w 11867103"/>
                <a:gd name="connsiteY11" fmla="*/ 60290 h 2964609"/>
                <a:gd name="connsiteX12" fmla="*/ 4692580 w 11867103"/>
                <a:gd name="connsiteY12" fmla="*/ 70339 h 2964609"/>
                <a:gd name="connsiteX13" fmla="*/ 4843306 w 11867103"/>
                <a:gd name="connsiteY13" fmla="*/ 90435 h 2964609"/>
                <a:gd name="connsiteX14" fmla="*/ 5677319 w 11867103"/>
                <a:gd name="connsiteY14" fmla="*/ 80387 h 2964609"/>
                <a:gd name="connsiteX15" fmla="*/ 6169688 w 11867103"/>
                <a:gd name="connsiteY15" fmla="*/ 110532 h 2964609"/>
                <a:gd name="connsiteX16" fmla="*/ 6420897 w 11867103"/>
                <a:gd name="connsiteY16" fmla="*/ 90435 h 2964609"/>
                <a:gd name="connsiteX17" fmla="*/ 6511332 w 11867103"/>
                <a:gd name="connsiteY17" fmla="*/ 30145 h 2964609"/>
                <a:gd name="connsiteX18" fmla="*/ 6571622 w 11867103"/>
                <a:gd name="connsiteY18" fmla="*/ 20097 h 2964609"/>
                <a:gd name="connsiteX19" fmla="*/ 6641961 w 11867103"/>
                <a:gd name="connsiteY19" fmla="*/ 0 h 2964609"/>
                <a:gd name="connsiteX20" fmla="*/ 7204668 w 11867103"/>
                <a:gd name="connsiteY20" fmla="*/ 10048 h 2964609"/>
                <a:gd name="connsiteX21" fmla="*/ 7285055 w 11867103"/>
                <a:gd name="connsiteY21" fmla="*/ 30145 h 2964609"/>
                <a:gd name="connsiteX22" fmla="*/ 7375490 w 11867103"/>
                <a:gd name="connsiteY22" fmla="*/ 40193 h 2964609"/>
                <a:gd name="connsiteX23" fmla="*/ 7928150 w 11867103"/>
                <a:gd name="connsiteY23" fmla="*/ 60290 h 2964609"/>
                <a:gd name="connsiteX24" fmla="*/ 8109020 w 11867103"/>
                <a:gd name="connsiteY24" fmla="*/ 80387 h 2964609"/>
                <a:gd name="connsiteX25" fmla="*/ 8219552 w 11867103"/>
                <a:gd name="connsiteY25" fmla="*/ 90435 h 2964609"/>
                <a:gd name="connsiteX26" fmla="*/ 8299939 w 11867103"/>
                <a:gd name="connsiteY26" fmla="*/ 100484 h 2964609"/>
                <a:gd name="connsiteX27" fmla="*/ 8521002 w 11867103"/>
                <a:gd name="connsiteY27" fmla="*/ 110532 h 2964609"/>
                <a:gd name="connsiteX28" fmla="*/ 9515789 w 11867103"/>
                <a:gd name="connsiteY28" fmla="*/ 100484 h 2964609"/>
                <a:gd name="connsiteX29" fmla="*/ 9606224 w 11867103"/>
                <a:gd name="connsiteY29" fmla="*/ 90435 h 2964609"/>
                <a:gd name="connsiteX30" fmla="*/ 9716756 w 11867103"/>
                <a:gd name="connsiteY30" fmla="*/ 80387 h 2964609"/>
                <a:gd name="connsiteX31" fmla="*/ 9797143 w 11867103"/>
                <a:gd name="connsiteY31" fmla="*/ 70339 h 2964609"/>
                <a:gd name="connsiteX32" fmla="*/ 9947868 w 11867103"/>
                <a:gd name="connsiteY32" fmla="*/ 60290 h 2964609"/>
                <a:gd name="connsiteX33" fmla="*/ 10791930 w 11867103"/>
                <a:gd name="connsiteY33" fmla="*/ 30145 h 2964609"/>
                <a:gd name="connsiteX34" fmla="*/ 11736475 w 11867103"/>
                <a:gd name="connsiteY34" fmla="*/ 50242 h 2964609"/>
                <a:gd name="connsiteX35" fmla="*/ 11766620 w 11867103"/>
                <a:gd name="connsiteY35" fmla="*/ 80387 h 2964609"/>
                <a:gd name="connsiteX36" fmla="*/ 11786717 w 11867103"/>
                <a:gd name="connsiteY36" fmla="*/ 120580 h 2964609"/>
                <a:gd name="connsiteX37" fmla="*/ 11806813 w 11867103"/>
                <a:gd name="connsiteY37" fmla="*/ 211015 h 2964609"/>
                <a:gd name="connsiteX38" fmla="*/ 11816862 w 11867103"/>
                <a:gd name="connsiteY38" fmla="*/ 251209 h 2964609"/>
                <a:gd name="connsiteX39" fmla="*/ 11826910 w 11867103"/>
                <a:gd name="connsiteY39" fmla="*/ 341644 h 2964609"/>
                <a:gd name="connsiteX40" fmla="*/ 11836958 w 11867103"/>
                <a:gd name="connsiteY40" fmla="*/ 422031 h 2964609"/>
                <a:gd name="connsiteX41" fmla="*/ 11826910 w 11867103"/>
                <a:gd name="connsiteY41" fmla="*/ 733530 h 2964609"/>
                <a:gd name="connsiteX42" fmla="*/ 11816862 w 11867103"/>
                <a:gd name="connsiteY42" fmla="*/ 793820 h 2964609"/>
                <a:gd name="connsiteX43" fmla="*/ 11806813 w 11867103"/>
                <a:gd name="connsiteY43" fmla="*/ 864158 h 2964609"/>
                <a:gd name="connsiteX44" fmla="*/ 11816862 w 11867103"/>
                <a:gd name="connsiteY44" fmla="*/ 2331218 h 2964609"/>
                <a:gd name="connsiteX45" fmla="*/ 11826910 w 11867103"/>
                <a:gd name="connsiteY45" fmla="*/ 2401556 h 2964609"/>
                <a:gd name="connsiteX46" fmla="*/ 11836958 w 11867103"/>
                <a:gd name="connsiteY46" fmla="*/ 2431701 h 2964609"/>
                <a:gd name="connsiteX47" fmla="*/ 11857055 w 11867103"/>
                <a:gd name="connsiteY47" fmla="*/ 2562330 h 2964609"/>
                <a:gd name="connsiteX48" fmla="*/ 11867103 w 11867103"/>
                <a:gd name="connsiteY48" fmla="*/ 2602523 h 2964609"/>
                <a:gd name="connsiteX49" fmla="*/ 11857055 w 11867103"/>
                <a:gd name="connsiteY49" fmla="*/ 2833635 h 2964609"/>
                <a:gd name="connsiteX50" fmla="*/ 11836958 w 11867103"/>
                <a:gd name="connsiteY50" fmla="*/ 2863780 h 2964609"/>
                <a:gd name="connsiteX51" fmla="*/ 11033090 w 11867103"/>
                <a:gd name="connsiteY51" fmla="*/ 2853732 h 2964609"/>
                <a:gd name="connsiteX52" fmla="*/ 10621108 w 11867103"/>
                <a:gd name="connsiteY52" fmla="*/ 2843684 h 2964609"/>
                <a:gd name="connsiteX53" fmla="*/ 10128739 w 11867103"/>
                <a:gd name="connsiteY53" fmla="*/ 2853732 h 2964609"/>
                <a:gd name="connsiteX54" fmla="*/ 10048352 w 11867103"/>
                <a:gd name="connsiteY54" fmla="*/ 2863780 h 2964609"/>
                <a:gd name="connsiteX55" fmla="*/ 9555982 w 11867103"/>
                <a:gd name="connsiteY55" fmla="*/ 2853732 h 2964609"/>
                <a:gd name="connsiteX56" fmla="*/ 9445451 w 11867103"/>
                <a:gd name="connsiteY56" fmla="*/ 2843684 h 2964609"/>
                <a:gd name="connsiteX57" fmla="*/ 9415306 w 11867103"/>
                <a:gd name="connsiteY57" fmla="*/ 2823587 h 2964609"/>
                <a:gd name="connsiteX58" fmla="*/ 9204290 w 11867103"/>
                <a:gd name="connsiteY58" fmla="*/ 2803490 h 2964609"/>
                <a:gd name="connsiteX59" fmla="*/ 9073662 w 11867103"/>
                <a:gd name="connsiteY59" fmla="*/ 2783393 h 2964609"/>
                <a:gd name="connsiteX60" fmla="*/ 8812404 w 11867103"/>
                <a:gd name="connsiteY60" fmla="*/ 2773345 h 2964609"/>
                <a:gd name="connsiteX61" fmla="*/ 8400422 w 11867103"/>
                <a:gd name="connsiteY61" fmla="*/ 2763297 h 2964609"/>
                <a:gd name="connsiteX62" fmla="*/ 8269793 w 11867103"/>
                <a:gd name="connsiteY62" fmla="*/ 2753248 h 2964609"/>
                <a:gd name="connsiteX63" fmla="*/ 7797521 w 11867103"/>
                <a:gd name="connsiteY63" fmla="*/ 2773345 h 2964609"/>
                <a:gd name="connsiteX64" fmla="*/ 7717134 w 11867103"/>
                <a:gd name="connsiteY64" fmla="*/ 2783393 h 2964609"/>
                <a:gd name="connsiteX65" fmla="*/ 7486022 w 11867103"/>
                <a:gd name="connsiteY65" fmla="*/ 2813539 h 2964609"/>
                <a:gd name="connsiteX66" fmla="*/ 7395587 w 11867103"/>
                <a:gd name="connsiteY66" fmla="*/ 2833635 h 2964609"/>
                <a:gd name="connsiteX67" fmla="*/ 7325248 w 11867103"/>
                <a:gd name="connsiteY67" fmla="*/ 2843684 h 2964609"/>
                <a:gd name="connsiteX68" fmla="*/ 6863024 w 11867103"/>
                <a:gd name="connsiteY68" fmla="*/ 2833635 h 2964609"/>
                <a:gd name="connsiteX69" fmla="*/ 6722347 w 11867103"/>
                <a:gd name="connsiteY69" fmla="*/ 2823587 h 2964609"/>
                <a:gd name="connsiteX70" fmla="*/ 4903596 w 11867103"/>
                <a:gd name="connsiteY70" fmla="*/ 2873829 h 2964609"/>
                <a:gd name="connsiteX71" fmla="*/ 4722725 w 11867103"/>
                <a:gd name="connsiteY71" fmla="*/ 2914022 h 2964609"/>
                <a:gd name="connsiteX72" fmla="*/ 4300695 w 11867103"/>
                <a:gd name="connsiteY72" fmla="*/ 2893925 h 2964609"/>
                <a:gd name="connsiteX73" fmla="*/ 4059534 w 11867103"/>
                <a:gd name="connsiteY73" fmla="*/ 2853732 h 2964609"/>
                <a:gd name="connsiteX74" fmla="*/ 3768132 w 11867103"/>
                <a:gd name="connsiteY74" fmla="*/ 2823587 h 2964609"/>
                <a:gd name="connsiteX75" fmla="*/ 3627455 w 11867103"/>
                <a:gd name="connsiteY75" fmla="*/ 2813539 h 2964609"/>
                <a:gd name="connsiteX76" fmla="*/ 3125037 w 11867103"/>
                <a:gd name="connsiteY76" fmla="*/ 2823587 h 2964609"/>
                <a:gd name="connsiteX77" fmla="*/ 3064747 w 11867103"/>
                <a:gd name="connsiteY77" fmla="*/ 2833635 h 2964609"/>
                <a:gd name="connsiteX78" fmla="*/ 2009670 w 11867103"/>
                <a:gd name="connsiteY78" fmla="*/ 2843684 h 2964609"/>
                <a:gd name="connsiteX79" fmla="*/ 1678075 w 11867103"/>
                <a:gd name="connsiteY79" fmla="*/ 2934119 h 2964609"/>
                <a:gd name="connsiteX80" fmla="*/ 1607736 w 11867103"/>
                <a:gd name="connsiteY80" fmla="*/ 2964264 h 2964609"/>
                <a:gd name="connsiteX81" fmla="*/ 1135464 w 11867103"/>
                <a:gd name="connsiteY81" fmla="*/ 2944167 h 2964609"/>
                <a:gd name="connsiteX82" fmla="*/ 944545 w 11867103"/>
                <a:gd name="connsiteY82" fmla="*/ 2914022 h 2964609"/>
                <a:gd name="connsiteX83" fmla="*/ 723481 w 11867103"/>
                <a:gd name="connsiteY83" fmla="*/ 2873829 h 2964609"/>
                <a:gd name="connsiteX84" fmla="*/ 643095 w 11867103"/>
                <a:gd name="connsiteY84" fmla="*/ 2863780 h 2964609"/>
                <a:gd name="connsiteX85" fmla="*/ 371789 w 11867103"/>
                <a:gd name="connsiteY85" fmla="*/ 2823587 h 2964609"/>
                <a:gd name="connsiteX86" fmla="*/ 0 w 11867103"/>
                <a:gd name="connsiteY86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1356528 w 11867103"/>
                <a:gd name="connsiteY5" fmla="*/ 80387 h 2964609"/>
                <a:gd name="connsiteX6" fmla="*/ 1758462 w 11867103"/>
                <a:gd name="connsiteY6" fmla="*/ 40193 h 2964609"/>
                <a:gd name="connsiteX7" fmla="*/ 1889090 w 11867103"/>
                <a:gd name="connsiteY7" fmla="*/ 20097 h 2964609"/>
                <a:gd name="connsiteX8" fmla="*/ 2140299 w 11867103"/>
                <a:gd name="connsiteY8" fmla="*/ 40193 h 2964609"/>
                <a:gd name="connsiteX9" fmla="*/ 2200589 w 11867103"/>
                <a:gd name="connsiteY9" fmla="*/ 50242 h 2964609"/>
                <a:gd name="connsiteX10" fmla="*/ 4652387 w 11867103"/>
                <a:gd name="connsiteY10" fmla="*/ 60290 h 2964609"/>
                <a:gd name="connsiteX11" fmla="*/ 4692580 w 11867103"/>
                <a:gd name="connsiteY11" fmla="*/ 70339 h 2964609"/>
                <a:gd name="connsiteX12" fmla="*/ 4843306 w 11867103"/>
                <a:gd name="connsiteY12" fmla="*/ 90435 h 2964609"/>
                <a:gd name="connsiteX13" fmla="*/ 5677319 w 11867103"/>
                <a:gd name="connsiteY13" fmla="*/ 80387 h 2964609"/>
                <a:gd name="connsiteX14" fmla="*/ 6169688 w 11867103"/>
                <a:gd name="connsiteY14" fmla="*/ 110532 h 2964609"/>
                <a:gd name="connsiteX15" fmla="*/ 6420897 w 11867103"/>
                <a:gd name="connsiteY15" fmla="*/ 90435 h 2964609"/>
                <a:gd name="connsiteX16" fmla="*/ 6511332 w 11867103"/>
                <a:gd name="connsiteY16" fmla="*/ 30145 h 2964609"/>
                <a:gd name="connsiteX17" fmla="*/ 6571622 w 11867103"/>
                <a:gd name="connsiteY17" fmla="*/ 20097 h 2964609"/>
                <a:gd name="connsiteX18" fmla="*/ 6641961 w 11867103"/>
                <a:gd name="connsiteY18" fmla="*/ 0 h 2964609"/>
                <a:gd name="connsiteX19" fmla="*/ 7204668 w 11867103"/>
                <a:gd name="connsiteY19" fmla="*/ 10048 h 2964609"/>
                <a:gd name="connsiteX20" fmla="*/ 7285055 w 11867103"/>
                <a:gd name="connsiteY20" fmla="*/ 30145 h 2964609"/>
                <a:gd name="connsiteX21" fmla="*/ 7375490 w 11867103"/>
                <a:gd name="connsiteY21" fmla="*/ 40193 h 2964609"/>
                <a:gd name="connsiteX22" fmla="*/ 7928150 w 11867103"/>
                <a:gd name="connsiteY22" fmla="*/ 60290 h 2964609"/>
                <a:gd name="connsiteX23" fmla="*/ 8109020 w 11867103"/>
                <a:gd name="connsiteY23" fmla="*/ 80387 h 2964609"/>
                <a:gd name="connsiteX24" fmla="*/ 8219552 w 11867103"/>
                <a:gd name="connsiteY24" fmla="*/ 90435 h 2964609"/>
                <a:gd name="connsiteX25" fmla="*/ 8299939 w 11867103"/>
                <a:gd name="connsiteY25" fmla="*/ 100484 h 2964609"/>
                <a:gd name="connsiteX26" fmla="*/ 8521002 w 11867103"/>
                <a:gd name="connsiteY26" fmla="*/ 110532 h 2964609"/>
                <a:gd name="connsiteX27" fmla="*/ 9515789 w 11867103"/>
                <a:gd name="connsiteY27" fmla="*/ 100484 h 2964609"/>
                <a:gd name="connsiteX28" fmla="*/ 9606224 w 11867103"/>
                <a:gd name="connsiteY28" fmla="*/ 90435 h 2964609"/>
                <a:gd name="connsiteX29" fmla="*/ 9716756 w 11867103"/>
                <a:gd name="connsiteY29" fmla="*/ 80387 h 2964609"/>
                <a:gd name="connsiteX30" fmla="*/ 9797143 w 11867103"/>
                <a:gd name="connsiteY30" fmla="*/ 70339 h 2964609"/>
                <a:gd name="connsiteX31" fmla="*/ 9947868 w 11867103"/>
                <a:gd name="connsiteY31" fmla="*/ 60290 h 2964609"/>
                <a:gd name="connsiteX32" fmla="*/ 10791930 w 11867103"/>
                <a:gd name="connsiteY32" fmla="*/ 30145 h 2964609"/>
                <a:gd name="connsiteX33" fmla="*/ 11736475 w 11867103"/>
                <a:gd name="connsiteY33" fmla="*/ 50242 h 2964609"/>
                <a:gd name="connsiteX34" fmla="*/ 11766620 w 11867103"/>
                <a:gd name="connsiteY34" fmla="*/ 80387 h 2964609"/>
                <a:gd name="connsiteX35" fmla="*/ 11786717 w 11867103"/>
                <a:gd name="connsiteY35" fmla="*/ 120580 h 2964609"/>
                <a:gd name="connsiteX36" fmla="*/ 11806813 w 11867103"/>
                <a:gd name="connsiteY36" fmla="*/ 211015 h 2964609"/>
                <a:gd name="connsiteX37" fmla="*/ 11816862 w 11867103"/>
                <a:gd name="connsiteY37" fmla="*/ 251209 h 2964609"/>
                <a:gd name="connsiteX38" fmla="*/ 11826910 w 11867103"/>
                <a:gd name="connsiteY38" fmla="*/ 341644 h 2964609"/>
                <a:gd name="connsiteX39" fmla="*/ 11836958 w 11867103"/>
                <a:gd name="connsiteY39" fmla="*/ 422031 h 2964609"/>
                <a:gd name="connsiteX40" fmla="*/ 11826910 w 11867103"/>
                <a:gd name="connsiteY40" fmla="*/ 733530 h 2964609"/>
                <a:gd name="connsiteX41" fmla="*/ 11816862 w 11867103"/>
                <a:gd name="connsiteY41" fmla="*/ 793820 h 2964609"/>
                <a:gd name="connsiteX42" fmla="*/ 11806813 w 11867103"/>
                <a:gd name="connsiteY42" fmla="*/ 864158 h 2964609"/>
                <a:gd name="connsiteX43" fmla="*/ 11816862 w 11867103"/>
                <a:gd name="connsiteY43" fmla="*/ 2331218 h 2964609"/>
                <a:gd name="connsiteX44" fmla="*/ 11826910 w 11867103"/>
                <a:gd name="connsiteY44" fmla="*/ 2401556 h 2964609"/>
                <a:gd name="connsiteX45" fmla="*/ 11836958 w 11867103"/>
                <a:gd name="connsiteY45" fmla="*/ 2431701 h 2964609"/>
                <a:gd name="connsiteX46" fmla="*/ 11857055 w 11867103"/>
                <a:gd name="connsiteY46" fmla="*/ 2562330 h 2964609"/>
                <a:gd name="connsiteX47" fmla="*/ 11867103 w 11867103"/>
                <a:gd name="connsiteY47" fmla="*/ 2602523 h 2964609"/>
                <a:gd name="connsiteX48" fmla="*/ 11857055 w 11867103"/>
                <a:gd name="connsiteY48" fmla="*/ 2833635 h 2964609"/>
                <a:gd name="connsiteX49" fmla="*/ 11836958 w 11867103"/>
                <a:gd name="connsiteY49" fmla="*/ 2863780 h 2964609"/>
                <a:gd name="connsiteX50" fmla="*/ 11033090 w 11867103"/>
                <a:gd name="connsiteY50" fmla="*/ 2853732 h 2964609"/>
                <a:gd name="connsiteX51" fmla="*/ 10621108 w 11867103"/>
                <a:gd name="connsiteY51" fmla="*/ 2843684 h 2964609"/>
                <a:gd name="connsiteX52" fmla="*/ 10128739 w 11867103"/>
                <a:gd name="connsiteY52" fmla="*/ 2853732 h 2964609"/>
                <a:gd name="connsiteX53" fmla="*/ 10048352 w 11867103"/>
                <a:gd name="connsiteY53" fmla="*/ 2863780 h 2964609"/>
                <a:gd name="connsiteX54" fmla="*/ 9555982 w 11867103"/>
                <a:gd name="connsiteY54" fmla="*/ 2853732 h 2964609"/>
                <a:gd name="connsiteX55" fmla="*/ 9445451 w 11867103"/>
                <a:gd name="connsiteY55" fmla="*/ 2843684 h 2964609"/>
                <a:gd name="connsiteX56" fmla="*/ 9415306 w 11867103"/>
                <a:gd name="connsiteY56" fmla="*/ 2823587 h 2964609"/>
                <a:gd name="connsiteX57" fmla="*/ 9204290 w 11867103"/>
                <a:gd name="connsiteY57" fmla="*/ 2803490 h 2964609"/>
                <a:gd name="connsiteX58" fmla="*/ 9073662 w 11867103"/>
                <a:gd name="connsiteY58" fmla="*/ 2783393 h 2964609"/>
                <a:gd name="connsiteX59" fmla="*/ 8812404 w 11867103"/>
                <a:gd name="connsiteY59" fmla="*/ 2773345 h 2964609"/>
                <a:gd name="connsiteX60" fmla="*/ 8400422 w 11867103"/>
                <a:gd name="connsiteY60" fmla="*/ 2763297 h 2964609"/>
                <a:gd name="connsiteX61" fmla="*/ 8269793 w 11867103"/>
                <a:gd name="connsiteY61" fmla="*/ 2753248 h 2964609"/>
                <a:gd name="connsiteX62" fmla="*/ 7797521 w 11867103"/>
                <a:gd name="connsiteY62" fmla="*/ 2773345 h 2964609"/>
                <a:gd name="connsiteX63" fmla="*/ 7717134 w 11867103"/>
                <a:gd name="connsiteY63" fmla="*/ 2783393 h 2964609"/>
                <a:gd name="connsiteX64" fmla="*/ 7486022 w 11867103"/>
                <a:gd name="connsiteY64" fmla="*/ 2813539 h 2964609"/>
                <a:gd name="connsiteX65" fmla="*/ 7395587 w 11867103"/>
                <a:gd name="connsiteY65" fmla="*/ 2833635 h 2964609"/>
                <a:gd name="connsiteX66" fmla="*/ 7325248 w 11867103"/>
                <a:gd name="connsiteY66" fmla="*/ 2843684 h 2964609"/>
                <a:gd name="connsiteX67" fmla="*/ 6863024 w 11867103"/>
                <a:gd name="connsiteY67" fmla="*/ 2833635 h 2964609"/>
                <a:gd name="connsiteX68" fmla="*/ 6722347 w 11867103"/>
                <a:gd name="connsiteY68" fmla="*/ 2823587 h 2964609"/>
                <a:gd name="connsiteX69" fmla="*/ 4903596 w 11867103"/>
                <a:gd name="connsiteY69" fmla="*/ 2873829 h 2964609"/>
                <a:gd name="connsiteX70" fmla="*/ 4722725 w 11867103"/>
                <a:gd name="connsiteY70" fmla="*/ 2914022 h 2964609"/>
                <a:gd name="connsiteX71" fmla="*/ 4300695 w 11867103"/>
                <a:gd name="connsiteY71" fmla="*/ 2893925 h 2964609"/>
                <a:gd name="connsiteX72" fmla="*/ 4059534 w 11867103"/>
                <a:gd name="connsiteY72" fmla="*/ 2853732 h 2964609"/>
                <a:gd name="connsiteX73" fmla="*/ 3768132 w 11867103"/>
                <a:gd name="connsiteY73" fmla="*/ 2823587 h 2964609"/>
                <a:gd name="connsiteX74" fmla="*/ 3627455 w 11867103"/>
                <a:gd name="connsiteY74" fmla="*/ 2813539 h 2964609"/>
                <a:gd name="connsiteX75" fmla="*/ 3125037 w 11867103"/>
                <a:gd name="connsiteY75" fmla="*/ 2823587 h 2964609"/>
                <a:gd name="connsiteX76" fmla="*/ 3064747 w 11867103"/>
                <a:gd name="connsiteY76" fmla="*/ 2833635 h 2964609"/>
                <a:gd name="connsiteX77" fmla="*/ 2009670 w 11867103"/>
                <a:gd name="connsiteY77" fmla="*/ 2843684 h 2964609"/>
                <a:gd name="connsiteX78" fmla="*/ 1678075 w 11867103"/>
                <a:gd name="connsiteY78" fmla="*/ 2934119 h 2964609"/>
                <a:gd name="connsiteX79" fmla="*/ 1607736 w 11867103"/>
                <a:gd name="connsiteY79" fmla="*/ 2964264 h 2964609"/>
                <a:gd name="connsiteX80" fmla="*/ 1135464 w 11867103"/>
                <a:gd name="connsiteY80" fmla="*/ 2944167 h 2964609"/>
                <a:gd name="connsiteX81" fmla="*/ 944545 w 11867103"/>
                <a:gd name="connsiteY81" fmla="*/ 2914022 h 2964609"/>
                <a:gd name="connsiteX82" fmla="*/ 723481 w 11867103"/>
                <a:gd name="connsiteY82" fmla="*/ 2873829 h 2964609"/>
                <a:gd name="connsiteX83" fmla="*/ 643095 w 11867103"/>
                <a:gd name="connsiteY83" fmla="*/ 2863780 h 2964609"/>
                <a:gd name="connsiteX84" fmla="*/ 371789 w 11867103"/>
                <a:gd name="connsiteY84" fmla="*/ 2823587 h 2964609"/>
                <a:gd name="connsiteX85" fmla="*/ 0 w 11867103"/>
                <a:gd name="connsiteY85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1356528 w 11867103"/>
                <a:gd name="connsiteY4" fmla="*/ 80387 h 2964609"/>
                <a:gd name="connsiteX5" fmla="*/ 1758462 w 11867103"/>
                <a:gd name="connsiteY5" fmla="*/ 40193 h 2964609"/>
                <a:gd name="connsiteX6" fmla="*/ 1889090 w 11867103"/>
                <a:gd name="connsiteY6" fmla="*/ 20097 h 2964609"/>
                <a:gd name="connsiteX7" fmla="*/ 2140299 w 11867103"/>
                <a:gd name="connsiteY7" fmla="*/ 40193 h 2964609"/>
                <a:gd name="connsiteX8" fmla="*/ 2200589 w 11867103"/>
                <a:gd name="connsiteY8" fmla="*/ 50242 h 2964609"/>
                <a:gd name="connsiteX9" fmla="*/ 4652387 w 11867103"/>
                <a:gd name="connsiteY9" fmla="*/ 60290 h 2964609"/>
                <a:gd name="connsiteX10" fmla="*/ 4692580 w 11867103"/>
                <a:gd name="connsiteY10" fmla="*/ 70339 h 2964609"/>
                <a:gd name="connsiteX11" fmla="*/ 4843306 w 11867103"/>
                <a:gd name="connsiteY11" fmla="*/ 90435 h 2964609"/>
                <a:gd name="connsiteX12" fmla="*/ 5677319 w 11867103"/>
                <a:gd name="connsiteY12" fmla="*/ 80387 h 2964609"/>
                <a:gd name="connsiteX13" fmla="*/ 6169688 w 11867103"/>
                <a:gd name="connsiteY13" fmla="*/ 110532 h 2964609"/>
                <a:gd name="connsiteX14" fmla="*/ 6420897 w 11867103"/>
                <a:gd name="connsiteY14" fmla="*/ 90435 h 2964609"/>
                <a:gd name="connsiteX15" fmla="*/ 6511332 w 11867103"/>
                <a:gd name="connsiteY15" fmla="*/ 30145 h 2964609"/>
                <a:gd name="connsiteX16" fmla="*/ 6571622 w 11867103"/>
                <a:gd name="connsiteY16" fmla="*/ 20097 h 2964609"/>
                <a:gd name="connsiteX17" fmla="*/ 6641961 w 11867103"/>
                <a:gd name="connsiteY17" fmla="*/ 0 h 2964609"/>
                <a:gd name="connsiteX18" fmla="*/ 7204668 w 11867103"/>
                <a:gd name="connsiteY18" fmla="*/ 10048 h 2964609"/>
                <a:gd name="connsiteX19" fmla="*/ 7285055 w 11867103"/>
                <a:gd name="connsiteY19" fmla="*/ 30145 h 2964609"/>
                <a:gd name="connsiteX20" fmla="*/ 7375490 w 11867103"/>
                <a:gd name="connsiteY20" fmla="*/ 40193 h 2964609"/>
                <a:gd name="connsiteX21" fmla="*/ 7928150 w 11867103"/>
                <a:gd name="connsiteY21" fmla="*/ 60290 h 2964609"/>
                <a:gd name="connsiteX22" fmla="*/ 8109020 w 11867103"/>
                <a:gd name="connsiteY22" fmla="*/ 80387 h 2964609"/>
                <a:gd name="connsiteX23" fmla="*/ 8219552 w 11867103"/>
                <a:gd name="connsiteY23" fmla="*/ 90435 h 2964609"/>
                <a:gd name="connsiteX24" fmla="*/ 8299939 w 11867103"/>
                <a:gd name="connsiteY24" fmla="*/ 100484 h 2964609"/>
                <a:gd name="connsiteX25" fmla="*/ 8521002 w 11867103"/>
                <a:gd name="connsiteY25" fmla="*/ 110532 h 2964609"/>
                <a:gd name="connsiteX26" fmla="*/ 9515789 w 11867103"/>
                <a:gd name="connsiteY26" fmla="*/ 100484 h 2964609"/>
                <a:gd name="connsiteX27" fmla="*/ 9606224 w 11867103"/>
                <a:gd name="connsiteY27" fmla="*/ 90435 h 2964609"/>
                <a:gd name="connsiteX28" fmla="*/ 9716756 w 11867103"/>
                <a:gd name="connsiteY28" fmla="*/ 80387 h 2964609"/>
                <a:gd name="connsiteX29" fmla="*/ 9797143 w 11867103"/>
                <a:gd name="connsiteY29" fmla="*/ 70339 h 2964609"/>
                <a:gd name="connsiteX30" fmla="*/ 9947868 w 11867103"/>
                <a:gd name="connsiteY30" fmla="*/ 60290 h 2964609"/>
                <a:gd name="connsiteX31" fmla="*/ 10791930 w 11867103"/>
                <a:gd name="connsiteY31" fmla="*/ 30145 h 2964609"/>
                <a:gd name="connsiteX32" fmla="*/ 11736475 w 11867103"/>
                <a:gd name="connsiteY32" fmla="*/ 50242 h 2964609"/>
                <a:gd name="connsiteX33" fmla="*/ 11766620 w 11867103"/>
                <a:gd name="connsiteY33" fmla="*/ 80387 h 2964609"/>
                <a:gd name="connsiteX34" fmla="*/ 11786717 w 11867103"/>
                <a:gd name="connsiteY34" fmla="*/ 120580 h 2964609"/>
                <a:gd name="connsiteX35" fmla="*/ 11806813 w 11867103"/>
                <a:gd name="connsiteY35" fmla="*/ 211015 h 2964609"/>
                <a:gd name="connsiteX36" fmla="*/ 11816862 w 11867103"/>
                <a:gd name="connsiteY36" fmla="*/ 251209 h 2964609"/>
                <a:gd name="connsiteX37" fmla="*/ 11826910 w 11867103"/>
                <a:gd name="connsiteY37" fmla="*/ 341644 h 2964609"/>
                <a:gd name="connsiteX38" fmla="*/ 11836958 w 11867103"/>
                <a:gd name="connsiteY38" fmla="*/ 422031 h 2964609"/>
                <a:gd name="connsiteX39" fmla="*/ 11826910 w 11867103"/>
                <a:gd name="connsiteY39" fmla="*/ 733530 h 2964609"/>
                <a:gd name="connsiteX40" fmla="*/ 11816862 w 11867103"/>
                <a:gd name="connsiteY40" fmla="*/ 793820 h 2964609"/>
                <a:gd name="connsiteX41" fmla="*/ 11806813 w 11867103"/>
                <a:gd name="connsiteY41" fmla="*/ 864158 h 2964609"/>
                <a:gd name="connsiteX42" fmla="*/ 11816862 w 11867103"/>
                <a:gd name="connsiteY42" fmla="*/ 2331218 h 2964609"/>
                <a:gd name="connsiteX43" fmla="*/ 11826910 w 11867103"/>
                <a:gd name="connsiteY43" fmla="*/ 2401556 h 2964609"/>
                <a:gd name="connsiteX44" fmla="*/ 11836958 w 11867103"/>
                <a:gd name="connsiteY44" fmla="*/ 2431701 h 2964609"/>
                <a:gd name="connsiteX45" fmla="*/ 11857055 w 11867103"/>
                <a:gd name="connsiteY45" fmla="*/ 2562330 h 2964609"/>
                <a:gd name="connsiteX46" fmla="*/ 11867103 w 11867103"/>
                <a:gd name="connsiteY46" fmla="*/ 2602523 h 2964609"/>
                <a:gd name="connsiteX47" fmla="*/ 11857055 w 11867103"/>
                <a:gd name="connsiteY47" fmla="*/ 2833635 h 2964609"/>
                <a:gd name="connsiteX48" fmla="*/ 11836958 w 11867103"/>
                <a:gd name="connsiteY48" fmla="*/ 2863780 h 2964609"/>
                <a:gd name="connsiteX49" fmla="*/ 11033090 w 11867103"/>
                <a:gd name="connsiteY49" fmla="*/ 2853732 h 2964609"/>
                <a:gd name="connsiteX50" fmla="*/ 10621108 w 11867103"/>
                <a:gd name="connsiteY50" fmla="*/ 2843684 h 2964609"/>
                <a:gd name="connsiteX51" fmla="*/ 10128739 w 11867103"/>
                <a:gd name="connsiteY51" fmla="*/ 2853732 h 2964609"/>
                <a:gd name="connsiteX52" fmla="*/ 10048352 w 11867103"/>
                <a:gd name="connsiteY52" fmla="*/ 2863780 h 2964609"/>
                <a:gd name="connsiteX53" fmla="*/ 9555982 w 11867103"/>
                <a:gd name="connsiteY53" fmla="*/ 2853732 h 2964609"/>
                <a:gd name="connsiteX54" fmla="*/ 9445451 w 11867103"/>
                <a:gd name="connsiteY54" fmla="*/ 2843684 h 2964609"/>
                <a:gd name="connsiteX55" fmla="*/ 9415306 w 11867103"/>
                <a:gd name="connsiteY55" fmla="*/ 2823587 h 2964609"/>
                <a:gd name="connsiteX56" fmla="*/ 9204290 w 11867103"/>
                <a:gd name="connsiteY56" fmla="*/ 2803490 h 2964609"/>
                <a:gd name="connsiteX57" fmla="*/ 9073662 w 11867103"/>
                <a:gd name="connsiteY57" fmla="*/ 2783393 h 2964609"/>
                <a:gd name="connsiteX58" fmla="*/ 8812404 w 11867103"/>
                <a:gd name="connsiteY58" fmla="*/ 2773345 h 2964609"/>
                <a:gd name="connsiteX59" fmla="*/ 8400422 w 11867103"/>
                <a:gd name="connsiteY59" fmla="*/ 2763297 h 2964609"/>
                <a:gd name="connsiteX60" fmla="*/ 8269793 w 11867103"/>
                <a:gd name="connsiteY60" fmla="*/ 2753248 h 2964609"/>
                <a:gd name="connsiteX61" fmla="*/ 7797521 w 11867103"/>
                <a:gd name="connsiteY61" fmla="*/ 2773345 h 2964609"/>
                <a:gd name="connsiteX62" fmla="*/ 7717134 w 11867103"/>
                <a:gd name="connsiteY62" fmla="*/ 2783393 h 2964609"/>
                <a:gd name="connsiteX63" fmla="*/ 7486022 w 11867103"/>
                <a:gd name="connsiteY63" fmla="*/ 2813539 h 2964609"/>
                <a:gd name="connsiteX64" fmla="*/ 7395587 w 11867103"/>
                <a:gd name="connsiteY64" fmla="*/ 2833635 h 2964609"/>
                <a:gd name="connsiteX65" fmla="*/ 7325248 w 11867103"/>
                <a:gd name="connsiteY65" fmla="*/ 2843684 h 2964609"/>
                <a:gd name="connsiteX66" fmla="*/ 6863024 w 11867103"/>
                <a:gd name="connsiteY66" fmla="*/ 2833635 h 2964609"/>
                <a:gd name="connsiteX67" fmla="*/ 6722347 w 11867103"/>
                <a:gd name="connsiteY67" fmla="*/ 2823587 h 2964609"/>
                <a:gd name="connsiteX68" fmla="*/ 4903596 w 11867103"/>
                <a:gd name="connsiteY68" fmla="*/ 2873829 h 2964609"/>
                <a:gd name="connsiteX69" fmla="*/ 4722725 w 11867103"/>
                <a:gd name="connsiteY69" fmla="*/ 2914022 h 2964609"/>
                <a:gd name="connsiteX70" fmla="*/ 4300695 w 11867103"/>
                <a:gd name="connsiteY70" fmla="*/ 2893925 h 2964609"/>
                <a:gd name="connsiteX71" fmla="*/ 4059534 w 11867103"/>
                <a:gd name="connsiteY71" fmla="*/ 2853732 h 2964609"/>
                <a:gd name="connsiteX72" fmla="*/ 3768132 w 11867103"/>
                <a:gd name="connsiteY72" fmla="*/ 2823587 h 2964609"/>
                <a:gd name="connsiteX73" fmla="*/ 3627455 w 11867103"/>
                <a:gd name="connsiteY73" fmla="*/ 2813539 h 2964609"/>
                <a:gd name="connsiteX74" fmla="*/ 3125037 w 11867103"/>
                <a:gd name="connsiteY74" fmla="*/ 2823587 h 2964609"/>
                <a:gd name="connsiteX75" fmla="*/ 3064747 w 11867103"/>
                <a:gd name="connsiteY75" fmla="*/ 2833635 h 2964609"/>
                <a:gd name="connsiteX76" fmla="*/ 2009670 w 11867103"/>
                <a:gd name="connsiteY76" fmla="*/ 2843684 h 2964609"/>
                <a:gd name="connsiteX77" fmla="*/ 1678075 w 11867103"/>
                <a:gd name="connsiteY77" fmla="*/ 2934119 h 2964609"/>
                <a:gd name="connsiteX78" fmla="*/ 1607736 w 11867103"/>
                <a:gd name="connsiteY78" fmla="*/ 2964264 h 2964609"/>
                <a:gd name="connsiteX79" fmla="*/ 1135464 w 11867103"/>
                <a:gd name="connsiteY79" fmla="*/ 2944167 h 2964609"/>
                <a:gd name="connsiteX80" fmla="*/ 944545 w 11867103"/>
                <a:gd name="connsiteY80" fmla="*/ 2914022 h 2964609"/>
                <a:gd name="connsiteX81" fmla="*/ 723481 w 11867103"/>
                <a:gd name="connsiteY81" fmla="*/ 2873829 h 2964609"/>
                <a:gd name="connsiteX82" fmla="*/ 643095 w 11867103"/>
                <a:gd name="connsiteY82" fmla="*/ 2863780 h 2964609"/>
                <a:gd name="connsiteX83" fmla="*/ 371789 w 11867103"/>
                <a:gd name="connsiteY83" fmla="*/ 2823587 h 2964609"/>
                <a:gd name="connsiteX84" fmla="*/ 0 w 11867103"/>
                <a:gd name="connsiteY84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1889090 w 11867103"/>
                <a:gd name="connsiteY5" fmla="*/ 20097 h 2964609"/>
                <a:gd name="connsiteX6" fmla="*/ 2140299 w 11867103"/>
                <a:gd name="connsiteY6" fmla="*/ 40193 h 2964609"/>
                <a:gd name="connsiteX7" fmla="*/ 2200589 w 11867103"/>
                <a:gd name="connsiteY7" fmla="*/ 50242 h 2964609"/>
                <a:gd name="connsiteX8" fmla="*/ 4652387 w 11867103"/>
                <a:gd name="connsiteY8" fmla="*/ 60290 h 2964609"/>
                <a:gd name="connsiteX9" fmla="*/ 4692580 w 11867103"/>
                <a:gd name="connsiteY9" fmla="*/ 70339 h 2964609"/>
                <a:gd name="connsiteX10" fmla="*/ 4843306 w 11867103"/>
                <a:gd name="connsiteY10" fmla="*/ 90435 h 2964609"/>
                <a:gd name="connsiteX11" fmla="*/ 5677319 w 11867103"/>
                <a:gd name="connsiteY11" fmla="*/ 80387 h 2964609"/>
                <a:gd name="connsiteX12" fmla="*/ 6169688 w 11867103"/>
                <a:gd name="connsiteY12" fmla="*/ 110532 h 2964609"/>
                <a:gd name="connsiteX13" fmla="*/ 6420897 w 11867103"/>
                <a:gd name="connsiteY13" fmla="*/ 90435 h 2964609"/>
                <a:gd name="connsiteX14" fmla="*/ 6511332 w 11867103"/>
                <a:gd name="connsiteY14" fmla="*/ 30145 h 2964609"/>
                <a:gd name="connsiteX15" fmla="*/ 6571622 w 11867103"/>
                <a:gd name="connsiteY15" fmla="*/ 20097 h 2964609"/>
                <a:gd name="connsiteX16" fmla="*/ 6641961 w 11867103"/>
                <a:gd name="connsiteY16" fmla="*/ 0 h 2964609"/>
                <a:gd name="connsiteX17" fmla="*/ 7204668 w 11867103"/>
                <a:gd name="connsiteY17" fmla="*/ 10048 h 2964609"/>
                <a:gd name="connsiteX18" fmla="*/ 7285055 w 11867103"/>
                <a:gd name="connsiteY18" fmla="*/ 30145 h 2964609"/>
                <a:gd name="connsiteX19" fmla="*/ 7375490 w 11867103"/>
                <a:gd name="connsiteY19" fmla="*/ 40193 h 2964609"/>
                <a:gd name="connsiteX20" fmla="*/ 7928150 w 11867103"/>
                <a:gd name="connsiteY20" fmla="*/ 60290 h 2964609"/>
                <a:gd name="connsiteX21" fmla="*/ 8109020 w 11867103"/>
                <a:gd name="connsiteY21" fmla="*/ 80387 h 2964609"/>
                <a:gd name="connsiteX22" fmla="*/ 8219552 w 11867103"/>
                <a:gd name="connsiteY22" fmla="*/ 90435 h 2964609"/>
                <a:gd name="connsiteX23" fmla="*/ 8299939 w 11867103"/>
                <a:gd name="connsiteY23" fmla="*/ 100484 h 2964609"/>
                <a:gd name="connsiteX24" fmla="*/ 8521002 w 11867103"/>
                <a:gd name="connsiteY24" fmla="*/ 110532 h 2964609"/>
                <a:gd name="connsiteX25" fmla="*/ 9515789 w 11867103"/>
                <a:gd name="connsiteY25" fmla="*/ 100484 h 2964609"/>
                <a:gd name="connsiteX26" fmla="*/ 9606224 w 11867103"/>
                <a:gd name="connsiteY26" fmla="*/ 90435 h 2964609"/>
                <a:gd name="connsiteX27" fmla="*/ 9716756 w 11867103"/>
                <a:gd name="connsiteY27" fmla="*/ 80387 h 2964609"/>
                <a:gd name="connsiteX28" fmla="*/ 9797143 w 11867103"/>
                <a:gd name="connsiteY28" fmla="*/ 70339 h 2964609"/>
                <a:gd name="connsiteX29" fmla="*/ 9947868 w 11867103"/>
                <a:gd name="connsiteY29" fmla="*/ 60290 h 2964609"/>
                <a:gd name="connsiteX30" fmla="*/ 10791930 w 11867103"/>
                <a:gd name="connsiteY30" fmla="*/ 30145 h 2964609"/>
                <a:gd name="connsiteX31" fmla="*/ 11736475 w 11867103"/>
                <a:gd name="connsiteY31" fmla="*/ 50242 h 2964609"/>
                <a:gd name="connsiteX32" fmla="*/ 11766620 w 11867103"/>
                <a:gd name="connsiteY32" fmla="*/ 80387 h 2964609"/>
                <a:gd name="connsiteX33" fmla="*/ 11786717 w 11867103"/>
                <a:gd name="connsiteY33" fmla="*/ 120580 h 2964609"/>
                <a:gd name="connsiteX34" fmla="*/ 11806813 w 11867103"/>
                <a:gd name="connsiteY34" fmla="*/ 211015 h 2964609"/>
                <a:gd name="connsiteX35" fmla="*/ 11816862 w 11867103"/>
                <a:gd name="connsiteY35" fmla="*/ 251209 h 2964609"/>
                <a:gd name="connsiteX36" fmla="*/ 11826910 w 11867103"/>
                <a:gd name="connsiteY36" fmla="*/ 341644 h 2964609"/>
                <a:gd name="connsiteX37" fmla="*/ 11836958 w 11867103"/>
                <a:gd name="connsiteY37" fmla="*/ 422031 h 2964609"/>
                <a:gd name="connsiteX38" fmla="*/ 11826910 w 11867103"/>
                <a:gd name="connsiteY38" fmla="*/ 733530 h 2964609"/>
                <a:gd name="connsiteX39" fmla="*/ 11816862 w 11867103"/>
                <a:gd name="connsiteY39" fmla="*/ 793820 h 2964609"/>
                <a:gd name="connsiteX40" fmla="*/ 11806813 w 11867103"/>
                <a:gd name="connsiteY40" fmla="*/ 864158 h 2964609"/>
                <a:gd name="connsiteX41" fmla="*/ 11816862 w 11867103"/>
                <a:gd name="connsiteY41" fmla="*/ 2331218 h 2964609"/>
                <a:gd name="connsiteX42" fmla="*/ 11826910 w 11867103"/>
                <a:gd name="connsiteY42" fmla="*/ 2401556 h 2964609"/>
                <a:gd name="connsiteX43" fmla="*/ 11836958 w 11867103"/>
                <a:gd name="connsiteY43" fmla="*/ 2431701 h 2964609"/>
                <a:gd name="connsiteX44" fmla="*/ 11857055 w 11867103"/>
                <a:gd name="connsiteY44" fmla="*/ 2562330 h 2964609"/>
                <a:gd name="connsiteX45" fmla="*/ 11867103 w 11867103"/>
                <a:gd name="connsiteY45" fmla="*/ 2602523 h 2964609"/>
                <a:gd name="connsiteX46" fmla="*/ 11857055 w 11867103"/>
                <a:gd name="connsiteY46" fmla="*/ 2833635 h 2964609"/>
                <a:gd name="connsiteX47" fmla="*/ 11836958 w 11867103"/>
                <a:gd name="connsiteY47" fmla="*/ 2863780 h 2964609"/>
                <a:gd name="connsiteX48" fmla="*/ 11033090 w 11867103"/>
                <a:gd name="connsiteY48" fmla="*/ 2853732 h 2964609"/>
                <a:gd name="connsiteX49" fmla="*/ 10621108 w 11867103"/>
                <a:gd name="connsiteY49" fmla="*/ 2843684 h 2964609"/>
                <a:gd name="connsiteX50" fmla="*/ 10128739 w 11867103"/>
                <a:gd name="connsiteY50" fmla="*/ 2853732 h 2964609"/>
                <a:gd name="connsiteX51" fmla="*/ 10048352 w 11867103"/>
                <a:gd name="connsiteY51" fmla="*/ 2863780 h 2964609"/>
                <a:gd name="connsiteX52" fmla="*/ 9555982 w 11867103"/>
                <a:gd name="connsiteY52" fmla="*/ 2853732 h 2964609"/>
                <a:gd name="connsiteX53" fmla="*/ 9445451 w 11867103"/>
                <a:gd name="connsiteY53" fmla="*/ 2843684 h 2964609"/>
                <a:gd name="connsiteX54" fmla="*/ 9415306 w 11867103"/>
                <a:gd name="connsiteY54" fmla="*/ 2823587 h 2964609"/>
                <a:gd name="connsiteX55" fmla="*/ 9204290 w 11867103"/>
                <a:gd name="connsiteY55" fmla="*/ 2803490 h 2964609"/>
                <a:gd name="connsiteX56" fmla="*/ 9073662 w 11867103"/>
                <a:gd name="connsiteY56" fmla="*/ 2783393 h 2964609"/>
                <a:gd name="connsiteX57" fmla="*/ 8812404 w 11867103"/>
                <a:gd name="connsiteY57" fmla="*/ 2773345 h 2964609"/>
                <a:gd name="connsiteX58" fmla="*/ 8400422 w 11867103"/>
                <a:gd name="connsiteY58" fmla="*/ 2763297 h 2964609"/>
                <a:gd name="connsiteX59" fmla="*/ 8269793 w 11867103"/>
                <a:gd name="connsiteY59" fmla="*/ 2753248 h 2964609"/>
                <a:gd name="connsiteX60" fmla="*/ 7797521 w 11867103"/>
                <a:gd name="connsiteY60" fmla="*/ 2773345 h 2964609"/>
                <a:gd name="connsiteX61" fmla="*/ 7717134 w 11867103"/>
                <a:gd name="connsiteY61" fmla="*/ 2783393 h 2964609"/>
                <a:gd name="connsiteX62" fmla="*/ 7486022 w 11867103"/>
                <a:gd name="connsiteY62" fmla="*/ 2813539 h 2964609"/>
                <a:gd name="connsiteX63" fmla="*/ 7395587 w 11867103"/>
                <a:gd name="connsiteY63" fmla="*/ 2833635 h 2964609"/>
                <a:gd name="connsiteX64" fmla="*/ 7325248 w 11867103"/>
                <a:gd name="connsiteY64" fmla="*/ 2843684 h 2964609"/>
                <a:gd name="connsiteX65" fmla="*/ 6863024 w 11867103"/>
                <a:gd name="connsiteY65" fmla="*/ 2833635 h 2964609"/>
                <a:gd name="connsiteX66" fmla="*/ 6722347 w 11867103"/>
                <a:gd name="connsiteY66" fmla="*/ 2823587 h 2964609"/>
                <a:gd name="connsiteX67" fmla="*/ 4903596 w 11867103"/>
                <a:gd name="connsiteY67" fmla="*/ 2873829 h 2964609"/>
                <a:gd name="connsiteX68" fmla="*/ 4722725 w 11867103"/>
                <a:gd name="connsiteY68" fmla="*/ 2914022 h 2964609"/>
                <a:gd name="connsiteX69" fmla="*/ 4300695 w 11867103"/>
                <a:gd name="connsiteY69" fmla="*/ 2893925 h 2964609"/>
                <a:gd name="connsiteX70" fmla="*/ 4059534 w 11867103"/>
                <a:gd name="connsiteY70" fmla="*/ 2853732 h 2964609"/>
                <a:gd name="connsiteX71" fmla="*/ 3768132 w 11867103"/>
                <a:gd name="connsiteY71" fmla="*/ 2823587 h 2964609"/>
                <a:gd name="connsiteX72" fmla="*/ 3627455 w 11867103"/>
                <a:gd name="connsiteY72" fmla="*/ 2813539 h 2964609"/>
                <a:gd name="connsiteX73" fmla="*/ 3125037 w 11867103"/>
                <a:gd name="connsiteY73" fmla="*/ 2823587 h 2964609"/>
                <a:gd name="connsiteX74" fmla="*/ 3064747 w 11867103"/>
                <a:gd name="connsiteY74" fmla="*/ 2833635 h 2964609"/>
                <a:gd name="connsiteX75" fmla="*/ 2009670 w 11867103"/>
                <a:gd name="connsiteY75" fmla="*/ 2843684 h 2964609"/>
                <a:gd name="connsiteX76" fmla="*/ 1678075 w 11867103"/>
                <a:gd name="connsiteY76" fmla="*/ 2934119 h 2964609"/>
                <a:gd name="connsiteX77" fmla="*/ 1607736 w 11867103"/>
                <a:gd name="connsiteY77" fmla="*/ 2964264 h 2964609"/>
                <a:gd name="connsiteX78" fmla="*/ 1135464 w 11867103"/>
                <a:gd name="connsiteY78" fmla="*/ 2944167 h 2964609"/>
                <a:gd name="connsiteX79" fmla="*/ 944545 w 11867103"/>
                <a:gd name="connsiteY79" fmla="*/ 2914022 h 2964609"/>
                <a:gd name="connsiteX80" fmla="*/ 723481 w 11867103"/>
                <a:gd name="connsiteY80" fmla="*/ 2873829 h 2964609"/>
                <a:gd name="connsiteX81" fmla="*/ 643095 w 11867103"/>
                <a:gd name="connsiteY81" fmla="*/ 2863780 h 2964609"/>
                <a:gd name="connsiteX82" fmla="*/ 371789 w 11867103"/>
                <a:gd name="connsiteY82" fmla="*/ 2823587 h 2964609"/>
                <a:gd name="connsiteX83" fmla="*/ 0 w 11867103"/>
                <a:gd name="connsiteY83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2200589 w 11867103"/>
                <a:gd name="connsiteY6" fmla="*/ 50242 h 2964609"/>
                <a:gd name="connsiteX7" fmla="*/ 4652387 w 11867103"/>
                <a:gd name="connsiteY7" fmla="*/ 60290 h 2964609"/>
                <a:gd name="connsiteX8" fmla="*/ 4692580 w 11867103"/>
                <a:gd name="connsiteY8" fmla="*/ 70339 h 2964609"/>
                <a:gd name="connsiteX9" fmla="*/ 4843306 w 11867103"/>
                <a:gd name="connsiteY9" fmla="*/ 90435 h 2964609"/>
                <a:gd name="connsiteX10" fmla="*/ 5677319 w 11867103"/>
                <a:gd name="connsiteY10" fmla="*/ 80387 h 2964609"/>
                <a:gd name="connsiteX11" fmla="*/ 6169688 w 11867103"/>
                <a:gd name="connsiteY11" fmla="*/ 110532 h 2964609"/>
                <a:gd name="connsiteX12" fmla="*/ 6420897 w 11867103"/>
                <a:gd name="connsiteY12" fmla="*/ 90435 h 2964609"/>
                <a:gd name="connsiteX13" fmla="*/ 6511332 w 11867103"/>
                <a:gd name="connsiteY13" fmla="*/ 30145 h 2964609"/>
                <a:gd name="connsiteX14" fmla="*/ 6571622 w 11867103"/>
                <a:gd name="connsiteY14" fmla="*/ 20097 h 2964609"/>
                <a:gd name="connsiteX15" fmla="*/ 6641961 w 11867103"/>
                <a:gd name="connsiteY15" fmla="*/ 0 h 2964609"/>
                <a:gd name="connsiteX16" fmla="*/ 7204668 w 11867103"/>
                <a:gd name="connsiteY16" fmla="*/ 10048 h 2964609"/>
                <a:gd name="connsiteX17" fmla="*/ 7285055 w 11867103"/>
                <a:gd name="connsiteY17" fmla="*/ 30145 h 2964609"/>
                <a:gd name="connsiteX18" fmla="*/ 7375490 w 11867103"/>
                <a:gd name="connsiteY18" fmla="*/ 40193 h 2964609"/>
                <a:gd name="connsiteX19" fmla="*/ 7928150 w 11867103"/>
                <a:gd name="connsiteY19" fmla="*/ 60290 h 2964609"/>
                <a:gd name="connsiteX20" fmla="*/ 8109020 w 11867103"/>
                <a:gd name="connsiteY20" fmla="*/ 80387 h 2964609"/>
                <a:gd name="connsiteX21" fmla="*/ 8219552 w 11867103"/>
                <a:gd name="connsiteY21" fmla="*/ 90435 h 2964609"/>
                <a:gd name="connsiteX22" fmla="*/ 8299939 w 11867103"/>
                <a:gd name="connsiteY22" fmla="*/ 100484 h 2964609"/>
                <a:gd name="connsiteX23" fmla="*/ 8521002 w 11867103"/>
                <a:gd name="connsiteY23" fmla="*/ 110532 h 2964609"/>
                <a:gd name="connsiteX24" fmla="*/ 9515789 w 11867103"/>
                <a:gd name="connsiteY24" fmla="*/ 100484 h 2964609"/>
                <a:gd name="connsiteX25" fmla="*/ 9606224 w 11867103"/>
                <a:gd name="connsiteY25" fmla="*/ 90435 h 2964609"/>
                <a:gd name="connsiteX26" fmla="*/ 9716756 w 11867103"/>
                <a:gd name="connsiteY26" fmla="*/ 80387 h 2964609"/>
                <a:gd name="connsiteX27" fmla="*/ 9797143 w 11867103"/>
                <a:gd name="connsiteY27" fmla="*/ 70339 h 2964609"/>
                <a:gd name="connsiteX28" fmla="*/ 9947868 w 11867103"/>
                <a:gd name="connsiteY28" fmla="*/ 60290 h 2964609"/>
                <a:gd name="connsiteX29" fmla="*/ 10791930 w 11867103"/>
                <a:gd name="connsiteY29" fmla="*/ 30145 h 2964609"/>
                <a:gd name="connsiteX30" fmla="*/ 11736475 w 11867103"/>
                <a:gd name="connsiteY30" fmla="*/ 50242 h 2964609"/>
                <a:gd name="connsiteX31" fmla="*/ 11766620 w 11867103"/>
                <a:gd name="connsiteY31" fmla="*/ 80387 h 2964609"/>
                <a:gd name="connsiteX32" fmla="*/ 11786717 w 11867103"/>
                <a:gd name="connsiteY32" fmla="*/ 120580 h 2964609"/>
                <a:gd name="connsiteX33" fmla="*/ 11806813 w 11867103"/>
                <a:gd name="connsiteY33" fmla="*/ 211015 h 2964609"/>
                <a:gd name="connsiteX34" fmla="*/ 11816862 w 11867103"/>
                <a:gd name="connsiteY34" fmla="*/ 251209 h 2964609"/>
                <a:gd name="connsiteX35" fmla="*/ 11826910 w 11867103"/>
                <a:gd name="connsiteY35" fmla="*/ 341644 h 2964609"/>
                <a:gd name="connsiteX36" fmla="*/ 11836958 w 11867103"/>
                <a:gd name="connsiteY36" fmla="*/ 422031 h 2964609"/>
                <a:gd name="connsiteX37" fmla="*/ 11826910 w 11867103"/>
                <a:gd name="connsiteY37" fmla="*/ 733530 h 2964609"/>
                <a:gd name="connsiteX38" fmla="*/ 11816862 w 11867103"/>
                <a:gd name="connsiteY38" fmla="*/ 793820 h 2964609"/>
                <a:gd name="connsiteX39" fmla="*/ 11806813 w 11867103"/>
                <a:gd name="connsiteY39" fmla="*/ 864158 h 2964609"/>
                <a:gd name="connsiteX40" fmla="*/ 11816862 w 11867103"/>
                <a:gd name="connsiteY40" fmla="*/ 2331218 h 2964609"/>
                <a:gd name="connsiteX41" fmla="*/ 11826910 w 11867103"/>
                <a:gd name="connsiteY41" fmla="*/ 2401556 h 2964609"/>
                <a:gd name="connsiteX42" fmla="*/ 11836958 w 11867103"/>
                <a:gd name="connsiteY42" fmla="*/ 2431701 h 2964609"/>
                <a:gd name="connsiteX43" fmla="*/ 11857055 w 11867103"/>
                <a:gd name="connsiteY43" fmla="*/ 2562330 h 2964609"/>
                <a:gd name="connsiteX44" fmla="*/ 11867103 w 11867103"/>
                <a:gd name="connsiteY44" fmla="*/ 2602523 h 2964609"/>
                <a:gd name="connsiteX45" fmla="*/ 11857055 w 11867103"/>
                <a:gd name="connsiteY45" fmla="*/ 2833635 h 2964609"/>
                <a:gd name="connsiteX46" fmla="*/ 11836958 w 11867103"/>
                <a:gd name="connsiteY46" fmla="*/ 2863780 h 2964609"/>
                <a:gd name="connsiteX47" fmla="*/ 11033090 w 11867103"/>
                <a:gd name="connsiteY47" fmla="*/ 2853732 h 2964609"/>
                <a:gd name="connsiteX48" fmla="*/ 10621108 w 11867103"/>
                <a:gd name="connsiteY48" fmla="*/ 2843684 h 2964609"/>
                <a:gd name="connsiteX49" fmla="*/ 10128739 w 11867103"/>
                <a:gd name="connsiteY49" fmla="*/ 2853732 h 2964609"/>
                <a:gd name="connsiteX50" fmla="*/ 10048352 w 11867103"/>
                <a:gd name="connsiteY50" fmla="*/ 2863780 h 2964609"/>
                <a:gd name="connsiteX51" fmla="*/ 9555982 w 11867103"/>
                <a:gd name="connsiteY51" fmla="*/ 2853732 h 2964609"/>
                <a:gd name="connsiteX52" fmla="*/ 9445451 w 11867103"/>
                <a:gd name="connsiteY52" fmla="*/ 2843684 h 2964609"/>
                <a:gd name="connsiteX53" fmla="*/ 9415306 w 11867103"/>
                <a:gd name="connsiteY53" fmla="*/ 2823587 h 2964609"/>
                <a:gd name="connsiteX54" fmla="*/ 9204290 w 11867103"/>
                <a:gd name="connsiteY54" fmla="*/ 2803490 h 2964609"/>
                <a:gd name="connsiteX55" fmla="*/ 9073662 w 11867103"/>
                <a:gd name="connsiteY55" fmla="*/ 2783393 h 2964609"/>
                <a:gd name="connsiteX56" fmla="*/ 8812404 w 11867103"/>
                <a:gd name="connsiteY56" fmla="*/ 2773345 h 2964609"/>
                <a:gd name="connsiteX57" fmla="*/ 8400422 w 11867103"/>
                <a:gd name="connsiteY57" fmla="*/ 2763297 h 2964609"/>
                <a:gd name="connsiteX58" fmla="*/ 8269793 w 11867103"/>
                <a:gd name="connsiteY58" fmla="*/ 2753248 h 2964609"/>
                <a:gd name="connsiteX59" fmla="*/ 7797521 w 11867103"/>
                <a:gd name="connsiteY59" fmla="*/ 2773345 h 2964609"/>
                <a:gd name="connsiteX60" fmla="*/ 7717134 w 11867103"/>
                <a:gd name="connsiteY60" fmla="*/ 2783393 h 2964609"/>
                <a:gd name="connsiteX61" fmla="*/ 7486022 w 11867103"/>
                <a:gd name="connsiteY61" fmla="*/ 2813539 h 2964609"/>
                <a:gd name="connsiteX62" fmla="*/ 7395587 w 11867103"/>
                <a:gd name="connsiteY62" fmla="*/ 2833635 h 2964609"/>
                <a:gd name="connsiteX63" fmla="*/ 7325248 w 11867103"/>
                <a:gd name="connsiteY63" fmla="*/ 2843684 h 2964609"/>
                <a:gd name="connsiteX64" fmla="*/ 6863024 w 11867103"/>
                <a:gd name="connsiteY64" fmla="*/ 2833635 h 2964609"/>
                <a:gd name="connsiteX65" fmla="*/ 6722347 w 11867103"/>
                <a:gd name="connsiteY65" fmla="*/ 2823587 h 2964609"/>
                <a:gd name="connsiteX66" fmla="*/ 4903596 w 11867103"/>
                <a:gd name="connsiteY66" fmla="*/ 2873829 h 2964609"/>
                <a:gd name="connsiteX67" fmla="*/ 4722725 w 11867103"/>
                <a:gd name="connsiteY67" fmla="*/ 2914022 h 2964609"/>
                <a:gd name="connsiteX68" fmla="*/ 4300695 w 11867103"/>
                <a:gd name="connsiteY68" fmla="*/ 2893925 h 2964609"/>
                <a:gd name="connsiteX69" fmla="*/ 4059534 w 11867103"/>
                <a:gd name="connsiteY69" fmla="*/ 2853732 h 2964609"/>
                <a:gd name="connsiteX70" fmla="*/ 3768132 w 11867103"/>
                <a:gd name="connsiteY70" fmla="*/ 2823587 h 2964609"/>
                <a:gd name="connsiteX71" fmla="*/ 3627455 w 11867103"/>
                <a:gd name="connsiteY71" fmla="*/ 2813539 h 2964609"/>
                <a:gd name="connsiteX72" fmla="*/ 3125037 w 11867103"/>
                <a:gd name="connsiteY72" fmla="*/ 2823587 h 2964609"/>
                <a:gd name="connsiteX73" fmla="*/ 3064747 w 11867103"/>
                <a:gd name="connsiteY73" fmla="*/ 2833635 h 2964609"/>
                <a:gd name="connsiteX74" fmla="*/ 2009670 w 11867103"/>
                <a:gd name="connsiteY74" fmla="*/ 2843684 h 2964609"/>
                <a:gd name="connsiteX75" fmla="*/ 1678075 w 11867103"/>
                <a:gd name="connsiteY75" fmla="*/ 2934119 h 2964609"/>
                <a:gd name="connsiteX76" fmla="*/ 1607736 w 11867103"/>
                <a:gd name="connsiteY76" fmla="*/ 2964264 h 2964609"/>
                <a:gd name="connsiteX77" fmla="*/ 1135464 w 11867103"/>
                <a:gd name="connsiteY77" fmla="*/ 2944167 h 2964609"/>
                <a:gd name="connsiteX78" fmla="*/ 944545 w 11867103"/>
                <a:gd name="connsiteY78" fmla="*/ 2914022 h 2964609"/>
                <a:gd name="connsiteX79" fmla="*/ 723481 w 11867103"/>
                <a:gd name="connsiteY79" fmla="*/ 2873829 h 2964609"/>
                <a:gd name="connsiteX80" fmla="*/ 643095 w 11867103"/>
                <a:gd name="connsiteY80" fmla="*/ 2863780 h 2964609"/>
                <a:gd name="connsiteX81" fmla="*/ 371789 w 11867103"/>
                <a:gd name="connsiteY81" fmla="*/ 2823587 h 2964609"/>
                <a:gd name="connsiteX82" fmla="*/ 0 w 11867103"/>
                <a:gd name="connsiteY82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4843306 w 11867103"/>
                <a:gd name="connsiteY8" fmla="*/ 90435 h 2964609"/>
                <a:gd name="connsiteX9" fmla="*/ 5677319 w 11867103"/>
                <a:gd name="connsiteY9" fmla="*/ 80387 h 2964609"/>
                <a:gd name="connsiteX10" fmla="*/ 6169688 w 11867103"/>
                <a:gd name="connsiteY10" fmla="*/ 110532 h 2964609"/>
                <a:gd name="connsiteX11" fmla="*/ 6420897 w 11867103"/>
                <a:gd name="connsiteY11" fmla="*/ 90435 h 2964609"/>
                <a:gd name="connsiteX12" fmla="*/ 6511332 w 11867103"/>
                <a:gd name="connsiteY12" fmla="*/ 30145 h 2964609"/>
                <a:gd name="connsiteX13" fmla="*/ 6571622 w 11867103"/>
                <a:gd name="connsiteY13" fmla="*/ 20097 h 2964609"/>
                <a:gd name="connsiteX14" fmla="*/ 6641961 w 11867103"/>
                <a:gd name="connsiteY14" fmla="*/ 0 h 2964609"/>
                <a:gd name="connsiteX15" fmla="*/ 7204668 w 11867103"/>
                <a:gd name="connsiteY15" fmla="*/ 10048 h 2964609"/>
                <a:gd name="connsiteX16" fmla="*/ 7285055 w 11867103"/>
                <a:gd name="connsiteY16" fmla="*/ 30145 h 2964609"/>
                <a:gd name="connsiteX17" fmla="*/ 7375490 w 11867103"/>
                <a:gd name="connsiteY17" fmla="*/ 40193 h 2964609"/>
                <a:gd name="connsiteX18" fmla="*/ 7928150 w 11867103"/>
                <a:gd name="connsiteY18" fmla="*/ 60290 h 2964609"/>
                <a:gd name="connsiteX19" fmla="*/ 8109020 w 11867103"/>
                <a:gd name="connsiteY19" fmla="*/ 80387 h 2964609"/>
                <a:gd name="connsiteX20" fmla="*/ 8219552 w 11867103"/>
                <a:gd name="connsiteY20" fmla="*/ 90435 h 2964609"/>
                <a:gd name="connsiteX21" fmla="*/ 8299939 w 11867103"/>
                <a:gd name="connsiteY21" fmla="*/ 100484 h 2964609"/>
                <a:gd name="connsiteX22" fmla="*/ 8521002 w 11867103"/>
                <a:gd name="connsiteY22" fmla="*/ 110532 h 2964609"/>
                <a:gd name="connsiteX23" fmla="*/ 9515789 w 11867103"/>
                <a:gd name="connsiteY23" fmla="*/ 100484 h 2964609"/>
                <a:gd name="connsiteX24" fmla="*/ 9606224 w 11867103"/>
                <a:gd name="connsiteY24" fmla="*/ 90435 h 2964609"/>
                <a:gd name="connsiteX25" fmla="*/ 9716756 w 11867103"/>
                <a:gd name="connsiteY25" fmla="*/ 80387 h 2964609"/>
                <a:gd name="connsiteX26" fmla="*/ 9797143 w 11867103"/>
                <a:gd name="connsiteY26" fmla="*/ 70339 h 2964609"/>
                <a:gd name="connsiteX27" fmla="*/ 9947868 w 11867103"/>
                <a:gd name="connsiteY27" fmla="*/ 60290 h 2964609"/>
                <a:gd name="connsiteX28" fmla="*/ 10791930 w 11867103"/>
                <a:gd name="connsiteY28" fmla="*/ 30145 h 2964609"/>
                <a:gd name="connsiteX29" fmla="*/ 11736475 w 11867103"/>
                <a:gd name="connsiteY29" fmla="*/ 50242 h 2964609"/>
                <a:gd name="connsiteX30" fmla="*/ 11766620 w 11867103"/>
                <a:gd name="connsiteY30" fmla="*/ 80387 h 2964609"/>
                <a:gd name="connsiteX31" fmla="*/ 11786717 w 11867103"/>
                <a:gd name="connsiteY31" fmla="*/ 120580 h 2964609"/>
                <a:gd name="connsiteX32" fmla="*/ 11806813 w 11867103"/>
                <a:gd name="connsiteY32" fmla="*/ 211015 h 2964609"/>
                <a:gd name="connsiteX33" fmla="*/ 11816862 w 11867103"/>
                <a:gd name="connsiteY33" fmla="*/ 251209 h 2964609"/>
                <a:gd name="connsiteX34" fmla="*/ 11826910 w 11867103"/>
                <a:gd name="connsiteY34" fmla="*/ 341644 h 2964609"/>
                <a:gd name="connsiteX35" fmla="*/ 11836958 w 11867103"/>
                <a:gd name="connsiteY35" fmla="*/ 422031 h 2964609"/>
                <a:gd name="connsiteX36" fmla="*/ 11826910 w 11867103"/>
                <a:gd name="connsiteY36" fmla="*/ 733530 h 2964609"/>
                <a:gd name="connsiteX37" fmla="*/ 11816862 w 11867103"/>
                <a:gd name="connsiteY37" fmla="*/ 793820 h 2964609"/>
                <a:gd name="connsiteX38" fmla="*/ 11806813 w 11867103"/>
                <a:gd name="connsiteY38" fmla="*/ 864158 h 2964609"/>
                <a:gd name="connsiteX39" fmla="*/ 11816862 w 11867103"/>
                <a:gd name="connsiteY39" fmla="*/ 2331218 h 2964609"/>
                <a:gd name="connsiteX40" fmla="*/ 11826910 w 11867103"/>
                <a:gd name="connsiteY40" fmla="*/ 2401556 h 2964609"/>
                <a:gd name="connsiteX41" fmla="*/ 11836958 w 11867103"/>
                <a:gd name="connsiteY41" fmla="*/ 2431701 h 2964609"/>
                <a:gd name="connsiteX42" fmla="*/ 11857055 w 11867103"/>
                <a:gd name="connsiteY42" fmla="*/ 2562330 h 2964609"/>
                <a:gd name="connsiteX43" fmla="*/ 11867103 w 11867103"/>
                <a:gd name="connsiteY43" fmla="*/ 2602523 h 2964609"/>
                <a:gd name="connsiteX44" fmla="*/ 11857055 w 11867103"/>
                <a:gd name="connsiteY44" fmla="*/ 2833635 h 2964609"/>
                <a:gd name="connsiteX45" fmla="*/ 11836958 w 11867103"/>
                <a:gd name="connsiteY45" fmla="*/ 2863780 h 2964609"/>
                <a:gd name="connsiteX46" fmla="*/ 11033090 w 11867103"/>
                <a:gd name="connsiteY46" fmla="*/ 2853732 h 2964609"/>
                <a:gd name="connsiteX47" fmla="*/ 10621108 w 11867103"/>
                <a:gd name="connsiteY47" fmla="*/ 2843684 h 2964609"/>
                <a:gd name="connsiteX48" fmla="*/ 10128739 w 11867103"/>
                <a:gd name="connsiteY48" fmla="*/ 2853732 h 2964609"/>
                <a:gd name="connsiteX49" fmla="*/ 10048352 w 11867103"/>
                <a:gd name="connsiteY49" fmla="*/ 2863780 h 2964609"/>
                <a:gd name="connsiteX50" fmla="*/ 9555982 w 11867103"/>
                <a:gd name="connsiteY50" fmla="*/ 2853732 h 2964609"/>
                <a:gd name="connsiteX51" fmla="*/ 9445451 w 11867103"/>
                <a:gd name="connsiteY51" fmla="*/ 2843684 h 2964609"/>
                <a:gd name="connsiteX52" fmla="*/ 9415306 w 11867103"/>
                <a:gd name="connsiteY52" fmla="*/ 2823587 h 2964609"/>
                <a:gd name="connsiteX53" fmla="*/ 9204290 w 11867103"/>
                <a:gd name="connsiteY53" fmla="*/ 2803490 h 2964609"/>
                <a:gd name="connsiteX54" fmla="*/ 9073662 w 11867103"/>
                <a:gd name="connsiteY54" fmla="*/ 2783393 h 2964609"/>
                <a:gd name="connsiteX55" fmla="*/ 8812404 w 11867103"/>
                <a:gd name="connsiteY55" fmla="*/ 2773345 h 2964609"/>
                <a:gd name="connsiteX56" fmla="*/ 8400422 w 11867103"/>
                <a:gd name="connsiteY56" fmla="*/ 2763297 h 2964609"/>
                <a:gd name="connsiteX57" fmla="*/ 8269793 w 11867103"/>
                <a:gd name="connsiteY57" fmla="*/ 2753248 h 2964609"/>
                <a:gd name="connsiteX58" fmla="*/ 7797521 w 11867103"/>
                <a:gd name="connsiteY58" fmla="*/ 2773345 h 2964609"/>
                <a:gd name="connsiteX59" fmla="*/ 7717134 w 11867103"/>
                <a:gd name="connsiteY59" fmla="*/ 2783393 h 2964609"/>
                <a:gd name="connsiteX60" fmla="*/ 7486022 w 11867103"/>
                <a:gd name="connsiteY60" fmla="*/ 2813539 h 2964609"/>
                <a:gd name="connsiteX61" fmla="*/ 7395587 w 11867103"/>
                <a:gd name="connsiteY61" fmla="*/ 2833635 h 2964609"/>
                <a:gd name="connsiteX62" fmla="*/ 7325248 w 11867103"/>
                <a:gd name="connsiteY62" fmla="*/ 2843684 h 2964609"/>
                <a:gd name="connsiteX63" fmla="*/ 6863024 w 11867103"/>
                <a:gd name="connsiteY63" fmla="*/ 2833635 h 2964609"/>
                <a:gd name="connsiteX64" fmla="*/ 6722347 w 11867103"/>
                <a:gd name="connsiteY64" fmla="*/ 2823587 h 2964609"/>
                <a:gd name="connsiteX65" fmla="*/ 4903596 w 11867103"/>
                <a:gd name="connsiteY65" fmla="*/ 2873829 h 2964609"/>
                <a:gd name="connsiteX66" fmla="*/ 4722725 w 11867103"/>
                <a:gd name="connsiteY66" fmla="*/ 2914022 h 2964609"/>
                <a:gd name="connsiteX67" fmla="*/ 4300695 w 11867103"/>
                <a:gd name="connsiteY67" fmla="*/ 2893925 h 2964609"/>
                <a:gd name="connsiteX68" fmla="*/ 4059534 w 11867103"/>
                <a:gd name="connsiteY68" fmla="*/ 2853732 h 2964609"/>
                <a:gd name="connsiteX69" fmla="*/ 3768132 w 11867103"/>
                <a:gd name="connsiteY69" fmla="*/ 2823587 h 2964609"/>
                <a:gd name="connsiteX70" fmla="*/ 3627455 w 11867103"/>
                <a:gd name="connsiteY70" fmla="*/ 2813539 h 2964609"/>
                <a:gd name="connsiteX71" fmla="*/ 3125037 w 11867103"/>
                <a:gd name="connsiteY71" fmla="*/ 2823587 h 2964609"/>
                <a:gd name="connsiteX72" fmla="*/ 3064747 w 11867103"/>
                <a:gd name="connsiteY72" fmla="*/ 2833635 h 2964609"/>
                <a:gd name="connsiteX73" fmla="*/ 2009670 w 11867103"/>
                <a:gd name="connsiteY73" fmla="*/ 2843684 h 2964609"/>
                <a:gd name="connsiteX74" fmla="*/ 1678075 w 11867103"/>
                <a:gd name="connsiteY74" fmla="*/ 2934119 h 2964609"/>
                <a:gd name="connsiteX75" fmla="*/ 1607736 w 11867103"/>
                <a:gd name="connsiteY75" fmla="*/ 2964264 h 2964609"/>
                <a:gd name="connsiteX76" fmla="*/ 1135464 w 11867103"/>
                <a:gd name="connsiteY76" fmla="*/ 2944167 h 2964609"/>
                <a:gd name="connsiteX77" fmla="*/ 944545 w 11867103"/>
                <a:gd name="connsiteY77" fmla="*/ 2914022 h 2964609"/>
                <a:gd name="connsiteX78" fmla="*/ 723481 w 11867103"/>
                <a:gd name="connsiteY78" fmla="*/ 2873829 h 2964609"/>
                <a:gd name="connsiteX79" fmla="*/ 643095 w 11867103"/>
                <a:gd name="connsiteY79" fmla="*/ 2863780 h 2964609"/>
                <a:gd name="connsiteX80" fmla="*/ 371789 w 11867103"/>
                <a:gd name="connsiteY80" fmla="*/ 2823587 h 2964609"/>
                <a:gd name="connsiteX81" fmla="*/ 0 w 11867103"/>
                <a:gd name="connsiteY81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5677319 w 11867103"/>
                <a:gd name="connsiteY8" fmla="*/ 80387 h 2964609"/>
                <a:gd name="connsiteX9" fmla="*/ 6169688 w 11867103"/>
                <a:gd name="connsiteY9" fmla="*/ 110532 h 2964609"/>
                <a:gd name="connsiteX10" fmla="*/ 6420897 w 11867103"/>
                <a:gd name="connsiteY10" fmla="*/ 90435 h 2964609"/>
                <a:gd name="connsiteX11" fmla="*/ 6511332 w 11867103"/>
                <a:gd name="connsiteY11" fmla="*/ 30145 h 2964609"/>
                <a:gd name="connsiteX12" fmla="*/ 6571622 w 11867103"/>
                <a:gd name="connsiteY12" fmla="*/ 20097 h 2964609"/>
                <a:gd name="connsiteX13" fmla="*/ 6641961 w 11867103"/>
                <a:gd name="connsiteY13" fmla="*/ 0 h 2964609"/>
                <a:gd name="connsiteX14" fmla="*/ 7204668 w 11867103"/>
                <a:gd name="connsiteY14" fmla="*/ 10048 h 2964609"/>
                <a:gd name="connsiteX15" fmla="*/ 7285055 w 11867103"/>
                <a:gd name="connsiteY15" fmla="*/ 30145 h 2964609"/>
                <a:gd name="connsiteX16" fmla="*/ 7375490 w 11867103"/>
                <a:gd name="connsiteY16" fmla="*/ 40193 h 2964609"/>
                <a:gd name="connsiteX17" fmla="*/ 7928150 w 11867103"/>
                <a:gd name="connsiteY17" fmla="*/ 60290 h 2964609"/>
                <a:gd name="connsiteX18" fmla="*/ 8109020 w 11867103"/>
                <a:gd name="connsiteY18" fmla="*/ 80387 h 2964609"/>
                <a:gd name="connsiteX19" fmla="*/ 8219552 w 11867103"/>
                <a:gd name="connsiteY19" fmla="*/ 90435 h 2964609"/>
                <a:gd name="connsiteX20" fmla="*/ 8299939 w 11867103"/>
                <a:gd name="connsiteY20" fmla="*/ 100484 h 2964609"/>
                <a:gd name="connsiteX21" fmla="*/ 8521002 w 11867103"/>
                <a:gd name="connsiteY21" fmla="*/ 110532 h 2964609"/>
                <a:gd name="connsiteX22" fmla="*/ 9515789 w 11867103"/>
                <a:gd name="connsiteY22" fmla="*/ 100484 h 2964609"/>
                <a:gd name="connsiteX23" fmla="*/ 9606224 w 11867103"/>
                <a:gd name="connsiteY23" fmla="*/ 90435 h 2964609"/>
                <a:gd name="connsiteX24" fmla="*/ 9716756 w 11867103"/>
                <a:gd name="connsiteY24" fmla="*/ 80387 h 2964609"/>
                <a:gd name="connsiteX25" fmla="*/ 9797143 w 11867103"/>
                <a:gd name="connsiteY25" fmla="*/ 70339 h 2964609"/>
                <a:gd name="connsiteX26" fmla="*/ 9947868 w 11867103"/>
                <a:gd name="connsiteY26" fmla="*/ 60290 h 2964609"/>
                <a:gd name="connsiteX27" fmla="*/ 10791930 w 11867103"/>
                <a:gd name="connsiteY27" fmla="*/ 30145 h 2964609"/>
                <a:gd name="connsiteX28" fmla="*/ 11736475 w 11867103"/>
                <a:gd name="connsiteY28" fmla="*/ 50242 h 2964609"/>
                <a:gd name="connsiteX29" fmla="*/ 11766620 w 11867103"/>
                <a:gd name="connsiteY29" fmla="*/ 80387 h 2964609"/>
                <a:gd name="connsiteX30" fmla="*/ 11786717 w 11867103"/>
                <a:gd name="connsiteY30" fmla="*/ 120580 h 2964609"/>
                <a:gd name="connsiteX31" fmla="*/ 11806813 w 11867103"/>
                <a:gd name="connsiteY31" fmla="*/ 211015 h 2964609"/>
                <a:gd name="connsiteX32" fmla="*/ 11816862 w 11867103"/>
                <a:gd name="connsiteY32" fmla="*/ 251209 h 2964609"/>
                <a:gd name="connsiteX33" fmla="*/ 11826910 w 11867103"/>
                <a:gd name="connsiteY33" fmla="*/ 341644 h 2964609"/>
                <a:gd name="connsiteX34" fmla="*/ 11836958 w 11867103"/>
                <a:gd name="connsiteY34" fmla="*/ 422031 h 2964609"/>
                <a:gd name="connsiteX35" fmla="*/ 11826910 w 11867103"/>
                <a:gd name="connsiteY35" fmla="*/ 733530 h 2964609"/>
                <a:gd name="connsiteX36" fmla="*/ 11816862 w 11867103"/>
                <a:gd name="connsiteY36" fmla="*/ 793820 h 2964609"/>
                <a:gd name="connsiteX37" fmla="*/ 11806813 w 11867103"/>
                <a:gd name="connsiteY37" fmla="*/ 864158 h 2964609"/>
                <a:gd name="connsiteX38" fmla="*/ 11816862 w 11867103"/>
                <a:gd name="connsiteY38" fmla="*/ 2331218 h 2964609"/>
                <a:gd name="connsiteX39" fmla="*/ 11826910 w 11867103"/>
                <a:gd name="connsiteY39" fmla="*/ 2401556 h 2964609"/>
                <a:gd name="connsiteX40" fmla="*/ 11836958 w 11867103"/>
                <a:gd name="connsiteY40" fmla="*/ 2431701 h 2964609"/>
                <a:gd name="connsiteX41" fmla="*/ 11857055 w 11867103"/>
                <a:gd name="connsiteY41" fmla="*/ 2562330 h 2964609"/>
                <a:gd name="connsiteX42" fmla="*/ 11867103 w 11867103"/>
                <a:gd name="connsiteY42" fmla="*/ 2602523 h 2964609"/>
                <a:gd name="connsiteX43" fmla="*/ 11857055 w 11867103"/>
                <a:gd name="connsiteY43" fmla="*/ 2833635 h 2964609"/>
                <a:gd name="connsiteX44" fmla="*/ 11836958 w 11867103"/>
                <a:gd name="connsiteY44" fmla="*/ 2863780 h 2964609"/>
                <a:gd name="connsiteX45" fmla="*/ 11033090 w 11867103"/>
                <a:gd name="connsiteY45" fmla="*/ 2853732 h 2964609"/>
                <a:gd name="connsiteX46" fmla="*/ 10621108 w 11867103"/>
                <a:gd name="connsiteY46" fmla="*/ 2843684 h 2964609"/>
                <a:gd name="connsiteX47" fmla="*/ 10128739 w 11867103"/>
                <a:gd name="connsiteY47" fmla="*/ 2853732 h 2964609"/>
                <a:gd name="connsiteX48" fmla="*/ 10048352 w 11867103"/>
                <a:gd name="connsiteY48" fmla="*/ 2863780 h 2964609"/>
                <a:gd name="connsiteX49" fmla="*/ 9555982 w 11867103"/>
                <a:gd name="connsiteY49" fmla="*/ 2853732 h 2964609"/>
                <a:gd name="connsiteX50" fmla="*/ 9445451 w 11867103"/>
                <a:gd name="connsiteY50" fmla="*/ 2843684 h 2964609"/>
                <a:gd name="connsiteX51" fmla="*/ 9415306 w 11867103"/>
                <a:gd name="connsiteY51" fmla="*/ 2823587 h 2964609"/>
                <a:gd name="connsiteX52" fmla="*/ 9204290 w 11867103"/>
                <a:gd name="connsiteY52" fmla="*/ 2803490 h 2964609"/>
                <a:gd name="connsiteX53" fmla="*/ 9073662 w 11867103"/>
                <a:gd name="connsiteY53" fmla="*/ 2783393 h 2964609"/>
                <a:gd name="connsiteX54" fmla="*/ 8812404 w 11867103"/>
                <a:gd name="connsiteY54" fmla="*/ 2773345 h 2964609"/>
                <a:gd name="connsiteX55" fmla="*/ 8400422 w 11867103"/>
                <a:gd name="connsiteY55" fmla="*/ 2763297 h 2964609"/>
                <a:gd name="connsiteX56" fmla="*/ 8269793 w 11867103"/>
                <a:gd name="connsiteY56" fmla="*/ 2753248 h 2964609"/>
                <a:gd name="connsiteX57" fmla="*/ 7797521 w 11867103"/>
                <a:gd name="connsiteY57" fmla="*/ 2773345 h 2964609"/>
                <a:gd name="connsiteX58" fmla="*/ 7717134 w 11867103"/>
                <a:gd name="connsiteY58" fmla="*/ 2783393 h 2964609"/>
                <a:gd name="connsiteX59" fmla="*/ 7486022 w 11867103"/>
                <a:gd name="connsiteY59" fmla="*/ 2813539 h 2964609"/>
                <a:gd name="connsiteX60" fmla="*/ 7395587 w 11867103"/>
                <a:gd name="connsiteY60" fmla="*/ 2833635 h 2964609"/>
                <a:gd name="connsiteX61" fmla="*/ 7325248 w 11867103"/>
                <a:gd name="connsiteY61" fmla="*/ 2843684 h 2964609"/>
                <a:gd name="connsiteX62" fmla="*/ 6863024 w 11867103"/>
                <a:gd name="connsiteY62" fmla="*/ 2833635 h 2964609"/>
                <a:gd name="connsiteX63" fmla="*/ 6722347 w 11867103"/>
                <a:gd name="connsiteY63" fmla="*/ 2823587 h 2964609"/>
                <a:gd name="connsiteX64" fmla="*/ 4903596 w 11867103"/>
                <a:gd name="connsiteY64" fmla="*/ 2873829 h 2964609"/>
                <a:gd name="connsiteX65" fmla="*/ 4722725 w 11867103"/>
                <a:gd name="connsiteY65" fmla="*/ 2914022 h 2964609"/>
                <a:gd name="connsiteX66" fmla="*/ 4300695 w 11867103"/>
                <a:gd name="connsiteY66" fmla="*/ 2893925 h 2964609"/>
                <a:gd name="connsiteX67" fmla="*/ 4059534 w 11867103"/>
                <a:gd name="connsiteY67" fmla="*/ 2853732 h 2964609"/>
                <a:gd name="connsiteX68" fmla="*/ 3768132 w 11867103"/>
                <a:gd name="connsiteY68" fmla="*/ 2823587 h 2964609"/>
                <a:gd name="connsiteX69" fmla="*/ 3627455 w 11867103"/>
                <a:gd name="connsiteY69" fmla="*/ 2813539 h 2964609"/>
                <a:gd name="connsiteX70" fmla="*/ 3125037 w 11867103"/>
                <a:gd name="connsiteY70" fmla="*/ 2823587 h 2964609"/>
                <a:gd name="connsiteX71" fmla="*/ 3064747 w 11867103"/>
                <a:gd name="connsiteY71" fmla="*/ 2833635 h 2964609"/>
                <a:gd name="connsiteX72" fmla="*/ 2009670 w 11867103"/>
                <a:gd name="connsiteY72" fmla="*/ 2843684 h 2964609"/>
                <a:gd name="connsiteX73" fmla="*/ 1678075 w 11867103"/>
                <a:gd name="connsiteY73" fmla="*/ 2934119 h 2964609"/>
                <a:gd name="connsiteX74" fmla="*/ 1607736 w 11867103"/>
                <a:gd name="connsiteY74" fmla="*/ 2964264 h 2964609"/>
                <a:gd name="connsiteX75" fmla="*/ 1135464 w 11867103"/>
                <a:gd name="connsiteY75" fmla="*/ 2944167 h 2964609"/>
                <a:gd name="connsiteX76" fmla="*/ 944545 w 11867103"/>
                <a:gd name="connsiteY76" fmla="*/ 2914022 h 2964609"/>
                <a:gd name="connsiteX77" fmla="*/ 723481 w 11867103"/>
                <a:gd name="connsiteY77" fmla="*/ 2873829 h 2964609"/>
                <a:gd name="connsiteX78" fmla="*/ 643095 w 11867103"/>
                <a:gd name="connsiteY78" fmla="*/ 2863780 h 2964609"/>
                <a:gd name="connsiteX79" fmla="*/ 371789 w 11867103"/>
                <a:gd name="connsiteY79" fmla="*/ 2823587 h 2964609"/>
                <a:gd name="connsiteX80" fmla="*/ 0 w 11867103"/>
                <a:gd name="connsiteY80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6169688 w 11867103"/>
                <a:gd name="connsiteY8" fmla="*/ 110532 h 2964609"/>
                <a:gd name="connsiteX9" fmla="*/ 6420897 w 11867103"/>
                <a:gd name="connsiteY9" fmla="*/ 90435 h 2964609"/>
                <a:gd name="connsiteX10" fmla="*/ 6511332 w 11867103"/>
                <a:gd name="connsiteY10" fmla="*/ 30145 h 2964609"/>
                <a:gd name="connsiteX11" fmla="*/ 6571622 w 11867103"/>
                <a:gd name="connsiteY11" fmla="*/ 20097 h 2964609"/>
                <a:gd name="connsiteX12" fmla="*/ 6641961 w 11867103"/>
                <a:gd name="connsiteY12" fmla="*/ 0 h 2964609"/>
                <a:gd name="connsiteX13" fmla="*/ 7204668 w 11867103"/>
                <a:gd name="connsiteY13" fmla="*/ 10048 h 2964609"/>
                <a:gd name="connsiteX14" fmla="*/ 7285055 w 11867103"/>
                <a:gd name="connsiteY14" fmla="*/ 30145 h 2964609"/>
                <a:gd name="connsiteX15" fmla="*/ 7375490 w 11867103"/>
                <a:gd name="connsiteY15" fmla="*/ 40193 h 2964609"/>
                <a:gd name="connsiteX16" fmla="*/ 7928150 w 11867103"/>
                <a:gd name="connsiteY16" fmla="*/ 60290 h 2964609"/>
                <a:gd name="connsiteX17" fmla="*/ 8109020 w 11867103"/>
                <a:gd name="connsiteY17" fmla="*/ 80387 h 2964609"/>
                <a:gd name="connsiteX18" fmla="*/ 8219552 w 11867103"/>
                <a:gd name="connsiteY18" fmla="*/ 90435 h 2964609"/>
                <a:gd name="connsiteX19" fmla="*/ 8299939 w 11867103"/>
                <a:gd name="connsiteY19" fmla="*/ 100484 h 2964609"/>
                <a:gd name="connsiteX20" fmla="*/ 8521002 w 11867103"/>
                <a:gd name="connsiteY20" fmla="*/ 110532 h 2964609"/>
                <a:gd name="connsiteX21" fmla="*/ 9515789 w 11867103"/>
                <a:gd name="connsiteY21" fmla="*/ 100484 h 2964609"/>
                <a:gd name="connsiteX22" fmla="*/ 9606224 w 11867103"/>
                <a:gd name="connsiteY22" fmla="*/ 90435 h 2964609"/>
                <a:gd name="connsiteX23" fmla="*/ 9716756 w 11867103"/>
                <a:gd name="connsiteY23" fmla="*/ 80387 h 2964609"/>
                <a:gd name="connsiteX24" fmla="*/ 9797143 w 11867103"/>
                <a:gd name="connsiteY24" fmla="*/ 70339 h 2964609"/>
                <a:gd name="connsiteX25" fmla="*/ 9947868 w 11867103"/>
                <a:gd name="connsiteY25" fmla="*/ 60290 h 2964609"/>
                <a:gd name="connsiteX26" fmla="*/ 10791930 w 11867103"/>
                <a:gd name="connsiteY26" fmla="*/ 30145 h 2964609"/>
                <a:gd name="connsiteX27" fmla="*/ 11736475 w 11867103"/>
                <a:gd name="connsiteY27" fmla="*/ 50242 h 2964609"/>
                <a:gd name="connsiteX28" fmla="*/ 11766620 w 11867103"/>
                <a:gd name="connsiteY28" fmla="*/ 80387 h 2964609"/>
                <a:gd name="connsiteX29" fmla="*/ 11786717 w 11867103"/>
                <a:gd name="connsiteY29" fmla="*/ 120580 h 2964609"/>
                <a:gd name="connsiteX30" fmla="*/ 11806813 w 11867103"/>
                <a:gd name="connsiteY30" fmla="*/ 211015 h 2964609"/>
                <a:gd name="connsiteX31" fmla="*/ 11816862 w 11867103"/>
                <a:gd name="connsiteY31" fmla="*/ 251209 h 2964609"/>
                <a:gd name="connsiteX32" fmla="*/ 11826910 w 11867103"/>
                <a:gd name="connsiteY32" fmla="*/ 341644 h 2964609"/>
                <a:gd name="connsiteX33" fmla="*/ 11836958 w 11867103"/>
                <a:gd name="connsiteY33" fmla="*/ 422031 h 2964609"/>
                <a:gd name="connsiteX34" fmla="*/ 11826910 w 11867103"/>
                <a:gd name="connsiteY34" fmla="*/ 733530 h 2964609"/>
                <a:gd name="connsiteX35" fmla="*/ 11816862 w 11867103"/>
                <a:gd name="connsiteY35" fmla="*/ 793820 h 2964609"/>
                <a:gd name="connsiteX36" fmla="*/ 11806813 w 11867103"/>
                <a:gd name="connsiteY36" fmla="*/ 864158 h 2964609"/>
                <a:gd name="connsiteX37" fmla="*/ 11816862 w 11867103"/>
                <a:gd name="connsiteY37" fmla="*/ 2331218 h 2964609"/>
                <a:gd name="connsiteX38" fmla="*/ 11826910 w 11867103"/>
                <a:gd name="connsiteY38" fmla="*/ 2401556 h 2964609"/>
                <a:gd name="connsiteX39" fmla="*/ 11836958 w 11867103"/>
                <a:gd name="connsiteY39" fmla="*/ 2431701 h 2964609"/>
                <a:gd name="connsiteX40" fmla="*/ 11857055 w 11867103"/>
                <a:gd name="connsiteY40" fmla="*/ 2562330 h 2964609"/>
                <a:gd name="connsiteX41" fmla="*/ 11867103 w 11867103"/>
                <a:gd name="connsiteY41" fmla="*/ 2602523 h 2964609"/>
                <a:gd name="connsiteX42" fmla="*/ 11857055 w 11867103"/>
                <a:gd name="connsiteY42" fmla="*/ 2833635 h 2964609"/>
                <a:gd name="connsiteX43" fmla="*/ 11836958 w 11867103"/>
                <a:gd name="connsiteY43" fmla="*/ 2863780 h 2964609"/>
                <a:gd name="connsiteX44" fmla="*/ 11033090 w 11867103"/>
                <a:gd name="connsiteY44" fmla="*/ 2853732 h 2964609"/>
                <a:gd name="connsiteX45" fmla="*/ 10621108 w 11867103"/>
                <a:gd name="connsiteY45" fmla="*/ 2843684 h 2964609"/>
                <a:gd name="connsiteX46" fmla="*/ 10128739 w 11867103"/>
                <a:gd name="connsiteY46" fmla="*/ 2853732 h 2964609"/>
                <a:gd name="connsiteX47" fmla="*/ 10048352 w 11867103"/>
                <a:gd name="connsiteY47" fmla="*/ 2863780 h 2964609"/>
                <a:gd name="connsiteX48" fmla="*/ 9555982 w 11867103"/>
                <a:gd name="connsiteY48" fmla="*/ 2853732 h 2964609"/>
                <a:gd name="connsiteX49" fmla="*/ 9445451 w 11867103"/>
                <a:gd name="connsiteY49" fmla="*/ 2843684 h 2964609"/>
                <a:gd name="connsiteX50" fmla="*/ 9415306 w 11867103"/>
                <a:gd name="connsiteY50" fmla="*/ 2823587 h 2964609"/>
                <a:gd name="connsiteX51" fmla="*/ 9204290 w 11867103"/>
                <a:gd name="connsiteY51" fmla="*/ 2803490 h 2964609"/>
                <a:gd name="connsiteX52" fmla="*/ 9073662 w 11867103"/>
                <a:gd name="connsiteY52" fmla="*/ 2783393 h 2964609"/>
                <a:gd name="connsiteX53" fmla="*/ 8812404 w 11867103"/>
                <a:gd name="connsiteY53" fmla="*/ 2773345 h 2964609"/>
                <a:gd name="connsiteX54" fmla="*/ 8400422 w 11867103"/>
                <a:gd name="connsiteY54" fmla="*/ 2763297 h 2964609"/>
                <a:gd name="connsiteX55" fmla="*/ 8269793 w 11867103"/>
                <a:gd name="connsiteY55" fmla="*/ 2753248 h 2964609"/>
                <a:gd name="connsiteX56" fmla="*/ 7797521 w 11867103"/>
                <a:gd name="connsiteY56" fmla="*/ 2773345 h 2964609"/>
                <a:gd name="connsiteX57" fmla="*/ 7717134 w 11867103"/>
                <a:gd name="connsiteY57" fmla="*/ 2783393 h 2964609"/>
                <a:gd name="connsiteX58" fmla="*/ 7486022 w 11867103"/>
                <a:gd name="connsiteY58" fmla="*/ 2813539 h 2964609"/>
                <a:gd name="connsiteX59" fmla="*/ 7395587 w 11867103"/>
                <a:gd name="connsiteY59" fmla="*/ 2833635 h 2964609"/>
                <a:gd name="connsiteX60" fmla="*/ 7325248 w 11867103"/>
                <a:gd name="connsiteY60" fmla="*/ 2843684 h 2964609"/>
                <a:gd name="connsiteX61" fmla="*/ 6863024 w 11867103"/>
                <a:gd name="connsiteY61" fmla="*/ 2833635 h 2964609"/>
                <a:gd name="connsiteX62" fmla="*/ 6722347 w 11867103"/>
                <a:gd name="connsiteY62" fmla="*/ 2823587 h 2964609"/>
                <a:gd name="connsiteX63" fmla="*/ 4903596 w 11867103"/>
                <a:gd name="connsiteY63" fmla="*/ 2873829 h 2964609"/>
                <a:gd name="connsiteX64" fmla="*/ 4722725 w 11867103"/>
                <a:gd name="connsiteY64" fmla="*/ 2914022 h 2964609"/>
                <a:gd name="connsiteX65" fmla="*/ 4300695 w 11867103"/>
                <a:gd name="connsiteY65" fmla="*/ 2893925 h 2964609"/>
                <a:gd name="connsiteX66" fmla="*/ 4059534 w 11867103"/>
                <a:gd name="connsiteY66" fmla="*/ 2853732 h 2964609"/>
                <a:gd name="connsiteX67" fmla="*/ 3768132 w 11867103"/>
                <a:gd name="connsiteY67" fmla="*/ 2823587 h 2964609"/>
                <a:gd name="connsiteX68" fmla="*/ 3627455 w 11867103"/>
                <a:gd name="connsiteY68" fmla="*/ 2813539 h 2964609"/>
                <a:gd name="connsiteX69" fmla="*/ 3125037 w 11867103"/>
                <a:gd name="connsiteY69" fmla="*/ 2823587 h 2964609"/>
                <a:gd name="connsiteX70" fmla="*/ 3064747 w 11867103"/>
                <a:gd name="connsiteY70" fmla="*/ 2833635 h 2964609"/>
                <a:gd name="connsiteX71" fmla="*/ 2009670 w 11867103"/>
                <a:gd name="connsiteY71" fmla="*/ 2843684 h 2964609"/>
                <a:gd name="connsiteX72" fmla="*/ 1678075 w 11867103"/>
                <a:gd name="connsiteY72" fmla="*/ 2934119 h 2964609"/>
                <a:gd name="connsiteX73" fmla="*/ 1607736 w 11867103"/>
                <a:gd name="connsiteY73" fmla="*/ 2964264 h 2964609"/>
                <a:gd name="connsiteX74" fmla="*/ 1135464 w 11867103"/>
                <a:gd name="connsiteY74" fmla="*/ 2944167 h 2964609"/>
                <a:gd name="connsiteX75" fmla="*/ 944545 w 11867103"/>
                <a:gd name="connsiteY75" fmla="*/ 2914022 h 2964609"/>
                <a:gd name="connsiteX76" fmla="*/ 723481 w 11867103"/>
                <a:gd name="connsiteY76" fmla="*/ 2873829 h 2964609"/>
                <a:gd name="connsiteX77" fmla="*/ 643095 w 11867103"/>
                <a:gd name="connsiteY77" fmla="*/ 2863780 h 2964609"/>
                <a:gd name="connsiteX78" fmla="*/ 371789 w 11867103"/>
                <a:gd name="connsiteY78" fmla="*/ 2823587 h 2964609"/>
                <a:gd name="connsiteX79" fmla="*/ 0 w 11867103"/>
                <a:gd name="connsiteY79" fmla="*/ 2813539 h 2964609"/>
                <a:gd name="connsiteX0" fmla="*/ 120580 w 11867103"/>
                <a:gd name="connsiteY0" fmla="*/ 51336 h 2965703"/>
                <a:gd name="connsiteX1" fmla="*/ 281354 w 11867103"/>
                <a:gd name="connsiteY1" fmla="*/ 41287 h 2965703"/>
                <a:gd name="connsiteX2" fmla="*/ 673240 w 11867103"/>
                <a:gd name="connsiteY2" fmla="*/ 31239 h 2965703"/>
                <a:gd name="connsiteX3" fmla="*/ 1356528 w 11867103"/>
                <a:gd name="connsiteY3" fmla="*/ 81481 h 2965703"/>
                <a:gd name="connsiteX4" fmla="*/ 1758462 w 11867103"/>
                <a:gd name="connsiteY4" fmla="*/ 41287 h 2965703"/>
                <a:gd name="connsiteX5" fmla="*/ 2140299 w 11867103"/>
                <a:gd name="connsiteY5" fmla="*/ 41287 h 2965703"/>
                <a:gd name="connsiteX6" fmla="*/ 4652387 w 11867103"/>
                <a:gd name="connsiteY6" fmla="*/ 61384 h 2965703"/>
                <a:gd name="connsiteX7" fmla="*/ 4692580 w 11867103"/>
                <a:gd name="connsiteY7" fmla="*/ 71433 h 2965703"/>
                <a:gd name="connsiteX8" fmla="*/ 6169688 w 11867103"/>
                <a:gd name="connsiteY8" fmla="*/ 111626 h 2965703"/>
                <a:gd name="connsiteX9" fmla="*/ 6420897 w 11867103"/>
                <a:gd name="connsiteY9" fmla="*/ 91529 h 2965703"/>
                <a:gd name="connsiteX10" fmla="*/ 6511332 w 11867103"/>
                <a:gd name="connsiteY10" fmla="*/ 31239 h 2965703"/>
                <a:gd name="connsiteX11" fmla="*/ 6641961 w 11867103"/>
                <a:gd name="connsiteY11" fmla="*/ 1094 h 2965703"/>
                <a:gd name="connsiteX12" fmla="*/ 7204668 w 11867103"/>
                <a:gd name="connsiteY12" fmla="*/ 11142 h 2965703"/>
                <a:gd name="connsiteX13" fmla="*/ 7285055 w 11867103"/>
                <a:gd name="connsiteY13" fmla="*/ 31239 h 2965703"/>
                <a:gd name="connsiteX14" fmla="*/ 7375490 w 11867103"/>
                <a:gd name="connsiteY14" fmla="*/ 41287 h 2965703"/>
                <a:gd name="connsiteX15" fmla="*/ 7928150 w 11867103"/>
                <a:gd name="connsiteY15" fmla="*/ 61384 h 2965703"/>
                <a:gd name="connsiteX16" fmla="*/ 8109020 w 11867103"/>
                <a:gd name="connsiteY16" fmla="*/ 81481 h 2965703"/>
                <a:gd name="connsiteX17" fmla="*/ 8219552 w 11867103"/>
                <a:gd name="connsiteY17" fmla="*/ 91529 h 2965703"/>
                <a:gd name="connsiteX18" fmla="*/ 8299939 w 11867103"/>
                <a:gd name="connsiteY18" fmla="*/ 101578 h 2965703"/>
                <a:gd name="connsiteX19" fmla="*/ 8521002 w 11867103"/>
                <a:gd name="connsiteY19" fmla="*/ 111626 h 2965703"/>
                <a:gd name="connsiteX20" fmla="*/ 9515789 w 11867103"/>
                <a:gd name="connsiteY20" fmla="*/ 101578 h 2965703"/>
                <a:gd name="connsiteX21" fmla="*/ 9606224 w 11867103"/>
                <a:gd name="connsiteY21" fmla="*/ 91529 h 2965703"/>
                <a:gd name="connsiteX22" fmla="*/ 9716756 w 11867103"/>
                <a:gd name="connsiteY22" fmla="*/ 81481 h 2965703"/>
                <a:gd name="connsiteX23" fmla="*/ 9797143 w 11867103"/>
                <a:gd name="connsiteY23" fmla="*/ 71433 h 2965703"/>
                <a:gd name="connsiteX24" fmla="*/ 9947868 w 11867103"/>
                <a:gd name="connsiteY24" fmla="*/ 61384 h 2965703"/>
                <a:gd name="connsiteX25" fmla="*/ 10791930 w 11867103"/>
                <a:gd name="connsiteY25" fmla="*/ 31239 h 2965703"/>
                <a:gd name="connsiteX26" fmla="*/ 11736475 w 11867103"/>
                <a:gd name="connsiteY26" fmla="*/ 51336 h 2965703"/>
                <a:gd name="connsiteX27" fmla="*/ 11766620 w 11867103"/>
                <a:gd name="connsiteY27" fmla="*/ 81481 h 2965703"/>
                <a:gd name="connsiteX28" fmla="*/ 11786717 w 11867103"/>
                <a:gd name="connsiteY28" fmla="*/ 121674 h 2965703"/>
                <a:gd name="connsiteX29" fmla="*/ 11806813 w 11867103"/>
                <a:gd name="connsiteY29" fmla="*/ 212109 h 2965703"/>
                <a:gd name="connsiteX30" fmla="*/ 11816862 w 11867103"/>
                <a:gd name="connsiteY30" fmla="*/ 252303 h 2965703"/>
                <a:gd name="connsiteX31" fmla="*/ 11826910 w 11867103"/>
                <a:gd name="connsiteY31" fmla="*/ 342738 h 2965703"/>
                <a:gd name="connsiteX32" fmla="*/ 11836958 w 11867103"/>
                <a:gd name="connsiteY32" fmla="*/ 423125 h 2965703"/>
                <a:gd name="connsiteX33" fmla="*/ 11826910 w 11867103"/>
                <a:gd name="connsiteY33" fmla="*/ 734624 h 2965703"/>
                <a:gd name="connsiteX34" fmla="*/ 11816862 w 11867103"/>
                <a:gd name="connsiteY34" fmla="*/ 794914 h 2965703"/>
                <a:gd name="connsiteX35" fmla="*/ 11806813 w 11867103"/>
                <a:gd name="connsiteY35" fmla="*/ 865252 h 2965703"/>
                <a:gd name="connsiteX36" fmla="*/ 11816862 w 11867103"/>
                <a:gd name="connsiteY36" fmla="*/ 2332312 h 2965703"/>
                <a:gd name="connsiteX37" fmla="*/ 11826910 w 11867103"/>
                <a:gd name="connsiteY37" fmla="*/ 2402650 h 2965703"/>
                <a:gd name="connsiteX38" fmla="*/ 11836958 w 11867103"/>
                <a:gd name="connsiteY38" fmla="*/ 2432795 h 2965703"/>
                <a:gd name="connsiteX39" fmla="*/ 11857055 w 11867103"/>
                <a:gd name="connsiteY39" fmla="*/ 2563424 h 2965703"/>
                <a:gd name="connsiteX40" fmla="*/ 11867103 w 11867103"/>
                <a:gd name="connsiteY40" fmla="*/ 2603617 h 2965703"/>
                <a:gd name="connsiteX41" fmla="*/ 11857055 w 11867103"/>
                <a:gd name="connsiteY41" fmla="*/ 2834729 h 2965703"/>
                <a:gd name="connsiteX42" fmla="*/ 11836958 w 11867103"/>
                <a:gd name="connsiteY42" fmla="*/ 2864874 h 2965703"/>
                <a:gd name="connsiteX43" fmla="*/ 11033090 w 11867103"/>
                <a:gd name="connsiteY43" fmla="*/ 2854826 h 2965703"/>
                <a:gd name="connsiteX44" fmla="*/ 10621108 w 11867103"/>
                <a:gd name="connsiteY44" fmla="*/ 2844778 h 2965703"/>
                <a:gd name="connsiteX45" fmla="*/ 10128739 w 11867103"/>
                <a:gd name="connsiteY45" fmla="*/ 2854826 h 2965703"/>
                <a:gd name="connsiteX46" fmla="*/ 10048352 w 11867103"/>
                <a:gd name="connsiteY46" fmla="*/ 2864874 h 2965703"/>
                <a:gd name="connsiteX47" fmla="*/ 9555982 w 11867103"/>
                <a:gd name="connsiteY47" fmla="*/ 2854826 h 2965703"/>
                <a:gd name="connsiteX48" fmla="*/ 9445451 w 11867103"/>
                <a:gd name="connsiteY48" fmla="*/ 2844778 h 2965703"/>
                <a:gd name="connsiteX49" fmla="*/ 9415306 w 11867103"/>
                <a:gd name="connsiteY49" fmla="*/ 2824681 h 2965703"/>
                <a:gd name="connsiteX50" fmla="*/ 9204290 w 11867103"/>
                <a:gd name="connsiteY50" fmla="*/ 2804584 h 2965703"/>
                <a:gd name="connsiteX51" fmla="*/ 9073662 w 11867103"/>
                <a:gd name="connsiteY51" fmla="*/ 2784487 h 2965703"/>
                <a:gd name="connsiteX52" fmla="*/ 8812404 w 11867103"/>
                <a:gd name="connsiteY52" fmla="*/ 2774439 h 2965703"/>
                <a:gd name="connsiteX53" fmla="*/ 8400422 w 11867103"/>
                <a:gd name="connsiteY53" fmla="*/ 2764391 h 2965703"/>
                <a:gd name="connsiteX54" fmla="*/ 8269793 w 11867103"/>
                <a:gd name="connsiteY54" fmla="*/ 2754342 h 2965703"/>
                <a:gd name="connsiteX55" fmla="*/ 7797521 w 11867103"/>
                <a:gd name="connsiteY55" fmla="*/ 2774439 h 2965703"/>
                <a:gd name="connsiteX56" fmla="*/ 7717134 w 11867103"/>
                <a:gd name="connsiteY56" fmla="*/ 2784487 h 2965703"/>
                <a:gd name="connsiteX57" fmla="*/ 7486022 w 11867103"/>
                <a:gd name="connsiteY57" fmla="*/ 2814633 h 2965703"/>
                <a:gd name="connsiteX58" fmla="*/ 7395587 w 11867103"/>
                <a:gd name="connsiteY58" fmla="*/ 2834729 h 2965703"/>
                <a:gd name="connsiteX59" fmla="*/ 7325248 w 11867103"/>
                <a:gd name="connsiteY59" fmla="*/ 2844778 h 2965703"/>
                <a:gd name="connsiteX60" fmla="*/ 6863024 w 11867103"/>
                <a:gd name="connsiteY60" fmla="*/ 2834729 h 2965703"/>
                <a:gd name="connsiteX61" fmla="*/ 6722347 w 11867103"/>
                <a:gd name="connsiteY61" fmla="*/ 2824681 h 2965703"/>
                <a:gd name="connsiteX62" fmla="*/ 4903596 w 11867103"/>
                <a:gd name="connsiteY62" fmla="*/ 2874923 h 2965703"/>
                <a:gd name="connsiteX63" fmla="*/ 4722725 w 11867103"/>
                <a:gd name="connsiteY63" fmla="*/ 2915116 h 2965703"/>
                <a:gd name="connsiteX64" fmla="*/ 4300695 w 11867103"/>
                <a:gd name="connsiteY64" fmla="*/ 2895019 h 2965703"/>
                <a:gd name="connsiteX65" fmla="*/ 4059534 w 11867103"/>
                <a:gd name="connsiteY65" fmla="*/ 2854826 h 2965703"/>
                <a:gd name="connsiteX66" fmla="*/ 3768132 w 11867103"/>
                <a:gd name="connsiteY66" fmla="*/ 2824681 h 2965703"/>
                <a:gd name="connsiteX67" fmla="*/ 3627455 w 11867103"/>
                <a:gd name="connsiteY67" fmla="*/ 2814633 h 2965703"/>
                <a:gd name="connsiteX68" fmla="*/ 3125037 w 11867103"/>
                <a:gd name="connsiteY68" fmla="*/ 2824681 h 2965703"/>
                <a:gd name="connsiteX69" fmla="*/ 3064747 w 11867103"/>
                <a:gd name="connsiteY69" fmla="*/ 2834729 h 2965703"/>
                <a:gd name="connsiteX70" fmla="*/ 2009670 w 11867103"/>
                <a:gd name="connsiteY70" fmla="*/ 2844778 h 2965703"/>
                <a:gd name="connsiteX71" fmla="*/ 1678075 w 11867103"/>
                <a:gd name="connsiteY71" fmla="*/ 2935213 h 2965703"/>
                <a:gd name="connsiteX72" fmla="*/ 1607736 w 11867103"/>
                <a:gd name="connsiteY72" fmla="*/ 2965358 h 2965703"/>
                <a:gd name="connsiteX73" fmla="*/ 1135464 w 11867103"/>
                <a:gd name="connsiteY73" fmla="*/ 2945261 h 2965703"/>
                <a:gd name="connsiteX74" fmla="*/ 944545 w 11867103"/>
                <a:gd name="connsiteY74" fmla="*/ 2915116 h 2965703"/>
                <a:gd name="connsiteX75" fmla="*/ 723481 w 11867103"/>
                <a:gd name="connsiteY75" fmla="*/ 2874923 h 2965703"/>
                <a:gd name="connsiteX76" fmla="*/ 643095 w 11867103"/>
                <a:gd name="connsiteY76" fmla="*/ 2864874 h 2965703"/>
                <a:gd name="connsiteX77" fmla="*/ 371789 w 11867103"/>
                <a:gd name="connsiteY77" fmla="*/ 2824681 h 2965703"/>
                <a:gd name="connsiteX78" fmla="*/ 0 w 11867103"/>
                <a:gd name="connsiteY78" fmla="*/ 2814633 h 2965703"/>
                <a:gd name="connsiteX0" fmla="*/ 120580 w 11867103"/>
                <a:gd name="connsiteY0" fmla="*/ 40194 h 2954561"/>
                <a:gd name="connsiteX1" fmla="*/ 281354 w 11867103"/>
                <a:gd name="connsiteY1" fmla="*/ 30145 h 2954561"/>
                <a:gd name="connsiteX2" fmla="*/ 673240 w 11867103"/>
                <a:gd name="connsiteY2" fmla="*/ 20097 h 2954561"/>
                <a:gd name="connsiteX3" fmla="*/ 1356528 w 11867103"/>
                <a:gd name="connsiteY3" fmla="*/ 70339 h 2954561"/>
                <a:gd name="connsiteX4" fmla="*/ 1758462 w 11867103"/>
                <a:gd name="connsiteY4" fmla="*/ 30145 h 2954561"/>
                <a:gd name="connsiteX5" fmla="*/ 2140299 w 11867103"/>
                <a:gd name="connsiteY5" fmla="*/ 30145 h 2954561"/>
                <a:gd name="connsiteX6" fmla="*/ 4652387 w 11867103"/>
                <a:gd name="connsiteY6" fmla="*/ 50242 h 2954561"/>
                <a:gd name="connsiteX7" fmla="*/ 4692580 w 11867103"/>
                <a:gd name="connsiteY7" fmla="*/ 60291 h 2954561"/>
                <a:gd name="connsiteX8" fmla="*/ 6169688 w 11867103"/>
                <a:gd name="connsiteY8" fmla="*/ 100484 h 2954561"/>
                <a:gd name="connsiteX9" fmla="*/ 6420897 w 11867103"/>
                <a:gd name="connsiteY9" fmla="*/ 80387 h 2954561"/>
                <a:gd name="connsiteX10" fmla="*/ 6511332 w 11867103"/>
                <a:gd name="connsiteY10" fmla="*/ 20097 h 2954561"/>
                <a:gd name="connsiteX11" fmla="*/ 7204668 w 11867103"/>
                <a:gd name="connsiteY11" fmla="*/ 0 h 2954561"/>
                <a:gd name="connsiteX12" fmla="*/ 7285055 w 11867103"/>
                <a:gd name="connsiteY12" fmla="*/ 20097 h 2954561"/>
                <a:gd name="connsiteX13" fmla="*/ 7375490 w 11867103"/>
                <a:gd name="connsiteY13" fmla="*/ 30145 h 2954561"/>
                <a:gd name="connsiteX14" fmla="*/ 7928150 w 11867103"/>
                <a:gd name="connsiteY14" fmla="*/ 50242 h 2954561"/>
                <a:gd name="connsiteX15" fmla="*/ 8109020 w 11867103"/>
                <a:gd name="connsiteY15" fmla="*/ 70339 h 2954561"/>
                <a:gd name="connsiteX16" fmla="*/ 8219552 w 11867103"/>
                <a:gd name="connsiteY16" fmla="*/ 80387 h 2954561"/>
                <a:gd name="connsiteX17" fmla="*/ 8299939 w 11867103"/>
                <a:gd name="connsiteY17" fmla="*/ 90436 h 2954561"/>
                <a:gd name="connsiteX18" fmla="*/ 8521002 w 11867103"/>
                <a:gd name="connsiteY18" fmla="*/ 100484 h 2954561"/>
                <a:gd name="connsiteX19" fmla="*/ 9515789 w 11867103"/>
                <a:gd name="connsiteY19" fmla="*/ 90436 h 2954561"/>
                <a:gd name="connsiteX20" fmla="*/ 9606224 w 11867103"/>
                <a:gd name="connsiteY20" fmla="*/ 80387 h 2954561"/>
                <a:gd name="connsiteX21" fmla="*/ 9716756 w 11867103"/>
                <a:gd name="connsiteY21" fmla="*/ 70339 h 2954561"/>
                <a:gd name="connsiteX22" fmla="*/ 9797143 w 11867103"/>
                <a:gd name="connsiteY22" fmla="*/ 60291 h 2954561"/>
                <a:gd name="connsiteX23" fmla="*/ 9947868 w 11867103"/>
                <a:gd name="connsiteY23" fmla="*/ 50242 h 2954561"/>
                <a:gd name="connsiteX24" fmla="*/ 10791930 w 11867103"/>
                <a:gd name="connsiteY24" fmla="*/ 20097 h 2954561"/>
                <a:gd name="connsiteX25" fmla="*/ 11736475 w 11867103"/>
                <a:gd name="connsiteY25" fmla="*/ 40194 h 2954561"/>
                <a:gd name="connsiteX26" fmla="*/ 11766620 w 11867103"/>
                <a:gd name="connsiteY26" fmla="*/ 70339 h 2954561"/>
                <a:gd name="connsiteX27" fmla="*/ 11786717 w 11867103"/>
                <a:gd name="connsiteY27" fmla="*/ 110532 h 2954561"/>
                <a:gd name="connsiteX28" fmla="*/ 11806813 w 11867103"/>
                <a:gd name="connsiteY28" fmla="*/ 200967 h 2954561"/>
                <a:gd name="connsiteX29" fmla="*/ 11816862 w 11867103"/>
                <a:gd name="connsiteY29" fmla="*/ 241161 h 2954561"/>
                <a:gd name="connsiteX30" fmla="*/ 11826910 w 11867103"/>
                <a:gd name="connsiteY30" fmla="*/ 331596 h 2954561"/>
                <a:gd name="connsiteX31" fmla="*/ 11836958 w 11867103"/>
                <a:gd name="connsiteY31" fmla="*/ 411983 h 2954561"/>
                <a:gd name="connsiteX32" fmla="*/ 11826910 w 11867103"/>
                <a:gd name="connsiteY32" fmla="*/ 723482 h 2954561"/>
                <a:gd name="connsiteX33" fmla="*/ 11816862 w 11867103"/>
                <a:gd name="connsiteY33" fmla="*/ 783772 h 2954561"/>
                <a:gd name="connsiteX34" fmla="*/ 11806813 w 11867103"/>
                <a:gd name="connsiteY34" fmla="*/ 854110 h 2954561"/>
                <a:gd name="connsiteX35" fmla="*/ 11816862 w 11867103"/>
                <a:gd name="connsiteY35" fmla="*/ 2321170 h 2954561"/>
                <a:gd name="connsiteX36" fmla="*/ 11826910 w 11867103"/>
                <a:gd name="connsiteY36" fmla="*/ 2391508 h 2954561"/>
                <a:gd name="connsiteX37" fmla="*/ 11836958 w 11867103"/>
                <a:gd name="connsiteY37" fmla="*/ 2421653 h 2954561"/>
                <a:gd name="connsiteX38" fmla="*/ 11857055 w 11867103"/>
                <a:gd name="connsiteY38" fmla="*/ 2552282 h 2954561"/>
                <a:gd name="connsiteX39" fmla="*/ 11867103 w 11867103"/>
                <a:gd name="connsiteY39" fmla="*/ 2592475 h 2954561"/>
                <a:gd name="connsiteX40" fmla="*/ 11857055 w 11867103"/>
                <a:gd name="connsiteY40" fmla="*/ 2823587 h 2954561"/>
                <a:gd name="connsiteX41" fmla="*/ 11836958 w 11867103"/>
                <a:gd name="connsiteY41" fmla="*/ 2853732 h 2954561"/>
                <a:gd name="connsiteX42" fmla="*/ 11033090 w 11867103"/>
                <a:gd name="connsiteY42" fmla="*/ 2843684 h 2954561"/>
                <a:gd name="connsiteX43" fmla="*/ 10621108 w 11867103"/>
                <a:gd name="connsiteY43" fmla="*/ 2833636 h 2954561"/>
                <a:gd name="connsiteX44" fmla="*/ 10128739 w 11867103"/>
                <a:gd name="connsiteY44" fmla="*/ 2843684 h 2954561"/>
                <a:gd name="connsiteX45" fmla="*/ 10048352 w 11867103"/>
                <a:gd name="connsiteY45" fmla="*/ 2853732 h 2954561"/>
                <a:gd name="connsiteX46" fmla="*/ 9555982 w 11867103"/>
                <a:gd name="connsiteY46" fmla="*/ 2843684 h 2954561"/>
                <a:gd name="connsiteX47" fmla="*/ 9445451 w 11867103"/>
                <a:gd name="connsiteY47" fmla="*/ 2833636 h 2954561"/>
                <a:gd name="connsiteX48" fmla="*/ 9415306 w 11867103"/>
                <a:gd name="connsiteY48" fmla="*/ 2813539 h 2954561"/>
                <a:gd name="connsiteX49" fmla="*/ 9204290 w 11867103"/>
                <a:gd name="connsiteY49" fmla="*/ 2793442 h 2954561"/>
                <a:gd name="connsiteX50" fmla="*/ 9073662 w 11867103"/>
                <a:gd name="connsiteY50" fmla="*/ 2773345 h 2954561"/>
                <a:gd name="connsiteX51" fmla="*/ 8812404 w 11867103"/>
                <a:gd name="connsiteY51" fmla="*/ 2763297 h 2954561"/>
                <a:gd name="connsiteX52" fmla="*/ 8400422 w 11867103"/>
                <a:gd name="connsiteY52" fmla="*/ 2753249 h 2954561"/>
                <a:gd name="connsiteX53" fmla="*/ 8269793 w 11867103"/>
                <a:gd name="connsiteY53" fmla="*/ 2743200 h 2954561"/>
                <a:gd name="connsiteX54" fmla="*/ 7797521 w 11867103"/>
                <a:gd name="connsiteY54" fmla="*/ 2763297 h 2954561"/>
                <a:gd name="connsiteX55" fmla="*/ 7717134 w 11867103"/>
                <a:gd name="connsiteY55" fmla="*/ 2773345 h 2954561"/>
                <a:gd name="connsiteX56" fmla="*/ 7486022 w 11867103"/>
                <a:gd name="connsiteY56" fmla="*/ 2803491 h 2954561"/>
                <a:gd name="connsiteX57" fmla="*/ 7395587 w 11867103"/>
                <a:gd name="connsiteY57" fmla="*/ 2823587 h 2954561"/>
                <a:gd name="connsiteX58" fmla="*/ 7325248 w 11867103"/>
                <a:gd name="connsiteY58" fmla="*/ 2833636 h 2954561"/>
                <a:gd name="connsiteX59" fmla="*/ 6863024 w 11867103"/>
                <a:gd name="connsiteY59" fmla="*/ 2823587 h 2954561"/>
                <a:gd name="connsiteX60" fmla="*/ 6722347 w 11867103"/>
                <a:gd name="connsiteY60" fmla="*/ 2813539 h 2954561"/>
                <a:gd name="connsiteX61" fmla="*/ 4903596 w 11867103"/>
                <a:gd name="connsiteY61" fmla="*/ 2863781 h 2954561"/>
                <a:gd name="connsiteX62" fmla="*/ 4722725 w 11867103"/>
                <a:gd name="connsiteY62" fmla="*/ 2903974 h 2954561"/>
                <a:gd name="connsiteX63" fmla="*/ 4300695 w 11867103"/>
                <a:gd name="connsiteY63" fmla="*/ 2883877 h 2954561"/>
                <a:gd name="connsiteX64" fmla="*/ 4059534 w 11867103"/>
                <a:gd name="connsiteY64" fmla="*/ 2843684 h 2954561"/>
                <a:gd name="connsiteX65" fmla="*/ 3768132 w 11867103"/>
                <a:gd name="connsiteY65" fmla="*/ 2813539 h 2954561"/>
                <a:gd name="connsiteX66" fmla="*/ 3627455 w 11867103"/>
                <a:gd name="connsiteY66" fmla="*/ 2803491 h 2954561"/>
                <a:gd name="connsiteX67" fmla="*/ 3125037 w 11867103"/>
                <a:gd name="connsiteY67" fmla="*/ 2813539 h 2954561"/>
                <a:gd name="connsiteX68" fmla="*/ 3064747 w 11867103"/>
                <a:gd name="connsiteY68" fmla="*/ 2823587 h 2954561"/>
                <a:gd name="connsiteX69" fmla="*/ 2009670 w 11867103"/>
                <a:gd name="connsiteY69" fmla="*/ 2833636 h 2954561"/>
                <a:gd name="connsiteX70" fmla="*/ 1678075 w 11867103"/>
                <a:gd name="connsiteY70" fmla="*/ 2924071 h 2954561"/>
                <a:gd name="connsiteX71" fmla="*/ 1607736 w 11867103"/>
                <a:gd name="connsiteY71" fmla="*/ 2954216 h 2954561"/>
                <a:gd name="connsiteX72" fmla="*/ 1135464 w 11867103"/>
                <a:gd name="connsiteY72" fmla="*/ 2934119 h 2954561"/>
                <a:gd name="connsiteX73" fmla="*/ 944545 w 11867103"/>
                <a:gd name="connsiteY73" fmla="*/ 2903974 h 2954561"/>
                <a:gd name="connsiteX74" fmla="*/ 723481 w 11867103"/>
                <a:gd name="connsiteY74" fmla="*/ 2863781 h 2954561"/>
                <a:gd name="connsiteX75" fmla="*/ 643095 w 11867103"/>
                <a:gd name="connsiteY75" fmla="*/ 2853732 h 2954561"/>
                <a:gd name="connsiteX76" fmla="*/ 371789 w 11867103"/>
                <a:gd name="connsiteY76" fmla="*/ 2813539 h 2954561"/>
                <a:gd name="connsiteX77" fmla="*/ 0 w 11867103"/>
                <a:gd name="connsiteY77" fmla="*/ 2803491 h 2954561"/>
                <a:gd name="connsiteX0" fmla="*/ 120580 w 11867103"/>
                <a:gd name="connsiteY0" fmla="*/ 42528 h 2956895"/>
                <a:gd name="connsiteX1" fmla="*/ 281354 w 11867103"/>
                <a:gd name="connsiteY1" fmla="*/ 32479 h 2956895"/>
                <a:gd name="connsiteX2" fmla="*/ 673240 w 11867103"/>
                <a:gd name="connsiteY2" fmla="*/ 22431 h 2956895"/>
                <a:gd name="connsiteX3" fmla="*/ 1356528 w 11867103"/>
                <a:gd name="connsiteY3" fmla="*/ 72673 h 2956895"/>
                <a:gd name="connsiteX4" fmla="*/ 1758462 w 11867103"/>
                <a:gd name="connsiteY4" fmla="*/ 32479 h 2956895"/>
                <a:gd name="connsiteX5" fmla="*/ 2140299 w 11867103"/>
                <a:gd name="connsiteY5" fmla="*/ 32479 h 2956895"/>
                <a:gd name="connsiteX6" fmla="*/ 4652387 w 11867103"/>
                <a:gd name="connsiteY6" fmla="*/ 52576 h 2956895"/>
                <a:gd name="connsiteX7" fmla="*/ 4692580 w 11867103"/>
                <a:gd name="connsiteY7" fmla="*/ 62625 h 2956895"/>
                <a:gd name="connsiteX8" fmla="*/ 6169688 w 11867103"/>
                <a:gd name="connsiteY8" fmla="*/ 102818 h 2956895"/>
                <a:gd name="connsiteX9" fmla="*/ 6420897 w 11867103"/>
                <a:gd name="connsiteY9" fmla="*/ 82721 h 2956895"/>
                <a:gd name="connsiteX10" fmla="*/ 7204668 w 11867103"/>
                <a:gd name="connsiteY10" fmla="*/ 2334 h 2956895"/>
                <a:gd name="connsiteX11" fmla="*/ 7285055 w 11867103"/>
                <a:gd name="connsiteY11" fmla="*/ 22431 h 2956895"/>
                <a:gd name="connsiteX12" fmla="*/ 7375490 w 11867103"/>
                <a:gd name="connsiteY12" fmla="*/ 32479 h 2956895"/>
                <a:gd name="connsiteX13" fmla="*/ 7928150 w 11867103"/>
                <a:gd name="connsiteY13" fmla="*/ 52576 h 2956895"/>
                <a:gd name="connsiteX14" fmla="*/ 8109020 w 11867103"/>
                <a:gd name="connsiteY14" fmla="*/ 72673 h 2956895"/>
                <a:gd name="connsiteX15" fmla="*/ 8219552 w 11867103"/>
                <a:gd name="connsiteY15" fmla="*/ 82721 h 2956895"/>
                <a:gd name="connsiteX16" fmla="*/ 8299939 w 11867103"/>
                <a:gd name="connsiteY16" fmla="*/ 92770 h 2956895"/>
                <a:gd name="connsiteX17" fmla="*/ 8521002 w 11867103"/>
                <a:gd name="connsiteY17" fmla="*/ 102818 h 2956895"/>
                <a:gd name="connsiteX18" fmla="*/ 9515789 w 11867103"/>
                <a:gd name="connsiteY18" fmla="*/ 92770 h 2956895"/>
                <a:gd name="connsiteX19" fmla="*/ 9606224 w 11867103"/>
                <a:gd name="connsiteY19" fmla="*/ 82721 h 2956895"/>
                <a:gd name="connsiteX20" fmla="*/ 9716756 w 11867103"/>
                <a:gd name="connsiteY20" fmla="*/ 72673 h 2956895"/>
                <a:gd name="connsiteX21" fmla="*/ 9797143 w 11867103"/>
                <a:gd name="connsiteY21" fmla="*/ 62625 h 2956895"/>
                <a:gd name="connsiteX22" fmla="*/ 9947868 w 11867103"/>
                <a:gd name="connsiteY22" fmla="*/ 52576 h 2956895"/>
                <a:gd name="connsiteX23" fmla="*/ 10791930 w 11867103"/>
                <a:gd name="connsiteY23" fmla="*/ 22431 h 2956895"/>
                <a:gd name="connsiteX24" fmla="*/ 11736475 w 11867103"/>
                <a:gd name="connsiteY24" fmla="*/ 42528 h 2956895"/>
                <a:gd name="connsiteX25" fmla="*/ 11766620 w 11867103"/>
                <a:gd name="connsiteY25" fmla="*/ 72673 h 2956895"/>
                <a:gd name="connsiteX26" fmla="*/ 11786717 w 11867103"/>
                <a:gd name="connsiteY26" fmla="*/ 112866 h 2956895"/>
                <a:gd name="connsiteX27" fmla="*/ 11806813 w 11867103"/>
                <a:gd name="connsiteY27" fmla="*/ 203301 h 2956895"/>
                <a:gd name="connsiteX28" fmla="*/ 11816862 w 11867103"/>
                <a:gd name="connsiteY28" fmla="*/ 243495 h 2956895"/>
                <a:gd name="connsiteX29" fmla="*/ 11826910 w 11867103"/>
                <a:gd name="connsiteY29" fmla="*/ 333930 h 2956895"/>
                <a:gd name="connsiteX30" fmla="*/ 11836958 w 11867103"/>
                <a:gd name="connsiteY30" fmla="*/ 414317 h 2956895"/>
                <a:gd name="connsiteX31" fmla="*/ 11826910 w 11867103"/>
                <a:gd name="connsiteY31" fmla="*/ 725816 h 2956895"/>
                <a:gd name="connsiteX32" fmla="*/ 11816862 w 11867103"/>
                <a:gd name="connsiteY32" fmla="*/ 786106 h 2956895"/>
                <a:gd name="connsiteX33" fmla="*/ 11806813 w 11867103"/>
                <a:gd name="connsiteY33" fmla="*/ 856444 h 2956895"/>
                <a:gd name="connsiteX34" fmla="*/ 11816862 w 11867103"/>
                <a:gd name="connsiteY34" fmla="*/ 2323504 h 2956895"/>
                <a:gd name="connsiteX35" fmla="*/ 11826910 w 11867103"/>
                <a:gd name="connsiteY35" fmla="*/ 2393842 h 2956895"/>
                <a:gd name="connsiteX36" fmla="*/ 11836958 w 11867103"/>
                <a:gd name="connsiteY36" fmla="*/ 2423987 h 2956895"/>
                <a:gd name="connsiteX37" fmla="*/ 11857055 w 11867103"/>
                <a:gd name="connsiteY37" fmla="*/ 2554616 h 2956895"/>
                <a:gd name="connsiteX38" fmla="*/ 11867103 w 11867103"/>
                <a:gd name="connsiteY38" fmla="*/ 2594809 h 2956895"/>
                <a:gd name="connsiteX39" fmla="*/ 11857055 w 11867103"/>
                <a:gd name="connsiteY39" fmla="*/ 2825921 h 2956895"/>
                <a:gd name="connsiteX40" fmla="*/ 11836958 w 11867103"/>
                <a:gd name="connsiteY40" fmla="*/ 2856066 h 2956895"/>
                <a:gd name="connsiteX41" fmla="*/ 11033090 w 11867103"/>
                <a:gd name="connsiteY41" fmla="*/ 2846018 h 2956895"/>
                <a:gd name="connsiteX42" fmla="*/ 10621108 w 11867103"/>
                <a:gd name="connsiteY42" fmla="*/ 2835970 h 2956895"/>
                <a:gd name="connsiteX43" fmla="*/ 10128739 w 11867103"/>
                <a:gd name="connsiteY43" fmla="*/ 2846018 h 2956895"/>
                <a:gd name="connsiteX44" fmla="*/ 10048352 w 11867103"/>
                <a:gd name="connsiteY44" fmla="*/ 2856066 h 2956895"/>
                <a:gd name="connsiteX45" fmla="*/ 9555982 w 11867103"/>
                <a:gd name="connsiteY45" fmla="*/ 2846018 h 2956895"/>
                <a:gd name="connsiteX46" fmla="*/ 9445451 w 11867103"/>
                <a:gd name="connsiteY46" fmla="*/ 2835970 h 2956895"/>
                <a:gd name="connsiteX47" fmla="*/ 9415306 w 11867103"/>
                <a:gd name="connsiteY47" fmla="*/ 2815873 h 2956895"/>
                <a:gd name="connsiteX48" fmla="*/ 9204290 w 11867103"/>
                <a:gd name="connsiteY48" fmla="*/ 2795776 h 2956895"/>
                <a:gd name="connsiteX49" fmla="*/ 9073662 w 11867103"/>
                <a:gd name="connsiteY49" fmla="*/ 2775679 h 2956895"/>
                <a:gd name="connsiteX50" fmla="*/ 8812404 w 11867103"/>
                <a:gd name="connsiteY50" fmla="*/ 2765631 h 2956895"/>
                <a:gd name="connsiteX51" fmla="*/ 8400422 w 11867103"/>
                <a:gd name="connsiteY51" fmla="*/ 2755583 h 2956895"/>
                <a:gd name="connsiteX52" fmla="*/ 8269793 w 11867103"/>
                <a:gd name="connsiteY52" fmla="*/ 2745534 h 2956895"/>
                <a:gd name="connsiteX53" fmla="*/ 7797521 w 11867103"/>
                <a:gd name="connsiteY53" fmla="*/ 2765631 h 2956895"/>
                <a:gd name="connsiteX54" fmla="*/ 7717134 w 11867103"/>
                <a:gd name="connsiteY54" fmla="*/ 2775679 h 2956895"/>
                <a:gd name="connsiteX55" fmla="*/ 7486022 w 11867103"/>
                <a:gd name="connsiteY55" fmla="*/ 2805825 h 2956895"/>
                <a:gd name="connsiteX56" fmla="*/ 7395587 w 11867103"/>
                <a:gd name="connsiteY56" fmla="*/ 2825921 h 2956895"/>
                <a:gd name="connsiteX57" fmla="*/ 7325248 w 11867103"/>
                <a:gd name="connsiteY57" fmla="*/ 2835970 h 2956895"/>
                <a:gd name="connsiteX58" fmla="*/ 6863024 w 11867103"/>
                <a:gd name="connsiteY58" fmla="*/ 2825921 h 2956895"/>
                <a:gd name="connsiteX59" fmla="*/ 6722347 w 11867103"/>
                <a:gd name="connsiteY59" fmla="*/ 2815873 h 2956895"/>
                <a:gd name="connsiteX60" fmla="*/ 4903596 w 11867103"/>
                <a:gd name="connsiteY60" fmla="*/ 2866115 h 2956895"/>
                <a:gd name="connsiteX61" fmla="*/ 4722725 w 11867103"/>
                <a:gd name="connsiteY61" fmla="*/ 2906308 h 2956895"/>
                <a:gd name="connsiteX62" fmla="*/ 4300695 w 11867103"/>
                <a:gd name="connsiteY62" fmla="*/ 2886211 h 2956895"/>
                <a:gd name="connsiteX63" fmla="*/ 4059534 w 11867103"/>
                <a:gd name="connsiteY63" fmla="*/ 2846018 h 2956895"/>
                <a:gd name="connsiteX64" fmla="*/ 3768132 w 11867103"/>
                <a:gd name="connsiteY64" fmla="*/ 2815873 h 2956895"/>
                <a:gd name="connsiteX65" fmla="*/ 3627455 w 11867103"/>
                <a:gd name="connsiteY65" fmla="*/ 2805825 h 2956895"/>
                <a:gd name="connsiteX66" fmla="*/ 3125037 w 11867103"/>
                <a:gd name="connsiteY66" fmla="*/ 2815873 h 2956895"/>
                <a:gd name="connsiteX67" fmla="*/ 3064747 w 11867103"/>
                <a:gd name="connsiteY67" fmla="*/ 2825921 h 2956895"/>
                <a:gd name="connsiteX68" fmla="*/ 2009670 w 11867103"/>
                <a:gd name="connsiteY68" fmla="*/ 2835970 h 2956895"/>
                <a:gd name="connsiteX69" fmla="*/ 1678075 w 11867103"/>
                <a:gd name="connsiteY69" fmla="*/ 2926405 h 2956895"/>
                <a:gd name="connsiteX70" fmla="*/ 1607736 w 11867103"/>
                <a:gd name="connsiteY70" fmla="*/ 2956550 h 2956895"/>
                <a:gd name="connsiteX71" fmla="*/ 1135464 w 11867103"/>
                <a:gd name="connsiteY71" fmla="*/ 2936453 h 2956895"/>
                <a:gd name="connsiteX72" fmla="*/ 944545 w 11867103"/>
                <a:gd name="connsiteY72" fmla="*/ 2906308 h 2956895"/>
                <a:gd name="connsiteX73" fmla="*/ 723481 w 11867103"/>
                <a:gd name="connsiteY73" fmla="*/ 2866115 h 2956895"/>
                <a:gd name="connsiteX74" fmla="*/ 643095 w 11867103"/>
                <a:gd name="connsiteY74" fmla="*/ 2856066 h 2956895"/>
                <a:gd name="connsiteX75" fmla="*/ 371789 w 11867103"/>
                <a:gd name="connsiteY75" fmla="*/ 2815873 h 2956895"/>
                <a:gd name="connsiteX76" fmla="*/ 0 w 11867103"/>
                <a:gd name="connsiteY76" fmla="*/ 2805825 h 2956895"/>
                <a:gd name="connsiteX0" fmla="*/ 120580 w 11867103"/>
                <a:gd name="connsiteY0" fmla="*/ 42528 h 2956895"/>
                <a:gd name="connsiteX1" fmla="*/ 281354 w 11867103"/>
                <a:gd name="connsiteY1" fmla="*/ 32479 h 2956895"/>
                <a:gd name="connsiteX2" fmla="*/ 673240 w 11867103"/>
                <a:gd name="connsiteY2" fmla="*/ 22431 h 2956895"/>
                <a:gd name="connsiteX3" fmla="*/ 1356528 w 11867103"/>
                <a:gd name="connsiteY3" fmla="*/ 72673 h 2956895"/>
                <a:gd name="connsiteX4" fmla="*/ 1758462 w 11867103"/>
                <a:gd name="connsiteY4" fmla="*/ 32479 h 2956895"/>
                <a:gd name="connsiteX5" fmla="*/ 2140299 w 11867103"/>
                <a:gd name="connsiteY5" fmla="*/ 32479 h 2956895"/>
                <a:gd name="connsiteX6" fmla="*/ 4652387 w 11867103"/>
                <a:gd name="connsiteY6" fmla="*/ 52576 h 2956895"/>
                <a:gd name="connsiteX7" fmla="*/ 4692580 w 11867103"/>
                <a:gd name="connsiteY7" fmla="*/ 62625 h 2956895"/>
                <a:gd name="connsiteX8" fmla="*/ 6420897 w 11867103"/>
                <a:gd name="connsiteY8" fmla="*/ 82721 h 2956895"/>
                <a:gd name="connsiteX9" fmla="*/ 7204668 w 11867103"/>
                <a:gd name="connsiteY9" fmla="*/ 2334 h 2956895"/>
                <a:gd name="connsiteX10" fmla="*/ 7285055 w 11867103"/>
                <a:gd name="connsiteY10" fmla="*/ 22431 h 2956895"/>
                <a:gd name="connsiteX11" fmla="*/ 7375490 w 11867103"/>
                <a:gd name="connsiteY11" fmla="*/ 32479 h 2956895"/>
                <a:gd name="connsiteX12" fmla="*/ 7928150 w 11867103"/>
                <a:gd name="connsiteY12" fmla="*/ 52576 h 2956895"/>
                <a:gd name="connsiteX13" fmla="*/ 8109020 w 11867103"/>
                <a:gd name="connsiteY13" fmla="*/ 72673 h 2956895"/>
                <a:gd name="connsiteX14" fmla="*/ 8219552 w 11867103"/>
                <a:gd name="connsiteY14" fmla="*/ 82721 h 2956895"/>
                <a:gd name="connsiteX15" fmla="*/ 8299939 w 11867103"/>
                <a:gd name="connsiteY15" fmla="*/ 92770 h 2956895"/>
                <a:gd name="connsiteX16" fmla="*/ 8521002 w 11867103"/>
                <a:gd name="connsiteY16" fmla="*/ 102818 h 2956895"/>
                <a:gd name="connsiteX17" fmla="*/ 9515789 w 11867103"/>
                <a:gd name="connsiteY17" fmla="*/ 92770 h 2956895"/>
                <a:gd name="connsiteX18" fmla="*/ 9606224 w 11867103"/>
                <a:gd name="connsiteY18" fmla="*/ 82721 h 2956895"/>
                <a:gd name="connsiteX19" fmla="*/ 9716756 w 11867103"/>
                <a:gd name="connsiteY19" fmla="*/ 72673 h 2956895"/>
                <a:gd name="connsiteX20" fmla="*/ 9797143 w 11867103"/>
                <a:gd name="connsiteY20" fmla="*/ 62625 h 2956895"/>
                <a:gd name="connsiteX21" fmla="*/ 9947868 w 11867103"/>
                <a:gd name="connsiteY21" fmla="*/ 52576 h 2956895"/>
                <a:gd name="connsiteX22" fmla="*/ 10791930 w 11867103"/>
                <a:gd name="connsiteY22" fmla="*/ 22431 h 2956895"/>
                <a:gd name="connsiteX23" fmla="*/ 11736475 w 11867103"/>
                <a:gd name="connsiteY23" fmla="*/ 42528 h 2956895"/>
                <a:gd name="connsiteX24" fmla="*/ 11766620 w 11867103"/>
                <a:gd name="connsiteY24" fmla="*/ 72673 h 2956895"/>
                <a:gd name="connsiteX25" fmla="*/ 11786717 w 11867103"/>
                <a:gd name="connsiteY25" fmla="*/ 112866 h 2956895"/>
                <a:gd name="connsiteX26" fmla="*/ 11806813 w 11867103"/>
                <a:gd name="connsiteY26" fmla="*/ 203301 h 2956895"/>
                <a:gd name="connsiteX27" fmla="*/ 11816862 w 11867103"/>
                <a:gd name="connsiteY27" fmla="*/ 243495 h 2956895"/>
                <a:gd name="connsiteX28" fmla="*/ 11826910 w 11867103"/>
                <a:gd name="connsiteY28" fmla="*/ 333930 h 2956895"/>
                <a:gd name="connsiteX29" fmla="*/ 11836958 w 11867103"/>
                <a:gd name="connsiteY29" fmla="*/ 414317 h 2956895"/>
                <a:gd name="connsiteX30" fmla="*/ 11826910 w 11867103"/>
                <a:gd name="connsiteY30" fmla="*/ 725816 h 2956895"/>
                <a:gd name="connsiteX31" fmla="*/ 11816862 w 11867103"/>
                <a:gd name="connsiteY31" fmla="*/ 786106 h 2956895"/>
                <a:gd name="connsiteX32" fmla="*/ 11806813 w 11867103"/>
                <a:gd name="connsiteY32" fmla="*/ 856444 h 2956895"/>
                <a:gd name="connsiteX33" fmla="*/ 11816862 w 11867103"/>
                <a:gd name="connsiteY33" fmla="*/ 2323504 h 2956895"/>
                <a:gd name="connsiteX34" fmla="*/ 11826910 w 11867103"/>
                <a:gd name="connsiteY34" fmla="*/ 2393842 h 2956895"/>
                <a:gd name="connsiteX35" fmla="*/ 11836958 w 11867103"/>
                <a:gd name="connsiteY35" fmla="*/ 2423987 h 2956895"/>
                <a:gd name="connsiteX36" fmla="*/ 11857055 w 11867103"/>
                <a:gd name="connsiteY36" fmla="*/ 2554616 h 2956895"/>
                <a:gd name="connsiteX37" fmla="*/ 11867103 w 11867103"/>
                <a:gd name="connsiteY37" fmla="*/ 2594809 h 2956895"/>
                <a:gd name="connsiteX38" fmla="*/ 11857055 w 11867103"/>
                <a:gd name="connsiteY38" fmla="*/ 2825921 h 2956895"/>
                <a:gd name="connsiteX39" fmla="*/ 11836958 w 11867103"/>
                <a:gd name="connsiteY39" fmla="*/ 2856066 h 2956895"/>
                <a:gd name="connsiteX40" fmla="*/ 11033090 w 11867103"/>
                <a:gd name="connsiteY40" fmla="*/ 2846018 h 2956895"/>
                <a:gd name="connsiteX41" fmla="*/ 10621108 w 11867103"/>
                <a:gd name="connsiteY41" fmla="*/ 2835970 h 2956895"/>
                <a:gd name="connsiteX42" fmla="*/ 10128739 w 11867103"/>
                <a:gd name="connsiteY42" fmla="*/ 2846018 h 2956895"/>
                <a:gd name="connsiteX43" fmla="*/ 10048352 w 11867103"/>
                <a:gd name="connsiteY43" fmla="*/ 2856066 h 2956895"/>
                <a:gd name="connsiteX44" fmla="*/ 9555982 w 11867103"/>
                <a:gd name="connsiteY44" fmla="*/ 2846018 h 2956895"/>
                <a:gd name="connsiteX45" fmla="*/ 9445451 w 11867103"/>
                <a:gd name="connsiteY45" fmla="*/ 2835970 h 2956895"/>
                <a:gd name="connsiteX46" fmla="*/ 9415306 w 11867103"/>
                <a:gd name="connsiteY46" fmla="*/ 2815873 h 2956895"/>
                <a:gd name="connsiteX47" fmla="*/ 9204290 w 11867103"/>
                <a:gd name="connsiteY47" fmla="*/ 2795776 h 2956895"/>
                <a:gd name="connsiteX48" fmla="*/ 9073662 w 11867103"/>
                <a:gd name="connsiteY48" fmla="*/ 2775679 h 2956895"/>
                <a:gd name="connsiteX49" fmla="*/ 8812404 w 11867103"/>
                <a:gd name="connsiteY49" fmla="*/ 2765631 h 2956895"/>
                <a:gd name="connsiteX50" fmla="*/ 8400422 w 11867103"/>
                <a:gd name="connsiteY50" fmla="*/ 2755583 h 2956895"/>
                <a:gd name="connsiteX51" fmla="*/ 8269793 w 11867103"/>
                <a:gd name="connsiteY51" fmla="*/ 2745534 h 2956895"/>
                <a:gd name="connsiteX52" fmla="*/ 7797521 w 11867103"/>
                <a:gd name="connsiteY52" fmla="*/ 2765631 h 2956895"/>
                <a:gd name="connsiteX53" fmla="*/ 7717134 w 11867103"/>
                <a:gd name="connsiteY53" fmla="*/ 2775679 h 2956895"/>
                <a:gd name="connsiteX54" fmla="*/ 7486022 w 11867103"/>
                <a:gd name="connsiteY54" fmla="*/ 2805825 h 2956895"/>
                <a:gd name="connsiteX55" fmla="*/ 7395587 w 11867103"/>
                <a:gd name="connsiteY55" fmla="*/ 2825921 h 2956895"/>
                <a:gd name="connsiteX56" fmla="*/ 7325248 w 11867103"/>
                <a:gd name="connsiteY56" fmla="*/ 2835970 h 2956895"/>
                <a:gd name="connsiteX57" fmla="*/ 6863024 w 11867103"/>
                <a:gd name="connsiteY57" fmla="*/ 2825921 h 2956895"/>
                <a:gd name="connsiteX58" fmla="*/ 6722347 w 11867103"/>
                <a:gd name="connsiteY58" fmla="*/ 2815873 h 2956895"/>
                <a:gd name="connsiteX59" fmla="*/ 4903596 w 11867103"/>
                <a:gd name="connsiteY59" fmla="*/ 2866115 h 2956895"/>
                <a:gd name="connsiteX60" fmla="*/ 4722725 w 11867103"/>
                <a:gd name="connsiteY60" fmla="*/ 2906308 h 2956895"/>
                <a:gd name="connsiteX61" fmla="*/ 4300695 w 11867103"/>
                <a:gd name="connsiteY61" fmla="*/ 2886211 h 2956895"/>
                <a:gd name="connsiteX62" fmla="*/ 4059534 w 11867103"/>
                <a:gd name="connsiteY62" fmla="*/ 2846018 h 2956895"/>
                <a:gd name="connsiteX63" fmla="*/ 3768132 w 11867103"/>
                <a:gd name="connsiteY63" fmla="*/ 2815873 h 2956895"/>
                <a:gd name="connsiteX64" fmla="*/ 3627455 w 11867103"/>
                <a:gd name="connsiteY64" fmla="*/ 2805825 h 2956895"/>
                <a:gd name="connsiteX65" fmla="*/ 3125037 w 11867103"/>
                <a:gd name="connsiteY65" fmla="*/ 2815873 h 2956895"/>
                <a:gd name="connsiteX66" fmla="*/ 3064747 w 11867103"/>
                <a:gd name="connsiteY66" fmla="*/ 2825921 h 2956895"/>
                <a:gd name="connsiteX67" fmla="*/ 2009670 w 11867103"/>
                <a:gd name="connsiteY67" fmla="*/ 2835970 h 2956895"/>
                <a:gd name="connsiteX68" fmla="*/ 1678075 w 11867103"/>
                <a:gd name="connsiteY68" fmla="*/ 2926405 h 2956895"/>
                <a:gd name="connsiteX69" fmla="*/ 1607736 w 11867103"/>
                <a:gd name="connsiteY69" fmla="*/ 2956550 h 2956895"/>
                <a:gd name="connsiteX70" fmla="*/ 1135464 w 11867103"/>
                <a:gd name="connsiteY70" fmla="*/ 2936453 h 2956895"/>
                <a:gd name="connsiteX71" fmla="*/ 944545 w 11867103"/>
                <a:gd name="connsiteY71" fmla="*/ 2906308 h 2956895"/>
                <a:gd name="connsiteX72" fmla="*/ 723481 w 11867103"/>
                <a:gd name="connsiteY72" fmla="*/ 2866115 h 2956895"/>
                <a:gd name="connsiteX73" fmla="*/ 643095 w 11867103"/>
                <a:gd name="connsiteY73" fmla="*/ 2856066 h 2956895"/>
                <a:gd name="connsiteX74" fmla="*/ 371789 w 11867103"/>
                <a:gd name="connsiteY74" fmla="*/ 2815873 h 2956895"/>
                <a:gd name="connsiteX75" fmla="*/ 0 w 11867103"/>
                <a:gd name="connsiteY75" fmla="*/ 2805825 h 2956895"/>
                <a:gd name="connsiteX0" fmla="*/ 120580 w 11867103"/>
                <a:gd name="connsiteY0" fmla="*/ 42790 h 2957157"/>
                <a:gd name="connsiteX1" fmla="*/ 281354 w 11867103"/>
                <a:gd name="connsiteY1" fmla="*/ 32741 h 2957157"/>
                <a:gd name="connsiteX2" fmla="*/ 673240 w 11867103"/>
                <a:gd name="connsiteY2" fmla="*/ 22693 h 2957157"/>
                <a:gd name="connsiteX3" fmla="*/ 1356528 w 11867103"/>
                <a:gd name="connsiteY3" fmla="*/ 72935 h 2957157"/>
                <a:gd name="connsiteX4" fmla="*/ 1758462 w 11867103"/>
                <a:gd name="connsiteY4" fmla="*/ 32741 h 2957157"/>
                <a:gd name="connsiteX5" fmla="*/ 2140299 w 11867103"/>
                <a:gd name="connsiteY5" fmla="*/ 32741 h 2957157"/>
                <a:gd name="connsiteX6" fmla="*/ 4652387 w 11867103"/>
                <a:gd name="connsiteY6" fmla="*/ 52838 h 2957157"/>
                <a:gd name="connsiteX7" fmla="*/ 4692580 w 11867103"/>
                <a:gd name="connsiteY7" fmla="*/ 62887 h 2957157"/>
                <a:gd name="connsiteX8" fmla="*/ 6420897 w 11867103"/>
                <a:gd name="connsiteY8" fmla="*/ 82983 h 2957157"/>
                <a:gd name="connsiteX9" fmla="*/ 7204668 w 11867103"/>
                <a:gd name="connsiteY9" fmla="*/ 2596 h 2957157"/>
                <a:gd name="connsiteX10" fmla="*/ 7285055 w 11867103"/>
                <a:gd name="connsiteY10" fmla="*/ 22693 h 2957157"/>
                <a:gd name="connsiteX11" fmla="*/ 7928150 w 11867103"/>
                <a:gd name="connsiteY11" fmla="*/ 52838 h 2957157"/>
                <a:gd name="connsiteX12" fmla="*/ 8109020 w 11867103"/>
                <a:gd name="connsiteY12" fmla="*/ 72935 h 2957157"/>
                <a:gd name="connsiteX13" fmla="*/ 8219552 w 11867103"/>
                <a:gd name="connsiteY13" fmla="*/ 82983 h 2957157"/>
                <a:gd name="connsiteX14" fmla="*/ 8299939 w 11867103"/>
                <a:gd name="connsiteY14" fmla="*/ 93032 h 2957157"/>
                <a:gd name="connsiteX15" fmla="*/ 8521002 w 11867103"/>
                <a:gd name="connsiteY15" fmla="*/ 103080 h 2957157"/>
                <a:gd name="connsiteX16" fmla="*/ 9515789 w 11867103"/>
                <a:gd name="connsiteY16" fmla="*/ 93032 h 2957157"/>
                <a:gd name="connsiteX17" fmla="*/ 9606224 w 11867103"/>
                <a:gd name="connsiteY17" fmla="*/ 82983 h 2957157"/>
                <a:gd name="connsiteX18" fmla="*/ 9716756 w 11867103"/>
                <a:gd name="connsiteY18" fmla="*/ 72935 h 2957157"/>
                <a:gd name="connsiteX19" fmla="*/ 9797143 w 11867103"/>
                <a:gd name="connsiteY19" fmla="*/ 62887 h 2957157"/>
                <a:gd name="connsiteX20" fmla="*/ 9947868 w 11867103"/>
                <a:gd name="connsiteY20" fmla="*/ 52838 h 2957157"/>
                <a:gd name="connsiteX21" fmla="*/ 10791930 w 11867103"/>
                <a:gd name="connsiteY21" fmla="*/ 22693 h 2957157"/>
                <a:gd name="connsiteX22" fmla="*/ 11736475 w 11867103"/>
                <a:gd name="connsiteY22" fmla="*/ 42790 h 2957157"/>
                <a:gd name="connsiteX23" fmla="*/ 11766620 w 11867103"/>
                <a:gd name="connsiteY23" fmla="*/ 72935 h 2957157"/>
                <a:gd name="connsiteX24" fmla="*/ 11786717 w 11867103"/>
                <a:gd name="connsiteY24" fmla="*/ 113128 h 2957157"/>
                <a:gd name="connsiteX25" fmla="*/ 11806813 w 11867103"/>
                <a:gd name="connsiteY25" fmla="*/ 203563 h 2957157"/>
                <a:gd name="connsiteX26" fmla="*/ 11816862 w 11867103"/>
                <a:gd name="connsiteY26" fmla="*/ 243757 h 2957157"/>
                <a:gd name="connsiteX27" fmla="*/ 11826910 w 11867103"/>
                <a:gd name="connsiteY27" fmla="*/ 334192 h 2957157"/>
                <a:gd name="connsiteX28" fmla="*/ 11836958 w 11867103"/>
                <a:gd name="connsiteY28" fmla="*/ 414579 h 2957157"/>
                <a:gd name="connsiteX29" fmla="*/ 11826910 w 11867103"/>
                <a:gd name="connsiteY29" fmla="*/ 726078 h 2957157"/>
                <a:gd name="connsiteX30" fmla="*/ 11816862 w 11867103"/>
                <a:gd name="connsiteY30" fmla="*/ 786368 h 2957157"/>
                <a:gd name="connsiteX31" fmla="*/ 11806813 w 11867103"/>
                <a:gd name="connsiteY31" fmla="*/ 856706 h 2957157"/>
                <a:gd name="connsiteX32" fmla="*/ 11816862 w 11867103"/>
                <a:gd name="connsiteY32" fmla="*/ 2323766 h 2957157"/>
                <a:gd name="connsiteX33" fmla="*/ 11826910 w 11867103"/>
                <a:gd name="connsiteY33" fmla="*/ 2394104 h 2957157"/>
                <a:gd name="connsiteX34" fmla="*/ 11836958 w 11867103"/>
                <a:gd name="connsiteY34" fmla="*/ 2424249 h 2957157"/>
                <a:gd name="connsiteX35" fmla="*/ 11857055 w 11867103"/>
                <a:gd name="connsiteY35" fmla="*/ 2554878 h 2957157"/>
                <a:gd name="connsiteX36" fmla="*/ 11867103 w 11867103"/>
                <a:gd name="connsiteY36" fmla="*/ 2595071 h 2957157"/>
                <a:gd name="connsiteX37" fmla="*/ 11857055 w 11867103"/>
                <a:gd name="connsiteY37" fmla="*/ 2826183 h 2957157"/>
                <a:gd name="connsiteX38" fmla="*/ 11836958 w 11867103"/>
                <a:gd name="connsiteY38" fmla="*/ 2856328 h 2957157"/>
                <a:gd name="connsiteX39" fmla="*/ 11033090 w 11867103"/>
                <a:gd name="connsiteY39" fmla="*/ 2846280 h 2957157"/>
                <a:gd name="connsiteX40" fmla="*/ 10621108 w 11867103"/>
                <a:gd name="connsiteY40" fmla="*/ 2836232 h 2957157"/>
                <a:gd name="connsiteX41" fmla="*/ 10128739 w 11867103"/>
                <a:gd name="connsiteY41" fmla="*/ 2846280 h 2957157"/>
                <a:gd name="connsiteX42" fmla="*/ 10048352 w 11867103"/>
                <a:gd name="connsiteY42" fmla="*/ 2856328 h 2957157"/>
                <a:gd name="connsiteX43" fmla="*/ 9555982 w 11867103"/>
                <a:gd name="connsiteY43" fmla="*/ 2846280 h 2957157"/>
                <a:gd name="connsiteX44" fmla="*/ 9445451 w 11867103"/>
                <a:gd name="connsiteY44" fmla="*/ 2836232 h 2957157"/>
                <a:gd name="connsiteX45" fmla="*/ 9415306 w 11867103"/>
                <a:gd name="connsiteY45" fmla="*/ 2816135 h 2957157"/>
                <a:gd name="connsiteX46" fmla="*/ 9204290 w 11867103"/>
                <a:gd name="connsiteY46" fmla="*/ 2796038 h 2957157"/>
                <a:gd name="connsiteX47" fmla="*/ 9073662 w 11867103"/>
                <a:gd name="connsiteY47" fmla="*/ 2775941 h 2957157"/>
                <a:gd name="connsiteX48" fmla="*/ 8812404 w 11867103"/>
                <a:gd name="connsiteY48" fmla="*/ 2765893 h 2957157"/>
                <a:gd name="connsiteX49" fmla="*/ 8400422 w 11867103"/>
                <a:gd name="connsiteY49" fmla="*/ 2755845 h 2957157"/>
                <a:gd name="connsiteX50" fmla="*/ 8269793 w 11867103"/>
                <a:gd name="connsiteY50" fmla="*/ 2745796 h 2957157"/>
                <a:gd name="connsiteX51" fmla="*/ 7797521 w 11867103"/>
                <a:gd name="connsiteY51" fmla="*/ 2765893 h 2957157"/>
                <a:gd name="connsiteX52" fmla="*/ 7717134 w 11867103"/>
                <a:gd name="connsiteY52" fmla="*/ 2775941 h 2957157"/>
                <a:gd name="connsiteX53" fmla="*/ 7486022 w 11867103"/>
                <a:gd name="connsiteY53" fmla="*/ 2806087 h 2957157"/>
                <a:gd name="connsiteX54" fmla="*/ 7395587 w 11867103"/>
                <a:gd name="connsiteY54" fmla="*/ 2826183 h 2957157"/>
                <a:gd name="connsiteX55" fmla="*/ 7325248 w 11867103"/>
                <a:gd name="connsiteY55" fmla="*/ 2836232 h 2957157"/>
                <a:gd name="connsiteX56" fmla="*/ 6863024 w 11867103"/>
                <a:gd name="connsiteY56" fmla="*/ 2826183 h 2957157"/>
                <a:gd name="connsiteX57" fmla="*/ 6722347 w 11867103"/>
                <a:gd name="connsiteY57" fmla="*/ 2816135 h 2957157"/>
                <a:gd name="connsiteX58" fmla="*/ 4903596 w 11867103"/>
                <a:gd name="connsiteY58" fmla="*/ 2866377 h 2957157"/>
                <a:gd name="connsiteX59" fmla="*/ 4722725 w 11867103"/>
                <a:gd name="connsiteY59" fmla="*/ 2906570 h 2957157"/>
                <a:gd name="connsiteX60" fmla="*/ 4300695 w 11867103"/>
                <a:gd name="connsiteY60" fmla="*/ 2886473 h 2957157"/>
                <a:gd name="connsiteX61" fmla="*/ 4059534 w 11867103"/>
                <a:gd name="connsiteY61" fmla="*/ 2846280 h 2957157"/>
                <a:gd name="connsiteX62" fmla="*/ 3768132 w 11867103"/>
                <a:gd name="connsiteY62" fmla="*/ 2816135 h 2957157"/>
                <a:gd name="connsiteX63" fmla="*/ 3627455 w 11867103"/>
                <a:gd name="connsiteY63" fmla="*/ 2806087 h 2957157"/>
                <a:gd name="connsiteX64" fmla="*/ 3125037 w 11867103"/>
                <a:gd name="connsiteY64" fmla="*/ 2816135 h 2957157"/>
                <a:gd name="connsiteX65" fmla="*/ 3064747 w 11867103"/>
                <a:gd name="connsiteY65" fmla="*/ 2826183 h 2957157"/>
                <a:gd name="connsiteX66" fmla="*/ 2009670 w 11867103"/>
                <a:gd name="connsiteY66" fmla="*/ 2836232 h 2957157"/>
                <a:gd name="connsiteX67" fmla="*/ 1678075 w 11867103"/>
                <a:gd name="connsiteY67" fmla="*/ 2926667 h 2957157"/>
                <a:gd name="connsiteX68" fmla="*/ 1607736 w 11867103"/>
                <a:gd name="connsiteY68" fmla="*/ 2956812 h 2957157"/>
                <a:gd name="connsiteX69" fmla="*/ 1135464 w 11867103"/>
                <a:gd name="connsiteY69" fmla="*/ 2936715 h 2957157"/>
                <a:gd name="connsiteX70" fmla="*/ 944545 w 11867103"/>
                <a:gd name="connsiteY70" fmla="*/ 2906570 h 2957157"/>
                <a:gd name="connsiteX71" fmla="*/ 723481 w 11867103"/>
                <a:gd name="connsiteY71" fmla="*/ 2866377 h 2957157"/>
                <a:gd name="connsiteX72" fmla="*/ 643095 w 11867103"/>
                <a:gd name="connsiteY72" fmla="*/ 2856328 h 2957157"/>
                <a:gd name="connsiteX73" fmla="*/ 371789 w 11867103"/>
                <a:gd name="connsiteY73" fmla="*/ 2816135 h 2957157"/>
                <a:gd name="connsiteX74" fmla="*/ 0 w 11867103"/>
                <a:gd name="connsiteY74" fmla="*/ 2806087 h 2957157"/>
                <a:gd name="connsiteX0" fmla="*/ 120580 w 11867103"/>
                <a:gd name="connsiteY0" fmla="*/ 40596 h 2954963"/>
                <a:gd name="connsiteX1" fmla="*/ 281354 w 11867103"/>
                <a:gd name="connsiteY1" fmla="*/ 30547 h 2954963"/>
                <a:gd name="connsiteX2" fmla="*/ 673240 w 11867103"/>
                <a:gd name="connsiteY2" fmla="*/ 20499 h 2954963"/>
                <a:gd name="connsiteX3" fmla="*/ 1356528 w 11867103"/>
                <a:gd name="connsiteY3" fmla="*/ 70741 h 2954963"/>
                <a:gd name="connsiteX4" fmla="*/ 1758462 w 11867103"/>
                <a:gd name="connsiteY4" fmla="*/ 30547 h 2954963"/>
                <a:gd name="connsiteX5" fmla="*/ 2140299 w 11867103"/>
                <a:gd name="connsiteY5" fmla="*/ 30547 h 2954963"/>
                <a:gd name="connsiteX6" fmla="*/ 4652387 w 11867103"/>
                <a:gd name="connsiteY6" fmla="*/ 50644 h 2954963"/>
                <a:gd name="connsiteX7" fmla="*/ 4692580 w 11867103"/>
                <a:gd name="connsiteY7" fmla="*/ 60693 h 2954963"/>
                <a:gd name="connsiteX8" fmla="*/ 6420897 w 11867103"/>
                <a:gd name="connsiteY8" fmla="*/ 80789 h 2954963"/>
                <a:gd name="connsiteX9" fmla="*/ 7204668 w 11867103"/>
                <a:gd name="connsiteY9" fmla="*/ 402 h 2954963"/>
                <a:gd name="connsiteX10" fmla="*/ 7928150 w 11867103"/>
                <a:gd name="connsiteY10" fmla="*/ 50644 h 2954963"/>
                <a:gd name="connsiteX11" fmla="*/ 8109020 w 11867103"/>
                <a:gd name="connsiteY11" fmla="*/ 70741 h 2954963"/>
                <a:gd name="connsiteX12" fmla="*/ 8219552 w 11867103"/>
                <a:gd name="connsiteY12" fmla="*/ 80789 h 2954963"/>
                <a:gd name="connsiteX13" fmla="*/ 8299939 w 11867103"/>
                <a:gd name="connsiteY13" fmla="*/ 90838 h 2954963"/>
                <a:gd name="connsiteX14" fmla="*/ 8521002 w 11867103"/>
                <a:gd name="connsiteY14" fmla="*/ 100886 h 2954963"/>
                <a:gd name="connsiteX15" fmla="*/ 9515789 w 11867103"/>
                <a:gd name="connsiteY15" fmla="*/ 90838 h 2954963"/>
                <a:gd name="connsiteX16" fmla="*/ 9606224 w 11867103"/>
                <a:gd name="connsiteY16" fmla="*/ 80789 h 2954963"/>
                <a:gd name="connsiteX17" fmla="*/ 9716756 w 11867103"/>
                <a:gd name="connsiteY17" fmla="*/ 70741 h 2954963"/>
                <a:gd name="connsiteX18" fmla="*/ 9797143 w 11867103"/>
                <a:gd name="connsiteY18" fmla="*/ 60693 h 2954963"/>
                <a:gd name="connsiteX19" fmla="*/ 9947868 w 11867103"/>
                <a:gd name="connsiteY19" fmla="*/ 50644 h 2954963"/>
                <a:gd name="connsiteX20" fmla="*/ 10791930 w 11867103"/>
                <a:gd name="connsiteY20" fmla="*/ 20499 h 2954963"/>
                <a:gd name="connsiteX21" fmla="*/ 11736475 w 11867103"/>
                <a:gd name="connsiteY21" fmla="*/ 40596 h 2954963"/>
                <a:gd name="connsiteX22" fmla="*/ 11766620 w 11867103"/>
                <a:gd name="connsiteY22" fmla="*/ 70741 h 2954963"/>
                <a:gd name="connsiteX23" fmla="*/ 11786717 w 11867103"/>
                <a:gd name="connsiteY23" fmla="*/ 110934 h 2954963"/>
                <a:gd name="connsiteX24" fmla="*/ 11806813 w 11867103"/>
                <a:gd name="connsiteY24" fmla="*/ 201369 h 2954963"/>
                <a:gd name="connsiteX25" fmla="*/ 11816862 w 11867103"/>
                <a:gd name="connsiteY25" fmla="*/ 241563 h 2954963"/>
                <a:gd name="connsiteX26" fmla="*/ 11826910 w 11867103"/>
                <a:gd name="connsiteY26" fmla="*/ 331998 h 2954963"/>
                <a:gd name="connsiteX27" fmla="*/ 11836958 w 11867103"/>
                <a:gd name="connsiteY27" fmla="*/ 412385 h 2954963"/>
                <a:gd name="connsiteX28" fmla="*/ 11826910 w 11867103"/>
                <a:gd name="connsiteY28" fmla="*/ 723884 h 2954963"/>
                <a:gd name="connsiteX29" fmla="*/ 11816862 w 11867103"/>
                <a:gd name="connsiteY29" fmla="*/ 784174 h 2954963"/>
                <a:gd name="connsiteX30" fmla="*/ 11806813 w 11867103"/>
                <a:gd name="connsiteY30" fmla="*/ 854512 h 2954963"/>
                <a:gd name="connsiteX31" fmla="*/ 11816862 w 11867103"/>
                <a:gd name="connsiteY31" fmla="*/ 2321572 h 2954963"/>
                <a:gd name="connsiteX32" fmla="*/ 11826910 w 11867103"/>
                <a:gd name="connsiteY32" fmla="*/ 2391910 h 2954963"/>
                <a:gd name="connsiteX33" fmla="*/ 11836958 w 11867103"/>
                <a:gd name="connsiteY33" fmla="*/ 2422055 h 2954963"/>
                <a:gd name="connsiteX34" fmla="*/ 11857055 w 11867103"/>
                <a:gd name="connsiteY34" fmla="*/ 2552684 h 2954963"/>
                <a:gd name="connsiteX35" fmla="*/ 11867103 w 11867103"/>
                <a:gd name="connsiteY35" fmla="*/ 2592877 h 2954963"/>
                <a:gd name="connsiteX36" fmla="*/ 11857055 w 11867103"/>
                <a:gd name="connsiteY36" fmla="*/ 2823989 h 2954963"/>
                <a:gd name="connsiteX37" fmla="*/ 11836958 w 11867103"/>
                <a:gd name="connsiteY37" fmla="*/ 2854134 h 2954963"/>
                <a:gd name="connsiteX38" fmla="*/ 11033090 w 11867103"/>
                <a:gd name="connsiteY38" fmla="*/ 2844086 h 2954963"/>
                <a:gd name="connsiteX39" fmla="*/ 10621108 w 11867103"/>
                <a:gd name="connsiteY39" fmla="*/ 2834038 h 2954963"/>
                <a:gd name="connsiteX40" fmla="*/ 10128739 w 11867103"/>
                <a:gd name="connsiteY40" fmla="*/ 2844086 h 2954963"/>
                <a:gd name="connsiteX41" fmla="*/ 10048352 w 11867103"/>
                <a:gd name="connsiteY41" fmla="*/ 2854134 h 2954963"/>
                <a:gd name="connsiteX42" fmla="*/ 9555982 w 11867103"/>
                <a:gd name="connsiteY42" fmla="*/ 2844086 h 2954963"/>
                <a:gd name="connsiteX43" fmla="*/ 9445451 w 11867103"/>
                <a:gd name="connsiteY43" fmla="*/ 2834038 h 2954963"/>
                <a:gd name="connsiteX44" fmla="*/ 9415306 w 11867103"/>
                <a:gd name="connsiteY44" fmla="*/ 2813941 h 2954963"/>
                <a:gd name="connsiteX45" fmla="*/ 9204290 w 11867103"/>
                <a:gd name="connsiteY45" fmla="*/ 2793844 h 2954963"/>
                <a:gd name="connsiteX46" fmla="*/ 9073662 w 11867103"/>
                <a:gd name="connsiteY46" fmla="*/ 2773747 h 2954963"/>
                <a:gd name="connsiteX47" fmla="*/ 8812404 w 11867103"/>
                <a:gd name="connsiteY47" fmla="*/ 2763699 h 2954963"/>
                <a:gd name="connsiteX48" fmla="*/ 8400422 w 11867103"/>
                <a:gd name="connsiteY48" fmla="*/ 2753651 h 2954963"/>
                <a:gd name="connsiteX49" fmla="*/ 8269793 w 11867103"/>
                <a:gd name="connsiteY49" fmla="*/ 2743602 h 2954963"/>
                <a:gd name="connsiteX50" fmla="*/ 7797521 w 11867103"/>
                <a:gd name="connsiteY50" fmla="*/ 2763699 h 2954963"/>
                <a:gd name="connsiteX51" fmla="*/ 7717134 w 11867103"/>
                <a:gd name="connsiteY51" fmla="*/ 2773747 h 2954963"/>
                <a:gd name="connsiteX52" fmla="*/ 7486022 w 11867103"/>
                <a:gd name="connsiteY52" fmla="*/ 2803893 h 2954963"/>
                <a:gd name="connsiteX53" fmla="*/ 7395587 w 11867103"/>
                <a:gd name="connsiteY53" fmla="*/ 2823989 h 2954963"/>
                <a:gd name="connsiteX54" fmla="*/ 7325248 w 11867103"/>
                <a:gd name="connsiteY54" fmla="*/ 2834038 h 2954963"/>
                <a:gd name="connsiteX55" fmla="*/ 6863024 w 11867103"/>
                <a:gd name="connsiteY55" fmla="*/ 2823989 h 2954963"/>
                <a:gd name="connsiteX56" fmla="*/ 6722347 w 11867103"/>
                <a:gd name="connsiteY56" fmla="*/ 2813941 h 2954963"/>
                <a:gd name="connsiteX57" fmla="*/ 4903596 w 11867103"/>
                <a:gd name="connsiteY57" fmla="*/ 2864183 h 2954963"/>
                <a:gd name="connsiteX58" fmla="*/ 4722725 w 11867103"/>
                <a:gd name="connsiteY58" fmla="*/ 2904376 h 2954963"/>
                <a:gd name="connsiteX59" fmla="*/ 4300695 w 11867103"/>
                <a:gd name="connsiteY59" fmla="*/ 2884279 h 2954963"/>
                <a:gd name="connsiteX60" fmla="*/ 4059534 w 11867103"/>
                <a:gd name="connsiteY60" fmla="*/ 2844086 h 2954963"/>
                <a:gd name="connsiteX61" fmla="*/ 3768132 w 11867103"/>
                <a:gd name="connsiteY61" fmla="*/ 2813941 h 2954963"/>
                <a:gd name="connsiteX62" fmla="*/ 3627455 w 11867103"/>
                <a:gd name="connsiteY62" fmla="*/ 2803893 h 2954963"/>
                <a:gd name="connsiteX63" fmla="*/ 3125037 w 11867103"/>
                <a:gd name="connsiteY63" fmla="*/ 2813941 h 2954963"/>
                <a:gd name="connsiteX64" fmla="*/ 3064747 w 11867103"/>
                <a:gd name="connsiteY64" fmla="*/ 2823989 h 2954963"/>
                <a:gd name="connsiteX65" fmla="*/ 2009670 w 11867103"/>
                <a:gd name="connsiteY65" fmla="*/ 2834038 h 2954963"/>
                <a:gd name="connsiteX66" fmla="*/ 1678075 w 11867103"/>
                <a:gd name="connsiteY66" fmla="*/ 2924473 h 2954963"/>
                <a:gd name="connsiteX67" fmla="*/ 1607736 w 11867103"/>
                <a:gd name="connsiteY67" fmla="*/ 2954618 h 2954963"/>
                <a:gd name="connsiteX68" fmla="*/ 1135464 w 11867103"/>
                <a:gd name="connsiteY68" fmla="*/ 2934521 h 2954963"/>
                <a:gd name="connsiteX69" fmla="*/ 944545 w 11867103"/>
                <a:gd name="connsiteY69" fmla="*/ 2904376 h 2954963"/>
                <a:gd name="connsiteX70" fmla="*/ 723481 w 11867103"/>
                <a:gd name="connsiteY70" fmla="*/ 2864183 h 2954963"/>
                <a:gd name="connsiteX71" fmla="*/ 643095 w 11867103"/>
                <a:gd name="connsiteY71" fmla="*/ 2854134 h 2954963"/>
                <a:gd name="connsiteX72" fmla="*/ 371789 w 11867103"/>
                <a:gd name="connsiteY72" fmla="*/ 2813941 h 2954963"/>
                <a:gd name="connsiteX73" fmla="*/ 0 w 11867103"/>
                <a:gd name="connsiteY73" fmla="*/ 2803893 h 2954963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109020 w 11867103"/>
                <a:gd name="connsiteY11" fmla="*/ 52092 h 2936314"/>
                <a:gd name="connsiteX12" fmla="*/ 8219552 w 11867103"/>
                <a:gd name="connsiteY12" fmla="*/ 62140 h 2936314"/>
                <a:gd name="connsiteX13" fmla="*/ 8299939 w 11867103"/>
                <a:gd name="connsiteY13" fmla="*/ 72189 h 2936314"/>
                <a:gd name="connsiteX14" fmla="*/ 8521002 w 11867103"/>
                <a:gd name="connsiteY14" fmla="*/ 82237 h 2936314"/>
                <a:gd name="connsiteX15" fmla="*/ 9515789 w 11867103"/>
                <a:gd name="connsiteY15" fmla="*/ 72189 h 2936314"/>
                <a:gd name="connsiteX16" fmla="*/ 9606224 w 11867103"/>
                <a:gd name="connsiteY16" fmla="*/ 62140 h 2936314"/>
                <a:gd name="connsiteX17" fmla="*/ 9716756 w 11867103"/>
                <a:gd name="connsiteY17" fmla="*/ 52092 h 2936314"/>
                <a:gd name="connsiteX18" fmla="*/ 9797143 w 11867103"/>
                <a:gd name="connsiteY18" fmla="*/ 42044 h 2936314"/>
                <a:gd name="connsiteX19" fmla="*/ 9947868 w 11867103"/>
                <a:gd name="connsiteY19" fmla="*/ 31995 h 2936314"/>
                <a:gd name="connsiteX20" fmla="*/ 10791930 w 11867103"/>
                <a:gd name="connsiteY20" fmla="*/ 1850 h 2936314"/>
                <a:gd name="connsiteX21" fmla="*/ 11736475 w 11867103"/>
                <a:gd name="connsiteY21" fmla="*/ 21947 h 2936314"/>
                <a:gd name="connsiteX22" fmla="*/ 11766620 w 11867103"/>
                <a:gd name="connsiteY22" fmla="*/ 52092 h 2936314"/>
                <a:gd name="connsiteX23" fmla="*/ 11786717 w 11867103"/>
                <a:gd name="connsiteY23" fmla="*/ 92285 h 2936314"/>
                <a:gd name="connsiteX24" fmla="*/ 11806813 w 11867103"/>
                <a:gd name="connsiteY24" fmla="*/ 182720 h 2936314"/>
                <a:gd name="connsiteX25" fmla="*/ 11816862 w 11867103"/>
                <a:gd name="connsiteY25" fmla="*/ 222914 h 2936314"/>
                <a:gd name="connsiteX26" fmla="*/ 11826910 w 11867103"/>
                <a:gd name="connsiteY26" fmla="*/ 313349 h 2936314"/>
                <a:gd name="connsiteX27" fmla="*/ 11836958 w 11867103"/>
                <a:gd name="connsiteY27" fmla="*/ 393736 h 2936314"/>
                <a:gd name="connsiteX28" fmla="*/ 11826910 w 11867103"/>
                <a:gd name="connsiteY28" fmla="*/ 705235 h 2936314"/>
                <a:gd name="connsiteX29" fmla="*/ 11816862 w 11867103"/>
                <a:gd name="connsiteY29" fmla="*/ 765525 h 2936314"/>
                <a:gd name="connsiteX30" fmla="*/ 11806813 w 11867103"/>
                <a:gd name="connsiteY30" fmla="*/ 835863 h 2936314"/>
                <a:gd name="connsiteX31" fmla="*/ 11816862 w 11867103"/>
                <a:gd name="connsiteY31" fmla="*/ 2302923 h 2936314"/>
                <a:gd name="connsiteX32" fmla="*/ 11826910 w 11867103"/>
                <a:gd name="connsiteY32" fmla="*/ 2373261 h 2936314"/>
                <a:gd name="connsiteX33" fmla="*/ 11836958 w 11867103"/>
                <a:gd name="connsiteY33" fmla="*/ 2403406 h 2936314"/>
                <a:gd name="connsiteX34" fmla="*/ 11857055 w 11867103"/>
                <a:gd name="connsiteY34" fmla="*/ 2534035 h 2936314"/>
                <a:gd name="connsiteX35" fmla="*/ 11867103 w 11867103"/>
                <a:gd name="connsiteY35" fmla="*/ 2574228 h 2936314"/>
                <a:gd name="connsiteX36" fmla="*/ 11857055 w 11867103"/>
                <a:gd name="connsiteY36" fmla="*/ 2805340 h 2936314"/>
                <a:gd name="connsiteX37" fmla="*/ 11836958 w 11867103"/>
                <a:gd name="connsiteY37" fmla="*/ 2835485 h 2936314"/>
                <a:gd name="connsiteX38" fmla="*/ 11033090 w 11867103"/>
                <a:gd name="connsiteY38" fmla="*/ 2825437 h 2936314"/>
                <a:gd name="connsiteX39" fmla="*/ 10621108 w 11867103"/>
                <a:gd name="connsiteY39" fmla="*/ 2815389 h 2936314"/>
                <a:gd name="connsiteX40" fmla="*/ 10128739 w 11867103"/>
                <a:gd name="connsiteY40" fmla="*/ 2825437 h 2936314"/>
                <a:gd name="connsiteX41" fmla="*/ 10048352 w 11867103"/>
                <a:gd name="connsiteY41" fmla="*/ 2835485 h 2936314"/>
                <a:gd name="connsiteX42" fmla="*/ 9555982 w 11867103"/>
                <a:gd name="connsiteY42" fmla="*/ 2825437 h 2936314"/>
                <a:gd name="connsiteX43" fmla="*/ 9445451 w 11867103"/>
                <a:gd name="connsiteY43" fmla="*/ 2815389 h 2936314"/>
                <a:gd name="connsiteX44" fmla="*/ 9415306 w 11867103"/>
                <a:gd name="connsiteY44" fmla="*/ 2795292 h 2936314"/>
                <a:gd name="connsiteX45" fmla="*/ 9204290 w 11867103"/>
                <a:gd name="connsiteY45" fmla="*/ 2775195 h 2936314"/>
                <a:gd name="connsiteX46" fmla="*/ 9073662 w 11867103"/>
                <a:gd name="connsiteY46" fmla="*/ 2755098 h 2936314"/>
                <a:gd name="connsiteX47" fmla="*/ 8812404 w 11867103"/>
                <a:gd name="connsiteY47" fmla="*/ 2745050 h 2936314"/>
                <a:gd name="connsiteX48" fmla="*/ 8400422 w 11867103"/>
                <a:gd name="connsiteY48" fmla="*/ 2735002 h 2936314"/>
                <a:gd name="connsiteX49" fmla="*/ 8269793 w 11867103"/>
                <a:gd name="connsiteY49" fmla="*/ 2724953 h 2936314"/>
                <a:gd name="connsiteX50" fmla="*/ 7797521 w 11867103"/>
                <a:gd name="connsiteY50" fmla="*/ 2745050 h 2936314"/>
                <a:gd name="connsiteX51" fmla="*/ 7717134 w 11867103"/>
                <a:gd name="connsiteY51" fmla="*/ 2755098 h 2936314"/>
                <a:gd name="connsiteX52" fmla="*/ 7486022 w 11867103"/>
                <a:gd name="connsiteY52" fmla="*/ 2785244 h 2936314"/>
                <a:gd name="connsiteX53" fmla="*/ 7395587 w 11867103"/>
                <a:gd name="connsiteY53" fmla="*/ 2805340 h 2936314"/>
                <a:gd name="connsiteX54" fmla="*/ 7325248 w 11867103"/>
                <a:gd name="connsiteY54" fmla="*/ 2815389 h 2936314"/>
                <a:gd name="connsiteX55" fmla="*/ 6863024 w 11867103"/>
                <a:gd name="connsiteY55" fmla="*/ 2805340 h 2936314"/>
                <a:gd name="connsiteX56" fmla="*/ 6722347 w 11867103"/>
                <a:gd name="connsiteY56" fmla="*/ 2795292 h 2936314"/>
                <a:gd name="connsiteX57" fmla="*/ 4903596 w 11867103"/>
                <a:gd name="connsiteY57" fmla="*/ 2845534 h 2936314"/>
                <a:gd name="connsiteX58" fmla="*/ 4722725 w 11867103"/>
                <a:gd name="connsiteY58" fmla="*/ 2885727 h 2936314"/>
                <a:gd name="connsiteX59" fmla="*/ 4300695 w 11867103"/>
                <a:gd name="connsiteY59" fmla="*/ 2865630 h 2936314"/>
                <a:gd name="connsiteX60" fmla="*/ 4059534 w 11867103"/>
                <a:gd name="connsiteY60" fmla="*/ 2825437 h 2936314"/>
                <a:gd name="connsiteX61" fmla="*/ 3768132 w 11867103"/>
                <a:gd name="connsiteY61" fmla="*/ 2795292 h 2936314"/>
                <a:gd name="connsiteX62" fmla="*/ 3627455 w 11867103"/>
                <a:gd name="connsiteY62" fmla="*/ 2785244 h 2936314"/>
                <a:gd name="connsiteX63" fmla="*/ 3125037 w 11867103"/>
                <a:gd name="connsiteY63" fmla="*/ 2795292 h 2936314"/>
                <a:gd name="connsiteX64" fmla="*/ 3064747 w 11867103"/>
                <a:gd name="connsiteY64" fmla="*/ 2805340 h 2936314"/>
                <a:gd name="connsiteX65" fmla="*/ 2009670 w 11867103"/>
                <a:gd name="connsiteY65" fmla="*/ 2815389 h 2936314"/>
                <a:gd name="connsiteX66" fmla="*/ 1678075 w 11867103"/>
                <a:gd name="connsiteY66" fmla="*/ 2905824 h 2936314"/>
                <a:gd name="connsiteX67" fmla="*/ 1607736 w 11867103"/>
                <a:gd name="connsiteY67" fmla="*/ 2935969 h 2936314"/>
                <a:gd name="connsiteX68" fmla="*/ 1135464 w 11867103"/>
                <a:gd name="connsiteY68" fmla="*/ 2915872 h 2936314"/>
                <a:gd name="connsiteX69" fmla="*/ 944545 w 11867103"/>
                <a:gd name="connsiteY69" fmla="*/ 2885727 h 2936314"/>
                <a:gd name="connsiteX70" fmla="*/ 723481 w 11867103"/>
                <a:gd name="connsiteY70" fmla="*/ 2845534 h 2936314"/>
                <a:gd name="connsiteX71" fmla="*/ 643095 w 11867103"/>
                <a:gd name="connsiteY71" fmla="*/ 2835485 h 2936314"/>
                <a:gd name="connsiteX72" fmla="*/ 371789 w 11867103"/>
                <a:gd name="connsiteY72" fmla="*/ 2795292 h 2936314"/>
                <a:gd name="connsiteX73" fmla="*/ 0 w 11867103"/>
                <a:gd name="connsiteY73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8299939 w 11867103"/>
                <a:gd name="connsiteY12" fmla="*/ 72189 h 2936314"/>
                <a:gd name="connsiteX13" fmla="*/ 8521002 w 11867103"/>
                <a:gd name="connsiteY13" fmla="*/ 82237 h 2936314"/>
                <a:gd name="connsiteX14" fmla="*/ 9515789 w 11867103"/>
                <a:gd name="connsiteY14" fmla="*/ 72189 h 2936314"/>
                <a:gd name="connsiteX15" fmla="*/ 9606224 w 11867103"/>
                <a:gd name="connsiteY15" fmla="*/ 62140 h 2936314"/>
                <a:gd name="connsiteX16" fmla="*/ 9716756 w 11867103"/>
                <a:gd name="connsiteY16" fmla="*/ 52092 h 2936314"/>
                <a:gd name="connsiteX17" fmla="*/ 9797143 w 11867103"/>
                <a:gd name="connsiteY17" fmla="*/ 42044 h 2936314"/>
                <a:gd name="connsiteX18" fmla="*/ 9947868 w 11867103"/>
                <a:gd name="connsiteY18" fmla="*/ 31995 h 2936314"/>
                <a:gd name="connsiteX19" fmla="*/ 10791930 w 11867103"/>
                <a:gd name="connsiteY19" fmla="*/ 1850 h 2936314"/>
                <a:gd name="connsiteX20" fmla="*/ 11736475 w 11867103"/>
                <a:gd name="connsiteY20" fmla="*/ 21947 h 2936314"/>
                <a:gd name="connsiteX21" fmla="*/ 11766620 w 11867103"/>
                <a:gd name="connsiteY21" fmla="*/ 52092 h 2936314"/>
                <a:gd name="connsiteX22" fmla="*/ 11786717 w 11867103"/>
                <a:gd name="connsiteY22" fmla="*/ 92285 h 2936314"/>
                <a:gd name="connsiteX23" fmla="*/ 11806813 w 11867103"/>
                <a:gd name="connsiteY23" fmla="*/ 182720 h 2936314"/>
                <a:gd name="connsiteX24" fmla="*/ 11816862 w 11867103"/>
                <a:gd name="connsiteY24" fmla="*/ 222914 h 2936314"/>
                <a:gd name="connsiteX25" fmla="*/ 11826910 w 11867103"/>
                <a:gd name="connsiteY25" fmla="*/ 313349 h 2936314"/>
                <a:gd name="connsiteX26" fmla="*/ 11836958 w 11867103"/>
                <a:gd name="connsiteY26" fmla="*/ 393736 h 2936314"/>
                <a:gd name="connsiteX27" fmla="*/ 11826910 w 11867103"/>
                <a:gd name="connsiteY27" fmla="*/ 705235 h 2936314"/>
                <a:gd name="connsiteX28" fmla="*/ 11816862 w 11867103"/>
                <a:gd name="connsiteY28" fmla="*/ 765525 h 2936314"/>
                <a:gd name="connsiteX29" fmla="*/ 11806813 w 11867103"/>
                <a:gd name="connsiteY29" fmla="*/ 835863 h 2936314"/>
                <a:gd name="connsiteX30" fmla="*/ 11816862 w 11867103"/>
                <a:gd name="connsiteY30" fmla="*/ 2302923 h 2936314"/>
                <a:gd name="connsiteX31" fmla="*/ 11826910 w 11867103"/>
                <a:gd name="connsiteY31" fmla="*/ 2373261 h 2936314"/>
                <a:gd name="connsiteX32" fmla="*/ 11836958 w 11867103"/>
                <a:gd name="connsiteY32" fmla="*/ 2403406 h 2936314"/>
                <a:gd name="connsiteX33" fmla="*/ 11857055 w 11867103"/>
                <a:gd name="connsiteY33" fmla="*/ 2534035 h 2936314"/>
                <a:gd name="connsiteX34" fmla="*/ 11867103 w 11867103"/>
                <a:gd name="connsiteY34" fmla="*/ 2574228 h 2936314"/>
                <a:gd name="connsiteX35" fmla="*/ 11857055 w 11867103"/>
                <a:gd name="connsiteY35" fmla="*/ 2805340 h 2936314"/>
                <a:gd name="connsiteX36" fmla="*/ 11836958 w 11867103"/>
                <a:gd name="connsiteY36" fmla="*/ 2835485 h 2936314"/>
                <a:gd name="connsiteX37" fmla="*/ 11033090 w 11867103"/>
                <a:gd name="connsiteY37" fmla="*/ 2825437 h 2936314"/>
                <a:gd name="connsiteX38" fmla="*/ 10621108 w 11867103"/>
                <a:gd name="connsiteY38" fmla="*/ 2815389 h 2936314"/>
                <a:gd name="connsiteX39" fmla="*/ 10128739 w 11867103"/>
                <a:gd name="connsiteY39" fmla="*/ 2825437 h 2936314"/>
                <a:gd name="connsiteX40" fmla="*/ 10048352 w 11867103"/>
                <a:gd name="connsiteY40" fmla="*/ 2835485 h 2936314"/>
                <a:gd name="connsiteX41" fmla="*/ 9555982 w 11867103"/>
                <a:gd name="connsiteY41" fmla="*/ 2825437 h 2936314"/>
                <a:gd name="connsiteX42" fmla="*/ 9445451 w 11867103"/>
                <a:gd name="connsiteY42" fmla="*/ 2815389 h 2936314"/>
                <a:gd name="connsiteX43" fmla="*/ 9415306 w 11867103"/>
                <a:gd name="connsiteY43" fmla="*/ 2795292 h 2936314"/>
                <a:gd name="connsiteX44" fmla="*/ 9204290 w 11867103"/>
                <a:gd name="connsiteY44" fmla="*/ 2775195 h 2936314"/>
                <a:gd name="connsiteX45" fmla="*/ 9073662 w 11867103"/>
                <a:gd name="connsiteY45" fmla="*/ 2755098 h 2936314"/>
                <a:gd name="connsiteX46" fmla="*/ 8812404 w 11867103"/>
                <a:gd name="connsiteY46" fmla="*/ 2745050 h 2936314"/>
                <a:gd name="connsiteX47" fmla="*/ 8400422 w 11867103"/>
                <a:gd name="connsiteY47" fmla="*/ 2735002 h 2936314"/>
                <a:gd name="connsiteX48" fmla="*/ 8269793 w 11867103"/>
                <a:gd name="connsiteY48" fmla="*/ 2724953 h 2936314"/>
                <a:gd name="connsiteX49" fmla="*/ 7797521 w 11867103"/>
                <a:gd name="connsiteY49" fmla="*/ 2745050 h 2936314"/>
                <a:gd name="connsiteX50" fmla="*/ 7717134 w 11867103"/>
                <a:gd name="connsiteY50" fmla="*/ 2755098 h 2936314"/>
                <a:gd name="connsiteX51" fmla="*/ 7486022 w 11867103"/>
                <a:gd name="connsiteY51" fmla="*/ 2785244 h 2936314"/>
                <a:gd name="connsiteX52" fmla="*/ 7395587 w 11867103"/>
                <a:gd name="connsiteY52" fmla="*/ 2805340 h 2936314"/>
                <a:gd name="connsiteX53" fmla="*/ 7325248 w 11867103"/>
                <a:gd name="connsiteY53" fmla="*/ 2815389 h 2936314"/>
                <a:gd name="connsiteX54" fmla="*/ 6863024 w 11867103"/>
                <a:gd name="connsiteY54" fmla="*/ 2805340 h 2936314"/>
                <a:gd name="connsiteX55" fmla="*/ 6722347 w 11867103"/>
                <a:gd name="connsiteY55" fmla="*/ 2795292 h 2936314"/>
                <a:gd name="connsiteX56" fmla="*/ 4903596 w 11867103"/>
                <a:gd name="connsiteY56" fmla="*/ 2845534 h 2936314"/>
                <a:gd name="connsiteX57" fmla="*/ 4722725 w 11867103"/>
                <a:gd name="connsiteY57" fmla="*/ 2885727 h 2936314"/>
                <a:gd name="connsiteX58" fmla="*/ 4300695 w 11867103"/>
                <a:gd name="connsiteY58" fmla="*/ 2865630 h 2936314"/>
                <a:gd name="connsiteX59" fmla="*/ 4059534 w 11867103"/>
                <a:gd name="connsiteY59" fmla="*/ 2825437 h 2936314"/>
                <a:gd name="connsiteX60" fmla="*/ 3768132 w 11867103"/>
                <a:gd name="connsiteY60" fmla="*/ 2795292 h 2936314"/>
                <a:gd name="connsiteX61" fmla="*/ 3627455 w 11867103"/>
                <a:gd name="connsiteY61" fmla="*/ 2785244 h 2936314"/>
                <a:gd name="connsiteX62" fmla="*/ 3125037 w 11867103"/>
                <a:gd name="connsiteY62" fmla="*/ 2795292 h 2936314"/>
                <a:gd name="connsiteX63" fmla="*/ 3064747 w 11867103"/>
                <a:gd name="connsiteY63" fmla="*/ 2805340 h 2936314"/>
                <a:gd name="connsiteX64" fmla="*/ 2009670 w 11867103"/>
                <a:gd name="connsiteY64" fmla="*/ 2815389 h 2936314"/>
                <a:gd name="connsiteX65" fmla="*/ 1678075 w 11867103"/>
                <a:gd name="connsiteY65" fmla="*/ 2905824 h 2936314"/>
                <a:gd name="connsiteX66" fmla="*/ 1607736 w 11867103"/>
                <a:gd name="connsiteY66" fmla="*/ 2935969 h 2936314"/>
                <a:gd name="connsiteX67" fmla="*/ 1135464 w 11867103"/>
                <a:gd name="connsiteY67" fmla="*/ 2915872 h 2936314"/>
                <a:gd name="connsiteX68" fmla="*/ 944545 w 11867103"/>
                <a:gd name="connsiteY68" fmla="*/ 2885727 h 2936314"/>
                <a:gd name="connsiteX69" fmla="*/ 723481 w 11867103"/>
                <a:gd name="connsiteY69" fmla="*/ 2845534 h 2936314"/>
                <a:gd name="connsiteX70" fmla="*/ 643095 w 11867103"/>
                <a:gd name="connsiteY70" fmla="*/ 2835485 h 2936314"/>
                <a:gd name="connsiteX71" fmla="*/ 371789 w 11867103"/>
                <a:gd name="connsiteY71" fmla="*/ 2795292 h 2936314"/>
                <a:gd name="connsiteX72" fmla="*/ 0 w 11867103"/>
                <a:gd name="connsiteY72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8521002 w 11867103"/>
                <a:gd name="connsiteY12" fmla="*/ 82237 h 2936314"/>
                <a:gd name="connsiteX13" fmla="*/ 9515789 w 11867103"/>
                <a:gd name="connsiteY13" fmla="*/ 72189 h 2936314"/>
                <a:gd name="connsiteX14" fmla="*/ 9606224 w 11867103"/>
                <a:gd name="connsiteY14" fmla="*/ 62140 h 2936314"/>
                <a:gd name="connsiteX15" fmla="*/ 9716756 w 11867103"/>
                <a:gd name="connsiteY15" fmla="*/ 52092 h 2936314"/>
                <a:gd name="connsiteX16" fmla="*/ 9797143 w 11867103"/>
                <a:gd name="connsiteY16" fmla="*/ 42044 h 2936314"/>
                <a:gd name="connsiteX17" fmla="*/ 9947868 w 11867103"/>
                <a:gd name="connsiteY17" fmla="*/ 31995 h 2936314"/>
                <a:gd name="connsiteX18" fmla="*/ 10791930 w 11867103"/>
                <a:gd name="connsiteY18" fmla="*/ 1850 h 2936314"/>
                <a:gd name="connsiteX19" fmla="*/ 11736475 w 11867103"/>
                <a:gd name="connsiteY19" fmla="*/ 21947 h 2936314"/>
                <a:gd name="connsiteX20" fmla="*/ 11766620 w 11867103"/>
                <a:gd name="connsiteY20" fmla="*/ 52092 h 2936314"/>
                <a:gd name="connsiteX21" fmla="*/ 11786717 w 11867103"/>
                <a:gd name="connsiteY21" fmla="*/ 92285 h 2936314"/>
                <a:gd name="connsiteX22" fmla="*/ 11806813 w 11867103"/>
                <a:gd name="connsiteY22" fmla="*/ 182720 h 2936314"/>
                <a:gd name="connsiteX23" fmla="*/ 11816862 w 11867103"/>
                <a:gd name="connsiteY23" fmla="*/ 222914 h 2936314"/>
                <a:gd name="connsiteX24" fmla="*/ 11826910 w 11867103"/>
                <a:gd name="connsiteY24" fmla="*/ 313349 h 2936314"/>
                <a:gd name="connsiteX25" fmla="*/ 11836958 w 11867103"/>
                <a:gd name="connsiteY25" fmla="*/ 393736 h 2936314"/>
                <a:gd name="connsiteX26" fmla="*/ 11826910 w 11867103"/>
                <a:gd name="connsiteY26" fmla="*/ 705235 h 2936314"/>
                <a:gd name="connsiteX27" fmla="*/ 11816862 w 11867103"/>
                <a:gd name="connsiteY27" fmla="*/ 765525 h 2936314"/>
                <a:gd name="connsiteX28" fmla="*/ 11806813 w 11867103"/>
                <a:gd name="connsiteY28" fmla="*/ 835863 h 2936314"/>
                <a:gd name="connsiteX29" fmla="*/ 11816862 w 11867103"/>
                <a:gd name="connsiteY29" fmla="*/ 2302923 h 2936314"/>
                <a:gd name="connsiteX30" fmla="*/ 11826910 w 11867103"/>
                <a:gd name="connsiteY30" fmla="*/ 2373261 h 2936314"/>
                <a:gd name="connsiteX31" fmla="*/ 11836958 w 11867103"/>
                <a:gd name="connsiteY31" fmla="*/ 2403406 h 2936314"/>
                <a:gd name="connsiteX32" fmla="*/ 11857055 w 11867103"/>
                <a:gd name="connsiteY32" fmla="*/ 2534035 h 2936314"/>
                <a:gd name="connsiteX33" fmla="*/ 11867103 w 11867103"/>
                <a:gd name="connsiteY33" fmla="*/ 2574228 h 2936314"/>
                <a:gd name="connsiteX34" fmla="*/ 11857055 w 11867103"/>
                <a:gd name="connsiteY34" fmla="*/ 2805340 h 2936314"/>
                <a:gd name="connsiteX35" fmla="*/ 11836958 w 11867103"/>
                <a:gd name="connsiteY35" fmla="*/ 2835485 h 2936314"/>
                <a:gd name="connsiteX36" fmla="*/ 11033090 w 11867103"/>
                <a:gd name="connsiteY36" fmla="*/ 2825437 h 2936314"/>
                <a:gd name="connsiteX37" fmla="*/ 10621108 w 11867103"/>
                <a:gd name="connsiteY37" fmla="*/ 2815389 h 2936314"/>
                <a:gd name="connsiteX38" fmla="*/ 10128739 w 11867103"/>
                <a:gd name="connsiteY38" fmla="*/ 2825437 h 2936314"/>
                <a:gd name="connsiteX39" fmla="*/ 10048352 w 11867103"/>
                <a:gd name="connsiteY39" fmla="*/ 2835485 h 2936314"/>
                <a:gd name="connsiteX40" fmla="*/ 9555982 w 11867103"/>
                <a:gd name="connsiteY40" fmla="*/ 2825437 h 2936314"/>
                <a:gd name="connsiteX41" fmla="*/ 9445451 w 11867103"/>
                <a:gd name="connsiteY41" fmla="*/ 2815389 h 2936314"/>
                <a:gd name="connsiteX42" fmla="*/ 9415306 w 11867103"/>
                <a:gd name="connsiteY42" fmla="*/ 2795292 h 2936314"/>
                <a:gd name="connsiteX43" fmla="*/ 9204290 w 11867103"/>
                <a:gd name="connsiteY43" fmla="*/ 2775195 h 2936314"/>
                <a:gd name="connsiteX44" fmla="*/ 9073662 w 11867103"/>
                <a:gd name="connsiteY44" fmla="*/ 2755098 h 2936314"/>
                <a:gd name="connsiteX45" fmla="*/ 8812404 w 11867103"/>
                <a:gd name="connsiteY45" fmla="*/ 2745050 h 2936314"/>
                <a:gd name="connsiteX46" fmla="*/ 8400422 w 11867103"/>
                <a:gd name="connsiteY46" fmla="*/ 2735002 h 2936314"/>
                <a:gd name="connsiteX47" fmla="*/ 8269793 w 11867103"/>
                <a:gd name="connsiteY47" fmla="*/ 2724953 h 2936314"/>
                <a:gd name="connsiteX48" fmla="*/ 7797521 w 11867103"/>
                <a:gd name="connsiteY48" fmla="*/ 2745050 h 2936314"/>
                <a:gd name="connsiteX49" fmla="*/ 7717134 w 11867103"/>
                <a:gd name="connsiteY49" fmla="*/ 2755098 h 2936314"/>
                <a:gd name="connsiteX50" fmla="*/ 7486022 w 11867103"/>
                <a:gd name="connsiteY50" fmla="*/ 2785244 h 2936314"/>
                <a:gd name="connsiteX51" fmla="*/ 7395587 w 11867103"/>
                <a:gd name="connsiteY51" fmla="*/ 2805340 h 2936314"/>
                <a:gd name="connsiteX52" fmla="*/ 7325248 w 11867103"/>
                <a:gd name="connsiteY52" fmla="*/ 2815389 h 2936314"/>
                <a:gd name="connsiteX53" fmla="*/ 6863024 w 11867103"/>
                <a:gd name="connsiteY53" fmla="*/ 2805340 h 2936314"/>
                <a:gd name="connsiteX54" fmla="*/ 6722347 w 11867103"/>
                <a:gd name="connsiteY54" fmla="*/ 2795292 h 2936314"/>
                <a:gd name="connsiteX55" fmla="*/ 4903596 w 11867103"/>
                <a:gd name="connsiteY55" fmla="*/ 2845534 h 2936314"/>
                <a:gd name="connsiteX56" fmla="*/ 4722725 w 11867103"/>
                <a:gd name="connsiteY56" fmla="*/ 2885727 h 2936314"/>
                <a:gd name="connsiteX57" fmla="*/ 4300695 w 11867103"/>
                <a:gd name="connsiteY57" fmla="*/ 2865630 h 2936314"/>
                <a:gd name="connsiteX58" fmla="*/ 4059534 w 11867103"/>
                <a:gd name="connsiteY58" fmla="*/ 2825437 h 2936314"/>
                <a:gd name="connsiteX59" fmla="*/ 3768132 w 11867103"/>
                <a:gd name="connsiteY59" fmla="*/ 2795292 h 2936314"/>
                <a:gd name="connsiteX60" fmla="*/ 3627455 w 11867103"/>
                <a:gd name="connsiteY60" fmla="*/ 2785244 h 2936314"/>
                <a:gd name="connsiteX61" fmla="*/ 3125037 w 11867103"/>
                <a:gd name="connsiteY61" fmla="*/ 2795292 h 2936314"/>
                <a:gd name="connsiteX62" fmla="*/ 3064747 w 11867103"/>
                <a:gd name="connsiteY62" fmla="*/ 2805340 h 2936314"/>
                <a:gd name="connsiteX63" fmla="*/ 2009670 w 11867103"/>
                <a:gd name="connsiteY63" fmla="*/ 2815389 h 2936314"/>
                <a:gd name="connsiteX64" fmla="*/ 1678075 w 11867103"/>
                <a:gd name="connsiteY64" fmla="*/ 2905824 h 2936314"/>
                <a:gd name="connsiteX65" fmla="*/ 1607736 w 11867103"/>
                <a:gd name="connsiteY65" fmla="*/ 2935969 h 2936314"/>
                <a:gd name="connsiteX66" fmla="*/ 1135464 w 11867103"/>
                <a:gd name="connsiteY66" fmla="*/ 2915872 h 2936314"/>
                <a:gd name="connsiteX67" fmla="*/ 944545 w 11867103"/>
                <a:gd name="connsiteY67" fmla="*/ 2885727 h 2936314"/>
                <a:gd name="connsiteX68" fmla="*/ 723481 w 11867103"/>
                <a:gd name="connsiteY68" fmla="*/ 2845534 h 2936314"/>
                <a:gd name="connsiteX69" fmla="*/ 643095 w 11867103"/>
                <a:gd name="connsiteY69" fmla="*/ 2835485 h 2936314"/>
                <a:gd name="connsiteX70" fmla="*/ 371789 w 11867103"/>
                <a:gd name="connsiteY70" fmla="*/ 2795292 h 2936314"/>
                <a:gd name="connsiteX71" fmla="*/ 0 w 11867103"/>
                <a:gd name="connsiteY71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515789 w 11867103"/>
                <a:gd name="connsiteY12" fmla="*/ 72189 h 2936314"/>
                <a:gd name="connsiteX13" fmla="*/ 9606224 w 11867103"/>
                <a:gd name="connsiteY13" fmla="*/ 62140 h 2936314"/>
                <a:gd name="connsiteX14" fmla="*/ 9716756 w 11867103"/>
                <a:gd name="connsiteY14" fmla="*/ 52092 h 2936314"/>
                <a:gd name="connsiteX15" fmla="*/ 9797143 w 11867103"/>
                <a:gd name="connsiteY15" fmla="*/ 42044 h 2936314"/>
                <a:gd name="connsiteX16" fmla="*/ 9947868 w 11867103"/>
                <a:gd name="connsiteY16" fmla="*/ 31995 h 2936314"/>
                <a:gd name="connsiteX17" fmla="*/ 10791930 w 11867103"/>
                <a:gd name="connsiteY17" fmla="*/ 1850 h 2936314"/>
                <a:gd name="connsiteX18" fmla="*/ 11736475 w 11867103"/>
                <a:gd name="connsiteY18" fmla="*/ 21947 h 2936314"/>
                <a:gd name="connsiteX19" fmla="*/ 11766620 w 11867103"/>
                <a:gd name="connsiteY19" fmla="*/ 52092 h 2936314"/>
                <a:gd name="connsiteX20" fmla="*/ 11786717 w 11867103"/>
                <a:gd name="connsiteY20" fmla="*/ 92285 h 2936314"/>
                <a:gd name="connsiteX21" fmla="*/ 11806813 w 11867103"/>
                <a:gd name="connsiteY21" fmla="*/ 182720 h 2936314"/>
                <a:gd name="connsiteX22" fmla="*/ 11816862 w 11867103"/>
                <a:gd name="connsiteY22" fmla="*/ 222914 h 2936314"/>
                <a:gd name="connsiteX23" fmla="*/ 11826910 w 11867103"/>
                <a:gd name="connsiteY23" fmla="*/ 313349 h 2936314"/>
                <a:gd name="connsiteX24" fmla="*/ 11836958 w 11867103"/>
                <a:gd name="connsiteY24" fmla="*/ 393736 h 2936314"/>
                <a:gd name="connsiteX25" fmla="*/ 11826910 w 11867103"/>
                <a:gd name="connsiteY25" fmla="*/ 705235 h 2936314"/>
                <a:gd name="connsiteX26" fmla="*/ 11816862 w 11867103"/>
                <a:gd name="connsiteY26" fmla="*/ 765525 h 2936314"/>
                <a:gd name="connsiteX27" fmla="*/ 11806813 w 11867103"/>
                <a:gd name="connsiteY27" fmla="*/ 835863 h 2936314"/>
                <a:gd name="connsiteX28" fmla="*/ 11816862 w 11867103"/>
                <a:gd name="connsiteY28" fmla="*/ 2302923 h 2936314"/>
                <a:gd name="connsiteX29" fmla="*/ 11826910 w 11867103"/>
                <a:gd name="connsiteY29" fmla="*/ 2373261 h 2936314"/>
                <a:gd name="connsiteX30" fmla="*/ 11836958 w 11867103"/>
                <a:gd name="connsiteY30" fmla="*/ 2403406 h 2936314"/>
                <a:gd name="connsiteX31" fmla="*/ 11857055 w 11867103"/>
                <a:gd name="connsiteY31" fmla="*/ 2534035 h 2936314"/>
                <a:gd name="connsiteX32" fmla="*/ 11867103 w 11867103"/>
                <a:gd name="connsiteY32" fmla="*/ 2574228 h 2936314"/>
                <a:gd name="connsiteX33" fmla="*/ 11857055 w 11867103"/>
                <a:gd name="connsiteY33" fmla="*/ 2805340 h 2936314"/>
                <a:gd name="connsiteX34" fmla="*/ 11836958 w 11867103"/>
                <a:gd name="connsiteY34" fmla="*/ 2835485 h 2936314"/>
                <a:gd name="connsiteX35" fmla="*/ 11033090 w 11867103"/>
                <a:gd name="connsiteY35" fmla="*/ 2825437 h 2936314"/>
                <a:gd name="connsiteX36" fmla="*/ 10621108 w 11867103"/>
                <a:gd name="connsiteY36" fmla="*/ 2815389 h 2936314"/>
                <a:gd name="connsiteX37" fmla="*/ 10128739 w 11867103"/>
                <a:gd name="connsiteY37" fmla="*/ 2825437 h 2936314"/>
                <a:gd name="connsiteX38" fmla="*/ 10048352 w 11867103"/>
                <a:gd name="connsiteY38" fmla="*/ 2835485 h 2936314"/>
                <a:gd name="connsiteX39" fmla="*/ 9555982 w 11867103"/>
                <a:gd name="connsiteY39" fmla="*/ 2825437 h 2936314"/>
                <a:gd name="connsiteX40" fmla="*/ 9445451 w 11867103"/>
                <a:gd name="connsiteY40" fmla="*/ 2815389 h 2936314"/>
                <a:gd name="connsiteX41" fmla="*/ 9415306 w 11867103"/>
                <a:gd name="connsiteY41" fmla="*/ 2795292 h 2936314"/>
                <a:gd name="connsiteX42" fmla="*/ 9204290 w 11867103"/>
                <a:gd name="connsiteY42" fmla="*/ 2775195 h 2936314"/>
                <a:gd name="connsiteX43" fmla="*/ 9073662 w 11867103"/>
                <a:gd name="connsiteY43" fmla="*/ 2755098 h 2936314"/>
                <a:gd name="connsiteX44" fmla="*/ 8812404 w 11867103"/>
                <a:gd name="connsiteY44" fmla="*/ 2745050 h 2936314"/>
                <a:gd name="connsiteX45" fmla="*/ 8400422 w 11867103"/>
                <a:gd name="connsiteY45" fmla="*/ 2735002 h 2936314"/>
                <a:gd name="connsiteX46" fmla="*/ 8269793 w 11867103"/>
                <a:gd name="connsiteY46" fmla="*/ 2724953 h 2936314"/>
                <a:gd name="connsiteX47" fmla="*/ 7797521 w 11867103"/>
                <a:gd name="connsiteY47" fmla="*/ 2745050 h 2936314"/>
                <a:gd name="connsiteX48" fmla="*/ 7717134 w 11867103"/>
                <a:gd name="connsiteY48" fmla="*/ 2755098 h 2936314"/>
                <a:gd name="connsiteX49" fmla="*/ 7486022 w 11867103"/>
                <a:gd name="connsiteY49" fmla="*/ 2785244 h 2936314"/>
                <a:gd name="connsiteX50" fmla="*/ 7395587 w 11867103"/>
                <a:gd name="connsiteY50" fmla="*/ 2805340 h 2936314"/>
                <a:gd name="connsiteX51" fmla="*/ 7325248 w 11867103"/>
                <a:gd name="connsiteY51" fmla="*/ 2815389 h 2936314"/>
                <a:gd name="connsiteX52" fmla="*/ 6863024 w 11867103"/>
                <a:gd name="connsiteY52" fmla="*/ 2805340 h 2936314"/>
                <a:gd name="connsiteX53" fmla="*/ 6722347 w 11867103"/>
                <a:gd name="connsiteY53" fmla="*/ 2795292 h 2936314"/>
                <a:gd name="connsiteX54" fmla="*/ 4903596 w 11867103"/>
                <a:gd name="connsiteY54" fmla="*/ 2845534 h 2936314"/>
                <a:gd name="connsiteX55" fmla="*/ 4722725 w 11867103"/>
                <a:gd name="connsiteY55" fmla="*/ 2885727 h 2936314"/>
                <a:gd name="connsiteX56" fmla="*/ 4300695 w 11867103"/>
                <a:gd name="connsiteY56" fmla="*/ 2865630 h 2936314"/>
                <a:gd name="connsiteX57" fmla="*/ 4059534 w 11867103"/>
                <a:gd name="connsiteY57" fmla="*/ 2825437 h 2936314"/>
                <a:gd name="connsiteX58" fmla="*/ 3768132 w 11867103"/>
                <a:gd name="connsiteY58" fmla="*/ 2795292 h 2936314"/>
                <a:gd name="connsiteX59" fmla="*/ 3627455 w 11867103"/>
                <a:gd name="connsiteY59" fmla="*/ 2785244 h 2936314"/>
                <a:gd name="connsiteX60" fmla="*/ 3125037 w 11867103"/>
                <a:gd name="connsiteY60" fmla="*/ 2795292 h 2936314"/>
                <a:gd name="connsiteX61" fmla="*/ 3064747 w 11867103"/>
                <a:gd name="connsiteY61" fmla="*/ 2805340 h 2936314"/>
                <a:gd name="connsiteX62" fmla="*/ 2009670 w 11867103"/>
                <a:gd name="connsiteY62" fmla="*/ 2815389 h 2936314"/>
                <a:gd name="connsiteX63" fmla="*/ 1678075 w 11867103"/>
                <a:gd name="connsiteY63" fmla="*/ 2905824 h 2936314"/>
                <a:gd name="connsiteX64" fmla="*/ 1607736 w 11867103"/>
                <a:gd name="connsiteY64" fmla="*/ 2935969 h 2936314"/>
                <a:gd name="connsiteX65" fmla="*/ 1135464 w 11867103"/>
                <a:gd name="connsiteY65" fmla="*/ 2915872 h 2936314"/>
                <a:gd name="connsiteX66" fmla="*/ 944545 w 11867103"/>
                <a:gd name="connsiteY66" fmla="*/ 2885727 h 2936314"/>
                <a:gd name="connsiteX67" fmla="*/ 723481 w 11867103"/>
                <a:gd name="connsiteY67" fmla="*/ 2845534 h 2936314"/>
                <a:gd name="connsiteX68" fmla="*/ 643095 w 11867103"/>
                <a:gd name="connsiteY68" fmla="*/ 2835485 h 2936314"/>
                <a:gd name="connsiteX69" fmla="*/ 371789 w 11867103"/>
                <a:gd name="connsiteY69" fmla="*/ 2795292 h 2936314"/>
                <a:gd name="connsiteX70" fmla="*/ 0 w 11867103"/>
                <a:gd name="connsiteY70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716756 w 11867103"/>
                <a:gd name="connsiteY13" fmla="*/ 52092 h 2936314"/>
                <a:gd name="connsiteX14" fmla="*/ 9797143 w 11867103"/>
                <a:gd name="connsiteY14" fmla="*/ 42044 h 2936314"/>
                <a:gd name="connsiteX15" fmla="*/ 9947868 w 11867103"/>
                <a:gd name="connsiteY15" fmla="*/ 31995 h 2936314"/>
                <a:gd name="connsiteX16" fmla="*/ 10791930 w 11867103"/>
                <a:gd name="connsiteY16" fmla="*/ 1850 h 2936314"/>
                <a:gd name="connsiteX17" fmla="*/ 11736475 w 11867103"/>
                <a:gd name="connsiteY17" fmla="*/ 21947 h 2936314"/>
                <a:gd name="connsiteX18" fmla="*/ 11766620 w 11867103"/>
                <a:gd name="connsiteY18" fmla="*/ 52092 h 2936314"/>
                <a:gd name="connsiteX19" fmla="*/ 11786717 w 11867103"/>
                <a:gd name="connsiteY19" fmla="*/ 92285 h 2936314"/>
                <a:gd name="connsiteX20" fmla="*/ 11806813 w 11867103"/>
                <a:gd name="connsiteY20" fmla="*/ 182720 h 2936314"/>
                <a:gd name="connsiteX21" fmla="*/ 11816862 w 11867103"/>
                <a:gd name="connsiteY21" fmla="*/ 222914 h 2936314"/>
                <a:gd name="connsiteX22" fmla="*/ 11826910 w 11867103"/>
                <a:gd name="connsiteY22" fmla="*/ 313349 h 2936314"/>
                <a:gd name="connsiteX23" fmla="*/ 11836958 w 11867103"/>
                <a:gd name="connsiteY23" fmla="*/ 393736 h 2936314"/>
                <a:gd name="connsiteX24" fmla="*/ 11826910 w 11867103"/>
                <a:gd name="connsiteY24" fmla="*/ 705235 h 2936314"/>
                <a:gd name="connsiteX25" fmla="*/ 11816862 w 11867103"/>
                <a:gd name="connsiteY25" fmla="*/ 765525 h 2936314"/>
                <a:gd name="connsiteX26" fmla="*/ 11806813 w 11867103"/>
                <a:gd name="connsiteY26" fmla="*/ 835863 h 2936314"/>
                <a:gd name="connsiteX27" fmla="*/ 11816862 w 11867103"/>
                <a:gd name="connsiteY27" fmla="*/ 2302923 h 2936314"/>
                <a:gd name="connsiteX28" fmla="*/ 11826910 w 11867103"/>
                <a:gd name="connsiteY28" fmla="*/ 2373261 h 2936314"/>
                <a:gd name="connsiteX29" fmla="*/ 11836958 w 11867103"/>
                <a:gd name="connsiteY29" fmla="*/ 2403406 h 2936314"/>
                <a:gd name="connsiteX30" fmla="*/ 11857055 w 11867103"/>
                <a:gd name="connsiteY30" fmla="*/ 2534035 h 2936314"/>
                <a:gd name="connsiteX31" fmla="*/ 11867103 w 11867103"/>
                <a:gd name="connsiteY31" fmla="*/ 2574228 h 2936314"/>
                <a:gd name="connsiteX32" fmla="*/ 11857055 w 11867103"/>
                <a:gd name="connsiteY32" fmla="*/ 2805340 h 2936314"/>
                <a:gd name="connsiteX33" fmla="*/ 11836958 w 11867103"/>
                <a:gd name="connsiteY33" fmla="*/ 2835485 h 2936314"/>
                <a:gd name="connsiteX34" fmla="*/ 11033090 w 11867103"/>
                <a:gd name="connsiteY34" fmla="*/ 2825437 h 2936314"/>
                <a:gd name="connsiteX35" fmla="*/ 10621108 w 11867103"/>
                <a:gd name="connsiteY35" fmla="*/ 2815389 h 2936314"/>
                <a:gd name="connsiteX36" fmla="*/ 10128739 w 11867103"/>
                <a:gd name="connsiteY36" fmla="*/ 2825437 h 2936314"/>
                <a:gd name="connsiteX37" fmla="*/ 10048352 w 11867103"/>
                <a:gd name="connsiteY37" fmla="*/ 2835485 h 2936314"/>
                <a:gd name="connsiteX38" fmla="*/ 9555982 w 11867103"/>
                <a:gd name="connsiteY38" fmla="*/ 2825437 h 2936314"/>
                <a:gd name="connsiteX39" fmla="*/ 9445451 w 11867103"/>
                <a:gd name="connsiteY39" fmla="*/ 2815389 h 2936314"/>
                <a:gd name="connsiteX40" fmla="*/ 9415306 w 11867103"/>
                <a:gd name="connsiteY40" fmla="*/ 2795292 h 2936314"/>
                <a:gd name="connsiteX41" fmla="*/ 9204290 w 11867103"/>
                <a:gd name="connsiteY41" fmla="*/ 2775195 h 2936314"/>
                <a:gd name="connsiteX42" fmla="*/ 9073662 w 11867103"/>
                <a:gd name="connsiteY42" fmla="*/ 2755098 h 2936314"/>
                <a:gd name="connsiteX43" fmla="*/ 8812404 w 11867103"/>
                <a:gd name="connsiteY43" fmla="*/ 2745050 h 2936314"/>
                <a:gd name="connsiteX44" fmla="*/ 8400422 w 11867103"/>
                <a:gd name="connsiteY44" fmla="*/ 2735002 h 2936314"/>
                <a:gd name="connsiteX45" fmla="*/ 8269793 w 11867103"/>
                <a:gd name="connsiteY45" fmla="*/ 2724953 h 2936314"/>
                <a:gd name="connsiteX46" fmla="*/ 7797521 w 11867103"/>
                <a:gd name="connsiteY46" fmla="*/ 2745050 h 2936314"/>
                <a:gd name="connsiteX47" fmla="*/ 7717134 w 11867103"/>
                <a:gd name="connsiteY47" fmla="*/ 2755098 h 2936314"/>
                <a:gd name="connsiteX48" fmla="*/ 7486022 w 11867103"/>
                <a:gd name="connsiteY48" fmla="*/ 2785244 h 2936314"/>
                <a:gd name="connsiteX49" fmla="*/ 7395587 w 11867103"/>
                <a:gd name="connsiteY49" fmla="*/ 2805340 h 2936314"/>
                <a:gd name="connsiteX50" fmla="*/ 7325248 w 11867103"/>
                <a:gd name="connsiteY50" fmla="*/ 2815389 h 2936314"/>
                <a:gd name="connsiteX51" fmla="*/ 6863024 w 11867103"/>
                <a:gd name="connsiteY51" fmla="*/ 2805340 h 2936314"/>
                <a:gd name="connsiteX52" fmla="*/ 6722347 w 11867103"/>
                <a:gd name="connsiteY52" fmla="*/ 2795292 h 2936314"/>
                <a:gd name="connsiteX53" fmla="*/ 4903596 w 11867103"/>
                <a:gd name="connsiteY53" fmla="*/ 2845534 h 2936314"/>
                <a:gd name="connsiteX54" fmla="*/ 4722725 w 11867103"/>
                <a:gd name="connsiteY54" fmla="*/ 2885727 h 2936314"/>
                <a:gd name="connsiteX55" fmla="*/ 4300695 w 11867103"/>
                <a:gd name="connsiteY55" fmla="*/ 2865630 h 2936314"/>
                <a:gd name="connsiteX56" fmla="*/ 4059534 w 11867103"/>
                <a:gd name="connsiteY56" fmla="*/ 2825437 h 2936314"/>
                <a:gd name="connsiteX57" fmla="*/ 3768132 w 11867103"/>
                <a:gd name="connsiteY57" fmla="*/ 2795292 h 2936314"/>
                <a:gd name="connsiteX58" fmla="*/ 3627455 w 11867103"/>
                <a:gd name="connsiteY58" fmla="*/ 2785244 h 2936314"/>
                <a:gd name="connsiteX59" fmla="*/ 3125037 w 11867103"/>
                <a:gd name="connsiteY59" fmla="*/ 2795292 h 2936314"/>
                <a:gd name="connsiteX60" fmla="*/ 3064747 w 11867103"/>
                <a:gd name="connsiteY60" fmla="*/ 2805340 h 2936314"/>
                <a:gd name="connsiteX61" fmla="*/ 2009670 w 11867103"/>
                <a:gd name="connsiteY61" fmla="*/ 2815389 h 2936314"/>
                <a:gd name="connsiteX62" fmla="*/ 1678075 w 11867103"/>
                <a:gd name="connsiteY62" fmla="*/ 2905824 h 2936314"/>
                <a:gd name="connsiteX63" fmla="*/ 1607736 w 11867103"/>
                <a:gd name="connsiteY63" fmla="*/ 2935969 h 2936314"/>
                <a:gd name="connsiteX64" fmla="*/ 1135464 w 11867103"/>
                <a:gd name="connsiteY64" fmla="*/ 2915872 h 2936314"/>
                <a:gd name="connsiteX65" fmla="*/ 944545 w 11867103"/>
                <a:gd name="connsiteY65" fmla="*/ 2885727 h 2936314"/>
                <a:gd name="connsiteX66" fmla="*/ 723481 w 11867103"/>
                <a:gd name="connsiteY66" fmla="*/ 2845534 h 2936314"/>
                <a:gd name="connsiteX67" fmla="*/ 643095 w 11867103"/>
                <a:gd name="connsiteY67" fmla="*/ 2835485 h 2936314"/>
                <a:gd name="connsiteX68" fmla="*/ 371789 w 11867103"/>
                <a:gd name="connsiteY68" fmla="*/ 2795292 h 2936314"/>
                <a:gd name="connsiteX69" fmla="*/ 0 w 11867103"/>
                <a:gd name="connsiteY69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797143 w 11867103"/>
                <a:gd name="connsiteY13" fmla="*/ 42044 h 2936314"/>
                <a:gd name="connsiteX14" fmla="*/ 9947868 w 11867103"/>
                <a:gd name="connsiteY14" fmla="*/ 31995 h 2936314"/>
                <a:gd name="connsiteX15" fmla="*/ 10791930 w 11867103"/>
                <a:gd name="connsiteY15" fmla="*/ 1850 h 2936314"/>
                <a:gd name="connsiteX16" fmla="*/ 11736475 w 11867103"/>
                <a:gd name="connsiteY16" fmla="*/ 21947 h 2936314"/>
                <a:gd name="connsiteX17" fmla="*/ 11766620 w 11867103"/>
                <a:gd name="connsiteY17" fmla="*/ 52092 h 2936314"/>
                <a:gd name="connsiteX18" fmla="*/ 11786717 w 11867103"/>
                <a:gd name="connsiteY18" fmla="*/ 92285 h 2936314"/>
                <a:gd name="connsiteX19" fmla="*/ 11806813 w 11867103"/>
                <a:gd name="connsiteY19" fmla="*/ 182720 h 2936314"/>
                <a:gd name="connsiteX20" fmla="*/ 11816862 w 11867103"/>
                <a:gd name="connsiteY20" fmla="*/ 222914 h 2936314"/>
                <a:gd name="connsiteX21" fmla="*/ 11826910 w 11867103"/>
                <a:gd name="connsiteY21" fmla="*/ 313349 h 2936314"/>
                <a:gd name="connsiteX22" fmla="*/ 11836958 w 11867103"/>
                <a:gd name="connsiteY22" fmla="*/ 393736 h 2936314"/>
                <a:gd name="connsiteX23" fmla="*/ 11826910 w 11867103"/>
                <a:gd name="connsiteY23" fmla="*/ 705235 h 2936314"/>
                <a:gd name="connsiteX24" fmla="*/ 11816862 w 11867103"/>
                <a:gd name="connsiteY24" fmla="*/ 765525 h 2936314"/>
                <a:gd name="connsiteX25" fmla="*/ 11806813 w 11867103"/>
                <a:gd name="connsiteY25" fmla="*/ 835863 h 2936314"/>
                <a:gd name="connsiteX26" fmla="*/ 11816862 w 11867103"/>
                <a:gd name="connsiteY26" fmla="*/ 2302923 h 2936314"/>
                <a:gd name="connsiteX27" fmla="*/ 11826910 w 11867103"/>
                <a:gd name="connsiteY27" fmla="*/ 2373261 h 2936314"/>
                <a:gd name="connsiteX28" fmla="*/ 11836958 w 11867103"/>
                <a:gd name="connsiteY28" fmla="*/ 2403406 h 2936314"/>
                <a:gd name="connsiteX29" fmla="*/ 11857055 w 11867103"/>
                <a:gd name="connsiteY29" fmla="*/ 2534035 h 2936314"/>
                <a:gd name="connsiteX30" fmla="*/ 11867103 w 11867103"/>
                <a:gd name="connsiteY30" fmla="*/ 2574228 h 2936314"/>
                <a:gd name="connsiteX31" fmla="*/ 11857055 w 11867103"/>
                <a:gd name="connsiteY31" fmla="*/ 2805340 h 2936314"/>
                <a:gd name="connsiteX32" fmla="*/ 11836958 w 11867103"/>
                <a:gd name="connsiteY32" fmla="*/ 2835485 h 2936314"/>
                <a:gd name="connsiteX33" fmla="*/ 11033090 w 11867103"/>
                <a:gd name="connsiteY33" fmla="*/ 2825437 h 2936314"/>
                <a:gd name="connsiteX34" fmla="*/ 10621108 w 11867103"/>
                <a:gd name="connsiteY34" fmla="*/ 2815389 h 2936314"/>
                <a:gd name="connsiteX35" fmla="*/ 10128739 w 11867103"/>
                <a:gd name="connsiteY35" fmla="*/ 2825437 h 2936314"/>
                <a:gd name="connsiteX36" fmla="*/ 10048352 w 11867103"/>
                <a:gd name="connsiteY36" fmla="*/ 2835485 h 2936314"/>
                <a:gd name="connsiteX37" fmla="*/ 9555982 w 11867103"/>
                <a:gd name="connsiteY37" fmla="*/ 2825437 h 2936314"/>
                <a:gd name="connsiteX38" fmla="*/ 9445451 w 11867103"/>
                <a:gd name="connsiteY38" fmla="*/ 2815389 h 2936314"/>
                <a:gd name="connsiteX39" fmla="*/ 9415306 w 11867103"/>
                <a:gd name="connsiteY39" fmla="*/ 2795292 h 2936314"/>
                <a:gd name="connsiteX40" fmla="*/ 9204290 w 11867103"/>
                <a:gd name="connsiteY40" fmla="*/ 2775195 h 2936314"/>
                <a:gd name="connsiteX41" fmla="*/ 9073662 w 11867103"/>
                <a:gd name="connsiteY41" fmla="*/ 2755098 h 2936314"/>
                <a:gd name="connsiteX42" fmla="*/ 8812404 w 11867103"/>
                <a:gd name="connsiteY42" fmla="*/ 2745050 h 2936314"/>
                <a:gd name="connsiteX43" fmla="*/ 8400422 w 11867103"/>
                <a:gd name="connsiteY43" fmla="*/ 2735002 h 2936314"/>
                <a:gd name="connsiteX44" fmla="*/ 8269793 w 11867103"/>
                <a:gd name="connsiteY44" fmla="*/ 2724953 h 2936314"/>
                <a:gd name="connsiteX45" fmla="*/ 7797521 w 11867103"/>
                <a:gd name="connsiteY45" fmla="*/ 2745050 h 2936314"/>
                <a:gd name="connsiteX46" fmla="*/ 7717134 w 11867103"/>
                <a:gd name="connsiteY46" fmla="*/ 2755098 h 2936314"/>
                <a:gd name="connsiteX47" fmla="*/ 7486022 w 11867103"/>
                <a:gd name="connsiteY47" fmla="*/ 2785244 h 2936314"/>
                <a:gd name="connsiteX48" fmla="*/ 7395587 w 11867103"/>
                <a:gd name="connsiteY48" fmla="*/ 2805340 h 2936314"/>
                <a:gd name="connsiteX49" fmla="*/ 7325248 w 11867103"/>
                <a:gd name="connsiteY49" fmla="*/ 2815389 h 2936314"/>
                <a:gd name="connsiteX50" fmla="*/ 6863024 w 11867103"/>
                <a:gd name="connsiteY50" fmla="*/ 2805340 h 2936314"/>
                <a:gd name="connsiteX51" fmla="*/ 6722347 w 11867103"/>
                <a:gd name="connsiteY51" fmla="*/ 2795292 h 2936314"/>
                <a:gd name="connsiteX52" fmla="*/ 4903596 w 11867103"/>
                <a:gd name="connsiteY52" fmla="*/ 2845534 h 2936314"/>
                <a:gd name="connsiteX53" fmla="*/ 4722725 w 11867103"/>
                <a:gd name="connsiteY53" fmla="*/ 2885727 h 2936314"/>
                <a:gd name="connsiteX54" fmla="*/ 4300695 w 11867103"/>
                <a:gd name="connsiteY54" fmla="*/ 2865630 h 2936314"/>
                <a:gd name="connsiteX55" fmla="*/ 4059534 w 11867103"/>
                <a:gd name="connsiteY55" fmla="*/ 2825437 h 2936314"/>
                <a:gd name="connsiteX56" fmla="*/ 3768132 w 11867103"/>
                <a:gd name="connsiteY56" fmla="*/ 2795292 h 2936314"/>
                <a:gd name="connsiteX57" fmla="*/ 3627455 w 11867103"/>
                <a:gd name="connsiteY57" fmla="*/ 2785244 h 2936314"/>
                <a:gd name="connsiteX58" fmla="*/ 3125037 w 11867103"/>
                <a:gd name="connsiteY58" fmla="*/ 2795292 h 2936314"/>
                <a:gd name="connsiteX59" fmla="*/ 3064747 w 11867103"/>
                <a:gd name="connsiteY59" fmla="*/ 2805340 h 2936314"/>
                <a:gd name="connsiteX60" fmla="*/ 2009670 w 11867103"/>
                <a:gd name="connsiteY60" fmla="*/ 2815389 h 2936314"/>
                <a:gd name="connsiteX61" fmla="*/ 1678075 w 11867103"/>
                <a:gd name="connsiteY61" fmla="*/ 2905824 h 2936314"/>
                <a:gd name="connsiteX62" fmla="*/ 1607736 w 11867103"/>
                <a:gd name="connsiteY62" fmla="*/ 2935969 h 2936314"/>
                <a:gd name="connsiteX63" fmla="*/ 1135464 w 11867103"/>
                <a:gd name="connsiteY63" fmla="*/ 2915872 h 2936314"/>
                <a:gd name="connsiteX64" fmla="*/ 944545 w 11867103"/>
                <a:gd name="connsiteY64" fmla="*/ 2885727 h 2936314"/>
                <a:gd name="connsiteX65" fmla="*/ 723481 w 11867103"/>
                <a:gd name="connsiteY65" fmla="*/ 2845534 h 2936314"/>
                <a:gd name="connsiteX66" fmla="*/ 643095 w 11867103"/>
                <a:gd name="connsiteY66" fmla="*/ 2835485 h 2936314"/>
                <a:gd name="connsiteX67" fmla="*/ 371789 w 11867103"/>
                <a:gd name="connsiteY67" fmla="*/ 2795292 h 2936314"/>
                <a:gd name="connsiteX68" fmla="*/ 0 w 11867103"/>
                <a:gd name="connsiteY68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16862 w 11867103"/>
                <a:gd name="connsiteY19" fmla="*/ 222914 h 2936314"/>
                <a:gd name="connsiteX20" fmla="*/ 11826910 w 11867103"/>
                <a:gd name="connsiteY20" fmla="*/ 313349 h 2936314"/>
                <a:gd name="connsiteX21" fmla="*/ 11836958 w 11867103"/>
                <a:gd name="connsiteY21" fmla="*/ 393736 h 2936314"/>
                <a:gd name="connsiteX22" fmla="*/ 11826910 w 11867103"/>
                <a:gd name="connsiteY22" fmla="*/ 705235 h 2936314"/>
                <a:gd name="connsiteX23" fmla="*/ 11816862 w 11867103"/>
                <a:gd name="connsiteY23" fmla="*/ 765525 h 2936314"/>
                <a:gd name="connsiteX24" fmla="*/ 11806813 w 11867103"/>
                <a:gd name="connsiteY24" fmla="*/ 835863 h 2936314"/>
                <a:gd name="connsiteX25" fmla="*/ 11816862 w 11867103"/>
                <a:gd name="connsiteY25" fmla="*/ 2302923 h 2936314"/>
                <a:gd name="connsiteX26" fmla="*/ 11826910 w 11867103"/>
                <a:gd name="connsiteY26" fmla="*/ 2373261 h 2936314"/>
                <a:gd name="connsiteX27" fmla="*/ 11836958 w 11867103"/>
                <a:gd name="connsiteY27" fmla="*/ 2403406 h 2936314"/>
                <a:gd name="connsiteX28" fmla="*/ 11857055 w 11867103"/>
                <a:gd name="connsiteY28" fmla="*/ 2534035 h 2936314"/>
                <a:gd name="connsiteX29" fmla="*/ 11867103 w 11867103"/>
                <a:gd name="connsiteY29" fmla="*/ 2574228 h 2936314"/>
                <a:gd name="connsiteX30" fmla="*/ 11857055 w 11867103"/>
                <a:gd name="connsiteY30" fmla="*/ 2805340 h 2936314"/>
                <a:gd name="connsiteX31" fmla="*/ 11836958 w 11867103"/>
                <a:gd name="connsiteY31" fmla="*/ 2835485 h 2936314"/>
                <a:gd name="connsiteX32" fmla="*/ 11033090 w 11867103"/>
                <a:gd name="connsiteY32" fmla="*/ 2825437 h 2936314"/>
                <a:gd name="connsiteX33" fmla="*/ 10621108 w 11867103"/>
                <a:gd name="connsiteY33" fmla="*/ 2815389 h 2936314"/>
                <a:gd name="connsiteX34" fmla="*/ 10128739 w 11867103"/>
                <a:gd name="connsiteY34" fmla="*/ 2825437 h 2936314"/>
                <a:gd name="connsiteX35" fmla="*/ 10048352 w 11867103"/>
                <a:gd name="connsiteY35" fmla="*/ 2835485 h 2936314"/>
                <a:gd name="connsiteX36" fmla="*/ 9555982 w 11867103"/>
                <a:gd name="connsiteY36" fmla="*/ 2825437 h 2936314"/>
                <a:gd name="connsiteX37" fmla="*/ 9445451 w 11867103"/>
                <a:gd name="connsiteY37" fmla="*/ 2815389 h 2936314"/>
                <a:gd name="connsiteX38" fmla="*/ 9415306 w 11867103"/>
                <a:gd name="connsiteY38" fmla="*/ 2795292 h 2936314"/>
                <a:gd name="connsiteX39" fmla="*/ 9204290 w 11867103"/>
                <a:gd name="connsiteY39" fmla="*/ 2775195 h 2936314"/>
                <a:gd name="connsiteX40" fmla="*/ 9073662 w 11867103"/>
                <a:gd name="connsiteY40" fmla="*/ 2755098 h 2936314"/>
                <a:gd name="connsiteX41" fmla="*/ 8812404 w 11867103"/>
                <a:gd name="connsiteY41" fmla="*/ 2745050 h 2936314"/>
                <a:gd name="connsiteX42" fmla="*/ 8400422 w 11867103"/>
                <a:gd name="connsiteY42" fmla="*/ 2735002 h 2936314"/>
                <a:gd name="connsiteX43" fmla="*/ 8269793 w 11867103"/>
                <a:gd name="connsiteY43" fmla="*/ 2724953 h 2936314"/>
                <a:gd name="connsiteX44" fmla="*/ 7797521 w 11867103"/>
                <a:gd name="connsiteY44" fmla="*/ 2745050 h 2936314"/>
                <a:gd name="connsiteX45" fmla="*/ 7717134 w 11867103"/>
                <a:gd name="connsiteY45" fmla="*/ 2755098 h 2936314"/>
                <a:gd name="connsiteX46" fmla="*/ 7486022 w 11867103"/>
                <a:gd name="connsiteY46" fmla="*/ 2785244 h 2936314"/>
                <a:gd name="connsiteX47" fmla="*/ 7395587 w 11867103"/>
                <a:gd name="connsiteY47" fmla="*/ 2805340 h 2936314"/>
                <a:gd name="connsiteX48" fmla="*/ 7325248 w 11867103"/>
                <a:gd name="connsiteY48" fmla="*/ 2815389 h 2936314"/>
                <a:gd name="connsiteX49" fmla="*/ 6863024 w 11867103"/>
                <a:gd name="connsiteY49" fmla="*/ 2805340 h 2936314"/>
                <a:gd name="connsiteX50" fmla="*/ 6722347 w 11867103"/>
                <a:gd name="connsiteY50" fmla="*/ 2795292 h 2936314"/>
                <a:gd name="connsiteX51" fmla="*/ 4903596 w 11867103"/>
                <a:gd name="connsiteY51" fmla="*/ 2845534 h 2936314"/>
                <a:gd name="connsiteX52" fmla="*/ 4722725 w 11867103"/>
                <a:gd name="connsiteY52" fmla="*/ 2885727 h 2936314"/>
                <a:gd name="connsiteX53" fmla="*/ 4300695 w 11867103"/>
                <a:gd name="connsiteY53" fmla="*/ 2865630 h 2936314"/>
                <a:gd name="connsiteX54" fmla="*/ 4059534 w 11867103"/>
                <a:gd name="connsiteY54" fmla="*/ 2825437 h 2936314"/>
                <a:gd name="connsiteX55" fmla="*/ 3768132 w 11867103"/>
                <a:gd name="connsiteY55" fmla="*/ 2795292 h 2936314"/>
                <a:gd name="connsiteX56" fmla="*/ 3627455 w 11867103"/>
                <a:gd name="connsiteY56" fmla="*/ 2785244 h 2936314"/>
                <a:gd name="connsiteX57" fmla="*/ 3125037 w 11867103"/>
                <a:gd name="connsiteY57" fmla="*/ 2795292 h 2936314"/>
                <a:gd name="connsiteX58" fmla="*/ 3064747 w 11867103"/>
                <a:gd name="connsiteY58" fmla="*/ 2805340 h 2936314"/>
                <a:gd name="connsiteX59" fmla="*/ 2009670 w 11867103"/>
                <a:gd name="connsiteY59" fmla="*/ 2815389 h 2936314"/>
                <a:gd name="connsiteX60" fmla="*/ 1678075 w 11867103"/>
                <a:gd name="connsiteY60" fmla="*/ 2905824 h 2936314"/>
                <a:gd name="connsiteX61" fmla="*/ 1607736 w 11867103"/>
                <a:gd name="connsiteY61" fmla="*/ 2935969 h 2936314"/>
                <a:gd name="connsiteX62" fmla="*/ 1135464 w 11867103"/>
                <a:gd name="connsiteY62" fmla="*/ 2915872 h 2936314"/>
                <a:gd name="connsiteX63" fmla="*/ 944545 w 11867103"/>
                <a:gd name="connsiteY63" fmla="*/ 2885727 h 2936314"/>
                <a:gd name="connsiteX64" fmla="*/ 723481 w 11867103"/>
                <a:gd name="connsiteY64" fmla="*/ 2845534 h 2936314"/>
                <a:gd name="connsiteX65" fmla="*/ 643095 w 11867103"/>
                <a:gd name="connsiteY65" fmla="*/ 2835485 h 2936314"/>
                <a:gd name="connsiteX66" fmla="*/ 371789 w 11867103"/>
                <a:gd name="connsiteY66" fmla="*/ 2795292 h 2936314"/>
                <a:gd name="connsiteX67" fmla="*/ 0 w 11867103"/>
                <a:gd name="connsiteY67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313349 h 2936314"/>
                <a:gd name="connsiteX20" fmla="*/ 11836958 w 11867103"/>
                <a:gd name="connsiteY20" fmla="*/ 393736 h 2936314"/>
                <a:gd name="connsiteX21" fmla="*/ 11826910 w 11867103"/>
                <a:gd name="connsiteY21" fmla="*/ 705235 h 2936314"/>
                <a:gd name="connsiteX22" fmla="*/ 11816862 w 11867103"/>
                <a:gd name="connsiteY22" fmla="*/ 765525 h 2936314"/>
                <a:gd name="connsiteX23" fmla="*/ 11806813 w 11867103"/>
                <a:gd name="connsiteY23" fmla="*/ 835863 h 2936314"/>
                <a:gd name="connsiteX24" fmla="*/ 11816862 w 11867103"/>
                <a:gd name="connsiteY24" fmla="*/ 2302923 h 2936314"/>
                <a:gd name="connsiteX25" fmla="*/ 11826910 w 11867103"/>
                <a:gd name="connsiteY25" fmla="*/ 2373261 h 2936314"/>
                <a:gd name="connsiteX26" fmla="*/ 11836958 w 11867103"/>
                <a:gd name="connsiteY26" fmla="*/ 2403406 h 2936314"/>
                <a:gd name="connsiteX27" fmla="*/ 11857055 w 11867103"/>
                <a:gd name="connsiteY27" fmla="*/ 2534035 h 2936314"/>
                <a:gd name="connsiteX28" fmla="*/ 11867103 w 11867103"/>
                <a:gd name="connsiteY28" fmla="*/ 2574228 h 2936314"/>
                <a:gd name="connsiteX29" fmla="*/ 11857055 w 11867103"/>
                <a:gd name="connsiteY29" fmla="*/ 2805340 h 2936314"/>
                <a:gd name="connsiteX30" fmla="*/ 11836958 w 11867103"/>
                <a:gd name="connsiteY30" fmla="*/ 2835485 h 2936314"/>
                <a:gd name="connsiteX31" fmla="*/ 11033090 w 11867103"/>
                <a:gd name="connsiteY31" fmla="*/ 2825437 h 2936314"/>
                <a:gd name="connsiteX32" fmla="*/ 10621108 w 11867103"/>
                <a:gd name="connsiteY32" fmla="*/ 2815389 h 2936314"/>
                <a:gd name="connsiteX33" fmla="*/ 10128739 w 11867103"/>
                <a:gd name="connsiteY33" fmla="*/ 2825437 h 2936314"/>
                <a:gd name="connsiteX34" fmla="*/ 10048352 w 11867103"/>
                <a:gd name="connsiteY34" fmla="*/ 2835485 h 2936314"/>
                <a:gd name="connsiteX35" fmla="*/ 9555982 w 11867103"/>
                <a:gd name="connsiteY35" fmla="*/ 2825437 h 2936314"/>
                <a:gd name="connsiteX36" fmla="*/ 9445451 w 11867103"/>
                <a:gd name="connsiteY36" fmla="*/ 2815389 h 2936314"/>
                <a:gd name="connsiteX37" fmla="*/ 9415306 w 11867103"/>
                <a:gd name="connsiteY37" fmla="*/ 2795292 h 2936314"/>
                <a:gd name="connsiteX38" fmla="*/ 9204290 w 11867103"/>
                <a:gd name="connsiteY38" fmla="*/ 2775195 h 2936314"/>
                <a:gd name="connsiteX39" fmla="*/ 9073662 w 11867103"/>
                <a:gd name="connsiteY39" fmla="*/ 2755098 h 2936314"/>
                <a:gd name="connsiteX40" fmla="*/ 8812404 w 11867103"/>
                <a:gd name="connsiteY40" fmla="*/ 2745050 h 2936314"/>
                <a:gd name="connsiteX41" fmla="*/ 8400422 w 11867103"/>
                <a:gd name="connsiteY41" fmla="*/ 2735002 h 2936314"/>
                <a:gd name="connsiteX42" fmla="*/ 8269793 w 11867103"/>
                <a:gd name="connsiteY42" fmla="*/ 2724953 h 2936314"/>
                <a:gd name="connsiteX43" fmla="*/ 7797521 w 11867103"/>
                <a:gd name="connsiteY43" fmla="*/ 2745050 h 2936314"/>
                <a:gd name="connsiteX44" fmla="*/ 7717134 w 11867103"/>
                <a:gd name="connsiteY44" fmla="*/ 2755098 h 2936314"/>
                <a:gd name="connsiteX45" fmla="*/ 7486022 w 11867103"/>
                <a:gd name="connsiteY45" fmla="*/ 2785244 h 2936314"/>
                <a:gd name="connsiteX46" fmla="*/ 7395587 w 11867103"/>
                <a:gd name="connsiteY46" fmla="*/ 2805340 h 2936314"/>
                <a:gd name="connsiteX47" fmla="*/ 7325248 w 11867103"/>
                <a:gd name="connsiteY47" fmla="*/ 2815389 h 2936314"/>
                <a:gd name="connsiteX48" fmla="*/ 6863024 w 11867103"/>
                <a:gd name="connsiteY48" fmla="*/ 2805340 h 2936314"/>
                <a:gd name="connsiteX49" fmla="*/ 6722347 w 11867103"/>
                <a:gd name="connsiteY49" fmla="*/ 2795292 h 2936314"/>
                <a:gd name="connsiteX50" fmla="*/ 4903596 w 11867103"/>
                <a:gd name="connsiteY50" fmla="*/ 2845534 h 2936314"/>
                <a:gd name="connsiteX51" fmla="*/ 4722725 w 11867103"/>
                <a:gd name="connsiteY51" fmla="*/ 2885727 h 2936314"/>
                <a:gd name="connsiteX52" fmla="*/ 4300695 w 11867103"/>
                <a:gd name="connsiteY52" fmla="*/ 2865630 h 2936314"/>
                <a:gd name="connsiteX53" fmla="*/ 4059534 w 11867103"/>
                <a:gd name="connsiteY53" fmla="*/ 2825437 h 2936314"/>
                <a:gd name="connsiteX54" fmla="*/ 3768132 w 11867103"/>
                <a:gd name="connsiteY54" fmla="*/ 2795292 h 2936314"/>
                <a:gd name="connsiteX55" fmla="*/ 3627455 w 11867103"/>
                <a:gd name="connsiteY55" fmla="*/ 2785244 h 2936314"/>
                <a:gd name="connsiteX56" fmla="*/ 3125037 w 11867103"/>
                <a:gd name="connsiteY56" fmla="*/ 2795292 h 2936314"/>
                <a:gd name="connsiteX57" fmla="*/ 3064747 w 11867103"/>
                <a:gd name="connsiteY57" fmla="*/ 2805340 h 2936314"/>
                <a:gd name="connsiteX58" fmla="*/ 2009670 w 11867103"/>
                <a:gd name="connsiteY58" fmla="*/ 2815389 h 2936314"/>
                <a:gd name="connsiteX59" fmla="*/ 1678075 w 11867103"/>
                <a:gd name="connsiteY59" fmla="*/ 2905824 h 2936314"/>
                <a:gd name="connsiteX60" fmla="*/ 1607736 w 11867103"/>
                <a:gd name="connsiteY60" fmla="*/ 2935969 h 2936314"/>
                <a:gd name="connsiteX61" fmla="*/ 1135464 w 11867103"/>
                <a:gd name="connsiteY61" fmla="*/ 2915872 h 2936314"/>
                <a:gd name="connsiteX62" fmla="*/ 944545 w 11867103"/>
                <a:gd name="connsiteY62" fmla="*/ 2885727 h 2936314"/>
                <a:gd name="connsiteX63" fmla="*/ 723481 w 11867103"/>
                <a:gd name="connsiteY63" fmla="*/ 2845534 h 2936314"/>
                <a:gd name="connsiteX64" fmla="*/ 643095 w 11867103"/>
                <a:gd name="connsiteY64" fmla="*/ 2835485 h 2936314"/>
                <a:gd name="connsiteX65" fmla="*/ 371789 w 11867103"/>
                <a:gd name="connsiteY65" fmla="*/ 2795292 h 2936314"/>
                <a:gd name="connsiteX66" fmla="*/ 0 w 11867103"/>
                <a:gd name="connsiteY66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36958 w 11867103"/>
                <a:gd name="connsiteY19" fmla="*/ 393736 h 2936314"/>
                <a:gd name="connsiteX20" fmla="*/ 11826910 w 11867103"/>
                <a:gd name="connsiteY20" fmla="*/ 705235 h 2936314"/>
                <a:gd name="connsiteX21" fmla="*/ 11816862 w 11867103"/>
                <a:gd name="connsiteY21" fmla="*/ 765525 h 2936314"/>
                <a:gd name="connsiteX22" fmla="*/ 11806813 w 11867103"/>
                <a:gd name="connsiteY22" fmla="*/ 835863 h 2936314"/>
                <a:gd name="connsiteX23" fmla="*/ 11816862 w 11867103"/>
                <a:gd name="connsiteY23" fmla="*/ 2302923 h 2936314"/>
                <a:gd name="connsiteX24" fmla="*/ 11826910 w 11867103"/>
                <a:gd name="connsiteY24" fmla="*/ 2373261 h 2936314"/>
                <a:gd name="connsiteX25" fmla="*/ 11836958 w 11867103"/>
                <a:gd name="connsiteY25" fmla="*/ 2403406 h 2936314"/>
                <a:gd name="connsiteX26" fmla="*/ 11857055 w 11867103"/>
                <a:gd name="connsiteY26" fmla="*/ 2534035 h 2936314"/>
                <a:gd name="connsiteX27" fmla="*/ 11867103 w 11867103"/>
                <a:gd name="connsiteY27" fmla="*/ 2574228 h 2936314"/>
                <a:gd name="connsiteX28" fmla="*/ 11857055 w 11867103"/>
                <a:gd name="connsiteY28" fmla="*/ 2805340 h 2936314"/>
                <a:gd name="connsiteX29" fmla="*/ 11836958 w 11867103"/>
                <a:gd name="connsiteY29" fmla="*/ 2835485 h 2936314"/>
                <a:gd name="connsiteX30" fmla="*/ 11033090 w 11867103"/>
                <a:gd name="connsiteY30" fmla="*/ 2825437 h 2936314"/>
                <a:gd name="connsiteX31" fmla="*/ 10621108 w 11867103"/>
                <a:gd name="connsiteY31" fmla="*/ 2815389 h 2936314"/>
                <a:gd name="connsiteX32" fmla="*/ 10128739 w 11867103"/>
                <a:gd name="connsiteY32" fmla="*/ 2825437 h 2936314"/>
                <a:gd name="connsiteX33" fmla="*/ 10048352 w 11867103"/>
                <a:gd name="connsiteY33" fmla="*/ 2835485 h 2936314"/>
                <a:gd name="connsiteX34" fmla="*/ 9555982 w 11867103"/>
                <a:gd name="connsiteY34" fmla="*/ 2825437 h 2936314"/>
                <a:gd name="connsiteX35" fmla="*/ 9445451 w 11867103"/>
                <a:gd name="connsiteY35" fmla="*/ 2815389 h 2936314"/>
                <a:gd name="connsiteX36" fmla="*/ 9415306 w 11867103"/>
                <a:gd name="connsiteY36" fmla="*/ 2795292 h 2936314"/>
                <a:gd name="connsiteX37" fmla="*/ 9204290 w 11867103"/>
                <a:gd name="connsiteY37" fmla="*/ 2775195 h 2936314"/>
                <a:gd name="connsiteX38" fmla="*/ 9073662 w 11867103"/>
                <a:gd name="connsiteY38" fmla="*/ 2755098 h 2936314"/>
                <a:gd name="connsiteX39" fmla="*/ 8812404 w 11867103"/>
                <a:gd name="connsiteY39" fmla="*/ 2745050 h 2936314"/>
                <a:gd name="connsiteX40" fmla="*/ 8400422 w 11867103"/>
                <a:gd name="connsiteY40" fmla="*/ 2735002 h 2936314"/>
                <a:gd name="connsiteX41" fmla="*/ 8269793 w 11867103"/>
                <a:gd name="connsiteY41" fmla="*/ 2724953 h 2936314"/>
                <a:gd name="connsiteX42" fmla="*/ 7797521 w 11867103"/>
                <a:gd name="connsiteY42" fmla="*/ 2745050 h 2936314"/>
                <a:gd name="connsiteX43" fmla="*/ 7717134 w 11867103"/>
                <a:gd name="connsiteY43" fmla="*/ 2755098 h 2936314"/>
                <a:gd name="connsiteX44" fmla="*/ 7486022 w 11867103"/>
                <a:gd name="connsiteY44" fmla="*/ 2785244 h 2936314"/>
                <a:gd name="connsiteX45" fmla="*/ 7395587 w 11867103"/>
                <a:gd name="connsiteY45" fmla="*/ 2805340 h 2936314"/>
                <a:gd name="connsiteX46" fmla="*/ 7325248 w 11867103"/>
                <a:gd name="connsiteY46" fmla="*/ 2815389 h 2936314"/>
                <a:gd name="connsiteX47" fmla="*/ 6863024 w 11867103"/>
                <a:gd name="connsiteY47" fmla="*/ 2805340 h 2936314"/>
                <a:gd name="connsiteX48" fmla="*/ 6722347 w 11867103"/>
                <a:gd name="connsiteY48" fmla="*/ 2795292 h 2936314"/>
                <a:gd name="connsiteX49" fmla="*/ 4903596 w 11867103"/>
                <a:gd name="connsiteY49" fmla="*/ 2845534 h 2936314"/>
                <a:gd name="connsiteX50" fmla="*/ 4722725 w 11867103"/>
                <a:gd name="connsiteY50" fmla="*/ 2885727 h 2936314"/>
                <a:gd name="connsiteX51" fmla="*/ 4300695 w 11867103"/>
                <a:gd name="connsiteY51" fmla="*/ 2865630 h 2936314"/>
                <a:gd name="connsiteX52" fmla="*/ 4059534 w 11867103"/>
                <a:gd name="connsiteY52" fmla="*/ 2825437 h 2936314"/>
                <a:gd name="connsiteX53" fmla="*/ 3768132 w 11867103"/>
                <a:gd name="connsiteY53" fmla="*/ 2795292 h 2936314"/>
                <a:gd name="connsiteX54" fmla="*/ 3627455 w 11867103"/>
                <a:gd name="connsiteY54" fmla="*/ 2785244 h 2936314"/>
                <a:gd name="connsiteX55" fmla="*/ 3125037 w 11867103"/>
                <a:gd name="connsiteY55" fmla="*/ 2795292 h 2936314"/>
                <a:gd name="connsiteX56" fmla="*/ 3064747 w 11867103"/>
                <a:gd name="connsiteY56" fmla="*/ 2805340 h 2936314"/>
                <a:gd name="connsiteX57" fmla="*/ 2009670 w 11867103"/>
                <a:gd name="connsiteY57" fmla="*/ 2815389 h 2936314"/>
                <a:gd name="connsiteX58" fmla="*/ 1678075 w 11867103"/>
                <a:gd name="connsiteY58" fmla="*/ 2905824 h 2936314"/>
                <a:gd name="connsiteX59" fmla="*/ 1607736 w 11867103"/>
                <a:gd name="connsiteY59" fmla="*/ 2935969 h 2936314"/>
                <a:gd name="connsiteX60" fmla="*/ 1135464 w 11867103"/>
                <a:gd name="connsiteY60" fmla="*/ 2915872 h 2936314"/>
                <a:gd name="connsiteX61" fmla="*/ 944545 w 11867103"/>
                <a:gd name="connsiteY61" fmla="*/ 2885727 h 2936314"/>
                <a:gd name="connsiteX62" fmla="*/ 723481 w 11867103"/>
                <a:gd name="connsiteY62" fmla="*/ 2845534 h 2936314"/>
                <a:gd name="connsiteX63" fmla="*/ 643095 w 11867103"/>
                <a:gd name="connsiteY63" fmla="*/ 2835485 h 2936314"/>
                <a:gd name="connsiteX64" fmla="*/ 371789 w 11867103"/>
                <a:gd name="connsiteY64" fmla="*/ 2795292 h 2936314"/>
                <a:gd name="connsiteX65" fmla="*/ 0 w 11867103"/>
                <a:gd name="connsiteY65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16862 w 11867103"/>
                <a:gd name="connsiteY20" fmla="*/ 765525 h 2936314"/>
                <a:gd name="connsiteX21" fmla="*/ 11806813 w 11867103"/>
                <a:gd name="connsiteY21" fmla="*/ 835863 h 2936314"/>
                <a:gd name="connsiteX22" fmla="*/ 11816862 w 11867103"/>
                <a:gd name="connsiteY22" fmla="*/ 2302923 h 2936314"/>
                <a:gd name="connsiteX23" fmla="*/ 11826910 w 11867103"/>
                <a:gd name="connsiteY23" fmla="*/ 2373261 h 2936314"/>
                <a:gd name="connsiteX24" fmla="*/ 11836958 w 11867103"/>
                <a:gd name="connsiteY24" fmla="*/ 2403406 h 2936314"/>
                <a:gd name="connsiteX25" fmla="*/ 11857055 w 11867103"/>
                <a:gd name="connsiteY25" fmla="*/ 2534035 h 2936314"/>
                <a:gd name="connsiteX26" fmla="*/ 11867103 w 11867103"/>
                <a:gd name="connsiteY26" fmla="*/ 2574228 h 2936314"/>
                <a:gd name="connsiteX27" fmla="*/ 11857055 w 11867103"/>
                <a:gd name="connsiteY27" fmla="*/ 2805340 h 2936314"/>
                <a:gd name="connsiteX28" fmla="*/ 11836958 w 11867103"/>
                <a:gd name="connsiteY28" fmla="*/ 2835485 h 2936314"/>
                <a:gd name="connsiteX29" fmla="*/ 11033090 w 11867103"/>
                <a:gd name="connsiteY29" fmla="*/ 2825437 h 2936314"/>
                <a:gd name="connsiteX30" fmla="*/ 10621108 w 11867103"/>
                <a:gd name="connsiteY30" fmla="*/ 2815389 h 2936314"/>
                <a:gd name="connsiteX31" fmla="*/ 10128739 w 11867103"/>
                <a:gd name="connsiteY31" fmla="*/ 2825437 h 2936314"/>
                <a:gd name="connsiteX32" fmla="*/ 10048352 w 11867103"/>
                <a:gd name="connsiteY32" fmla="*/ 2835485 h 2936314"/>
                <a:gd name="connsiteX33" fmla="*/ 9555982 w 11867103"/>
                <a:gd name="connsiteY33" fmla="*/ 2825437 h 2936314"/>
                <a:gd name="connsiteX34" fmla="*/ 9445451 w 11867103"/>
                <a:gd name="connsiteY34" fmla="*/ 2815389 h 2936314"/>
                <a:gd name="connsiteX35" fmla="*/ 9415306 w 11867103"/>
                <a:gd name="connsiteY35" fmla="*/ 2795292 h 2936314"/>
                <a:gd name="connsiteX36" fmla="*/ 9204290 w 11867103"/>
                <a:gd name="connsiteY36" fmla="*/ 2775195 h 2936314"/>
                <a:gd name="connsiteX37" fmla="*/ 9073662 w 11867103"/>
                <a:gd name="connsiteY37" fmla="*/ 2755098 h 2936314"/>
                <a:gd name="connsiteX38" fmla="*/ 8812404 w 11867103"/>
                <a:gd name="connsiteY38" fmla="*/ 2745050 h 2936314"/>
                <a:gd name="connsiteX39" fmla="*/ 8400422 w 11867103"/>
                <a:gd name="connsiteY39" fmla="*/ 2735002 h 2936314"/>
                <a:gd name="connsiteX40" fmla="*/ 8269793 w 11867103"/>
                <a:gd name="connsiteY40" fmla="*/ 2724953 h 2936314"/>
                <a:gd name="connsiteX41" fmla="*/ 7797521 w 11867103"/>
                <a:gd name="connsiteY41" fmla="*/ 2745050 h 2936314"/>
                <a:gd name="connsiteX42" fmla="*/ 7717134 w 11867103"/>
                <a:gd name="connsiteY42" fmla="*/ 2755098 h 2936314"/>
                <a:gd name="connsiteX43" fmla="*/ 7486022 w 11867103"/>
                <a:gd name="connsiteY43" fmla="*/ 2785244 h 2936314"/>
                <a:gd name="connsiteX44" fmla="*/ 7395587 w 11867103"/>
                <a:gd name="connsiteY44" fmla="*/ 2805340 h 2936314"/>
                <a:gd name="connsiteX45" fmla="*/ 7325248 w 11867103"/>
                <a:gd name="connsiteY45" fmla="*/ 2815389 h 2936314"/>
                <a:gd name="connsiteX46" fmla="*/ 6863024 w 11867103"/>
                <a:gd name="connsiteY46" fmla="*/ 2805340 h 2936314"/>
                <a:gd name="connsiteX47" fmla="*/ 6722347 w 11867103"/>
                <a:gd name="connsiteY47" fmla="*/ 2795292 h 2936314"/>
                <a:gd name="connsiteX48" fmla="*/ 4903596 w 11867103"/>
                <a:gd name="connsiteY48" fmla="*/ 2845534 h 2936314"/>
                <a:gd name="connsiteX49" fmla="*/ 4722725 w 11867103"/>
                <a:gd name="connsiteY49" fmla="*/ 2885727 h 2936314"/>
                <a:gd name="connsiteX50" fmla="*/ 4300695 w 11867103"/>
                <a:gd name="connsiteY50" fmla="*/ 2865630 h 2936314"/>
                <a:gd name="connsiteX51" fmla="*/ 4059534 w 11867103"/>
                <a:gd name="connsiteY51" fmla="*/ 2825437 h 2936314"/>
                <a:gd name="connsiteX52" fmla="*/ 3768132 w 11867103"/>
                <a:gd name="connsiteY52" fmla="*/ 2795292 h 2936314"/>
                <a:gd name="connsiteX53" fmla="*/ 3627455 w 11867103"/>
                <a:gd name="connsiteY53" fmla="*/ 2785244 h 2936314"/>
                <a:gd name="connsiteX54" fmla="*/ 3125037 w 11867103"/>
                <a:gd name="connsiteY54" fmla="*/ 2795292 h 2936314"/>
                <a:gd name="connsiteX55" fmla="*/ 3064747 w 11867103"/>
                <a:gd name="connsiteY55" fmla="*/ 2805340 h 2936314"/>
                <a:gd name="connsiteX56" fmla="*/ 2009670 w 11867103"/>
                <a:gd name="connsiteY56" fmla="*/ 2815389 h 2936314"/>
                <a:gd name="connsiteX57" fmla="*/ 1678075 w 11867103"/>
                <a:gd name="connsiteY57" fmla="*/ 2905824 h 2936314"/>
                <a:gd name="connsiteX58" fmla="*/ 1607736 w 11867103"/>
                <a:gd name="connsiteY58" fmla="*/ 2935969 h 2936314"/>
                <a:gd name="connsiteX59" fmla="*/ 1135464 w 11867103"/>
                <a:gd name="connsiteY59" fmla="*/ 2915872 h 2936314"/>
                <a:gd name="connsiteX60" fmla="*/ 944545 w 11867103"/>
                <a:gd name="connsiteY60" fmla="*/ 2885727 h 2936314"/>
                <a:gd name="connsiteX61" fmla="*/ 723481 w 11867103"/>
                <a:gd name="connsiteY61" fmla="*/ 2845534 h 2936314"/>
                <a:gd name="connsiteX62" fmla="*/ 643095 w 11867103"/>
                <a:gd name="connsiteY62" fmla="*/ 2835485 h 2936314"/>
                <a:gd name="connsiteX63" fmla="*/ 371789 w 11867103"/>
                <a:gd name="connsiteY63" fmla="*/ 2795292 h 2936314"/>
                <a:gd name="connsiteX64" fmla="*/ 0 w 11867103"/>
                <a:gd name="connsiteY64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06813 w 11867103"/>
                <a:gd name="connsiteY20" fmla="*/ 835863 h 2936314"/>
                <a:gd name="connsiteX21" fmla="*/ 11816862 w 11867103"/>
                <a:gd name="connsiteY21" fmla="*/ 2302923 h 2936314"/>
                <a:gd name="connsiteX22" fmla="*/ 11826910 w 11867103"/>
                <a:gd name="connsiteY22" fmla="*/ 2373261 h 2936314"/>
                <a:gd name="connsiteX23" fmla="*/ 11836958 w 11867103"/>
                <a:gd name="connsiteY23" fmla="*/ 2403406 h 2936314"/>
                <a:gd name="connsiteX24" fmla="*/ 11857055 w 11867103"/>
                <a:gd name="connsiteY24" fmla="*/ 2534035 h 2936314"/>
                <a:gd name="connsiteX25" fmla="*/ 11867103 w 11867103"/>
                <a:gd name="connsiteY25" fmla="*/ 2574228 h 2936314"/>
                <a:gd name="connsiteX26" fmla="*/ 11857055 w 11867103"/>
                <a:gd name="connsiteY26" fmla="*/ 2805340 h 2936314"/>
                <a:gd name="connsiteX27" fmla="*/ 11836958 w 11867103"/>
                <a:gd name="connsiteY27" fmla="*/ 2835485 h 2936314"/>
                <a:gd name="connsiteX28" fmla="*/ 11033090 w 11867103"/>
                <a:gd name="connsiteY28" fmla="*/ 2825437 h 2936314"/>
                <a:gd name="connsiteX29" fmla="*/ 10621108 w 11867103"/>
                <a:gd name="connsiteY29" fmla="*/ 2815389 h 2936314"/>
                <a:gd name="connsiteX30" fmla="*/ 10128739 w 11867103"/>
                <a:gd name="connsiteY30" fmla="*/ 2825437 h 2936314"/>
                <a:gd name="connsiteX31" fmla="*/ 10048352 w 11867103"/>
                <a:gd name="connsiteY31" fmla="*/ 2835485 h 2936314"/>
                <a:gd name="connsiteX32" fmla="*/ 9555982 w 11867103"/>
                <a:gd name="connsiteY32" fmla="*/ 2825437 h 2936314"/>
                <a:gd name="connsiteX33" fmla="*/ 9445451 w 11867103"/>
                <a:gd name="connsiteY33" fmla="*/ 2815389 h 2936314"/>
                <a:gd name="connsiteX34" fmla="*/ 9415306 w 11867103"/>
                <a:gd name="connsiteY34" fmla="*/ 2795292 h 2936314"/>
                <a:gd name="connsiteX35" fmla="*/ 9204290 w 11867103"/>
                <a:gd name="connsiteY35" fmla="*/ 2775195 h 2936314"/>
                <a:gd name="connsiteX36" fmla="*/ 9073662 w 11867103"/>
                <a:gd name="connsiteY36" fmla="*/ 2755098 h 2936314"/>
                <a:gd name="connsiteX37" fmla="*/ 8812404 w 11867103"/>
                <a:gd name="connsiteY37" fmla="*/ 2745050 h 2936314"/>
                <a:gd name="connsiteX38" fmla="*/ 8400422 w 11867103"/>
                <a:gd name="connsiteY38" fmla="*/ 2735002 h 2936314"/>
                <a:gd name="connsiteX39" fmla="*/ 8269793 w 11867103"/>
                <a:gd name="connsiteY39" fmla="*/ 2724953 h 2936314"/>
                <a:gd name="connsiteX40" fmla="*/ 7797521 w 11867103"/>
                <a:gd name="connsiteY40" fmla="*/ 2745050 h 2936314"/>
                <a:gd name="connsiteX41" fmla="*/ 7717134 w 11867103"/>
                <a:gd name="connsiteY41" fmla="*/ 2755098 h 2936314"/>
                <a:gd name="connsiteX42" fmla="*/ 7486022 w 11867103"/>
                <a:gd name="connsiteY42" fmla="*/ 2785244 h 2936314"/>
                <a:gd name="connsiteX43" fmla="*/ 7395587 w 11867103"/>
                <a:gd name="connsiteY43" fmla="*/ 2805340 h 2936314"/>
                <a:gd name="connsiteX44" fmla="*/ 7325248 w 11867103"/>
                <a:gd name="connsiteY44" fmla="*/ 2815389 h 2936314"/>
                <a:gd name="connsiteX45" fmla="*/ 6863024 w 11867103"/>
                <a:gd name="connsiteY45" fmla="*/ 2805340 h 2936314"/>
                <a:gd name="connsiteX46" fmla="*/ 6722347 w 11867103"/>
                <a:gd name="connsiteY46" fmla="*/ 2795292 h 2936314"/>
                <a:gd name="connsiteX47" fmla="*/ 4903596 w 11867103"/>
                <a:gd name="connsiteY47" fmla="*/ 2845534 h 2936314"/>
                <a:gd name="connsiteX48" fmla="*/ 4722725 w 11867103"/>
                <a:gd name="connsiteY48" fmla="*/ 2885727 h 2936314"/>
                <a:gd name="connsiteX49" fmla="*/ 4300695 w 11867103"/>
                <a:gd name="connsiteY49" fmla="*/ 2865630 h 2936314"/>
                <a:gd name="connsiteX50" fmla="*/ 4059534 w 11867103"/>
                <a:gd name="connsiteY50" fmla="*/ 2825437 h 2936314"/>
                <a:gd name="connsiteX51" fmla="*/ 3768132 w 11867103"/>
                <a:gd name="connsiteY51" fmla="*/ 2795292 h 2936314"/>
                <a:gd name="connsiteX52" fmla="*/ 3627455 w 11867103"/>
                <a:gd name="connsiteY52" fmla="*/ 2785244 h 2936314"/>
                <a:gd name="connsiteX53" fmla="*/ 3125037 w 11867103"/>
                <a:gd name="connsiteY53" fmla="*/ 2795292 h 2936314"/>
                <a:gd name="connsiteX54" fmla="*/ 3064747 w 11867103"/>
                <a:gd name="connsiteY54" fmla="*/ 2805340 h 2936314"/>
                <a:gd name="connsiteX55" fmla="*/ 2009670 w 11867103"/>
                <a:gd name="connsiteY55" fmla="*/ 2815389 h 2936314"/>
                <a:gd name="connsiteX56" fmla="*/ 1678075 w 11867103"/>
                <a:gd name="connsiteY56" fmla="*/ 2905824 h 2936314"/>
                <a:gd name="connsiteX57" fmla="*/ 1607736 w 11867103"/>
                <a:gd name="connsiteY57" fmla="*/ 2935969 h 2936314"/>
                <a:gd name="connsiteX58" fmla="*/ 1135464 w 11867103"/>
                <a:gd name="connsiteY58" fmla="*/ 2915872 h 2936314"/>
                <a:gd name="connsiteX59" fmla="*/ 944545 w 11867103"/>
                <a:gd name="connsiteY59" fmla="*/ 2885727 h 2936314"/>
                <a:gd name="connsiteX60" fmla="*/ 723481 w 11867103"/>
                <a:gd name="connsiteY60" fmla="*/ 2845534 h 2936314"/>
                <a:gd name="connsiteX61" fmla="*/ 643095 w 11867103"/>
                <a:gd name="connsiteY61" fmla="*/ 2835485 h 2936314"/>
                <a:gd name="connsiteX62" fmla="*/ 371789 w 11867103"/>
                <a:gd name="connsiteY62" fmla="*/ 2795292 h 2936314"/>
                <a:gd name="connsiteX63" fmla="*/ 0 w 11867103"/>
                <a:gd name="connsiteY63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16862 w 11867103"/>
                <a:gd name="connsiteY20" fmla="*/ 2302923 h 2936314"/>
                <a:gd name="connsiteX21" fmla="*/ 11826910 w 11867103"/>
                <a:gd name="connsiteY21" fmla="*/ 2373261 h 2936314"/>
                <a:gd name="connsiteX22" fmla="*/ 11836958 w 11867103"/>
                <a:gd name="connsiteY22" fmla="*/ 2403406 h 2936314"/>
                <a:gd name="connsiteX23" fmla="*/ 11857055 w 11867103"/>
                <a:gd name="connsiteY23" fmla="*/ 2534035 h 2936314"/>
                <a:gd name="connsiteX24" fmla="*/ 11867103 w 11867103"/>
                <a:gd name="connsiteY24" fmla="*/ 2574228 h 2936314"/>
                <a:gd name="connsiteX25" fmla="*/ 11857055 w 11867103"/>
                <a:gd name="connsiteY25" fmla="*/ 2805340 h 2936314"/>
                <a:gd name="connsiteX26" fmla="*/ 11836958 w 11867103"/>
                <a:gd name="connsiteY26" fmla="*/ 2835485 h 2936314"/>
                <a:gd name="connsiteX27" fmla="*/ 11033090 w 11867103"/>
                <a:gd name="connsiteY27" fmla="*/ 2825437 h 2936314"/>
                <a:gd name="connsiteX28" fmla="*/ 10621108 w 11867103"/>
                <a:gd name="connsiteY28" fmla="*/ 2815389 h 2936314"/>
                <a:gd name="connsiteX29" fmla="*/ 10128739 w 11867103"/>
                <a:gd name="connsiteY29" fmla="*/ 2825437 h 2936314"/>
                <a:gd name="connsiteX30" fmla="*/ 10048352 w 11867103"/>
                <a:gd name="connsiteY30" fmla="*/ 2835485 h 2936314"/>
                <a:gd name="connsiteX31" fmla="*/ 9555982 w 11867103"/>
                <a:gd name="connsiteY31" fmla="*/ 2825437 h 2936314"/>
                <a:gd name="connsiteX32" fmla="*/ 9445451 w 11867103"/>
                <a:gd name="connsiteY32" fmla="*/ 2815389 h 2936314"/>
                <a:gd name="connsiteX33" fmla="*/ 9415306 w 11867103"/>
                <a:gd name="connsiteY33" fmla="*/ 2795292 h 2936314"/>
                <a:gd name="connsiteX34" fmla="*/ 9204290 w 11867103"/>
                <a:gd name="connsiteY34" fmla="*/ 2775195 h 2936314"/>
                <a:gd name="connsiteX35" fmla="*/ 9073662 w 11867103"/>
                <a:gd name="connsiteY35" fmla="*/ 2755098 h 2936314"/>
                <a:gd name="connsiteX36" fmla="*/ 8812404 w 11867103"/>
                <a:gd name="connsiteY36" fmla="*/ 2745050 h 2936314"/>
                <a:gd name="connsiteX37" fmla="*/ 8400422 w 11867103"/>
                <a:gd name="connsiteY37" fmla="*/ 2735002 h 2936314"/>
                <a:gd name="connsiteX38" fmla="*/ 8269793 w 11867103"/>
                <a:gd name="connsiteY38" fmla="*/ 2724953 h 2936314"/>
                <a:gd name="connsiteX39" fmla="*/ 7797521 w 11867103"/>
                <a:gd name="connsiteY39" fmla="*/ 2745050 h 2936314"/>
                <a:gd name="connsiteX40" fmla="*/ 7717134 w 11867103"/>
                <a:gd name="connsiteY40" fmla="*/ 2755098 h 2936314"/>
                <a:gd name="connsiteX41" fmla="*/ 7486022 w 11867103"/>
                <a:gd name="connsiteY41" fmla="*/ 2785244 h 2936314"/>
                <a:gd name="connsiteX42" fmla="*/ 7395587 w 11867103"/>
                <a:gd name="connsiteY42" fmla="*/ 2805340 h 2936314"/>
                <a:gd name="connsiteX43" fmla="*/ 7325248 w 11867103"/>
                <a:gd name="connsiteY43" fmla="*/ 2815389 h 2936314"/>
                <a:gd name="connsiteX44" fmla="*/ 6863024 w 11867103"/>
                <a:gd name="connsiteY44" fmla="*/ 2805340 h 2936314"/>
                <a:gd name="connsiteX45" fmla="*/ 6722347 w 11867103"/>
                <a:gd name="connsiteY45" fmla="*/ 2795292 h 2936314"/>
                <a:gd name="connsiteX46" fmla="*/ 4903596 w 11867103"/>
                <a:gd name="connsiteY46" fmla="*/ 2845534 h 2936314"/>
                <a:gd name="connsiteX47" fmla="*/ 4722725 w 11867103"/>
                <a:gd name="connsiteY47" fmla="*/ 2885727 h 2936314"/>
                <a:gd name="connsiteX48" fmla="*/ 4300695 w 11867103"/>
                <a:gd name="connsiteY48" fmla="*/ 2865630 h 2936314"/>
                <a:gd name="connsiteX49" fmla="*/ 4059534 w 11867103"/>
                <a:gd name="connsiteY49" fmla="*/ 2825437 h 2936314"/>
                <a:gd name="connsiteX50" fmla="*/ 3768132 w 11867103"/>
                <a:gd name="connsiteY50" fmla="*/ 2795292 h 2936314"/>
                <a:gd name="connsiteX51" fmla="*/ 3627455 w 11867103"/>
                <a:gd name="connsiteY51" fmla="*/ 2785244 h 2936314"/>
                <a:gd name="connsiteX52" fmla="*/ 3125037 w 11867103"/>
                <a:gd name="connsiteY52" fmla="*/ 2795292 h 2936314"/>
                <a:gd name="connsiteX53" fmla="*/ 3064747 w 11867103"/>
                <a:gd name="connsiteY53" fmla="*/ 2805340 h 2936314"/>
                <a:gd name="connsiteX54" fmla="*/ 2009670 w 11867103"/>
                <a:gd name="connsiteY54" fmla="*/ 2815389 h 2936314"/>
                <a:gd name="connsiteX55" fmla="*/ 1678075 w 11867103"/>
                <a:gd name="connsiteY55" fmla="*/ 2905824 h 2936314"/>
                <a:gd name="connsiteX56" fmla="*/ 1607736 w 11867103"/>
                <a:gd name="connsiteY56" fmla="*/ 2935969 h 2936314"/>
                <a:gd name="connsiteX57" fmla="*/ 1135464 w 11867103"/>
                <a:gd name="connsiteY57" fmla="*/ 2915872 h 2936314"/>
                <a:gd name="connsiteX58" fmla="*/ 944545 w 11867103"/>
                <a:gd name="connsiteY58" fmla="*/ 2885727 h 2936314"/>
                <a:gd name="connsiteX59" fmla="*/ 723481 w 11867103"/>
                <a:gd name="connsiteY59" fmla="*/ 2845534 h 2936314"/>
                <a:gd name="connsiteX60" fmla="*/ 643095 w 11867103"/>
                <a:gd name="connsiteY60" fmla="*/ 2835485 h 2936314"/>
                <a:gd name="connsiteX61" fmla="*/ 371789 w 11867103"/>
                <a:gd name="connsiteY61" fmla="*/ 2795292 h 2936314"/>
                <a:gd name="connsiteX62" fmla="*/ 0 w 11867103"/>
                <a:gd name="connsiteY62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16862 w 11867103"/>
                <a:gd name="connsiteY19" fmla="*/ 2302923 h 2936314"/>
                <a:gd name="connsiteX20" fmla="*/ 11826910 w 11867103"/>
                <a:gd name="connsiteY20" fmla="*/ 2373261 h 2936314"/>
                <a:gd name="connsiteX21" fmla="*/ 11836958 w 11867103"/>
                <a:gd name="connsiteY21" fmla="*/ 2403406 h 2936314"/>
                <a:gd name="connsiteX22" fmla="*/ 11857055 w 11867103"/>
                <a:gd name="connsiteY22" fmla="*/ 2534035 h 2936314"/>
                <a:gd name="connsiteX23" fmla="*/ 11867103 w 11867103"/>
                <a:gd name="connsiteY23" fmla="*/ 2574228 h 2936314"/>
                <a:gd name="connsiteX24" fmla="*/ 11857055 w 11867103"/>
                <a:gd name="connsiteY24" fmla="*/ 2805340 h 2936314"/>
                <a:gd name="connsiteX25" fmla="*/ 11836958 w 11867103"/>
                <a:gd name="connsiteY25" fmla="*/ 2835485 h 2936314"/>
                <a:gd name="connsiteX26" fmla="*/ 11033090 w 11867103"/>
                <a:gd name="connsiteY26" fmla="*/ 2825437 h 2936314"/>
                <a:gd name="connsiteX27" fmla="*/ 10621108 w 11867103"/>
                <a:gd name="connsiteY27" fmla="*/ 2815389 h 2936314"/>
                <a:gd name="connsiteX28" fmla="*/ 10128739 w 11867103"/>
                <a:gd name="connsiteY28" fmla="*/ 2825437 h 2936314"/>
                <a:gd name="connsiteX29" fmla="*/ 10048352 w 11867103"/>
                <a:gd name="connsiteY29" fmla="*/ 2835485 h 2936314"/>
                <a:gd name="connsiteX30" fmla="*/ 9555982 w 11867103"/>
                <a:gd name="connsiteY30" fmla="*/ 2825437 h 2936314"/>
                <a:gd name="connsiteX31" fmla="*/ 9445451 w 11867103"/>
                <a:gd name="connsiteY31" fmla="*/ 2815389 h 2936314"/>
                <a:gd name="connsiteX32" fmla="*/ 9415306 w 11867103"/>
                <a:gd name="connsiteY32" fmla="*/ 2795292 h 2936314"/>
                <a:gd name="connsiteX33" fmla="*/ 9204290 w 11867103"/>
                <a:gd name="connsiteY33" fmla="*/ 2775195 h 2936314"/>
                <a:gd name="connsiteX34" fmla="*/ 9073662 w 11867103"/>
                <a:gd name="connsiteY34" fmla="*/ 2755098 h 2936314"/>
                <a:gd name="connsiteX35" fmla="*/ 8812404 w 11867103"/>
                <a:gd name="connsiteY35" fmla="*/ 2745050 h 2936314"/>
                <a:gd name="connsiteX36" fmla="*/ 8400422 w 11867103"/>
                <a:gd name="connsiteY36" fmla="*/ 2735002 h 2936314"/>
                <a:gd name="connsiteX37" fmla="*/ 8269793 w 11867103"/>
                <a:gd name="connsiteY37" fmla="*/ 2724953 h 2936314"/>
                <a:gd name="connsiteX38" fmla="*/ 7797521 w 11867103"/>
                <a:gd name="connsiteY38" fmla="*/ 2745050 h 2936314"/>
                <a:gd name="connsiteX39" fmla="*/ 7717134 w 11867103"/>
                <a:gd name="connsiteY39" fmla="*/ 2755098 h 2936314"/>
                <a:gd name="connsiteX40" fmla="*/ 7486022 w 11867103"/>
                <a:gd name="connsiteY40" fmla="*/ 2785244 h 2936314"/>
                <a:gd name="connsiteX41" fmla="*/ 7395587 w 11867103"/>
                <a:gd name="connsiteY41" fmla="*/ 2805340 h 2936314"/>
                <a:gd name="connsiteX42" fmla="*/ 7325248 w 11867103"/>
                <a:gd name="connsiteY42" fmla="*/ 2815389 h 2936314"/>
                <a:gd name="connsiteX43" fmla="*/ 6863024 w 11867103"/>
                <a:gd name="connsiteY43" fmla="*/ 2805340 h 2936314"/>
                <a:gd name="connsiteX44" fmla="*/ 6722347 w 11867103"/>
                <a:gd name="connsiteY44" fmla="*/ 2795292 h 2936314"/>
                <a:gd name="connsiteX45" fmla="*/ 4903596 w 11867103"/>
                <a:gd name="connsiteY45" fmla="*/ 2845534 h 2936314"/>
                <a:gd name="connsiteX46" fmla="*/ 4722725 w 11867103"/>
                <a:gd name="connsiteY46" fmla="*/ 2885727 h 2936314"/>
                <a:gd name="connsiteX47" fmla="*/ 4300695 w 11867103"/>
                <a:gd name="connsiteY47" fmla="*/ 2865630 h 2936314"/>
                <a:gd name="connsiteX48" fmla="*/ 4059534 w 11867103"/>
                <a:gd name="connsiteY48" fmla="*/ 2825437 h 2936314"/>
                <a:gd name="connsiteX49" fmla="*/ 3768132 w 11867103"/>
                <a:gd name="connsiteY49" fmla="*/ 2795292 h 2936314"/>
                <a:gd name="connsiteX50" fmla="*/ 3627455 w 11867103"/>
                <a:gd name="connsiteY50" fmla="*/ 2785244 h 2936314"/>
                <a:gd name="connsiteX51" fmla="*/ 3125037 w 11867103"/>
                <a:gd name="connsiteY51" fmla="*/ 2795292 h 2936314"/>
                <a:gd name="connsiteX52" fmla="*/ 3064747 w 11867103"/>
                <a:gd name="connsiteY52" fmla="*/ 2805340 h 2936314"/>
                <a:gd name="connsiteX53" fmla="*/ 2009670 w 11867103"/>
                <a:gd name="connsiteY53" fmla="*/ 2815389 h 2936314"/>
                <a:gd name="connsiteX54" fmla="*/ 1678075 w 11867103"/>
                <a:gd name="connsiteY54" fmla="*/ 2905824 h 2936314"/>
                <a:gd name="connsiteX55" fmla="*/ 1607736 w 11867103"/>
                <a:gd name="connsiteY55" fmla="*/ 2935969 h 2936314"/>
                <a:gd name="connsiteX56" fmla="*/ 1135464 w 11867103"/>
                <a:gd name="connsiteY56" fmla="*/ 2915872 h 2936314"/>
                <a:gd name="connsiteX57" fmla="*/ 944545 w 11867103"/>
                <a:gd name="connsiteY57" fmla="*/ 2885727 h 2936314"/>
                <a:gd name="connsiteX58" fmla="*/ 723481 w 11867103"/>
                <a:gd name="connsiteY58" fmla="*/ 2845534 h 2936314"/>
                <a:gd name="connsiteX59" fmla="*/ 643095 w 11867103"/>
                <a:gd name="connsiteY59" fmla="*/ 2835485 h 2936314"/>
                <a:gd name="connsiteX60" fmla="*/ 371789 w 11867103"/>
                <a:gd name="connsiteY60" fmla="*/ 2795292 h 2936314"/>
                <a:gd name="connsiteX61" fmla="*/ 0 w 11867103"/>
                <a:gd name="connsiteY61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16862 w 11867103"/>
                <a:gd name="connsiteY18" fmla="*/ 2302923 h 2936314"/>
                <a:gd name="connsiteX19" fmla="*/ 11826910 w 11867103"/>
                <a:gd name="connsiteY19" fmla="*/ 2373261 h 2936314"/>
                <a:gd name="connsiteX20" fmla="*/ 11836958 w 11867103"/>
                <a:gd name="connsiteY20" fmla="*/ 2403406 h 2936314"/>
                <a:gd name="connsiteX21" fmla="*/ 11857055 w 11867103"/>
                <a:gd name="connsiteY21" fmla="*/ 2534035 h 2936314"/>
                <a:gd name="connsiteX22" fmla="*/ 11867103 w 11867103"/>
                <a:gd name="connsiteY22" fmla="*/ 2574228 h 2936314"/>
                <a:gd name="connsiteX23" fmla="*/ 11857055 w 11867103"/>
                <a:gd name="connsiteY23" fmla="*/ 2805340 h 2936314"/>
                <a:gd name="connsiteX24" fmla="*/ 11836958 w 11867103"/>
                <a:gd name="connsiteY24" fmla="*/ 2835485 h 2936314"/>
                <a:gd name="connsiteX25" fmla="*/ 11033090 w 11867103"/>
                <a:gd name="connsiteY25" fmla="*/ 2825437 h 2936314"/>
                <a:gd name="connsiteX26" fmla="*/ 10621108 w 11867103"/>
                <a:gd name="connsiteY26" fmla="*/ 2815389 h 2936314"/>
                <a:gd name="connsiteX27" fmla="*/ 10128739 w 11867103"/>
                <a:gd name="connsiteY27" fmla="*/ 2825437 h 2936314"/>
                <a:gd name="connsiteX28" fmla="*/ 10048352 w 11867103"/>
                <a:gd name="connsiteY28" fmla="*/ 2835485 h 2936314"/>
                <a:gd name="connsiteX29" fmla="*/ 9555982 w 11867103"/>
                <a:gd name="connsiteY29" fmla="*/ 2825437 h 2936314"/>
                <a:gd name="connsiteX30" fmla="*/ 9445451 w 11867103"/>
                <a:gd name="connsiteY30" fmla="*/ 2815389 h 2936314"/>
                <a:gd name="connsiteX31" fmla="*/ 9415306 w 11867103"/>
                <a:gd name="connsiteY31" fmla="*/ 2795292 h 2936314"/>
                <a:gd name="connsiteX32" fmla="*/ 9204290 w 11867103"/>
                <a:gd name="connsiteY32" fmla="*/ 2775195 h 2936314"/>
                <a:gd name="connsiteX33" fmla="*/ 9073662 w 11867103"/>
                <a:gd name="connsiteY33" fmla="*/ 2755098 h 2936314"/>
                <a:gd name="connsiteX34" fmla="*/ 8812404 w 11867103"/>
                <a:gd name="connsiteY34" fmla="*/ 2745050 h 2936314"/>
                <a:gd name="connsiteX35" fmla="*/ 8400422 w 11867103"/>
                <a:gd name="connsiteY35" fmla="*/ 2735002 h 2936314"/>
                <a:gd name="connsiteX36" fmla="*/ 8269793 w 11867103"/>
                <a:gd name="connsiteY36" fmla="*/ 2724953 h 2936314"/>
                <a:gd name="connsiteX37" fmla="*/ 7797521 w 11867103"/>
                <a:gd name="connsiteY37" fmla="*/ 2745050 h 2936314"/>
                <a:gd name="connsiteX38" fmla="*/ 7717134 w 11867103"/>
                <a:gd name="connsiteY38" fmla="*/ 2755098 h 2936314"/>
                <a:gd name="connsiteX39" fmla="*/ 7486022 w 11867103"/>
                <a:gd name="connsiteY39" fmla="*/ 2785244 h 2936314"/>
                <a:gd name="connsiteX40" fmla="*/ 7395587 w 11867103"/>
                <a:gd name="connsiteY40" fmla="*/ 2805340 h 2936314"/>
                <a:gd name="connsiteX41" fmla="*/ 7325248 w 11867103"/>
                <a:gd name="connsiteY41" fmla="*/ 2815389 h 2936314"/>
                <a:gd name="connsiteX42" fmla="*/ 6863024 w 11867103"/>
                <a:gd name="connsiteY42" fmla="*/ 2805340 h 2936314"/>
                <a:gd name="connsiteX43" fmla="*/ 6722347 w 11867103"/>
                <a:gd name="connsiteY43" fmla="*/ 2795292 h 2936314"/>
                <a:gd name="connsiteX44" fmla="*/ 4903596 w 11867103"/>
                <a:gd name="connsiteY44" fmla="*/ 2845534 h 2936314"/>
                <a:gd name="connsiteX45" fmla="*/ 4722725 w 11867103"/>
                <a:gd name="connsiteY45" fmla="*/ 2885727 h 2936314"/>
                <a:gd name="connsiteX46" fmla="*/ 4300695 w 11867103"/>
                <a:gd name="connsiteY46" fmla="*/ 2865630 h 2936314"/>
                <a:gd name="connsiteX47" fmla="*/ 4059534 w 11867103"/>
                <a:gd name="connsiteY47" fmla="*/ 2825437 h 2936314"/>
                <a:gd name="connsiteX48" fmla="*/ 3768132 w 11867103"/>
                <a:gd name="connsiteY48" fmla="*/ 2795292 h 2936314"/>
                <a:gd name="connsiteX49" fmla="*/ 3627455 w 11867103"/>
                <a:gd name="connsiteY49" fmla="*/ 2785244 h 2936314"/>
                <a:gd name="connsiteX50" fmla="*/ 3125037 w 11867103"/>
                <a:gd name="connsiteY50" fmla="*/ 2795292 h 2936314"/>
                <a:gd name="connsiteX51" fmla="*/ 3064747 w 11867103"/>
                <a:gd name="connsiteY51" fmla="*/ 2805340 h 2936314"/>
                <a:gd name="connsiteX52" fmla="*/ 2009670 w 11867103"/>
                <a:gd name="connsiteY52" fmla="*/ 2815389 h 2936314"/>
                <a:gd name="connsiteX53" fmla="*/ 1678075 w 11867103"/>
                <a:gd name="connsiteY53" fmla="*/ 2905824 h 2936314"/>
                <a:gd name="connsiteX54" fmla="*/ 1607736 w 11867103"/>
                <a:gd name="connsiteY54" fmla="*/ 2935969 h 2936314"/>
                <a:gd name="connsiteX55" fmla="*/ 1135464 w 11867103"/>
                <a:gd name="connsiteY55" fmla="*/ 2915872 h 2936314"/>
                <a:gd name="connsiteX56" fmla="*/ 944545 w 11867103"/>
                <a:gd name="connsiteY56" fmla="*/ 2885727 h 2936314"/>
                <a:gd name="connsiteX57" fmla="*/ 723481 w 11867103"/>
                <a:gd name="connsiteY57" fmla="*/ 2845534 h 2936314"/>
                <a:gd name="connsiteX58" fmla="*/ 643095 w 11867103"/>
                <a:gd name="connsiteY58" fmla="*/ 2835485 h 2936314"/>
                <a:gd name="connsiteX59" fmla="*/ 371789 w 11867103"/>
                <a:gd name="connsiteY59" fmla="*/ 2795292 h 2936314"/>
                <a:gd name="connsiteX60" fmla="*/ 0 w 11867103"/>
                <a:gd name="connsiteY60" fmla="*/ 2785244 h 2936314"/>
                <a:gd name="connsiteX0" fmla="*/ 120580 w 11867103"/>
                <a:gd name="connsiteY0" fmla="*/ 146825 h 3061192"/>
                <a:gd name="connsiteX1" fmla="*/ 281354 w 11867103"/>
                <a:gd name="connsiteY1" fmla="*/ 136776 h 3061192"/>
                <a:gd name="connsiteX2" fmla="*/ 673240 w 11867103"/>
                <a:gd name="connsiteY2" fmla="*/ 126728 h 3061192"/>
                <a:gd name="connsiteX3" fmla="*/ 1356528 w 11867103"/>
                <a:gd name="connsiteY3" fmla="*/ 176970 h 3061192"/>
                <a:gd name="connsiteX4" fmla="*/ 1758462 w 11867103"/>
                <a:gd name="connsiteY4" fmla="*/ 136776 h 3061192"/>
                <a:gd name="connsiteX5" fmla="*/ 2140299 w 11867103"/>
                <a:gd name="connsiteY5" fmla="*/ 136776 h 3061192"/>
                <a:gd name="connsiteX6" fmla="*/ 4652387 w 11867103"/>
                <a:gd name="connsiteY6" fmla="*/ 156873 h 3061192"/>
                <a:gd name="connsiteX7" fmla="*/ 4692580 w 11867103"/>
                <a:gd name="connsiteY7" fmla="*/ 166922 h 3061192"/>
                <a:gd name="connsiteX8" fmla="*/ 6420897 w 11867103"/>
                <a:gd name="connsiteY8" fmla="*/ 187018 h 3061192"/>
                <a:gd name="connsiteX9" fmla="*/ 7184571 w 11867103"/>
                <a:gd name="connsiteY9" fmla="*/ 156873 h 3061192"/>
                <a:gd name="connsiteX10" fmla="*/ 7928150 w 11867103"/>
                <a:gd name="connsiteY10" fmla="*/ 156873 h 3061192"/>
                <a:gd name="connsiteX11" fmla="*/ 8219552 w 11867103"/>
                <a:gd name="connsiteY11" fmla="*/ 187018 h 3061192"/>
                <a:gd name="connsiteX12" fmla="*/ 9606224 w 11867103"/>
                <a:gd name="connsiteY12" fmla="*/ 187018 h 3061192"/>
                <a:gd name="connsiteX13" fmla="*/ 9947868 w 11867103"/>
                <a:gd name="connsiteY13" fmla="*/ 156873 h 3061192"/>
                <a:gd name="connsiteX14" fmla="*/ 10791930 w 11867103"/>
                <a:gd name="connsiteY14" fmla="*/ 126728 h 3061192"/>
                <a:gd name="connsiteX15" fmla="*/ 11736475 w 11867103"/>
                <a:gd name="connsiteY15" fmla="*/ 146825 h 3061192"/>
                <a:gd name="connsiteX16" fmla="*/ 11766620 w 11867103"/>
                <a:gd name="connsiteY16" fmla="*/ 176970 h 3061192"/>
                <a:gd name="connsiteX17" fmla="*/ 11816862 w 11867103"/>
                <a:gd name="connsiteY17" fmla="*/ 2427801 h 3061192"/>
                <a:gd name="connsiteX18" fmla="*/ 11826910 w 11867103"/>
                <a:gd name="connsiteY18" fmla="*/ 2498139 h 3061192"/>
                <a:gd name="connsiteX19" fmla="*/ 11836958 w 11867103"/>
                <a:gd name="connsiteY19" fmla="*/ 2528284 h 3061192"/>
                <a:gd name="connsiteX20" fmla="*/ 11857055 w 11867103"/>
                <a:gd name="connsiteY20" fmla="*/ 2658913 h 3061192"/>
                <a:gd name="connsiteX21" fmla="*/ 11867103 w 11867103"/>
                <a:gd name="connsiteY21" fmla="*/ 2699106 h 3061192"/>
                <a:gd name="connsiteX22" fmla="*/ 11857055 w 11867103"/>
                <a:gd name="connsiteY22" fmla="*/ 2930218 h 3061192"/>
                <a:gd name="connsiteX23" fmla="*/ 11836958 w 11867103"/>
                <a:gd name="connsiteY23" fmla="*/ 2960363 h 3061192"/>
                <a:gd name="connsiteX24" fmla="*/ 11033090 w 11867103"/>
                <a:gd name="connsiteY24" fmla="*/ 2950315 h 3061192"/>
                <a:gd name="connsiteX25" fmla="*/ 10621108 w 11867103"/>
                <a:gd name="connsiteY25" fmla="*/ 2940267 h 3061192"/>
                <a:gd name="connsiteX26" fmla="*/ 10128739 w 11867103"/>
                <a:gd name="connsiteY26" fmla="*/ 2950315 h 3061192"/>
                <a:gd name="connsiteX27" fmla="*/ 10048352 w 11867103"/>
                <a:gd name="connsiteY27" fmla="*/ 2960363 h 3061192"/>
                <a:gd name="connsiteX28" fmla="*/ 9555982 w 11867103"/>
                <a:gd name="connsiteY28" fmla="*/ 2950315 h 3061192"/>
                <a:gd name="connsiteX29" fmla="*/ 9445451 w 11867103"/>
                <a:gd name="connsiteY29" fmla="*/ 2940267 h 3061192"/>
                <a:gd name="connsiteX30" fmla="*/ 9415306 w 11867103"/>
                <a:gd name="connsiteY30" fmla="*/ 2920170 h 3061192"/>
                <a:gd name="connsiteX31" fmla="*/ 9204290 w 11867103"/>
                <a:gd name="connsiteY31" fmla="*/ 2900073 h 3061192"/>
                <a:gd name="connsiteX32" fmla="*/ 9073662 w 11867103"/>
                <a:gd name="connsiteY32" fmla="*/ 2879976 h 3061192"/>
                <a:gd name="connsiteX33" fmla="*/ 8812404 w 11867103"/>
                <a:gd name="connsiteY33" fmla="*/ 2869928 h 3061192"/>
                <a:gd name="connsiteX34" fmla="*/ 8400422 w 11867103"/>
                <a:gd name="connsiteY34" fmla="*/ 2859880 h 3061192"/>
                <a:gd name="connsiteX35" fmla="*/ 8269793 w 11867103"/>
                <a:gd name="connsiteY35" fmla="*/ 2849831 h 3061192"/>
                <a:gd name="connsiteX36" fmla="*/ 7797521 w 11867103"/>
                <a:gd name="connsiteY36" fmla="*/ 2869928 h 3061192"/>
                <a:gd name="connsiteX37" fmla="*/ 7717134 w 11867103"/>
                <a:gd name="connsiteY37" fmla="*/ 2879976 h 3061192"/>
                <a:gd name="connsiteX38" fmla="*/ 7486022 w 11867103"/>
                <a:gd name="connsiteY38" fmla="*/ 2910122 h 3061192"/>
                <a:gd name="connsiteX39" fmla="*/ 7395587 w 11867103"/>
                <a:gd name="connsiteY39" fmla="*/ 2930218 h 3061192"/>
                <a:gd name="connsiteX40" fmla="*/ 7325248 w 11867103"/>
                <a:gd name="connsiteY40" fmla="*/ 2940267 h 3061192"/>
                <a:gd name="connsiteX41" fmla="*/ 6863024 w 11867103"/>
                <a:gd name="connsiteY41" fmla="*/ 2930218 h 3061192"/>
                <a:gd name="connsiteX42" fmla="*/ 6722347 w 11867103"/>
                <a:gd name="connsiteY42" fmla="*/ 2920170 h 3061192"/>
                <a:gd name="connsiteX43" fmla="*/ 4903596 w 11867103"/>
                <a:gd name="connsiteY43" fmla="*/ 2970412 h 3061192"/>
                <a:gd name="connsiteX44" fmla="*/ 4722725 w 11867103"/>
                <a:gd name="connsiteY44" fmla="*/ 3010605 h 3061192"/>
                <a:gd name="connsiteX45" fmla="*/ 4300695 w 11867103"/>
                <a:gd name="connsiteY45" fmla="*/ 2990508 h 3061192"/>
                <a:gd name="connsiteX46" fmla="*/ 4059534 w 11867103"/>
                <a:gd name="connsiteY46" fmla="*/ 2950315 h 3061192"/>
                <a:gd name="connsiteX47" fmla="*/ 3768132 w 11867103"/>
                <a:gd name="connsiteY47" fmla="*/ 2920170 h 3061192"/>
                <a:gd name="connsiteX48" fmla="*/ 3627455 w 11867103"/>
                <a:gd name="connsiteY48" fmla="*/ 2910122 h 3061192"/>
                <a:gd name="connsiteX49" fmla="*/ 3125037 w 11867103"/>
                <a:gd name="connsiteY49" fmla="*/ 2920170 h 3061192"/>
                <a:gd name="connsiteX50" fmla="*/ 3064747 w 11867103"/>
                <a:gd name="connsiteY50" fmla="*/ 2930218 h 3061192"/>
                <a:gd name="connsiteX51" fmla="*/ 2009670 w 11867103"/>
                <a:gd name="connsiteY51" fmla="*/ 2940267 h 3061192"/>
                <a:gd name="connsiteX52" fmla="*/ 1678075 w 11867103"/>
                <a:gd name="connsiteY52" fmla="*/ 3030702 h 3061192"/>
                <a:gd name="connsiteX53" fmla="*/ 1607736 w 11867103"/>
                <a:gd name="connsiteY53" fmla="*/ 3060847 h 3061192"/>
                <a:gd name="connsiteX54" fmla="*/ 1135464 w 11867103"/>
                <a:gd name="connsiteY54" fmla="*/ 3040750 h 3061192"/>
                <a:gd name="connsiteX55" fmla="*/ 944545 w 11867103"/>
                <a:gd name="connsiteY55" fmla="*/ 3010605 h 3061192"/>
                <a:gd name="connsiteX56" fmla="*/ 723481 w 11867103"/>
                <a:gd name="connsiteY56" fmla="*/ 2970412 h 3061192"/>
                <a:gd name="connsiteX57" fmla="*/ 643095 w 11867103"/>
                <a:gd name="connsiteY57" fmla="*/ 2960363 h 3061192"/>
                <a:gd name="connsiteX58" fmla="*/ 371789 w 11867103"/>
                <a:gd name="connsiteY58" fmla="*/ 2920170 h 3061192"/>
                <a:gd name="connsiteX59" fmla="*/ 0 w 11867103"/>
                <a:gd name="connsiteY59" fmla="*/ 2910122 h 3061192"/>
                <a:gd name="connsiteX0" fmla="*/ 120580 w 11867103"/>
                <a:gd name="connsiteY0" fmla="*/ 58358 h 2972725"/>
                <a:gd name="connsiteX1" fmla="*/ 281354 w 11867103"/>
                <a:gd name="connsiteY1" fmla="*/ 48309 h 2972725"/>
                <a:gd name="connsiteX2" fmla="*/ 673240 w 11867103"/>
                <a:gd name="connsiteY2" fmla="*/ 38261 h 2972725"/>
                <a:gd name="connsiteX3" fmla="*/ 1356528 w 11867103"/>
                <a:gd name="connsiteY3" fmla="*/ 88503 h 2972725"/>
                <a:gd name="connsiteX4" fmla="*/ 1758462 w 11867103"/>
                <a:gd name="connsiteY4" fmla="*/ 48309 h 2972725"/>
                <a:gd name="connsiteX5" fmla="*/ 2140299 w 11867103"/>
                <a:gd name="connsiteY5" fmla="*/ 48309 h 2972725"/>
                <a:gd name="connsiteX6" fmla="*/ 4652387 w 11867103"/>
                <a:gd name="connsiteY6" fmla="*/ 68406 h 2972725"/>
                <a:gd name="connsiteX7" fmla="*/ 4692580 w 11867103"/>
                <a:gd name="connsiteY7" fmla="*/ 78455 h 2972725"/>
                <a:gd name="connsiteX8" fmla="*/ 6420897 w 11867103"/>
                <a:gd name="connsiteY8" fmla="*/ 98551 h 2972725"/>
                <a:gd name="connsiteX9" fmla="*/ 7184571 w 11867103"/>
                <a:gd name="connsiteY9" fmla="*/ 68406 h 2972725"/>
                <a:gd name="connsiteX10" fmla="*/ 7928150 w 11867103"/>
                <a:gd name="connsiteY10" fmla="*/ 68406 h 2972725"/>
                <a:gd name="connsiteX11" fmla="*/ 8219552 w 11867103"/>
                <a:gd name="connsiteY11" fmla="*/ 98551 h 2972725"/>
                <a:gd name="connsiteX12" fmla="*/ 9606224 w 11867103"/>
                <a:gd name="connsiteY12" fmla="*/ 98551 h 2972725"/>
                <a:gd name="connsiteX13" fmla="*/ 9947868 w 11867103"/>
                <a:gd name="connsiteY13" fmla="*/ 68406 h 2972725"/>
                <a:gd name="connsiteX14" fmla="*/ 10791930 w 11867103"/>
                <a:gd name="connsiteY14" fmla="*/ 38261 h 2972725"/>
                <a:gd name="connsiteX15" fmla="*/ 11736475 w 11867103"/>
                <a:gd name="connsiteY15" fmla="*/ 58358 h 2972725"/>
                <a:gd name="connsiteX16" fmla="*/ 11806813 w 11867103"/>
                <a:gd name="connsiteY16" fmla="*/ 771791 h 2972725"/>
                <a:gd name="connsiteX17" fmla="*/ 11816862 w 11867103"/>
                <a:gd name="connsiteY17" fmla="*/ 2339334 h 2972725"/>
                <a:gd name="connsiteX18" fmla="*/ 11826910 w 11867103"/>
                <a:gd name="connsiteY18" fmla="*/ 2409672 h 2972725"/>
                <a:gd name="connsiteX19" fmla="*/ 11836958 w 11867103"/>
                <a:gd name="connsiteY19" fmla="*/ 2439817 h 2972725"/>
                <a:gd name="connsiteX20" fmla="*/ 11857055 w 11867103"/>
                <a:gd name="connsiteY20" fmla="*/ 2570446 h 2972725"/>
                <a:gd name="connsiteX21" fmla="*/ 11867103 w 11867103"/>
                <a:gd name="connsiteY21" fmla="*/ 2610639 h 2972725"/>
                <a:gd name="connsiteX22" fmla="*/ 11857055 w 11867103"/>
                <a:gd name="connsiteY22" fmla="*/ 2841751 h 2972725"/>
                <a:gd name="connsiteX23" fmla="*/ 11836958 w 11867103"/>
                <a:gd name="connsiteY23" fmla="*/ 2871896 h 2972725"/>
                <a:gd name="connsiteX24" fmla="*/ 11033090 w 11867103"/>
                <a:gd name="connsiteY24" fmla="*/ 2861848 h 2972725"/>
                <a:gd name="connsiteX25" fmla="*/ 10621108 w 11867103"/>
                <a:gd name="connsiteY25" fmla="*/ 2851800 h 2972725"/>
                <a:gd name="connsiteX26" fmla="*/ 10128739 w 11867103"/>
                <a:gd name="connsiteY26" fmla="*/ 2861848 h 2972725"/>
                <a:gd name="connsiteX27" fmla="*/ 10048352 w 11867103"/>
                <a:gd name="connsiteY27" fmla="*/ 2871896 h 2972725"/>
                <a:gd name="connsiteX28" fmla="*/ 9555982 w 11867103"/>
                <a:gd name="connsiteY28" fmla="*/ 2861848 h 2972725"/>
                <a:gd name="connsiteX29" fmla="*/ 9445451 w 11867103"/>
                <a:gd name="connsiteY29" fmla="*/ 2851800 h 2972725"/>
                <a:gd name="connsiteX30" fmla="*/ 9415306 w 11867103"/>
                <a:gd name="connsiteY30" fmla="*/ 2831703 h 2972725"/>
                <a:gd name="connsiteX31" fmla="*/ 9204290 w 11867103"/>
                <a:gd name="connsiteY31" fmla="*/ 2811606 h 2972725"/>
                <a:gd name="connsiteX32" fmla="*/ 9073662 w 11867103"/>
                <a:gd name="connsiteY32" fmla="*/ 2791509 h 2972725"/>
                <a:gd name="connsiteX33" fmla="*/ 8812404 w 11867103"/>
                <a:gd name="connsiteY33" fmla="*/ 2781461 h 2972725"/>
                <a:gd name="connsiteX34" fmla="*/ 8400422 w 11867103"/>
                <a:gd name="connsiteY34" fmla="*/ 2771413 h 2972725"/>
                <a:gd name="connsiteX35" fmla="*/ 8269793 w 11867103"/>
                <a:gd name="connsiteY35" fmla="*/ 2761364 h 2972725"/>
                <a:gd name="connsiteX36" fmla="*/ 7797521 w 11867103"/>
                <a:gd name="connsiteY36" fmla="*/ 2781461 h 2972725"/>
                <a:gd name="connsiteX37" fmla="*/ 7717134 w 11867103"/>
                <a:gd name="connsiteY37" fmla="*/ 2791509 h 2972725"/>
                <a:gd name="connsiteX38" fmla="*/ 7486022 w 11867103"/>
                <a:gd name="connsiteY38" fmla="*/ 2821655 h 2972725"/>
                <a:gd name="connsiteX39" fmla="*/ 7395587 w 11867103"/>
                <a:gd name="connsiteY39" fmla="*/ 2841751 h 2972725"/>
                <a:gd name="connsiteX40" fmla="*/ 7325248 w 11867103"/>
                <a:gd name="connsiteY40" fmla="*/ 2851800 h 2972725"/>
                <a:gd name="connsiteX41" fmla="*/ 6863024 w 11867103"/>
                <a:gd name="connsiteY41" fmla="*/ 2841751 h 2972725"/>
                <a:gd name="connsiteX42" fmla="*/ 6722347 w 11867103"/>
                <a:gd name="connsiteY42" fmla="*/ 2831703 h 2972725"/>
                <a:gd name="connsiteX43" fmla="*/ 4903596 w 11867103"/>
                <a:gd name="connsiteY43" fmla="*/ 2881945 h 2972725"/>
                <a:gd name="connsiteX44" fmla="*/ 4722725 w 11867103"/>
                <a:gd name="connsiteY44" fmla="*/ 2922138 h 2972725"/>
                <a:gd name="connsiteX45" fmla="*/ 4300695 w 11867103"/>
                <a:gd name="connsiteY45" fmla="*/ 2902041 h 2972725"/>
                <a:gd name="connsiteX46" fmla="*/ 4059534 w 11867103"/>
                <a:gd name="connsiteY46" fmla="*/ 2861848 h 2972725"/>
                <a:gd name="connsiteX47" fmla="*/ 3768132 w 11867103"/>
                <a:gd name="connsiteY47" fmla="*/ 2831703 h 2972725"/>
                <a:gd name="connsiteX48" fmla="*/ 3627455 w 11867103"/>
                <a:gd name="connsiteY48" fmla="*/ 2821655 h 2972725"/>
                <a:gd name="connsiteX49" fmla="*/ 3125037 w 11867103"/>
                <a:gd name="connsiteY49" fmla="*/ 2831703 h 2972725"/>
                <a:gd name="connsiteX50" fmla="*/ 3064747 w 11867103"/>
                <a:gd name="connsiteY50" fmla="*/ 2841751 h 2972725"/>
                <a:gd name="connsiteX51" fmla="*/ 2009670 w 11867103"/>
                <a:gd name="connsiteY51" fmla="*/ 2851800 h 2972725"/>
                <a:gd name="connsiteX52" fmla="*/ 1678075 w 11867103"/>
                <a:gd name="connsiteY52" fmla="*/ 2942235 h 2972725"/>
                <a:gd name="connsiteX53" fmla="*/ 1607736 w 11867103"/>
                <a:gd name="connsiteY53" fmla="*/ 2972380 h 2972725"/>
                <a:gd name="connsiteX54" fmla="*/ 1135464 w 11867103"/>
                <a:gd name="connsiteY54" fmla="*/ 2952283 h 2972725"/>
                <a:gd name="connsiteX55" fmla="*/ 944545 w 11867103"/>
                <a:gd name="connsiteY55" fmla="*/ 2922138 h 2972725"/>
                <a:gd name="connsiteX56" fmla="*/ 723481 w 11867103"/>
                <a:gd name="connsiteY56" fmla="*/ 2881945 h 2972725"/>
                <a:gd name="connsiteX57" fmla="*/ 643095 w 11867103"/>
                <a:gd name="connsiteY57" fmla="*/ 2871896 h 2972725"/>
                <a:gd name="connsiteX58" fmla="*/ 371789 w 11867103"/>
                <a:gd name="connsiteY58" fmla="*/ 2831703 h 2972725"/>
                <a:gd name="connsiteX59" fmla="*/ 0 w 11867103"/>
                <a:gd name="connsiteY59" fmla="*/ 2821655 h 2972725"/>
                <a:gd name="connsiteX0" fmla="*/ 120580 w 11867103"/>
                <a:gd name="connsiteY0" fmla="*/ 91200 h 3005567"/>
                <a:gd name="connsiteX1" fmla="*/ 281354 w 11867103"/>
                <a:gd name="connsiteY1" fmla="*/ 81151 h 3005567"/>
                <a:gd name="connsiteX2" fmla="*/ 673240 w 11867103"/>
                <a:gd name="connsiteY2" fmla="*/ 71103 h 3005567"/>
                <a:gd name="connsiteX3" fmla="*/ 1356528 w 11867103"/>
                <a:gd name="connsiteY3" fmla="*/ 121345 h 3005567"/>
                <a:gd name="connsiteX4" fmla="*/ 1758462 w 11867103"/>
                <a:gd name="connsiteY4" fmla="*/ 81151 h 3005567"/>
                <a:gd name="connsiteX5" fmla="*/ 2140299 w 11867103"/>
                <a:gd name="connsiteY5" fmla="*/ 81151 h 3005567"/>
                <a:gd name="connsiteX6" fmla="*/ 4652387 w 11867103"/>
                <a:gd name="connsiteY6" fmla="*/ 101248 h 3005567"/>
                <a:gd name="connsiteX7" fmla="*/ 4692580 w 11867103"/>
                <a:gd name="connsiteY7" fmla="*/ 111297 h 3005567"/>
                <a:gd name="connsiteX8" fmla="*/ 6420897 w 11867103"/>
                <a:gd name="connsiteY8" fmla="*/ 131393 h 3005567"/>
                <a:gd name="connsiteX9" fmla="*/ 7184571 w 11867103"/>
                <a:gd name="connsiteY9" fmla="*/ 101248 h 3005567"/>
                <a:gd name="connsiteX10" fmla="*/ 7928150 w 11867103"/>
                <a:gd name="connsiteY10" fmla="*/ 101248 h 3005567"/>
                <a:gd name="connsiteX11" fmla="*/ 8219552 w 11867103"/>
                <a:gd name="connsiteY11" fmla="*/ 131393 h 3005567"/>
                <a:gd name="connsiteX12" fmla="*/ 9606224 w 11867103"/>
                <a:gd name="connsiteY12" fmla="*/ 131393 h 3005567"/>
                <a:gd name="connsiteX13" fmla="*/ 9947868 w 11867103"/>
                <a:gd name="connsiteY13" fmla="*/ 101248 h 3005567"/>
                <a:gd name="connsiteX14" fmla="*/ 10791930 w 11867103"/>
                <a:gd name="connsiteY14" fmla="*/ 71103 h 3005567"/>
                <a:gd name="connsiteX15" fmla="*/ 11736475 w 11867103"/>
                <a:gd name="connsiteY15" fmla="*/ 91200 h 3005567"/>
                <a:gd name="connsiteX16" fmla="*/ 11806813 w 11867103"/>
                <a:gd name="connsiteY16" fmla="*/ 804633 h 3005567"/>
                <a:gd name="connsiteX17" fmla="*/ 11816862 w 11867103"/>
                <a:gd name="connsiteY17" fmla="*/ 2372176 h 3005567"/>
                <a:gd name="connsiteX18" fmla="*/ 11826910 w 11867103"/>
                <a:gd name="connsiteY18" fmla="*/ 2442514 h 3005567"/>
                <a:gd name="connsiteX19" fmla="*/ 11836958 w 11867103"/>
                <a:gd name="connsiteY19" fmla="*/ 2472659 h 3005567"/>
                <a:gd name="connsiteX20" fmla="*/ 11857055 w 11867103"/>
                <a:gd name="connsiteY20" fmla="*/ 2603288 h 3005567"/>
                <a:gd name="connsiteX21" fmla="*/ 11867103 w 11867103"/>
                <a:gd name="connsiteY21" fmla="*/ 2643481 h 3005567"/>
                <a:gd name="connsiteX22" fmla="*/ 11857055 w 11867103"/>
                <a:gd name="connsiteY22" fmla="*/ 2874593 h 3005567"/>
                <a:gd name="connsiteX23" fmla="*/ 11836958 w 11867103"/>
                <a:gd name="connsiteY23" fmla="*/ 2904738 h 3005567"/>
                <a:gd name="connsiteX24" fmla="*/ 11033090 w 11867103"/>
                <a:gd name="connsiteY24" fmla="*/ 2894690 h 3005567"/>
                <a:gd name="connsiteX25" fmla="*/ 10621108 w 11867103"/>
                <a:gd name="connsiteY25" fmla="*/ 2884642 h 3005567"/>
                <a:gd name="connsiteX26" fmla="*/ 10128739 w 11867103"/>
                <a:gd name="connsiteY26" fmla="*/ 2894690 h 3005567"/>
                <a:gd name="connsiteX27" fmla="*/ 10048352 w 11867103"/>
                <a:gd name="connsiteY27" fmla="*/ 2904738 h 3005567"/>
                <a:gd name="connsiteX28" fmla="*/ 9555982 w 11867103"/>
                <a:gd name="connsiteY28" fmla="*/ 2894690 h 3005567"/>
                <a:gd name="connsiteX29" fmla="*/ 9445451 w 11867103"/>
                <a:gd name="connsiteY29" fmla="*/ 2884642 h 3005567"/>
                <a:gd name="connsiteX30" fmla="*/ 9415306 w 11867103"/>
                <a:gd name="connsiteY30" fmla="*/ 2864545 h 3005567"/>
                <a:gd name="connsiteX31" fmla="*/ 9204290 w 11867103"/>
                <a:gd name="connsiteY31" fmla="*/ 2844448 h 3005567"/>
                <a:gd name="connsiteX32" fmla="*/ 9073662 w 11867103"/>
                <a:gd name="connsiteY32" fmla="*/ 2824351 h 3005567"/>
                <a:gd name="connsiteX33" fmla="*/ 8812404 w 11867103"/>
                <a:gd name="connsiteY33" fmla="*/ 2814303 h 3005567"/>
                <a:gd name="connsiteX34" fmla="*/ 8400422 w 11867103"/>
                <a:gd name="connsiteY34" fmla="*/ 2804255 h 3005567"/>
                <a:gd name="connsiteX35" fmla="*/ 8269793 w 11867103"/>
                <a:gd name="connsiteY35" fmla="*/ 2794206 h 3005567"/>
                <a:gd name="connsiteX36" fmla="*/ 7797521 w 11867103"/>
                <a:gd name="connsiteY36" fmla="*/ 2814303 h 3005567"/>
                <a:gd name="connsiteX37" fmla="*/ 7717134 w 11867103"/>
                <a:gd name="connsiteY37" fmla="*/ 2824351 h 3005567"/>
                <a:gd name="connsiteX38" fmla="*/ 7486022 w 11867103"/>
                <a:gd name="connsiteY38" fmla="*/ 2854497 h 3005567"/>
                <a:gd name="connsiteX39" fmla="*/ 7395587 w 11867103"/>
                <a:gd name="connsiteY39" fmla="*/ 2874593 h 3005567"/>
                <a:gd name="connsiteX40" fmla="*/ 7325248 w 11867103"/>
                <a:gd name="connsiteY40" fmla="*/ 2884642 h 3005567"/>
                <a:gd name="connsiteX41" fmla="*/ 6863024 w 11867103"/>
                <a:gd name="connsiteY41" fmla="*/ 2874593 h 3005567"/>
                <a:gd name="connsiteX42" fmla="*/ 6722347 w 11867103"/>
                <a:gd name="connsiteY42" fmla="*/ 2864545 h 3005567"/>
                <a:gd name="connsiteX43" fmla="*/ 4903596 w 11867103"/>
                <a:gd name="connsiteY43" fmla="*/ 2914787 h 3005567"/>
                <a:gd name="connsiteX44" fmla="*/ 4722725 w 11867103"/>
                <a:gd name="connsiteY44" fmla="*/ 2954980 h 3005567"/>
                <a:gd name="connsiteX45" fmla="*/ 4300695 w 11867103"/>
                <a:gd name="connsiteY45" fmla="*/ 2934883 h 3005567"/>
                <a:gd name="connsiteX46" fmla="*/ 4059534 w 11867103"/>
                <a:gd name="connsiteY46" fmla="*/ 2894690 h 3005567"/>
                <a:gd name="connsiteX47" fmla="*/ 3768132 w 11867103"/>
                <a:gd name="connsiteY47" fmla="*/ 2864545 h 3005567"/>
                <a:gd name="connsiteX48" fmla="*/ 3627455 w 11867103"/>
                <a:gd name="connsiteY48" fmla="*/ 2854497 h 3005567"/>
                <a:gd name="connsiteX49" fmla="*/ 3125037 w 11867103"/>
                <a:gd name="connsiteY49" fmla="*/ 2864545 h 3005567"/>
                <a:gd name="connsiteX50" fmla="*/ 3064747 w 11867103"/>
                <a:gd name="connsiteY50" fmla="*/ 2874593 h 3005567"/>
                <a:gd name="connsiteX51" fmla="*/ 2009670 w 11867103"/>
                <a:gd name="connsiteY51" fmla="*/ 2884642 h 3005567"/>
                <a:gd name="connsiteX52" fmla="*/ 1678075 w 11867103"/>
                <a:gd name="connsiteY52" fmla="*/ 2975077 h 3005567"/>
                <a:gd name="connsiteX53" fmla="*/ 1607736 w 11867103"/>
                <a:gd name="connsiteY53" fmla="*/ 3005222 h 3005567"/>
                <a:gd name="connsiteX54" fmla="*/ 1135464 w 11867103"/>
                <a:gd name="connsiteY54" fmla="*/ 2985125 h 3005567"/>
                <a:gd name="connsiteX55" fmla="*/ 944545 w 11867103"/>
                <a:gd name="connsiteY55" fmla="*/ 2954980 h 3005567"/>
                <a:gd name="connsiteX56" fmla="*/ 723481 w 11867103"/>
                <a:gd name="connsiteY56" fmla="*/ 2914787 h 3005567"/>
                <a:gd name="connsiteX57" fmla="*/ 643095 w 11867103"/>
                <a:gd name="connsiteY57" fmla="*/ 2904738 h 3005567"/>
                <a:gd name="connsiteX58" fmla="*/ 371789 w 11867103"/>
                <a:gd name="connsiteY58" fmla="*/ 2864545 h 3005567"/>
                <a:gd name="connsiteX59" fmla="*/ 0 w 11867103"/>
                <a:gd name="connsiteY59" fmla="*/ 2854497 h 3005567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26910 w 11867103"/>
                <a:gd name="connsiteY18" fmla="*/ 2406925 h 2969978"/>
                <a:gd name="connsiteX19" fmla="*/ 11836958 w 11867103"/>
                <a:gd name="connsiteY19" fmla="*/ 2437070 h 2969978"/>
                <a:gd name="connsiteX20" fmla="*/ 11857055 w 11867103"/>
                <a:gd name="connsiteY20" fmla="*/ 2567699 h 2969978"/>
                <a:gd name="connsiteX21" fmla="*/ 11867103 w 11867103"/>
                <a:gd name="connsiteY21" fmla="*/ 2607892 h 2969978"/>
                <a:gd name="connsiteX22" fmla="*/ 11857055 w 11867103"/>
                <a:gd name="connsiteY22" fmla="*/ 2839004 h 2969978"/>
                <a:gd name="connsiteX23" fmla="*/ 11836958 w 11867103"/>
                <a:gd name="connsiteY23" fmla="*/ 2869149 h 2969978"/>
                <a:gd name="connsiteX24" fmla="*/ 11033090 w 11867103"/>
                <a:gd name="connsiteY24" fmla="*/ 2859101 h 2969978"/>
                <a:gd name="connsiteX25" fmla="*/ 10621108 w 11867103"/>
                <a:gd name="connsiteY25" fmla="*/ 2849053 h 2969978"/>
                <a:gd name="connsiteX26" fmla="*/ 10128739 w 11867103"/>
                <a:gd name="connsiteY26" fmla="*/ 2859101 h 2969978"/>
                <a:gd name="connsiteX27" fmla="*/ 10048352 w 11867103"/>
                <a:gd name="connsiteY27" fmla="*/ 2869149 h 2969978"/>
                <a:gd name="connsiteX28" fmla="*/ 9555982 w 11867103"/>
                <a:gd name="connsiteY28" fmla="*/ 2859101 h 2969978"/>
                <a:gd name="connsiteX29" fmla="*/ 9445451 w 11867103"/>
                <a:gd name="connsiteY29" fmla="*/ 2849053 h 2969978"/>
                <a:gd name="connsiteX30" fmla="*/ 9415306 w 11867103"/>
                <a:gd name="connsiteY30" fmla="*/ 2828956 h 2969978"/>
                <a:gd name="connsiteX31" fmla="*/ 9204290 w 11867103"/>
                <a:gd name="connsiteY31" fmla="*/ 2808859 h 2969978"/>
                <a:gd name="connsiteX32" fmla="*/ 9073662 w 11867103"/>
                <a:gd name="connsiteY32" fmla="*/ 2788762 h 2969978"/>
                <a:gd name="connsiteX33" fmla="*/ 8812404 w 11867103"/>
                <a:gd name="connsiteY33" fmla="*/ 2778714 h 2969978"/>
                <a:gd name="connsiteX34" fmla="*/ 8400422 w 11867103"/>
                <a:gd name="connsiteY34" fmla="*/ 2768666 h 2969978"/>
                <a:gd name="connsiteX35" fmla="*/ 8269793 w 11867103"/>
                <a:gd name="connsiteY35" fmla="*/ 2758617 h 2969978"/>
                <a:gd name="connsiteX36" fmla="*/ 7797521 w 11867103"/>
                <a:gd name="connsiteY36" fmla="*/ 2778714 h 2969978"/>
                <a:gd name="connsiteX37" fmla="*/ 7717134 w 11867103"/>
                <a:gd name="connsiteY37" fmla="*/ 2788762 h 2969978"/>
                <a:gd name="connsiteX38" fmla="*/ 7486022 w 11867103"/>
                <a:gd name="connsiteY38" fmla="*/ 2818908 h 2969978"/>
                <a:gd name="connsiteX39" fmla="*/ 7395587 w 11867103"/>
                <a:gd name="connsiteY39" fmla="*/ 2839004 h 2969978"/>
                <a:gd name="connsiteX40" fmla="*/ 7325248 w 11867103"/>
                <a:gd name="connsiteY40" fmla="*/ 2849053 h 2969978"/>
                <a:gd name="connsiteX41" fmla="*/ 6863024 w 11867103"/>
                <a:gd name="connsiteY41" fmla="*/ 2839004 h 2969978"/>
                <a:gd name="connsiteX42" fmla="*/ 6722347 w 11867103"/>
                <a:gd name="connsiteY42" fmla="*/ 2828956 h 2969978"/>
                <a:gd name="connsiteX43" fmla="*/ 4903596 w 11867103"/>
                <a:gd name="connsiteY43" fmla="*/ 2879198 h 2969978"/>
                <a:gd name="connsiteX44" fmla="*/ 4722725 w 11867103"/>
                <a:gd name="connsiteY44" fmla="*/ 2919391 h 2969978"/>
                <a:gd name="connsiteX45" fmla="*/ 4300695 w 11867103"/>
                <a:gd name="connsiteY45" fmla="*/ 2899294 h 2969978"/>
                <a:gd name="connsiteX46" fmla="*/ 4059534 w 11867103"/>
                <a:gd name="connsiteY46" fmla="*/ 2859101 h 2969978"/>
                <a:gd name="connsiteX47" fmla="*/ 3768132 w 11867103"/>
                <a:gd name="connsiteY47" fmla="*/ 2828956 h 2969978"/>
                <a:gd name="connsiteX48" fmla="*/ 3627455 w 11867103"/>
                <a:gd name="connsiteY48" fmla="*/ 2818908 h 2969978"/>
                <a:gd name="connsiteX49" fmla="*/ 3125037 w 11867103"/>
                <a:gd name="connsiteY49" fmla="*/ 2828956 h 2969978"/>
                <a:gd name="connsiteX50" fmla="*/ 3064747 w 11867103"/>
                <a:gd name="connsiteY50" fmla="*/ 2839004 h 2969978"/>
                <a:gd name="connsiteX51" fmla="*/ 2009670 w 11867103"/>
                <a:gd name="connsiteY51" fmla="*/ 2849053 h 2969978"/>
                <a:gd name="connsiteX52" fmla="*/ 1678075 w 11867103"/>
                <a:gd name="connsiteY52" fmla="*/ 2939488 h 2969978"/>
                <a:gd name="connsiteX53" fmla="*/ 1607736 w 11867103"/>
                <a:gd name="connsiteY53" fmla="*/ 2969633 h 2969978"/>
                <a:gd name="connsiteX54" fmla="*/ 1135464 w 11867103"/>
                <a:gd name="connsiteY54" fmla="*/ 2949536 h 2969978"/>
                <a:gd name="connsiteX55" fmla="*/ 944545 w 11867103"/>
                <a:gd name="connsiteY55" fmla="*/ 2919391 h 2969978"/>
                <a:gd name="connsiteX56" fmla="*/ 723481 w 11867103"/>
                <a:gd name="connsiteY56" fmla="*/ 2879198 h 2969978"/>
                <a:gd name="connsiteX57" fmla="*/ 643095 w 11867103"/>
                <a:gd name="connsiteY57" fmla="*/ 2869149 h 2969978"/>
                <a:gd name="connsiteX58" fmla="*/ 371789 w 11867103"/>
                <a:gd name="connsiteY58" fmla="*/ 2828956 h 2969978"/>
                <a:gd name="connsiteX59" fmla="*/ 0 w 11867103"/>
                <a:gd name="connsiteY59" fmla="*/ 2818908 h 2969978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26910 w 11867103"/>
                <a:gd name="connsiteY18" fmla="*/ 2406925 h 2969978"/>
                <a:gd name="connsiteX19" fmla="*/ 11857055 w 11867103"/>
                <a:gd name="connsiteY19" fmla="*/ 2567699 h 2969978"/>
                <a:gd name="connsiteX20" fmla="*/ 11867103 w 11867103"/>
                <a:gd name="connsiteY20" fmla="*/ 2607892 h 2969978"/>
                <a:gd name="connsiteX21" fmla="*/ 11857055 w 11867103"/>
                <a:gd name="connsiteY21" fmla="*/ 2839004 h 2969978"/>
                <a:gd name="connsiteX22" fmla="*/ 11836958 w 11867103"/>
                <a:gd name="connsiteY22" fmla="*/ 2869149 h 2969978"/>
                <a:gd name="connsiteX23" fmla="*/ 11033090 w 11867103"/>
                <a:gd name="connsiteY23" fmla="*/ 2859101 h 2969978"/>
                <a:gd name="connsiteX24" fmla="*/ 10621108 w 11867103"/>
                <a:gd name="connsiteY24" fmla="*/ 2849053 h 2969978"/>
                <a:gd name="connsiteX25" fmla="*/ 10128739 w 11867103"/>
                <a:gd name="connsiteY25" fmla="*/ 2859101 h 2969978"/>
                <a:gd name="connsiteX26" fmla="*/ 10048352 w 11867103"/>
                <a:gd name="connsiteY26" fmla="*/ 2869149 h 2969978"/>
                <a:gd name="connsiteX27" fmla="*/ 9555982 w 11867103"/>
                <a:gd name="connsiteY27" fmla="*/ 2859101 h 2969978"/>
                <a:gd name="connsiteX28" fmla="*/ 9445451 w 11867103"/>
                <a:gd name="connsiteY28" fmla="*/ 2849053 h 2969978"/>
                <a:gd name="connsiteX29" fmla="*/ 9415306 w 11867103"/>
                <a:gd name="connsiteY29" fmla="*/ 2828956 h 2969978"/>
                <a:gd name="connsiteX30" fmla="*/ 9204290 w 11867103"/>
                <a:gd name="connsiteY30" fmla="*/ 2808859 h 2969978"/>
                <a:gd name="connsiteX31" fmla="*/ 9073662 w 11867103"/>
                <a:gd name="connsiteY31" fmla="*/ 2788762 h 2969978"/>
                <a:gd name="connsiteX32" fmla="*/ 8812404 w 11867103"/>
                <a:gd name="connsiteY32" fmla="*/ 2778714 h 2969978"/>
                <a:gd name="connsiteX33" fmla="*/ 8400422 w 11867103"/>
                <a:gd name="connsiteY33" fmla="*/ 2768666 h 2969978"/>
                <a:gd name="connsiteX34" fmla="*/ 8269793 w 11867103"/>
                <a:gd name="connsiteY34" fmla="*/ 2758617 h 2969978"/>
                <a:gd name="connsiteX35" fmla="*/ 7797521 w 11867103"/>
                <a:gd name="connsiteY35" fmla="*/ 2778714 h 2969978"/>
                <a:gd name="connsiteX36" fmla="*/ 7717134 w 11867103"/>
                <a:gd name="connsiteY36" fmla="*/ 2788762 h 2969978"/>
                <a:gd name="connsiteX37" fmla="*/ 7486022 w 11867103"/>
                <a:gd name="connsiteY37" fmla="*/ 2818908 h 2969978"/>
                <a:gd name="connsiteX38" fmla="*/ 7395587 w 11867103"/>
                <a:gd name="connsiteY38" fmla="*/ 2839004 h 2969978"/>
                <a:gd name="connsiteX39" fmla="*/ 7325248 w 11867103"/>
                <a:gd name="connsiteY39" fmla="*/ 2849053 h 2969978"/>
                <a:gd name="connsiteX40" fmla="*/ 6863024 w 11867103"/>
                <a:gd name="connsiteY40" fmla="*/ 2839004 h 2969978"/>
                <a:gd name="connsiteX41" fmla="*/ 6722347 w 11867103"/>
                <a:gd name="connsiteY41" fmla="*/ 2828956 h 2969978"/>
                <a:gd name="connsiteX42" fmla="*/ 4903596 w 11867103"/>
                <a:gd name="connsiteY42" fmla="*/ 2879198 h 2969978"/>
                <a:gd name="connsiteX43" fmla="*/ 4722725 w 11867103"/>
                <a:gd name="connsiteY43" fmla="*/ 2919391 h 2969978"/>
                <a:gd name="connsiteX44" fmla="*/ 4300695 w 11867103"/>
                <a:gd name="connsiteY44" fmla="*/ 2899294 h 2969978"/>
                <a:gd name="connsiteX45" fmla="*/ 4059534 w 11867103"/>
                <a:gd name="connsiteY45" fmla="*/ 2859101 h 2969978"/>
                <a:gd name="connsiteX46" fmla="*/ 3768132 w 11867103"/>
                <a:gd name="connsiteY46" fmla="*/ 2828956 h 2969978"/>
                <a:gd name="connsiteX47" fmla="*/ 3627455 w 11867103"/>
                <a:gd name="connsiteY47" fmla="*/ 2818908 h 2969978"/>
                <a:gd name="connsiteX48" fmla="*/ 3125037 w 11867103"/>
                <a:gd name="connsiteY48" fmla="*/ 2828956 h 2969978"/>
                <a:gd name="connsiteX49" fmla="*/ 3064747 w 11867103"/>
                <a:gd name="connsiteY49" fmla="*/ 2839004 h 2969978"/>
                <a:gd name="connsiteX50" fmla="*/ 2009670 w 11867103"/>
                <a:gd name="connsiteY50" fmla="*/ 2849053 h 2969978"/>
                <a:gd name="connsiteX51" fmla="*/ 1678075 w 11867103"/>
                <a:gd name="connsiteY51" fmla="*/ 2939488 h 2969978"/>
                <a:gd name="connsiteX52" fmla="*/ 1607736 w 11867103"/>
                <a:gd name="connsiteY52" fmla="*/ 2969633 h 2969978"/>
                <a:gd name="connsiteX53" fmla="*/ 1135464 w 11867103"/>
                <a:gd name="connsiteY53" fmla="*/ 2949536 h 2969978"/>
                <a:gd name="connsiteX54" fmla="*/ 944545 w 11867103"/>
                <a:gd name="connsiteY54" fmla="*/ 2919391 h 2969978"/>
                <a:gd name="connsiteX55" fmla="*/ 723481 w 11867103"/>
                <a:gd name="connsiteY55" fmla="*/ 2879198 h 2969978"/>
                <a:gd name="connsiteX56" fmla="*/ 643095 w 11867103"/>
                <a:gd name="connsiteY56" fmla="*/ 2869149 h 2969978"/>
                <a:gd name="connsiteX57" fmla="*/ 371789 w 11867103"/>
                <a:gd name="connsiteY57" fmla="*/ 2828956 h 2969978"/>
                <a:gd name="connsiteX58" fmla="*/ 0 w 11867103"/>
                <a:gd name="connsiteY58" fmla="*/ 2818908 h 2969978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57055 w 11867103"/>
                <a:gd name="connsiteY18" fmla="*/ 2567699 h 2969978"/>
                <a:gd name="connsiteX19" fmla="*/ 11867103 w 11867103"/>
                <a:gd name="connsiteY19" fmla="*/ 2607892 h 2969978"/>
                <a:gd name="connsiteX20" fmla="*/ 11857055 w 11867103"/>
                <a:gd name="connsiteY20" fmla="*/ 2839004 h 2969978"/>
                <a:gd name="connsiteX21" fmla="*/ 11836958 w 11867103"/>
                <a:gd name="connsiteY21" fmla="*/ 2869149 h 2969978"/>
                <a:gd name="connsiteX22" fmla="*/ 11033090 w 11867103"/>
                <a:gd name="connsiteY22" fmla="*/ 2859101 h 2969978"/>
                <a:gd name="connsiteX23" fmla="*/ 10621108 w 11867103"/>
                <a:gd name="connsiteY23" fmla="*/ 2849053 h 2969978"/>
                <a:gd name="connsiteX24" fmla="*/ 10128739 w 11867103"/>
                <a:gd name="connsiteY24" fmla="*/ 2859101 h 2969978"/>
                <a:gd name="connsiteX25" fmla="*/ 10048352 w 11867103"/>
                <a:gd name="connsiteY25" fmla="*/ 2869149 h 2969978"/>
                <a:gd name="connsiteX26" fmla="*/ 9555982 w 11867103"/>
                <a:gd name="connsiteY26" fmla="*/ 2859101 h 2969978"/>
                <a:gd name="connsiteX27" fmla="*/ 9445451 w 11867103"/>
                <a:gd name="connsiteY27" fmla="*/ 2849053 h 2969978"/>
                <a:gd name="connsiteX28" fmla="*/ 9415306 w 11867103"/>
                <a:gd name="connsiteY28" fmla="*/ 2828956 h 2969978"/>
                <a:gd name="connsiteX29" fmla="*/ 9204290 w 11867103"/>
                <a:gd name="connsiteY29" fmla="*/ 2808859 h 2969978"/>
                <a:gd name="connsiteX30" fmla="*/ 9073662 w 11867103"/>
                <a:gd name="connsiteY30" fmla="*/ 2788762 h 2969978"/>
                <a:gd name="connsiteX31" fmla="*/ 8812404 w 11867103"/>
                <a:gd name="connsiteY31" fmla="*/ 2778714 h 2969978"/>
                <a:gd name="connsiteX32" fmla="*/ 8400422 w 11867103"/>
                <a:gd name="connsiteY32" fmla="*/ 2768666 h 2969978"/>
                <a:gd name="connsiteX33" fmla="*/ 8269793 w 11867103"/>
                <a:gd name="connsiteY33" fmla="*/ 2758617 h 2969978"/>
                <a:gd name="connsiteX34" fmla="*/ 7797521 w 11867103"/>
                <a:gd name="connsiteY34" fmla="*/ 2778714 h 2969978"/>
                <a:gd name="connsiteX35" fmla="*/ 7717134 w 11867103"/>
                <a:gd name="connsiteY35" fmla="*/ 2788762 h 2969978"/>
                <a:gd name="connsiteX36" fmla="*/ 7486022 w 11867103"/>
                <a:gd name="connsiteY36" fmla="*/ 2818908 h 2969978"/>
                <a:gd name="connsiteX37" fmla="*/ 7395587 w 11867103"/>
                <a:gd name="connsiteY37" fmla="*/ 2839004 h 2969978"/>
                <a:gd name="connsiteX38" fmla="*/ 7325248 w 11867103"/>
                <a:gd name="connsiteY38" fmla="*/ 2849053 h 2969978"/>
                <a:gd name="connsiteX39" fmla="*/ 6863024 w 11867103"/>
                <a:gd name="connsiteY39" fmla="*/ 2839004 h 2969978"/>
                <a:gd name="connsiteX40" fmla="*/ 6722347 w 11867103"/>
                <a:gd name="connsiteY40" fmla="*/ 2828956 h 2969978"/>
                <a:gd name="connsiteX41" fmla="*/ 4903596 w 11867103"/>
                <a:gd name="connsiteY41" fmla="*/ 2879198 h 2969978"/>
                <a:gd name="connsiteX42" fmla="*/ 4722725 w 11867103"/>
                <a:gd name="connsiteY42" fmla="*/ 2919391 h 2969978"/>
                <a:gd name="connsiteX43" fmla="*/ 4300695 w 11867103"/>
                <a:gd name="connsiteY43" fmla="*/ 2899294 h 2969978"/>
                <a:gd name="connsiteX44" fmla="*/ 4059534 w 11867103"/>
                <a:gd name="connsiteY44" fmla="*/ 2859101 h 2969978"/>
                <a:gd name="connsiteX45" fmla="*/ 3768132 w 11867103"/>
                <a:gd name="connsiteY45" fmla="*/ 2828956 h 2969978"/>
                <a:gd name="connsiteX46" fmla="*/ 3627455 w 11867103"/>
                <a:gd name="connsiteY46" fmla="*/ 2818908 h 2969978"/>
                <a:gd name="connsiteX47" fmla="*/ 3125037 w 11867103"/>
                <a:gd name="connsiteY47" fmla="*/ 2828956 h 2969978"/>
                <a:gd name="connsiteX48" fmla="*/ 3064747 w 11867103"/>
                <a:gd name="connsiteY48" fmla="*/ 2839004 h 2969978"/>
                <a:gd name="connsiteX49" fmla="*/ 2009670 w 11867103"/>
                <a:gd name="connsiteY49" fmla="*/ 2849053 h 2969978"/>
                <a:gd name="connsiteX50" fmla="*/ 1678075 w 11867103"/>
                <a:gd name="connsiteY50" fmla="*/ 2939488 h 2969978"/>
                <a:gd name="connsiteX51" fmla="*/ 1607736 w 11867103"/>
                <a:gd name="connsiteY51" fmla="*/ 2969633 h 2969978"/>
                <a:gd name="connsiteX52" fmla="*/ 1135464 w 11867103"/>
                <a:gd name="connsiteY52" fmla="*/ 2949536 h 2969978"/>
                <a:gd name="connsiteX53" fmla="*/ 944545 w 11867103"/>
                <a:gd name="connsiteY53" fmla="*/ 2919391 h 2969978"/>
                <a:gd name="connsiteX54" fmla="*/ 723481 w 11867103"/>
                <a:gd name="connsiteY54" fmla="*/ 2879198 h 2969978"/>
                <a:gd name="connsiteX55" fmla="*/ 643095 w 11867103"/>
                <a:gd name="connsiteY55" fmla="*/ 2869149 h 2969978"/>
                <a:gd name="connsiteX56" fmla="*/ 371789 w 11867103"/>
                <a:gd name="connsiteY56" fmla="*/ 2828956 h 2969978"/>
                <a:gd name="connsiteX57" fmla="*/ 0 w 11867103"/>
                <a:gd name="connsiteY57" fmla="*/ 2818908 h 2969978"/>
                <a:gd name="connsiteX0" fmla="*/ 120580 w 11860922"/>
                <a:gd name="connsiteY0" fmla="*/ 55611 h 2969978"/>
                <a:gd name="connsiteX1" fmla="*/ 281354 w 11860922"/>
                <a:gd name="connsiteY1" fmla="*/ 45562 h 2969978"/>
                <a:gd name="connsiteX2" fmla="*/ 673240 w 11860922"/>
                <a:gd name="connsiteY2" fmla="*/ 35514 h 2969978"/>
                <a:gd name="connsiteX3" fmla="*/ 1356528 w 11860922"/>
                <a:gd name="connsiteY3" fmla="*/ 85756 h 2969978"/>
                <a:gd name="connsiteX4" fmla="*/ 1758462 w 11860922"/>
                <a:gd name="connsiteY4" fmla="*/ 45562 h 2969978"/>
                <a:gd name="connsiteX5" fmla="*/ 2140299 w 11860922"/>
                <a:gd name="connsiteY5" fmla="*/ 45562 h 2969978"/>
                <a:gd name="connsiteX6" fmla="*/ 4652387 w 11860922"/>
                <a:gd name="connsiteY6" fmla="*/ 65659 h 2969978"/>
                <a:gd name="connsiteX7" fmla="*/ 4692580 w 11860922"/>
                <a:gd name="connsiteY7" fmla="*/ 75708 h 2969978"/>
                <a:gd name="connsiteX8" fmla="*/ 6420897 w 11860922"/>
                <a:gd name="connsiteY8" fmla="*/ 95804 h 2969978"/>
                <a:gd name="connsiteX9" fmla="*/ 7184571 w 11860922"/>
                <a:gd name="connsiteY9" fmla="*/ 65659 h 2969978"/>
                <a:gd name="connsiteX10" fmla="*/ 7928150 w 11860922"/>
                <a:gd name="connsiteY10" fmla="*/ 65659 h 2969978"/>
                <a:gd name="connsiteX11" fmla="*/ 8219552 w 11860922"/>
                <a:gd name="connsiteY11" fmla="*/ 95804 h 2969978"/>
                <a:gd name="connsiteX12" fmla="*/ 9606224 w 11860922"/>
                <a:gd name="connsiteY12" fmla="*/ 95804 h 2969978"/>
                <a:gd name="connsiteX13" fmla="*/ 9947868 w 11860922"/>
                <a:gd name="connsiteY13" fmla="*/ 65659 h 2969978"/>
                <a:gd name="connsiteX14" fmla="*/ 10791930 w 11860922"/>
                <a:gd name="connsiteY14" fmla="*/ 35514 h 2969978"/>
                <a:gd name="connsiteX15" fmla="*/ 11736475 w 11860922"/>
                <a:gd name="connsiteY15" fmla="*/ 55611 h 2969978"/>
                <a:gd name="connsiteX16" fmla="*/ 11806813 w 11860922"/>
                <a:gd name="connsiteY16" fmla="*/ 769044 h 2969978"/>
                <a:gd name="connsiteX17" fmla="*/ 11816862 w 11860922"/>
                <a:gd name="connsiteY17" fmla="*/ 2336587 h 2969978"/>
                <a:gd name="connsiteX18" fmla="*/ 11857055 w 11860922"/>
                <a:gd name="connsiteY18" fmla="*/ 2567699 h 2969978"/>
                <a:gd name="connsiteX19" fmla="*/ 11857055 w 11860922"/>
                <a:gd name="connsiteY19" fmla="*/ 2839004 h 2969978"/>
                <a:gd name="connsiteX20" fmla="*/ 11836958 w 11860922"/>
                <a:gd name="connsiteY20" fmla="*/ 2869149 h 2969978"/>
                <a:gd name="connsiteX21" fmla="*/ 11033090 w 11860922"/>
                <a:gd name="connsiteY21" fmla="*/ 2859101 h 2969978"/>
                <a:gd name="connsiteX22" fmla="*/ 10621108 w 11860922"/>
                <a:gd name="connsiteY22" fmla="*/ 2849053 h 2969978"/>
                <a:gd name="connsiteX23" fmla="*/ 10128739 w 11860922"/>
                <a:gd name="connsiteY23" fmla="*/ 2859101 h 2969978"/>
                <a:gd name="connsiteX24" fmla="*/ 10048352 w 11860922"/>
                <a:gd name="connsiteY24" fmla="*/ 2869149 h 2969978"/>
                <a:gd name="connsiteX25" fmla="*/ 9555982 w 11860922"/>
                <a:gd name="connsiteY25" fmla="*/ 2859101 h 2969978"/>
                <a:gd name="connsiteX26" fmla="*/ 9445451 w 11860922"/>
                <a:gd name="connsiteY26" fmla="*/ 2849053 h 2969978"/>
                <a:gd name="connsiteX27" fmla="*/ 9415306 w 11860922"/>
                <a:gd name="connsiteY27" fmla="*/ 2828956 h 2969978"/>
                <a:gd name="connsiteX28" fmla="*/ 9204290 w 11860922"/>
                <a:gd name="connsiteY28" fmla="*/ 2808859 h 2969978"/>
                <a:gd name="connsiteX29" fmla="*/ 9073662 w 11860922"/>
                <a:gd name="connsiteY29" fmla="*/ 2788762 h 2969978"/>
                <a:gd name="connsiteX30" fmla="*/ 8812404 w 11860922"/>
                <a:gd name="connsiteY30" fmla="*/ 2778714 h 2969978"/>
                <a:gd name="connsiteX31" fmla="*/ 8400422 w 11860922"/>
                <a:gd name="connsiteY31" fmla="*/ 2768666 h 2969978"/>
                <a:gd name="connsiteX32" fmla="*/ 8269793 w 11860922"/>
                <a:gd name="connsiteY32" fmla="*/ 2758617 h 2969978"/>
                <a:gd name="connsiteX33" fmla="*/ 7797521 w 11860922"/>
                <a:gd name="connsiteY33" fmla="*/ 2778714 h 2969978"/>
                <a:gd name="connsiteX34" fmla="*/ 7717134 w 11860922"/>
                <a:gd name="connsiteY34" fmla="*/ 2788762 h 2969978"/>
                <a:gd name="connsiteX35" fmla="*/ 7486022 w 11860922"/>
                <a:gd name="connsiteY35" fmla="*/ 2818908 h 2969978"/>
                <a:gd name="connsiteX36" fmla="*/ 7395587 w 11860922"/>
                <a:gd name="connsiteY36" fmla="*/ 2839004 h 2969978"/>
                <a:gd name="connsiteX37" fmla="*/ 7325248 w 11860922"/>
                <a:gd name="connsiteY37" fmla="*/ 2849053 h 2969978"/>
                <a:gd name="connsiteX38" fmla="*/ 6863024 w 11860922"/>
                <a:gd name="connsiteY38" fmla="*/ 2839004 h 2969978"/>
                <a:gd name="connsiteX39" fmla="*/ 6722347 w 11860922"/>
                <a:gd name="connsiteY39" fmla="*/ 2828956 h 2969978"/>
                <a:gd name="connsiteX40" fmla="*/ 4903596 w 11860922"/>
                <a:gd name="connsiteY40" fmla="*/ 2879198 h 2969978"/>
                <a:gd name="connsiteX41" fmla="*/ 4722725 w 11860922"/>
                <a:gd name="connsiteY41" fmla="*/ 2919391 h 2969978"/>
                <a:gd name="connsiteX42" fmla="*/ 4300695 w 11860922"/>
                <a:gd name="connsiteY42" fmla="*/ 2899294 h 2969978"/>
                <a:gd name="connsiteX43" fmla="*/ 4059534 w 11860922"/>
                <a:gd name="connsiteY43" fmla="*/ 2859101 h 2969978"/>
                <a:gd name="connsiteX44" fmla="*/ 3768132 w 11860922"/>
                <a:gd name="connsiteY44" fmla="*/ 2828956 h 2969978"/>
                <a:gd name="connsiteX45" fmla="*/ 3627455 w 11860922"/>
                <a:gd name="connsiteY45" fmla="*/ 2818908 h 2969978"/>
                <a:gd name="connsiteX46" fmla="*/ 3125037 w 11860922"/>
                <a:gd name="connsiteY46" fmla="*/ 2828956 h 2969978"/>
                <a:gd name="connsiteX47" fmla="*/ 3064747 w 11860922"/>
                <a:gd name="connsiteY47" fmla="*/ 2839004 h 2969978"/>
                <a:gd name="connsiteX48" fmla="*/ 2009670 w 11860922"/>
                <a:gd name="connsiteY48" fmla="*/ 2849053 h 2969978"/>
                <a:gd name="connsiteX49" fmla="*/ 1678075 w 11860922"/>
                <a:gd name="connsiteY49" fmla="*/ 2939488 h 2969978"/>
                <a:gd name="connsiteX50" fmla="*/ 1607736 w 11860922"/>
                <a:gd name="connsiteY50" fmla="*/ 2969633 h 2969978"/>
                <a:gd name="connsiteX51" fmla="*/ 1135464 w 11860922"/>
                <a:gd name="connsiteY51" fmla="*/ 2949536 h 2969978"/>
                <a:gd name="connsiteX52" fmla="*/ 944545 w 11860922"/>
                <a:gd name="connsiteY52" fmla="*/ 2919391 h 2969978"/>
                <a:gd name="connsiteX53" fmla="*/ 723481 w 11860922"/>
                <a:gd name="connsiteY53" fmla="*/ 2879198 h 2969978"/>
                <a:gd name="connsiteX54" fmla="*/ 643095 w 11860922"/>
                <a:gd name="connsiteY54" fmla="*/ 2869149 h 2969978"/>
                <a:gd name="connsiteX55" fmla="*/ 371789 w 11860922"/>
                <a:gd name="connsiteY55" fmla="*/ 2828956 h 2969978"/>
                <a:gd name="connsiteX56" fmla="*/ 0 w 11860922"/>
                <a:gd name="connsiteY56" fmla="*/ 2818908 h 2969978"/>
                <a:gd name="connsiteX0" fmla="*/ 120580 w 11857648"/>
                <a:gd name="connsiteY0" fmla="*/ 55611 h 2969978"/>
                <a:gd name="connsiteX1" fmla="*/ 281354 w 11857648"/>
                <a:gd name="connsiteY1" fmla="*/ 45562 h 2969978"/>
                <a:gd name="connsiteX2" fmla="*/ 673240 w 11857648"/>
                <a:gd name="connsiteY2" fmla="*/ 35514 h 2969978"/>
                <a:gd name="connsiteX3" fmla="*/ 1356528 w 11857648"/>
                <a:gd name="connsiteY3" fmla="*/ 85756 h 2969978"/>
                <a:gd name="connsiteX4" fmla="*/ 1758462 w 11857648"/>
                <a:gd name="connsiteY4" fmla="*/ 45562 h 2969978"/>
                <a:gd name="connsiteX5" fmla="*/ 2140299 w 11857648"/>
                <a:gd name="connsiteY5" fmla="*/ 45562 h 2969978"/>
                <a:gd name="connsiteX6" fmla="*/ 4652387 w 11857648"/>
                <a:gd name="connsiteY6" fmla="*/ 65659 h 2969978"/>
                <a:gd name="connsiteX7" fmla="*/ 4692580 w 11857648"/>
                <a:gd name="connsiteY7" fmla="*/ 75708 h 2969978"/>
                <a:gd name="connsiteX8" fmla="*/ 6420897 w 11857648"/>
                <a:gd name="connsiteY8" fmla="*/ 95804 h 2969978"/>
                <a:gd name="connsiteX9" fmla="*/ 7184571 w 11857648"/>
                <a:gd name="connsiteY9" fmla="*/ 65659 h 2969978"/>
                <a:gd name="connsiteX10" fmla="*/ 7928150 w 11857648"/>
                <a:gd name="connsiteY10" fmla="*/ 65659 h 2969978"/>
                <a:gd name="connsiteX11" fmla="*/ 8219552 w 11857648"/>
                <a:gd name="connsiteY11" fmla="*/ 95804 h 2969978"/>
                <a:gd name="connsiteX12" fmla="*/ 9606224 w 11857648"/>
                <a:gd name="connsiteY12" fmla="*/ 95804 h 2969978"/>
                <a:gd name="connsiteX13" fmla="*/ 9947868 w 11857648"/>
                <a:gd name="connsiteY13" fmla="*/ 65659 h 2969978"/>
                <a:gd name="connsiteX14" fmla="*/ 10791930 w 11857648"/>
                <a:gd name="connsiteY14" fmla="*/ 35514 h 2969978"/>
                <a:gd name="connsiteX15" fmla="*/ 11736475 w 11857648"/>
                <a:gd name="connsiteY15" fmla="*/ 55611 h 2969978"/>
                <a:gd name="connsiteX16" fmla="*/ 11806813 w 11857648"/>
                <a:gd name="connsiteY16" fmla="*/ 769044 h 2969978"/>
                <a:gd name="connsiteX17" fmla="*/ 11816862 w 11857648"/>
                <a:gd name="connsiteY17" fmla="*/ 2336587 h 2969978"/>
                <a:gd name="connsiteX18" fmla="*/ 11857055 w 11857648"/>
                <a:gd name="connsiteY18" fmla="*/ 2839004 h 2969978"/>
                <a:gd name="connsiteX19" fmla="*/ 11836958 w 11857648"/>
                <a:gd name="connsiteY19" fmla="*/ 2869149 h 2969978"/>
                <a:gd name="connsiteX20" fmla="*/ 11033090 w 11857648"/>
                <a:gd name="connsiteY20" fmla="*/ 2859101 h 2969978"/>
                <a:gd name="connsiteX21" fmla="*/ 10621108 w 11857648"/>
                <a:gd name="connsiteY21" fmla="*/ 2849053 h 2969978"/>
                <a:gd name="connsiteX22" fmla="*/ 10128739 w 11857648"/>
                <a:gd name="connsiteY22" fmla="*/ 2859101 h 2969978"/>
                <a:gd name="connsiteX23" fmla="*/ 10048352 w 11857648"/>
                <a:gd name="connsiteY23" fmla="*/ 2869149 h 2969978"/>
                <a:gd name="connsiteX24" fmla="*/ 9555982 w 11857648"/>
                <a:gd name="connsiteY24" fmla="*/ 2859101 h 2969978"/>
                <a:gd name="connsiteX25" fmla="*/ 9445451 w 11857648"/>
                <a:gd name="connsiteY25" fmla="*/ 2849053 h 2969978"/>
                <a:gd name="connsiteX26" fmla="*/ 9415306 w 11857648"/>
                <a:gd name="connsiteY26" fmla="*/ 2828956 h 2969978"/>
                <a:gd name="connsiteX27" fmla="*/ 9204290 w 11857648"/>
                <a:gd name="connsiteY27" fmla="*/ 2808859 h 2969978"/>
                <a:gd name="connsiteX28" fmla="*/ 9073662 w 11857648"/>
                <a:gd name="connsiteY28" fmla="*/ 2788762 h 2969978"/>
                <a:gd name="connsiteX29" fmla="*/ 8812404 w 11857648"/>
                <a:gd name="connsiteY29" fmla="*/ 2778714 h 2969978"/>
                <a:gd name="connsiteX30" fmla="*/ 8400422 w 11857648"/>
                <a:gd name="connsiteY30" fmla="*/ 2768666 h 2969978"/>
                <a:gd name="connsiteX31" fmla="*/ 8269793 w 11857648"/>
                <a:gd name="connsiteY31" fmla="*/ 2758617 h 2969978"/>
                <a:gd name="connsiteX32" fmla="*/ 7797521 w 11857648"/>
                <a:gd name="connsiteY32" fmla="*/ 2778714 h 2969978"/>
                <a:gd name="connsiteX33" fmla="*/ 7717134 w 11857648"/>
                <a:gd name="connsiteY33" fmla="*/ 2788762 h 2969978"/>
                <a:gd name="connsiteX34" fmla="*/ 7486022 w 11857648"/>
                <a:gd name="connsiteY34" fmla="*/ 2818908 h 2969978"/>
                <a:gd name="connsiteX35" fmla="*/ 7395587 w 11857648"/>
                <a:gd name="connsiteY35" fmla="*/ 2839004 h 2969978"/>
                <a:gd name="connsiteX36" fmla="*/ 7325248 w 11857648"/>
                <a:gd name="connsiteY36" fmla="*/ 2849053 h 2969978"/>
                <a:gd name="connsiteX37" fmla="*/ 6863024 w 11857648"/>
                <a:gd name="connsiteY37" fmla="*/ 2839004 h 2969978"/>
                <a:gd name="connsiteX38" fmla="*/ 6722347 w 11857648"/>
                <a:gd name="connsiteY38" fmla="*/ 2828956 h 2969978"/>
                <a:gd name="connsiteX39" fmla="*/ 4903596 w 11857648"/>
                <a:gd name="connsiteY39" fmla="*/ 2879198 h 2969978"/>
                <a:gd name="connsiteX40" fmla="*/ 4722725 w 11857648"/>
                <a:gd name="connsiteY40" fmla="*/ 2919391 h 2969978"/>
                <a:gd name="connsiteX41" fmla="*/ 4300695 w 11857648"/>
                <a:gd name="connsiteY41" fmla="*/ 2899294 h 2969978"/>
                <a:gd name="connsiteX42" fmla="*/ 4059534 w 11857648"/>
                <a:gd name="connsiteY42" fmla="*/ 2859101 h 2969978"/>
                <a:gd name="connsiteX43" fmla="*/ 3768132 w 11857648"/>
                <a:gd name="connsiteY43" fmla="*/ 2828956 h 2969978"/>
                <a:gd name="connsiteX44" fmla="*/ 3627455 w 11857648"/>
                <a:gd name="connsiteY44" fmla="*/ 2818908 h 2969978"/>
                <a:gd name="connsiteX45" fmla="*/ 3125037 w 11857648"/>
                <a:gd name="connsiteY45" fmla="*/ 2828956 h 2969978"/>
                <a:gd name="connsiteX46" fmla="*/ 3064747 w 11857648"/>
                <a:gd name="connsiteY46" fmla="*/ 2839004 h 2969978"/>
                <a:gd name="connsiteX47" fmla="*/ 2009670 w 11857648"/>
                <a:gd name="connsiteY47" fmla="*/ 2849053 h 2969978"/>
                <a:gd name="connsiteX48" fmla="*/ 1678075 w 11857648"/>
                <a:gd name="connsiteY48" fmla="*/ 2939488 h 2969978"/>
                <a:gd name="connsiteX49" fmla="*/ 1607736 w 11857648"/>
                <a:gd name="connsiteY49" fmla="*/ 2969633 h 2969978"/>
                <a:gd name="connsiteX50" fmla="*/ 1135464 w 11857648"/>
                <a:gd name="connsiteY50" fmla="*/ 2949536 h 2969978"/>
                <a:gd name="connsiteX51" fmla="*/ 944545 w 11857648"/>
                <a:gd name="connsiteY51" fmla="*/ 2919391 h 2969978"/>
                <a:gd name="connsiteX52" fmla="*/ 723481 w 11857648"/>
                <a:gd name="connsiteY52" fmla="*/ 2879198 h 2969978"/>
                <a:gd name="connsiteX53" fmla="*/ 643095 w 11857648"/>
                <a:gd name="connsiteY53" fmla="*/ 2869149 h 2969978"/>
                <a:gd name="connsiteX54" fmla="*/ 371789 w 11857648"/>
                <a:gd name="connsiteY54" fmla="*/ 2828956 h 2969978"/>
                <a:gd name="connsiteX55" fmla="*/ 0 w 11857648"/>
                <a:gd name="connsiteY55" fmla="*/ 2818908 h 2969978"/>
                <a:gd name="connsiteX0" fmla="*/ 120580 w 11907678"/>
                <a:gd name="connsiteY0" fmla="*/ 55611 h 2969978"/>
                <a:gd name="connsiteX1" fmla="*/ 281354 w 11907678"/>
                <a:gd name="connsiteY1" fmla="*/ 45562 h 2969978"/>
                <a:gd name="connsiteX2" fmla="*/ 673240 w 11907678"/>
                <a:gd name="connsiteY2" fmla="*/ 35514 h 2969978"/>
                <a:gd name="connsiteX3" fmla="*/ 1356528 w 11907678"/>
                <a:gd name="connsiteY3" fmla="*/ 85756 h 2969978"/>
                <a:gd name="connsiteX4" fmla="*/ 1758462 w 11907678"/>
                <a:gd name="connsiteY4" fmla="*/ 45562 h 2969978"/>
                <a:gd name="connsiteX5" fmla="*/ 2140299 w 11907678"/>
                <a:gd name="connsiteY5" fmla="*/ 45562 h 2969978"/>
                <a:gd name="connsiteX6" fmla="*/ 4652387 w 11907678"/>
                <a:gd name="connsiteY6" fmla="*/ 65659 h 2969978"/>
                <a:gd name="connsiteX7" fmla="*/ 4692580 w 11907678"/>
                <a:gd name="connsiteY7" fmla="*/ 75708 h 2969978"/>
                <a:gd name="connsiteX8" fmla="*/ 6420897 w 11907678"/>
                <a:gd name="connsiteY8" fmla="*/ 95804 h 2969978"/>
                <a:gd name="connsiteX9" fmla="*/ 7184571 w 11907678"/>
                <a:gd name="connsiteY9" fmla="*/ 65659 h 2969978"/>
                <a:gd name="connsiteX10" fmla="*/ 7928150 w 11907678"/>
                <a:gd name="connsiteY10" fmla="*/ 65659 h 2969978"/>
                <a:gd name="connsiteX11" fmla="*/ 8219552 w 11907678"/>
                <a:gd name="connsiteY11" fmla="*/ 95804 h 2969978"/>
                <a:gd name="connsiteX12" fmla="*/ 9606224 w 11907678"/>
                <a:gd name="connsiteY12" fmla="*/ 95804 h 2969978"/>
                <a:gd name="connsiteX13" fmla="*/ 9947868 w 11907678"/>
                <a:gd name="connsiteY13" fmla="*/ 65659 h 2969978"/>
                <a:gd name="connsiteX14" fmla="*/ 10791930 w 11907678"/>
                <a:gd name="connsiteY14" fmla="*/ 35514 h 2969978"/>
                <a:gd name="connsiteX15" fmla="*/ 11736475 w 11907678"/>
                <a:gd name="connsiteY15" fmla="*/ 55611 h 2969978"/>
                <a:gd name="connsiteX16" fmla="*/ 11806813 w 11907678"/>
                <a:gd name="connsiteY16" fmla="*/ 769044 h 2969978"/>
                <a:gd name="connsiteX17" fmla="*/ 11816862 w 11907678"/>
                <a:gd name="connsiteY17" fmla="*/ 2336587 h 2969978"/>
                <a:gd name="connsiteX18" fmla="*/ 11857055 w 11907678"/>
                <a:gd name="connsiteY18" fmla="*/ 2839004 h 2969978"/>
                <a:gd name="connsiteX19" fmla="*/ 11033090 w 11907678"/>
                <a:gd name="connsiteY19" fmla="*/ 2859101 h 2969978"/>
                <a:gd name="connsiteX20" fmla="*/ 10621108 w 11907678"/>
                <a:gd name="connsiteY20" fmla="*/ 2849053 h 2969978"/>
                <a:gd name="connsiteX21" fmla="*/ 10128739 w 11907678"/>
                <a:gd name="connsiteY21" fmla="*/ 2859101 h 2969978"/>
                <a:gd name="connsiteX22" fmla="*/ 10048352 w 11907678"/>
                <a:gd name="connsiteY22" fmla="*/ 2869149 h 2969978"/>
                <a:gd name="connsiteX23" fmla="*/ 9555982 w 11907678"/>
                <a:gd name="connsiteY23" fmla="*/ 2859101 h 2969978"/>
                <a:gd name="connsiteX24" fmla="*/ 9445451 w 11907678"/>
                <a:gd name="connsiteY24" fmla="*/ 2849053 h 2969978"/>
                <a:gd name="connsiteX25" fmla="*/ 9415306 w 11907678"/>
                <a:gd name="connsiteY25" fmla="*/ 2828956 h 2969978"/>
                <a:gd name="connsiteX26" fmla="*/ 9204290 w 11907678"/>
                <a:gd name="connsiteY26" fmla="*/ 2808859 h 2969978"/>
                <a:gd name="connsiteX27" fmla="*/ 9073662 w 11907678"/>
                <a:gd name="connsiteY27" fmla="*/ 2788762 h 2969978"/>
                <a:gd name="connsiteX28" fmla="*/ 8812404 w 11907678"/>
                <a:gd name="connsiteY28" fmla="*/ 2778714 h 2969978"/>
                <a:gd name="connsiteX29" fmla="*/ 8400422 w 11907678"/>
                <a:gd name="connsiteY29" fmla="*/ 2768666 h 2969978"/>
                <a:gd name="connsiteX30" fmla="*/ 8269793 w 11907678"/>
                <a:gd name="connsiteY30" fmla="*/ 2758617 h 2969978"/>
                <a:gd name="connsiteX31" fmla="*/ 7797521 w 11907678"/>
                <a:gd name="connsiteY31" fmla="*/ 2778714 h 2969978"/>
                <a:gd name="connsiteX32" fmla="*/ 7717134 w 11907678"/>
                <a:gd name="connsiteY32" fmla="*/ 2788762 h 2969978"/>
                <a:gd name="connsiteX33" fmla="*/ 7486022 w 11907678"/>
                <a:gd name="connsiteY33" fmla="*/ 2818908 h 2969978"/>
                <a:gd name="connsiteX34" fmla="*/ 7395587 w 11907678"/>
                <a:gd name="connsiteY34" fmla="*/ 2839004 h 2969978"/>
                <a:gd name="connsiteX35" fmla="*/ 7325248 w 11907678"/>
                <a:gd name="connsiteY35" fmla="*/ 2849053 h 2969978"/>
                <a:gd name="connsiteX36" fmla="*/ 6863024 w 11907678"/>
                <a:gd name="connsiteY36" fmla="*/ 2839004 h 2969978"/>
                <a:gd name="connsiteX37" fmla="*/ 6722347 w 11907678"/>
                <a:gd name="connsiteY37" fmla="*/ 2828956 h 2969978"/>
                <a:gd name="connsiteX38" fmla="*/ 4903596 w 11907678"/>
                <a:gd name="connsiteY38" fmla="*/ 2879198 h 2969978"/>
                <a:gd name="connsiteX39" fmla="*/ 4722725 w 11907678"/>
                <a:gd name="connsiteY39" fmla="*/ 2919391 h 2969978"/>
                <a:gd name="connsiteX40" fmla="*/ 4300695 w 11907678"/>
                <a:gd name="connsiteY40" fmla="*/ 2899294 h 2969978"/>
                <a:gd name="connsiteX41" fmla="*/ 4059534 w 11907678"/>
                <a:gd name="connsiteY41" fmla="*/ 2859101 h 2969978"/>
                <a:gd name="connsiteX42" fmla="*/ 3768132 w 11907678"/>
                <a:gd name="connsiteY42" fmla="*/ 2828956 h 2969978"/>
                <a:gd name="connsiteX43" fmla="*/ 3627455 w 11907678"/>
                <a:gd name="connsiteY43" fmla="*/ 2818908 h 2969978"/>
                <a:gd name="connsiteX44" fmla="*/ 3125037 w 11907678"/>
                <a:gd name="connsiteY44" fmla="*/ 2828956 h 2969978"/>
                <a:gd name="connsiteX45" fmla="*/ 3064747 w 11907678"/>
                <a:gd name="connsiteY45" fmla="*/ 2839004 h 2969978"/>
                <a:gd name="connsiteX46" fmla="*/ 2009670 w 11907678"/>
                <a:gd name="connsiteY46" fmla="*/ 2849053 h 2969978"/>
                <a:gd name="connsiteX47" fmla="*/ 1678075 w 11907678"/>
                <a:gd name="connsiteY47" fmla="*/ 2939488 h 2969978"/>
                <a:gd name="connsiteX48" fmla="*/ 1607736 w 11907678"/>
                <a:gd name="connsiteY48" fmla="*/ 2969633 h 2969978"/>
                <a:gd name="connsiteX49" fmla="*/ 1135464 w 11907678"/>
                <a:gd name="connsiteY49" fmla="*/ 2949536 h 2969978"/>
                <a:gd name="connsiteX50" fmla="*/ 944545 w 11907678"/>
                <a:gd name="connsiteY50" fmla="*/ 2919391 h 2969978"/>
                <a:gd name="connsiteX51" fmla="*/ 723481 w 11907678"/>
                <a:gd name="connsiteY51" fmla="*/ 2879198 h 2969978"/>
                <a:gd name="connsiteX52" fmla="*/ 643095 w 11907678"/>
                <a:gd name="connsiteY52" fmla="*/ 2869149 h 2969978"/>
                <a:gd name="connsiteX53" fmla="*/ 371789 w 11907678"/>
                <a:gd name="connsiteY53" fmla="*/ 2828956 h 2969978"/>
                <a:gd name="connsiteX54" fmla="*/ 0 w 11907678"/>
                <a:gd name="connsiteY54" fmla="*/ 2818908 h 2969978"/>
                <a:gd name="connsiteX0" fmla="*/ 120580 w 11869655"/>
                <a:gd name="connsiteY0" fmla="*/ 55611 h 2969978"/>
                <a:gd name="connsiteX1" fmla="*/ 281354 w 11869655"/>
                <a:gd name="connsiteY1" fmla="*/ 45562 h 2969978"/>
                <a:gd name="connsiteX2" fmla="*/ 673240 w 11869655"/>
                <a:gd name="connsiteY2" fmla="*/ 35514 h 2969978"/>
                <a:gd name="connsiteX3" fmla="*/ 1356528 w 11869655"/>
                <a:gd name="connsiteY3" fmla="*/ 85756 h 2969978"/>
                <a:gd name="connsiteX4" fmla="*/ 1758462 w 11869655"/>
                <a:gd name="connsiteY4" fmla="*/ 45562 h 2969978"/>
                <a:gd name="connsiteX5" fmla="*/ 2140299 w 11869655"/>
                <a:gd name="connsiteY5" fmla="*/ 45562 h 2969978"/>
                <a:gd name="connsiteX6" fmla="*/ 4652387 w 11869655"/>
                <a:gd name="connsiteY6" fmla="*/ 65659 h 2969978"/>
                <a:gd name="connsiteX7" fmla="*/ 4692580 w 11869655"/>
                <a:gd name="connsiteY7" fmla="*/ 75708 h 2969978"/>
                <a:gd name="connsiteX8" fmla="*/ 6420897 w 11869655"/>
                <a:gd name="connsiteY8" fmla="*/ 95804 h 2969978"/>
                <a:gd name="connsiteX9" fmla="*/ 7184571 w 11869655"/>
                <a:gd name="connsiteY9" fmla="*/ 65659 h 2969978"/>
                <a:gd name="connsiteX10" fmla="*/ 7928150 w 11869655"/>
                <a:gd name="connsiteY10" fmla="*/ 65659 h 2969978"/>
                <a:gd name="connsiteX11" fmla="*/ 8219552 w 11869655"/>
                <a:gd name="connsiteY11" fmla="*/ 95804 h 2969978"/>
                <a:gd name="connsiteX12" fmla="*/ 9606224 w 11869655"/>
                <a:gd name="connsiteY12" fmla="*/ 95804 h 2969978"/>
                <a:gd name="connsiteX13" fmla="*/ 9947868 w 11869655"/>
                <a:gd name="connsiteY13" fmla="*/ 65659 h 2969978"/>
                <a:gd name="connsiteX14" fmla="*/ 10791930 w 11869655"/>
                <a:gd name="connsiteY14" fmla="*/ 35514 h 2969978"/>
                <a:gd name="connsiteX15" fmla="*/ 11736475 w 11869655"/>
                <a:gd name="connsiteY15" fmla="*/ 55611 h 2969978"/>
                <a:gd name="connsiteX16" fmla="*/ 11806813 w 11869655"/>
                <a:gd name="connsiteY16" fmla="*/ 769044 h 2969978"/>
                <a:gd name="connsiteX17" fmla="*/ 11816862 w 11869655"/>
                <a:gd name="connsiteY17" fmla="*/ 2336587 h 2969978"/>
                <a:gd name="connsiteX18" fmla="*/ 11806813 w 11869655"/>
                <a:gd name="connsiteY18" fmla="*/ 2828956 h 2969978"/>
                <a:gd name="connsiteX19" fmla="*/ 11033090 w 11869655"/>
                <a:gd name="connsiteY19" fmla="*/ 2859101 h 2969978"/>
                <a:gd name="connsiteX20" fmla="*/ 10621108 w 11869655"/>
                <a:gd name="connsiteY20" fmla="*/ 2849053 h 2969978"/>
                <a:gd name="connsiteX21" fmla="*/ 10128739 w 11869655"/>
                <a:gd name="connsiteY21" fmla="*/ 2859101 h 2969978"/>
                <a:gd name="connsiteX22" fmla="*/ 10048352 w 11869655"/>
                <a:gd name="connsiteY22" fmla="*/ 2869149 h 2969978"/>
                <a:gd name="connsiteX23" fmla="*/ 9555982 w 11869655"/>
                <a:gd name="connsiteY23" fmla="*/ 2859101 h 2969978"/>
                <a:gd name="connsiteX24" fmla="*/ 9445451 w 11869655"/>
                <a:gd name="connsiteY24" fmla="*/ 2849053 h 2969978"/>
                <a:gd name="connsiteX25" fmla="*/ 9415306 w 11869655"/>
                <a:gd name="connsiteY25" fmla="*/ 2828956 h 2969978"/>
                <a:gd name="connsiteX26" fmla="*/ 9204290 w 11869655"/>
                <a:gd name="connsiteY26" fmla="*/ 2808859 h 2969978"/>
                <a:gd name="connsiteX27" fmla="*/ 9073662 w 11869655"/>
                <a:gd name="connsiteY27" fmla="*/ 2788762 h 2969978"/>
                <a:gd name="connsiteX28" fmla="*/ 8812404 w 11869655"/>
                <a:gd name="connsiteY28" fmla="*/ 2778714 h 2969978"/>
                <a:gd name="connsiteX29" fmla="*/ 8400422 w 11869655"/>
                <a:gd name="connsiteY29" fmla="*/ 2768666 h 2969978"/>
                <a:gd name="connsiteX30" fmla="*/ 8269793 w 11869655"/>
                <a:gd name="connsiteY30" fmla="*/ 2758617 h 2969978"/>
                <a:gd name="connsiteX31" fmla="*/ 7797521 w 11869655"/>
                <a:gd name="connsiteY31" fmla="*/ 2778714 h 2969978"/>
                <a:gd name="connsiteX32" fmla="*/ 7717134 w 11869655"/>
                <a:gd name="connsiteY32" fmla="*/ 2788762 h 2969978"/>
                <a:gd name="connsiteX33" fmla="*/ 7486022 w 11869655"/>
                <a:gd name="connsiteY33" fmla="*/ 2818908 h 2969978"/>
                <a:gd name="connsiteX34" fmla="*/ 7395587 w 11869655"/>
                <a:gd name="connsiteY34" fmla="*/ 2839004 h 2969978"/>
                <a:gd name="connsiteX35" fmla="*/ 7325248 w 11869655"/>
                <a:gd name="connsiteY35" fmla="*/ 2849053 h 2969978"/>
                <a:gd name="connsiteX36" fmla="*/ 6863024 w 11869655"/>
                <a:gd name="connsiteY36" fmla="*/ 2839004 h 2969978"/>
                <a:gd name="connsiteX37" fmla="*/ 6722347 w 11869655"/>
                <a:gd name="connsiteY37" fmla="*/ 2828956 h 2969978"/>
                <a:gd name="connsiteX38" fmla="*/ 4903596 w 11869655"/>
                <a:gd name="connsiteY38" fmla="*/ 2879198 h 2969978"/>
                <a:gd name="connsiteX39" fmla="*/ 4722725 w 11869655"/>
                <a:gd name="connsiteY39" fmla="*/ 2919391 h 2969978"/>
                <a:gd name="connsiteX40" fmla="*/ 4300695 w 11869655"/>
                <a:gd name="connsiteY40" fmla="*/ 2899294 h 2969978"/>
                <a:gd name="connsiteX41" fmla="*/ 4059534 w 11869655"/>
                <a:gd name="connsiteY41" fmla="*/ 2859101 h 2969978"/>
                <a:gd name="connsiteX42" fmla="*/ 3768132 w 11869655"/>
                <a:gd name="connsiteY42" fmla="*/ 2828956 h 2969978"/>
                <a:gd name="connsiteX43" fmla="*/ 3627455 w 11869655"/>
                <a:gd name="connsiteY43" fmla="*/ 2818908 h 2969978"/>
                <a:gd name="connsiteX44" fmla="*/ 3125037 w 11869655"/>
                <a:gd name="connsiteY44" fmla="*/ 2828956 h 2969978"/>
                <a:gd name="connsiteX45" fmla="*/ 3064747 w 11869655"/>
                <a:gd name="connsiteY45" fmla="*/ 2839004 h 2969978"/>
                <a:gd name="connsiteX46" fmla="*/ 2009670 w 11869655"/>
                <a:gd name="connsiteY46" fmla="*/ 2849053 h 2969978"/>
                <a:gd name="connsiteX47" fmla="*/ 1678075 w 11869655"/>
                <a:gd name="connsiteY47" fmla="*/ 2939488 h 2969978"/>
                <a:gd name="connsiteX48" fmla="*/ 1607736 w 11869655"/>
                <a:gd name="connsiteY48" fmla="*/ 2969633 h 2969978"/>
                <a:gd name="connsiteX49" fmla="*/ 1135464 w 11869655"/>
                <a:gd name="connsiteY49" fmla="*/ 2949536 h 2969978"/>
                <a:gd name="connsiteX50" fmla="*/ 944545 w 11869655"/>
                <a:gd name="connsiteY50" fmla="*/ 2919391 h 2969978"/>
                <a:gd name="connsiteX51" fmla="*/ 723481 w 11869655"/>
                <a:gd name="connsiteY51" fmla="*/ 2879198 h 2969978"/>
                <a:gd name="connsiteX52" fmla="*/ 643095 w 11869655"/>
                <a:gd name="connsiteY52" fmla="*/ 2869149 h 2969978"/>
                <a:gd name="connsiteX53" fmla="*/ 371789 w 11869655"/>
                <a:gd name="connsiteY53" fmla="*/ 2828956 h 2969978"/>
                <a:gd name="connsiteX54" fmla="*/ 0 w 11869655"/>
                <a:gd name="connsiteY5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621108 w 11851944"/>
                <a:gd name="connsiteY20" fmla="*/ 2849053 h 2969978"/>
                <a:gd name="connsiteX21" fmla="*/ 10128739 w 11851944"/>
                <a:gd name="connsiteY21" fmla="*/ 2859101 h 2969978"/>
                <a:gd name="connsiteX22" fmla="*/ 10048352 w 11851944"/>
                <a:gd name="connsiteY22" fmla="*/ 2869149 h 2969978"/>
                <a:gd name="connsiteX23" fmla="*/ 9555982 w 11851944"/>
                <a:gd name="connsiteY23" fmla="*/ 2859101 h 2969978"/>
                <a:gd name="connsiteX24" fmla="*/ 9445451 w 11851944"/>
                <a:gd name="connsiteY24" fmla="*/ 2849053 h 2969978"/>
                <a:gd name="connsiteX25" fmla="*/ 9415306 w 11851944"/>
                <a:gd name="connsiteY25" fmla="*/ 2828956 h 2969978"/>
                <a:gd name="connsiteX26" fmla="*/ 9204290 w 11851944"/>
                <a:gd name="connsiteY26" fmla="*/ 2808859 h 2969978"/>
                <a:gd name="connsiteX27" fmla="*/ 9073662 w 11851944"/>
                <a:gd name="connsiteY27" fmla="*/ 2788762 h 2969978"/>
                <a:gd name="connsiteX28" fmla="*/ 8812404 w 11851944"/>
                <a:gd name="connsiteY28" fmla="*/ 2778714 h 2969978"/>
                <a:gd name="connsiteX29" fmla="*/ 8400422 w 11851944"/>
                <a:gd name="connsiteY29" fmla="*/ 2768666 h 2969978"/>
                <a:gd name="connsiteX30" fmla="*/ 8269793 w 11851944"/>
                <a:gd name="connsiteY30" fmla="*/ 2758617 h 2969978"/>
                <a:gd name="connsiteX31" fmla="*/ 7797521 w 11851944"/>
                <a:gd name="connsiteY31" fmla="*/ 2778714 h 2969978"/>
                <a:gd name="connsiteX32" fmla="*/ 7717134 w 11851944"/>
                <a:gd name="connsiteY32" fmla="*/ 2788762 h 2969978"/>
                <a:gd name="connsiteX33" fmla="*/ 7486022 w 11851944"/>
                <a:gd name="connsiteY33" fmla="*/ 2818908 h 2969978"/>
                <a:gd name="connsiteX34" fmla="*/ 7395587 w 11851944"/>
                <a:gd name="connsiteY34" fmla="*/ 2839004 h 2969978"/>
                <a:gd name="connsiteX35" fmla="*/ 7325248 w 11851944"/>
                <a:gd name="connsiteY35" fmla="*/ 2849053 h 2969978"/>
                <a:gd name="connsiteX36" fmla="*/ 6863024 w 11851944"/>
                <a:gd name="connsiteY36" fmla="*/ 2839004 h 2969978"/>
                <a:gd name="connsiteX37" fmla="*/ 6722347 w 11851944"/>
                <a:gd name="connsiteY37" fmla="*/ 2828956 h 2969978"/>
                <a:gd name="connsiteX38" fmla="*/ 4903596 w 11851944"/>
                <a:gd name="connsiteY38" fmla="*/ 2879198 h 2969978"/>
                <a:gd name="connsiteX39" fmla="*/ 4722725 w 11851944"/>
                <a:gd name="connsiteY39" fmla="*/ 2919391 h 2969978"/>
                <a:gd name="connsiteX40" fmla="*/ 4300695 w 11851944"/>
                <a:gd name="connsiteY40" fmla="*/ 2899294 h 2969978"/>
                <a:gd name="connsiteX41" fmla="*/ 4059534 w 11851944"/>
                <a:gd name="connsiteY41" fmla="*/ 2859101 h 2969978"/>
                <a:gd name="connsiteX42" fmla="*/ 3768132 w 11851944"/>
                <a:gd name="connsiteY42" fmla="*/ 2828956 h 2969978"/>
                <a:gd name="connsiteX43" fmla="*/ 3627455 w 11851944"/>
                <a:gd name="connsiteY43" fmla="*/ 2818908 h 2969978"/>
                <a:gd name="connsiteX44" fmla="*/ 3125037 w 11851944"/>
                <a:gd name="connsiteY44" fmla="*/ 2828956 h 2969978"/>
                <a:gd name="connsiteX45" fmla="*/ 3064747 w 11851944"/>
                <a:gd name="connsiteY45" fmla="*/ 2839004 h 2969978"/>
                <a:gd name="connsiteX46" fmla="*/ 2009670 w 11851944"/>
                <a:gd name="connsiteY46" fmla="*/ 2849053 h 2969978"/>
                <a:gd name="connsiteX47" fmla="*/ 1678075 w 11851944"/>
                <a:gd name="connsiteY47" fmla="*/ 2939488 h 2969978"/>
                <a:gd name="connsiteX48" fmla="*/ 1607736 w 11851944"/>
                <a:gd name="connsiteY48" fmla="*/ 2969633 h 2969978"/>
                <a:gd name="connsiteX49" fmla="*/ 1135464 w 11851944"/>
                <a:gd name="connsiteY49" fmla="*/ 2949536 h 2969978"/>
                <a:gd name="connsiteX50" fmla="*/ 944545 w 11851944"/>
                <a:gd name="connsiteY50" fmla="*/ 2919391 h 2969978"/>
                <a:gd name="connsiteX51" fmla="*/ 723481 w 11851944"/>
                <a:gd name="connsiteY51" fmla="*/ 2879198 h 2969978"/>
                <a:gd name="connsiteX52" fmla="*/ 643095 w 11851944"/>
                <a:gd name="connsiteY52" fmla="*/ 2869149 h 2969978"/>
                <a:gd name="connsiteX53" fmla="*/ 371789 w 11851944"/>
                <a:gd name="connsiteY53" fmla="*/ 2828956 h 2969978"/>
                <a:gd name="connsiteX54" fmla="*/ 0 w 11851944"/>
                <a:gd name="connsiteY5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445451 w 11851944"/>
                <a:gd name="connsiteY23" fmla="*/ 2849053 h 2969978"/>
                <a:gd name="connsiteX24" fmla="*/ 9415306 w 11851944"/>
                <a:gd name="connsiteY24" fmla="*/ 2828956 h 2969978"/>
                <a:gd name="connsiteX25" fmla="*/ 9204290 w 11851944"/>
                <a:gd name="connsiteY25" fmla="*/ 2808859 h 2969978"/>
                <a:gd name="connsiteX26" fmla="*/ 9073662 w 11851944"/>
                <a:gd name="connsiteY26" fmla="*/ 2788762 h 2969978"/>
                <a:gd name="connsiteX27" fmla="*/ 8812404 w 11851944"/>
                <a:gd name="connsiteY27" fmla="*/ 2778714 h 2969978"/>
                <a:gd name="connsiteX28" fmla="*/ 8400422 w 11851944"/>
                <a:gd name="connsiteY28" fmla="*/ 2768666 h 2969978"/>
                <a:gd name="connsiteX29" fmla="*/ 8269793 w 11851944"/>
                <a:gd name="connsiteY29" fmla="*/ 2758617 h 2969978"/>
                <a:gd name="connsiteX30" fmla="*/ 7797521 w 11851944"/>
                <a:gd name="connsiteY30" fmla="*/ 2778714 h 2969978"/>
                <a:gd name="connsiteX31" fmla="*/ 7717134 w 11851944"/>
                <a:gd name="connsiteY31" fmla="*/ 2788762 h 2969978"/>
                <a:gd name="connsiteX32" fmla="*/ 7486022 w 11851944"/>
                <a:gd name="connsiteY32" fmla="*/ 2818908 h 2969978"/>
                <a:gd name="connsiteX33" fmla="*/ 7395587 w 11851944"/>
                <a:gd name="connsiteY33" fmla="*/ 2839004 h 2969978"/>
                <a:gd name="connsiteX34" fmla="*/ 7325248 w 11851944"/>
                <a:gd name="connsiteY34" fmla="*/ 2849053 h 2969978"/>
                <a:gd name="connsiteX35" fmla="*/ 6863024 w 11851944"/>
                <a:gd name="connsiteY35" fmla="*/ 2839004 h 2969978"/>
                <a:gd name="connsiteX36" fmla="*/ 6722347 w 11851944"/>
                <a:gd name="connsiteY36" fmla="*/ 2828956 h 2969978"/>
                <a:gd name="connsiteX37" fmla="*/ 4903596 w 11851944"/>
                <a:gd name="connsiteY37" fmla="*/ 2879198 h 2969978"/>
                <a:gd name="connsiteX38" fmla="*/ 4722725 w 11851944"/>
                <a:gd name="connsiteY38" fmla="*/ 2919391 h 2969978"/>
                <a:gd name="connsiteX39" fmla="*/ 4300695 w 11851944"/>
                <a:gd name="connsiteY39" fmla="*/ 2899294 h 2969978"/>
                <a:gd name="connsiteX40" fmla="*/ 4059534 w 11851944"/>
                <a:gd name="connsiteY40" fmla="*/ 2859101 h 2969978"/>
                <a:gd name="connsiteX41" fmla="*/ 3768132 w 11851944"/>
                <a:gd name="connsiteY41" fmla="*/ 2828956 h 2969978"/>
                <a:gd name="connsiteX42" fmla="*/ 3627455 w 11851944"/>
                <a:gd name="connsiteY42" fmla="*/ 2818908 h 2969978"/>
                <a:gd name="connsiteX43" fmla="*/ 3125037 w 11851944"/>
                <a:gd name="connsiteY43" fmla="*/ 2828956 h 2969978"/>
                <a:gd name="connsiteX44" fmla="*/ 3064747 w 11851944"/>
                <a:gd name="connsiteY44" fmla="*/ 2839004 h 2969978"/>
                <a:gd name="connsiteX45" fmla="*/ 2009670 w 11851944"/>
                <a:gd name="connsiteY45" fmla="*/ 2849053 h 2969978"/>
                <a:gd name="connsiteX46" fmla="*/ 1678075 w 11851944"/>
                <a:gd name="connsiteY46" fmla="*/ 2939488 h 2969978"/>
                <a:gd name="connsiteX47" fmla="*/ 1607736 w 11851944"/>
                <a:gd name="connsiteY47" fmla="*/ 2969633 h 2969978"/>
                <a:gd name="connsiteX48" fmla="*/ 1135464 w 11851944"/>
                <a:gd name="connsiteY48" fmla="*/ 2949536 h 2969978"/>
                <a:gd name="connsiteX49" fmla="*/ 944545 w 11851944"/>
                <a:gd name="connsiteY49" fmla="*/ 2919391 h 2969978"/>
                <a:gd name="connsiteX50" fmla="*/ 723481 w 11851944"/>
                <a:gd name="connsiteY50" fmla="*/ 2879198 h 2969978"/>
                <a:gd name="connsiteX51" fmla="*/ 643095 w 11851944"/>
                <a:gd name="connsiteY51" fmla="*/ 2869149 h 2969978"/>
                <a:gd name="connsiteX52" fmla="*/ 371789 w 11851944"/>
                <a:gd name="connsiteY52" fmla="*/ 2828956 h 2969978"/>
                <a:gd name="connsiteX53" fmla="*/ 0 w 11851944"/>
                <a:gd name="connsiteY53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445451 w 11851944"/>
                <a:gd name="connsiteY23" fmla="*/ 2849053 h 2969978"/>
                <a:gd name="connsiteX24" fmla="*/ 9204290 w 11851944"/>
                <a:gd name="connsiteY24" fmla="*/ 2808859 h 2969978"/>
                <a:gd name="connsiteX25" fmla="*/ 9073662 w 11851944"/>
                <a:gd name="connsiteY25" fmla="*/ 2788762 h 2969978"/>
                <a:gd name="connsiteX26" fmla="*/ 8812404 w 11851944"/>
                <a:gd name="connsiteY26" fmla="*/ 2778714 h 2969978"/>
                <a:gd name="connsiteX27" fmla="*/ 8400422 w 11851944"/>
                <a:gd name="connsiteY27" fmla="*/ 2768666 h 2969978"/>
                <a:gd name="connsiteX28" fmla="*/ 8269793 w 11851944"/>
                <a:gd name="connsiteY28" fmla="*/ 2758617 h 2969978"/>
                <a:gd name="connsiteX29" fmla="*/ 7797521 w 11851944"/>
                <a:gd name="connsiteY29" fmla="*/ 2778714 h 2969978"/>
                <a:gd name="connsiteX30" fmla="*/ 7717134 w 11851944"/>
                <a:gd name="connsiteY30" fmla="*/ 2788762 h 2969978"/>
                <a:gd name="connsiteX31" fmla="*/ 7486022 w 11851944"/>
                <a:gd name="connsiteY31" fmla="*/ 2818908 h 2969978"/>
                <a:gd name="connsiteX32" fmla="*/ 7395587 w 11851944"/>
                <a:gd name="connsiteY32" fmla="*/ 2839004 h 2969978"/>
                <a:gd name="connsiteX33" fmla="*/ 7325248 w 11851944"/>
                <a:gd name="connsiteY33" fmla="*/ 2849053 h 2969978"/>
                <a:gd name="connsiteX34" fmla="*/ 6863024 w 11851944"/>
                <a:gd name="connsiteY34" fmla="*/ 2839004 h 2969978"/>
                <a:gd name="connsiteX35" fmla="*/ 6722347 w 11851944"/>
                <a:gd name="connsiteY35" fmla="*/ 2828956 h 2969978"/>
                <a:gd name="connsiteX36" fmla="*/ 4903596 w 11851944"/>
                <a:gd name="connsiteY36" fmla="*/ 2879198 h 2969978"/>
                <a:gd name="connsiteX37" fmla="*/ 4722725 w 11851944"/>
                <a:gd name="connsiteY37" fmla="*/ 2919391 h 2969978"/>
                <a:gd name="connsiteX38" fmla="*/ 4300695 w 11851944"/>
                <a:gd name="connsiteY38" fmla="*/ 2899294 h 2969978"/>
                <a:gd name="connsiteX39" fmla="*/ 4059534 w 11851944"/>
                <a:gd name="connsiteY39" fmla="*/ 2859101 h 2969978"/>
                <a:gd name="connsiteX40" fmla="*/ 3768132 w 11851944"/>
                <a:gd name="connsiteY40" fmla="*/ 2828956 h 2969978"/>
                <a:gd name="connsiteX41" fmla="*/ 3627455 w 11851944"/>
                <a:gd name="connsiteY41" fmla="*/ 2818908 h 2969978"/>
                <a:gd name="connsiteX42" fmla="*/ 3125037 w 11851944"/>
                <a:gd name="connsiteY42" fmla="*/ 2828956 h 2969978"/>
                <a:gd name="connsiteX43" fmla="*/ 3064747 w 11851944"/>
                <a:gd name="connsiteY43" fmla="*/ 2839004 h 2969978"/>
                <a:gd name="connsiteX44" fmla="*/ 2009670 w 11851944"/>
                <a:gd name="connsiteY44" fmla="*/ 2849053 h 2969978"/>
                <a:gd name="connsiteX45" fmla="*/ 1678075 w 11851944"/>
                <a:gd name="connsiteY45" fmla="*/ 2939488 h 2969978"/>
                <a:gd name="connsiteX46" fmla="*/ 1607736 w 11851944"/>
                <a:gd name="connsiteY46" fmla="*/ 2969633 h 2969978"/>
                <a:gd name="connsiteX47" fmla="*/ 1135464 w 11851944"/>
                <a:gd name="connsiteY47" fmla="*/ 2949536 h 2969978"/>
                <a:gd name="connsiteX48" fmla="*/ 944545 w 11851944"/>
                <a:gd name="connsiteY48" fmla="*/ 2919391 h 2969978"/>
                <a:gd name="connsiteX49" fmla="*/ 723481 w 11851944"/>
                <a:gd name="connsiteY49" fmla="*/ 2879198 h 2969978"/>
                <a:gd name="connsiteX50" fmla="*/ 643095 w 11851944"/>
                <a:gd name="connsiteY50" fmla="*/ 2869149 h 2969978"/>
                <a:gd name="connsiteX51" fmla="*/ 371789 w 11851944"/>
                <a:gd name="connsiteY51" fmla="*/ 2828956 h 2969978"/>
                <a:gd name="connsiteX52" fmla="*/ 0 w 11851944"/>
                <a:gd name="connsiteY52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204290 w 11851944"/>
                <a:gd name="connsiteY23" fmla="*/ 2808859 h 2969978"/>
                <a:gd name="connsiteX24" fmla="*/ 9073662 w 11851944"/>
                <a:gd name="connsiteY24" fmla="*/ 2788762 h 2969978"/>
                <a:gd name="connsiteX25" fmla="*/ 8812404 w 11851944"/>
                <a:gd name="connsiteY25" fmla="*/ 2778714 h 2969978"/>
                <a:gd name="connsiteX26" fmla="*/ 8400422 w 11851944"/>
                <a:gd name="connsiteY26" fmla="*/ 2768666 h 2969978"/>
                <a:gd name="connsiteX27" fmla="*/ 8269793 w 11851944"/>
                <a:gd name="connsiteY27" fmla="*/ 2758617 h 2969978"/>
                <a:gd name="connsiteX28" fmla="*/ 7797521 w 11851944"/>
                <a:gd name="connsiteY28" fmla="*/ 2778714 h 2969978"/>
                <a:gd name="connsiteX29" fmla="*/ 7717134 w 11851944"/>
                <a:gd name="connsiteY29" fmla="*/ 2788762 h 2969978"/>
                <a:gd name="connsiteX30" fmla="*/ 7486022 w 11851944"/>
                <a:gd name="connsiteY30" fmla="*/ 2818908 h 2969978"/>
                <a:gd name="connsiteX31" fmla="*/ 7395587 w 11851944"/>
                <a:gd name="connsiteY31" fmla="*/ 2839004 h 2969978"/>
                <a:gd name="connsiteX32" fmla="*/ 7325248 w 11851944"/>
                <a:gd name="connsiteY32" fmla="*/ 2849053 h 2969978"/>
                <a:gd name="connsiteX33" fmla="*/ 6863024 w 11851944"/>
                <a:gd name="connsiteY33" fmla="*/ 2839004 h 2969978"/>
                <a:gd name="connsiteX34" fmla="*/ 6722347 w 11851944"/>
                <a:gd name="connsiteY34" fmla="*/ 2828956 h 2969978"/>
                <a:gd name="connsiteX35" fmla="*/ 4903596 w 11851944"/>
                <a:gd name="connsiteY35" fmla="*/ 2879198 h 2969978"/>
                <a:gd name="connsiteX36" fmla="*/ 4722725 w 11851944"/>
                <a:gd name="connsiteY36" fmla="*/ 2919391 h 2969978"/>
                <a:gd name="connsiteX37" fmla="*/ 4300695 w 11851944"/>
                <a:gd name="connsiteY37" fmla="*/ 2899294 h 2969978"/>
                <a:gd name="connsiteX38" fmla="*/ 4059534 w 11851944"/>
                <a:gd name="connsiteY38" fmla="*/ 2859101 h 2969978"/>
                <a:gd name="connsiteX39" fmla="*/ 3768132 w 11851944"/>
                <a:gd name="connsiteY39" fmla="*/ 2828956 h 2969978"/>
                <a:gd name="connsiteX40" fmla="*/ 3627455 w 11851944"/>
                <a:gd name="connsiteY40" fmla="*/ 2818908 h 2969978"/>
                <a:gd name="connsiteX41" fmla="*/ 3125037 w 11851944"/>
                <a:gd name="connsiteY41" fmla="*/ 2828956 h 2969978"/>
                <a:gd name="connsiteX42" fmla="*/ 3064747 w 11851944"/>
                <a:gd name="connsiteY42" fmla="*/ 2839004 h 2969978"/>
                <a:gd name="connsiteX43" fmla="*/ 2009670 w 11851944"/>
                <a:gd name="connsiteY43" fmla="*/ 2849053 h 2969978"/>
                <a:gd name="connsiteX44" fmla="*/ 1678075 w 11851944"/>
                <a:gd name="connsiteY44" fmla="*/ 2939488 h 2969978"/>
                <a:gd name="connsiteX45" fmla="*/ 1607736 w 11851944"/>
                <a:gd name="connsiteY45" fmla="*/ 2969633 h 2969978"/>
                <a:gd name="connsiteX46" fmla="*/ 1135464 w 11851944"/>
                <a:gd name="connsiteY46" fmla="*/ 2949536 h 2969978"/>
                <a:gd name="connsiteX47" fmla="*/ 944545 w 11851944"/>
                <a:gd name="connsiteY47" fmla="*/ 2919391 h 2969978"/>
                <a:gd name="connsiteX48" fmla="*/ 723481 w 11851944"/>
                <a:gd name="connsiteY48" fmla="*/ 2879198 h 2969978"/>
                <a:gd name="connsiteX49" fmla="*/ 643095 w 11851944"/>
                <a:gd name="connsiteY49" fmla="*/ 2869149 h 2969978"/>
                <a:gd name="connsiteX50" fmla="*/ 371789 w 11851944"/>
                <a:gd name="connsiteY50" fmla="*/ 2828956 h 2969978"/>
                <a:gd name="connsiteX51" fmla="*/ 0 w 11851944"/>
                <a:gd name="connsiteY51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8400422 w 11851944"/>
                <a:gd name="connsiteY25" fmla="*/ 2768666 h 2969978"/>
                <a:gd name="connsiteX26" fmla="*/ 8269793 w 11851944"/>
                <a:gd name="connsiteY26" fmla="*/ 2758617 h 2969978"/>
                <a:gd name="connsiteX27" fmla="*/ 7797521 w 11851944"/>
                <a:gd name="connsiteY27" fmla="*/ 2778714 h 2969978"/>
                <a:gd name="connsiteX28" fmla="*/ 7717134 w 11851944"/>
                <a:gd name="connsiteY28" fmla="*/ 2788762 h 2969978"/>
                <a:gd name="connsiteX29" fmla="*/ 7486022 w 11851944"/>
                <a:gd name="connsiteY29" fmla="*/ 2818908 h 2969978"/>
                <a:gd name="connsiteX30" fmla="*/ 7395587 w 11851944"/>
                <a:gd name="connsiteY30" fmla="*/ 2839004 h 2969978"/>
                <a:gd name="connsiteX31" fmla="*/ 7325248 w 11851944"/>
                <a:gd name="connsiteY31" fmla="*/ 2849053 h 2969978"/>
                <a:gd name="connsiteX32" fmla="*/ 6863024 w 11851944"/>
                <a:gd name="connsiteY32" fmla="*/ 2839004 h 2969978"/>
                <a:gd name="connsiteX33" fmla="*/ 6722347 w 11851944"/>
                <a:gd name="connsiteY33" fmla="*/ 2828956 h 2969978"/>
                <a:gd name="connsiteX34" fmla="*/ 4903596 w 11851944"/>
                <a:gd name="connsiteY34" fmla="*/ 2879198 h 2969978"/>
                <a:gd name="connsiteX35" fmla="*/ 4722725 w 11851944"/>
                <a:gd name="connsiteY35" fmla="*/ 2919391 h 2969978"/>
                <a:gd name="connsiteX36" fmla="*/ 4300695 w 11851944"/>
                <a:gd name="connsiteY36" fmla="*/ 2899294 h 2969978"/>
                <a:gd name="connsiteX37" fmla="*/ 4059534 w 11851944"/>
                <a:gd name="connsiteY37" fmla="*/ 2859101 h 2969978"/>
                <a:gd name="connsiteX38" fmla="*/ 3768132 w 11851944"/>
                <a:gd name="connsiteY38" fmla="*/ 2828956 h 2969978"/>
                <a:gd name="connsiteX39" fmla="*/ 3627455 w 11851944"/>
                <a:gd name="connsiteY39" fmla="*/ 2818908 h 2969978"/>
                <a:gd name="connsiteX40" fmla="*/ 3125037 w 11851944"/>
                <a:gd name="connsiteY40" fmla="*/ 2828956 h 2969978"/>
                <a:gd name="connsiteX41" fmla="*/ 3064747 w 11851944"/>
                <a:gd name="connsiteY41" fmla="*/ 2839004 h 2969978"/>
                <a:gd name="connsiteX42" fmla="*/ 2009670 w 11851944"/>
                <a:gd name="connsiteY42" fmla="*/ 2849053 h 2969978"/>
                <a:gd name="connsiteX43" fmla="*/ 1678075 w 11851944"/>
                <a:gd name="connsiteY43" fmla="*/ 2939488 h 2969978"/>
                <a:gd name="connsiteX44" fmla="*/ 1607736 w 11851944"/>
                <a:gd name="connsiteY44" fmla="*/ 2969633 h 2969978"/>
                <a:gd name="connsiteX45" fmla="*/ 1135464 w 11851944"/>
                <a:gd name="connsiteY45" fmla="*/ 2949536 h 2969978"/>
                <a:gd name="connsiteX46" fmla="*/ 944545 w 11851944"/>
                <a:gd name="connsiteY46" fmla="*/ 2919391 h 2969978"/>
                <a:gd name="connsiteX47" fmla="*/ 723481 w 11851944"/>
                <a:gd name="connsiteY47" fmla="*/ 2879198 h 2969978"/>
                <a:gd name="connsiteX48" fmla="*/ 643095 w 11851944"/>
                <a:gd name="connsiteY48" fmla="*/ 2869149 h 2969978"/>
                <a:gd name="connsiteX49" fmla="*/ 371789 w 11851944"/>
                <a:gd name="connsiteY49" fmla="*/ 2828956 h 2969978"/>
                <a:gd name="connsiteX50" fmla="*/ 0 w 11851944"/>
                <a:gd name="connsiteY50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8269793 w 11851944"/>
                <a:gd name="connsiteY25" fmla="*/ 2758617 h 2969978"/>
                <a:gd name="connsiteX26" fmla="*/ 7797521 w 11851944"/>
                <a:gd name="connsiteY26" fmla="*/ 2778714 h 2969978"/>
                <a:gd name="connsiteX27" fmla="*/ 7717134 w 11851944"/>
                <a:gd name="connsiteY27" fmla="*/ 2788762 h 2969978"/>
                <a:gd name="connsiteX28" fmla="*/ 7486022 w 11851944"/>
                <a:gd name="connsiteY28" fmla="*/ 2818908 h 2969978"/>
                <a:gd name="connsiteX29" fmla="*/ 7395587 w 11851944"/>
                <a:gd name="connsiteY29" fmla="*/ 2839004 h 2969978"/>
                <a:gd name="connsiteX30" fmla="*/ 7325248 w 11851944"/>
                <a:gd name="connsiteY30" fmla="*/ 2849053 h 2969978"/>
                <a:gd name="connsiteX31" fmla="*/ 6863024 w 11851944"/>
                <a:gd name="connsiteY31" fmla="*/ 2839004 h 2969978"/>
                <a:gd name="connsiteX32" fmla="*/ 6722347 w 11851944"/>
                <a:gd name="connsiteY32" fmla="*/ 2828956 h 2969978"/>
                <a:gd name="connsiteX33" fmla="*/ 4903596 w 11851944"/>
                <a:gd name="connsiteY33" fmla="*/ 2879198 h 2969978"/>
                <a:gd name="connsiteX34" fmla="*/ 4722725 w 11851944"/>
                <a:gd name="connsiteY34" fmla="*/ 2919391 h 2969978"/>
                <a:gd name="connsiteX35" fmla="*/ 4300695 w 11851944"/>
                <a:gd name="connsiteY35" fmla="*/ 2899294 h 2969978"/>
                <a:gd name="connsiteX36" fmla="*/ 4059534 w 11851944"/>
                <a:gd name="connsiteY36" fmla="*/ 2859101 h 2969978"/>
                <a:gd name="connsiteX37" fmla="*/ 3768132 w 11851944"/>
                <a:gd name="connsiteY37" fmla="*/ 2828956 h 2969978"/>
                <a:gd name="connsiteX38" fmla="*/ 3627455 w 11851944"/>
                <a:gd name="connsiteY38" fmla="*/ 2818908 h 2969978"/>
                <a:gd name="connsiteX39" fmla="*/ 3125037 w 11851944"/>
                <a:gd name="connsiteY39" fmla="*/ 2828956 h 2969978"/>
                <a:gd name="connsiteX40" fmla="*/ 3064747 w 11851944"/>
                <a:gd name="connsiteY40" fmla="*/ 2839004 h 2969978"/>
                <a:gd name="connsiteX41" fmla="*/ 2009670 w 11851944"/>
                <a:gd name="connsiteY41" fmla="*/ 2849053 h 2969978"/>
                <a:gd name="connsiteX42" fmla="*/ 1678075 w 11851944"/>
                <a:gd name="connsiteY42" fmla="*/ 2939488 h 2969978"/>
                <a:gd name="connsiteX43" fmla="*/ 1607736 w 11851944"/>
                <a:gd name="connsiteY43" fmla="*/ 2969633 h 2969978"/>
                <a:gd name="connsiteX44" fmla="*/ 1135464 w 11851944"/>
                <a:gd name="connsiteY44" fmla="*/ 2949536 h 2969978"/>
                <a:gd name="connsiteX45" fmla="*/ 944545 w 11851944"/>
                <a:gd name="connsiteY45" fmla="*/ 2919391 h 2969978"/>
                <a:gd name="connsiteX46" fmla="*/ 723481 w 11851944"/>
                <a:gd name="connsiteY46" fmla="*/ 2879198 h 2969978"/>
                <a:gd name="connsiteX47" fmla="*/ 643095 w 11851944"/>
                <a:gd name="connsiteY47" fmla="*/ 2869149 h 2969978"/>
                <a:gd name="connsiteX48" fmla="*/ 371789 w 11851944"/>
                <a:gd name="connsiteY48" fmla="*/ 2828956 h 2969978"/>
                <a:gd name="connsiteX49" fmla="*/ 0 w 11851944"/>
                <a:gd name="connsiteY49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797521 w 11851944"/>
                <a:gd name="connsiteY25" fmla="*/ 2778714 h 2969978"/>
                <a:gd name="connsiteX26" fmla="*/ 7717134 w 11851944"/>
                <a:gd name="connsiteY26" fmla="*/ 2788762 h 2969978"/>
                <a:gd name="connsiteX27" fmla="*/ 7486022 w 11851944"/>
                <a:gd name="connsiteY27" fmla="*/ 2818908 h 2969978"/>
                <a:gd name="connsiteX28" fmla="*/ 7395587 w 11851944"/>
                <a:gd name="connsiteY28" fmla="*/ 2839004 h 2969978"/>
                <a:gd name="connsiteX29" fmla="*/ 7325248 w 11851944"/>
                <a:gd name="connsiteY29" fmla="*/ 2849053 h 2969978"/>
                <a:gd name="connsiteX30" fmla="*/ 6863024 w 11851944"/>
                <a:gd name="connsiteY30" fmla="*/ 2839004 h 2969978"/>
                <a:gd name="connsiteX31" fmla="*/ 6722347 w 11851944"/>
                <a:gd name="connsiteY31" fmla="*/ 2828956 h 2969978"/>
                <a:gd name="connsiteX32" fmla="*/ 4903596 w 11851944"/>
                <a:gd name="connsiteY32" fmla="*/ 2879198 h 2969978"/>
                <a:gd name="connsiteX33" fmla="*/ 4722725 w 11851944"/>
                <a:gd name="connsiteY33" fmla="*/ 2919391 h 2969978"/>
                <a:gd name="connsiteX34" fmla="*/ 4300695 w 11851944"/>
                <a:gd name="connsiteY34" fmla="*/ 2899294 h 2969978"/>
                <a:gd name="connsiteX35" fmla="*/ 4059534 w 11851944"/>
                <a:gd name="connsiteY35" fmla="*/ 2859101 h 2969978"/>
                <a:gd name="connsiteX36" fmla="*/ 3768132 w 11851944"/>
                <a:gd name="connsiteY36" fmla="*/ 2828956 h 2969978"/>
                <a:gd name="connsiteX37" fmla="*/ 3627455 w 11851944"/>
                <a:gd name="connsiteY37" fmla="*/ 2818908 h 2969978"/>
                <a:gd name="connsiteX38" fmla="*/ 3125037 w 11851944"/>
                <a:gd name="connsiteY38" fmla="*/ 2828956 h 2969978"/>
                <a:gd name="connsiteX39" fmla="*/ 3064747 w 11851944"/>
                <a:gd name="connsiteY39" fmla="*/ 2839004 h 2969978"/>
                <a:gd name="connsiteX40" fmla="*/ 2009670 w 11851944"/>
                <a:gd name="connsiteY40" fmla="*/ 2849053 h 2969978"/>
                <a:gd name="connsiteX41" fmla="*/ 1678075 w 11851944"/>
                <a:gd name="connsiteY41" fmla="*/ 2939488 h 2969978"/>
                <a:gd name="connsiteX42" fmla="*/ 1607736 w 11851944"/>
                <a:gd name="connsiteY42" fmla="*/ 2969633 h 2969978"/>
                <a:gd name="connsiteX43" fmla="*/ 1135464 w 11851944"/>
                <a:gd name="connsiteY43" fmla="*/ 2949536 h 2969978"/>
                <a:gd name="connsiteX44" fmla="*/ 944545 w 11851944"/>
                <a:gd name="connsiteY44" fmla="*/ 2919391 h 2969978"/>
                <a:gd name="connsiteX45" fmla="*/ 723481 w 11851944"/>
                <a:gd name="connsiteY45" fmla="*/ 2879198 h 2969978"/>
                <a:gd name="connsiteX46" fmla="*/ 643095 w 11851944"/>
                <a:gd name="connsiteY46" fmla="*/ 2869149 h 2969978"/>
                <a:gd name="connsiteX47" fmla="*/ 371789 w 11851944"/>
                <a:gd name="connsiteY47" fmla="*/ 2828956 h 2969978"/>
                <a:gd name="connsiteX48" fmla="*/ 0 w 11851944"/>
                <a:gd name="connsiteY48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797521 w 11851944"/>
                <a:gd name="connsiteY25" fmla="*/ 2778714 h 2969978"/>
                <a:gd name="connsiteX26" fmla="*/ 7486022 w 11851944"/>
                <a:gd name="connsiteY26" fmla="*/ 2818908 h 2969978"/>
                <a:gd name="connsiteX27" fmla="*/ 7395587 w 11851944"/>
                <a:gd name="connsiteY27" fmla="*/ 2839004 h 2969978"/>
                <a:gd name="connsiteX28" fmla="*/ 7325248 w 11851944"/>
                <a:gd name="connsiteY28" fmla="*/ 2849053 h 2969978"/>
                <a:gd name="connsiteX29" fmla="*/ 6863024 w 11851944"/>
                <a:gd name="connsiteY29" fmla="*/ 2839004 h 2969978"/>
                <a:gd name="connsiteX30" fmla="*/ 6722347 w 11851944"/>
                <a:gd name="connsiteY30" fmla="*/ 2828956 h 2969978"/>
                <a:gd name="connsiteX31" fmla="*/ 4903596 w 11851944"/>
                <a:gd name="connsiteY31" fmla="*/ 2879198 h 2969978"/>
                <a:gd name="connsiteX32" fmla="*/ 4722725 w 11851944"/>
                <a:gd name="connsiteY32" fmla="*/ 2919391 h 2969978"/>
                <a:gd name="connsiteX33" fmla="*/ 4300695 w 11851944"/>
                <a:gd name="connsiteY33" fmla="*/ 2899294 h 2969978"/>
                <a:gd name="connsiteX34" fmla="*/ 4059534 w 11851944"/>
                <a:gd name="connsiteY34" fmla="*/ 2859101 h 2969978"/>
                <a:gd name="connsiteX35" fmla="*/ 3768132 w 11851944"/>
                <a:gd name="connsiteY35" fmla="*/ 2828956 h 2969978"/>
                <a:gd name="connsiteX36" fmla="*/ 3627455 w 11851944"/>
                <a:gd name="connsiteY36" fmla="*/ 2818908 h 2969978"/>
                <a:gd name="connsiteX37" fmla="*/ 3125037 w 11851944"/>
                <a:gd name="connsiteY37" fmla="*/ 2828956 h 2969978"/>
                <a:gd name="connsiteX38" fmla="*/ 3064747 w 11851944"/>
                <a:gd name="connsiteY38" fmla="*/ 2839004 h 2969978"/>
                <a:gd name="connsiteX39" fmla="*/ 2009670 w 11851944"/>
                <a:gd name="connsiteY39" fmla="*/ 2849053 h 2969978"/>
                <a:gd name="connsiteX40" fmla="*/ 1678075 w 11851944"/>
                <a:gd name="connsiteY40" fmla="*/ 2939488 h 2969978"/>
                <a:gd name="connsiteX41" fmla="*/ 1607736 w 11851944"/>
                <a:gd name="connsiteY41" fmla="*/ 2969633 h 2969978"/>
                <a:gd name="connsiteX42" fmla="*/ 1135464 w 11851944"/>
                <a:gd name="connsiteY42" fmla="*/ 2949536 h 2969978"/>
                <a:gd name="connsiteX43" fmla="*/ 944545 w 11851944"/>
                <a:gd name="connsiteY43" fmla="*/ 2919391 h 2969978"/>
                <a:gd name="connsiteX44" fmla="*/ 723481 w 11851944"/>
                <a:gd name="connsiteY44" fmla="*/ 2879198 h 2969978"/>
                <a:gd name="connsiteX45" fmla="*/ 643095 w 11851944"/>
                <a:gd name="connsiteY45" fmla="*/ 2869149 h 2969978"/>
                <a:gd name="connsiteX46" fmla="*/ 371789 w 11851944"/>
                <a:gd name="connsiteY46" fmla="*/ 2828956 h 2969978"/>
                <a:gd name="connsiteX47" fmla="*/ 0 w 11851944"/>
                <a:gd name="connsiteY47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486022 w 11851944"/>
                <a:gd name="connsiteY25" fmla="*/ 2818908 h 2969978"/>
                <a:gd name="connsiteX26" fmla="*/ 7395587 w 11851944"/>
                <a:gd name="connsiteY26" fmla="*/ 2839004 h 2969978"/>
                <a:gd name="connsiteX27" fmla="*/ 7325248 w 11851944"/>
                <a:gd name="connsiteY27" fmla="*/ 2849053 h 2969978"/>
                <a:gd name="connsiteX28" fmla="*/ 6863024 w 11851944"/>
                <a:gd name="connsiteY28" fmla="*/ 2839004 h 2969978"/>
                <a:gd name="connsiteX29" fmla="*/ 6722347 w 11851944"/>
                <a:gd name="connsiteY29" fmla="*/ 2828956 h 2969978"/>
                <a:gd name="connsiteX30" fmla="*/ 4903596 w 11851944"/>
                <a:gd name="connsiteY30" fmla="*/ 2879198 h 2969978"/>
                <a:gd name="connsiteX31" fmla="*/ 4722725 w 11851944"/>
                <a:gd name="connsiteY31" fmla="*/ 2919391 h 2969978"/>
                <a:gd name="connsiteX32" fmla="*/ 4300695 w 11851944"/>
                <a:gd name="connsiteY32" fmla="*/ 2899294 h 2969978"/>
                <a:gd name="connsiteX33" fmla="*/ 4059534 w 11851944"/>
                <a:gd name="connsiteY33" fmla="*/ 2859101 h 2969978"/>
                <a:gd name="connsiteX34" fmla="*/ 3768132 w 11851944"/>
                <a:gd name="connsiteY34" fmla="*/ 2828956 h 2969978"/>
                <a:gd name="connsiteX35" fmla="*/ 3627455 w 11851944"/>
                <a:gd name="connsiteY35" fmla="*/ 2818908 h 2969978"/>
                <a:gd name="connsiteX36" fmla="*/ 3125037 w 11851944"/>
                <a:gd name="connsiteY36" fmla="*/ 2828956 h 2969978"/>
                <a:gd name="connsiteX37" fmla="*/ 3064747 w 11851944"/>
                <a:gd name="connsiteY37" fmla="*/ 2839004 h 2969978"/>
                <a:gd name="connsiteX38" fmla="*/ 2009670 w 11851944"/>
                <a:gd name="connsiteY38" fmla="*/ 2849053 h 2969978"/>
                <a:gd name="connsiteX39" fmla="*/ 1678075 w 11851944"/>
                <a:gd name="connsiteY39" fmla="*/ 2939488 h 2969978"/>
                <a:gd name="connsiteX40" fmla="*/ 1607736 w 11851944"/>
                <a:gd name="connsiteY40" fmla="*/ 2969633 h 2969978"/>
                <a:gd name="connsiteX41" fmla="*/ 1135464 w 11851944"/>
                <a:gd name="connsiteY41" fmla="*/ 2949536 h 2969978"/>
                <a:gd name="connsiteX42" fmla="*/ 944545 w 11851944"/>
                <a:gd name="connsiteY42" fmla="*/ 2919391 h 2969978"/>
                <a:gd name="connsiteX43" fmla="*/ 723481 w 11851944"/>
                <a:gd name="connsiteY43" fmla="*/ 2879198 h 2969978"/>
                <a:gd name="connsiteX44" fmla="*/ 643095 w 11851944"/>
                <a:gd name="connsiteY44" fmla="*/ 2869149 h 2969978"/>
                <a:gd name="connsiteX45" fmla="*/ 371789 w 11851944"/>
                <a:gd name="connsiteY45" fmla="*/ 2828956 h 2969978"/>
                <a:gd name="connsiteX46" fmla="*/ 0 w 11851944"/>
                <a:gd name="connsiteY46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7395587 w 11851944"/>
                <a:gd name="connsiteY25" fmla="*/ 2839004 h 2969978"/>
                <a:gd name="connsiteX26" fmla="*/ 7325248 w 11851944"/>
                <a:gd name="connsiteY26" fmla="*/ 2849053 h 2969978"/>
                <a:gd name="connsiteX27" fmla="*/ 6863024 w 11851944"/>
                <a:gd name="connsiteY27" fmla="*/ 2839004 h 2969978"/>
                <a:gd name="connsiteX28" fmla="*/ 6722347 w 11851944"/>
                <a:gd name="connsiteY28" fmla="*/ 2828956 h 2969978"/>
                <a:gd name="connsiteX29" fmla="*/ 4903596 w 11851944"/>
                <a:gd name="connsiteY29" fmla="*/ 2879198 h 2969978"/>
                <a:gd name="connsiteX30" fmla="*/ 4722725 w 11851944"/>
                <a:gd name="connsiteY30" fmla="*/ 2919391 h 2969978"/>
                <a:gd name="connsiteX31" fmla="*/ 4300695 w 11851944"/>
                <a:gd name="connsiteY31" fmla="*/ 2899294 h 2969978"/>
                <a:gd name="connsiteX32" fmla="*/ 4059534 w 11851944"/>
                <a:gd name="connsiteY32" fmla="*/ 2859101 h 2969978"/>
                <a:gd name="connsiteX33" fmla="*/ 3768132 w 11851944"/>
                <a:gd name="connsiteY33" fmla="*/ 2828956 h 2969978"/>
                <a:gd name="connsiteX34" fmla="*/ 3627455 w 11851944"/>
                <a:gd name="connsiteY34" fmla="*/ 2818908 h 2969978"/>
                <a:gd name="connsiteX35" fmla="*/ 3125037 w 11851944"/>
                <a:gd name="connsiteY35" fmla="*/ 2828956 h 2969978"/>
                <a:gd name="connsiteX36" fmla="*/ 3064747 w 11851944"/>
                <a:gd name="connsiteY36" fmla="*/ 2839004 h 2969978"/>
                <a:gd name="connsiteX37" fmla="*/ 2009670 w 11851944"/>
                <a:gd name="connsiteY37" fmla="*/ 2849053 h 2969978"/>
                <a:gd name="connsiteX38" fmla="*/ 1678075 w 11851944"/>
                <a:gd name="connsiteY38" fmla="*/ 2939488 h 2969978"/>
                <a:gd name="connsiteX39" fmla="*/ 1607736 w 11851944"/>
                <a:gd name="connsiteY39" fmla="*/ 2969633 h 2969978"/>
                <a:gd name="connsiteX40" fmla="*/ 1135464 w 11851944"/>
                <a:gd name="connsiteY40" fmla="*/ 2949536 h 2969978"/>
                <a:gd name="connsiteX41" fmla="*/ 944545 w 11851944"/>
                <a:gd name="connsiteY41" fmla="*/ 2919391 h 2969978"/>
                <a:gd name="connsiteX42" fmla="*/ 723481 w 11851944"/>
                <a:gd name="connsiteY42" fmla="*/ 2879198 h 2969978"/>
                <a:gd name="connsiteX43" fmla="*/ 643095 w 11851944"/>
                <a:gd name="connsiteY43" fmla="*/ 2869149 h 2969978"/>
                <a:gd name="connsiteX44" fmla="*/ 371789 w 11851944"/>
                <a:gd name="connsiteY44" fmla="*/ 2828956 h 2969978"/>
                <a:gd name="connsiteX45" fmla="*/ 0 w 11851944"/>
                <a:gd name="connsiteY45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7395587 w 11851944"/>
                <a:gd name="connsiteY25" fmla="*/ 2839004 h 2969978"/>
                <a:gd name="connsiteX26" fmla="*/ 6863024 w 11851944"/>
                <a:gd name="connsiteY26" fmla="*/ 2839004 h 2969978"/>
                <a:gd name="connsiteX27" fmla="*/ 6722347 w 11851944"/>
                <a:gd name="connsiteY27" fmla="*/ 2828956 h 2969978"/>
                <a:gd name="connsiteX28" fmla="*/ 4903596 w 11851944"/>
                <a:gd name="connsiteY28" fmla="*/ 2879198 h 2969978"/>
                <a:gd name="connsiteX29" fmla="*/ 4722725 w 11851944"/>
                <a:gd name="connsiteY29" fmla="*/ 2919391 h 2969978"/>
                <a:gd name="connsiteX30" fmla="*/ 4300695 w 11851944"/>
                <a:gd name="connsiteY30" fmla="*/ 2899294 h 2969978"/>
                <a:gd name="connsiteX31" fmla="*/ 4059534 w 11851944"/>
                <a:gd name="connsiteY31" fmla="*/ 2859101 h 2969978"/>
                <a:gd name="connsiteX32" fmla="*/ 3768132 w 11851944"/>
                <a:gd name="connsiteY32" fmla="*/ 2828956 h 2969978"/>
                <a:gd name="connsiteX33" fmla="*/ 3627455 w 11851944"/>
                <a:gd name="connsiteY33" fmla="*/ 2818908 h 2969978"/>
                <a:gd name="connsiteX34" fmla="*/ 3125037 w 11851944"/>
                <a:gd name="connsiteY34" fmla="*/ 2828956 h 2969978"/>
                <a:gd name="connsiteX35" fmla="*/ 3064747 w 11851944"/>
                <a:gd name="connsiteY35" fmla="*/ 2839004 h 2969978"/>
                <a:gd name="connsiteX36" fmla="*/ 2009670 w 11851944"/>
                <a:gd name="connsiteY36" fmla="*/ 2849053 h 2969978"/>
                <a:gd name="connsiteX37" fmla="*/ 1678075 w 11851944"/>
                <a:gd name="connsiteY37" fmla="*/ 2939488 h 2969978"/>
                <a:gd name="connsiteX38" fmla="*/ 1607736 w 11851944"/>
                <a:gd name="connsiteY38" fmla="*/ 2969633 h 2969978"/>
                <a:gd name="connsiteX39" fmla="*/ 1135464 w 11851944"/>
                <a:gd name="connsiteY39" fmla="*/ 2949536 h 2969978"/>
                <a:gd name="connsiteX40" fmla="*/ 944545 w 11851944"/>
                <a:gd name="connsiteY40" fmla="*/ 2919391 h 2969978"/>
                <a:gd name="connsiteX41" fmla="*/ 723481 w 11851944"/>
                <a:gd name="connsiteY41" fmla="*/ 2879198 h 2969978"/>
                <a:gd name="connsiteX42" fmla="*/ 643095 w 11851944"/>
                <a:gd name="connsiteY42" fmla="*/ 2869149 h 2969978"/>
                <a:gd name="connsiteX43" fmla="*/ 371789 w 11851944"/>
                <a:gd name="connsiteY43" fmla="*/ 2828956 h 2969978"/>
                <a:gd name="connsiteX44" fmla="*/ 0 w 11851944"/>
                <a:gd name="connsiteY4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6863024 w 11851944"/>
                <a:gd name="connsiteY25" fmla="*/ 2839004 h 2969978"/>
                <a:gd name="connsiteX26" fmla="*/ 6722347 w 11851944"/>
                <a:gd name="connsiteY26" fmla="*/ 2828956 h 2969978"/>
                <a:gd name="connsiteX27" fmla="*/ 4903596 w 11851944"/>
                <a:gd name="connsiteY27" fmla="*/ 2879198 h 2969978"/>
                <a:gd name="connsiteX28" fmla="*/ 4722725 w 11851944"/>
                <a:gd name="connsiteY28" fmla="*/ 2919391 h 2969978"/>
                <a:gd name="connsiteX29" fmla="*/ 4300695 w 11851944"/>
                <a:gd name="connsiteY29" fmla="*/ 2899294 h 2969978"/>
                <a:gd name="connsiteX30" fmla="*/ 4059534 w 11851944"/>
                <a:gd name="connsiteY30" fmla="*/ 2859101 h 2969978"/>
                <a:gd name="connsiteX31" fmla="*/ 3768132 w 11851944"/>
                <a:gd name="connsiteY31" fmla="*/ 2828956 h 2969978"/>
                <a:gd name="connsiteX32" fmla="*/ 3627455 w 11851944"/>
                <a:gd name="connsiteY32" fmla="*/ 2818908 h 2969978"/>
                <a:gd name="connsiteX33" fmla="*/ 3125037 w 11851944"/>
                <a:gd name="connsiteY33" fmla="*/ 2828956 h 2969978"/>
                <a:gd name="connsiteX34" fmla="*/ 3064747 w 11851944"/>
                <a:gd name="connsiteY34" fmla="*/ 2839004 h 2969978"/>
                <a:gd name="connsiteX35" fmla="*/ 2009670 w 11851944"/>
                <a:gd name="connsiteY35" fmla="*/ 2849053 h 2969978"/>
                <a:gd name="connsiteX36" fmla="*/ 1678075 w 11851944"/>
                <a:gd name="connsiteY36" fmla="*/ 2939488 h 2969978"/>
                <a:gd name="connsiteX37" fmla="*/ 1607736 w 11851944"/>
                <a:gd name="connsiteY37" fmla="*/ 2969633 h 2969978"/>
                <a:gd name="connsiteX38" fmla="*/ 1135464 w 11851944"/>
                <a:gd name="connsiteY38" fmla="*/ 2949536 h 2969978"/>
                <a:gd name="connsiteX39" fmla="*/ 944545 w 11851944"/>
                <a:gd name="connsiteY39" fmla="*/ 2919391 h 2969978"/>
                <a:gd name="connsiteX40" fmla="*/ 723481 w 11851944"/>
                <a:gd name="connsiteY40" fmla="*/ 2879198 h 2969978"/>
                <a:gd name="connsiteX41" fmla="*/ 643095 w 11851944"/>
                <a:gd name="connsiteY41" fmla="*/ 2869149 h 2969978"/>
                <a:gd name="connsiteX42" fmla="*/ 371789 w 11851944"/>
                <a:gd name="connsiteY42" fmla="*/ 2828956 h 2969978"/>
                <a:gd name="connsiteX43" fmla="*/ 0 w 11851944"/>
                <a:gd name="connsiteY43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722725 w 11851944"/>
                <a:gd name="connsiteY27" fmla="*/ 2919391 h 2969978"/>
                <a:gd name="connsiteX28" fmla="*/ 4300695 w 11851944"/>
                <a:gd name="connsiteY28" fmla="*/ 2899294 h 2969978"/>
                <a:gd name="connsiteX29" fmla="*/ 4059534 w 11851944"/>
                <a:gd name="connsiteY29" fmla="*/ 2859101 h 2969978"/>
                <a:gd name="connsiteX30" fmla="*/ 3768132 w 11851944"/>
                <a:gd name="connsiteY30" fmla="*/ 2828956 h 2969978"/>
                <a:gd name="connsiteX31" fmla="*/ 3627455 w 11851944"/>
                <a:gd name="connsiteY31" fmla="*/ 2818908 h 2969978"/>
                <a:gd name="connsiteX32" fmla="*/ 3125037 w 11851944"/>
                <a:gd name="connsiteY32" fmla="*/ 2828956 h 2969978"/>
                <a:gd name="connsiteX33" fmla="*/ 3064747 w 11851944"/>
                <a:gd name="connsiteY33" fmla="*/ 2839004 h 2969978"/>
                <a:gd name="connsiteX34" fmla="*/ 2009670 w 11851944"/>
                <a:gd name="connsiteY34" fmla="*/ 2849053 h 2969978"/>
                <a:gd name="connsiteX35" fmla="*/ 1678075 w 11851944"/>
                <a:gd name="connsiteY35" fmla="*/ 2939488 h 2969978"/>
                <a:gd name="connsiteX36" fmla="*/ 1607736 w 11851944"/>
                <a:gd name="connsiteY36" fmla="*/ 2969633 h 2969978"/>
                <a:gd name="connsiteX37" fmla="*/ 1135464 w 11851944"/>
                <a:gd name="connsiteY37" fmla="*/ 2949536 h 2969978"/>
                <a:gd name="connsiteX38" fmla="*/ 944545 w 11851944"/>
                <a:gd name="connsiteY38" fmla="*/ 2919391 h 2969978"/>
                <a:gd name="connsiteX39" fmla="*/ 723481 w 11851944"/>
                <a:gd name="connsiteY39" fmla="*/ 2879198 h 2969978"/>
                <a:gd name="connsiteX40" fmla="*/ 643095 w 11851944"/>
                <a:gd name="connsiteY40" fmla="*/ 2869149 h 2969978"/>
                <a:gd name="connsiteX41" fmla="*/ 371789 w 11851944"/>
                <a:gd name="connsiteY41" fmla="*/ 2828956 h 2969978"/>
                <a:gd name="connsiteX42" fmla="*/ 0 w 11851944"/>
                <a:gd name="connsiteY42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300695 w 11851944"/>
                <a:gd name="connsiteY27" fmla="*/ 2899294 h 2969978"/>
                <a:gd name="connsiteX28" fmla="*/ 4059534 w 11851944"/>
                <a:gd name="connsiteY28" fmla="*/ 2859101 h 2969978"/>
                <a:gd name="connsiteX29" fmla="*/ 3768132 w 11851944"/>
                <a:gd name="connsiteY29" fmla="*/ 2828956 h 2969978"/>
                <a:gd name="connsiteX30" fmla="*/ 3627455 w 11851944"/>
                <a:gd name="connsiteY30" fmla="*/ 2818908 h 2969978"/>
                <a:gd name="connsiteX31" fmla="*/ 3125037 w 11851944"/>
                <a:gd name="connsiteY31" fmla="*/ 2828956 h 2969978"/>
                <a:gd name="connsiteX32" fmla="*/ 3064747 w 11851944"/>
                <a:gd name="connsiteY32" fmla="*/ 2839004 h 2969978"/>
                <a:gd name="connsiteX33" fmla="*/ 2009670 w 11851944"/>
                <a:gd name="connsiteY33" fmla="*/ 2849053 h 2969978"/>
                <a:gd name="connsiteX34" fmla="*/ 1678075 w 11851944"/>
                <a:gd name="connsiteY34" fmla="*/ 2939488 h 2969978"/>
                <a:gd name="connsiteX35" fmla="*/ 1607736 w 11851944"/>
                <a:gd name="connsiteY35" fmla="*/ 2969633 h 2969978"/>
                <a:gd name="connsiteX36" fmla="*/ 1135464 w 11851944"/>
                <a:gd name="connsiteY36" fmla="*/ 2949536 h 2969978"/>
                <a:gd name="connsiteX37" fmla="*/ 944545 w 11851944"/>
                <a:gd name="connsiteY37" fmla="*/ 2919391 h 2969978"/>
                <a:gd name="connsiteX38" fmla="*/ 723481 w 11851944"/>
                <a:gd name="connsiteY38" fmla="*/ 2879198 h 2969978"/>
                <a:gd name="connsiteX39" fmla="*/ 643095 w 11851944"/>
                <a:gd name="connsiteY39" fmla="*/ 2869149 h 2969978"/>
                <a:gd name="connsiteX40" fmla="*/ 371789 w 11851944"/>
                <a:gd name="connsiteY40" fmla="*/ 2828956 h 2969978"/>
                <a:gd name="connsiteX41" fmla="*/ 0 w 11851944"/>
                <a:gd name="connsiteY41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768132 w 11851944"/>
                <a:gd name="connsiteY28" fmla="*/ 2828956 h 2969978"/>
                <a:gd name="connsiteX29" fmla="*/ 3627455 w 11851944"/>
                <a:gd name="connsiteY29" fmla="*/ 2818908 h 2969978"/>
                <a:gd name="connsiteX30" fmla="*/ 3125037 w 11851944"/>
                <a:gd name="connsiteY30" fmla="*/ 2828956 h 2969978"/>
                <a:gd name="connsiteX31" fmla="*/ 3064747 w 11851944"/>
                <a:gd name="connsiteY31" fmla="*/ 2839004 h 2969978"/>
                <a:gd name="connsiteX32" fmla="*/ 2009670 w 11851944"/>
                <a:gd name="connsiteY32" fmla="*/ 2849053 h 2969978"/>
                <a:gd name="connsiteX33" fmla="*/ 1678075 w 11851944"/>
                <a:gd name="connsiteY33" fmla="*/ 2939488 h 2969978"/>
                <a:gd name="connsiteX34" fmla="*/ 1607736 w 11851944"/>
                <a:gd name="connsiteY34" fmla="*/ 2969633 h 2969978"/>
                <a:gd name="connsiteX35" fmla="*/ 1135464 w 11851944"/>
                <a:gd name="connsiteY35" fmla="*/ 2949536 h 2969978"/>
                <a:gd name="connsiteX36" fmla="*/ 944545 w 11851944"/>
                <a:gd name="connsiteY36" fmla="*/ 2919391 h 2969978"/>
                <a:gd name="connsiteX37" fmla="*/ 723481 w 11851944"/>
                <a:gd name="connsiteY37" fmla="*/ 2879198 h 2969978"/>
                <a:gd name="connsiteX38" fmla="*/ 643095 w 11851944"/>
                <a:gd name="connsiteY38" fmla="*/ 2869149 h 2969978"/>
                <a:gd name="connsiteX39" fmla="*/ 371789 w 11851944"/>
                <a:gd name="connsiteY39" fmla="*/ 2828956 h 2969978"/>
                <a:gd name="connsiteX40" fmla="*/ 0 w 11851944"/>
                <a:gd name="connsiteY40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627455 w 11851944"/>
                <a:gd name="connsiteY28" fmla="*/ 2818908 h 2969978"/>
                <a:gd name="connsiteX29" fmla="*/ 3125037 w 11851944"/>
                <a:gd name="connsiteY29" fmla="*/ 2828956 h 2969978"/>
                <a:gd name="connsiteX30" fmla="*/ 3064747 w 11851944"/>
                <a:gd name="connsiteY30" fmla="*/ 2839004 h 2969978"/>
                <a:gd name="connsiteX31" fmla="*/ 2009670 w 11851944"/>
                <a:gd name="connsiteY31" fmla="*/ 2849053 h 2969978"/>
                <a:gd name="connsiteX32" fmla="*/ 1678075 w 11851944"/>
                <a:gd name="connsiteY32" fmla="*/ 2939488 h 2969978"/>
                <a:gd name="connsiteX33" fmla="*/ 1607736 w 11851944"/>
                <a:gd name="connsiteY33" fmla="*/ 2969633 h 2969978"/>
                <a:gd name="connsiteX34" fmla="*/ 1135464 w 11851944"/>
                <a:gd name="connsiteY34" fmla="*/ 2949536 h 2969978"/>
                <a:gd name="connsiteX35" fmla="*/ 944545 w 11851944"/>
                <a:gd name="connsiteY35" fmla="*/ 2919391 h 2969978"/>
                <a:gd name="connsiteX36" fmla="*/ 723481 w 11851944"/>
                <a:gd name="connsiteY36" fmla="*/ 2879198 h 2969978"/>
                <a:gd name="connsiteX37" fmla="*/ 643095 w 11851944"/>
                <a:gd name="connsiteY37" fmla="*/ 2869149 h 2969978"/>
                <a:gd name="connsiteX38" fmla="*/ 371789 w 11851944"/>
                <a:gd name="connsiteY38" fmla="*/ 2828956 h 2969978"/>
                <a:gd name="connsiteX39" fmla="*/ 0 w 11851944"/>
                <a:gd name="connsiteY39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125037 w 11851944"/>
                <a:gd name="connsiteY28" fmla="*/ 2828956 h 2969978"/>
                <a:gd name="connsiteX29" fmla="*/ 3064747 w 11851944"/>
                <a:gd name="connsiteY29" fmla="*/ 2839004 h 2969978"/>
                <a:gd name="connsiteX30" fmla="*/ 2009670 w 11851944"/>
                <a:gd name="connsiteY30" fmla="*/ 2849053 h 2969978"/>
                <a:gd name="connsiteX31" fmla="*/ 1678075 w 11851944"/>
                <a:gd name="connsiteY31" fmla="*/ 2939488 h 2969978"/>
                <a:gd name="connsiteX32" fmla="*/ 1607736 w 11851944"/>
                <a:gd name="connsiteY32" fmla="*/ 2969633 h 2969978"/>
                <a:gd name="connsiteX33" fmla="*/ 1135464 w 11851944"/>
                <a:gd name="connsiteY33" fmla="*/ 2949536 h 2969978"/>
                <a:gd name="connsiteX34" fmla="*/ 944545 w 11851944"/>
                <a:gd name="connsiteY34" fmla="*/ 2919391 h 2969978"/>
                <a:gd name="connsiteX35" fmla="*/ 723481 w 11851944"/>
                <a:gd name="connsiteY35" fmla="*/ 2879198 h 2969978"/>
                <a:gd name="connsiteX36" fmla="*/ 643095 w 11851944"/>
                <a:gd name="connsiteY36" fmla="*/ 2869149 h 2969978"/>
                <a:gd name="connsiteX37" fmla="*/ 371789 w 11851944"/>
                <a:gd name="connsiteY37" fmla="*/ 2828956 h 2969978"/>
                <a:gd name="connsiteX38" fmla="*/ 0 w 11851944"/>
                <a:gd name="connsiteY38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064747 w 11851944"/>
                <a:gd name="connsiteY28" fmla="*/ 2839004 h 2969978"/>
                <a:gd name="connsiteX29" fmla="*/ 2009670 w 11851944"/>
                <a:gd name="connsiteY29" fmla="*/ 2849053 h 2969978"/>
                <a:gd name="connsiteX30" fmla="*/ 1678075 w 11851944"/>
                <a:gd name="connsiteY30" fmla="*/ 2939488 h 2969978"/>
                <a:gd name="connsiteX31" fmla="*/ 1607736 w 11851944"/>
                <a:gd name="connsiteY31" fmla="*/ 2969633 h 2969978"/>
                <a:gd name="connsiteX32" fmla="*/ 1135464 w 11851944"/>
                <a:gd name="connsiteY32" fmla="*/ 2949536 h 2969978"/>
                <a:gd name="connsiteX33" fmla="*/ 944545 w 11851944"/>
                <a:gd name="connsiteY33" fmla="*/ 2919391 h 2969978"/>
                <a:gd name="connsiteX34" fmla="*/ 723481 w 11851944"/>
                <a:gd name="connsiteY34" fmla="*/ 2879198 h 2969978"/>
                <a:gd name="connsiteX35" fmla="*/ 643095 w 11851944"/>
                <a:gd name="connsiteY35" fmla="*/ 2869149 h 2969978"/>
                <a:gd name="connsiteX36" fmla="*/ 371789 w 11851944"/>
                <a:gd name="connsiteY36" fmla="*/ 2828956 h 2969978"/>
                <a:gd name="connsiteX37" fmla="*/ 0 w 11851944"/>
                <a:gd name="connsiteY37" fmla="*/ 2818908 h 2969978"/>
                <a:gd name="connsiteX0" fmla="*/ 120580 w 11851944"/>
                <a:gd name="connsiteY0" fmla="*/ 55611 h 2974631"/>
                <a:gd name="connsiteX1" fmla="*/ 281354 w 11851944"/>
                <a:gd name="connsiteY1" fmla="*/ 45562 h 2974631"/>
                <a:gd name="connsiteX2" fmla="*/ 673240 w 11851944"/>
                <a:gd name="connsiteY2" fmla="*/ 35514 h 2974631"/>
                <a:gd name="connsiteX3" fmla="*/ 1356528 w 11851944"/>
                <a:gd name="connsiteY3" fmla="*/ 85756 h 2974631"/>
                <a:gd name="connsiteX4" fmla="*/ 1758462 w 11851944"/>
                <a:gd name="connsiteY4" fmla="*/ 45562 h 2974631"/>
                <a:gd name="connsiteX5" fmla="*/ 2140299 w 11851944"/>
                <a:gd name="connsiteY5" fmla="*/ 45562 h 2974631"/>
                <a:gd name="connsiteX6" fmla="*/ 4652387 w 11851944"/>
                <a:gd name="connsiteY6" fmla="*/ 65659 h 2974631"/>
                <a:gd name="connsiteX7" fmla="*/ 4692580 w 11851944"/>
                <a:gd name="connsiteY7" fmla="*/ 75708 h 2974631"/>
                <a:gd name="connsiteX8" fmla="*/ 6420897 w 11851944"/>
                <a:gd name="connsiteY8" fmla="*/ 95804 h 2974631"/>
                <a:gd name="connsiteX9" fmla="*/ 7184571 w 11851944"/>
                <a:gd name="connsiteY9" fmla="*/ 65659 h 2974631"/>
                <a:gd name="connsiteX10" fmla="*/ 7928150 w 11851944"/>
                <a:gd name="connsiteY10" fmla="*/ 65659 h 2974631"/>
                <a:gd name="connsiteX11" fmla="*/ 8219552 w 11851944"/>
                <a:gd name="connsiteY11" fmla="*/ 95804 h 2974631"/>
                <a:gd name="connsiteX12" fmla="*/ 9606224 w 11851944"/>
                <a:gd name="connsiteY12" fmla="*/ 95804 h 2974631"/>
                <a:gd name="connsiteX13" fmla="*/ 9947868 w 11851944"/>
                <a:gd name="connsiteY13" fmla="*/ 65659 h 2974631"/>
                <a:gd name="connsiteX14" fmla="*/ 10791930 w 11851944"/>
                <a:gd name="connsiteY14" fmla="*/ 35514 h 2974631"/>
                <a:gd name="connsiteX15" fmla="*/ 11736475 w 11851944"/>
                <a:gd name="connsiteY15" fmla="*/ 55611 h 2974631"/>
                <a:gd name="connsiteX16" fmla="*/ 11806813 w 11851944"/>
                <a:gd name="connsiteY16" fmla="*/ 769044 h 2974631"/>
                <a:gd name="connsiteX17" fmla="*/ 11816862 w 11851944"/>
                <a:gd name="connsiteY17" fmla="*/ 2336587 h 2974631"/>
                <a:gd name="connsiteX18" fmla="*/ 11806813 w 11851944"/>
                <a:gd name="connsiteY18" fmla="*/ 2828956 h 2974631"/>
                <a:gd name="connsiteX19" fmla="*/ 11033090 w 11851944"/>
                <a:gd name="connsiteY19" fmla="*/ 2859101 h 2974631"/>
                <a:gd name="connsiteX20" fmla="*/ 10128739 w 11851944"/>
                <a:gd name="connsiteY20" fmla="*/ 2859101 h 2974631"/>
                <a:gd name="connsiteX21" fmla="*/ 9555982 w 11851944"/>
                <a:gd name="connsiteY21" fmla="*/ 2859101 h 2974631"/>
                <a:gd name="connsiteX22" fmla="*/ 9204290 w 11851944"/>
                <a:gd name="connsiteY22" fmla="*/ 2808859 h 2974631"/>
                <a:gd name="connsiteX23" fmla="*/ 7486022 w 11851944"/>
                <a:gd name="connsiteY23" fmla="*/ 2818908 h 2974631"/>
                <a:gd name="connsiteX24" fmla="*/ 6863024 w 11851944"/>
                <a:gd name="connsiteY24" fmla="*/ 2839004 h 2974631"/>
                <a:gd name="connsiteX25" fmla="*/ 6722347 w 11851944"/>
                <a:gd name="connsiteY25" fmla="*/ 2828956 h 2974631"/>
                <a:gd name="connsiteX26" fmla="*/ 4903596 w 11851944"/>
                <a:gd name="connsiteY26" fmla="*/ 2879198 h 2974631"/>
                <a:gd name="connsiteX27" fmla="*/ 4059534 w 11851944"/>
                <a:gd name="connsiteY27" fmla="*/ 2859101 h 2974631"/>
                <a:gd name="connsiteX28" fmla="*/ 3064747 w 11851944"/>
                <a:gd name="connsiteY28" fmla="*/ 2839004 h 2974631"/>
                <a:gd name="connsiteX29" fmla="*/ 2009670 w 11851944"/>
                <a:gd name="connsiteY29" fmla="*/ 2849053 h 2974631"/>
                <a:gd name="connsiteX30" fmla="*/ 1607736 w 11851944"/>
                <a:gd name="connsiteY30" fmla="*/ 2969633 h 2974631"/>
                <a:gd name="connsiteX31" fmla="*/ 1135464 w 11851944"/>
                <a:gd name="connsiteY31" fmla="*/ 2949536 h 2974631"/>
                <a:gd name="connsiteX32" fmla="*/ 944545 w 11851944"/>
                <a:gd name="connsiteY32" fmla="*/ 2919391 h 2974631"/>
                <a:gd name="connsiteX33" fmla="*/ 723481 w 11851944"/>
                <a:gd name="connsiteY33" fmla="*/ 2879198 h 2974631"/>
                <a:gd name="connsiteX34" fmla="*/ 643095 w 11851944"/>
                <a:gd name="connsiteY34" fmla="*/ 2869149 h 2974631"/>
                <a:gd name="connsiteX35" fmla="*/ 371789 w 11851944"/>
                <a:gd name="connsiteY35" fmla="*/ 2828956 h 2974631"/>
                <a:gd name="connsiteX36" fmla="*/ 0 w 11851944"/>
                <a:gd name="connsiteY36" fmla="*/ 2818908 h 2974631"/>
                <a:gd name="connsiteX0" fmla="*/ 120580 w 11851944"/>
                <a:gd name="connsiteY0" fmla="*/ 55611 h 2949536"/>
                <a:gd name="connsiteX1" fmla="*/ 281354 w 11851944"/>
                <a:gd name="connsiteY1" fmla="*/ 45562 h 2949536"/>
                <a:gd name="connsiteX2" fmla="*/ 673240 w 11851944"/>
                <a:gd name="connsiteY2" fmla="*/ 35514 h 2949536"/>
                <a:gd name="connsiteX3" fmla="*/ 1356528 w 11851944"/>
                <a:gd name="connsiteY3" fmla="*/ 85756 h 2949536"/>
                <a:gd name="connsiteX4" fmla="*/ 1758462 w 11851944"/>
                <a:gd name="connsiteY4" fmla="*/ 45562 h 2949536"/>
                <a:gd name="connsiteX5" fmla="*/ 2140299 w 11851944"/>
                <a:gd name="connsiteY5" fmla="*/ 45562 h 2949536"/>
                <a:gd name="connsiteX6" fmla="*/ 4652387 w 11851944"/>
                <a:gd name="connsiteY6" fmla="*/ 65659 h 2949536"/>
                <a:gd name="connsiteX7" fmla="*/ 4692580 w 11851944"/>
                <a:gd name="connsiteY7" fmla="*/ 75708 h 2949536"/>
                <a:gd name="connsiteX8" fmla="*/ 6420897 w 11851944"/>
                <a:gd name="connsiteY8" fmla="*/ 95804 h 2949536"/>
                <a:gd name="connsiteX9" fmla="*/ 7184571 w 11851944"/>
                <a:gd name="connsiteY9" fmla="*/ 65659 h 2949536"/>
                <a:gd name="connsiteX10" fmla="*/ 7928150 w 11851944"/>
                <a:gd name="connsiteY10" fmla="*/ 65659 h 2949536"/>
                <a:gd name="connsiteX11" fmla="*/ 8219552 w 11851944"/>
                <a:gd name="connsiteY11" fmla="*/ 95804 h 2949536"/>
                <a:gd name="connsiteX12" fmla="*/ 9606224 w 11851944"/>
                <a:gd name="connsiteY12" fmla="*/ 95804 h 2949536"/>
                <a:gd name="connsiteX13" fmla="*/ 9947868 w 11851944"/>
                <a:gd name="connsiteY13" fmla="*/ 65659 h 2949536"/>
                <a:gd name="connsiteX14" fmla="*/ 10791930 w 11851944"/>
                <a:gd name="connsiteY14" fmla="*/ 35514 h 2949536"/>
                <a:gd name="connsiteX15" fmla="*/ 11736475 w 11851944"/>
                <a:gd name="connsiteY15" fmla="*/ 55611 h 2949536"/>
                <a:gd name="connsiteX16" fmla="*/ 11806813 w 11851944"/>
                <a:gd name="connsiteY16" fmla="*/ 769044 h 2949536"/>
                <a:gd name="connsiteX17" fmla="*/ 11816862 w 11851944"/>
                <a:gd name="connsiteY17" fmla="*/ 2336587 h 2949536"/>
                <a:gd name="connsiteX18" fmla="*/ 11806813 w 11851944"/>
                <a:gd name="connsiteY18" fmla="*/ 2828956 h 2949536"/>
                <a:gd name="connsiteX19" fmla="*/ 11033090 w 11851944"/>
                <a:gd name="connsiteY19" fmla="*/ 2859101 h 2949536"/>
                <a:gd name="connsiteX20" fmla="*/ 10128739 w 11851944"/>
                <a:gd name="connsiteY20" fmla="*/ 2859101 h 2949536"/>
                <a:gd name="connsiteX21" fmla="*/ 9555982 w 11851944"/>
                <a:gd name="connsiteY21" fmla="*/ 2859101 h 2949536"/>
                <a:gd name="connsiteX22" fmla="*/ 9204290 w 11851944"/>
                <a:gd name="connsiteY22" fmla="*/ 2808859 h 2949536"/>
                <a:gd name="connsiteX23" fmla="*/ 7486022 w 11851944"/>
                <a:gd name="connsiteY23" fmla="*/ 2818908 h 2949536"/>
                <a:gd name="connsiteX24" fmla="*/ 6863024 w 11851944"/>
                <a:gd name="connsiteY24" fmla="*/ 2839004 h 2949536"/>
                <a:gd name="connsiteX25" fmla="*/ 6722347 w 11851944"/>
                <a:gd name="connsiteY25" fmla="*/ 2828956 h 2949536"/>
                <a:gd name="connsiteX26" fmla="*/ 4903596 w 11851944"/>
                <a:gd name="connsiteY26" fmla="*/ 2879198 h 2949536"/>
                <a:gd name="connsiteX27" fmla="*/ 4059534 w 11851944"/>
                <a:gd name="connsiteY27" fmla="*/ 2859101 h 2949536"/>
                <a:gd name="connsiteX28" fmla="*/ 3064747 w 11851944"/>
                <a:gd name="connsiteY28" fmla="*/ 2839004 h 2949536"/>
                <a:gd name="connsiteX29" fmla="*/ 2009670 w 11851944"/>
                <a:gd name="connsiteY29" fmla="*/ 2849053 h 2949536"/>
                <a:gd name="connsiteX30" fmla="*/ 1135464 w 11851944"/>
                <a:gd name="connsiteY30" fmla="*/ 2949536 h 2949536"/>
                <a:gd name="connsiteX31" fmla="*/ 944545 w 11851944"/>
                <a:gd name="connsiteY31" fmla="*/ 2919391 h 2949536"/>
                <a:gd name="connsiteX32" fmla="*/ 723481 w 11851944"/>
                <a:gd name="connsiteY32" fmla="*/ 2879198 h 2949536"/>
                <a:gd name="connsiteX33" fmla="*/ 643095 w 11851944"/>
                <a:gd name="connsiteY33" fmla="*/ 2869149 h 2949536"/>
                <a:gd name="connsiteX34" fmla="*/ 371789 w 11851944"/>
                <a:gd name="connsiteY34" fmla="*/ 2828956 h 2949536"/>
                <a:gd name="connsiteX35" fmla="*/ 0 w 11851944"/>
                <a:gd name="connsiteY35" fmla="*/ 2818908 h 2949536"/>
                <a:gd name="connsiteX0" fmla="*/ 120580 w 11851944"/>
                <a:gd name="connsiteY0" fmla="*/ 55611 h 2949840"/>
                <a:gd name="connsiteX1" fmla="*/ 281354 w 11851944"/>
                <a:gd name="connsiteY1" fmla="*/ 45562 h 2949840"/>
                <a:gd name="connsiteX2" fmla="*/ 673240 w 11851944"/>
                <a:gd name="connsiteY2" fmla="*/ 35514 h 2949840"/>
                <a:gd name="connsiteX3" fmla="*/ 1356528 w 11851944"/>
                <a:gd name="connsiteY3" fmla="*/ 85756 h 2949840"/>
                <a:gd name="connsiteX4" fmla="*/ 1758462 w 11851944"/>
                <a:gd name="connsiteY4" fmla="*/ 45562 h 2949840"/>
                <a:gd name="connsiteX5" fmla="*/ 2140299 w 11851944"/>
                <a:gd name="connsiteY5" fmla="*/ 45562 h 2949840"/>
                <a:gd name="connsiteX6" fmla="*/ 4652387 w 11851944"/>
                <a:gd name="connsiteY6" fmla="*/ 65659 h 2949840"/>
                <a:gd name="connsiteX7" fmla="*/ 4692580 w 11851944"/>
                <a:gd name="connsiteY7" fmla="*/ 75708 h 2949840"/>
                <a:gd name="connsiteX8" fmla="*/ 6420897 w 11851944"/>
                <a:gd name="connsiteY8" fmla="*/ 95804 h 2949840"/>
                <a:gd name="connsiteX9" fmla="*/ 7184571 w 11851944"/>
                <a:gd name="connsiteY9" fmla="*/ 65659 h 2949840"/>
                <a:gd name="connsiteX10" fmla="*/ 7928150 w 11851944"/>
                <a:gd name="connsiteY10" fmla="*/ 65659 h 2949840"/>
                <a:gd name="connsiteX11" fmla="*/ 8219552 w 11851944"/>
                <a:gd name="connsiteY11" fmla="*/ 95804 h 2949840"/>
                <a:gd name="connsiteX12" fmla="*/ 9606224 w 11851944"/>
                <a:gd name="connsiteY12" fmla="*/ 95804 h 2949840"/>
                <a:gd name="connsiteX13" fmla="*/ 9947868 w 11851944"/>
                <a:gd name="connsiteY13" fmla="*/ 65659 h 2949840"/>
                <a:gd name="connsiteX14" fmla="*/ 10791930 w 11851944"/>
                <a:gd name="connsiteY14" fmla="*/ 35514 h 2949840"/>
                <a:gd name="connsiteX15" fmla="*/ 11736475 w 11851944"/>
                <a:gd name="connsiteY15" fmla="*/ 55611 h 2949840"/>
                <a:gd name="connsiteX16" fmla="*/ 11806813 w 11851944"/>
                <a:gd name="connsiteY16" fmla="*/ 769044 h 2949840"/>
                <a:gd name="connsiteX17" fmla="*/ 11816862 w 11851944"/>
                <a:gd name="connsiteY17" fmla="*/ 2336587 h 2949840"/>
                <a:gd name="connsiteX18" fmla="*/ 11806813 w 11851944"/>
                <a:gd name="connsiteY18" fmla="*/ 2828956 h 2949840"/>
                <a:gd name="connsiteX19" fmla="*/ 11033090 w 11851944"/>
                <a:gd name="connsiteY19" fmla="*/ 2859101 h 2949840"/>
                <a:gd name="connsiteX20" fmla="*/ 10128739 w 11851944"/>
                <a:gd name="connsiteY20" fmla="*/ 2859101 h 2949840"/>
                <a:gd name="connsiteX21" fmla="*/ 9555982 w 11851944"/>
                <a:gd name="connsiteY21" fmla="*/ 2859101 h 2949840"/>
                <a:gd name="connsiteX22" fmla="*/ 9204290 w 11851944"/>
                <a:gd name="connsiteY22" fmla="*/ 2808859 h 2949840"/>
                <a:gd name="connsiteX23" fmla="*/ 7486022 w 11851944"/>
                <a:gd name="connsiteY23" fmla="*/ 2818908 h 2949840"/>
                <a:gd name="connsiteX24" fmla="*/ 6863024 w 11851944"/>
                <a:gd name="connsiteY24" fmla="*/ 2839004 h 2949840"/>
                <a:gd name="connsiteX25" fmla="*/ 6722347 w 11851944"/>
                <a:gd name="connsiteY25" fmla="*/ 2828956 h 2949840"/>
                <a:gd name="connsiteX26" fmla="*/ 4903596 w 11851944"/>
                <a:gd name="connsiteY26" fmla="*/ 2879198 h 2949840"/>
                <a:gd name="connsiteX27" fmla="*/ 4059534 w 11851944"/>
                <a:gd name="connsiteY27" fmla="*/ 2859101 h 2949840"/>
                <a:gd name="connsiteX28" fmla="*/ 3064747 w 11851944"/>
                <a:gd name="connsiteY28" fmla="*/ 2839004 h 2949840"/>
                <a:gd name="connsiteX29" fmla="*/ 2009670 w 11851944"/>
                <a:gd name="connsiteY29" fmla="*/ 2849053 h 2949840"/>
                <a:gd name="connsiteX30" fmla="*/ 1205803 w 11851944"/>
                <a:gd name="connsiteY30" fmla="*/ 2929437 h 2949840"/>
                <a:gd name="connsiteX31" fmla="*/ 1135464 w 11851944"/>
                <a:gd name="connsiteY31" fmla="*/ 2949536 h 2949840"/>
                <a:gd name="connsiteX32" fmla="*/ 944545 w 11851944"/>
                <a:gd name="connsiteY32" fmla="*/ 2919391 h 2949840"/>
                <a:gd name="connsiteX33" fmla="*/ 723481 w 11851944"/>
                <a:gd name="connsiteY33" fmla="*/ 2879198 h 2949840"/>
                <a:gd name="connsiteX34" fmla="*/ 643095 w 11851944"/>
                <a:gd name="connsiteY34" fmla="*/ 2869149 h 2949840"/>
                <a:gd name="connsiteX35" fmla="*/ 371789 w 11851944"/>
                <a:gd name="connsiteY35" fmla="*/ 2828956 h 2949840"/>
                <a:gd name="connsiteX36" fmla="*/ 0 w 11851944"/>
                <a:gd name="connsiteY36" fmla="*/ 2818908 h 2949840"/>
                <a:gd name="connsiteX0" fmla="*/ 120580 w 11851944"/>
                <a:gd name="connsiteY0" fmla="*/ 55611 h 2934038"/>
                <a:gd name="connsiteX1" fmla="*/ 281354 w 11851944"/>
                <a:gd name="connsiteY1" fmla="*/ 45562 h 2934038"/>
                <a:gd name="connsiteX2" fmla="*/ 673240 w 11851944"/>
                <a:gd name="connsiteY2" fmla="*/ 35514 h 2934038"/>
                <a:gd name="connsiteX3" fmla="*/ 1356528 w 11851944"/>
                <a:gd name="connsiteY3" fmla="*/ 85756 h 2934038"/>
                <a:gd name="connsiteX4" fmla="*/ 1758462 w 11851944"/>
                <a:gd name="connsiteY4" fmla="*/ 45562 h 2934038"/>
                <a:gd name="connsiteX5" fmla="*/ 2140299 w 11851944"/>
                <a:gd name="connsiteY5" fmla="*/ 45562 h 2934038"/>
                <a:gd name="connsiteX6" fmla="*/ 4652387 w 11851944"/>
                <a:gd name="connsiteY6" fmla="*/ 65659 h 2934038"/>
                <a:gd name="connsiteX7" fmla="*/ 4692580 w 11851944"/>
                <a:gd name="connsiteY7" fmla="*/ 75708 h 2934038"/>
                <a:gd name="connsiteX8" fmla="*/ 6420897 w 11851944"/>
                <a:gd name="connsiteY8" fmla="*/ 95804 h 2934038"/>
                <a:gd name="connsiteX9" fmla="*/ 7184571 w 11851944"/>
                <a:gd name="connsiteY9" fmla="*/ 65659 h 2934038"/>
                <a:gd name="connsiteX10" fmla="*/ 7928150 w 11851944"/>
                <a:gd name="connsiteY10" fmla="*/ 65659 h 2934038"/>
                <a:gd name="connsiteX11" fmla="*/ 8219552 w 11851944"/>
                <a:gd name="connsiteY11" fmla="*/ 95804 h 2934038"/>
                <a:gd name="connsiteX12" fmla="*/ 9606224 w 11851944"/>
                <a:gd name="connsiteY12" fmla="*/ 95804 h 2934038"/>
                <a:gd name="connsiteX13" fmla="*/ 9947868 w 11851944"/>
                <a:gd name="connsiteY13" fmla="*/ 65659 h 2934038"/>
                <a:gd name="connsiteX14" fmla="*/ 10791930 w 11851944"/>
                <a:gd name="connsiteY14" fmla="*/ 35514 h 2934038"/>
                <a:gd name="connsiteX15" fmla="*/ 11736475 w 11851944"/>
                <a:gd name="connsiteY15" fmla="*/ 55611 h 2934038"/>
                <a:gd name="connsiteX16" fmla="*/ 11806813 w 11851944"/>
                <a:gd name="connsiteY16" fmla="*/ 769044 h 2934038"/>
                <a:gd name="connsiteX17" fmla="*/ 11816862 w 11851944"/>
                <a:gd name="connsiteY17" fmla="*/ 2336587 h 2934038"/>
                <a:gd name="connsiteX18" fmla="*/ 11806813 w 11851944"/>
                <a:gd name="connsiteY18" fmla="*/ 2828956 h 2934038"/>
                <a:gd name="connsiteX19" fmla="*/ 11033090 w 11851944"/>
                <a:gd name="connsiteY19" fmla="*/ 2859101 h 2934038"/>
                <a:gd name="connsiteX20" fmla="*/ 10128739 w 11851944"/>
                <a:gd name="connsiteY20" fmla="*/ 2859101 h 2934038"/>
                <a:gd name="connsiteX21" fmla="*/ 9555982 w 11851944"/>
                <a:gd name="connsiteY21" fmla="*/ 2859101 h 2934038"/>
                <a:gd name="connsiteX22" fmla="*/ 9204290 w 11851944"/>
                <a:gd name="connsiteY22" fmla="*/ 2808859 h 2934038"/>
                <a:gd name="connsiteX23" fmla="*/ 7486022 w 11851944"/>
                <a:gd name="connsiteY23" fmla="*/ 2818908 h 2934038"/>
                <a:gd name="connsiteX24" fmla="*/ 6863024 w 11851944"/>
                <a:gd name="connsiteY24" fmla="*/ 2839004 h 2934038"/>
                <a:gd name="connsiteX25" fmla="*/ 6722347 w 11851944"/>
                <a:gd name="connsiteY25" fmla="*/ 2828956 h 2934038"/>
                <a:gd name="connsiteX26" fmla="*/ 4903596 w 11851944"/>
                <a:gd name="connsiteY26" fmla="*/ 2879198 h 2934038"/>
                <a:gd name="connsiteX27" fmla="*/ 4059534 w 11851944"/>
                <a:gd name="connsiteY27" fmla="*/ 2859101 h 2934038"/>
                <a:gd name="connsiteX28" fmla="*/ 3064747 w 11851944"/>
                <a:gd name="connsiteY28" fmla="*/ 2839004 h 2934038"/>
                <a:gd name="connsiteX29" fmla="*/ 2009670 w 11851944"/>
                <a:gd name="connsiteY29" fmla="*/ 2849053 h 2934038"/>
                <a:gd name="connsiteX30" fmla="*/ 1205803 w 11851944"/>
                <a:gd name="connsiteY30" fmla="*/ 2929437 h 2934038"/>
                <a:gd name="connsiteX31" fmla="*/ 944545 w 11851944"/>
                <a:gd name="connsiteY31" fmla="*/ 2919391 h 2934038"/>
                <a:gd name="connsiteX32" fmla="*/ 723481 w 11851944"/>
                <a:gd name="connsiteY32" fmla="*/ 2879198 h 2934038"/>
                <a:gd name="connsiteX33" fmla="*/ 643095 w 11851944"/>
                <a:gd name="connsiteY33" fmla="*/ 2869149 h 2934038"/>
                <a:gd name="connsiteX34" fmla="*/ 371789 w 11851944"/>
                <a:gd name="connsiteY34" fmla="*/ 2828956 h 2934038"/>
                <a:gd name="connsiteX35" fmla="*/ 0 w 11851944"/>
                <a:gd name="connsiteY35" fmla="*/ 2818908 h 2934038"/>
                <a:gd name="connsiteX0" fmla="*/ 120580 w 11851944"/>
                <a:gd name="connsiteY0" fmla="*/ 55611 h 2919923"/>
                <a:gd name="connsiteX1" fmla="*/ 281354 w 11851944"/>
                <a:gd name="connsiteY1" fmla="*/ 45562 h 2919923"/>
                <a:gd name="connsiteX2" fmla="*/ 673240 w 11851944"/>
                <a:gd name="connsiteY2" fmla="*/ 35514 h 2919923"/>
                <a:gd name="connsiteX3" fmla="*/ 1356528 w 11851944"/>
                <a:gd name="connsiteY3" fmla="*/ 85756 h 2919923"/>
                <a:gd name="connsiteX4" fmla="*/ 1758462 w 11851944"/>
                <a:gd name="connsiteY4" fmla="*/ 45562 h 2919923"/>
                <a:gd name="connsiteX5" fmla="*/ 2140299 w 11851944"/>
                <a:gd name="connsiteY5" fmla="*/ 45562 h 2919923"/>
                <a:gd name="connsiteX6" fmla="*/ 4652387 w 11851944"/>
                <a:gd name="connsiteY6" fmla="*/ 65659 h 2919923"/>
                <a:gd name="connsiteX7" fmla="*/ 4692580 w 11851944"/>
                <a:gd name="connsiteY7" fmla="*/ 75708 h 2919923"/>
                <a:gd name="connsiteX8" fmla="*/ 6420897 w 11851944"/>
                <a:gd name="connsiteY8" fmla="*/ 95804 h 2919923"/>
                <a:gd name="connsiteX9" fmla="*/ 7184571 w 11851944"/>
                <a:gd name="connsiteY9" fmla="*/ 65659 h 2919923"/>
                <a:gd name="connsiteX10" fmla="*/ 7928150 w 11851944"/>
                <a:gd name="connsiteY10" fmla="*/ 65659 h 2919923"/>
                <a:gd name="connsiteX11" fmla="*/ 8219552 w 11851944"/>
                <a:gd name="connsiteY11" fmla="*/ 95804 h 2919923"/>
                <a:gd name="connsiteX12" fmla="*/ 9606224 w 11851944"/>
                <a:gd name="connsiteY12" fmla="*/ 95804 h 2919923"/>
                <a:gd name="connsiteX13" fmla="*/ 9947868 w 11851944"/>
                <a:gd name="connsiteY13" fmla="*/ 65659 h 2919923"/>
                <a:gd name="connsiteX14" fmla="*/ 10791930 w 11851944"/>
                <a:gd name="connsiteY14" fmla="*/ 35514 h 2919923"/>
                <a:gd name="connsiteX15" fmla="*/ 11736475 w 11851944"/>
                <a:gd name="connsiteY15" fmla="*/ 55611 h 2919923"/>
                <a:gd name="connsiteX16" fmla="*/ 11806813 w 11851944"/>
                <a:gd name="connsiteY16" fmla="*/ 769044 h 2919923"/>
                <a:gd name="connsiteX17" fmla="*/ 11816862 w 11851944"/>
                <a:gd name="connsiteY17" fmla="*/ 2336587 h 2919923"/>
                <a:gd name="connsiteX18" fmla="*/ 11806813 w 11851944"/>
                <a:gd name="connsiteY18" fmla="*/ 2828956 h 2919923"/>
                <a:gd name="connsiteX19" fmla="*/ 11033090 w 11851944"/>
                <a:gd name="connsiteY19" fmla="*/ 2859101 h 2919923"/>
                <a:gd name="connsiteX20" fmla="*/ 10128739 w 11851944"/>
                <a:gd name="connsiteY20" fmla="*/ 2859101 h 2919923"/>
                <a:gd name="connsiteX21" fmla="*/ 9555982 w 11851944"/>
                <a:gd name="connsiteY21" fmla="*/ 2859101 h 2919923"/>
                <a:gd name="connsiteX22" fmla="*/ 9204290 w 11851944"/>
                <a:gd name="connsiteY22" fmla="*/ 2808859 h 2919923"/>
                <a:gd name="connsiteX23" fmla="*/ 7486022 w 11851944"/>
                <a:gd name="connsiteY23" fmla="*/ 2818908 h 2919923"/>
                <a:gd name="connsiteX24" fmla="*/ 6863024 w 11851944"/>
                <a:gd name="connsiteY24" fmla="*/ 2839004 h 2919923"/>
                <a:gd name="connsiteX25" fmla="*/ 6722347 w 11851944"/>
                <a:gd name="connsiteY25" fmla="*/ 2828956 h 2919923"/>
                <a:gd name="connsiteX26" fmla="*/ 4903596 w 11851944"/>
                <a:gd name="connsiteY26" fmla="*/ 2879198 h 2919923"/>
                <a:gd name="connsiteX27" fmla="*/ 4059534 w 11851944"/>
                <a:gd name="connsiteY27" fmla="*/ 2859101 h 2919923"/>
                <a:gd name="connsiteX28" fmla="*/ 3064747 w 11851944"/>
                <a:gd name="connsiteY28" fmla="*/ 2839004 h 2919923"/>
                <a:gd name="connsiteX29" fmla="*/ 2009670 w 11851944"/>
                <a:gd name="connsiteY29" fmla="*/ 2849053 h 2919923"/>
                <a:gd name="connsiteX30" fmla="*/ 944545 w 11851944"/>
                <a:gd name="connsiteY30" fmla="*/ 2919391 h 2919923"/>
                <a:gd name="connsiteX31" fmla="*/ 723481 w 11851944"/>
                <a:gd name="connsiteY31" fmla="*/ 2879198 h 2919923"/>
                <a:gd name="connsiteX32" fmla="*/ 643095 w 11851944"/>
                <a:gd name="connsiteY32" fmla="*/ 2869149 h 2919923"/>
                <a:gd name="connsiteX33" fmla="*/ 371789 w 11851944"/>
                <a:gd name="connsiteY33" fmla="*/ 2828956 h 2919923"/>
                <a:gd name="connsiteX34" fmla="*/ 0 w 11851944"/>
                <a:gd name="connsiteY34" fmla="*/ 2818908 h 2919923"/>
                <a:gd name="connsiteX0" fmla="*/ 120580 w 11851944"/>
                <a:gd name="connsiteY0" fmla="*/ 55611 h 2890922"/>
                <a:gd name="connsiteX1" fmla="*/ 281354 w 11851944"/>
                <a:gd name="connsiteY1" fmla="*/ 45562 h 2890922"/>
                <a:gd name="connsiteX2" fmla="*/ 673240 w 11851944"/>
                <a:gd name="connsiteY2" fmla="*/ 35514 h 2890922"/>
                <a:gd name="connsiteX3" fmla="*/ 1356528 w 11851944"/>
                <a:gd name="connsiteY3" fmla="*/ 85756 h 2890922"/>
                <a:gd name="connsiteX4" fmla="*/ 1758462 w 11851944"/>
                <a:gd name="connsiteY4" fmla="*/ 45562 h 2890922"/>
                <a:gd name="connsiteX5" fmla="*/ 2140299 w 11851944"/>
                <a:gd name="connsiteY5" fmla="*/ 45562 h 2890922"/>
                <a:gd name="connsiteX6" fmla="*/ 4652387 w 11851944"/>
                <a:gd name="connsiteY6" fmla="*/ 65659 h 2890922"/>
                <a:gd name="connsiteX7" fmla="*/ 4692580 w 11851944"/>
                <a:gd name="connsiteY7" fmla="*/ 75708 h 2890922"/>
                <a:gd name="connsiteX8" fmla="*/ 6420897 w 11851944"/>
                <a:gd name="connsiteY8" fmla="*/ 95804 h 2890922"/>
                <a:gd name="connsiteX9" fmla="*/ 7184571 w 11851944"/>
                <a:gd name="connsiteY9" fmla="*/ 65659 h 2890922"/>
                <a:gd name="connsiteX10" fmla="*/ 7928150 w 11851944"/>
                <a:gd name="connsiteY10" fmla="*/ 65659 h 2890922"/>
                <a:gd name="connsiteX11" fmla="*/ 8219552 w 11851944"/>
                <a:gd name="connsiteY11" fmla="*/ 95804 h 2890922"/>
                <a:gd name="connsiteX12" fmla="*/ 9606224 w 11851944"/>
                <a:gd name="connsiteY12" fmla="*/ 95804 h 2890922"/>
                <a:gd name="connsiteX13" fmla="*/ 9947868 w 11851944"/>
                <a:gd name="connsiteY13" fmla="*/ 65659 h 2890922"/>
                <a:gd name="connsiteX14" fmla="*/ 10791930 w 11851944"/>
                <a:gd name="connsiteY14" fmla="*/ 35514 h 2890922"/>
                <a:gd name="connsiteX15" fmla="*/ 11736475 w 11851944"/>
                <a:gd name="connsiteY15" fmla="*/ 55611 h 2890922"/>
                <a:gd name="connsiteX16" fmla="*/ 11806813 w 11851944"/>
                <a:gd name="connsiteY16" fmla="*/ 769044 h 2890922"/>
                <a:gd name="connsiteX17" fmla="*/ 11816862 w 11851944"/>
                <a:gd name="connsiteY17" fmla="*/ 2336587 h 2890922"/>
                <a:gd name="connsiteX18" fmla="*/ 11806813 w 11851944"/>
                <a:gd name="connsiteY18" fmla="*/ 2828956 h 2890922"/>
                <a:gd name="connsiteX19" fmla="*/ 11033090 w 11851944"/>
                <a:gd name="connsiteY19" fmla="*/ 2859101 h 2890922"/>
                <a:gd name="connsiteX20" fmla="*/ 10128739 w 11851944"/>
                <a:gd name="connsiteY20" fmla="*/ 2859101 h 2890922"/>
                <a:gd name="connsiteX21" fmla="*/ 9555982 w 11851944"/>
                <a:gd name="connsiteY21" fmla="*/ 2859101 h 2890922"/>
                <a:gd name="connsiteX22" fmla="*/ 9204290 w 11851944"/>
                <a:gd name="connsiteY22" fmla="*/ 2808859 h 2890922"/>
                <a:gd name="connsiteX23" fmla="*/ 7486022 w 11851944"/>
                <a:gd name="connsiteY23" fmla="*/ 2818908 h 2890922"/>
                <a:gd name="connsiteX24" fmla="*/ 6863024 w 11851944"/>
                <a:gd name="connsiteY24" fmla="*/ 2839004 h 2890922"/>
                <a:gd name="connsiteX25" fmla="*/ 6722347 w 11851944"/>
                <a:gd name="connsiteY25" fmla="*/ 2828956 h 2890922"/>
                <a:gd name="connsiteX26" fmla="*/ 4903596 w 11851944"/>
                <a:gd name="connsiteY26" fmla="*/ 2879198 h 2890922"/>
                <a:gd name="connsiteX27" fmla="*/ 4059534 w 11851944"/>
                <a:gd name="connsiteY27" fmla="*/ 2859101 h 2890922"/>
                <a:gd name="connsiteX28" fmla="*/ 3064747 w 11851944"/>
                <a:gd name="connsiteY28" fmla="*/ 2839004 h 2890922"/>
                <a:gd name="connsiteX29" fmla="*/ 2009670 w 11851944"/>
                <a:gd name="connsiteY29" fmla="*/ 2849053 h 2890922"/>
                <a:gd name="connsiteX30" fmla="*/ 723481 w 11851944"/>
                <a:gd name="connsiteY30" fmla="*/ 2879198 h 2890922"/>
                <a:gd name="connsiteX31" fmla="*/ 643095 w 11851944"/>
                <a:gd name="connsiteY31" fmla="*/ 2869149 h 2890922"/>
                <a:gd name="connsiteX32" fmla="*/ 371789 w 11851944"/>
                <a:gd name="connsiteY32" fmla="*/ 2828956 h 2890922"/>
                <a:gd name="connsiteX33" fmla="*/ 0 w 11851944"/>
                <a:gd name="connsiteY33" fmla="*/ 2818908 h 2890922"/>
                <a:gd name="connsiteX0" fmla="*/ 120580 w 11851944"/>
                <a:gd name="connsiteY0" fmla="*/ 55611 h 2890922"/>
                <a:gd name="connsiteX1" fmla="*/ 281354 w 11851944"/>
                <a:gd name="connsiteY1" fmla="*/ 45562 h 2890922"/>
                <a:gd name="connsiteX2" fmla="*/ 673240 w 11851944"/>
                <a:gd name="connsiteY2" fmla="*/ 35514 h 2890922"/>
                <a:gd name="connsiteX3" fmla="*/ 1356528 w 11851944"/>
                <a:gd name="connsiteY3" fmla="*/ 85756 h 2890922"/>
                <a:gd name="connsiteX4" fmla="*/ 1758462 w 11851944"/>
                <a:gd name="connsiteY4" fmla="*/ 45562 h 2890922"/>
                <a:gd name="connsiteX5" fmla="*/ 2140299 w 11851944"/>
                <a:gd name="connsiteY5" fmla="*/ 45562 h 2890922"/>
                <a:gd name="connsiteX6" fmla="*/ 4652387 w 11851944"/>
                <a:gd name="connsiteY6" fmla="*/ 65659 h 2890922"/>
                <a:gd name="connsiteX7" fmla="*/ 4692580 w 11851944"/>
                <a:gd name="connsiteY7" fmla="*/ 75708 h 2890922"/>
                <a:gd name="connsiteX8" fmla="*/ 6420897 w 11851944"/>
                <a:gd name="connsiteY8" fmla="*/ 95804 h 2890922"/>
                <a:gd name="connsiteX9" fmla="*/ 7184571 w 11851944"/>
                <a:gd name="connsiteY9" fmla="*/ 65659 h 2890922"/>
                <a:gd name="connsiteX10" fmla="*/ 7928150 w 11851944"/>
                <a:gd name="connsiteY10" fmla="*/ 65659 h 2890922"/>
                <a:gd name="connsiteX11" fmla="*/ 8219552 w 11851944"/>
                <a:gd name="connsiteY11" fmla="*/ 95804 h 2890922"/>
                <a:gd name="connsiteX12" fmla="*/ 9606224 w 11851944"/>
                <a:gd name="connsiteY12" fmla="*/ 95804 h 2890922"/>
                <a:gd name="connsiteX13" fmla="*/ 9947868 w 11851944"/>
                <a:gd name="connsiteY13" fmla="*/ 65659 h 2890922"/>
                <a:gd name="connsiteX14" fmla="*/ 10791930 w 11851944"/>
                <a:gd name="connsiteY14" fmla="*/ 35514 h 2890922"/>
                <a:gd name="connsiteX15" fmla="*/ 11736475 w 11851944"/>
                <a:gd name="connsiteY15" fmla="*/ 55611 h 2890922"/>
                <a:gd name="connsiteX16" fmla="*/ 11806813 w 11851944"/>
                <a:gd name="connsiteY16" fmla="*/ 769044 h 2890922"/>
                <a:gd name="connsiteX17" fmla="*/ 11816862 w 11851944"/>
                <a:gd name="connsiteY17" fmla="*/ 2336587 h 2890922"/>
                <a:gd name="connsiteX18" fmla="*/ 11806813 w 11851944"/>
                <a:gd name="connsiteY18" fmla="*/ 2828956 h 2890922"/>
                <a:gd name="connsiteX19" fmla="*/ 11033090 w 11851944"/>
                <a:gd name="connsiteY19" fmla="*/ 2859101 h 2890922"/>
                <a:gd name="connsiteX20" fmla="*/ 10128739 w 11851944"/>
                <a:gd name="connsiteY20" fmla="*/ 2859101 h 2890922"/>
                <a:gd name="connsiteX21" fmla="*/ 9555982 w 11851944"/>
                <a:gd name="connsiteY21" fmla="*/ 2859101 h 2890922"/>
                <a:gd name="connsiteX22" fmla="*/ 9204290 w 11851944"/>
                <a:gd name="connsiteY22" fmla="*/ 2808859 h 2890922"/>
                <a:gd name="connsiteX23" fmla="*/ 7486022 w 11851944"/>
                <a:gd name="connsiteY23" fmla="*/ 2818908 h 2890922"/>
                <a:gd name="connsiteX24" fmla="*/ 6863024 w 11851944"/>
                <a:gd name="connsiteY24" fmla="*/ 2839004 h 2890922"/>
                <a:gd name="connsiteX25" fmla="*/ 6722347 w 11851944"/>
                <a:gd name="connsiteY25" fmla="*/ 2828956 h 2890922"/>
                <a:gd name="connsiteX26" fmla="*/ 4903596 w 11851944"/>
                <a:gd name="connsiteY26" fmla="*/ 2879198 h 2890922"/>
                <a:gd name="connsiteX27" fmla="*/ 4059534 w 11851944"/>
                <a:gd name="connsiteY27" fmla="*/ 2859101 h 2890922"/>
                <a:gd name="connsiteX28" fmla="*/ 3064747 w 11851944"/>
                <a:gd name="connsiteY28" fmla="*/ 2839004 h 2890922"/>
                <a:gd name="connsiteX29" fmla="*/ 2009670 w 11851944"/>
                <a:gd name="connsiteY29" fmla="*/ 2849053 h 2890922"/>
                <a:gd name="connsiteX30" fmla="*/ 643095 w 11851944"/>
                <a:gd name="connsiteY30" fmla="*/ 2869149 h 2890922"/>
                <a:gd name="connsiteX31" fmla="*/ 371789 w 11851944"/>
                <a:gd name="connsiteY31" fmla="*/ 2828956 h 2890922"/>
                <a:gd name="connsiteX32" fmla="*/ 0 w 11851944"/>
                <a:gd name="connsiteY32" fmla="*/ 2818908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9083710 w 11731364"/>
                <a:gd name="connsiteY22" fmla="*/ 2808859 h 2890922"/>
                <a:gd name="connsiteX23" fmla="*/ 7365442 w 11731364"/>
                <a:gd name="connsiteY23" fmla="*/ 2818908 h 2890922"/>
                <a:gd name="connsiteX24" fmla="*/ 6742444 w 11731364"/>
                <a:gd name="connsiteY24" fmla="*/ 2839004 h 2890922"/>
                <a:gd name="connsiteX25" fmla="*/ 6601767 w 11731364"/>
                <a:gd name="connsiteY25" fmla="*/ 2828956 h 2890922"/>
                <a:gd name="connsiteX26" fmla="*/ 4783016 w 11731364"/>
                <a:gd name="connsiteY26" fmla="*/ 2879198 h 2890922"/>
                <a:gd name="connsiteX27" fmla="*/ 3938954 w 11731364"/>
                <a:gd name="connsiteY27" fmla="*/ 2859101 h 2890922"/>
                <a:gd name="connsiteX28" fmla="*/ 2944167 w 11731364"/>
                <a:gd name="connsiteY28" fmla="*/ 2839004 h 2890922"/>
                <a:gd name="connsiteX29" fmla="*/ 1889090 w 11731364"/>
                <a:gd name="connsiteY29" fmla="*/ 2849053 h 2890922"/>
                <a:gd name="connsiteX30" fmla="*/ 522515 w 11731364"/>
                <a:gd name="connsiteY30" fmla="*/ 2869149 h 2890922"/>
                <a:gd name="connsiteX31" fmla="*/ 251209 w 11731364"/>
                <a:gd name="connsiteY31" fmla="*/ 2828956 h 2890922"/>
                <a:gd name="connsiteX32" fmla="*/ 10048 w 11731364"/>
                <a:gd name="connsiteY32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7365442 w 11731364"/>
                <a:gd name="connsiteY22" fmla="*/ 2818908 h 2890922"/>
                <a:gd name="connsiteX23" fmla="*/ 6742444 w 11731364"/>
                <a:gd name="connsiteY23" fmla="*/ 2839004 h 2890922"/>
                <a:gd name="connsiteX24" fmla="*/ 6601767 w 11731364"/>
                <a:gd name="connsiteY24" fmla="*/ 2828956 h 2890922"/>
                <a:gd name="connsiteX25" fmla="*/ 4783016 w 11731364"/>
                <a:gd name="connsiteY25" fmla="*/ 2879198 h 2890922"/>
                <a:gd name="connsiteX26" fmla="*/ 3938954 w 11731364"/>
                <a:gd name="connsiteY26" fmla="*/ 2859101 h 2890922"/>
                <a:gd name="connsiteX27" fmla="*/ 2944167 w 11731364"/>
                <a:gd name="connsiteY27" fmla="*/ 2839004 h 2890922"/>
                <a:gd name="connsiteX28" fmla="*/ 1889090 w 11731364"/>
                <a:gd name="connsiteY28" fmla="*/ 2849053 h 2890922"/>
                <a:gd name="connsiteX29" fmla="*/ 522515 w 11731364"/>
                <a:gd name="connsiteY29" fmla="*/ 2869149 h 2890922"/>
                <a:gd name="connsiteX30" fmla="*/ 251209 w 11731364"/>
                <a:gd name="connsiteY30" fmla="*/ 2828956 h 2890922"/>
                <a:gd name="connsiteX31" fmla="*/ 10048 w 11731364"/>
                <a:gd name="connsiteY31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7365442 w 11731364"/>
                <a:gd name="connsiteY22" fmla="*/ 2818908 h 2890922"/>
                <a:gd name="connsiteX23" fmla="*/ 6742444 w 11731364"/>
                <a:gd name="connsiteY23" fmla="*/ 2839004 h 2890922"/>
                <a:gd name="connsiteX24" fmla="*/ 6601767 w 11731364"/>
                <a:gd name="connsiteY24" fmla="*/ 2828956 h 2890922"/>
                <a:gd name="connsiteX25" fmla="*/ 4783016 w 11731364"/>
                <a:gd name="connsiteY25" fmla="*/ 2879198 h 2890922"/>
                <a:gd name="connsiteX26" fmla="*/ 3938954 w 11731364"/>
                <a:gd name="connsiteY26" fmla="*/ 2859101 h 2890922"/>
                <a:gd name="connsiteX27" fmla="*/ 2944167 w 11731364"/>
                <a:gd name="connsiteY27" fmla="*/ 2839004 h 2890922"/>
                <a:gd name="connsiteX28" fmla="*/ 1889090 w 11731364"/>
                <a:gd name="connsiteY28" fmla="*/ 2849053 h 2890922"/>
                <a:gd name="connsiteX29" fmla="*/ 522515 w 11731364"/>
                <a:gd name="connsiteY29" fmla="*/ 2869149 h 2890922"/>
                <a:gd name="connsiteX30" fmla="*/ 10048 w 11731364"/>
                <a:gd name="connsiteY30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637882 w 11731364"/>
                <a:gd name="connsiteY3" fmla="*/ 45562 h 2890922"/>
                <a:gd name="connsiteX4" fmla="*/ 2019719 w 11731364"/>
                <a:gd name="connsiteY4" fmla="*/ 45562 h 2890922"/>
                <a:gd name="connsiteX5" fmla="*/ 4531807 w 11731364"/>
                <a:gd name="connsiteY5" fmla="*/ 65659 h 2890922"/>
                <a:gd name="connsiteX6" fmla="*/ 4572000 w 11731364"/>
                <a:gd name="connsiteY6" fmla="*/ 75708 h 2890922"/>
                <a:gd name="connsiteX7" fmla="*/ 6300317 w 11731364"/>
                <a:gd name="connsiteY7" fmla="*/ 95804 h 2890922"/>
                <a:gd name="connsiteX8" fmla="*/ 7063991 w 11731364"/>
                <a:gd name="connsiteY8" fmla="*/ 65659 h 2890922"/>
                <a:gd name="connsiteX9" fmla="*/ 7807570 w 11731364"/>
                <a:gd name="connsiteY9" fmla="*/ 65659 h 2890922"/>
                <a:gd name="connsiteX10" fmla="*/ 8098972 w 11731364"/>
                <a:gd name="connsiteY10" fmla="*/ 95804 h 2890922"/>
                <a:gd name="connsiteX11" fmla="*/ 9485644 w 11731364"/>
                <a:gd name="connsiteY11" fmla="*/ 95804 h 2890922"/>
                <a:gd name="connsiteX12" fmla="*/ 9827288 w 11731364"/>
                <a:gd name="connsiteY12" fmla="*/ 65659 h 2890922"/>
                <a:gd name="connsiteX13" fmla="*/ 10671350 w 11731364"/>
                <a:gd name="connsiteY13" fmla="*/ 35514 h 2890922"/>
                <a:gd name="connsiteX14" fmla="*/ 11615895 w 11731364"/>
                <a:gd name="connsiteY14" fmla="*/ 55611 h 2890922"/>
                <a:gd name="connsiteX15" fmla="*/ 11686233 w 11731364"/>
                <a:gd name="connsiteY15" fmla="*/ 769044 h 2890922"/>
                <a:gd name="connsiteX16" fmla="*/ 11696282 w 11731364"/>
                <a:gd name="connsiteY16" fmla="*/ 2336587 h 2890922"/>
                <a:gd name="connsiteX17" fmla="*/ 11686233 w 11731364"/>
                <a:gd name="connsiteY17" fmla="*/ 2828956 h 2890922"/>
                <a:gd name="connsiteX18" fmla="*/ 10912510 w 11731364"/>
                <a:gd name="connsiteY18" fmla="*/ 2859101 h 2890922"/>
                <a:gd name="connsiteX19" fmla="*/ 10008159 w 11731364"/>
                <a:gd name="connsiteY19" fmla="*/ 2859101 h 2890922"/>
                <a:gd name="connsiteX20" fmla="*/ 9435402 w 11731364"/>
                <a:gd name="connsiteY20" fmla="*/ 2859101 h 2890922"/>
                <a:gd name="connsiteX21" fmla="*/ 7365442 w 11731364"/>
                <a:gd name="connsiteY21" fmla="*/ 2818908 h 2890922"/>
                <a:gd name="connsiteX22" fmla="*/ 6742444 w 11731364"/>
                <a:gd name="connsiteY22" fmla="*/ 2839004 h 2890922"/>
                <a:gd name="connsiteX23" fmla="*/ 6601767 w 11731364"/>
                <a:gd name="connsiteY23" fmla="*/ 2828956 h 2890922"/>
                <a:gd name="connsiteX24" fmla="*/ 4783016 w 11731364"/>
                <a:gd name="connsiteY24" fmla="*/ 2879198 h 2890922"/>
                <a:gd name="connsiteX25" fmla="*/ 3938954 w 11731364"/>
                <a:gd name="connsiteY25" fmla="*/ 2859101 h 2890922"/>
                <a:gd name="connsiteX26" fmla="*/ 2944167 w 11731364"/>
                <a:gd name="connsiteY26" fmla="*/ 2839004 h 2890922"/>
                <a:gd name="connsiteX27" fmla="*/ 1889090 w 11731364"/>
                <a:gd name="connsiteY27" fmla="*/ 2849053 h 2890922"/>
                <a:gd name="connsiteX28" fmla="*/ 522515 w 11731364"/>
                <a:gd name="connsiteY28" fmla="*/ 2869149 h 2890922"/>
                <a:gd name="connsiteX29" fmla="*/ 10048 w 11731364"/>
                <a:gd name="connsiteY29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4572000 w 11731364"/>
                <a:gd name="connsiteY5" fmla="*/ 75708 h 2890922"/>
                <a:gd name="connsiteX6" fmla="*/ 6300317 w 11731364"/>
                <a:gd name="connsiteY6" fmla="*/ 95804 h 2890922"/>
                <a:gd name="connsiteX7" fmla="*/ 7063991 w 11731364"/>
                <a:gd name="connsiteY7" fmla="*/ 65659 h 2890922"/>
                <a:gd name="connsiteX8" fmla="*/ 7807570 w 11731364"/>
                <a:gd name="connsiteY8" fmla="*/ 65659 h 2890922"/>
                <a:gd name="connsiteX9" fmla="*/ 8098972 w 11731364"/>
                <a:gd name="connsiteY9" fmla="*/ 95804 h 2890922"/>
                <a:gd name="connsiteX10" fmla="*/ 9485644 w 11731364"/>
                <a:gd name="connsiteY10" fmla="*/ 95804 h 2890922"/>
                <a:gd name="connsiteX11" fmla="*/ 9827288 w 11731364"/>
                <a:gd name="connsiteY11" fmla="*/ 65659 h 2890922"/>
                <a:gd name="connsiteX12" fmla="*/ 10671350 w 11731364"/>
                <a:gd name="connsiteY12" fmla="*/ 35514 h 2890922"/>
                <a:gd name="connsiteX13" fmla="*/ 11615895 w 11731364"/>
                <a:gd name="connsiteY13" fmla="*/ 55611 h 2890922"/>
                <a:gd name="connsiteX14" fmla="*/ 11686233 w 11731364"/>
                <a:gd name="connsiteY14" fmla="*/ 769044 h 2890922"/>
                <a:gd name="connsiteX15" fmla="*/ 11696282 w 11731364"/>
                <a:gd name="connsiteY15" fmla="*/ 2336587 h 2890922"/>
                <a:gd name="connsiteX16" fmla="*/ 11686233 w 11731364"/>
                <a:gd name="connsiteY16" fmla="*/ 2828956 h 2890922"/>
                <a:gd name="connsiteX17" fmla="*/ 10912510 w 11731364"/>
                <a:gd name="connsiteY17" fmla="*/ 2859101 h 2890922"/>
                <a:gd name="connsiteX18" fmla="*/ 10008159 w 11731364"/>
                <a:gd name="connsiteY18" fmla="*/ 2859101 h 2890922"/>
                <a:gd name="connsiteX19" fmla="*/ 9435402 w 11731364"/>
                <a:gd name="connsiteY19" fmla="*/ 2859101 h 2890922"/>
                <a:gd name="connsiteX20" fmla="*/ 7365442 w 11731364"/>
                <a:gd name="connsiteY20" fmla="*/ 2818908 h 2890922"/>
                <a:gd name="connsiteX21" fmla="*/ 6742444 w 11731364"/>
                <a:gd name="connsiteY21" fmla="*/ 2839004 h 2890922"/>
                <a:gd name="connsiteX22" fmla="*/ 6601767 w 11731364"/>
                <a:gd name="connsiteY22" fmla="*/ 2828956 h 2890922"/>
                <a:gd name="connsiteX23" fmla="*/ 4783016 w 11731364"/>
                <a:gd name="connsiteY23" fmla="*/ 2879198 h 2890922"/>
                <a:gd name="connsiteX24" fmla="*/ 3938954 w 11731364"/>
                <a:gd name="connsiteY24" fmla="*/ 2859101 h 2890922"/>
                <a:gd name="connsiteX25" fmla="*/ 2944167 w 11731364"/>
                <a:gd name="connsiteY25" fmla="*/ 2839004 h 2890922"/>
                <a:gd name="connsiteX26" fmla="*/ 1889090 w 11731364"/>
                <a:gd name="connsiteY26" fmla="*/ 2849053 h 2890922"/>
                <a:gd name="connsiteX27" fmla="*/ 522515 w 11731364"/>
                <a:gd name="connsiteY27" fmla="*/ 2869149 h 2890922"/>
                <a:gd name="connsiteX28" fmla="*/ 10048 w 11731364"/>
                <a:gd name="connsiteY28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6300317 w 11731364"/>
                <a:gd name="connsiteY5" fmla="*/ 95804 h 2890922"/>
                <a:gd name="connsiteX6" fmla="*/ 7063991 w 11731364"/>
                <a:gd name="connsiteY6" fmla="*/ 65659 h 2890922"/>
                <a:gd name="connsiteX7" fmla="*/ 7807570 w 11731364"/>
                <a:gd name="connsiteY7" fmla="*/ 65659 h 2890922"/>
                <a:gd name="connsiteX8" fmla="*/ 8098972 w 11731364"/>
                <a:gd name="connsiteY8" fmla="*/ 95804 h 2890922"/>
                <a:gd name="connsiteX9" fmla="*/ 9485644 w 11731364"/>
                <a:gd name="connsiteY9" fmla="*/ 95804 h 2890922"/>
                <a:gd name="connsiteX10" fmla="*/ 9827288 w 11731364"/>
                <a:gd name="connsiteY10" fmla="*/ 65659 h 2890922"/>
                <a:gd name="connsiteX11" fmla="*/ 10671350 w 11731364"/>
                <a:gd name="connsiteY11" fmla="*/ 35514 h 2890922"/>
                <a:gd name="connsiteX12" fmla="*/ 11615895 w 11731364"/>
                <a:gd name="connsiteY12" fmla="*/ 55611 h 2890922"/>
                <a:gd name="connsiteX13" fmla="*/ 11686233 w 11731364"/>
                <a:gd name="connsiteY13" fmla="*/ 769044 h 2890922"/>
                <a:gd name="connsiteX14" fmla="*/ 11696282 w 11731364"/>
                <a:gd name="connsiteY14" fmla="*/ 2336587 h 2890922"/>
                <a:gd name="connsiteX15" fmla="*/ 11686233 w 11731364"/>
                <a:gd name="connsiteY15" fmla="*/ 2828956 h 2890922"/>
                <a:gd name="connsiteX16" fmla="*/ 10912510 w 11731364"/>
                <a:gd name="connsiteY16" fmla="*/ 2859101 h 2890922"/>
                <a:gd name="connsiteX17" fmla="*/ 10008159 w 11731364"/>
                <a:gd name="connsiteY17" fmla="*/ 2859101 h 2890922"/>
                <a:gd name="connsiteX18" fmla="*/ 9435402 w 11731364"/>
                <a:gd name="connsiteY18" fmla="*/ 2859101 h 2890922"/>
                <a:gd name="connsiteX19" fmla="*/ 7365442 w 11731364"/>
                <a:gd name="connsiteY19" fmla="*/ 2818908 h 2890922"/>
                <a:gd name="connsiteX20" fmla="*/ 6742444 w 11731364"/>
                <a:gd name="connsiteY20" fmla="*/ 2839004 h 2890922"/>
                <a:gd name="connsiteX21" fmla="*/ 6601767 w 11731364"/>
                <a:gd name="connsiteY21" fmla="*/ 2828956 h 2890922"/>
                <a:gd name="connsiteX22" fmla="*/ 4783016 w 11731364"/>
                <a:gd name="connsiteY22" fmla="*/ 2879198 h 2890922"/>
                <a:gd name="connsiteX23" fmla="*/ 3938954 w 11731364"/>
                <a:gd name="connsiteY23" fmla="*/ 2859101 h 2890922"/>
                <a:gd name="connsiteX24" fmla="*/ 2944167 w 11731364"/>
                <a:gd name="connsiteY24" fmla="*/ 2839004 h 2890922"/>
                <a:gd name="connsiteX25" fmla="*/ 1889090 w 11731364"/>
                <a:gd name="connsiteY25" fmla="*/ 2849053 h 2890922"/>
                <a:gd name="connsiteX26" fmla="*/ 522515 w 11731364"/>
                <a:gd name="connsiteY26" fmla="*/ 2869149 h 2890922"/>
                <a:gd name="connsiteX27" fmla="*/ 10048 w 11731364"/>
                <a:gd name="connsiteY27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6300317 w 11731364"/>
                <a:gd name="connsiteY5" fmla="*/ 95804 h 2890922"/>
                <a:gd name="connsiteX6" fmla="*/ 7063991 w 11731364"/>
                <a:gd name="connsiteY6" fmla="*/ 65659 h 2890922"/>
                <a:gd name="connsiteX7" fmla="*/ 8098972 w 11731364"/>
                <a:gd name="connsiteY7" fmla="*/ 95804 h 2890922"/>
                <a:gd name="connsiteX8" fmla="*/ 9485644 w 11731364"/>
                <a:gd name="connsiteY8" fmla="*/ 95804 h 2890922"/>
                <a:gd name="connsiteX9" fmla="*/ 9827288 w 11731364"/>
                <a:gd name="connsiteY9" fmla="*/ 65659 h 2890922"/>
                <a:gd name="connsiteX10" fmla="*/ 10671350 w 11731364"/>
                <a:gd name="connsiteY10" fmla="*/ 35514 h 2890922"/>
                <a:gd name="connsiteX11" fmla="*/ 11615895 w 11731364"/>
                <a:gd name="connsiteY11" fmla="*/ 55611 h 2890922"/>
                <a:gd name="connsiteX12" fmla="*/ 11686233 w 11731364"/>
                <a:gd name="connsiteY12" fmla="*/ 769044 h 2890922"/>
                <a:gd name="connsiteX13" fmla="*/ 11696282 w 11731364"/>
                <a:gd name="connsiteY13" fmla="*/ 2336587 h 2890922"/>
                <a:gd name="connsiteX14" fmla="*/ 11686233 w 11731364"/>
                <a:gd name="connsiteY14" fmla="*/ 2828956 h 2890922"/>
                <a:gd name="connsiteX15" fmla="*/ 10912510 w 11731364"/>
                <a:gd name="connsiteY15" fmla="*/ 2859101 h 2890922"/>
                <a:gd name="connsiteX16" fmla="*/ 10008159 w 11731364"/>
                <a:gd name="connsiteY16" fmla="*/ 2859101 h 2890922"/>
                <a:gd name="connsiteX17" fmla="*/ 9435402 w 11731364"/>
                <a:gd name="connsiteY17" fmla="*/ 2859101 h 2890922"/>
                <a:gd name="connsiteX18" fmla="*/ 7365442 w 11731364"/>
                <a:gd name="connsiteY18" fmla="*/ 2818908 h 2890922"/>
                <a:gd name="connsiteX19" fmla="*/ 6742444 w 11731364"/>
                <a:gd name="connsiteY19" fmla="*/ 2839004 h 2890922"/>
                <a:gd name="connsiteX20" fmla="*/ 6601767 w 11731364"/>
                <a:gd name="connsiteY20" fmla="*/ 2828956 h 2890922"/>
                <a:gd name="connsiteX21" fmla="*/ 4783016 w 11731364"/>
                <a:gd name="connsiteY21" fmla="*/ 2879198 h 2890922"/>
                <a:gd name="connsiteX22" fmla="*/ 3938954 w 11731364"/>
                <a:gd name="connsiteY22" fmla="*/ 2859101 h 2890922"/>
                <a:gd name="connsiteX23" fmla="*/ 2944167 w 11731364"/>
                <a:gd name="connsiteY23" fmla="*/ 2839004 h 2890922"/>
                <a:gd name="connsiteX24" fmla="*/ 1889090 w 11731364"/>
                <a:gd name="connsiteY24" fmla="*/ 2849053 h 2890922"/>
                <a:gd name="connsiteX25" fmla="*/ 522515 w 11731364"/>
                <a:gd name="connsiteY25" fmla="*/ 2869149 h 2890922"/>
                <a:gd name="connsiteX26" fmla="*/ 10048 w 11731364"/>
                <a:gd name="connsiteY26" fmla="*/ 2839005 h 2890922"/>
                <a:gd name="connsiteX0" fmla="*/ 0 w 11731364"/>
                <a:gd name="connsiteY0" fmla="*/ 36371 h 2871682"/>
                <a:gd name="connsiteX1" fmla="*/ 552660 w 11731364"/>
                <a:gd name="connsiteY1" fmla="*/ 16274 h 2871682"/>
                <a:gd name="connsiteX2" fmla="*/ 1637882 w 11731364"/>
                <a:gd name="connsiteY2" fmla="*/ 26322 h 2871682"/>
                <a:gd name="connsiteX3" fmla="*/ 2019719 w 11731364"/>
                <a:gd name="connsiteY3" fmla="*/ 26322 h 2871682"/>
                <a:gd name="connsiteX4" fmla="*/ 4531807 w 11731364"/>
                <a:gd name="connsiteY4" fmla="*/ 46419 h 2871682"/>
                <a:gd name="connsiteX5" fmla="*/ 6300317 w 11731364"/>
                <a:gd name="connsiteY5" fmla="*/ 76564 h 2871682"/>
                <a:gd name="connsiteX6" fmla="*/ 7063991 w 11731364"/>
                <a:gd name="connsiteY6" fmla="*/ 46419 h 2871682"/>
                <a:gd name="connsiteX7" fmla="*/ 8098972 w 11731364"/>
                <a:gd name="connsiteY7" fmla="*/ 76564 h 2871682"/>
                <a:gd name="connsiteX8" fmla="*/ 9485644 w 11731364"/>
                <a:gd name="connsiteY8" fmla="*/ 76564 h 2871682"/>
                <a:gd name="connsiteX9" fmla="*/ 9827288 w 11731364"/>
                <a:gd name="connsiteY9" fmla="*/ 46419 h 2871682"/>
                <a:gd name="connsiteX10" fmla="*/ 10671350 w 11731364"/>
                <a:gd name="connsiteY10" fmla="*/ 16274 h 2871682"/>
                <a:gd name="connsiteX11" fmla="*/ 11615895 w 11731364"/>
                <a:gd name="connsiteY11" fmla="*/ 66517 h 2871682"/>
                <a:gd name="connsiteX12" fmla="*/ 11686233 w 11731364"/>
                <a:gd name="connsiteY12" fmla="*/ 749804 h 2871682"/>
                <a:gd name="connsiteX13" fmla="*/ 11696282 w 11731364"/>
                <a:gd name="connsiteY13" fmla="*/ 2317347 h 2871682"/>
                <a:gd name="connsiteX14" fmla="*/ 11686233 w 11731364"/>
                <a:gd name="connsiteY14" fmla="*/ 2809716 h 2871682"/>
                <a:gd name="connsiteX15" fmla="*/ 10912510 w 11731364"/>
                <a:gd name="connsiteY15" fmla="*/ 2839861 h 2871682"/>
                <a:gd name="connsiteX16" fmla="*/ 10008159 w 11731364"/>
                <a:gd name="connsiteY16" fmla="*/ 2839861 h 2871682"/>
                <a:gd name="connsiteX17" fmla="*/ 9435402 w 11731364"/>
                <a:gd name="connsiteY17" fmla="*/ 2839861 h 2871682"/>
                <a:gd name="connsiteX18" fmla="*/ 7365442 w 11731364"/>
                <a:gd name="connsiteY18" fmla="*/ 2799668 h 2871682"/>
                <a:gd name="connsiteX19" fmla="*/ 6742444 w 11731364"/>
                <a:gd name="connsiteY19" fmla="*/ 2819764 h 2871682"/>
                <a:gd name="connsiteX20" fmla="*/ 6601767 w 11731364"/>
                <a:gd name="connsiteY20" fmla="*/ 2809716 h 2871682"/>
                <a:gd name="connsiteX21" fmla="*/ 4783016 w 11731364"/>
                <a:gd name="connsiteY21" fmla="*/ 2859958 h 2871682"/>
                <a:gd name="connsiteX22" fmla="*/ 3938954 w 11731364"/>
                <a:gd name="connsiteY22" fmla="*/ 2839861 h 2871682"/>
                <a:gd name="connsiteX23" fmla="*/ 2944167 w 11731364"/>
                <a:gd name="connsiteY23" fmla="*/ 2819764 h 2871682"/>
                <a:gd name="connsiteX24" fmla="*/ 1889090 w 11731364"/>
                <a:gd name="connsiteY24" fmla="*/ 2829813 h 2871682"/>
                <a:gd name="connsiteX25" fmla="*/ 522515 w 11731364"/>
                <a:gd name="connsiteY25" fmla="*/ 2849909 h 2871682"/>
                <a:gd name="connsiteX26" fmla="*/ 10048 w 11731364"/>
                <a:gd name="connsiteY26" fmla="*/ 2819765 h 2871682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522515 w 11731364"/>
                <a:gd name="connsiteY25" fmla="*/ 2853113 h 2874886"/>
                <a:gd name="connsiteX26" fmla="*/ 10048 w 11731364"/>
                <a:gd name="connsiteY26" fmla="*/ 2822969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522515 w 11731364"/>
                <a:gd name="connsiteY25" fmla="*/ 2853113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1311934 w 11731364"/>
                <a:gd name="connsiteY25" fmla="*/ 2812919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72846 w 11731364"/>
                <a:gd name="connsiteY25" fmla="*/ 2772725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22882 w 11731364"/>
                <a:gd name="connsiteY25" fmla="*/ 2843063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12890 w 11731364"/>
                <a:gd name="connsiteY25" fmla="*/ 2812918 h 2874886"/>
                <a:gd name="connsiteX0" fmla="*/ 0 w 11795893"/>
                <a:gd name="connsiteY0" fmla="*/ 28410 h 2863721"/>
                <a:gd name="connsiteX1" fmla="*/ 552660 w 11795893"/>
                <a:gd name="connsiteY1" fmla="*/ 8313 h 2863721"/>
                <a:gd name="connsiteX2" fmla="*/ 1637882 w 11795893"/>
                <a:gd name="connsiteY2" fmla="*/ 18361 h 2863721"/>
                <a:gd name="connsiteX3" fmla="*/ 2019719 w 11795893"/>
                <a:gd name="connsiteY3" fmla="*/ 18361 h 2863721"/>
                <a:gd name="connsiteX4" fmla="*/ 4531807 w 11795893"/>
                <a:gd name="connsiteY4" fmla="*/ 38458 h 2863721"/>
                <a:gd name="connsiteX5" fmla="*/ 6300317 w 11795893"/>
                <a:gd name="connsiteY5" fmla="*/ 68603 h 2863721"/>
                <a:gd name="connsiteX6" fmla="*/ 7063991 w 11795893"/>
                <a:gd name="connsiteY6" fmla="*/ 38458 h 2863721"/>
                <a:gd name="connsiteX7" fmla="*/ 8098972 w 11795893"/>
                <a:gd name="connsiteY7" fmla="*/ 68603 h 2863721"/>
                <a:gd name="connsiteX8" fmla="*/ 9485644 w 11795893"/>
                <a:gd name="connsiteY8" fmla="*/ 68603 h 2863721"/>
                <a:gd name="connsiteX9" fmla="*/ 9827288 w 11795893"/>
                <a:gd name="connsiteY9" fmla="*/ 38458 h 2863721"/>
                <a:gd name="connsiteX10" fmla="*/ 10671350 w 11795893"/>
                <a:gd name="connsiteY10" fmla="*/ 8313 h 2863721"/>
                <a:gd name="connsiteX11" fmla="*/ 11615895 w 11795893"/>
                <a:gd name="connsiteY11" fmla="*/ 58556 h 2863721"/>
                <a:gd name="connsiteX12" fmla="*/ 11686233 w 11795893"/>
                <a:gd name="connsiteY12" fmla="*/ 741843 h 2863721"/>
                <a:gd name="connsiteX13" fmla="*/ 11696282 w 11795893"/>
                <a:gd name="connsiteY13" fmla="*/ 2309386 h 2863721"/>
                <a:gd name="connsiteX14" fmla="*/ 11686233 w 11795893"/>
                <a:gd name="connsiteY14" fmla="*/ 2801755 h 2863721"/>
                <a:gd name="connsiteX15" fmla="*/ 10912510 w 11795893"/>
                <a:gd name="connsiteY15" fmla="*/ 2831900 h 2863721"/>
                <a:gd name="connsiteX16" fmla="*/ 10008159 w 11795893"/>
                <a:gd name="connsiteY16" fmla="*/ 2831900 h 2863721"/>
                <a:gd name="connsiteX17" fmla="*/ 9435402 w 11795893"/>
                <a:gd name="connsiteY17" fmla="*/ 2831900 h 2863721"/>
                <a:gd name="connsiteX18" fmla="*/ 7365442 w 11795893"/>
                <a:gd name="connsiteY18" fmla="*/ 2791707 h 2863721"/>
                <a:gd name="connsiteX19" fmla="*/ 6742444 w 11795893"/>
                <a:gd name="connsiteY19" fmla="*/ 2811803 h 2863721"/>
                <a:gd name="connsiteX20" fmla="*/ 6601767 w 11795893"/>
                <a:gd name="connsiteY20" fmla="*/ 2801755 h 2863721"/>
                <a:gd name="connsiteX21" fmla="*/ 4783016 w 11795893"/>
                <a:gd name="connsiteY21" fmla="*/ 2851997 h 2863721"/>
                <a:gd name="connsiteX22" fmla="*/ 3938954 w 11795893"/>
                <a:gd name="connsiteY22" fmla="*/ 2831900 h 2863721"/>
                <a:gd name="connsiteX23" fmla="*/ 2944167 w 11795893"/>
                <a:gd name="connsiteY23" fmla="*/ 2811803 h 2863721"/>
                <a:gd name="connsiteX24" fmla="*/ 1889090 w 11795893"/>
                <a:gd name="connsiteY24" fmla="*/ 2821852 h 2863721"/>
                <a:gd name="connsiteX25" fmla="*/ 12890 w 11795893"/>
                <a:gd name="connsiteY25" fmla="*/ 2801753 h 2863721"/>
                <a:gd name="connsiteX0" fmla="*/ 0 w 11731364"/>
                <a:gd name="connsiteY0" fmla="*/ 152690 h 2988001"/>
                <a:gd name="connsiteX1" fmla="*/ 552660 w 11731364"/>
                <a:gd name="connsiteY1" fmla="*/ 132593 h 2988001"/>
                <a:gd name="connsiteX2" fmla="*/ 1637882 w 11731364"/>
                <a:gd name="connsiteY2" fmla="*/ 142641 h 2988001"/>
                <a:gd name="connsiteX3" fmla="*/ 2019719 w 11731364"/>
                <a:gd name="connsiteY3" fmla="*/ 142641 h 2988001"/>
                <a:gd name="connsiteX4" fmla="*/ 4531807 w 11731364"/>
                <a:gd name="connsiteY4" fmla="*/ 162738 h 2988001"/>
                <a:gd name="connsiteX5" fmla="*/ 6300317 w 11731364"/>
                <a:gd name="connsiteY5" fmla="*/ 192883 h 2988001"/>
                <a:gd name="connsiteX6" fmla="*/ 7063991 w 11731364"/>
                <a:gd name="connsiteY6" fmla="*/ 162738 h 2988001"/>
                <a:gd name="connsiteX7" fmla="*/ 8098972 w 11731364"/>
                <a:gd name="connsiteY7" fmla="*/ 192883 h 2988001"/>
                <a:gd name="connsiteX8" fmla="*/ 9485644 w 11731364"/>
                <a:gd name="connsiteY8" fmla="*/ 192883 h 2988001"/>
                <a:gd name="connsiteX9" fmla="*/ 9827288 w 11731364"/>
                <a:gd name="connsiteY9" fmla="*/ 162738 h 2988001"/>
                <a:gd name="connsiteX10" fmla="*/ 10671350 w 11731364"/>
                <a:gd name="connsiteY10" fmla="*/ 132593 h 2988001"/>
                <a:gd name="connsiteX11" fmla="*/ 11615895 w 11731364"/>
                <a:gd name="connsiteY11" fmla="*/ 182836 h 2988001"/>
                <a:gd name="connsiteX12" fmla="*/ 11696282 w 11731364"/>
                <a:gd name="connsiteY12" fmla="*/ 2433666 h 2988001"/>
                <a:gd name="connsiteX13" fmla="*/ 11686233 w 11731364"/>
                <a:gd name="connsiteY13" fmla="*/ 2926035 h 2988001"/>
                <a:gd name="connsiteX14" fmla="*/ 10912510 w 11731364"/>
                <a:gd name="connsiteY14" fmla="*/ 2956180 h 2988001"/>
                <a:gd name="connsiteX15" fmla="*/ 10008159 w 11731364"/>
                <a:gd name="connsiteY15" fmla="*/ 2956180 h 2988001"/>
                <a:gd name="connsiteX16" fmla="*/ 9435402 w 11731364"/>
                <a:gd name="connsiteY16" fmla="*/ 2956180 h 2988001"/>
                <a:gd name="connsiteX17" fmla="*/ 7365442 w 11731364"/>
                <a:gd name="connsiteY17" fmla="*/ 2915987 h 2988001"/>
                <a:gd name="connsiteX18" fmla="*/ 6742444 w 11731364"/>
                <a:gd name="connsiteY18" fmla="*/ 2936083 h 2988001"/>
                <a:gd name="connsiteX19" fmla="*/ 6601767 w 11731364"/>
                <a:gd name="connsiteY19" fmla="*/ 2926035 h 2988001"/>
                <a:gd name="connsiteX20" fmla="*/ 4783016 w 11731364"/>
                <a:gd name="connsiteY20" fmla="*/ 2976277 h 2988001"/>
                <a:gd name="connsiteX21" fmla="*/ 3938954 w 11731364"/>
                <a:gd name="connsiteY21" fmla="*/ 2956180 h 2988001"/>
                <a:gd name="connsiteX22" fmla="*/ 2944167 w 11731364"/>
                <a:gd name="connsiteY22" fmla="*/ 2936083 h 2988001"/>
                <a:gd name="connsiteX23" fmla="*/ 1889090 w 11731364"/>
                <a:gd name="connsiteY23" fmla="*/ 2946132 h 2988001"/>
                <a:gd name="connsiteX24" fmla="*/ 12890 w 11731364"/>
                <a:gd name="connsiteY24" fmla="*/ 2926033 h 2988001"/>
                <a:gd name="connsiteX0" fmla="*/ 0 w 11761041"/>
                <a:gd name="connsiteY0" fmla="*/ 189003 h 3175501"/>
                <a:gd name="connsiteX1" fmla="*/ 552660 w 11761041"/>
                <a:gd name="connsiteY1" fmla="*/ 168906 h 3175501"/>
                <a:gd name="connsiteX2" fmla="*/ 1637882 w 11761041"/>
                <a:gd name="connsiteY2" fmla="*/ 178954 h 3175501"/>
                <a:gd name="connsiteX3" fmla="*/ 2019719 w 11761041"/>
                <a:gd name="connsiteY3" fmla="*/ 178954 h 3175501"/>
                <a:gd name="connsiteX4" fmla="*/ 4531807 w 11761041"/>
                <a:gd name="connsiteY4" fmla="*/ 199051 h 3175501"/>
                <a:gd name="connsiteX5" fmla="*/ 6300317 w 11761041"/>
                <a:gd name="connsiteY5" fmla="*/ 229196 h 3175501"/>
                <a:gd name="connsiteX6" fmla="*/ 7063991 w 11761041"/>
                <a:gd name="connsiteY6" fmla="*/ 199051 h 3175501"/>
                <a:gd name="connsiteX7" fmla="*/ 8098972 w 11761041"/>
                <a:gd name="connsiteY7" fmla="*/ 229196 h 3175501"/>
                <a:gd name="connsiteX8" fmla="*/ 9485644 w 11761041"/>
                <a:gd name="connsiteY8" fmla="*/ 229196 h 3175501"/>
                <a:gd name="connsiteX9" fmla="*/ 9827288 w 11761041"/>
                <a:gd name="connsiteY9" fmla="*/ 199051 h 3175501"/>
                <a:gd name="connsiteX10" fmla="*/ 10671350 w 11761041"/>
                <a:gd name="connsiteY10" fmla="*/ 168906 h 3175501"/>
                <a:gd name="connsiteX11" fmla="*/ 11615895 w 11761041"/>
                <a:gd name="connsiteY11" fmla="*/ 219149 h 3175501"/>
                <a:gd name="connsiteX12" fmla="*/ 11686233 w 11761041"/>
                <a:gd name="connsiteY12" fmla="*/ 2962348 h 3175501"/>
                <a:gd name="connsiteX13" fmla="*/ 10912510 w 11761041"/>
                <a:gd name="connsiteY13" fmla="*/ 2992493 h 3175501"/>
                <a:gd name="connsiteX14" fmla="*/ 10008159 w 11761041"/>
                <a:gd name="connsiteY14" fmla="*/ 2992493 h 3175501"/>
                <a:gd name="connsiteX15" fmla="*/ 9435402 w 11761041"/>
                <a:gd name="connsiteY15" fmla="*/ 2992493 h 3175501"/>
                <a:gd name="connsiteX16" fmla="*/ 7365442 w 11761041"/>
                <a:gd name="connsiteY16" fmla="*/ 2952300 h 3175501"/>
                <a:gd name="connsiteX17" fmla="*/ 6742444 w 11761041"/>
                <a:gd name="connsiteY17" fmla="*/ 2972396 h 3175501"/>
                <a:gd name="connsiteX18" fmla="*/ 6601767 w 11761041"/>
                <a:gd name="connsiteY18" fmla="*/ 2962348 h 3175501"/>
                <a:gd name="connsiteX19" fmla="*/ 4783016 w 11761041"/>
                <a:gd name="connsiteY19" fmla="*/ 3012590 h 3175501"/>
                <a:gd name="connsiteX20" fmla="*/ 3938954 w 11761041"/>
                <a:gd name="connsiteY20" fmla="*/ 2992493 h 3175501"/>
                <a:gd name="connsiteX21" fmla="*/ 2944167 w 11761041"/>
                <a:gd name="connsiteY21" fmla="*/ 2972396 h 3175501"/>
                <a:gd name="connsiteX22" fmla="*/ 1889090 w 11761041"/>
                <a:gd name="connsiteY22" fmla="*/ 2982445 h 3175501"/>
                <a:gd name="connsiteX23" fmla="*/ 12890 w 11761041"/>
                <a:gd name="connsiteY23" fmla="*/ 2962346 h 3175501"/>
                <a:gd name="connsiteX0" fmla="*/ 0 w 11837985"/>
                <a:gd name="connsiteY0" fmla="*/ 32082 h 2997028"/>
                <a:gd name="connsiteX1" fmla="*/ 552660 w 11837985"/>
                <a:gd name="connsiteY1" fmla="*/ 11985 h 2997028"/>
                <a:gd name="connsiteX2" fmla="*/ 1637882 w 11837985"/>
                <a:gd name="connsiteY2" fmla="*/ 22033 h 2997028"/>
                <a:gd name="connsiteX3" fmla="*/ 2019719 w 11837985"/>
                <a:gd name="connsiteY3" fmla="*/ 22033 h 2997028"/>
                <a:gd name="connsiteX4" fmla="*/ 4531807 w 11837985"/>
                <a:gd name="connsiteY4" fmla="*/ 42130 h 2997028"/>
                <a:gd name="connsiteX5" fmla="*/ 6300317 w 11837985"/>
                <a:gd name="connsiteY5" fmla="*/ 72275 h 2997028"/>
                <a:gd name="connsiteX6" fmla="*/ 7063991 w 11837985"/>
                <a:gd name="connsiteY6" fmla="*/ 42130 h 2997028"/>
                <a:gd name="connsiteX7" fmla="*/ 8098972 w 11837985"/>
                <a:gd name="connsiteY7" fmla="*/ 72275 h 2997028"/>
                <a:gd name="connsiteX8" fmla="*/ 9485644 w 11837985"/>
                <a:gd name="connsiteY8" fmla="*/ 72275 h 2997028"/>
                <a:gd name="connsiteX9" fmla="*/ 9827288 w 11837985"/>
                <a:gd name="connsiteY9" fmla="*/ 42130 h 2997028"/>
                <a:gd name="connsiteX10" fmla="*/ 10671350 w 11837985"/>
                <a:gd name="connsiteY10" fmla="*/ 11985 h 2997028"/>
                <a:gd name="connsiteX11" fmla="*/ 11745799 w 11837985"/>
                <a:gd name="connsiteY11" fmla="*/ 353631 h 2997028"/>
                <a:gd name="connsiteX12" fmla="*/ 11686233 w 11837985"/>
                <a:gd name="connsiteY12" fmla="*/ 2805427 h 2997028"/>
                <a:gd name="connsiteX13" fmla="*/ 10912510 w 11837985"/>
                <a:gd name="connsiteY13" fmla="*/ 2835572 h 2997028"/>
                <a:gd name="connsiteX14" fmla="*/ 10008159 w 11837985"/>
                <a:gd name="connsiteY14" fmla="*/ 2835572 h 2997028"/>
                <a:gd name="connsiteX15" fmla="*/ 9435402 w 11837985"/>
                <a:gd name="connsiteY15" fmla="*/ 2835572 h 2997028"/>
                <a:gd name="connsiteX16" fmla="*/ 7365442 w 11837985"/>
                <a:gd name="connsiteY16" fmla="*/ 2795379 h 2997028"/>
                <a:gd name="connsiteX17" fmla="*/ 6742444 w 11837985"/>
                <a:gd name="connsiteY17" fmla="*/ 2815475 h 2997028"/>
                <a:gd name="connsiteX18" fmla="*/ 6601767 w 11837985"/>
                <a:gd name="connsiteY18" fmla="*/ 2805427 h 2997028"/>
                <a:gd name="connsiteX19" fmla="*/ 4783016 w 11837985"/>
                <a:gd name="connsiteY19" fmla="*/ 2855669 h 2997028"/>
                <a:gd name="connsiteX20" fmla="*/ 3938954 w 11837985"/>
                <a:gd name="connsiteY20" fmla="*/ 2835572 h 2997028"/>
                <a:gd name="connsiteX21" fmla="*/ 2944167 w 11837985"/>
                <a:gd name="connsiteY21" fmla="*/ 2815475 h 2997028"/>
                <a:gd name="connsiteX22" fmla="*/ 1889090 w 11837985"/>
                <a:gd name="connsiteY22" fmla="*/ 2825524 h 2997028"/>
                <a:gd name="connsiteX23" fmla="*/ 12890 w 11837985"/>
                <a:gd name="connsiteY23" fmla="*/ 2805425 h 2997028"/>
                <a:gd name="connsiteX0" fmla="*/ 0 w 11890507"/>
                <a:gd name="connsiteY0" fmla="*/ 20097 h 2985043"/>
                <a:gd name="connsiteX1" fmla="*/ 552660 w 11890507"/>
                <a:gd name="connsiteY1" fmla="*/ 0 h 2985043"/>
                <a:gd name="connsiteX2" fmla="*/ 1637882 w 11890507"/>
                <a:gd name="connsiteY2" fmla="*/ 10048 h 2985043"/>
                <a:gd name="connsiteX3" fmla="*/ 2019719 w 11890507"/>
                <a:gd name="connsiteY3" fmla="*/ 10048 h 2985043"/>
                <a:gd name="connsiteX4" fmla="*/ 4531807 w 11890507"/>
                <a:gd name="connsiteY4" fmla="*/ 30145 h 2985043"/>
                <a:gd name="connsiteX5" fmla="*/ 6300317 w 11890507"/>
                <a:gd name="connsiteY5" fmla="*/ 60290 h 2985043"/>
                <a:gd name="connsiteX6" fmla="*/ 7063991 w 11890507"/>
                <a:gd name="connsiteY6" fmla="*/ 30145 h 2985043"/>
                <a:gd name="connsiteX7" fmla="*/ 8098972 w 11890507"/>
                <a:gd name="connsiteY7" fmla="*/ 60290 h 2985043"/>
                <a:gd name="connsiteX8" fmla="*/ 9485644 w 11890507"/>
                <a:gd name="connsiteY8" fmla="*/ 60290 h 2985043"/>
                <a:gd name="connsiteX9" fmla="*/ 9827288 w 11890507"/>
                <a:gd name="connsiteY9" fmla="*/ 30145 h 2985043"/>
                <a:gd name="connsiteX10" fmla="*/ 10671350 w 11890507"/>
                <a:gd name="connsiteY10" fmla="*/ 0 h 2985043"/>
                <a:gd name="connsiteX11" fmla="*/ 11745799 w 11890507"/>
                <a:gd name="connsiteY11" fmla="*/ 341646 h 2985043"/>
                <a:gd name="connsiteX12" fmla="*/ 11686233 w 11890507"/>
                <a:gd name="connsiteY12" fmla="*/ 2793442 h 2985043"/>
                <a:gd name="connsiteX13" fmla="*/ 10912510 w 11890507"/>
                <a:gd name="connsiteY13" fmla="*/ 2823587 h 2985043"/>
                <a:gd name="connsiteX14" fmla="*/ 10008159 w 11890507"/>
                <a:gd name="connsiteY14" fmla="*/ 2823587 h 2985043"/>
                <a:gd name="connsiteX15" fmla="*/ 9435402 w 11890507"/>
                <a:gd name="connsiteY15" fmla="*/ 2823587 h 2985043"/>
                <a:gd name="connsiteX16" fmla="*/ 7365442 w 11890507"/>
                <a:gd name="connsiteY16" fmla="*/ 2783394 h 2985043"/>
                <a:gd name="connsiteX17" fmla="*/ 6742444 w 11890507"/>
                <a:gd name="connsiteY17" fmla="*/ 2803490 h 2985043"/>
                <a:gd name="connsiteX18" fmla="*/ 6601767 w 11890507"/>
                <a:gd name="connsiteY18" fmla="*/ 2793442 h 2985043"/>
                <a:gd name="connsiteX19" fmla="*/ 4783016 w 11890507"/>
                <a:gd name="connsiteY19" fmla="*/ 2843684 h 2985043"/>
                <a:gd name="connsiteX20" fmla="*/ 3938954 w 11890507"/>
                <a:gd name="connsiteY20" fmla="*/ 2823587 h 2985043"/>
                <a:gd name="connsiteX21" fmla="*/ 2944167 w 11890507"/>
                <a:gd name="connsiteY21" fmla="*/ 2803490 h 2985043"/>
                <a:gd name="connsiteX22" fmla="*/ 1889090 w 11890507"/>
                <a:gd name="connsiteY22" fmla="*/ 2813539 h 2985043"/>
                <a:gd name="connsiteX23" fmla="*/ 12890 w 11890507"/>
                <a:gd name="connsiteY23" fmla="*/ 2793440 h 2985043"/>
                <a:gd name="connsiteX0" fmla="*/ 0 w 11888066"/>
                <a:gd name="connsiteY0" fmla="*/ 24726 h 2863208"/>
                <a:gd name="connsiteX1" fmla="*/ 552660 w 11888066"/>
                <a:gd name="connsiteY1" fmla="*/ 4629 h 2863208"/>
                <a:gd name="connsiteX2" fmla="*/ 1637882 w 11888066"/>
                <a:gd name="connsiteY2" fmla="*/ 14677 h 2863208"/>
                <a:gd name="connsiteX3" fmla="*/ 2019719 w 11888066"/>
                <a:gd name="connsiteY3" fmla="*/ 14677 h 2863208"/>
                <a:gd name="connsiteX4" fmla="*/ 4531807 w 11888066"/>
                <a:gd name="connsiteY4" fmla="*/ 34774 h 2863208"/>
                <a:gd name="connsiteX5" fmla="*/ 6300317 w 11888066"/>
                <a:gd name="connsiteY5" fmla="*/ 64919 h 2863208"/>
                <a:gd name="connsiteX6" fmla="*/ 7063991 w 11888066"/>
                <a:gd name="connsiteY6" fmla="*/ 34774 h 2863208"/>
                <a:gd name="connsiteX7" fmla="*/ 8098972 w 11888066"/>
                <a:gd name="connsiteY7" fmla="*/ 64919 h 2863208"/>
                <a:gd name="connsiteX8" fmla="*/ 9485644 w 11888066"/>
                <a:gd name="connsiteY8" fmla="*/ 64919 h 2863208"/>
                <a:gd name="connsiteX9" fmla="*/ 9827288 w 11888066"/>
                <a:gd name="connsiteY9" fmla="*/ 34774 h 2863208"/>
                <a:gd name="connsiteX10" fmla="*/ 10671350 w 11888066"/>
                <a:gd name="connsiteY10" fmla="*/ 4629 h 2863208"/>
                <a:gd name="connsiteX11" fmla="*/ 11745799 w 11888066"/>
                <a:gd name="connsiteY11" fmla="*/ 346275 h 2863208"/>
                <a:gd name="connsiteX12" fmla="*/ 11786160 w 11888066"/>
                <a:gd name="connsiteY12" fmla="*/ 2587055 h 2863208"/>
                <a:gd name="connsiteX13" fmla="*/ 10912510 w 11888066"/>
                <a:gd name="connsiteY13" fmla="*/ 2828216 h 2863208"/>
                <a:gd name="connsiteX14" fmla="*/ 10008159 w 11888066"/>
                <a:gd name="connsiteY14" fmla="*/ 2828216 h 2863208"/>
                <a:gd name="connsiteX15" fmla="*/ 9435402 w 11888066"/>
                <a:gd name="connsiteY15" fmla="*/ 2828216 h 2863208"/>
                <a:gd name="connsiteX16" fmla="*/ 7365442 w 11888066"/>
                <a:gd name="connsiteY16" fmla="*/ 2788023 h 2863208"/>
                <a:gd name="connsiteX17" fmla="*/ 6742444 w 11888066"/>
                <a:gd name="connsiteY17" fmla="*/ 2808119 h 2863208"/>
                <a:gd name="connsiteX18" fmla="*/ 6601767 w 11888066"/>
                <a:gd name="connsiteY18" fmla="*/ 2798071 h 2863208"/>
                <a:gd name="connsiteX19" fmla="*/ 4783016 w 11888066"/>
                <a:gd name="connsiteY19" fmla="*/ 2848313 h 2863208"/>
                <a:gd name="connsiteX20" fmla="*/ 3938954 w 11888066"/>
                <a:gd name="connsiteY20" fmla="*/ 2828216 h 2863208"/>
                <a:gd name="connsiteX21" fmla="*/ 2944167 w 11888066"/>
                <a:gd name="connsiteY21" fmla="*/ 2808119 h 2863208"/>
                <a:gd name="connsiteX22" fmla="*/ 1889090 w 11888066"/>
                <a:gd name="connsiteY22" fmla="*/ 2818168 h 2863208"/>
                <a:gd name="connsiteX23" fmla="*/ 12890 w 11888066"/>
                <a:gd name="connsiteY23" fmla="*/ 2798069 h 2863208"/>
                <a:gd name="connsiteX0" fmla="*/ 0 w 11848891"/>
                <a:gd name="connsiteY0" fmla="*/ 24726 h 2849235"/>
                <a:gd name="connsiteX1" fmla="*/ 552660 w 11848891"/>
                <a:gd name="connsiteY1" fmla="*/ 4629 h 2849235"/>
                <a:gd name="connsiteX2" fmla="*/ 1637882 w 11848891"/>
                <a:gd name="connsiteY2" fmla="*/ 14677 h 2849235"/>
                <a:gd name="connsiteX3" fmla="*/ 2019719 w 11848891"/>
                <a:gd name="connsiteY3" fmla="*/ 14677 h 2849235"/>
                <a:gd name="connsiteX4" fmla="*/ 4531807 w 11848891"/>
                <a:gd name="connsiteY4" fmla="*/ 34774 h 2849235"/>
                <a:gd name="connsiteX5" fmla="*/ 6300317 w 11848891"/>
                <a:gd name="connsiteY5" fmla="*/ 64919 h 2849235"/>
                <a:gd name="connsiteX6" fmla="*/ 7063991 w 11848891"/>
                <a:gd name="connsiteY6" fmla="*/ 34774 h 2849235"/>
                <a:gd name="connsiteX7" fmla="*/ 8098972 w 11848891"/>
                <a:gd name="connsiteY7" fmla="*/ 64919 h 2849235"/>
                <a:gd name="connsiteX8" fmla="*/ 9485644 w 11848891"/>
                <a:gd name="connsiteY8" fmla="*/ 64919 h 2849235"/>
                <a:gd name="connsiteX9" fmla="*/ 9827288 w 11848891"/>
                <a:gd name="connsiteY9" fmla="*/ 34774 h 2849235"/>
                <a:gd name="connsiteX10" fmla="*/ 10671350 w 11848891"/>
                <a:gd name="connsiteY10" fmla="*/ 4629 h 2849235"/>
                <a:gd name="connsiteX11" fmla="*/ 11745799 w 11848891"/>
                <a:gd name="connsiteY11" fmla="*/ 346275 h 2849235"/>
                <a:gd name="connsiteX12" fmla="*/ 11786160 w 11848891"/>
                <a:gd name="connsiteY12" fmla="*/ 2587055 h 2849235"/>
                <a:gd name="connsiteX13" fmla="*/ 10912510 w 11848891"/>
                <a:gd name="connsiteY13" fmla="*/ 2828216 h 2849235"/>
                <a:gd name="connsiteX14" fmla="*/ 10008159 w 11848891"/>
                <a:gd name="connsiteY14" fmla="*/ 2828216 h 2849235"/>
                <a:gd name="connsiteX15" fmla="*/ 9435402 w 11848891"/>
                <a:gd name="connsiteY15" fmla="*/ 2828216 h 2849235"/>
                <a:gd name="connsiteX16" fmla="*/ 7365442 w 11848891"/>
                <a:gd name="connsiteY16" fmla="*/ 2788023 h 2849235"/>
                <a:gd name="connsiteX17" fmla="*/ 6742444 w 11848891"/>
                <a:gd name="connsiteY17" fmla="*/ 2808119 h 2849235"/>
                <a:gd name="connsiteX18" fmla="*/ 6601767 w 11848891"/>
                <a:gd name="connsiteY18" fmla="*/ 2798071 h 2849235"/>
                <a:gd name="connsiteX19" fmla="*/ 4783016 w 11848891"/>
                <a:gd name="connsiteY19" fmla="*/ 2848313 h 2849235"/>
                <a:gd name="connsiteX20" fmla="*/ 3938954 w 11848891"/>
                <a:gd name="connsiteY20" fmla="*/ 2828216 h 2849235"/>
                <a:gd name="connsiteX21" fmla="*/ 2944167 w 11848891"/>
                <a:gd name="connsiteY21" fmla="*/ 2808119 h 2849235"/>
                <a:gd name="connsiteX22" fmla="*/ 1889090 w 11848891"/>
                <a:gd name="connsiteY22" fmla="*/ 2818168 h 2849235"/>
                <a:gd name="connsiteX23" fmla="*/ 12890 w 11848891"/>
                <a:gd name="connsiteY23" fmla="*/ 2798069 h 2849235"/>
                <a:gd name="connsiteX0" fmla="*/ 0 w 11916572"/>
                <a:gd name="connsiteY0" fmla="*/ 24726 h 2849235"/>
                <a:gd name="connsiteX1" fmla="*/ 552660 w 11916572"/>
                <a:gd name="connsiteY1" fmla="*/ 4629 h 2849235"/>
                <a:gd name="connsiteX2" fmla="*/ 1637882 w 11916572"/>
                <a:gd name="connsiteY2" fmla="*/ 14677 h 2849235"/>
                <a:gd name="connsiteX3" fmla="*/ 2019719 w 11916572"/>
                <a:gd name="connsiteY3" fmla="*/ 14677 h 2849235"/>
                <a:gd name="connsiteX4" fmla="*/ 4531807 w 11916572"/>
                <a:gd name="connsiteY4" fmla="*/ 34774 h 2849235"/>
                <a:gd name="connsiteX5" fmla="*/ 6300317 w 11916572"/>
                <a:gd name="connsiteY5" fmla="*/ 64919 h 2849235"/>
                <a:gd name="connsiteX6" fmla="*/ 7063991 w 11916572"/>
                <a:gd name="connsiteY6" fmla="*/ 34774 h 2849235"/>
                <a:gd name="connsiteX7" fmla="*/ 8098972 w 11916572"/>
                <a:gd name="connsiteY7" fmla="*/ 64919 h 2849235"/>
                <a:gd name="connsiteX8" fmla="*/ 9485644 w 11916572"/>
                <a:gd name="connsiteY8" fmla="*/ 64919 h 2849235"/>
                <a:gd name="connsiteX9" fmla="*/ 9827288 w 11916572"/>
                <a:gd name="connsiteY9" fmla="*/ 34774 h 2849235"/>
                <a:gd name="connsiteX10" fmla="*/ 10671350 w 11916572"/>
                <a:gd name="connsiteY10" fmla="*/ 4629 h 2849235"/>
                <a:gd name="connsiteX11" fmla="*/ 11745799 w 11916572"/>
                <a:gd name="connsiteY11" fmla="*/ 346275 h 2849235"/>
                <a:gd name="connsiteX12" fmla="*/ 11786160 w 11916572"/>
                <a:gd name="connsiteY12" fmla="*/ 2587055 h 2849235"/>
                <a:gd name="connsiteX13" fmla="*/ 10912510 w 11916572"/>
                <a:gd name="connsiteY13" fmla="*/ 2828216 h 2849235"/>
                <a:gd name="connsiteX14" fmla="*/ 10008159 w 11916572"/>
                <a:gd name="connsiteY14" fmla="*/ 2828216 h 2849235"/>
                <a:gd name="connsiteX15" fmla="*/ 9435402 w 11916572"/>
                <a:gd name="connsiteY15" fmla="*/ 2828216 h 2849235"/>
                <a:gd name="connsiteX16" fmla="*/ 7365442 w 11916572"/>
                <a:gd name="connsiteY16" fmla="*/ 2788023 h 2849235"/>
                <a:gd name="connsiteX17" fmla="*/ 6742444 w 11916572"/>
                <a:gd name="connsiteY17" fmla="*/ 2808119 h 2849235"/>
                <a:gd name="connsiteX18" fmla="*/ 6601767 w 11916572"/>
                <a:gd name="connsiteY18" fmla="*/ 2798071 h 2849235"/>
                <a:gd name="connsiteX19" fmla="*/ 4783016 w 11916572"/>
                <a:gd name="connsiteY19" fmla="*/ 2848313 h 2849235"/>
                <a:gd name="connsiteX20" fmla="*/ 3938954 w 11916572"/>
                <a:gd name="connsiteY20" fmla="*/ 2828216 h 2849235"/>
                <a:gd name="connsiteX21" fmla="*/ 2944167 w 11916572"/>
                <a:gd name="connsiteY21" fmla="*/ 2808119 h 2849235"/>
                <a:gd name="connsiteX22" fmla="*/ 1889090 w 11916572"/>
                <a:gd name="connsiteY22" fmla="*/ 2818168 h 2849235"/>
                <a:gd name="connsiteX23" fmla="*/ 12890 w 11916572"/>
                <a:gd name="connsiteY23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9485644 w 11936930"/>
                <a:gd name="connsiteY8" fmla="*/ 64919 h 2849235"/>
                <a:gd name="connsiteX9" fmla="*/ 9827288 w 11936930"/>
                <a:gd name="connsiteY9" fmla="*/ 34774 h 2849235"/>
                <a:gd name="connsiteX10" fmla="*/ 10311615 w 11936930"/>
                <a:gd name="connsiteY10" fmla="*/ 4629 h 2849235"/>
                <a:gd name="connsiteX11" fmla="*/ 11745799 w 11936930"/>
                <a:gd name="connsiteY11" fmla="*/ 346275 h 2849235"/>
                <a:gd name="connsiteX12" fmla="*/ 11786160 w 11936930"/>
                <a:gd name="connsiteY12" fmla="*/ 2587055 h 2849235"/>
                <a:gd name="connsiteX13" fmla="*/ 10912510 w 11936930"/>
                <a:gd name="connsiteY13" fmla="*/ 2828216 h 2849235"/>
                <a:gd name="connsiteX14" fmla="*/ 10008159 w 11936930"/>
                <a:gd name="connsiteY14" fmla="*/ 2828216 h 2849235"/>
                <a:gd name="connsiteX15" fmla="*/ 9435402 w 11936930"/>
                <a:gd name="connsiteY15" fmla="*/ 2828216 h 2849235"/>
                <a:gd name="connsiteX16" fmla="*/ 7365442 w 11936930"/>
                <a:gd name="connsiteY16" fmla="*/ 2788023 h 2849235"/>
                <a:gd name="connsiteX17" fmla="*/ 6742444 w 11936930"/>
                <a:gd name="connsiteY17" fmla="*/ 2808119 h 2849235"/>
                <a:gd name="connsiteX18" fmla="*/ 6601767 w 11936930"/>
                <a:gd name="connsiteY18" fmla="*/ 2798071 h 2849235"/>
                <a:gd name="connsiteX19" fmla="*/ 4783016 w 11936930"/>
                <a:gd name="connsiteY19" fmla="*/ 2848313 h 2849235"/>
                <a:gd name="connsiteX20" fmla="*/ 3938954 w 11936930"/>
                <a:gd name="connsiteY20" fmla="*/ 2828216 h 2849235"/>
                <a:gd name="connsiteX21" fmla="*/ 2944167 w 11936930"/>
                <a:gd name="connsiteY21" fmla="*/ 2808119 h 2849235"/>
                <a:gd name="connsiteX22" fmla="*/ 1889090 w 11936930"/>
                <a:gd name="connsiteY22" fmla="*/ 2818168 h 2849235"/>
                <a:gd name="connsiteX23" fmla="*/ 12890 w 11936930"/>
                <a:gd name="connsiteY23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9485644 w 11936930"/>
                <a:gd name="connsiteY8" fmla="*/ 64919 h 2849235"/>
                <a:gd name="connsiteX9" fmla="*/ 10311615 w 11936930"/>
                <a:gd name="connsiteY9" fmla="*/ 4629 h 2849235"/>
                <a:gd name="connsiteX10" fmla="*/ 11745799 w 11936930"/>
                <a:gd name="connsiteY10" fmla="*/ 346275 h 2849235"/>
                <a:gd name="connsiteX11" fmla="*/ 11786160 w 11936930"/>
                <a:gd name="connsiteY11" fmla="*/ 2587055 h 2849235"/>
                <a:gd name="connsiteX12" fmla="*/ 10912510 w 11936930"/>
                <a:gd name="connsiteY12" fmla="*/ 2828216 h 2849235"/>
                <a:gd name="connsiteX13" fmla="*/ 10008159 w 11936930"/>
                <a:gd name="connsiteY13" fmla="*/ 2828216 h 2849235"/>
                <a:gd name="connsiteX14" fmla="*/ 9435402 w 11936930"/>
                <a:gd name="connsiteY14" fmla="*/ 2828216 h 2849235"/>
                <a:gd name="connsiteX15" fmla="*/ 7365442 w 11936930"/>
                <a:gd name="connsiteY15" fmla="*/ 2788023 h 2849235"/>
                <a:gd name="connsiteX16" fmla="*/ 6742444 w 11936930"/>
                <a:gd name="connsiteY16" fmla="*/ 2808119 h 2849235"/>
                <a:gd name="connsiteX17" fmla="*/ 6601767 w 11936930"/>
                <a:gd name="connsiteY17" fmla="*/ 2798071 h 2849235"/>
                <a:gd name="connsiteX18" fmla="*/ 4783016 w 11936930"/>
                <a:gd name="connsiteY18" fmla="*/ 2848313 h 2849235"/>
                <a:gd name="connsiteX19" fmla="*/ 3938954 w 11936930"/>
                <a:gd name="connsiteY19" fmla="*/ 2828216 h 2849235"/>
                <a:gd name="connsiteX20" fmla="*/ 2944167 w 11936930"/>
                <a:gd name="connsiteY20" fmla="*/ 2808119 h 2849235"/>
                <a:gd name="connsiteX21" fmla="*/ 1889090 w 11936930"/>
                <a:gd name="connsiteY21" fmla="*/ 2818168 h 2849235"/>
                <a:gd name="connsiteX22" fmla="*/ 12890 w 11936930"/>
                <a:gd name="connsiteY22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8956033 w 11936930"/>
                <a:gd name="connsiteY8" fmla="*/ 64919 h 2849235"/>
                <a:gd name="connsiteX9" fmla="*/ 10311615 w 11936930"/>
                <a:gd name="connsiteY9" fmla="*/ 4629 h 2849235"/>
                <a:gd name="connsiteX10" fmla="*/ 11745799 w 11936930"/>
                <a:gd name="connsiteY10" fmla="*/ 346275 h 2849235"/>
                <a:gd name="connsiteX11" fmla="*/ 11786160 w 11936930"/>
                <a:gd name="connsiteY11" fmla="*/ 2587055 h 2849235"/>
                <a:gd name="connsiteX12" fmla="*/ 10912510 w 11936930"/>
                <a:gd name="connsiteY12" fmla="*/ 2828216 h 2849235"/>
                <a:gd name="connsiteX13" fmla="*/ 10008159 w 11936930"/>
                <a:gd name="connsiteY13" fmla="*/ 2828216 h 2849235"/>
                <a:gd name="connsiteX14" fmla="*/ 9435402 w 11936930"/>
                <a:gd name="connsiteY14" fmla="*/ 2828216 h 2849235"/>
                <a:gd name="connsiteX15" fmla="*/ 7365442 w 11936930"/>
                <a:gd name="connsiteY15" fmla="*/ 2788023 h 2849235"/>
                <a:gd name="connsiteX16" fmla="*/ 6742444 w 11936930"/>
                <a:gd name="connsiteY16" fmla="*/ 2808119 h 2849235"/>
                <a:gd name="connsiteX17" fmla="*/ 6601767 w 11936930"/>
                <a:gd name="connsiteY17" fmla="*/ 2798071 h 2849235"/>
                <a:gd name="connsiteX18" fmla="*/ 4783016 w 11936930"/>
                <a:gd name="connsiteY18" fmla="*/ 2848313 h 2849235"/>
                <a:gd name="connsiteX19" fmla="*/ 3938954 w 11936930"/>
                <a:gd name="connsiteY19" fmla="*/ 2828216 h 2849235"/>
                <a:gd name="connsiteX20" fmla="*/ 2944167 w 11936930"/>
                <a:gd name="connsiteY20" fmla="*/ 2808119 h 2849235"/>
                <a:gd name="connsiteX21" fmla="*/ 1889090 w 11936930"/>
                <a:gd name="connsiteY21" fmla="*/ 2818168 h 2849235"/>
                <a:gd name="connsiteX22" fmla="*/ 12890 w 11936930"/>
                <a:gd name="connsiteY22" fmla="*/ 2798069 h 2849235"/>
                <a:gd name="connsiteX0" fmla="*/ 0 w 11949661"/>
                <a:gd name="connsiteY0" fmla="*/ 24726 h 2849235"/>
                <a:gd name="connsiteX1" fmla="*/ 552660 w 11949661"/>
                <a:gd name="connsiteY1" fmla="*/ 4629 h 2849235"/>
                <a:gd name="connsiteX2" fmla="*/ 1637882 w 11949661"/>
                <a:gd name="connsiteY2" fmla="*/ 14677 h 2849235"/>
                <a:gd name="connsiteX3" fmla="*/ 2019719 w 11949661"/>
                <a:gd name="connsiteY3" fmla="*/ 14677 h 2849235"/>
                <a:gd name="connsiteX4" fmla="*/ 4531807 w 11949661"/>
                <a:gd name="connsiteY4" fmla="*/ 34774 h 2849235"/>
                <a:gd name="connsiteX5" fmla="*/ 6300317 w 11949661"/>
                <a:gd name="connsiteY5" fmla="*/ 64919 h 2849235"/>
                <a:gd name="connsiteX6" fmla="*/ 7063991 w 11949661"/>
                <a:gd name="connsiteY6" fmla="*/ 34774 h 2849235"/>
                <a:gd name="connsiteX7" fmla="*/ 8098972 w 11949661"/>
                <a:gd name="connsiteY7" fmla="*/ 64919 h 2849235"/>
                <a:gd name="connsiteX8" fmla="*/ 8956033 w 11949661"/>
                <a:gd name="connsiteY8" fmla="*/ 64919 h 2849235"/>
                <a:gd name="connsiteX9" fmla="*/ 10101769 w 11949661"/>
                <a:gd name="connsiteY9" fmla="*/ 4629 h 2849235"/>
                <a:gd name="connsiteX10" fmla="*/ 11745799 w 11949661"/>
                <a:gd name="connsiteY10" fmla="*/ 346275 h 2849235"/>
                <a:gd name="connsiteX11" fmla="*/ 11786160 w 11949661"/>
                <a:gd name="connsiteY11" fmla="*/ 2587055 h 2849235"/>
                <a:gd name="connsiteX12" fmla="*/ 10912510 w 11949661"/>
                <a:gd name="connsiteY12" fmla="*/ 2828216 h 2849235"/>
                <a:gd name="connsiteX13" fmla="*/ 10008159 w 11949661"/>
                <a:gd name="connsiteY13" fmla="*/ 2828216 h 2849235"/>
                <a:gd name="connsiteX14" fmla="*/ 9435402 w 11949661"/>
                <a:gd name="connsiteY14" fmla="*/ 2828216 h 2849235"/>
                <a:gd name="connsiteX15" fmla="*/ 7365442 w 11949661"/>
                <a:gd name="connsiteY15" fmla="*/ 2788023 h 2849235"/>
                <a:gd name="connsiteX16" fmla="*/ 6742444 w 11949661"/>
                <a:gd name="connsiteY16" fmla="*/ 2808119 h 2849235"/>
                <a:gd name="connsiteX17" fmla="*/ 6601767 w 11949661"/>
                <a:gd name="connsiteY17" fmla="*/ 2798071 h 2849235"/>
                <a:gd name="connsiteX18" fmla="*/ 4783016 w 11949661"/>
                <a:gd name="connsiteY18" fmla="*/ 2848313 h 2849235"/>
                <a:gd name="connsiteX19" fmla="*/ 3938954 w 11949661"/>
                <a:gd name="connsiteY19" fmla="*/ 2828216 h 2849235"/>
                <a:gd name="connsiteX20" fmla="*/ 2944167 w 11949661"/>
                <a:gd name="connsiteY20" fmla="*/ 2808119 h 2849235"/>
                <a:gd name="connsiteX21" fmla="*/ 1889090 w 11949661"/>
                <a:gd name="connsiteY21" fmla="*/ 2818168 h 2849235"/>
                <a:gd name="connsiteX22" fmla="*/ 12890 w 11949661"/>
                <a:gd name="connsiteY22" fmla="*/ 2798069 h 2849235"/>
                <a:gd name="connsiteX0" fmla="*/ 0 w 11981169"/>
                <a:gd name="connsiteY0" fmla="*/ 24726 h 2849235"/>
                <a:gd name="connsiteX1" fmla="*/ 552660 w 11981169"/>
                <a:gd name="connsiteY1" fmla="*/ 4629 h 2849235"/>
                <a:gd name="connsiteX2" fmla="*/ 1637882 w 11981169"/>
                <a:gd name="connsiteY2" fmla="*/ 14677 h 2849235"/>
                <a:gd name="connsiteX3" fmla="*/ 2019719 w 11981169"/>
                <a:gd name="connsiteY3" fmla="*/ 14677 h 2849235"/>
                <a:gd name="connsiteX4" fmla="*/ 4531807 w 11981169"/>
                <a:gd name="connsiteY4" fmla="*/ 34774 h 2849235"/>
                <a:gd name="connsiteX5" fmla="*/ 6300317 w 11981169"/>
                <a:gd name="connsiteY5" fmla="*/ 64919 h 2849235"/>
                <a:gd name="connsiteX6" fmla="*/ 7063991 w 11981169"/>
                <a:gd name="connsiteY6" fmla="*/ 34774 h 2849235"/>
                <a:gd name="connsiteX7" fmla="*/ 8098972 w 11981169"/>
                <a:gd name="connsiteY7" fmla="*/ 64919 h 2849235"/>
                <a:gd name="connsiteX8" fmla="*/ 8956033 w 11981169"/>
                <a:gd name="connsiteY8" fmla="*/ 64919 h 2849235"/>
                <a:gd name="connsiteX9" fmla="*/ 10101769 w 11981169"/>
                <a:gd name="connsiteY9" fmla="*/ 4629 h 2849235"/>
                <a:gd name="connsiteX10" fmla="*/ 11745799 w 11981169"/>
                <a:gd name="connsiteY10" fmla="*/ 346275 h 2849235"/>
                <a:gd name="connsiteX11" fmla="*/ 11786160 w 11981169"/>
                <a:gd name="connsiteY11" fmla="*/ 2587055 h 2849235"/>
                <a:gd name="connsiteX12" fmla="*/ 10008159 w 11981169"/>
                <a:gd name="connsiteY12" fmla="*/ 2828216 h 2849235"/>
                <a:gd name="connsiteX13" fmla="*/ 9435402 w 11981169"/>
                <a:gd name="connsiteY13" fmla="*/ 2828216 h 2849235"/>
                <a:gd name="connsiteX14" fmla="*/ 7365442 w 11981169"/>
                <a:gd name="connsiteY14" fmla="*/ 2788023 h 2849235"/>
                <a:gd name="connsiteX15" fmla="*/ 6742444 w 11981169"/>
                <a:gd name="connsiteY15" fmla="*/ 2808119 h 2849235"/>
                <a:gd name="connsiteX16" fmla="*/ 6601767 w 11981169"/>
                <a:gd name="connsiteY16" fmla="*/ 2798071 h 2849235"/>
                <a:gd name="connsiteX17" fmla="*/ 4783016 w 11981169"/>
                <a:gd name="connsiteY17" fmla="*/ 2848313 h 2849235"/>
                <a:gd name="connsiteX18" fmla="*/ 3938954 w 11981169"/>
                <a:gd name="connsiteY18" fmla="*/ 2828216 h 2849235"/>
                <a:gd name="connsiteX19" fmla="*/ 2944167 w 11981169"/>
                <a:gd name="connsiteY19" fmla="*/ 2808119 h 2849235"/>
                <a:gd name="connsiteX20" fmla="*/ 1889090 w 11981169"/>
                <a:gd name="connsiteY20" fmla="*/ 2818168 h 2849235"/>
                <a:gd name="connsiteX21" fmla="*/ 12890 w 11981169"/>
                <a:gd name="connsiteY21" fmla="*/ 2798069 h 2849235"/>
                <a:gd name="connsiteX0" fmla="*/ 0 w 11940760"/>
                <a:gd name="connsiteY0" fmla="*/ 24144 h 2848653"/>
                <a:gd name="connsiteX1" fmla="*/ 552660 w 11940760"/>
                <a:gd name="connsiteY1" fmla="*/ 4047 h 2848653"/>
                <a:gd name="connsiteX2" fmla="*/ 1637882 w 11940760"/>
                <a:gd name="connsiteY2" fmla="*/ 14095 h 2848653"/>
                <a:gd name="connsiteX3" fmla="*/ 2019719 w 11940760"/>
                <a:gd name="connsiteY3" fmla="*/ 14095 h 2848653"/>
                <a:gd name="connsiteX4" fmla="*/ 4531807 w 11940760"/>
                <a:gd name="connsiteY4" fmla="*/ 34192 h 2848653"/>
                <a:gd name="connsiteX5" fmla="*/ 6300317 w 11940760"/>
                <a:gd name="connsiteY5" fmla="*/ 64337 h 2848653"/>
                <a:gd name="connsiteX6" fmla="*/ 7063991 w 11940760"/>
                <a:gd name="connsiteY6" fmla="*/ 34192 h 2848653"/>
                <a:gd name="connsiteX7" fmla="*/ 8098972 w 11940760"/>
                <a:gd name="connsiteY7" fmla="*/ 64337 h 2848653"/>
                <a:gd name="connsiteX8" fmla="*/ 8956033 w 11940760"/>
                <a:gd name="connsiteY8" fmla="*/ 64337 h 2848653"/>
                <a:gd name="connsiteX9" fmla="*/ 10101769 w 11940760"/>
                <a:gd name="connsiteY9" fmla="*/ 4047 h 2848653"/>
                <a:gd name="connsiteX10" fmla="*/ 11745799 w 11940760"/>
                <a:gd name="connsiteY10" fmla="*/ 345693 h 2848653"/>
                <a:gd name="connsiteX11" fmla="*/ 11716211 w 11940760"/>
                <a:gd name="connsiteY11" fmla="*/ 2566377 h 2848653"/>
                <a:gd name="connsiteX12" fmla="*/ 10008159 w 11940760"/>
                <a:gd name="connsiteY12" fmla="*/ 2827634 h 2848653"/>
                <a:gd name="connsiteX13" fmla="*/ 9435402 w 11940760"/>
                <a:gd name="connsiteY13" fmla="*/ 2827634 h 2848653"/>
                <a:gd name="connsiteX14" fmla="*/ 7365442 w 11940760"/>
                <a:gd name="connsiteY14" fmla="*/ 2787441 h 2848653"/>
                <a:gd name="connsiteX15" fmla="*/ 6742444 w 11940760"/>
                <a:gd name="connsiteY15" fmla="*/ 2807537 h 2848653"/>
                <a:gd name="connsiteX16" fmla="*/ 6601767 w 11940760"/>
                <a:gd name="connsiteY16" fmla="*/ 2797489 h 2848653"/>
                <a:gd name="connsiteX17" fmla="*/ 4783016 w 11940760"/>
                <a:gd name="connsiteY17" fmla="*/ 2847731 h 2848653"/>
                <a:gd name="connsiteX18" fmla="*/ 3938954 w 11940760"/>
                <a:gd name="connsiteY18" fmla="*/ 2827634 h 2848653"/>
                <a:gd name="connsiteX19" fmla="*/ 2944167 w 11940760"/>
                <a:gd name="connsiteY19" fmla="*/ 2807537 h 2848653"/>
                <a:gd name="connsiteX20" fmla="*/ 1889090 w 11940760"/>
                <a:gd name="connsiteY20" fmla="*/ 2817586 h 2848653"/>
                <a:gd name="connsiteX21" fmla="*/ 12890 w 11940760"/>
                <a:gd name="connsiteY21" fmla="*/ 2797487 h 2848653"/>
                <a:gd name="connsiteX0" fmla="*/ 0 w 12001276"/>
                <a:gd name="connsiteY0" fmla="*/ 24144 h 2848653"/>
                <a:gd name="connsiteX1" fmla="*/ 552660 w 12001276"/>
                <a:gd name="connsiteY1" fmla="*/ 4047 h 2848653"/>
                <a:gd name="connsiteX2" fmla="*/ 1637882 w 12001276"/>
                <a:gd name="connsiteY2" fmla="*/ 14095 h 2848653"/>
                <a:gd name="connsiteX3" fmla="*/ 2019719 w 12001276"/>
                <a:gd name="connsiteY3" fmla="*/ 14095 h 2848653"/>
                <a:gd name="connsiteX4" fmla="*/ 4531807 w 12001276"/>
                <a:gd name="connsiteY4" fmla="*/ 34192 h 2848653"/>
                <a:gd name="connsiteX5" fmla="*/ 6300317 w 12001276"/>
                <a:gd name="connsiteY5" fmla="*/ 64337 h 2848653"/>
                <a:gd name="connsiteX6" fmla="*/ 7063991 w 12001276"/>
                <a:gd name="connsiteY6" fmla="*/ 34192 h 2848653"/>
                <a:gd name="connsiteX7" fmla="*/ 8098972 w 12001276"/>
                <a:gd name="connsiteY7" fmla="*/ 64337 h 2848653"/>
                <a:gd name="connsiteX8" fmla="*/ 8956033 w 12001276"/>
                <a:gd name="connsiteY8" fmla="*/ 64337 h 2848653"/>
                <a:gd name="connsiteX9" fmla="*/ 10101769 w 12001276"/>
                <a:gd name="connsiteY9" fmla="*/ 4047 h 2848653"/>
                <a:gd name="connsiteX10" fmla="*/ 11745799 w 12001276"/>
                <a:gd name="connsiteY10" fmla="*/ 345693 h 2848653"/>
                <a:gd name="connsiteX11" fmla="*/ 11716211 w 12001276"/>
                <a:gd name="connsiteY11" fmla="*/ 2566377 h 2848653"/>
                <a:gd name="connsiteX12" fmla="*/ 10008159 w 12001276"/>
                <a:gd name="connsiteY12" fmla="*/ 2827634 h 2848653"/>
                <a:gd name="connsiteX13" fmla="*/ 9435402 w 12001276"/>
                <a:gd name="connsiteY13" fmla="*/ 2827634 h 2848653"/>
                <a:gd name="connsiteX14" fmla="*/ 7365442 w 12001276"/>
                <a:gd name="connsiteY14" fmla="*/ 2787441 h 2848653"/>
                <a:gd name="connsiteX15" fmla="*/ 6742444 w 12001276"/>
                <a:gd name="connsiteY15" fmla="*/ 2807537 h 2848653"/>
                <a:gd name="connsiteX16" fmla="*/ 6601767 w 12001276"/>
                <a:gd name="connsiteY16" fmla="*/ 2797489 h 2848653"/>
                <a:gd name="connsiteX17" fmla="*/ 4783016 w 12001276"/>
                <a:gd name="connsiteY17" fmla="*/ 2847731 h 2848653"/>
                <a:gd name="connsiteX18" fmla="*/ 3938954 w 12001276"/>
                <a:gd name="connsiteY18" fmla="*/ 2827634 h 2848653"/>
                <a:gd name="connsiteX19" fmla="*/ 2944167 w 12001276"/>
                <a:gd name="connsiteY19" fmla="*/ 2807537 h 2848653"/>
                <a:gd name="connsiteX20" fmla="*/ 1889090 w 12001276"/>
                <a:gd name="connsiteY20" fmla="*/ 2817586 h 2848653"/>
                <a:gd name="connsiteX21" fmla="*/ 12890 w 12001276"/>
                <a:gd name="connsiteY21" fmla="*/ 2797487 h 2848653"/>
                <a:gd name="connsiteX0" fmla="*/ 0 w 11892644"/>
                <a:gd name="connsiteY0" fmla="*/ 20953 h 2845462"/>
                <a:gd name="connsiteX1" fmla="*/ 552660 w 11892644"/>
                <a:gd name="connsiteY1" fmla="*/ 856 h 2845462"/>
                <a:gd name="connsiteX2" fmla="*/ 1637882 w 11892644"/>
                <a:gd name="connsiteY2" fmla="*/ 10904 h 2845462"/>
                <a:gd name="connsiteX3" fmla="*/ 2019719 w 11892644"/>
                <a:gd name="connsiteY3" fmla="*/ 10904 h 2845462"/>
                <a:gd name="connsiteX4" fmla="*/ 4531807 w 11892644"/>
                <a:gd name="connsiteY4" fmla="*/ 31001 h 2845462"/>
                <a:gd name="connsiteX5" fmla="*/ 6300317 w 11892644"/>
                <a:gd name="connsiteY5" fmla="*/ 61146 h 2845462"/>
                <a:gd name="connsiteX6" fmla="*/ 7063991 w 11892644"/>
                <a:gd name="connsiteY6" fmla="*/ 31001 h 2845462"/>
                <a:gd name="connsiteX7" fmla="*/ 8098972 w 11892644"/>
                <a:gd name="connsiteY7" fmla="*/ 61146 h 2845462"/>
                <a:gd name="connsiteX8" fmla="*/ 8956033 w 11892644"/>
                <a:gd name="connsiteY8" fmla="*/ 61146 h 2845462"/>
                <a:gd name="connsiteX9" fmla="*/ 10101769 w 11892644"/>
                <a:gd name="connsiteY9" fmla="*/ 856 h 2845462"/>
                <a:gd name="connsiteX10" fmla="*/ 11655866 w 11892644"/>
                <a:gd name="connsiteY10" fmla="*/ 362598 h 2845462"/>
                <a:gd name="connsiteX11" fmla="*/ 11716211 w 11892644"/>
                <a:gd name="connsiteY11" fmla="*/ 2563186 h 2845462"/>
                <a:gd name="connsiteX12" fmla="*/ 10008159 w 11892644"/>
                <a:gd name="connsiteY12" fmla="*/ 2824443 h 2845462"/>
                <a:gd name="connsiteX13" fmla="*/ 9435402 w 11892644"/>
                <a:gd name="connsiteY13" fmla="*/ 2824443 h 2845462"/>
                <a:gd name="connsiteX14" fmla="*/ 7365442 w 11892644"/>
                <a:gd name="connsiteY14" fmla="*/ 2784250 h 2845462"/>
                <a:gd name="connsiteX15" fmla="*/ 6742444 w 11892644"/>
                <a:gd name="connsiteY15" fmla="*/ 2804346 h 2845462"/>
                <a:gd name="connsiteX16" fmla="*/ 6601767 w 11892644"/>
                <a:gd name="connsiteY16" fmla="*/ 2794298 h 2845462"/>
                <a:gd name="connsiteX17" fmla="*/ 4783016 w 11892644"/>
                <a:gd name="connsiteY17" fmla="*/ 2844540 h 2845462"/>
                <a:gd name="connsiteX18" fmla="*/ 3938954 w 11892644"/>
                <a:gd name="connsiteY18" fmla="*/ 2824443 h 2845462"/>
                <a:gd name="connsiteX19" fmla="*/ 2944167 w 11892644"/>
                <a:gd name="connsiteY19" fmla="*/ 2804346 h 2845462"/>
                <a:gd name="connsiteX20" fmla="*/ 1889090 w 11892644"/>
                <a:gd name="connsiteY20" fmla="*/ 2814395 h 2845462"/>
                <a:gd name="connsiteX21" fmla="*/ 12890 w 11892644"/>
                <a:gd name="connsiteY21" fmla="*/ 2794296 h 2845462"/>
                <a:gd name="connsiteX0" fmla="*/ 0 w 11834291"/>
                <a:gd name="connsiteY0" fmla="*/ 20767 h 2845276"/>
                <a:gd name="connsiteX1" fmla="*/ 552660 w 11834291"/>
                <a:gd name="connsiteY1" fmla="*/ 670 h 2845276"/>
                <a:gd name="connsiteX2" fmla="*/ 1637882 w 11834291"/>
                <a:gd name="connsiteY2" fmla="*/ 10718 h 2845276"/>
                <a:gd name="connsiteX3" fmla="*/ 2019719 w 11834291"/>
                <a:gd name="connsiteY3" fmla="*/ 10718 h 2845276"/>
                <a:gd name="connsiteX4" fmla="*/ 4531807 w 11834291"/>
                <a:gd name="connsiteY4" fmla="*/ 30815 h 2845276"/>
                <a:gd name="connsiteX5" fmla="*/ 6300317 w 11834291"/>
                <a:gd name="connsiteY5" fmla="*/ 60960 h 2845276"/>
                <a:gd name="connsiteX6" fmla="*/ 7063991 w 11834291"/>
                <a:gd name="connsiteY6" fmla="*/ 30815 h 2845276"/>
                <a:gd name="connsiteX7" fmla="*/ 8098972 w 11834291"/>
                <a:gd name="connsiteY7" fmla="*/ 60960 h 2845276"/>
                <a:gd name="connsiteX8" fmla="*/ 8956033 w 11834291"/>
                <a:gd name="connsiteY8" fmla="*/ 60960 h 2845276"/>
                <a:gd name="connsiteX9" fmla="*/ 10101769 w 11834291"/>
                <a:gd name="connsiteY9" fmla="*/ 670 h 2845276"/>
                <a:gd name="connsiteX10" fmla="*/ 11655866 w 11834291"/>
                <a:gd name="connsiteY10" fmla="*/ 362412 h 2845276"/>
                <a:gd name="connsiteX11" fmla="*/ 11616285 w 11834291"/>
                <a:gd name="connsiteY11" fmla="*/ 2552952 h 2845276"/>
                <a:gd name="connsiteX12" fmla="*/ 10008159 w 11834291"/>
                <a:gd name="connsiteY12" fmla="*/ 2824257 h 2845276"/>
                <a:gd name="connsiteX13" fmla="*/ 9435402 w 11834291"/>
                <a:gd name="connsiteY13" fmla="*/ 2824257 h 2845276"/>
                <a:gd name="connsiteX14" fmla="*/ 7365442 w 11834291"/>
                <a:gd name="connsiteY14" fmla="*/ 2784064 h 2845276"/>
                <a:gd name="connsiteX15" fmla="*/ 6742444 w 11834291"/>
                <a:gd name="connsiteY15" fmla="*/ 2804160 h 2845276"/>
                <a:gd name="connsiteX16" fmla="*/ 6601767 w 11834291"/>
                <a:gd name="connsiteY16" fmla="*/ 2794112 h 2845276"/>
                <a:gd name="connsiteX17" fmla="*/ 4783016 w 11834291"/>
                <a:gd name="connsiteY17" fmla="*/ 2844354 h 2845276"/>
                <a:gd name="connsiteX18" fmla="*/ 3938954 w 11834291"/>
                <a:gd name="connsiteY18" fmla="*/ 2824257 h 2845276"/>
                <a:gd name="connsiteX19" fmla="*/ 2944167 w 11834291"/>
                <a:gd name="connsiteY19" fmla="*/ 2804160 h 2845276"/>
                <a:gd name="connsiteX20" fmla="*/ 1889090 w 11834291"/>
                <a:gd name="connsiteY20" fmla="*/ 2814209 h 2845276"/>
                <a:gd name="connsiteX21" fmla="*/ 12890 w 11834291"/>
                <a:gd name="connsiteY21" fmla="*/ 2794110 h 2845276"/>
                <a:gd name="connsiteX0" fmla="*/ 0 w 11903126"/>
                <a:gd name="connsiteY0" fmla="*/ 20767 h 2845276"/>
                <a:gd name="connsiteX1" fmla="*/ 552660 w 11903126"/>
                <a:gd name="connsiteY1" fmla="*/ 670 h 2845276"/>
                <a:gd name="connsiteX2" fmla="*/ 1637882 w 11903126"/>
                <a:gd name="connsiteY2" fmla="*/ 10718 h 2845276"/>
                <a:gd name="connsiteX3" fmla="*/ 2019719 w 11903126"/>
                <a:gd name="connsiteY3" fmla="*/ 10718 h 2845276"/>
                <a:gd name="connsiteX4" fmla="*/ 4531807 w 11903126"/>
                <a:gd name="connsiteY4" fmla="*/ 30815 h 2845276"/>
                <a:gd name="connsiteX5" fmla="*/ 6300317 w 11903126"/>
                <a:gd name="connsiteY5" fmla="*/ 60960 h 2845276"/>
                <a:gd name="connsiteX6" fmla="*/ 7063991 w 11903126"/>
                <a:gd name="connsiteY6" fmla="*/ 30815 h 2845276"/>
                <a:gd name="connsiteX7" fmla="*/ 8098972 w 11903126"/>
                <a:gd name="connsiteY7" fmla="*/ 60960 h 2845276"/>
                <a:gd name="connsiteX8" fmla="*/ 8956033 w 11903126"/>
                <a:gd name="connsiteY8" fmla="*/ 60960 h 2845276"/>
                <a:gd name="connsiteX9" fmla="*/ 10101769 w 11903126"/>
                <a:gd name="connsiteY9" fmla="*/ 670 h 2845276"/>
                <a:gd name="connsiteX10" fmla="*/ 11655866 w 11903126"/>
                <a:gd name="connsiteY10" fmla="*/ 362412 h 2845276"/>
                <a:gd name="connsiteX11" fmla="*/ 11616285 w 11903126"/>
                <a:gd name="connsiteY11" fmla="*/ 2552952 h 2845276"/>
                <a:gd name="connsiteX12" fmla="*/ 10008159 w 11903126"/>
                <a:gd name="connsiteY12" fmla="*/ 2824257 h 2845276"/>
                <a:gd name="connsiteX13" fmla="*/ 9435402 w 11903126"/>
                <a:gd name="connsiteY13" fmla="*/ 2824257 h 2845276"/>
                <a:gd name="connsiteX14" fmla="*/ 7365442 w 11903126"/>
                <a:gd name="connsiteY14" fmla="*/ 2784064 h 2845276"/>
                <a:gd name="connsiteX15" fmla="*/ 6742444 w 11903126"/>
                <a:gd name="connsiteY15" fmla="*/ 2804160 h 2845276"/>
                <a:gd name="connsiteX16" fmla="*/ 6601767 w 11903126"/>
                <a:gd name="connsiteY16" fmla="*/ 2794112 h 2845276"/>
                <a:gd name="connsiteX17" fmla="*/ 4783016 w 11903126"/>
                <a:gd name="connsiteY17" fmla="*/ 2844354 h 2845276"/>
                <a:gd name="connsiteX18" fmla="*/ 3938954 w 11903126"/>
                <a:gd name="connsiteY18" fmla="*/ 2824257 h 2845276"/>
                <a:gd name="connsiteX19" fmla="*/ 2944167 w 11903126"/>
                <a:gd name="connsiteY19" fmla="*/ 2804160 h 2845276"/>
                <a:gd name="connsiteX20" fmla="*/ 1889090 w 11903126"/>
                <a:gd name="connsiteY20" fmla="*/ 2814209 h 2845276"/>
                <a:gd name="connsiteX21" fmla="*/ 12890 w 11903126"/>
                <a:gd name="connsiteY21" fmla="*/ 2794110 h 2845276"/>
                <a:gd name="connsiteX0" fmla="*/ 0 w 11949884"/>
                <a:gd name="connsiteY0" fmla="*/ 20097 h 2844606"/>
                <a:gd name="connsiteX1" fmla="*/ 552660 w 11949884"/>
                <a:gd name="connsiteY1" fmla="*/ 0 h 2844606"/>
                <a:gd name="connsiteX2" fmla="*/ 1637882 w 11949884"/>
                <a:gd name="connsiteY2" fmla="*/ 10048 h 2844606"/>
                <a:gd name="connsiteX3" fmla="*/ 2019719 w 11949884"/>
                <a:gd name="connsiteY3" fmla="*/ 10048 h 2844606"/>
                <a:gd name="connsiteX4" fmla="*/ 4531807 w 11949884"/>
                <a:gd name="connsiteY4" fmla="*/ 30145 h 2844606"/>
                <a:gd name="connsiteX5" fmla="*/ 6300317 w 11949884"/>
                <a:gd name="connsiteY5" fmla="*/ 60290 h 2844606"/>
                <a:gd name="connsiteX6" fmla="*/ 7063991 w 11949884"/>
                <a:gd name="connsiteY6" fmla="*/ 30145 h 2844606"/>
                <a:gd name="connsiteX7" fmla="*/ 8098972 w 11949884"/>
                <a:gd name="connsiteY7" fmla="*/ 60290 h 2844606"/>
                <a:gd name="connsiteX8" fmla="*/ 8956033 w 11949884"/>
                <a:gd name="connsiteY8" fmla="*/ 60290 h 2844606"/>
                <a:gd name="connsiteX9" fmla="*/ 10101769 w 11949884"/>
                <a:gd name="connsiteY9" fmla="*/ 0 h 2844606"/>
                <a:gd name="connsiteX10" fmla="*/ 11655866 w 11949884"/>
                <a:gd name="connsiteY10" fmla="*/ 361742 h 2844606"/>
                <a:gd name="connsiteX11" fmla="*/ 11616285 w 11949884"/>
                <a:gd name="connsiteY11" fmla="*/ 2552282 h 2844606"/>
                <a:gd name="connsiteX12" fmla="*/ 10008159 w 11949884"/>
                <a:gd name="connsiteY12" fmla="*/ 2823587 h 2844606"/>
                <a:gd name="connsiteX13" fmla="*/ 9435402 w 11949884"/>
                <a:gd name="connsiteY13" fmla="*/ 2823587 h 2844606"/>
                <a:gd name="connsiteX14" fmla="*/ 7365442 w 11949884"/>
                <a:gd name="connsiteY14" fmla="*/ 2783394 h 2844606"/>
                <a:gd name="connsiteX15" fmla="*/ 6742444 w 11949884"/>
                <a:gd name="connsiteY15" fmla="*/ 2803490 h 2844606"/>
                <a:gd name="connsiteX16" fmla="*/ 6601767 w 11949884"/>
                <a:gd name="connsiteY16" fmla="*/ 2793442 h 2844606"/>
                <a:gd name="connsiteX17" fmla="*/ 4783016 w 11949884"/>
                <a:gd name="connsiteY17" fmla="*/ 2843684 h 2844606"/>
                <a:gd name="connsiteX18" fmla="*/ 3938954 w 11949884"/>
                <a:gd name="connsiteY18" fmla="*/ 2823587 h 2844606"/>
                <a:gd name="connsiteX19" fmla="*/ 2944167 w 11949884"/>
                <a:gd name="connsiteY19" fmla="*/ 2803490 h 2844606"/>
                <a:gd name="connsiteX20" fmla="*/ 1889090 w 11949884"/>
                <a:gd name="connsiteY20" fmla="*/ 2813539 h 2844606"/>
                <a:gd name="connsiteX21" fmla="*/ 12890 w 11949884"/>
                <a:gd name="connsiteY21" fmla="*/ 2793440 h 2844606"/>
                <a:gd name="connsiteX0" fmla="*/ 0 w 11868023"/>
                <a:gd name="connsiteY0" fmla="*/ 20097 h 2844606"/>
                <a:gd name="connsiteX1" fmla="*/ 552660 w 11868023"/>
                <a:gd name="connsiteY1" fmla="*/ 0 h 2844606"/>
                <a:gd name="connsiteX2" fmla="*/ 1637882 w 11868023"/>
                <a:gd name="connsiteY2" fmla="*/ 10048 h 2844606"/>
                <a:gd name="connsiteX3" fmla="*/ 2019719 w 11868023"/>
                <a:gd name="connsiteY3" fmla="*/ 10048 h 2844606"/>
                <a:gd name="connsiteX4" fmla="*/ 4531807 w 11868023"/>
                <a:gd name="connsiteY4" fmla="*/ 30145 h 2844606"/>
                <a:gd name="connsiteX5" fmla="*/ 6300317 w 11868023"/>
                <a:gd name="connsiteY5" fmla="*/ 60290 h 2844606"/>
                <a:gd name="connsiteX6" fmla="*/ 7063991 w 11868023"/>
                <a:gd name="connsiteY6" fmla="*/ 30145 h 2844606"/>
                <a:gd name="connsiteX7" fmla="*/ 8098972 w 11868023"/>
                <a:gd name="connsiteY7" fmla="*/ 60290 h 2844606"/>
                <a:gd name="connsiteX8" fmla="*/ 8956033 w 11868023"/>
                <a:gd name="connsiteY8" fmla="*/ 60290 h 2844606"/>
                <a:gd name="connsiteX9" fmla="*/ 10101769 w 11868023"/>
                <a:gd name="connsiteY9" fmla="*/ 0 h 2844606"/>
                <a:gd name="connsiteX10" fmla="*/ 11625888 w 11868023"/>
                <a:gd name="connsiteY10" fmla="*/ 351694 h 2844606"/>
                <a:gd name="connsiteX11" fmla="*/ 11616285 w 11868023"/>
                <a:gd name="connsiteY11" fmla="*/ 2552282 h 2844606"/>
                <a:gd name="connsiteX12" fmla="*/ 10008159 w 11868023"/>
                <a:gd name="connsiteY12" fmla="*/ 2823587 h 2844606"/>
                <a:gd name="connsiteX13" fmla="*/ 9435402 w 11868023"/>
                <a:gd name="connsiteY13" fmla="*/ 2823587 h 2844606"/>
                <a:gd name="connsiteX14" fmla="*/ 7365442 w 11868023"/>
                <a:gd name="connsiteY14" fmla="*/ 2783394 h 2844606"/>
                <a:gd name="connsiteX15" fmla="*/ 6742444 w 11868023"/>
                <a:gd name="connsiteY15" fmla="*/ 2803490 h 2844606"/>
                <a:gd name="connsiteX16" fmla="*/ 6601767 w 11868023"/>
                <a:gd name="connsiteY16" fmla="*/ 2793442 h 2844606"/>
                <a:gd name="connsiteX17" fmla="*/ 4783016 w 11868023"/>
                <a:gd name="connsiteY17" fmla="*/ 2843684 h 2844606"/>
                <a:gd name="connsiteX18" fmla="*/ 3938954 w 11868023"/>
                <a:gd name="connsiteY18" fmla="*/ 2823587 h 2844606"/>
                <a:gd name="connsiteX19" fmla="*/ 2944167 w 11868023"/>
                <a:gd name="connsiteY19" fmla="*/ 2803490 h 2844606"/>
                <a:gd name="connsiteX20" fmla="*/ 1889090 w 11868023"/>
                <a:gd name="connsiteY20" fmla="*/ 2813539 h 2844606"/>
                <a:gd name="connsiteX21" fmla="*/ 12890 w 11868023"/>
                <a:gd name="connsiteY21" fmla="*/ 2793440 h 2844606"/>
                <a:gd name="connsiteX0" fmla="*/ 0 w 11911375"/>
                <a:gd name="connsiteY0" fmla="*/ 20097 h 2844606"/>
                <a:gd name="connsiteX1" fmla="*/ 552660 w 11911375"/>
                <a:gd name="connsiteY1" fmla="*/ 0 h 2844606"/>
                <a:gd name="connsiteX2" fmla="*/ 1637882 w 11911375"/>
                <a:gd name="connsiteY2" fmla="*/ 10048 h 2844606"/>
                <a:gd name="connsiteX3" fmla="*/ 2019719 w 11911375"/>
                <a:gd name="connsiteY3" fmla="*/ 10048 h 2844606"/>
                <a:gd name="connsiteX4" fmla="*/ 4531807 w 11911375"/>
                <a:gd name="connsiteY4" fmla="*/ 30145 h 2844606"/>
                <a:gd name="connsiteX5" fmla="*/ 6300317 w 11911375"/>
                <a:gd name="connsiteY5" fmla="*/ 60290 h 2844606"/>
                <a:gd name="connsiteX6" fmla="*/ 7063991 w 11911375"/>
                <a:gd name="connsiteY6" fmla="*/ 30145 h 2844606"/>
                <a:gd name="connsiteX7" fmla="*/ 8098972 w 11911375"/>
                <a:gd name="connsiteY7" fmla="*/ 60290 h 2844606"/>
                <a:gd name="connsiteX8" fmla="*/ 8956033 w 11911375"/>
                <a:gd name="connsiteY8" fmla="*/ 60290 h 2844606"/>
                <a:gd name="connsiteX9" fmla="*/ 10101769 w 11911375"/>
                <a:gd name="connsiteY9" fmla="*/ 0 h 2844606"/>
                <a:gd name="connsiteX10" fmla="*/ 11625888 w 11911375"/>
                <a:gd name="connsiteY10" fmla="*/ 351694 h 2844606"/>
                <a:gd name="connsiteX11" fmla="*/ 11616285 w 11911375"/>
                <a:gd name="connsiteY11" fmla="*/ 2552282 h 2844606"/>
                <a:gd name="connsiteX12" fmla="*/ 10008159 w 11911375"/>
                <a:gd name="connsiteY12" fmla="*/ 2823587 h 2844606"/>
                <a:gd name="connsiteX13" fmla="*/ 9435402 w 11911375"/>
                <a:gd name="connsiteY13" fmla="*/ 2823587 h 2844606"/>
                <a:gd name="connsiteX14" fmla="*/ 7365442 w 11911375"/>
                <a:gd name="connsiteY14" fmla="*/ 2783394 h 2844606"/>
                <a:gd name="connsiteX15" fmla="*/ 6742444 w 11911375"/>
                <a:gd name="connsiteY15" fmla="*/ 2803490 h 2844606"/>
                <a:gd name="connsiteX16" fmla="*/ 6601767 w 11911375"/>
                <a:gd name="connsiteY16" fmla="*/ 2793442 h 2844606"/>
                <a:gd name="connsiteX17" fmla="*/ 4783016 w 11911375"/>
                <a:gd name="connsiteY17" fmla="*/ 2843684 h 2844606"/>
                <a:gd name="connsiteX18" fmla="*/ 3938954 w 11911375"/>
                <a:gd name="connsiteY18" fmla="*/ 2823587 h 2844606"/>
                <a:gd name="connsiteX19" fmla="*/ 2944167 w 11911375"/>
                <a:gd name="connsiteY19" fmla="*/ 2803490 h 2844606"/>
                <a:gd name="connsiteX20" fmla="*/ 1889090 w 11911375"/>
                <a:gd name="connsiteY20" fmla="*/ 2813539 h 2844606"/>
                <a:gd name="connsiteX21" fmla="*/ 12890 w 11911375"/>
                <a:gd name="connsiteY21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9435402 w 11932818"/>
                <a:gd name="connsiteY13" fmla="*/ 2823587 h 2844606"/>
                <a:gd name="connsiteX14" fmla="*/ 7365442 w 11932818"/>
                <a:gd name="connsiteY14" fmla="*/ 2783394 h 2844606"/>
                <a:gd name="connsiteX15" fmla="*/ 6742444 w 11932818"/>
                <a:gd name="connsiteY15" fmla="*/ 2803490 h 2844606"/>
                <a:gd name="connsiteX16" fmla="*/ 6601767 w 11932818"/>
                <a:gd name="connsiteY16" fmla="*/ 2793442 h 2844606"/>
                <a:gd name="connsiteX17" fmla="*/ 4783016 w 11932818"/>
                <a:gd name="connsiteY17" fmla="*/ 2843684 h 2844606"/>
                <a:gd name="connsiteX18" fmla="*/ 3938954 w 11932818"/>
                <a:gd name="connsiteY18" fmla="*/ 2823587 h 2844606"/>
                <a:gd name="connsiteX19" fmla="*/ 2944167 w 11932818"/>
                <a:gd name="connsiteY19" fmla="*/ 2803490 h 2844606"/>
                <a:gd name="connsiteX20" fmla="*/ 1889090 w 11932818"/>
                <a:gd name="connsiteY20" fmla="*/ 2813539 h 2844606"/>
                <a:gd name="connsiteX21" fmla="*/ 12890 w 11932818"/>
                <a:gd name="connsiteY21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9435402 w 11932818"/>
                <a:gd name="connsiteY13" fmla="*/ 2823587 h 2844606"/>
                <a:gd name="connsiteX14" fmla="*/ 7365442 w 11932818"/>
                <a:gd name="connsiteY14" fmla="*/ 2783394 h 2844606"/>
                <a:gd name="connsiteX15" fmla="*/ 7438490 w 11932818"/>
                <a:gd name="connsiteY15" fmla="*/ 2776911 h 2844606"/>
                <a:gd name="connsiteX16" fmla="*/ 6742444 w 11932818"/>
                <a:gd name="connsiteY16" fmla="*/ 2803490 h 2844606"/>
                <a:gd name="connsiteX17" fmla="*/ 6601767 w 11932818"/>
                <a:gd name="connsiteY17" fmla="*/ 2793442 h 2844606"/>
                <a:gd name="connsiteX18" fmla="*/ 4783016 w 11932818"/>
                <a:gd name="connsiteY18" fmla="*/ 2843684 h 2844606"/>
                <a:gd name="connsiteX19" fmla="*/ 3938954 w 11932818"/>
                <a:gd name="connsiteY19" fmla="*/ 2823587 h 2844606"/>
                <a:gd name="connsiteX20" fmla="*/ 2944167 w 11932818"/>
                <a:gd name="connsiteY20" fmla="*/ 2803490 h 2844606"/>
                <a:gd name="connsiteX21" fmla="*/ 1889090 w 11932818"/>
                <a:gd name="connsiteY21" fmla="*/ 2813539 h 2844606"/>
                <a:gd name="connsiteX22" fmla="*/ 12890 w 11932818"/>
                <a:gd name="connsiteY22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7365442 w 11932818"/>
                <a:gd name="connsiteY13" fmla="*/ 2783394 h 2844606"/>
                <a:gd name="connsiteX14" fmla="*/ 7438490 w 11932818"/>
                <a:gd name="connsiteY14" fmla="*/ 2776911 h 2844606"/>
                <a:gd name="connsiteX15" fmla="*/ 6742444 w 11932818"/>
                <a:gd name="connsiteY15" fmla="*/ 2803490 h 2844606"/>
                <a:gd name="connsiteX16" fmla="*/ 6601767 w 11932818"/>
                <a:gd name="connsiteY16" fmla="*/ 2793442 h 2844606"/>
                <a:gd name="connsiteX17" fmla="*/ 4783016 w 11932818"/>
                <a:gd name="connsiteY17" fmla="*/ 2843684 h 2844606"/>
                <a:gd name="connsiteX18" fmla="*/ 3938954 w 11932818"/>
                <a:gd name="connsiteY18" fmla="*/ 2823587 h 2844606"/>
                <a:gd name="connsiteX19" fmla="*/ 2944167 w 11932818"/>
                <a:gd name="connsiteY19" fmla="*/ 2803490 h 2844606"/>
                <a:gd name="connsiteX20" fmla="*/ 1889090 w 11932818"/>
                <a:gd name="connsiteY20" fmla="*/ 2813539 h 2844606"/>
                <a:gd name="connsiteX21" fmla="*/ 12890 w 11932818"/>
                <a:gd name="connsiteY21" fmla="*/ 2793440 h 2844606"/>
                <a:gd name="connsiteX0" fmla="*/ 0 w 12056788"/>
                <a:gd name="connsiteY0" fmla="*/ 20097 h 2844606"/>
                <a:gd name="connsiteX1" fmla="*/ 552660 w 12056788"/>
                <a:gd name="connsiteY1" fmla="*/ 0 h 2844606"/>
                <a:gd name="connsiteX2" fmla="*/ 1637882 w 12056788"/>
                <a:gd name="connsiteY2" fmla="*/ 10048 h 2844606"/>
                <a:gd name="connsiteX3" fmla="*/ 2019719 w 12056788"/>
                <a:gd name="connsiteY3" fmla="*/ 10048 h 2844606"/>
                <a:gd name="connsiteX4" fmla="*/ 4531807 w 12056788"/>
                <a:gd name="connsiteY4" fmla="*/ 30145 h 2844606"/>
                <a:gd name="connsiteX5" fmla="*/ 6300317 w 12056788"/>
                <a:gd name="connsiteY5" fmla="*/ 60290 h 2844606"/>
                <a:gd name="connsiteX6" fmla="*/ 7063991 w 12056788"/>
                <a:gd name="connsiteY6" fmla="*/ 30145 h 2844606"/>
                <a:gd name="connsiteX7" fmla="*/ 8098972 w 12056788"/>
                <a:gd name="connsiteY7" fmla="*/ 60290 h 2844606"/>
                <a:gd name="connsiteX8" fmla="*/ 8956033 w 12056788"/>
                <a:gd name="connsiteY8" fmla="*/ 60290 h 2844606"/>
                <a:gd name="connsiteX9" fmla="*/ 10101769 w 12056788"/>
                <a:gd name="connsiteY9" fmla="*/ 0 h 2844606"/>
                <a:gd name="connsiteX10" fmla="*/ 11625888 w 12056788"/>
                <a:gd name="connsiteY10" fmla="*/ 351694 h 2844606"/>
                <a:gd name="connsiteX11" fmla="*/ 11616285 w 12056788"/>
                <a:gd name="connsiteY11" fmla="*/ 2552282 h 2844606"/>
                <a:gd name="connsiteX12" fmla="*/ 7365442 w 12056788"/>
                <a:gd name="connsiteY12" fmla="*/ 2783394 h 2844606"/>
                <a:gd name="connsiteX13" fmla="*/ 7438490 w 12056788"/>
                <a:gd name="connsiteY13" fmla="*/ 2776911 h 2844606"/>
                <a:gd name="connsiteX14" fmla="*/ 6742444 w 12056788"/>
                <a:gd name="connsiteY14" fmla="*/ 2803490 h 2844606"/>
                <a:gd name="connsiteX15" fmla="*/ 6601767 w 12056788"/>
                <a:gd name="connsiteY15" fmla="*/ 2793442 h 2844606"/>
                <a:gd name="connsiteX16" fmla="*/ 4783016 w 12056788"/>
                <a:gd name="connsiteY16" fmla="*/ 2843684 h 2844606"/>
                <a:gd name="connsiteX17" fmla="*/ 3938954 w 12056788"/>
                <a:gd name="connsiteY17" fmla="*/ 2823587 h 2844606"/>
                <a:gd name="connsiteX18" fmla="*/ 2944167 w 12056788"/>
                <a:gd name="connsiteY18" fmla="*/ 2803490 h 2844606"/>
                <a:gd name="connsiteX19" fmla="*/ 1889090 w 12056788"/>
                <a:gd name="connsiteY19" fmla="*/ 2813539 h 2844606"/>
                <a:gd name="connsiteX20" fmla="*/ 12890 w 12056788"/>
                <a:gd name="connsiteY20" fmla="*/ 2793440 h 2844606"/>
                <a:gd name="connsiteX0" fmla="*/ 0 w 11704427"/>
                <a:gd name="connsiteY0" fmla="*/ 29047 h 2853556"/>
                <a:gd name="connsiteX1" fmla="*/ 552660 w 11704427"/>
                <a:gd name="connsiteY1" fmla="*/ 8950 h 2853556"/>
                <a:gd name="connsiteX2" fmla="*/ 1637882 w 11704427"/>
                <a:gd name="connsiteY2" fmla="*/ 18998 h 2853556"/>
                <a:gd name="connsiteX3" fmla="*/ 2019719 w 11704427"/>
                <a:gd name="connsiteY3" fmla="*/ 18998 h 2853556"/>
                <a:gd name="connsiteX4" fmla="*/ 4531807 w 11704427"/>
                <a:gd name="connsiteY4" fmla="*/ 39095 h 2853556"/>
                <a:gd name="connsiteX5" fmla="*/ 6300317 w 11704427"/>
                <a:gd name="connsiteY5" fmla="*/ 69240 h 2853556"/>
                <a:gd name="connsiteX6" fmla="*/ 7063991 w 11704427"/>
                <a:gd name="connsiteY6" fmla="*/ 39095 h 2853556"/>
                <a:gd name="connsiteX7" fmla="*/ 8098972 w 11704427"/>
                <a:gd name="connsiteY7" fmla="*/ 69240 h 2853556"/>
                <a:gd name="connsiteX8" fmla="*/ 8956033 w 11704427"/>
                <a:gd name="connsiteY8" fmla="*/ 69240 h 2853556"/>
                <a:gd name="connsiteX9" fmla="*/ 10101769 w 11704427"/>
                <a:gd name="connsiteY9" fmla="*/ 8950 h 2853556"/>
                <a:gd name="connsiteX10" fmla="*/ 11625888 w 11704427"/>
                <a:gd name="connsiteY10" fmla="*/ 360644 h 2853556"/>
                <a:gd name="connsiteX11" fmla="*/ 7365442 w 11704427"/>
                <a:gd name="connsiteY11" fmla="*/ 2792344 h 2853556"/>
                <a:gd name="connsiteX12" fmla="*/ 7438490 w 11704427"/>
                <a:gd name="connsiteY12" fmla="*/ 2785861 h 2853556"/>
                <a:gd name="connsiteX13" fmla="*/ 6742444 w 11704427"/>
                <a:gd name="connsiteY13" fmla="*/ 2812440 h 2853556"/>
                <a:gd name="connsiteX14" fmla="*/ 6601767 w 11704427"/>
                <a:gd name="connsiteY14" fmla="*/ 2802392 h 2853556"/>
                <a:gd name="connsiteX15" fmla="*/ 4783016 w 11704427"/>
                <a:gd name="connsiteY15" fmla="*/ 2852634 h 2853556"/>
                <a:gd name="connsiteX16" fmla="*/ 3938954 w 11704427"/>
                <a:gd name="connsiteY16" fmla="*/ 2832537 h 2853556"/>
                <a:gd name="connsiteX17" fmla="*/ 2944167 w 11704427"/>
                <a:gd name="connsiteY17" fmla="*/ 2812440 h 2853556"/>
                <a:gd name="connsiteX18" fmla="*/ 1889090 w 11704427"/>
                <a:gd name="connsiteY18" fmla="*/ 2822489 h 2853556"/>
                <a:gd name="connsiteX19" fmla="*/ 12890 w 11704427"/>
                <a:gd name="connsiteY19" fmla="*/ 2802390 h 2853556"/>
                <a:gd name="connsiteX0" fmla="*/ 0 w 10101769"/>
                <a:gd name="connsiteY0" fmla="*/ 20097 h 2844606"/>
                <a:gd name="connsiteX1" fmla="*/ 552660 w 10101769"/>
                <a:gd name="connsiteY1" fmla="*/ 0 h 2844606"/>
                <a:gd name="connsiteX2" fmla="*/ 1637882 w 10101769"/>
                <a:gd name="connsiteY2" fmla="*/ 10048 h 2844606"/>
                <a:gd name="connsiteX3" fmla="*/ 2019719 w 10101769"/>
                <a:gd name="connsiteY3" fmla="*/ 10048 h 2844606"/>
                <a:gd name="connsiteX4" fmla="*/ 4531807 w 10101769"/>
                <a:gd name="connsiteY4" fmla="*/ 30145 h 2844606"/>
                <a:gd name="connsiteX5" fmla="*/ 6300317 w 10101769"/>
                <a:gd name="connsiteY5" fmla="*/ 60290 h 2844606"/>
                <a:gd name="connsiteX6" fmla="*/ 7063991 w 10101769"/>
                <a:gd name="connsiteY6" fmla="*/ 30145 h 2844606"/>
                <a:gd name="connsiteX7" fmla="*/ 8098972 w 10101769"/>
                <a:gd name="connsiteY7" fmla="*/ 60290 h 2844606"/>
                <a:gd name="connsiteX8" fmla="*/ 8956033 w 10101769"/>
                <a:gd name="connsiteY8" fmla="*/ 60290 h 2844606"/>
                <a:gd name="connsiteX9" fmla="*/ 10101769 w 10101769"/>
                <a:gd name="connsiteY9" fmla="*/ 0 h 2844606"/>
                <a:gd name="connsiteX10" fmla="*/ 7365442 w 10101769"/>
                <a:gd name="connsiteY10" fmla="*/ 2783394 h 2844606"/>
                <a:gd name="connsiteX11" fmla="*/ 7438490 w 10101769"/>
                <a:gd name="connsiteY11" fmla="*/ 2776911 h 2844606"/>
                <a:gd name="connsiteX12" fmla="*/ 6742444 w 10101769"/>
                <a:gd name="connsiteY12" fmla="*/ 2803490 h 2844606"/>
                <a:gd name="connsiteX13" fmla="*/ 6601767 w 10101769"/>
                <a:gd name="connsiteY13" fmla="*/ 2793442 h 2844606"/>
                <a:gd name="connsiteX14" fmla="*/ 4783016 w 10101769"/>
                <a:gd name="connsiteY14" fmla="*/ 2843684 h 2844606"/>
                <a:gd name="connsiteX15" fmla="*/ 3938954 w 10101769"/>
                <a:gd name="connsiteY15" fmla="*/ 2823587 h 2844606"/>
                <a:gd name="connsiteX16" fmla="*/ 2944167 w 10101769"/>
                <a:gd name="connsiteY16" fmla="*/ 2803490 h 2844606"/>
                <a:gd name="connsiteX17" fmla="*/ 1889090 w 10101769"/>
                <a:gd name="connsiteY17" fmla="*/ 2813539 h 2844606"/>
                <a:gd name="connsiteX18" fmla="*/ 12890 w 10101769"/>
                <a:gd name="connsiteY18" fmla="*/ 2793440 h 2844606"/>
                <a:gd name="connsiteX0" fmla="*/ 0 w 8956033"/>
                <a:gd name="connsiteY0" fmla="*/ 20097 h 2844606"/>
                <a:gd name="connsiteX1" fmla="*/ 552660 w 8956033"/>
                <a:gd name="connsiteY1" fmla="*/ 0 h 2844606"/>
                <a:gd name="connsiteX2" fmla="*/ 1637882 w 8956033"/>
                <a:gd name="connsiteY2" fmla="*/ 10048 h 2844606"/>
                <a:gd name="connsiteX3" fmla="*/ 2019719 w 8956033"/>
                <a:gd name="connsiteY3" fmla="*/ 10048 h 2844606"/>
                <a:gd name="connsiteX4" fmla="*/ 4531807 w 8956033"/>
                <a:gd name="connsiteY4" fmla="*/ 30145 h 2844606"/>
                <a:gd name="connsiteX5" fmla="*/ 6300317 w 8956033"/>
                <a:gd name="connsiteY5" fmla="*/ 60290 h 2844606"/>
                <a:gd name="connsiteX6" fmla="*/ 7063991 w 8956033"/>
                <a:gd name="connsiteY6" fmla="*/ 30145 h 2844606"/>
                <a:gd name="connsiteX7" fmla="*/ 8098972 w 8956033"/>
                <a:gd name="connsiteY7" fmla="*/ 60290 h 2844606"/>
                <a:gd name="connsiteX8" fmla="*/ 8956033 w 8956033"/>
                <a:gd name="connsiteY8" fmla="*/ 60290 h 2844606"/>
                <a:gd name="connsiteX9" fmla="*/ 7365442 w 8956033"/>
                <a:gd name="connsiteY9" fmla="*/ 2783394 h 2844606"/>
                <a:gd name="connsiteX10" fmla="*/ 7438490 w 8956033"/>
                <a:gd name="connsiteY10" fmla="*/ 2776911 h 2844606"/>
                <a:gd name="connsiteX11" fmla="*/ 6742444 w 8956033"/>
                <a:gd name="connsiteY11" fmla="*/ 2803490 h 2844606"/>
                <a:gd name="connsiteX12" fmla="*/ 6601767 w 8956033"/>
                <a:gd name="connsiteY12" fmla="*/ 2793442 h 2844606"/>
                <a:gd name="connsiteX13" fmla="*/ 4783016 w 8956033"/>
                <a:gd name="connsiteY13" fmla="*/ 2843684 h 2844606"/>
                <a:gd name="connsiteX14" fmla="*/ 3938954 w 8956033"/>
                <a:gd name="connsiteY14" fmla="*/ 2823587 h 2844606"/>
                <a:gd name="connsiteX15" fmla="*/ 2944167 w 8956033"/>
                <a:gd name="connsiteY15" fmla="*/ 2803490 h 2844606"/>
                <a:gd name="connsiteX16" fmla="*/ 1889090 w 8956033"/>
                <a:gd name="connsiteY16" fmla="*/ 2813539 h 2844606"/>
                <a:gd name="connsiteX17" fmla="*/ 12890 w 8956033"/>
                <a:gd name="connsiteY17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4518917 w 8943143"/>
                <a:gd name="connsiteY3" fmla="*/ 30145 h 2844606"/>
                <a:gd name="connsiteX4" fmla="*/ 6287427 w 8943143"/>
                <a:gd name="connsiteY4" fmla="*/ 60290 h 2844606"/>
                <a:gd name="connsiteX5" fmla="*/ 7051101 w 8943143"/>
                <a:gd name="connsiteY5" fmla="*/ 30145 h 2844606"/>
                <a:gd name="connsiteX6" fmla="*/ 8086082 w 8943143"/>
                <a:gd name="connsiteY6" fmla="*/ 60290 h 2844606"/>
                <a:gd name="connsiteX7" fmla="*/ 8943143 w 8943143"/>
                <a:gd name="connsiteY7" fmla="*/ 60290 h 2844606"/>
                <a:gd name="connsiteX8" fmla="*/ 7352552 w 8943143"/>
                <a:gd name="connsiteY8" fmla="*/ 2783394 h 2844606"/>
                <a:gd name="connsiteX9" fmla="*/ 7425600 w 8943143"/>
                <a:gd name="connsiteY9" fmla="*/ 2776911 h 2844606"/>
                <a:gd name="connsiteX10" fmla="*/ 6729554 w 8943143"/>
                <a:gd name="connsiteY10" fmla="*/ 2803490 h 2844606"/>
                <a:gd name="connsiteX11" fmla="*/ 6588877 w 8943143"/>
                <a:gd name="connsiteY11" fmla="*/ 2793442 h 2844606"/>
                <a:gd name="connsiteX12" fmla="*/ 4770126 w 8943143"/>
                <a:gd name="connsiteY12" fmla="*/ 2843684 h 2844606"/>
                <a:gd name="connsiteX13" fmla="*/ 3926064 w 8943143"/>
                <a:gd name="connsiteY13" fmla="*/ 2823587 h 2844606"/>
                <a:gd name="connsiteX14" fmla="*/ 2931277 w 8943143"/>
                <a:gd name="connsiteY14" fmla="*/ 2803490 h 2844606"/>
                <a:gd name="connsiteX15" fmla="*/ 1876200 w 8943143"/>
                <a:gd name="connsiteY15" fmla="*/ 2813539 h 2844606"/>
                <a:gd name="connsiteX16" fmla="*/ 0 w 8943143"/>
                <a:gd name="connsiteY16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6287427 w 8943143"/>
                <a:gd name="connsiteY3" fmla="*/ 60290 h 2844606"/>
                <a:gd name="connsiteX4" fmla="*/ 7051101 w 8943143"/>
                <a:gd name="connsiteY4" fmla="*/ 30145 h 2844606"/>
                <a:gd name="connsiteX5" fmla="*/ 8086082 w 8943143"/>
                <a:gd name="connsiteY5" fmla="*/ 60290 h 2844606"/>
                <a:gd name="connsiteX6" fmla="*/ 8943143 w 8943143"/>
                <a:gd name="connsiteY6" fmla="*/ 60290 h 2844606"/>
                <a:gd name="connsiteX7" fmla="*/ 7352552 w 8943143"/>
                <a:gd name="connsiteY7" fmla="*/ 2783394 h 2844606"/>
                <a:gd name="connsiteX8" fmla="*/ 7425600 w 8943143"/>
                <a:gd name="connsiteY8" fmla="*/ 2776911 h 2844606"/>
                <a:gd name="connsiteX9" fmla="*/ 6729554 w 8943143"/>
                <a:gd name="connsiteY9" fmla="*/ 2803490 h 2844606"/>
                <a:gd name="connsiteX10" fmla="*/ 6588877 w 8943143"/>
                <a:gd name="connsiteY10" fmla="*/ 2793442 h 2844606"/>
                <a:gd name="connsiteX11" fmla="*/ 4770126 w 8943143"/>
                <a:gd name="connsiteY11" fmla="*/ 2843684 h 2844606"/>
                <a:gd name="connsiteX12" fmla="*/ 3926064 w 8943143"/>
                <a:gd name="connsiteY12" fmla="*/ 2823587 h 2844606"/>
                <a:gd name="connsiteX13" fmla="*/ 2931277 w 8943143"/>
                <a:gd name="connsiteY13" fmla="*/ 2803490 h 2844606"/>
                <a:gd name="connsiteX14" fmla="*/ 1876200 w 8943143"/>
                <a:gd name="connsiteY14" fmla="*/ 2813539 h 2844606"/>
                <a:gd name="connsiteX15" fmla="*/ 0 w 8943143"/>
                <a:gd name="connsiteY15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6287427 w 8943143"/>
                <a:gd name="connsiteY3" fmla="*/ 60290 h 2844606"/>
                <a:gd name="connsiteX4" fmla="*/ 8086082 w 8943143"/>
                <a:gd name="connsiteY4" fmla="*/ 60290 h 2844606"/>
                <a:gd name="connsiteX5" fmla="*/ 8943143 w 8943143"/>
                <a:gd name="connsiteY5" fmla="*/ 60290 h 2844606"/>
                <a:gd name="connsiteX6" fmla="*/ 7352552 w 8943143"/>
                <a:gd name="connsiteY6" fmla="*/ 2783394 h 2844606"/>
                <a:gd name="connsiteX7" fmla="*/ 7425600 w 8943143"/>
                <a:gd name="connsiteY7" fmla="*/ 2776911 h 2844606"/>
                <a:gd name="connsiteX8" fmla="*/ 6729554 w 8943143"/>
                <a:gd name="connsiteY8" fmla="*/ 2803490 h 2844606"/>
                <a:gd name="connsiteX9" fmla="*/ 6588877 w 8943143"/>
                <a:gd name="connsiteY9" fmla="*/ 2793442 h 2844606"/>
                <a:gd name="connsiteX10" fmla="*/ 4770126 w 8943143"/>
                <a:gd name="connsiteY10" fmla="*/ 2843684 h 2844606"/>
                <a:gd name="connsiteX11" fmla="*/ 3926064 w 8943143"/>
                <a:gd name="connsiteY11" fmla="*/ 2823587 h 2844606"/>
                <a:gd name="connsiteX12" fmla="*/ 2931277 w 8943143"/>
                <a:gd name="connsiteY12" fmla="*/ 2803490 h 2844606"/>
                <a:gd name="connsiteX13" fmla="*/ 1876200 w 8943143"/>
                <a:gd name="connsiteY13" fmla="*/ 2813539 h 2844606"/>
                <a:gd name="connsiteX14" fmla="*/ 0 w 8943143"/>
                <a:gd name="connsiteY14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8086082 w 8943143"/>
                <a:gd name="connsiteY3" fmla="*/ 60290 h 2844606"/>
                <a:gd name="connsiteX4" fmla="*/ 8943143 w 8943143"/>
                <a:gd name="connsiteY4" fmla="*/ 60290 h 2844606"/>
                <a:gd name="connsiteX5" fmla="*/ 7352552 w 8943143"/>
                <a:gd name="connsiteY5" fmla="*/ 2783394 h 2844606"/>
                <a:gd name="connsiteX6" fmla="*/ 7425600 w 8943143"/>
                <a:gd name="connsiteY6" fmla="*/ 2776911 h 2844606"/>
                <a:gd name="connsiteX7" fmla="*/ 6729554 w 8943143"/>
                <a:gd name="connsiteY7" fmla="*/ 2803490 h 2844606"/>
                <a:gd name="connsiteX8" fmla="*/ 6588877 w 8943143"/>
                <a:gd name="connsiteY8" fmla="*/ 2793442 h 2844606"/>
                <a:gd name="connsiteX9" fmla="*/ 4770126 w 8943143"/>
                <a:gd name="connsiteY9" fmla="*/ 2843684 h 2844606"/>
                <a:gd name="connsiteX10" fmla="*/ 3926064 w 8943143"/>
                <a:gd name="connsiteY10" fmla="*/ 2823587 h 2844606"/>
                <a:gd name="connsiteX11" fmla="*/ 2931277 w 8943143"/>
                <a:gd name="connsiteY11" fmla="*/ 2803490 h 2844606"/>
                <a:gd name="connsiteX12" fmla="*/ 1876200 w 8943143"/>
                <a:gd name="connsiteY12" fmla="*/ 2813539 h 2844606"/>
                <a:gd name="connsiteX13" fmla="*/ 0 w 8943143"/>
                <a:gd name="connsiteY13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8086082 w 8943143"/>
                <a:gd name="connsiteY2" fmla="*/ 60290 h 2844606"/>
                <a:gd name="connsiteX3" fmla="*/ 8943143 w 8943143"/>
                <a:gd name="connsiteY3" fmla="*/ 60290 h 2844606"/>
                <a:gd name="connsiteX4" fmla="*/ 7352552 w 8943143"/>
                <a:gd name="connsiteY4" fmla="*/ 2783394 h 2844606"/>
                <a:gd name="connsiteX5" fmla="*/ 7425600 w 8943143"/>
                <a:gd name="connsiteY5" fmla="*/ 2776911 h 2844606"/>
                <a:gd name="connsiteX6" fmla="*/ 6729554 w 8943143"/>
                <a:gd name="connsiteY6" fmla="*/ 2803490 h 2844606"/>
                <a:gd name="connsiteX7" fmla="*/ 6588877 w 8943143"/>
                <a:gd name="connsiteY7" fmla="*/ 2793442 h 2844606"/>
                <a:gd name="connsiteX8" fmla="*/ 4770126 w 8943143"/>
                <a:gd name="connsiteY8" fmla="*/ 2843684 h 2844606"/>
                <a:gd name="connsiteX9" fmla="*/ 3926064 w 8943143"/>
                <a:gd name="connsiteY9" fmla="*/ 2823587 h 2844606"/>
                <a:gd name="connsiteX10" fmla="*/ 2931277 w 8943143"/>
                <a:gd name="connsiteY10" fmla="*/ 2803490 h 2844606"/>
                <a:gd name="connsiteX11" fmla="*/ 1876200 w 8943143"/>
                <a:gd name="connsiteY11" fmla="*/ 2813539 h 2844606"/>
                <a:gd name="connsiteX12" fmla="*/ 0 w 8943143"/>
                <a:gd name="connsiteY12" fmla="*/ 2793440 h 2844606"/>
                <a:gd name="connsiteX0" fmla="*/ 539770 w 8943143"/>
                <a:gd name="connsiteY0" fmla="*/ 0 h 2844606"/>
                <a:gd name="connsiteX1" fmla="*/ 8086082 w 8943143"/>
                <a:gd name="connsiteY1" fmla="*/ 60290 h 2844606"/>
                <a:gd name="connsiteX2" fmla="*/ 8943143 w 8943143"/>
                <a:gd name="connsiteY2" fmla="*/ 60290 h 2844606"/>
                <a:gd name="connsiteX3" fmla="*/ 7352552 w 8943143"/>
                <a:gd name="connsiteY3" fmla="*/ 2783394 h 2844606"/>
                <a:gd name="connsiteX4" fmla="*/ 7425600 w 8943143"/>
                <a:gd name="connsiteY4" fmla="*/ 2776911 h 2844606"/>
                <a:gd name="connsiteX5" fmla="*/ 6729554 w 8943143"/>
                <a:gd name="connsiteY5" fmla="*/ 2803490 h 2844606"/>
                <a:gd name="connsiteX6" fmla="*/ 6588877 w 8943143"/>
                <a:gd name="connsiteY6" fmla="*/ 2793442 h 2844606"/>
                <a:gd name="connsiteX7" fmla="*/ 4770126 w 8943143"/>
                <a:gd name="connsiteY7" fmla="*/ 2843684 h 2844606"/>
                <a:gd name="connsiteX8" fmla="*/ 3926064 w 8943143"/>
                <a:gd name="connsiteY8" fmla="*/ 2823587 h 2844606"/>
                <a:gd name="connsiteX9" fmla="*/ 2931277 w 8943143"/>
                <a:gd name="connsiteY9" fmla="*/ 2803490 h 2844606"/>
                <a:gd name="connsiteX10" fmla="*/ 1876200 w 8943143"/>
                <a:gd name="connsiteY10" fmla="*/ 2813539 h 2844606"/>
                <a:gd name="connsiteX11" fmla="*/ 0 w 8943143"/>
                <a:gd name="connsiteY11" fmla="*/ 2793440 h 2844606"/>
                <a:gd name="connsiteX0" fmla="*/ 8086082 w 8943143"/>
                <a:gd name="connsiteY0" fmla="*/ 0 h 2784316"/>
                <a:gd name="connsiteX1" fmla="*/ 8943143 w 8943143"/>
                <a:gd name="connsiteY1" fmla="*/ 0 h 2784316"/>
                <a:gd name="connsiteX2" fmla="*/ 7352552 w 8943143"/>
                <a:gd name="connsiteY2" fmla="*/ 2723104 h 2784316"/>
                <a:gd name="connsiteX3" fmla="*/ 7425600 w 8943143"/>
                <a:gd name="connsiteY3" fmla="*/ 2716621 h 2784316"/>
                <a:gd name="connsiteX4" fmla="*/ 6729554 w 8943143"/>
                <a:gd name="connsiteY4" fmla="*/ 2743200 h 2784316"/>
                <a:gd name="connsiteX5" fmla="*/ 6588877 w 8943143"/>
                <a:gd name="connsiteY5" fmla="*/ 2733152 h 2784316"/>
                <a:gd name="connsiteX6" fmla="*/ 4770126 w 8943143"/>
                <a:gd name="connsiteY6" fmla="*/ 2783394 h 2784316"/>
                <a:gd name="connsiteX7" fmla="*/ 3926064 w 8943143"/>
                <a:gd name="connsiteY7" fmla="*/ 2763297 h 2784316"/>
                <a:gd name="connsiteX8" fmla="*/ 2931277 w 8943143"/>
                <a:gd name="connsiteY8" fmla="*/ 2743200 h 2784316"/>
                <a:gd name="connsiteX9" fmla="*/ 1876200 w 8943143"/>
                <a:gd name="connsiteY9" fmla="*/ 2753249 h 2784316"/>
                <a:gd name="connsiteX10" fmla="*/ 0 w 8943143"/>
                <a:gd name="connsiteY10" fmla="*/ 2733150 h 2784316"/>
                <a:gd name="connsiteX0" fmla="*/ 8943143 w 8943143"/>
                <a:gd name="connsiteY0" fmla="*/ 0 h 2784316"/>
                <a:gd name="connsiteX1" fmla="*/ 7352552 w 8943143"/>
                <a:gd name="connsiteY1" fmla="*/ 2723104 h 2784316"/>
                <a:gd name="connsiteX2" fmla="*/ 7425600 w 8943143"/>
                <a:gd name="connsiteY2" fmla="*/ 2716621 h 2784316"/>
                <a:gd name="connsiteX3" fmla="*/ 6729554 w 8943143"/>
                <a:gd name="connsiteY3" fmla="*/ 2743200 h 2784316"/>
                <a:gd name="connsiteX4" fmla="*/ 6588877 w 8943143"/>
                <a:gd name="connsiteY4" fmla="*/ 2733152 h 2784316"/>
                <a:gd name="connsiteX5" fmla="*/ 4770126 w 8943143"/>
                <a:gd name="connsiteY5" fmla="*/ 2783394 h 2784316"/>
                <a:gd name="connsiteX6" fmla="*/ 3926064 w 8943143"/>
                <a:gd name="connsiteY6" fmla="*/ 2763297 h 2784316"/>
                <a:gd name="connsiteX7" fmla="*/ 2931277 w 8943143"/>
                <a:gd name="connsiteY7" fmla="*/ 2743200 h 2784316"/>
                <a:gd name="connsiteX8" fmla="*/ 1876200 w 8943143"/>
                <a:gd name="connsiteY8" fmla="*/ 2753249 h 2784316"/>
                <a:gd name="connsiteX9" fmla="*/ 0 w 8943143"/>
                <a:gd name="connsiteY9" fmla="*/ 2733150 h 2784316"/>
                <a:gd name="connsiteX0" fmla="*/ 7352552 w 7439829"/>
                <a:gd name="connsiteY0" fmla="*/ 8031 h 69243"/>
                <a:gd name="connsiteX1" fmla="*/ 7425600 w 7439829"/>
                <a:gd name="connsiteY1" fmla="*/ 1548 h 69243"/>
                <a:gd name="connsiteX2" fmla="*/ 6729554 w 7439829"/>
                <a:gd name="connsiteY2" fmla="*/ 28127 h 69243"/>
                <a:gd name="connsiteX3" fmla="*/ 6588877 w 7439829"/>
                <a:gd name="connsiteY3" fmla="*/ 18079 h 69243"/>
                <a:gd name="connsiteX4" fmla="*/ 4770126 w 7439829"/>
                <a:gd name="connsiteY4" fmla="*/ 68321 h 69243"/>
                <a:gd name="connsiteX5" fmla="*/ 3926064 w 7439829"/>
                <a:gd name="connsiteY5" fmla="*/ 48224 h 69243"/>
                <a:gd name="connsiteX6" fmla="*/ 2931277 w 7439829"/>
                <a:gd name="connsiteY6" fmla="*/ 28127 h 69243"/>
                <a:gd name="connsiteX7" fmla="*/ 1876200 w 7439829"/>
                <a:gd name="connsiteY7" fmla="*/ 38176 h 69243"/>
                <a:gd name="connsiteX8" fmla="*/ 0 w 7439829"/>
                <a:gd name="connsiteY8" fmla="*/ 18077 h 69243"/>
                <a:gd name="connsiteX0" fmla="*/ 7352552 w 7439829"/>
                <a:gd name="connsiteY0" fmla="*/ 8031 h 92339"/>
                <a:gd name="connsiteX1" fmla="*/ 7425600 w 7439829"/>
                <a:gd name="connsiteY1" fmla="*/ 1548 h 92339"/>
                <a:gd name="connsiteX2" fmla="*/ 6729554 w 7439829"/>
                <a:gd name="connsiteY2" fmla="*/ 28127 h 92339"/>
                <a:gd name="connsiteX3" fmla="*/ 6588877 w 7439829"/>
                <a:gd name="connsiteY3" fmla="*/ 18079 h 92339"/>
                <a:gd name="connsiteX4" fmla="*/ 4770126 w 7439829"/>
                <a:gd name="connsiteY4" fmla="*/ 68321 h 92339"/>
                <a:gd name="connsiteX5" fmla="*/ 4538615 w 7439829"/>
                <a:gd name="connsiteY5" fmla="*/ 91853 h 92339"/>
                <a:gd name="connsiteX6" fmla="*/ 3926064 w 7439829"/>
                <a:gd name="connsiteY6" fmla="*/ 48224 h 92339"/>
                <a:gd name="connsiteX7" fmla="*/ 2931277 w 7439829"/>
                <a:gd name="connsiteY7" fmla="*/ 28127 h 92339"/>
                <a:gd name="connsiteX8" fmla="*/ 1876200 w 7439829"/>
                <a:gd name="connsiteY8" fmla="*/ 38176 h 92339"/>
                <a:gd name="connsiteX9" fmla="*/ 0 w 7439829"/>
                <a:gd name="connsiteY9" fmla="*/ 18077 h 92339"/>
                <a:gd name="connsiteX0" fmla="*/ 7352552 w 7439829"/>
                <a:gd name="connsiteY0" fmla="*/ 8031 h 91853"/>
                <a:gd name="connsiteX1" fmla="*/ 7425600 w 7439829"/>
                <a:gd name="connsiteY1" fmla="*/ 1548 h 91853"/>
                <a:gd name="connsiteX2" fmla="*/ 6729554 w 7439829"/>
                <a:gd name="connsiteY2" fmla="*/ 28127 h 91853"/>
                <a:gd name="connsiteX3" fmla="*/ 6588877 w 7439829"/>
                <a:gd name="connsiteY3" fmla="*/ 18079 h 91853"/>
                <a:gd name="connsiteX4" fmla="*/ 4538615 w 7439829"/>
                <a:gd name="connsiteY4" fmla="*/ 91853 h 91853"/>
                <a:gd name="connsiteX5" fmla="*/ 3926064 w 7439829"/>
                <a:gd name="connsiteY5" fmla="*/ 48224 h 91853"/>
                <a:gd name="connsiteX6" fmla="*/ 2931277 w 7439829"/>
                <a:gd name="connsiteY6" fmla="*/ 28127 h 91853"/>
                <a:gd name="connsiteX7" fmla="*/ 1876200 w 7439829"/>
                <a:gd name="connsiteY7" fmla="*/ 38176 h 91853"/>
                <a:gd name="connsiteX8" fmla="*/ 0 w 7439829"/>
                <a:gd name="connsiteY8" fmla="*/ 18077 h 91853"/>
                <a:gd name="connsiteX0" fmla="*/ 7352552 w 7439829"/>
                <a:gd name="connsiteY0" fmla="*/ 8031 h 91853"/>
                <a:gd name="connsiteX1" fmla="*/ 7425600 w 7439829"/>
                <a:gd name="connsiteY1" fmla="*/ 1548 h 91853"/>
                <a:gd name="connsiteX2" fmla="*/ 6729554 w 7439829"/>
                <a:gd name="connsiteY2" fmla="*/ 28127 h 91853"/>
                <a:gd name="connsiteX3" fmla="*/ 4538615 w 7439829"/>
                <a:gd name="connsiteY3" fmla="*/ 91853 h 91853"/>
                <a:gd name="connsiteX4" fmla="*/ 3926064 w 7439829"/>
                <a:gd name="connsiteY4" fmla="*/ 48224 h 91853"/>
                <a:gd name="connsiteX5" fmla="*/ 2931277 w 7439829"/>
                <a:gd name="connsiteY5" fmla="*/ 28127 h 91853"/>
                <a:gd name="connsiteX6" fmla="*/ 1876200 w 7439829"/>
                <a:gd name="connsiteY6" fmla="*/ 38176 h 91853"/>
                <a:gd name="connsiteX7" fmla="*/ 0 w 7439829"/>
                <a:gd name="connsiteY7" fmla="*/ 18077 h 91853"/>
                <a:gd name="connsiteX0" fmla="*/ 7352552 w 7439829"/>
                <a:gd name="connsiteY0" fmla="*/ 8031 h 91853"/>
                <a:gd name="connsiteX1" fmla="*/ 7425600 w 7439829"/>
                <a:gd name="connsiteY1" fmla="*/ 1548 h 91853"/>
                <a:gd name="connsiteX2" fmla="*/ 4538615 w 7439829"/>
                <a:gd name="connsiteY2" fmla="*/ 91853 h 91853"/>
                <a:gd name="connsiteX3" fmla="*/ 3926064 w 7439829"/>
                <a:gd name="connsiteY3" fmla="*/ 48224 h 91853"/>
                <a:gd name="connsiteX4" fmla="*/ 2931277 w 7439829"/>
                <a:gd name="connsiteY4" fmla="*/ 28127 h 91853"/>
                <a:gd name="connsiteX5" fmla="*/ 1876200 w 7439829"/>
                <a:gd name="connsiteY5" fmla="*/ 38176 h 91853"/>
                <a:gd name="connsiteX6" fmla="*/ 0 w 7439829"/>
                <a:gd name="connsiteY6" fmla="*/ 18077 h 91853"/>
                <a:gd name="connsiteX0" fmla="*/ 7352552 w 7352552"/>
                <a:gd name="connsiteY0" fmla="*/ 0 h 83822"/>
                <a:gd name="connsiteX1" fmla="*/ 4538615 w 7352552"/>
                <a:gd name="connsiteY1" fmla="*/ 83822 h 83822"/>
                <a:gd name="connsiteX2" fmla="*/ 3926064 w 7352552"/>
                <a:gd name="connsiteY2" fmla="*/ 40193 h 83822"/>
                <a:gd name="connsiteX3" fmla="*/ 2931277 w 7352552"/>
                <a:gd name="connsiteY3" fmla="*/ 20096 h 83822"/>
                <a:gd name="connsiteX4" fmla="*/ 1876200 w 7352552"/>
                <a:gd name="connsiteY4" fmla="*/ 30145 h 83822"/>
                <a:gd name="connsiteX5" fmla="*/ 0 w 7352552"/>
                <a:gd name="connsiteY5" fmla="*/ 10046 h 83822"/>
                <a:gd name="connsiteX0" fmla="*/ 4538615 w 4538615"/>
                <a:gd name="connsiteY0" fmla="*/ 73776 h 73776"/>
                <a:gd name="connsiteX1" fmla="*/ 3926064 w 4538615"/>
                <a:gd name="connsiteY1" fmla="*/ 30147 h 73776"/>
                <a:gd name="connsiteX2" fmla="*/ 2931277 w 4538615"/>
                <a:gd name="connsiteY2" fmla="*/ 10050 h 73776"/>
                <a:gd name="connsiteX3" fmla="*/ 1876200 w 4538615"/>
                <a:gd name="connsiteY3" fmla="*/ 20099 h 73776"/>
                <a:gd name="connsiteX4" fmla="*/ 0 w 4538615"/>
                <a:gd name="connsiteY4" fmla="*/ 0 h 73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8615" h="73776">
                  <a:moveTo>
                    <a:pt x="4538615" y="73776"/>
                  </a:moveTo>
                  <a:cubicBezTo>
                    <a:pt x="4397938" y="70427"/>
                    <a:pt x="4193954" y="40768"/>
                    <a:pt x="3926064" y="30147"/>
                  </a:cubicBezTo>
                  <a:lnTo>
                    <a:pt x="2931277" y="10050"/>
                  </a:lnTo>
                  <a:lnTo>
                    <a:pt x="1876200" y="20099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10B6D535-649D-A6B6-1280-452411C379BD}"/>
              </a:ext>
            </a:extLst>
          </p:cNvPr>
          <p:cNvCxnSpPr>
            <a:cxnSpLocks/>
          </p:cNvCxnSpPr>
          <p:nvPr/>
        </p:nvCxnSpPr>
        <p:spPr>
          <a:xfrm>
            <a:off x="9275737" y="1590994"/>
            <a:ext cx="0" cy="468280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id="{BB3667CA-FDC7-5389-8CD1-7EA3F6E7CD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82104" y="4581704"/>
            <a:ext cx="288000" cy="28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AB7153F-0193-4DE1-F400-C795F21300D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94716" y="5609584"/>
            <a:ext cx="288000" cy="288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CEF3A19-D115-EA26-D930-9B16E286D5E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782104" y="3213576"/>
            <a:ext cx="288000" cy="288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FE9268EE-EB56-4455-CAD8-67AEFB22F3A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782104" y="2839718"/>
            <a:ext cx="288000" cy="288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2AFFDD58-D4DC-37B5-138C-2BE035E2942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76796" y="2090903"/>
            <a:ext cx="1180636" cy="164823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3" name="Billede 22" descr="Et billede, der indeholder Grafik, kunst, Font/skrifttype, symbol&#10;&#10;AI-genereret indhold kan være ukorrekt.">
            <a:extLst>
              <a:ext uri="{FF2B5EF4-FFF2-40B4-BE49-F238E27FC236}">
                <a16:creationId xmlns:a16="http://schemas.microsoft.com/office/drawing/2014/main" id="{ED275B62-F880-8F18-D01B-D063529954F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0329" y="2881334"/>
            <a:ext cx="345000" cy="288000"/>
          </a:xfrm>
          <a:prstGeom prst="rect">
            <a:avLst/>
          </a:prstGeom>
        </p:spPr>
      </p:pic>
      <p:pic>
        <p:nvPicPr>
          <p:cNvPr id="47" name="Billede 46" descr="Et billede, der indeholder Grafik, cirkel, symbol, Font/skrifttype&#10;&#10;AI-genereret indhold kan være ukorrekt.">
            <a:extLst>
              <a:ext uri="{FF2B5EF4-FFF2-40B4-BE49-F238E27FC236}">
                <a16:creationId xmlns:a16="http://schemas.microsoft.com/office/drawing/2014/main" id="{59FE8AE6-07F4-EBFA-9C64-828FE9A3680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8829" y="3341993"/>
            <a:ext cx="288000" cy="288000"/>
          </a:xfrm>
          <a:prstGeom prst="rect">
            <a:avLst/>
          </a:prstGeom>
        </p:spPr>
      </p:pic>
      <p:pic>
        <p:nvPicPr>
          <p:cNvPr id="49" name="Billede 48" descr="Et billede, der indeholder Grafik, kunst, Font/skrifttype, design&#10;&#10;AI-genereret indhold kan være ukorrekt.">
            <a:extLst>
              <a:ext uri="{FF2B5EF4-FFF2-40B4-BE49-F238E27FC236}">
                <a16:creationId xmlns:a16="http://schemas.microsoft.com/office/drawing/2014/main" id="{304F0CF4-CABC-387C-CA51-758197C0223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1174" y="3779723"/>
            <a:ext cx="243310" cy="288000"/>
          </a:xfrm>
          <a:prstGeom prst="rect">
            <a:avLst/>
          </a:prstGeom>
        </p:spPr>
      </p:pic>
      <p:pic>
        <p:nvPicPr>
          <p:cNvPr id="53" name="Billede 52" descr="Et billede, der indeholder Børnekunst, tegning, skitse, kunst&#10;&#10;AI-genereret indhold kan være ukorrekt.">
            <a:extLst>
              <a:ext uri="{FF2B5EF4-FFF2-40B4-BE49-F238E27FC236}">
                <a16:creationId xmlns:a16="http://schemas.microsoft.com/office/drawing/2014/main" id="{8D2D0CAF-A6F3-8E49-CC36-B751D9DF725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0116" y="4492978"/>
            <a:ext cx="245426" cy="288000"/>
          </a:xfrm>
          <a:prstGeom prst="rect">
            <a:avLst/>
          </a:prstGeom>
        </p:spPr>
      </p:pic>
      <p:pic>
        <p:nvPicPr>
          <p:cNvPr id="55" name="Billede 54" descr="Et billede, der indeholder Grafik, Font/skrifttype, kunst&#10;&#10;AI-genereret indhold kan være ukorrekt.">
            <a:extLst>
              <a:ext uri="{FF2B5EF4-FFF2-40B4-BE49-F238E27FC236}">
                <a16:creationId xmlns:a16="http://schemas.microsoft.com/office/drawing/2014/main" id="{B96D3062-38FC-E11E-51DA-2C74A8301FD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401" y="5214334"/>
            <a:ext cx="282857" cy="288000"/>
          </a:xfrm>
          <a:prstGeom prst="rect">
            <a:avLst/>
          </a:prstGeom>
        </p:spPr>
      </p:pic>
      <p:pic>
        <p:nvPicPr>
          <p:cNvPr id="57" name="Billede 56" descr="Et billede, der indeholder Grafik, Font/skrifttype, kunst, design&#10;&#10;AI-genereret indhold kan være ukorrekt.">
            <a:extLst>
              <a:ext uri="{FF2B5EF4-FFF2-40B4-BE49-F238E27FC236}">
                <a16:creationId xmlns:a16="http://schemas.microsoft.com/office/drawing/2014/main" id="{80174E5A-FD78-E1B0-AF00-21A5F2B8553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902" y="5891774"/>
            <a:ext cx="360000" cy="360000"/>
          </a:xfrm>
          <a:prstGeom prst="rect">
            <a:avLst/>
          </a:prstGeom>
        </p:spPr>
      </p:pic>
      <p:pic>
        <p:nvPicPr>
          <p:cNvPr id="65" name="Billede 64" descr="Et billede, der indeholder Grafik, kunst, Font/skrifttype, design&#10;&#10;AI-genereret indhold kan være ukorrekt.">
            <a:extLst>
              <a:ext uri="{FF2B5EF4-FFF2-40B4-BE49-F238E27FC236}">
                <a16:creationId xmlns:a16="http://schemas.microsoft.com/office/drawing/2014/main" id="{E29FD90F-EFE4-D922-5A3D-2A5767801D3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1410" y="3898610"/>
            <a:ext cx="276000" cy="216000"/>
          </a:xfrm>
          <a:prstGeom prst="rect">
            <a:avLst/>
          </a:prstGeom>
        </p:spPr>
      </p:pic>
      <p:pic>
        <p:nvPicPr>
          <p:cNvPr id="67" name="Billede 66" descr="Et billede, der indeholder symbol, clipart, Grafik, design&#10;&#10;AI-genereret indhold kan være ukorrekt.">
            <a:extLst>
              <a:ext uri="{FF2B5EF4-FFF2-40B4-BE49-F238E27FC236}">
                <a16:creationId xmlns:a16="http://schemas.microsoft.com/office/drawing/2014/main" id="{8A0B3627-CF23-8B06-5BAF-65EE4590913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2105" y="4266148"/>
            <a:ext cx="207999" cy="216000"/>
          </a:xfrm>
          <a:prstGeom prst="rect">
            <a:avLst/>
          </a:prstGeom>
        </p:spPr>
      </p:pic>
      <p:pic>
        <p:nvPicPr>
          <p:cNvPr id="72" name="Billede 71" descr="Et billede, der indeholder Grafik&#10;&#10;AI-genereret indhold kan være ukorrekt.">
            <a:extLst>
              <a:ext uri="{FF2B5EF4-FFF2-40B4-BE49-F238E27FC236}">
                <a16:creationId xmlns:a16="http://schemas.microsoft.com/office/drawing/2014/main" id="{7C2B3871-4E76-0E0A-9824-52E2940BB92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4104" y="5216214"/>
            <a:ext cx="324000" cy="324000"/>
          </a:xfrm>
          <a:prstGeom prst="rect">
            <a:avLst/>
          </a:prstGeom>
        </p:spPr>
      </p:pic>
      <p:pic>
        <p:nvPicPr>
          <p:cNvPr id="79" name="Billede 78" descr="Et billede, der indeholder symbol&#10;&#10;AI-genereret indhold kan være ukorrekt.">
            <a:extLst>
              <a:ext uri="{FF2B5EF4-FFF2-40B4-BE49-F238E27FC236}">
                <a16:creationId xmlns:a16="http://schemas.microsoft.com/office/drawing/2014/main" id="{46B84988-284A-DAC0-3818-C613CF2F21A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987" y="6005210"/>
            <a:ext cx="292235" cy="216000"/>
          </a:xfrm>
          <a:prstGeom prst="rect">
            <a:avLst/>
          </a:prstGeom>
        </p:spPr>
      </p:pic>
      <p:pic>
        <p:nvPicPr>
          <p:cNvPr id="81" name="Billede 80" descr="Et billede, der indeholder Grafik, kunst, tegning, Font/skrifttype&#10;&#10;AI-genereret indhold kan være ukorrekt.">
            <a:extLst>
              <a:ext uri="{FF2B5EF4-FFF2-40B4-BE49-F238E27FC236}">
                <a16:creationId xmlns:a16="http://schemas.microsoft.com/office/drawing/2014/main" id="{97B77F55-5179-75BF-C6ED-0CA524DB56E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2383" y="2906273"/>
            <a:ext cx="295855" cy="288000"/>
          </a:xfrm>
          <a:prstGeom prst="rect">
            <a:avLst/>
          </a:prstGeom>
        </p:spPr>
      </p:pic>
      <p:pic>
        <p:nvPicPr>
          <p:cNvPr id="83" name="Billede 82" descr="Et billede, der indeholder kunst, symbol, tegning&#10;&#10;AI-genereret indhold kan være ukorrekt.">
            <a:extLst>
              <a:ext uri="{FF2B5EF4-FFF2-40B4-BE49-F238E27FC236}">
                <a16:creationId xmlns:a16="http://schemas.microsoft.com/office/drawing/2014/main" id="{A61CBB11-8E45-2356-6889-48EA9AB3D69D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310" y="3391587"/>
            <a:ext cx="324000" cy="324000"/>
          </a:xfrm>
          <a:prstGeom prst="rect">
            <a:avLst/>
          </a:prstGeom>
        </p:spPr>
      </p:pic>
      <p:pic>
        <p:nvPicPr>
          <p:cNvPr id="118" name="Billede 117" descr="Et billede, der indeholder Grafik, tegning, symbol, skitse&#10;&#10;AI-genereret indhold kan være ukorrekt.">
            <a:extLst>
              <a:ext uri="{FF2B5EF4-FFF2-40B4-BE49-F238E27FC236}">
                <a16:creationId xmlns:a16="http://schemas.microsoft.com/office/drawing/2014/main" id="{1EE82113-8B67-DE7E-3F70-00EC937ADB5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0977" y="4177522"/>
            <a:ext cx="298667" cy="288000"/>
          </a:xfrm>
          <a:prstGeom prst="rect">
            <a:avLst/>
          </a:prstGeom>
        </p:spPr>
      </p:pic>
      <p:pic>
        <p:nvPicPr>
          <p:cNvPr id="125" name="Billede 124" descr="Et billede, der indeholder symbol, cirkel, Grafik, logo&#10;&#10;AI-genereret indhold kan være ukorrekt.">
            <a:extLst>
              <a:ext uri="{FF2B5EF4-FFF2-40B4-BE49-F238E27FC236}">
                <a16:creationId xmlns:a16="http://schemas.microsoft.com/office/drawing/2014/main" id="{B3D5384B-3006-178A-9DC5-440ADCF834A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310" y="4639362"/>
            <a:ext cx="324000" cy="324000"/>
          </a:xfrm>
          <a:prstGeom prst="rect">
            <a:avLst/>
          </a:prstGeom>
        </p:spPr>
      </p:pic>
      <p:pic>
        <p:nvPicPr>
          <p:cNvPr id="127" name="Billede 126" descr="Et billede, der indeholder kunst, Grafik, symbol, skitse&#10;&#10;AI-genereret indhold kan være ukorrekt.">
            <a:extLst>
              <a:ext uri="{FF2B5EF4-FFF2-40B4-BE49-F238E27FC236}">
                <a16:creationId xmlns:a16="http://schemas.microsoft.com/office/drawing/2014/main" id="{951C43C9-6C46-C3FC-86E2-F49EDBD85D7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5310" y="5422540"/>
            <a:ext cx="270000" cy="288000"/>
          </a:xfrm>
          <a:prstGeom prst="rect">
            <a:avLst/>
          </a:prstGeom>
        </p:spPr>
      </p:pic>
      <p:pic>
        <p:nvPicPr>
          <p:cNvPr id="129" name="Billede 128" descr="Et billede, der indeholder Grafik, Font/skrifttype, symbol, logo&#10;&#10;AI-genereret indhold kan være ukorrekt.">
            <a:extLst>
              <a:ext uri="{FF2B5EF4-FFF2-40B4-BE49-F238E27FC236}">
                <a16:creationId xmlns:a16="http://schemas.microsoft.com/office/drawing/2014/main" id="{6BF7AFC7-0895-31F6-5043-64E087675FA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310" y="5900087"/>
            <a:ext cx="324000" cy="324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773695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018B19-D83D-CABB-1A28-1BEE556C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 - Miljø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14A349D-85F5-4624-853C-66C4D861B92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19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10B86A10-3B38-7D0E-69EA-B02A85750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0C6DDC1-CD34-22DB-0C1E-FB9CCB2279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Hvordan vi passer på klima, ressourcer og natur</a:t>
            </a:r>
          </a:p>
        </p:txBody>
      </p:sp>
      <p:grpSp>
        <p:nvGrpSpPr>
          <p:cNvPr id="7" name="Group 330">
            <a:extLst>
              <a:ext uri="{FF2B5EF4-FFF2-40B4-BE49-F238E27FC236}">
                <a16:creationId xmlns:a16="http://schemas.microsoft.com/office/drawing/2014/main" id="{ACDA0301-A391-4DBD-20B3-BBC432F8DF62}"/>
              </a:ext>
            </a:extLst>
          </p:cNvPr>
          <p:cNvGrpSpPr/>
          <p:nvPr/>
        </p:nvGrpSpPr>
        <p:grpSpPr>
          <a:xfrm>
            <a:off x="112174" y="46334"/>
            <a:ext cx="958810" cy="966280"/>
            <a:chOff x="4156082" y="-3024236"/>
            <a:chExt cx="2183420" cy="2200431"/>
          </a:xfrm>
        </p:grpSpPr>
        <p:sp>
          <p:nvSpPr>
            <p:cNvPr id="8" name="Freeform: Shape 328">
              <a:extLst>
                <a:ext uri="{FF2B5EF4-FFF2-40B4-BE49-F238E27FC236}">
                  <a16:creationId xmlns:a16="http://schemas.microsoft.com/office/drawing/2014/main" id="{44E1E7E2-C1FF-2AC9-6741-0D206B39206E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4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9" name="Freeform: Shape 329">
              <a:extLst>
                <a:ext uri="{FF2B5EF4-FFF2-40B4-BE49-F238E27FC236}">
                  <a16:creationId xmlns:a16="http://schemas.microsoft.com/office/drawing/2014/main" id="{A30B5C6D-3697-0324-BD6D-F4798A2F847D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0" name="Flowchart: Alternate Process 31">
            <a:extLst>
              <a:ext uri="{FF2B5EF4-FFF2-40B4-BE49-F238E27FC236}">
                <a16:creationId xmlns:a16="http://schemas.microsoft.com/office/drawing/2014/main" id="{349226E0-3964-A36B-FCEF-3C3494565A00}"/>
              </a:ext>
            </a:extLst>
          </p:cNvPr>
          <p:cNvSpPr/>
          <p:nvPr/>
        </p:nvSpPr>
        <p:spPr>
          <a:xfrm>
            <a:off x="2813096" y="1873577"/>
            <a:ext cx="2473277" cy="406784"/>
          </a:xfrm>
          <a:prstGeom prst="flowChartAlternateProcess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ergiforbrug</a:t>
            </a:r>
          </a:p>
        </p:txBody>
      </p:sp>
      <p:sp>
        <p:nvSpPr>
          <p:cNvPr id="11" name="Flowchart: Alternate Process 30">
            <a:extLst>
              <a:ext uri="{FF2B5EF4-FFF2-40B4-BE49-F238E27FC236}">
                <a16:creationId xmlns:a16="http://schemas.microsoft.com/office/drawing/2014/main" id="{9A17F135-363A-472B-D7F6-F95F503C9BC5}"/>
              </a:ext>
            </a:extLst>
          </p:cNvPr>
          <p:cNvSpPr/>
          <p:nvPr/>
        </p:nvSpPr>
        <p:spPr>
          <a:xfrm>
            <a:off x="584294" y="1871880"/>
            <a:ext cx="2473277" cy="406784"/>
          </a:xfrm>
          <a:prstGeom prst="flowChartAlternateProcess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limaaftryk</a:t>
            </a:r>
          </a:p>
        </p:txBody>
      </p:sp>
      <p:sp>
        <p:nvSpPr>
          <p:cNvPr id="12" name="Flowchart: Alternate Process 32">
            <a:extLst>
              <a:ext uri="{FF2B5EF4-FFF2-40B4-BE49-F238E27FC236}">
                <a16:creationId xmlns:a16="http://schemas.microsoft.com/office/drawing/2014/main" id="{33355BAC-FAF9-DF15-4B65-C9765887E296}"/>
              </a:ext>
            </a:extLst>
          </p:cNvPr>
          <p:cNvSpPr/>
          <p:nvPr/>
        </p:nvSpPr>
        <p:spPr>
          <a:xfrm>
            <a:off x="5789586" y="1912433"/>
            <a:ext cx="2473277" cy="406784"/>
          </a:xfrm>
          <a:prstGeom prst="flowChartAlternateProcess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ergimærkning</a:t>
            </a:r>
            <a:endParaRPr kumimoji="0" lang="da-DK" sz="800" b="1" i="0" u="none" strike="noStrike" kern="1200" cap="none" spc="0" normalizeH="0" baseline="0" noProof="0">
              <a:ln>
                <a:noFill/>
              </a:ln>
              <a:solidFill>
                <a:srgbClr val="004C4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Flowchart: Alternate Process 33">
            <a:extLst>
              <a:ext uri="{FF2B5EF4-FFF2-40B4-BE49-F238E27FC236}">
                <a16:creationId xmlns:a16="http://schemas.microsoft.com/office/drawing/2014/main" id="{A86F1A59-F1A3-358C-2AF4-D6A319AA65EB}"/>
              </a:ext>
            </a:extLst>
          </p:cNvPr>
          <p:cNvSpPr/>
          <p:nvPr/>
        </p:nvSpPr>
        <p:spPr>
          <a:xfrm>
            <a:off x="920099" y="3970904"/>
            <a:ext cx="1892997" cy="406784"/>
          </a:xfrm>
          <a:prstGeom prst="flowChartAlternateProcess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35995" rtlCol="0" anchor="ctr"/>
          <a:lstStyle/>
          <a:p>
            <a:pPr marL="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årbarhed for klimaændringer </a:t>
            </a:r>
          </a:p>
        </p:txBody>
      </p:sp>
      <p:sp>
        <p:nvSpPr>
          <p:cNvPr id="14" name="Flowchart: Alternate Process 34">
            <a:extLst>
              <a:ext uri="{FF2B5EF4-FFF2-40B4-BE49-F238E27FC236}">
                <a16:creationId xmlns:a16="http://schemas.microsoft.com/office/drawing/2014/main" id="{D8961528-1516-F3F6-F847-910653B35126}"/>
              </a:ext>
            </a:extLst>
          </p:cNvPr>
          <p:cNvSpPr/>
          <p:nvPr/>
        </p:nvSpPr>
        <p:spPr>
          <a:xfrm>
            <a:off x="2812817" y="3924871"/>
            <a:ext cx="2473277" cy="406784"/>
          </a:xfrm>
          <a:prstGeom prst="flowChartAlternateProcess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odiversitet</a:t>
            </a:r>
          </a:p>
        </p:txBody>
      </p:sp>
      <p:sp>
        <p:nvSpPr>
          <p:cNvPr id="15" name="Flowchart: Alternate Process 34">
            <a:extLst>
              <a:ext uri="{FF2B5EF4-FFF2-40B4-BE49-F238E27FC236}">
                <a16:creationId xmlns:a16="http://schemas.microsoft.com/office/drawing/2014/main" id="{9C7FD592-B078-EA93-E414-0B37E2BAD1D4}"/>
              </a:ext>
            </a:extLst>
          </p:cNvPr>
          <p:cNvSpPr/>
          <p:nvPr/>
        </p:nvSpPr>
        <p:spPr>
          <a:xfrm>
            <a:off x="4618601" y="3949733"/>
            <a:ext cx="2954797" cy="469328"/>
          </a:xfrm>
          <a:prstGeom prst="flowChartAlternateProcess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ffald</a:t>
            </a:r>
          </a:p>
        </p:txBody>
      </p:sp>
      <p:pic>
        <p:nvPicPr>
          <p:cNvPr id="16" name="Graphic 83">
            <a:extLst>
              <a:ext uri="{FF2B5EF4-FFF2-40B4-BE49-F238E27FC236}">
                <a16:creationId xmlns:a16="http://schemas.microsoft.com/office/drawing/2014/main" id="{4BFB146B-EA28-67E3-9AAE-29607643EA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53031" y="1863077"/>
            <a:ext cx="464224" cy="464224"/>
          </a:xfrm>
          <a:prstGeom prst="rect">
            <a:avLst/>
          </a:prstGeom>
        </p:spPr>
      </p:pic>
      <p:grpSp>
        <p:nvGrpSpPr>
          <p:cNvPr id="17" name="Group 84">
            <a:extLst>
              <a:ext uri="{FF2B5EF4-FFF2-40B4-BE49-F238E27FC236}">
                <a16:creationId xmlns:a16="http://schemas.microsoft.com/office/drawing/2014/main" id="{591BD85A-B433-7800-61C0-82E94989B411}"/>
              </a:ext>
            </a:extLst>
          </p:cNvPr>
          <p:cNvGrpSpPr/>
          <p:nvPr/>
        </p:nvGrpSpPr>
        <p:grpSpPr>
          <a:xfrm>
            <a:off x="5286094" y="1863076"/>
            <a:ext cx="437023" cy="445510"/>
            <a:chOff x="-500362" y="3798874"/>
            <a:chExt cx="274718" cy="325790"/>
          </a:xfrm>
          <a:solidFill>
            <a:srgbClr val="B5CEBD"/>
          </a:solidFill>
        </p:grpSpPr>
        <p:sp>
          <p:nvSpPr>
            <p:cNvPr id="18" name="Freeform: Shape 85">
              <a:extLst>
                <a:ext uri="{FF2B5EF4-FFF2-40B4-BE49-F238E27FC236}">
                  <a16:creationId xmlns:a16="http://schemas.microsoft.com/office/drawing/2014/main" id="{6DDB76EB-868C-AD71-8A1B-A56C31B776CD}"/>
                </a:ext>
              </a:extLst>
            </p:cNvPr>
            <p:cNvSpPr/>
            <p:nvPr/>
          </p:nvSpPr>
          <p:spPr>
            <a:xfrm>
              <a:off x="-453549" y="3882251"/>
              <a:ext cx="120405" cy="194715"/>
            </a:xfrm>
            <a:custGeom>
              <a:avLst/>
              <a:gdLst>
                <a:gd name="connsiteX0" fmla="*/ 68827 w 120405"/>
                <a:gd name="connsiteY0" fmla="*/ 142631 h 194715"/>
                <a:gd name="connsiteX1" fmla="*/ 76461 w 120405"/>
                <a:gd name="connsiteY1" fmla="*/ 130949 h 194715"/>
                <a:gd name="connsiteX2" fmla="*/ 81985 w 120405"/>
                <a:gd name="connsiteY2" fmla="*/ 118676 h 194715"/>
                <a:gd name="connsiteX3" fmla="*/ 69966 w 120405"/>
                <a:gd name="connsiteY3" fmla="*/ 117538 h 194715"/>
                <a:gd name="connsiteX4" fmla="*/ 56681 w 120405"/>
                <a:gd name="connsiteY4" fmla="*/ 118718 h 194715"/>
                <a:gd name="connsiteX5" fmla="*/ 61995 w 120405"/>
                <a:gd name="connsiteY5" fmla="*/ 104632 h 194715"/>
                <a:gd name="connsiteX6" fmla="*/ 67351 w 120405"/>
                <a:gd name="connsiteY6" fmla="*/ 91137 h 194715"/>
                <a:gd name="connsiteX7" fmla="*/ 72159 w 120405"/>
                <a:gd name="connsiteY7" fmla="*/ 77473 h 194715"/>
                <a:gd name="connsiteX8" fmla="*/ 76503 w 120405"/>
                <a:gd name="connsiteY8" fmla="*/ 63598 h 194715"/>
                <a:gd name="connsiteX9" fmla="*/ 81521 w 120405"/>
                <a:gd name="connsiteY9" fmla="*/ 49933 h 194715"/>
                <a:gd name="connsiteX10" fmla="*/ 85697 w 120405"/>
                <a:gd name="connsiteY10" fmla="*/ 36016 h 194715"/>
                <a:gd name="connsiteX11" fmla="*/ 88185 w 120405"/>
                <a:gd name="connsiteY11" fmla="*/ 35594 h 194715"/>
                <a:gd name="connsiteX12" fmla="*/ 91390 w 120405"/>
                <a:gd name="connsiteY12" fmla="*/ 47445 h 194715"/>
                <a:gd name="connsiteX13" fmla="*/ 94848 w 120405"/>
                <a:gd name="connsiteY13" fmla="*/ 59085 h 194715"/>
                <a:gd name="connsiteX14" fmla="*/ 98180 w 120405"/>
                <a:gd name="connsiteY14" fmla="*/ 70767 h 194715"/>
                <a:gd name="connsiteX15" fmla="*/ 103072 w 120405"/>
                <a:gd name="connsiteY15" fmla="*/ 82618 h 194715"/>
                <a:gd name="connsiteX16" fmla="*/ 109778 w 120405"/>
                <a:gd name="connsiteY16" fmla="*/ 71779 h 194715"/>
                <a:gd name="connsiteX17" fmla="*/ 114417 w 120405"/>
                <a:gd name="connsiteY17" fmla="*/ 60435 h 194715"/>
                <a:gd name="connsiteX18" fmla="*/ 120405 w 120405"/>
                <a:gd name="connsiteY18" fmla="*/ 50102 h 194715"/>
                <a:gd name="connsiteX19" fmla="*/ 117285 w 120405"/>
                <a:gd name="connsiteY19" fmla="*/ 37619 h 194715"/>
                <a:gd name="connsiteX20" fmla="*/ 112392 w 120405"/>
                <a:gd name="connsiteY20" fmla="*/ 25515 h 194715"/>
                <a:gd name="connsiteX21" fmla="*/ 108470 w 120405"/>
                <a:gd name="connsiteY21" fmla="*/ 13032 h 194715"/>
                <a:gd name="connsiteX22" fmla="*/ 103620 w 120405"/>
                <a:gd name="connsiteY22" fmla="*/ 422 h 194715"/>
                <a:gd name="connsiteX23" fmla="*/ 86456 w 120405"/>
                <a:gd name="connsiteY23" fmla="*/ 0 h 194715"/>
                <a:gd name="connsiteX24" fmla="*/ 69460 w 120405"/>
                <a:gd name="connsiteY24" fmla="*/ 633 h 194715"/>
                <a:gd name="connsiteX25" fmla="*/ 64230 w 120405"/>
                <a:gd name="connsiteY25" fmla="*/ 13580 h 194715"/>
                <a:gd name="connsiteX26" fmla="*/ 60941 w 120405"/>
                <a:gd name="connsiteY26" fmla="*/ 26907 h 194715"/>
                <a:gd name="connsiteX27" fmla="*/ 55079 w 120405"/>
                <a:gd name="connsiteY27" fmla="*/ 39306 h 194715"/>
                <a:gd name="connsiteX28" fmla="*/ 51663 w 120405"/>
                <a:gd name="connsiteY28" fmla="*/ 52590 h 194715"/>
                <a:gd name="connsiteX29" fmla="*/ 46391 w 120405"/>
                <a:gd name="connsiteY29" fmla="*/ 65200 h 194715"/>
                <a:gd name="connsiteX30" fmla="*/ 41457 w 120405"/>
                <a:gd name="connsiteY30" fmla="*/ 77937 h 194715"/>
                <a:gd name="connsiteX31" fmla="*/ 36607 w 120405"/>
                <a:gd name="connsiteY31" fmla="*/ 90715 h 194715"/>
                <a:gd name="connsiteX32" fmla="*/ 33275 w 120405"/>
                <a:gd name="connsiteY32" fmla="*/ 104042 h 194715"/>
                <a:gd name="connsiteX33" fmla="*/ 28045 w 120405"/>
                <a:gd name="connsiteY33" fmla="*/ 116652 h 194715"/>
                <a:gd name="connsiteX34" fmla="*/ 23195 w 120405"/>
                <a:gd name="connsiteY34" fmla="*/ 129430 h 194715"/>
                <a:gd name="connsiteX35" fmla="*/ 19315 w 120405"/>
                <a:gd name="connsiteY35" fmla="*/ 142546 h 194715"/>
                <a:gd name="connsiteX36" fmla="*/ 14676 w 120405"/>
                <a:gd name="connsiteY36" fmla="*/ 155409 h 194715"/>
                <a:gd name="connsiteX37" fmla="*/ 10290 w 120405"/>
                <a:gd name="connsiteY37" fmla="*/ 168357 h 194715"/>
                <a:gd name="connsiteX38" fmla="*/ 4133 w 120405"/>
                <a:gd name="connsiteY38" fmla="*/ 180713 h 194715"/>
                <a:gd name="connsiteX39" fmla="*/ 0 w 120405"/>
                <a:gd name="connsiteY39" fmla="*/ 194082 h 194715"/>
                <a:gd name="connsiteX40" fmla="*/ 15689 w 120405"/>
                <a:gd name="connsiteY40" fmla="*/ 193576 h 194715"/>
                <a:gd name="connsiteX41" fmla="*/ 31714 w 120405"/>
                <a:gd name="connsiteY41" fmla="*/ 194715 h 194715"/>
                <a:gd name="connsiteX42" fmla="*/ 36185 w 120405"/>
                <a:gd name="connsiteY42" fmla="*/ 181304 h 194715"/>
                <a:gd name="connsiteX43" fmla="*/ 39095 w 120405"/>
                <a:gd name="connsiteY43" fmla="*/ 168061 h 194715"/>
                <a:gd name="connsiteX44" fmla="*/ 44577 w 120405"/>
                <a:gd name="connsiteY44" fmla="*/ 155662 h 194715"/>
                <a:gd name="connsiteX45" fmla="*/ 49259 w 120405"/>
                <a:gd name="connsiteY45" fmla="*/ 143643 h 194715"/>
                <a:gd name="connsiteX46" fmla="*/ 68827 w 120405"/>
                <a:gd name="connsiteY46" fmla="*/ 142631 h 194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20405" h="194715">
                  <a:moveTo>
                    <a:pt x="68827" y="142631"/>
                  </a:moveTo>
                  <a:lnTo>
                    <a:pt x="76461" y="130949"/>
                  </a:lnTo>
                  <a:lnTo>
                    <a:pt x="81985" y="118676"/>
                  </a:lnTo>
                  <a:lnTo>
                    <a:pt x="69966" y="117538"/>
                  </a:lnTo>
                  <a:lnTo>
                    <a:pt x="56681" y="118718"/>
                  </a:lnTo>
                  <a:lnTo>
                    <a:pt x="61995" y="104632"/>
                  </a:lnTo>
                  <a:lnTo>
                    <a:pt x="67351" y="91137"/>
                  </a:lnTo>
                  <a:lnTo>
                    <a:pt x="72159" y="77473"/>
                  </a:lnTo>
                  <a:lnTo>
                    <a:pt x="76503" y="63598"/>
                  </a:lnTo>
                  <a:lnTo>
                    <a:pt x="81521" y="49933"/>
                  </a:lnTo>
                  <a:lnTo>
                    <a:pt x="85697" y="36016"/>
                  </a:lnTo>
                  <a:lnTo>
                    <a:pt x="88185" y="35594"/>
                  </a:lnTo>
                  <a:lnTo>
                    <a:pt x="91390" y="47445"/>
                  </a:lnTo>
                  <a:lnTo>
                    <a:pt x="94848" y="59085"/>
                  </a:lnTo>
                  <a:lnTo>
                    <a:pt x="98180" y="70767"/>
                  </a:lnTo>
                  <a:lnTo>
                    <a:pt x="103072" y="82618"/>
                  </a:lnTo>
                  <a:lnTo>
                    <a:pt x="109778" y="71779"/>
                  </a:lnTo>
                  <a:lnTo>
                    <a:pt x="114417" y="60435"/>
                  </a:lnTo>
                  <a:lnTo>
                    <a:pt x="120405" y="50102"/>
                  </a:lnTo>
                  <a:lnTo>
                    <a:pt x="117285" y="37619"/>
                  </a:lnTo>
                  <a:lnTo>
                    <a:pt x="112392" y="25515"/>
                  </a:lnTo>
                  <a:lnTo>
                    <a:pt x="108470" y="13032"/>
                  </a:lnTo>
                  <a:lnTo>
                    <a:pt x="103620" y="422"/>
                  </a:lnTo>
                  <a:lnTo>
                    <a:pt x="86456" y="0"/>
                  </a:lnTo>
                  <a:lnTo>
                    <a:pt x="69460" y="633"/>
                  </a:lnTo>
                  <a:lnTo>
                    <a:pt x="64230" y="13580"/>
                  </a:lnTo>
                  <a:lnTo>
                    <a:pt x="60941" y="26907"/>
                  </a:lnTo>
                  <a:lnTo>
                    <a:pt x="55079" y="39306"/>
                  </a:lnTo>
                  <a:lnTo>
                    <a:pt x="51663" y="52590"/>
                  </a:lnTo>
                  <a:lnTo>
                    <a:pt x="46391" y="65200"/>
                  </a:lnTo>
                  <a:lnTo>
                    <a:pt x="41457" y="77937"/>
                  </a:lnTo>
                  <a:lnTo>
                    <a:pt x="36607" y="90715"/>
                  </a:lnTo>
                  <a:lnTo>
                    <a:pt x="33275" y="104042"/>
                  </a:lnTo>
                  <a:lnTo>
                    <a:pt x="28045" y="116652"/>
                  </a:lnTo>
                  <a:lnTo>
                    <a:pt x="23195" y="129430"/>
                  </a:lnTo>
                  <a:lnTo>
                    <a:pt x="19315" y="142546"/>
                  </a:lnTo>
                  <a:lnTo>
                    <a:pt x="14676" y="155409"/>
                  </a:lnTo>
                  <a:lnTo>
                    <a:pt x="10290" y="168357"/>
                  </a:lnTo>
                  <a:lnTo>
                    <a:pt x="4133" y="180713"/>
                  </a:lnTo>
                  <a:lnTo>
                    <a:pt x="0" y="194082"/>
                  </a:lnTo>
                  <a:lnTo>
                    <a:pt x="15689" y="193576"/>
                  </a:lnTo>
                  <a:lnTo>
                    <a:pt x="31714" y="194715"/>
                  </a:lnTo>
                  <a:lnTo>
                    <a:pt x="36185" y="181304"/>
                  </a:lnTo>
                  <a:lnTo>
                    <a:pt x="39095" y="168061"/>
                  </a:lnTo>
                  <a:lnTo>
                    <a:pt x="44577" y="155662"/>
                  </a:lnTo>
                  <a:lnTo>
                    <a:pt x="49259" y="143643"/>
                  </a:lnTo>
                  <a:lnTo>
                    <a:pt x="68827" y="142631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" name="Freeform: Shape 86">
              <a:extLst>
                <a:ext uri="{FF2B5EF4-FFF2-40B4-BE49-F238E27FC236}">
                  <a16:creationId xmlns:a16="http://schemas.microsoft.com/office/drawing/2014/main" id="{759D87EC-8A16-A684-864D-54BF984939AF}"/>
                </a:ext>
              </a:extLst>
            </p:cNvPr>
            <p:cNvSpPr/>
            <p:nvPr/>
          </p:nvSpPr>
          <p:spPr>
            <a:xfrm>
              <a:off x="-500362" y="3798874"/>
              <a:ext cx="266114" cy="72707"/>
            </a:xfrm>
            <a:custGeom>
              <a:avLst/>
              <a:gdLst>
                <a:gd name="connsiteX0" fmla="*/ 0 w 266114"/>
                <a:gd name="connsiteY0" fmla="*/ 72707 h 72707"/>
                <a:gd name="connsiteX1" fmla="*/ 11513 w 266114"/>
                <a:gd name="connsiteY1" fmla="*/ 65833 h 72707"/>
                <a:gd name="connsiteX2" fmla="*/ 23533 w 266114"/>
                <a:gd name="connsiteY2" fmla="*/ 59844 h 72707"/>
                <a:gd name="connsiteX3" fmla="*/ 35805 w 266114"/>
                <a:gd name="connsiteY3" fmla="*/ 54362 h 72707"/>
                <a:gd name="connsiteX4" fmla="*/ 46897 w 266114"/>
                <a:gd name="connsiteY4" fmla="*/ 46686 h 72707"/>
                <a:gd name="connsiteX5" fmla="*/ 59254 w 266114"/>
                <a:gd name="connsiteY5" fmla="*/ 41372 h 72707"/>
                <a:gd name="connsiteX6" fmla="*/ 70261 w 266114"/>
                <a:gd name="connsiteY6" fmla="*/ 33612 h 72707"/>
                <a:gd name="connsiteX7" fmla="*/ 82154 w 266114"/>
                <a:gd name="connsiteY7" fmla="*/ 27413 h 72707"/>
                <a:gd name="connsiteX8" fmla="*/ 93752 w 266114"/>
                <a:gd name="connsiteY8" fmla="*/ 20665 h 72707"/>
                <a:gd name="connsiteX9" fmla="*/ 105349 w 266114"/>
                <a:gd name="connsiteY9" fmla="*/ 13917 h 72707"/>
                <a:gd name="connsiteX10" fmla="*/ 116694 w 266114"/>
                <a:gd name="connsiteY10" fmla="*/ 6706 h 72707"/>
                <a:gd name="connsiteX11" fmla="*/ 128882 w 266114"/>
                <a:gd name="connsiteY11" fmla="*/ 0 h 72707"/>
                <a:gd name="connsiteX12" fmla="*/ 141787 w 266114"/>
                <a:gd name="connsiteY12" fmla="*/ 6748 h 72707"/>
                <a:gd name="connsiteX13" fmla="*/ 153807 w 266114"/>
                <a:gd name="connsiteY13" fmla="*/ 14002 h 72707"/>
                <a:gd name="connsiteX14" fmla="*/ 166543 w 266114"/>
                <a:gd name="connsiteY14" fmla="*/ 19990 h 72707"/>
                <a:gd name="connsiteX15" fmla="*/ 178647 w 266114"/>
                <a:gd name="connsiteY15" fmla="*/ 27244 h 72707"/>
                <a:gd name="connsiteX16" fmla="*/ 190835 w 266114"/>
                <a:gd name="connsiteY16" fmla="*/ 34245 h 72707"/>
                <a:gd name="connsiteX17" fmla="*/ 203740 w 266114"/>
                <a:gd name="connsiteY17" fmla="*/ 39938 h 72707"/>
                <a:gd name="connsiteX18" fmla="*/ 215717 w 266114"/>
                <a:gd name="connsiteY18" fmla="*/ 47361 h 72707"/>
                <a:gd name="connsiteX19" fmla="*/ 228833 w 266114"/>
                <a:gd name="connsiteY19" fmla="*/ 52675 h 72707"/>
                <a:gd name="connsiteX20" fmla="*/ 240811 w 266114"/>
                <a:gd name="connsiteY20" fmla="*/ 60097 h 72707"/>
                <a:gd name="connsiteX21" fmla="*/ 253421 w 266114"/>
                <a:gd name="connsiteY21" fmla="*/ 66465 h 72707"/>
                <a:gd name="connsiteX22" fmla="*/ 266115 w 266114"/>
                <a:gd name="connsiteY22" fmla="*/ 72581 h 7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6114" h="72707">
                  <a:moveTo>
                    <a:pt x="0" y="72707"/>
                  </a:moveTo>
                  <a:lnTo>
                    <a:pt x="11513" y="65833"/>
                  </a:lnTo>
                  <a:lnTo>
                    <a:pt x="23533" y="59844"/>
                  </a:lnTo>
                  <a:lnTo>
                    <a:pt x="35805" y="54362"/>
                  </a:lnTo>
                  <a:lnTo>
                    <a:pt x="46897" y="46686"/>
                  </a:lnTo>
                  <a:lnTo>
                    <a:pt x="59254" y="41372"/>
                  </a:lnTo>
                  <a:lnTo>
                    <a:pt x="70261" y="33612"/>
                  </a:lnTo>
                  <a:lnTo>
                    <a:pt x="82154" y="27413"/>
                  </a:lnTo>
                  <a:lnTo>
                    <a:pt x="93752" y="20665"/>
                  </a:lnTo>
                  <a:lnTo>
                    <a:pt x="105349" y="13917"/>
                  </a:lnTo>
                  <a:lnTo>
                    <a:pt x="116694" y="6706"/>
                  </a:lnTo>
                  <a:lnTo>
                    <a:pt x="128882" y="0"/>
                  </a:lnTo>
                  <a:lnTo>
                    <a:pt x="141787" y="6748"/>
                  </a:lnTo>
                  <a:lnTo>
                    <a:pt x="153807" y="14002"/>
                  </a:lnTo>
                  <a:lnTo>
                    <a:pt x="166543" y="19990"/>
                  </a:lnTo>
                  <a:lnTo>
                    <a:pt x="178647" y="27244"/>
                  </a:lnTo>
                  <a:lnTo>
                    <a:pt x="190835" y="34245"/>
                  </a:lnTo>
                  <a:lnTo>
                    <a:pt x="203740" y="39938"/>
                  </a:lnTo>
                  <a:lnTo>
                    <a:pt x="215717" y="47361"/>
                  </a:lnTo>
                  <a:lnTo>
                    <a:pt x="228833" y="52675"/>
                  </a:lnTo>
                  <a:lnTo>
                    <a:pt x="240811" y="60097"/>
                  </a:lnTo>
                  <a:lnTo>
                    <a:pt x="253421" y="66465"/>
                  </a:lnTo>
                  <a:lnTo>
                    <a:pt x="266115" y="72581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" name="Freeform: Shape 87">
              <a:extLst>
                <a:ext uri="{FF2B5EF4-FFF2-40B4-BE49-F238E27FC236}">
                  <a16:creationId xmlns:a16="http://schemas.microsoft.com/office/drawing/2014/main" id="{478D0B63-8753-54C1-CF2A-857C28CD9269}"/>
                </a:ext>
              </a:extLst>
            </p:cNvPr>
            <p:cNvSpPr/>
            <p:nvPr/>
          </p:nvSpPr>
          <p:spPr>
            <a:xfrm>
              <a:off x="-479782" y="3860870"/>
              <a:ext cx="53602" cy="263246"/>
            </a:xfrm>
            <a:custGeom>
              <a:avLst/>
              <a:gdLst>
                <a:gd name="connsiteX0" fmla="*/ 380 w 53602"/>
                <a:gd name="connsiteY0" fmla="*/ 0 h 263246"/>
                <a:gd name="connsiteX1" fmla="*/ 1434 w 53602"/>
                <a:gd name="connsiteY1" fmla="*/ 13833 h 263246"/>
                <a:gd name="connsiteX2" fmla="*/ 970 w 53602"/>
                <a:gd name="connsiteY2" fmla="*/ 27624 h 263246"/>
                <a:gd name="connsiteX3" fmla="*/ 42 w 53602"/>
                <a:gd name="connsiteY3" fmla="*/ 41414 h 263246"/>
                <a:gd name="connsiteX4" fmla="*/ 1181 w 53602"/>
                <a:gd name="connsiteY4" fmla="*/ 55247 h 263246"/>
                <a:gd name="connsiteX5" fmla="*/ 506 w 53602"/>
                <a:gd name="connsiteY5" fmla="*/ 69080 h 263246"/>
                <a:gd name="connsiteX6" fmla="*/ 0 w 53602"/>
                <a:gd name="connsiteY6" fmla="*/ 82871 h 263246"/>
                <a:gd name="connsiteX7" fmla="*/ 1307 w 53602"/>
                <a:gd name="connsiteY7" fmla="*/ 96704 h 263246"/>
                <a:gd name="connsiteX8" fmla="*/ 127 w 53602"/>
                <a:gd name="connsiteY8" fmla="*/ 110495 h 263246"/>
                <a:gd name="connsiteX9" fmla="*/ 84 w 53602"/>
                <a:gd name="connsiteY9" fmla="*/ 124327 h 263246"/>
                <a:gd name="connsiteX10" fmla="*/ 380 w 53602"/>
                <a:gd name="connsiteY10" fmla="*/ 138160 h 263246"/>
                <a:gd name="connsiteX11" fmla="*/ 675 w 53602"/>
                <a:gd name="connsiteY11" fmla="*/ 151993 h 263246"/>
                <a:gd name="connsiteX12" fmla="*/ 0 w 53602"/>
                <a:gd name="connsiteY12" fmla="*/ 165826 h 263246"/>
                <a:gd name="connsiteX13" fmla="*/ 1350 w 53602"/>
                <a:gd name="connsiteY13" fmla="*/ 179659 h 263246"/>
                <a:gd name="connsiteX14" fmla="*/ 1138 w 53602"/>
                <a:gd name="connsiteY14" fmla="*/ 193492 h 263246"/>
                <a:gd name="connsiteX15" fmla="*/ 1223 w 53602"/>
                <a:gd name="connsiteY15" fmla="*/ 207325 h 263246"/>
                <a:gd name="connsiteX16" fmla="*/ 506 w 53602"/>
                <a:gd name="connsiteY16" fmla="*/ 221158 h 263246"/>
                <a:gd name="connsiteX17" fmla="*/ 1560 w 53602"/>
                <a:gd name="connsiteY17" fmla="*/ 234991 h 263246"/>
                <a:gd name="connsiteX18" fmla="*/ 886 w 53602"/>
                <a:gd name="connsiteY18" fmla="*/ 248824 h 263246"/>
                <a:gd name="connsiteX19" fmla="*/ 1138 w 53602"/>
                <a:gd name="connsiteY19" fmla="*/ 262150 h 263246"/>
                <a:gd name="connsiteX20" fmla="*/ 13833 w 53602"/>
                <a:gd name="connsiteY20" fmla="*/ 262530 h 263246"/>
                <a:gd name="connsiteX21" fmla="*/ 27075 w 53602"/>
                <a:gd name="connsiteY21" fmla="*/ 261855 h 263246"/>
                <a:gd name="connsiteX22" fmla="*/ 40360 w 53602"/>
                <a:gd name="connsiteY22" fmla="*/ 263247 h 263246"/>
                <a:gd name="connsiteX23" fmla="*/ 53603 w 53602"/>
                <a:gd name="connsiteY23" fmla="*/ 262952 h 263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602" h="263246">
                  <a:moveTo>
                    <a:pt x="380" y="0"/>
                  </a:moveTo>
                  <a:lnTo>
                    <a:pt x="1434" y="13833"/>
                  </a:lnTo>
                  <a:lnTo>
                    <a:pt x="970" y="27624"/>
                  </a:lnTo>
                  <a:lnTo>
                    <a:pt x="42" y="41414"/>
                  </a:lnTo>
                  <a:lnTo>
                    <a:pt x="1181" y="55247"/>
                  </a:lnTo>
                  <a:lnTo>
                    <a:pt x="506" y="69080"/>
                  </a:lnTo>
                  <a:lnTo>
                    <a:pt x="0" y="82871"/>
                  </a:lnTo>
                  <a:lnTo>
                    <a:pt x="1307" y="96704"/>
                  </a:lnTo>
                  <a:lnTo>
                    <a:pt x="127" y="110495"/>
                  </a:lnTo>
                  <a:lnTo>
                    <a:pt x="84" y="124327"/>
                  </a:lnTo>
                  <a:lnTo>
                    <a:pt x="380" y="138160"/>
                  </a:lnTo>
                  <a:lnTo>
                    <a:pt x="675" y="151993"/>
                  </a:lnTo>
                  <a:lnTo>
                    <a:pt x="0" y="165826"/>
                  </a:lnTo>
                  <a:lnTo>
                    <a:pt x="1350" y="179659"/>
                  </a:lnTo>
                  <a:lnTo>
                    <a:pt x="1138" y="193492"/>
                  </a:lnTo>
                  <a:lnTo>
                    <a:pt x="1223" y="207325"/>
                  </a:lnTo>
                  <a:lnTo>
                    <a:pt x="506" y="221158"/>
                  </a:lnTo>
                  <a:lnTo>
                    <a:pt x="1560" y="234991"/>
                  </a:lnTo>
                  <a:lnTo>
                    <a:pt x="886" y="248824"/>
                  </a:lnTo>
                  <a:lnTo>
                    <a:pt x="1138" y="262150"/>
                  </a:lnTo>
                  <a:lnTo>
                    <a:pt x="13833" y="262530"/>
                  </a:lnTo>
                  <a:lnTo>
                    <a:pt x="27075" y="261855"/>
                  </a:lnTo>
                  <a:lnTo>
                    <a:pt x="40360" y="263247"/>
                  </a:lnTo>
                  <a:lnTo>
                    <a:pt x="53603" y="262952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" name="Freeform: Shape 88">
              <a:extLst>
                <a:ext uri="{FF2B5EF4-FFF2-40B4-BE49-F238E27FC236}">
                  <a16:creationId xmlns:a16="http://schemas.microsoft.com/office/drawing/2014/main" id="{AC31CE28-EDA4-956E-78A4-A538C97B5C90}"/>
                </a:ext>
              </a:extLst>
            </p:cNvPr>
            <p:cNvSpPr/>
            <p:nvPr/>
          </p:nvSpPr>
          <p:spPr>
            <a:xfrm>
              <a:off x="-298224" y="3915399"/>
              <a:ext cx="72580" cy="52421"/>
            </a:xfrm>
            <a:custGeom>
              <a:avLst/>
              <a:gdLst>
                <a:gd name="connsiteX0" fmla="*/ 72496 w 72580"/>
                <a:gd name="connsiteY0" fmla="*/ 0 h 52421"/>
                <a:gd name="connsiteX1" fmla="*/ 71231 w 72580"/>
                <a:gd name="connsiteY1" fmla="*/ 13411 h 52421"/>
                <a:gd name="connsiteX2" fmla="*/ 71105 w 72580"/>
                <a:gd name="connsiteY2" fmla="*/ 26148 h 52421"/>
                <a:gd name="connsiteX3" fmla="*/ 72454 w 72580"/>
                <a:gd name="connsiteY3" fmla="*/ 38926 h 52421"/>
                <a:gd name="connsiteX4" fmla="*/ 72581 w 72580"/>
                <a:gd name="connsiteY4" fmla="*/ 52422 h 52421"/>
                <a:gd name="connsiteX5" fmla="*/ 59085 w 72580"/>
                <a:gd name="connsiteY5" fmla="*/ 51873 h 52421"/>
                <a:gd name="connsiteX6" fmla="*/ 46349 w 72580"/>
                <a:gd name="connsiteY6" fmla="*/ 51916 h 52421"/>
                <a:gd name="connsiteX7" fmla="*/ 33570 w 72580"/>
                <a:gd name="connsiteY7" fmla="*/ 51620 h 52421"/>
                <a:gd name="connsiteX8" fmla="*/ 20749 w 72580"/>
                <a:gd name="connsiteY8" fmla="*/ 51789 h 52421"/>
                <a:gd name="connsiteX9" fmla="*/ 10122 w 72580"/>
                <a:gd name="connsiteY9" fmla="*/ 38968 h 52421"/>
                <a:gd name="connsiteX10" fmla="*/ 0 w 72580"/>
                <a:gd name="connsiteY10" fmla="*/ 26190 h 52421"/>
                <a:gd name="connsiteX11" fmla="*/ 9784 w 72580"/>
                <a:gd name="connsiteY11" fmla="*/ 13116 h 52421"/>
                <a:gd name="connsiteX12" fmla="*/ 21129 w 72580"/>
                <a:gd name="connsiteY12" fmla="*/ 1307 h 52421"/>
                <a:gd name="connsiteX13" fmla="*/ 33528 w 72580"/>
                <a:gd name="connsiteY13" fmla="*/ 1012 h 52421"/>
                <a:gd name="connsiteX14" fmla="*/ 46307 w 72580"/>
                <a:gd name="connsiteY14" fmla="*/ 928 h 52421"/>
                <a:gd name="connsiteX15" fmla="*/ 59085 w 72580"/>
                <a:gd name="connsiteY15" fmla="*/ 928 h 52421"/>
                <a:gd name="connsiteX16" fmla="*/ 72496 w 72580"/>
                <a:gd name="connsiteY16" fmla="*/ 0 h 5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2580" h="52421">
                  <a:moveTo>
                    <a:pt x="72496" y="0"/>
                  </a:moveTo>
                  <a:lnTo>
                    <a:pt x="71231" y="13411"/>
                  </a:lnTo>
                  <a:lnTo>
                    <a:pt x="71105" y="26148"/>
                  </a:lnTo>
                  <a:lnTo>
                    <a:pt x="72454" y="38926"/>
                  </a:lnTo>
                  <a:lnTo>
                    <a:pt x="72581" y="52422"/>
                  </a:lnTo>
                  <a:lnTo>
                    <a:pt x="59085" y="51873"/>
                  </a:lnTo>
                  <a:lnTo>
                    <a:pt x="46349" y="51916"/>
                  </a:lnTo>
                  <a:lnTo>
                    <a:pt x="33570" y="51620"/>
                  </a:lnTo>
                  <a:lnTo>
                    <a:pt x="20749" y="51789"/>
                  </a:lnTo>
                  <a:lnTo>
                    <a:pt x="10122" y="38968"/>
                  </a:lnTo>
                  <a:lnTo>
                    <a:pt x="0" y="26190"/>
                  </a:lnTo>
                  <a:lnTo>
                    <a:pt x="9784" y="13116"/>
                  </a:lnTo>
                  <a:lnTo>
                    <a:pt x="21129" y="1307"/>
                  </a:lnTo>
                  <a:lnTo>
                    <a:pt x="33528" y="1012"/>
                  </a:lnTo>
                  <a:lnTo>
                    <a:pt x="46307" y="928"/>
                  </a:lnTo>
                  <a:lnTo>
                    <a:pt x="59085" y="928"/>
                  </a:lnTo>
                  <a:lnTo>
                    <a:pt x="72496" y="0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" name="Freeform: Shape 89">
              <a:extLst>
                <a:ext uri="{FF2B5EF4-FFF2-40B4-BE49-F238E27FC236}">
                  <a16:creationId xmlns:a16="http://schemas.microsoft.com/office/drawing/2014/main" id="{D23C433B-2E19-81A9-DAC4-0C4970E6C942}"/>
                </a:ext>
              </a:extLst>
            </p:cNvPr>
            <p:cNvSpPr/>
            <p:nvPr/>
          </p:nvSpPr>
          <p:spPr>
            <a:xfrm>
              <a:off x="-344362" y="3993885"/>
              <a:ext cx="118634" cy="52421"/>
            </a:xfrm>
            <a:custGeom>
              <a:avLst/>
              <a:gdLst>
                <a:gd name="connsiteX0" fmla="*/ 118423 w 118634"/>
                <a:gd name="connsiteY0" fmla="*/ 0 h 52421"/>
                <a:gd name="connsiteX1" fmla="*/ 117748 w 118634"/>
                <a:gd name="connsiteY1" fmla="*/ 13242 h 52421"/>
                <a:gd name="connsiteX2" fmla="*/ 118550 w 118634"/>
                <a:gd name="connsiteY2" fmla="*/ 26021 h 52421"/>
                <a:gd name="connsiteX3" fmla="*/ 118086 w 118634"/>
                <a:gd name="connsiteY3" fmla="*/ 38757 h 52421"/>
                <a:gd name="connsiteX4" fmla="*/ 118634 w 118634"/>
                <a:gd name="connsiteY4" fmla="*/ 52253 h 52421"/>
                <a:gd name="connsiteX5" fmla="*/ 104253 w 118634"/>
                <a:gd name="connsiteY5" fmla="*/ 51578 h 52421"/>
                <a:gd name="connsiteX6" fmla="*/ 90589 w 118634"/>
                <a:gd name="connsiteY6" fmla="*/ 51789 h 52421"/>
                <a:gd name="connsiteX7" fmla="*/ 76882 w 118634"/>
                <a:gd name="connsiteY7" fmla="*/ 51705 h 52421"/>
                <a:gd name="connsiteX8" fmla="*/ 63176 w 118634"/>
                <a:gd name="connsiteY8" fmla="*/ 51452 h 52421"/>
                <a:gd name="connsiteX9" fmla="*/ 49470 w 118634"/>
                <a:gd name="connsiteY9" fmla="*/ 51873 h 52421"/>
                <a:gd name="connsiteX10" fmla="*/ 35763 w 118634"/>
                <a:gd name="connsiteY10" fmla="*/ 51663 h 52421"/>
                <a:gd name="connsiteX11" fmla="*/ 21551 w 118634"/>
                <a:gd name="connsiteY11" fmla="*/ 52422 h 52421"/>
                <a:gd name="connsiteX12" fmla="*/ 10965 w 118634"/>
                <a:gd name="connsiteY12" fmla="*/ 39137 h 52421"/>
                <a:gd name="connsiteX13" fmla="*/ 0 w 118634"/>
                <a:gd name="connsiteY13" fmla="*/ 26021 h 52421"/>
                <a:gd name="connsiteX14" fmla="*/ 12104 w 118634"/>
                <a:gd name="connsiteY14" fmla="*/ 13875 h 52421"/>
                <a:gd name="connsiteX15" fmla="*/ 22394 w 118634"/>
                <a:gd name="connsiteY15" fmla="*/ 1223 h 52421"/>
                <a:gd name="connsiteX16" fmla="*/ 35721 w 118634"/>
                <a:gd name="connsiteY16" fmla="*/ 337 h 52421"/>
                <a:gd name="connsiteX17" fmla="*/ 49427 w 118634"/>
                <a:gd name="connsiteY17" fmla="*/ 970 h 52421"/>
                <a:gd name="connsiteX18" fmla="*/ 63092 w 118634"/>
                <a:gd name="connsiteY18" fmla="*/ 1476 h 52421"/>
                <a:gd name="connsiteX19" fmla="*/ 76798 w 118634"/>
                <a:gd name="connsiteY19" fmla="*/ 1012 h 52421"/>
                <a:gd name="connsiteX20" fmla="*/ 90504 w 118634"/>
                <a:gd name="connsiteY20" fmla="*/ 970 h 52421"/>
                <a:gd name="connsiteX21" fmla="*/ 104253 w 118634"/>
                <a:gd name="connsiteY21" fmla="*/ 127 h 52421"/>
                <a:gd name="connsiteX22" fmla="*/ 118423 w 118634"/>
                <a:gd name="connsiteY22" fmla="*/ 0 h 5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634" h="52421">
                  <a:moveTo>
                    <a:pt x="118423" y="0"/>
                  </a:moveTo>
                  <a:lnTo>
                    <a:pt x="117748" y="13242"/>
                  </a:lnTo>
                  <a:lnTo>
                    <a:pt x="118550" y="26021"/>
                  </a:lnTo>
                  <a:lnTo>
                    <a:pt x="118086" y="38757"/>
                  </a:lnTo>
                  <a:lnTo>
                    <a:pt x="118634" y="52253"/>
                  </a:lnTo>
                  <a:lnTo>
                    <a:pt x="104253" y="51578"/>
                  </a:lnTo>
                  <a:lnTo>
                    <a:pt x="90589" y="51789"/>
                  </a:lnTo>
                  <a:lnTo>
                    <a:pt x="76882" y="51705"/>
                  </a:lnTo>
                  <a:lnTo>
                    <a:pt x="63176" y="51452"/>
                  </a:lnTo>
                  <a:lnTo>
                    <a:pt x="49470" y="51873"/>
                  </a:lnTo>
                  <a:lnTo>
                    <a:pt x="35763" y="51663"/>
                  </a:lnTo>
                  <a:lnTo>
                    <a:pt x="21551" y="52422"/>
                  </a:lnTo>
                  <a:lnTo>
                    <a:pt x="10965" y="39137"/>
                  </a:lnTo>
                  <a:lnTo>
                    <a:pt x="0" y="26021"/>
                  </a:lnTo>
                  <a:lnTo>
                    <a:pt x="12104" y="13875"/>
                  </a:lnTo>
                  <a:lnTo>
                    <a:pt x="22394" y="1223"/>
                  </a:lnTo>
                  <a:lnTo>
                    <a:pt x="35721" y="337"/>
                  </a:lnTo>
                  <a:lnTo>
                    <a:pt x="49427" y="970"/>
                  </a:lnTo>
                  <a:lnTo>
                    <a:pt x="63092" y="1476"/>
                  </a:lnTo>
                  <a:lnTo>
                    <a:pt x="76798" y="1012"/>
                  </a:lnTo>
                  <a:lnTo>
                    <a:pt x="90504" y="970"/>
                  </a:lnTo>
                  <a:lnTo>
                    <a:pt x="104253" y="127"/>
                  </a:lnTo>
                  <a:lnTo>
                    <a:pt x="118423" y="0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" name="Freeform: Shape 90">
              <a:extLst>
                <a:ext uri="{FF2B5EF4-FFF2-40B4-BE49-F238E27FC236}">
                  <a16:creationId xmlns:a16="http://schemas.microsoft.com/office/drawing/2014/main" id="{B36230EC-E05E-47C4-6CAB-EA4E071BC3E4}"/>
                </a:ext>
              </a:extLst>
            </p:cNvPr>
            <p:cNvSpPr/>
            <p:nvPr/>
          </p:nvSpPr>
          <p:spPr>
            <a:xfrm>
              <a:off x="-398767" y="4071737"/>
              <a:ext cx="173080" cy="52927"/>
            </a:xfrm>
            <a:custGeom>
              <a:avLst/>
              <a:gdLst>
                <a:gd name="connsiteX0" fmla="*/ 172532 w 173080"/>
                <a:gd name="connsiteY0" fmla="*/ 843 h 52927"/>
                <a:gd name="connsiteX1" fmla="*/ 172743 w 173080"/>
                <a:gd name="connsiteY1" fmla="*/ 13749 h 52927"/>
                <a:gd name="connsiteX2" fmla="*/ 172068 w 173080"/>
                <a:gd name="connsiteY2" fmla="*/ 26485 h 52927"/>
                <a:gd name="connsiteX3" fmla="*/ 171646 w 173080"/>
                <a:gd name="connsiteY3" fmla="*/ 39264 h 52927"/>
                <a:gd name="connsiteX4" fmla="*/ 173080 w 173080"/>
                <a:gd name="connsiteY4" fmla="*/ 52759 h 52927"/>
                <a:gd name="connsiteX5" fmla="*/ 158657 w 173080"/>
                <a:gd name="connsiteY5" fmla="*/ 52126 h 52927"/>
                <a:gd name="connsiteX6" fmla="*/ 144993 w 173080"/>
                <a:gd name="connsiteY6" fmla="*/ 51620 h 52927"/>
                <a:gd name="connsiteX7" fmla="*/ 131286 w 173080"/>
                <a:gd name="connsiteY7" fmla="*/ 52928 h 52927"/>
                <a:gd name="connsiteX8" fmla="*/ 117538 w 173080"/>
                <a:gd name="connsiteY8" fmla="*/ 51325 h 52927"/>
                <a:gd name="connsiteX9" fmla="*/ 103831 w 173080"/>
                <a:gd name="connsiteY9" fmla="*/ 52211 h 52927"/>
                <a:gd name="connsiteX10" fmla="*/ 90167 w 173080"/>
                <a:gd name="connsiteY10" fmla="*/ 52000 h 52927"/>
                <a:gd name="connsiteX11" fmla="*/ 76418 w 173080"/>
                <a:gd name="connsiteY11" fmla="*/ 52633 h 52927"/>
                <a:gd name="connsiteX12" fmla="*/ 62712 w 173080"/>
                <a:gd name="connsiteY12" fmla="*/ 51325 h 52927"/>
                <a:gd name="connsiteX13" fmla="*/ 49006 w 173080"/>
                <a:gd name="connsiteY13" fmla="*/ 51283 h 52927"/>
                <a:gd name="connsiteX14" fmla="*/ 35257 w 173080"/>
                <a:gd name="connsiteY14" fmla="*/ 52506 h 52927"/>
                <a:gd name="connsiteX15" fmla="*/ 21846 w 173080"/>
                <a:gd name="connsiteY15" fmla="*/ 51452 h 52927"/>
                <a:gd name="connsiteX16" fmla="*/ 10839 w 173080"/>
                <a:gd name="connsiteY16" fmla="*/ 39306 h 52927"/>
                <a:gd name="connsiteX17" fmla="*/ 0 w 173080"/>
                <a:gd name="connsiteY17" fmla="*/ 26527 h 52927"/>
                <a:gd name="connsiteX18" fmla="*/ 11345 w 173080"/>
                <a:gd name="connsiteY18" fmla="*/ 14128 h 52927"/>
                <a:gd name="connsiteX19" fmla="*/ 21804 w 173080"/>
                <a:gd name="connsiteY19" fmla="*/ 1518 h 52927"/>
                <a:gd name="connsiteX20" fmla="*/ 35257 w 173080"/>
                <a:gd name="connsiteY20" fmla="*/ 717 h 52927"/>
                <a:gd name="connsiteX21" fmla="*/ 48921 w 173080"/>
                <a:gd name="connsiteY21" fmla="*/ 1898 h 52927"/>
                <a:gd name="connsiteX22" fmla="*/ 62628 w 173080"/>
                <a:gd name="connsiteY22" fmla="*/ 1518 h 52927"/>
                <a:gd name="connsiteX23" fmla="*/ 76334 w 173080"/>
                <a:gd name="connsiteY23" fmla="*/ 590 h 52927"/>
                <a:gd name="connsiteX24" fmla="*/ 90083 w 173080"/>
                <a:gd name="connsiteY24" fmla="*/ 675 h 52927"/>
                <a:gd name="connsiteX25" fmla="*/ 103747 w 173080"/>
                <a:gd name="connsiteY25" fmla="*/ 1856 h 52927"/>
                <a:gd name="connsiteX26" fmla="*/ 117453 w 173080"/>
                <a:gd name="connsiteY26" fmla="*/ 717 h 52927"/>
                <a:gd name="connsiteX27" fmla="*/ 131202 w 173080"/>
                <a:gd name="connsiteY27" fmla="*/ 2024 h 52927"/>
                <a:gd name="connsiteX28" fmla="*/ 144908 w 173080"/>
                <a:gd name="connsiteY28" fmla="*/ 759 h 52927"/>
                <a:gd name="connsiteX29" fmla="*/ 158615 w 173080"/>
                <a:gd name="connsiteY29" fmla="*/ 0 h 52927"/>
                <a:gd name="connsiteX30" fmla="*/ 172532 w 173080"/>
                <a:gd name="connsiteY30" fmla="*/ 843 h 5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3080" h="52927">
                  <a:moveTo>
                    <a:pt x="172532" y="843"/>
                  </a:moveTo>
                  <a:lnTo>
                    <a:pt x="172743" y="13749"/>
                  </a:lnTo>
                  <a:lnTo>
                    <a:pt x="172068" y="26485"/>
                  </a:lnTo>
                  <a:lnTo>
                    <a:pt x="171646" y="39264"/>
                  </a:lnTo>
                  <a:lnTo>
                    <a:pt x="173080" y="52759"/>
                  </a:lnTo>
                  <a:lnTo>
                    <a:pt x="158657" y="52126"/>
                  </a:lnTo>
                  <a:lnTo>
                    <a:pt x="144993" y="51620"/>
                  </a:lnTo>
                  <a:lnTo>
                    <a:pt x="131286" y="52928"/>
                  </a:lnTo>
                  <a:lnTo>
                    <a:pt x="117538" y="51325"/>
                  </a:lnTo>
                  <a:lnTo>
                    <a:pt x="103831" y="52211"/>
                  </a:lnTo>
                  <a:lnTo>
                    <a:pt x="90167" y="52000"/>
                  </a:lnTo>
                  <a:lnTo>
                    <a:pt x="76418" y="52633"/>
                  </a:lnTo>
                  <a:lnTo>
                    <a:pt x="62712" y="51325"/>
                  </a:lnTo>
                  <a:lnTo>
                    <a:pt x="49006" y="51283"/>
                  </a:lnTo>
                  <a:lnTo>
                    <a:pt x="35257" y="52506"/>
                  </a:lnTo>
                  <a:lnTo>
                    <a:pt x="21846" y="51452"/>
                  </a:lnTo>
                  <a:lnTo>
                    <a:pt x="10839" y="39306"/>
                  </a:lnTo>
                  <a:lnTo>
                    <a:pt x="0" y="26527"/>
                  </a:lnTo>
                  <a:lnTo>
                    <a:pt x="11345" y="14128"/>
                  </a:lnTo>
                  <a:lnTo>
                    <a:pt x="21804" y="1518"/>
                  </a:lnTo>
                  <a:lnTo>
                    <a:pt x="35257" y="717"/>
                  </a:lnTo>
                  <a:lnTo>
                    <a:pt x="48921" y="1898"/>
                  </a:lnTo>
                  <a:lnTo>
                    <a:pt x="62628" y="1518"/>
                  </a:lnTo>
                  <a:lnTo>
                    <a:pt x="76334" y="590"/>
                  </a:lnTo>
                  <a:lnTo>
                    <a:pt x="90083" y="675"/>
                  </a:lnTo>
                  <a:lnTo>
                    <a:pt x="103747" y="1856"/>
                  </a:lnTo>
                  <a:lnTo>
                    <a:pt x="117453" y="717"/>
                  </a:lnTo>
                  <a:lnTo>
                    <a:pt x="131202" y="2024"/>
                  </a:lnTo>
                  <a:lnTo>
                    <a:pt x="144908" y="759"/>
                  </a:lnTo>
                  <a:lnTo>
                    <a:pt x="158615" y="0"/>
                  </a:lnTo>
                  <a:lnTo>
                    <a:pt x="172532" y="843"/>
                  </a:lnTo>
                  <a:close/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4" name="Group 91">
            <a:extLst>
              <a:ext uri="{FF2B5EF4-FFF2-40B4-BE49-F238E27FC236}">
                <a16:creationId xmlns:a16="http://schemas.microsoft.com/office/drawing/2014/main" id="{1AC34E45-77BE-AE5C-0871-320F95F7A19C}"/>
              </a:ext>
            </a:extLst>
          </p:cNvPr>
          <p:cNvGrpSpPr/>
          <p:nvPr/>
        </p:nvGrpSpPr>
        <p:grpSpPr>
          <a:xfrm>
            <a:off x="766955" y="1837386"/>
            <a:ext cx="517559" cy="449448"/>
            <a:chOff x="-741021" y="2103591"/>
            <a:chExt cx="370665" cy="305654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25" name="Freeform: Shape 96">
              <a:extLst>
                <a:ext uri="{FF2B5EF4-FFF2-40B4-BE49-F238E27FC236}">
                  <a16:creationId xmlns:a16="http://schemas.microsoft.com/office/drawing/2014/main" id="{FE178BD2-FC2F-CD12-7EF6-8CBAE1C35430}"/>
                </a:ext>
              </a:extLst>
            </p:cNvPr>
            <p:cNvSpPr/>
            <p:nvPr/>
          </p:nvSpPr>
          <p:spPr>
            <a:xfrm>
              <a:off x="-741021" y="2103591"/>
              <a:ext cx="219358" cy="95103"/>
            </a:xfrm>
            <a:custGeom>
              <a:avLst/>
              <a:gdLst>
                <a:gd name="connsiteX0" fmla="*/ 0 w 353231"/>
                <a:gd name="connsiteY0" fmla="*/ 153144 h 153144"/>
                <a:gd name="connsiteX1" fmla="*/ 21672 w 353231"/>
                <a:gd name="connsiteY1" fmla="*/ 142344 h 153144"/>
                <a:gd name="connsiteX2" fmla="*/ 41832 w 353231"/>
                <a:gd name="connsiteY2" fmla="*/ 128736 h 153144"/>
                <a:gd name="connsiteX3" fmla="*/ 64584 w 353231"/>
                <a:gd name="connsiteY3" fmla="*/ 119808 h 153144"/>
                <a:gd name="connsiteX4" fmla="*/ 84456 w 353231"/>
                <a:gd name="connsiteY4" fmla="*/ 105768 h 153144"/>
                <a:gd name="connsiteX5" fmla="*/ 106488 w 353231"/>
                <a:gd name="connsiteY5" fmla="*/ 95544 h 153144"/>
                <a:gd name="connsiteX6" fmla="*/ 127440 w 353231"/>
                <a:gd name="connsiteY6" fmla="*/ 83376 h 153144"/>
                <a:gd name="connsiteX7" fmla="*/ 147888 w 353231"/>
                <a:gd name="connsiteY7" fmla="*/ 70344 h 153144"/>
                <a:gd name="connsiteX8" fmla="*/ 169560 w 353231"/>
                <a:gd name="connsiteY8" fmla="*/ 59472 h 153144"/>
                <a:gd name="connsiteX9" fmla="*/ 189936 w 353231"/>
                <a:gd name="connsiteY9" fmla="*/ 46440 h 153144"/>
                <a:gd name="connsiteX10" fmla="*/ 210960 w 353231"/>
                <a:gd name="connsiteY10" fmla="*/ 34344 h 153144"/>
                <a:gd name="connsiteX11" fmla="*/ 232416 w 353231"/>
                <a:gd name="connsiteY11" fmla="*/ 22968 h 153144"/>
                <a:gd name="connsiteX12" fmla="*/ 252936 w 353231"/>
                <a:gd name="connsiteY12" fmla="*/ 10080 h 153144"/>
                <a:gd name="connsiteX13" fmla="*/ 274896 w 353231"/>
                <a:gd name="connsiteY13" fmla="*/ 0 h 153144"/>
                <a:gd name="connsiteX14" fmla="*/ 293760 w 353231"/>
                <a:gd name="connsiteY14" fmla="*/ 11232 h 153144"/>
                <a:gd name="connsiteX15" fmla="*/ 313776 w 353231"/>
                <a:gd name="connsiteY15" fmla="*/ 20808 h 153144"/>
                <a:gd name="connsiteX16" fmla="*/ 333000 w 353231"/>
                <a:gd name="connsiteY16" fmla="*/ 32040 h 153144"/>
                <a:gd name="connsiteX17" fmla="*/ 353232 w 353231"/>
                <a:gd name="connsiteY17" fmla="*/ 41328 h 15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3231" h="153144">
                  <a:moveTo>
                    <a:pt x="0" y="153144"/>
                  </a:moveTo>
                  <a:lnTo>
                    <a:pt x="21672" y="142344"/>
                  </a:lnTo>
                  <a:lnTo>
                    <a:pt x="41832" y="128736"/>
                  </a:lnTo>
                  <a:lnTo>
                    <a:pt x="64584" y="119808"/>
                  </a:lnTo>
                  <a:lnTo>
                    <a:pt x="84456" y="105768"/>
                  </a:lnTo>
                  <a:lnTo>
                    <a:pt x="106488" y="95544"/>
                  </a:lnTo>
                  <a:lnTo>
                    <a:pt x="127440" y="83376"/>
                  </a:lnTo>
                  <a:lnTo>
                    <a:pt x="147888" y="70344"/>
                  </a:lnTo>
                  <a:lnTo>
                    <a:pt x="169560" y="59472"/>
                  </a:lnTo>
                  <a:lnTo>
                    <a:pt x="189936" y="46440"/>
                  </a:lnTo>
                  <a:lnTo>
                    <a:pt x="210960" y="34344"/>
                  </a:lnTo>
                  <a:lnTo>
                    <a:pt x="232416" y="22968"/>
                  </a:lnTo>
                  <a:lnTo>
                    <a:pt x="252936" y="10080"/>
                  </a:lnTo>
                  <a:lnTo>
                    <a:pt x="274896" y="0"/>
                  </a:lnTo>
                  <a:lnTo>
                    <a:pt x="293760" y="11232"/>
                  </a:lnTo>
                  <a:lnTo>
                    <a:pt x="313776" y="20808"/>
                  </a:lnTo>
                  <a:lnTo>
                    <a:pt x="333000" y="32040"/>
                  </a:lnTo>
                  <a:lnTo>
                    <a:pt x="353232" y="41328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" name="Freeform: Shape 99">
              <a:extLst>
                <a:ext uri="{FF2B5EF4-FFF2-40B4-BE49-F238E27FC236}">
                  <a16:creationId xmlns:a16="http://schemas.microsoft.com/office/drawing/2014/main" id="{D4100BBE-6FF7-35D7-8967-5A5DCAD17CD9}"/>
                </a:ext>
              </a:extLst>
            </p:cNvPr>
            <p:cNvSpPr/>
            <p:nvPr/>
          </p:nvSpPr>
          <p:spPr>
            <a:xfrm>
              <a:off x="-715133" y="2184163"/>
              <a:ext cx="298410" cy="225082"/>
            </a:xfrm>
            <a:custGeom>
              <a:avLst/>
              <a:gdLst>
                <a:gd name="connsiteX0" fmla="*/ 2880 w 480528"/>
                <a:gd name="connsiteY0" fmla="*/ 0 h 362448"/>
                <a:gd name="connsiteX1" fmla="*/ 0 w 480528"/>
                <a:gd name="connsiteY1" fmla="*/ 23976 h 362448"/>
                <a:gd name="connsiteX2" fmla="*/ 3312 w 480528"/>
                <a:gd name="connsiteY2" fmla="*/ 48024 h 362448"/>
                <a:gd name="connsiteX3" fmla="*/ 1584 w 480528"/>
                <a:gd name="connsiteY3" fmla="*/ 72072 h 362448"/>
                <a:gd name="connsiteX4" fmla="*/ 3024 w 480528"/>
                <a:gd name="connsiteY4" fmla="*/ 96120 h 362448"/>
                <a:gd name="connsiteX5" fmla="*/ 2376 w 480528"/>
                <a:gd name="connsiteY5" fmla="*/ 120168 h 362448"/>
                <a:gd name="connsiteX6" fmla="*/ 288 w 480528"/>
                <a:gd name="connsiteY6" fmla="*/ 144144 h 362448"/>
                <a:gd name="connsiteX7" fmla="*/ 1800 w 480528"/>
                <a:gd name="connsiteY7" fmla="*/ 168192 h 362448"/>
                <a:gd name="connsiteX8" fmla="*/ 2232 w 480528"/>
                <a:gd name="connsiteY8" fmla="*/ 192312 h 362448"/>
                <a:gd name="connsiteX9" fmla="*/ 3312 w 480528"/>
                <a:gd name="connsiteY9" fmla="*/ 216360 h 362448"/>
                <a:gd name="connsiteX10" fmla="*/ 3456 w 480528"/>
                <a:gd name="connsiteY10" fmla="*/ 240336 h 362448"/>
                <a:gd name="connsiteX11" fmla="*/ 1512 w 480528"/>
                <a:gd name="connsiteY11" fmla="*/ 264456 h 362448"/>
                <a:gd name="connsiteX12" fmla="*/ 2304 w 480528"/>
                <a:gd name="connsiteY12" fmla="*/ 288504 h 362448"/>
                <a:gd name="connsiteX13" fmla="*/ 2880 w 480528"/>
                <a:gd name="connsiteY13" fmla="*/ 312552 h 362448"/>
                <a:gd name="connsiteX14" fmla="*/ 2952 w 480528"/>
                <a:gd name="connsiteY14" fmla="*/ 336672 h 362448"/>
                <a:gd name="connsiteX15" fmla="*/ 2016 w 480528"/>
                <a:gd name="connsiteY15" fmla="*/ 360504 h 362448"/>
                <a:gd name="connsiteX16" fmla="*/ 25632 w 480528"/>
                <a:gd name="connsiteY16" fmla="*/ 362448 h 362448"/>
                <a:gd name="connsiteX17" fmla="*/ 49536 w 480528"/>
                <a:gd name="connsiteY17" fmla="*/ 361296 h 362448"/>
                <a:gd name="connsiteX18" fmla="*/ 73368 w 480528"/>
                <a:gd name="connsiteY18" fmla="*/ 360072 h 362448"/>
                <a:gd name="connsiteX19" fmla="*/ 97272 w 480528"/>
                <a:gd name="connsiteY19" fmla="*/ 361296 h 362448"/>
                <a:gd name="connsiteX20" fmla="*/ 121104 w 480528"/>
                <a:gd name="connsiteY20" fmla="*/ 360000 h 362448"/>
                <a:gd name="connsiteX21" fmla="*/ 145008 w 480528"/>
                <a:gd name="connsiteY21" fmla="*/ 361512 h 362448"/>
                <a:gd name="connsiteX22" fmla="*/ 168840 w 480528"/>
                <a:gd name="connsiteY22" fmla="*/ 361152 h 362448"/>
                <a:gd name="connsiteX23" fmla="*/ 192744 w 480528"/>
                <a:gd name="connsiteY23" fmla="*/ 359064 h 362448"/>
                <a:gd name="connsiteX24" fmla="*/ 216576 w 480528"/>
                <a:gd name="connsiteY24" fmla="*/ 359352 h 362448"/>
                <a:gd name="connsiteX25" fmla="*/ 240480 w 480528"/>
                <a:gd name="connsiteY25" fmla="*/ 360432 h 362448"/>
                <a:gd name="connsiteX26" fmla="*/ 264312 w 480528"/>
                <a:gd name="connsiteY26" fmla="*/ 359496 h 362448"/>
                <a:gd name="connsiteX27" fmla="*/ 288216 w 480528"/>
                <a:gd name="connsiteY27" fmla="*/ 362448 h 362448"/>
                <a:gd name="connsiteX28" fmla="*/ 312120 w 480528"/>
                <a:gd name="connsiteY28" fmla="*/ 361944 h 362448"/>
                <a:gd name="connsiteX29" fmla="*/ 336024 w 480528"/>
                <a:gd name="connsiteY29" fmla="*/ 361080 h 362448"/>
                <a:gd name="connsiteX30" fmla="*/ 359928 w 480528"/>
                <a:gd name="connsiteY30" fmla="*/ 359568 h 362448"/>
                <a:gd name="connsiteX31" fmla="*/ 383832 w 480528"/>
                <a:gd name="connsiteY31" fmla="*/ 359280 h 362448"/>
                <a:gd name="connsiteX32" fmla="*/ 407736 w 480528"/>
                <a:gd name="connsiteY32" fmla="*/ 360792 h 362448"/>
                <a:gd name="connsiteX33" fmla="*/ 431640 w 480528"/>
                <a:gd name="connsiteY33" fmla="*/ 358992 h 362448"/>
                <a:gd name="connsiteX34" fmla="*/ 455544 w 480528"/>
                <a:gd name="connsiteY34" fmla="*/ 360288 h 362448"/>
                <a:gd name="connsiteX35" fmla="*/ 478800 w 480528"/>
                <a:gd name="connsiteY35" fmla="*/ 360072 h 362448"/>
                <a:gd name="connsiteX36" fmla="*/ 480528 w 480528"/>
                <a:gd name="connsiteY36" fmla="*/ 335520 h 362448"/>
                <a:gd name="connsiteX37" fmla="*/ 479304 w 480528"/>
                <a:gd name="connsiteY37" fmla="*/ 310320 h 362448"/>
                <a:gd name="connsiteX38" fmla="*/ 478800 w 480528"/>
                <a:gd name="connsiteY38" fmla="*/ 285048 h 362448"/>
                <a:gd name="connsiteX39" fmla="*/ 479232 w 480528"/>
                <a:gd name="connsiteY39" fmla="*/ 259776 h 362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0528" h="362448">
                  <a:moveTo>
                    <a:pt x="2880" y="0"/>
                  </a:moveTo>
                  <a:lnTo>
                    <a:pt x="0" y="23976"/>
                  </a:lnTo>
                  <a:lnTo>
                    <a:pt x="3312" y="48024"/>
                  </a:lnTo>
                  <a:lnTo>
                    <a:pt x="1584" y="72072"/>
                  </a:lnTo>
                  <a:lnTo>
                    <a:pt x="3024" y="96120"/>
                  </a:lnTo>
                  <a:lnTo>
                    <a:pt x="2376" y="120168"/>
                  </a:lnTo>
                  <a:lnTo>
                    <a:pt x="288" y="144144"/>
                  </a:lnTo>
                  <a:lnTo>
                    <a:pt x="1800" y="168192"/>
                  </a:lnTo>
                  <a:lnTo>
                    <a:pt x="2232" y="192312"/>
                  </a:lnTo>
                  <a:lnTo>
                    <a:pt x="3312" y="216360"/>
                  </a:lnTo>
                  <a:lnTo>
                    <a:pt x="3456" y="240336"/>
                  </a:lnTo>
                  <a:lnTo>
                    <a:pt x="1512" y="264456"/>
                  </a:lnTo>
                  <a:lnTo>
                    <a:pt x="2304" y="288504"/>
                  </a:lnTo>
                  <a:lnTo>
                    <a:pt x="2880" y="312552"/>
                  </a:lnTo>
                  <a:lnTo>
                    <a:pt x="2952" y="336672"/>
                  </a:lnTo>
                  <a:lnTo>
                    <a:pt x="2016" y="360504"/>
                  </a:lnTo>
                  <a:lnTo>
                    <a:pt x="25632" y="362448"/>
                  </a:lnTo>
                  <a:lnTo>
                    <a:pt x="49536" y="361296"/>
                  </a:lnTo>
                  <a:lnTo>
                    <a:pt x="73368" y="360072"/>
                  </a:lnTo>
                  <a:lnTo>
                    <a:pt x="97272" y="361296"/>
                  </a:lnTo>
                  <a:lnTo>
                    <a:pt x="121104" y="360000"/>
                  </a:lnTo>
                  <a:lnTo>
                    <a:pt x="145008" y="361512"/>
                  </a:lnTo>
                  <a:lnTo>
                    <a:pt x="168840" y="361152"/>
                  </a:lnTo>
                  <a:lnTo>
                    <a:pt x="192744" y="359064"/>
                  </a:lnTo>
                  <a:lnTo>
                    <a:pt x="216576" y="359352"/>
                  </a:lnTo>
                  <a:lnTo>
                    <a:pt x="240480" y="360432"/>
                  </a:lnTo>
                  <a:lnTo>
                    <a:pt x="264312" y="359496"/>
                  </a:lnTo>
                  <a:lnTo>
                    <a:pt x="288216" y="362448"/>
                  </a:lnTo>
                  <a:lnTo>
                    <a:pt x="312120" y="361944"/>
                  </a:lnTo>
                  <a:lnTo>
                    <a:pt x="336024" y="361080"/>
                  </a:lnTo>
                  <a:lnTo>
                    <a:pt x="359928" y="359568"/>
                  </a:lnTo>
                  <a:lnTo>
                    <a:pt x="383832" y="359280"/>
                  </a:lnTo>
                  <a:lnTo>
                    <a:pt x="407736" y="360792"/>
                  </a:lnTo>
                  <a:lnTo>
                    <a:pt x="431640" y="358992"/>
                  </a:lnTo>
                  <a:lnTo>
                    <a:pt x="455544" y="360288"/>
                  </a:lnTo>
                  <a:lnTo>
                    <a:pt x="478800" y="360072"/>
                  </a:lnTo>
                  <a:lnTo>
                    <a:pt x="480528" y="335520"/>
                  </a:lnTo>
                  <a:lnTo>
                    <a:pt x="479304" y="310320"/>
                  </a:lnTo>
                  <a:lnTo>
                    <a:pt x="478800" y="285048"/>
                  </a:lnTo>
                  <a:lnTo>
                    <a:pt x="479232" y="259776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" name="Freeform: Shape 100">
              <a:extLst>
                <a:ext uri="{FF2B5EF4-FFF2-40B4-BE49-F238E27FC236}">
                  <a16:creationId xmlns:a16="http://schemas.microsoft.com/office/drawing/2014/main" id="{1F063CBA-2F56-CC65-E208-ED211820E4E7}"/>
                </a:ext>
              </a:extLst>
            </p:cNvPr>
            <p:cNvSpPr/>
            <p:nvPr/>
          </p:nvSpPr>
          <p:spPr>
            <a:xfrm>
              <a:off x="-594677" y="2161269"/>
              <a:ext cx="224321" cy="145181"/>
            </a:xfrm>
            <a:custGeom>
              <a:avLst/>
              <a:gdLst>
                <a:gd name="connsiteX0" fmla="*/ 56952 w 361223"/>
                <a:gd name="connsiteY0" fmla="*/ 233784 h 233784"/>
                <a:gd name="connsiteX1" fmla="*/ 35208 w 361223"/>
                <a:gd name="connsiteY1" fmla="*/ 227520 h 233784"/>
                <a:gd name="connsiteX2" fmla="*/ 16416 w 361223"/>
                <a:gd name="connsiteY2" fmla="*/ 215496 h 233784"/>
                <a:gd name="connsiteX3" fmla="*/ 3384 w 361223"/>
                <a:gd name="connsiteY3" fmla="*/ 197136 h 233784"/>
                <a:gd name="connsiteX4" fmla="*/ 0 w 361223"/>
                <a:gd name="connsiteY4" fmla="*/ 174960 h 233784"/>
                <a:gd name="connsiteX5" fmla="*/ 3168 w 361223"/>
                <a:gd name="connsiteY5" fmla="*/ 154656 h 233784"/>
                <a:gd name="connsiteX6" fmla="*/ 13248 w 361223"/>
                <a:gd name="connsiteY6" fmla="*/ 136440 h 233784"/>
                <a:gd name="connsiteX7" fmla="*/ 29736 w 361223"/>
                <a:gd name="connsiteY7" fmla="*/ 123624 h 233784"/>
                <a:gd name="connsiteX8" fmla="*/ 48528 w 361223"/>
                <a:gd name="connsiteY8" fmla="*/ 116280 h 233784"/>
                <a:gd name="connsiteX9" fmla="*/ 44928 w 361223"/>
                <a:gd name="connsiteY9" fmla="*/ 93240 h 233784"/>
                <a:gd name="connsiteX10" fmla="*/ 49680 w 361223"/>
                <a:gd name="connsiteY10" fmla="*/ 68760 h 233784"/>
                <a:gd name="connsiteX11" fmla="*/ 58536 w 361223"/>
                <a:gd name="connsiteY11" fmla="*/ 45576 h 233784"/>
                <a:gd name="connsiteX12" fmla="*/ 74160 w 361223"/>
                <a:gd name="connsiteY12" fmla="*/ 26280 h 233784"/>
                <a:gd name="connsiteX13" fmla="*/ 93312 w 361223"/>
                <a:gd name="connsiteY13" fmla="*/ 10440 h 233784"/>
                <a:gd name="connsiteX14" fmla="*/ 116208 w 361223"/>
                <a:gd name="connsiteY14" fmla="*/ 216 h 233784"/>
                <a:gd name="connsiteX15" fmla="*/ 141120 w 361223"/>
                <a:gd name="connsiteY15" fmla="*/ 0 h 233784"/>
                <a:gd name="connsiteX16" fmla="*/ 162792 w 361223"/>
                <a:gd name="connsiteY16" fmla="*/ 2520 h 233784"/>
                <a:gd name="connsiteX17" fmla="*/ 183312 w 361223"/>
                <a:gd name="connsiteY17" fmla="*/ 9864 h 233784"/>
                <a:gd name="connsiteX18" fmla="*/ 202824 w 361223"/>
                <a:gd name="connsiteY18" fmla="*/ 20448 h 233784"/>
                <a:gd name="connsiteX19" fmla="*/ 217872 w 361223"/>
                <a:gd name="connsiteY19" fmla="*/ 36792 h 233784"/>
                <a:gd name="connsiteX20" fmla="*/ 227952 w 361223"/>
                <a:gd name="connsiteY20" fmla="*/ 56520 h 233784"/>
                <a:gd name="connsiteX21" fmla="*/ 234000 w 361223"/>
                <a:gd name="connsiteY21" fmla="*/ 78768 h 233784"/>
                <a:gd name="connsiteX22" fmla="*/ 250344 w 361223"/>
                <a:gd name="connsiteY22" fmla="*/ 64152 h 233784"/>
                <a:gd name="connsiteX23" fmla="*/ 268560 w 361223"/>
                <a:gd name="connsiteY23" fmla="*/ 53424 h 233784"/>
                <a:gd name="connsiteX24" fmla="*/ 289728 w 361223"/>
                <a:gd name="connsiteY24" fmla="*/ 51552 h 233784"/>
                <a:gd name="connsiteX25" fmla="*/ 311472 w 361223"/>
                <a:gd name="connsiteY25" fmla="*/ 55800 h 233784"/>
                <a:gd name="connsiteX26" fmla="*/ 331056 w 361223"/>
                <a:gd name="connsiteY26" fmla="*/ 65808 h 233784"/>
                <a:gd name="connsiteX27" fmla="*/ 346536 w 361223"/>
                <a:gd name="connsiteY27" fmla="*/ 81432 h 233784"/>
                <a:gd name="connsiteX28" fmla="*/ 358992 w 361223"/>
                <a:gd name="connsiteY28" fmla="*/ 100224 h 233784"/>
                <a:gd name="connsiteX29" fmla="*/ 361224 w 361223"/>
                <a:gd name="connsiteY29" fmla="*/ 122688 h 233784"/>
                <a:gd name="connsiteX30" fmla="*/ 356760 w 361223"/>
                <a:gd name="connsiteY30" fmla="*/ 145152 h 233784"/>
                <a:gd name="connsiteX31" fmla="*/ 346032 w 361223"/>
                <a:gd name="connsiteY31" fmla="*/ 165168 h 233784"/>
                <a:gd name="connsiteX32" fmla="*/ 330192 w 361223"/>
                <a:gd name="connsiteY32" fmla="*/ 181656 h 233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61223" h="233784">
                  <a:moveTo>
                    <a:pt x="56952" y="233784"/>
                  </a:moveTo>
                  <a:lnTo>
                    <a:pt x="35208" y="227520"/>
                  </a:lnTo>
                  <a:lnTo>
                    <a:pt x="16416" y="215496"/>
                  </a:lnTo>
                  <a:lnTo>
                    <a:pt x="3384" y="197136"/>
                  </a:lnTo>
                  <a:lnTo>
                    <a:pt x="0" y="174960"/>
                  </a:lnTo>
                  <a:lnTo>
                    <a:pt x="3168" y="154656"/>
                  </a:lnTo>
                  <a:lnTo>
                    <a:pt x="13248" y="136440"/>
                  </a:lnTo>
                  <a:lnTo>
                    <a:pt x="29736" y="123624"/>
                  </a:lnTo>
                  <a:lnTo>
                    <a:pt x="48528" y="116280"/>
                  </a:lnTo>
                  <a:lnTo>
                    <a:pt x="44928" y="93240"/>
                  </a:lnTo>
                  <a:lnTo>
                    <a:pt x="49680" y="68760"/>
                  </a:lnTo>
                  <a:lnTo>
                    <a:pt x="58536" y="45576"/>
                  </a:lnTo>
                  <a:lnTo>
                    <a:pt x="74160" y="26280"/>
                  </a:lnTo>
                  <a:lnTo>
                    <a:pt x="93312" y="10440"/>
                  </a:lnTo>
                  <a:lnTo>
                    <a:pt x="116208" y="216"/>
                  </a:lnTo>
                  <a:lnTo>
                    <a:pt x="141120" y="0"/>
                  </a:lnTo>
                  <a:lnTo>
                    <a:pt x="162792" y="2520"/>
                  </a:lnTo>
                  <a:lnTo>
                    <a:pt x="183312" y="9864"/>
                  </a:lnTo>
                  <a:lnTo>
                    <a:pt x="202824" y="20448"/>
                  </a:lnTo>
                  <a:lnTo>
                    <a:pt x="217872" y="36792"/>
                  </a:lnTo>
                  <a:lnTo>
                    <a:pt x="227952" y="56520"/>
                  </a:lnTo>
                  <a:lnTo>
                    <a:pt x="234000" y="78768"/>
                  </a:lnTo>
                  <a:lnTo>
                    <a:pt x="250344" y="64152"/>
                  </a:lnTo>
                  <a:lnTo>
                    <a:pt x="268560" y="53424"/>
                  </a:lnTo>
                  <a:lnTo>
                    <a:pt x="289728" y="51552"/>
                  </a:lnTo>
                  <a:lnTo>
                    <a:pt x="311472" y="55800"/>
                  </a:lnTo>
                  <a:lnTo>
                    <a:pt x="331056" y="65808"/>
                  </a:lnTo>
                  <a:lnTo>
                    <a:pt x="346536" y="81432"/>
                  </a:lnTo>
                  <a:lnTo>
                    <a:pt x="358992" y="100224"/>
                  </a:lnTo>
                  <a:lnTo>
                    <a:pt x="361224" y="122688"/>
                  </a:lnTo>
                  <a:lnTo>
                    <a:pt x="356760" y="145152"/>
                  </a:lnTo>
                  <a:lnTo>
                    <a:pt x="346032" y="165168"/>
                  </a:lnTo>
                  <a:lnTo>
                    <a:pt x="330192" y="181656"/>
                  </a:lnTo>
                </a:path>
              </a:pathLst>
            </a:custGeom>
            <a:grpFill/>
            <a:ln w="12700" cap="rnd">
              <a:solidFill>
                <a:srgbClr val="004C4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" name="Freeform: Shape 101">
              <a:extLst>
                <a:ext uri="{FF2B5EF4-FFF2-40B4-BE49-F238E27FC236}">
                  <a16:creationId xmlns:a16="http://schemas.microsoft.com/office/drawing/2014/main" id="{6C76B890-6510-8770-8828-1A2F66F40AD3}"/>
                </a:ext>
              </a:extLst>
            </p:cNvPr>
            <p:cNvSpPr/>
            <p:nvPr/>
          </p:nvSpPr>
          <p:spPr>
            <a:xfrm>
              <a:off x="-542007" y="2267730"/>
              <a:ext cx="46500" cy="51777"/>
            </a:xfrm>
            <a:custGeom>
              <a:avLst/>
              <a:gdLst>
                <a:gd name="connsiteX0" fmla="*/ 74808 w 74879"/>
                <a:gd name="connsiteY0" fmla="*/ 28656 h 83376"/>
                <a:gd name="connsiteX1" fmla="*/ 57456 w 74879"/>
                <a:gd name="connsiteY1" fmla="*/ 27648 h 83376"/>
                <a:gd name="connsiteX2" fmla="*/ 56880 w 74879"/>
                <a:gd name="connsiteY2" fmla="*/ 21672 h 83376"/>
                <a:gd name="connsiteX3" fmla="*/ 51119 w 74879"/>
                <a:gd name="connsiteY3" fmla="*/ 18648 h 83376"/>
                <a:gd name="connsiteX4" fmla="*/ 46656 w 74879"/>
                <a:gd name="connsiteY4" fmla="*/ 14256 h 83376"/>
                <a:gd name="connsiteX5" fmla="*/ 39816 w 74879"/>
                <a:gd name="connsiteY5" fmla="*/ 15480 h 83376"/>
                <a:gd name="connsiteX6" fmla="*/ 29087 w 74879"/>
                <a:gd name="connsiteY6" fmla="*/ 17712 h 83376"/>
                <a:gd name="connsiteX7" fmla="*/ 20160 w 74879"/>
                <a:gd name="connsiteY7" fmla="*/ 25776 h 83376"/>
                <a:gd name="connsiteX8" fmla="*/ 19152 w 74879"/>
                <a:gd name="connsiteY8" fmla="*/ 40752 h 83376"/>
                <a:gd name="connsiteX9" fmla="*/ 21168 w 74879"/>
                <a:gd name="connsiteY9" fmla="*/ 55584 h 83376"/>
                <a:gd name="connsiteX10" fmla="*/ 28800 w 74879"/>
                <a:gd name="connsiteY10" fmla="*/ 64512 h 83376"/>
                <a:gd name="connsiteX11" fmla="*/ 39744 w 74879"/>
                <a:gd name="connsiteY11" fmla="*/ 69120 h 83376"/>
                <a:gd name="connsiteX12" fmla="*/ 45935 w 74879"/>
                <a:gd name="connsiteY12" fmla="*/ 65664 h 83376"/>
                <a:gd name="connsiteX13" fmla="*/ 52200 w 74879"/>
                <a:gd name="connsiteY13" fmla="*/ 64728 h 83376"/>
                <a:gd name="connsiteX14" fmla="*/ 55440 w 74879"/>
                <a:gd name="connsiteY14" fmla="*/ 59544 h 83376"/>
                <a:gd name="connsiteX15" fmla="*/ 57384 w 74879"/>
                <a:gd name="connsiteY15" fmla="*/ 53496 h 83376"/>
                <a:gd name="connsiteX16" fmla="*/ 74664 w 74879"/>
                <a:gd name="connsiteY16" fmla="*/ 54576 h 83376"/>
                <a:gd name="connsiteX17" fmla="*/ 71352 w 74879"/>
                <a:gd name="connsiteY17" fmla="*/ 64440 h 83376"/>
                <a:gd name="connsiteX18" fmla="*/ 63792 w 74879"/>
                <a:gd name="connsiteY18" fmla="*/ 73152 h 83376"/>
                <a:gd name="connsiteX19" fmla="*/ 53424 w 74879"/>
                <a:gd name="connsiteY19" fmla="*/ 79776 h 83376"/>
                <a:gd name="connsiteX20" fmla="*/ 39528 w 74879"/>
                <a:gd name="connsiteY20" fmla="*/ 83376 h 83376"/>
                <a:gd name="connsiteX21" fmla="*/ 19800 w 74879"/>
                <a:gd name="connsiteY21" fmla="*/ 77976 h 83376"/>
                <a:gd name="connsiteX22" fmla="*/ 5832 w 74879"/>
                <a:gd name="connsiteY22" fmla="*/ 63648 h 83376"/>
                <a:gd name="connsiteX23" fmla="*/ 0 w 74879"/>
                <a:gd name="connsiteY23" fmla="*/ 40680 h 83376"/>
                <a:gd name="connsiteX24" fmla="*/ 6768 w 74879"/>
                <a:gd name="connsiteY24" fmla="*/ 18144 h 83376"/>
                <a:gd name="connsiteX25" fmla="*/ 19800 w 74879"/>
                <a:gd name="connsiteY25" fmla="*/ 3096 h 83376"/>
                <a:gd name="connsiteX26" fmla="*/ 39528 w 74879"/>
                <a:gd name="connsiteY26" fmla="*/ 288 h 83376"/>
                <a:gd name="connsiteX27" fmla="*/ 52919 w 74879"/>
                <a:gd name="connsiteY27" fmla="*/ 0 h 83376"/>
                <a:gd name="connsiteX28" fmla="*/ 63000 w 74879"/>
                <a:gd name="connsiteY28" fmla="*/ 7128 h 83376"/>
                <a:gd name="connsiteX29" fmla="*/ 70271 w 74879"/>
                <a:gd name="connsiteY29" fmla="*/ 16344 h 83376"/>
                <a:gd name="connsiteX30" fmla="*/ 74880 w 74879"/>
                <a:gd name="connsiteY30" fmla="*/ 28656 h 83376"/>
                <a:gd name="connsiteX31" fmla="*/ 74808 w 74879"/>
                <a:gd name="connsiteY31" fmla="*/ 28656 h 83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4879" h="83376">
                  <a:moveTo>
                    <a:pt x="74808" y="28656"/>
                  </a:moveTo>
                  <a:lnTo>
                    <a:pt x="57456" y="27648"/>
                  </a:lnTo>
                  <a:lnTo>
                    <a:pt x="56880" y="21672"/>
                  </a:lnTo>
                  <a:lnTo>
                    <a:pt x="51119" y="18648"/>
                  </a:lnTo>
                  <a:lnTo>
                    <a:pt x="46656" y="14256"/>
                  </a:lnTo>
                  <a:lnTo>
                    <a:pt x="39816" y="15480"/>
                  </a:lnTo>
                  <a:lnTo>
                    <a:pt x="29087" y="17712"/>
                  </a:lnTo>
                  <a:lnTo>
                    <a:pt x="20160" y="25776"/>
                  </a:lnTo>
                  <a:lnTo>
                    <a:pt x="19152" y="40752"/>
                  </a:lnTo>
                  <a:lnTo>
                    <a:pt x="21168" y="55584"/>
                  </a:lnTo>
                  <a:lnTo>
                    <a:pt x="28800" y="64512"/>
                  </a:lnTo>
                  <a:lnTo>
                    <a:pt x="39744" y="69120"/>
                  </a:lnTo>
                  <a:lnTo>
                    <a:pt x="45935" y="65664"/>
                  </a:lnTo>
                  <a:lnTo>
                    <a:pt x="52200" y="64728"/>
                  </a:lnTo>
                  <a:lnTo>
                    <a:pt x="55440" y="59544"/>
                  </a:lnTo>
                  <a:lnTo>
                    <a:pt x="57384" y="53496"/>
                  </a:lnTo>
                  <a:lnTo>
                    <a:pt x="74664" y="54576"/>
                  </a:lnTo>
                  <a:lnTo>
                    <a:pt x="71352" y="64440"/>
                  </a:lnTo>
                  <a:lnTo>
                    <a:pt x="63792" y="73152"/>
                  </a:lnTo>
                  <a:lnTo>
                    <a:pt x="53424" y="79776"/>
                  </a:lnTo>
                  <a:lnTo>
                    <a:pt x="39528" y="83376"/>
                  </a:lnTo>
                  <a:lnTo>
                    <a:pt x="19800" y="77976"/>
                  </a:lnTo>
                  <a:lnTo>
                    <a:pt x="5832" y="63648"/>
                  </a:lnTo>
                  <a:lnTo>
                    <a:pt x="0" y="40680"/>
                  </a:lnTo>
                  <a:lnTo>
                    <a:pt x="6768" y="18144"/>
                  </a:lnTo>
                  <a:lnTo>
                    <a:pt x="19800" y="3096"/>
                  </a:lnTo>
                  <a:lnTo>
                    <a:pt x="39528" y="288"/>
                  </a:lnTo>
                  <a:lnTo>
                    <a:pt x="52919" y="0"/>
                  </a:lnTo>
                  <a:lnTo>
                    <a:pt x="63000" y="7128"/>
                  </a:lnTo>
                  <a:lnTo>
                    <a:pt x="70271" y="16344"/>
                  </a:lnTo>
                  <a:lnTo>
                    <a:pt x="74880" y="28656"/>
                  </a:lnTo>
                  <a:lnTo>
                    <a:pt x="74808" y="28656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" name="Freeform: Shape 105">
              <a:extLst>
                <a:ext uri="{FF2B5EF4-FFF2-40B4-BE49-F238E27FC236}">
                  <a16:creationId xmlns:a16="http://schemas.microsoft.com/office/drawing/2014/main" id="{F1384B22-671B-FC28-56C0-3C084E71BE0D}"/>
                </a:ext>
              </a:extLst>
            </p:cNvPr>
            <p:cNvSpPr/>
            <p:nvPr/>
          </p:nvSpPr>
          <p:spPr>
            <a:xfrm>
              <a:off x="-488665" y="2278908"/>
              <a:ext cx="37155" cy="41180"/>
            </a:xfrm>
            <a:custGeom>
              <a:avLst/>
              <a:gdLst>
                <a:gd name="connsiteX0" fmla="*/ 31537 w 59831"/>
                <a:gd name="connsiteY0" fmla="*/ 66240 h 66311"/>
                <a:gd name="connsiteX1" fmla="*/ 16344 w 59831"/>
                <a:gd name="connsiteY1" fmla="*/ 59184 h 66311"/>
                <a:gd name="connsiteX2" fmla="*/ 3744 w 59831"/>
                <a:gd name="connsiteY2" fmla="*/ 50256 h 66311"/>
                <a:gd name="connsiteX3" fmla="*/ 0 w 59831"/>
                <a:gd name="connsiteY3" fmla="*/ 33048 h 66311"/>
                <a:gd name="connsiteX4" fmla="*/ 4248 w 59831"/>
                <a:gd name="connsiteY4" fmla="*/ 16056 h 66311"/>
                <a:gd name="connsiteX5" fmla="*/ 15264 w 59831"/>
                <a:gd name="connsiteY5" fmla="*/ 4968 h 66311"/>
                <a:gd name="connsiteX6" fmla="*/ 31537 w 59831"/>
                <a:gd name="connsiteY6" fmla="*/ 0 h 66311"/>
                <a:gd name="connsiteX7" fmla="*/ 47232 w 59831"/>
                <a:gd name="connsiteY7" fmla="*/ 5904 h 66311"/>
                <a:gd name="connsiteX8" fmla="*/ 58968 w 59831"/>
                <a:gd name="connsiteY8" fmla="*/ 15984 h 66311"/>
                <a:gd name="connsiteX9" fmla="*/ 59832 w 59831"/>
                <a:gd name="connsiteY9" fmla="*/ 33120 h 66311"/>
                <a:gd name="connsiteX10" fmla="*/ 58896 w 59831"/>
                <a:gd name="connsiteY10" fmla="*/ 50112 h 66311"/>
                <a:gd name="connsiteX11" fmla="*/ 46584 w 59831"/>
                <a:gd name="connsiteY11" fmla="*/ 59112 h 66311"/>
                <a:gd name="connsiteX12" fmla="*/ 31464 w 59831"/>
                <a:gd name="connsiteY12" fmla="*/ 66312 h 66311"/>
                <a:gd name="connsiteX13" fmla="*/ 31537 w 59831"/>
                <a:gd name="connsiteY13" fmla="*/ 66240 h 66311"/>
                <a:gd name="connsiteX14" fmla="*/ 31608 w 59831"/>
                <a:gd name="connsiteY14" fmla="*/ 49752 h 66311"/>
                <a:gd name="connsiteX15" fmla="*/ 39744 w 59831"/>
                <a:gd name="connsiteY15" fmla="*/ 50328 h 66311"/>
                <a:gd name="connsiteX16" fmla="*/ 41473 w 59831"/>
                <a:gd name="connsiteY16" fmla="*/ 41976 h 66311"/>
                <a:gd name="connsiteX17" fmla="*/ 42912 w 59831"/>
                <a:gd name="connsiteY17" fmla="*/ 32976 h 66311"/>
                <a:gd name="connsiteX18" fmla="*/ 41976 w 59831"/>
                <a:gd name="connsiteY18" fmla="*/ 23832 h 66311"/>
                <a:gd name="connsiteX19" fmla="*/ 38305 w 59831"/>
                <a:gd name="connsiteY19" fmla="*/ 17352 h 66311"/>
                <a:gd name="connsiteX20" fmla="*/ 31680 w 59831"/>
                <a:gd name="connsiteY20" fmla="*/ 15984 h 66311"/>
                <a:gd name="connsiteX21" fmla="*/ 24192 w 59831"/>
                <a:gd name="connsiteY21" fmla="*/ 16488 h 66311"/>
                <a:gd name="connsiteX22" fmla="*/ 21312 w 59831"/>
                <a:gd name="connsiteY22" fmla="*/ 23904 h 66311"/>
                <a:gd name="connsiteX23" fmla="*/ 17064 w 59831"/>
                <a:gd name="connsiteY23" fmla="*/ 33048 h 66311"/>
                <a:gd name="connsiteX24" fmla="*/ 21240 w 59831"/>
                <a:gd name="connsiteY24" fmla="*/ 42192 h 66311"/>
                <a:gd name="connsiteX25" fmla="*/ 23400 w 59831"/>
                <a:gd name="connsiteY25" fmla="*/ 50544 h 66311"/>
                <a:gd name="connsiteX26" fmla="*/ 31680 w 59831"/>
                <a:gd name="connsiteY26" fmla="*/ 49896 h 66311"/>
                <a:gd name="connsiteX27" fmla="*/ 31608 w 59831"/>
                <a:gd name="connsiteY27" fmla="*/ 49752 h 66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9831" h="66311">
                  <a:moveTo>
                    <a:pt x="31537" y="66240"/>
                  </a:moveTo>
                  <a:lnTo>
                    <a:pt x="16344" y="59184"/>
                  </a:lnTo>
                  <a:lnTo>
                    <a:pt x="3744" y="50256"/>
                  </a:lnTo>
                  <a:lnTo>
                    <a:pt x="0" y="33048"/>
                  </a:lnTo>
                  <a:lnTo>
                    <a:pt x="4248" y="16056"/>
                  </a:lnTo>
                  <a:lnTo>
                    <a:pt x="15264" y="4968"/>
                  </a:lnTo>
                  <a:lnTo>
                    <a:pt x="31537" y="0"/>
                  </a:lnTo>
                  <a:lnTo>
                    <a:pt x="47232" y="5904"/>
                  </a:lnTo>
                  <a:lnTo>
                    <a:pt x="58968" y="15984"/>
                  </a:lnTo>
                  <a:lnTo>
                    <a:pt x="59832" y="33120"/>
                  </a:lnTo>
                  <a:lnTo>
                    <a:pt x="58896" y="50112"/>
                  </a:lnTo>
                  <a:lnTo>
                    <a:pt x="46584" y="59112"/>
                  </a:lnTo>
                  <a:lnTo>
                    <a:pt x="31464" y="66312"/>
                  </a:lnTo>
                  <a:lnTo>
                    <a:pt x="31537" y="66240"/>
                  </a:lnTo>
                  <a:close/>
                  <a:moveTo>
                    <a:pt x="31608" y="49752"/>
                  </a:moveTo>
                  <a:lnTo>
                    <a:pt x="39744" y="50328"/>
                  </a:lnTo>
                  <a:lnTo>
                    <a:pt x="41473" y="41976"/>
                  </a:lnTo>
                  <a:lnTo>
                    <a:pt x="42912" y="32976"/>
                  </a:lnTo>
                  <a:lnTo>
                    <a:pt x="41976" y="23832"/>
                  </a:lnTo>
                  <a:lnTo>
                    <a:pt x="38305" y="17352"/>
                  </a:lnTo>
                  <a:lnTo>
                    <a:pt x="31680" y="15984"/>
                  </a:lnTo>
                  <a:lnTo>
                    <a:pt x="24192" y="16488"/>
                  </a:lnTo>
                  <a:lnTo>
                    <a:pt x="21312" y="23904"/>
                  </a:lnTo>
                  <a:lnTo>
                    <a:pt x="17064" y="33048"/>
                  </a:lnTo>
                  <a:lnTo>
                    <a:pt x="21240" y="42192"/>
                  </a:lnTo>
                  <a:lnTo>
                    <a:pt x="23400" y="50544"/>
                  </a:lnTo>
                  <a:lnTo>
                    <a:pt x="31680" y="49896"/>
                  </a:lnTo>
                  <a:lnTo>
                    <a:pt x="31608" y="49752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" name="Freeform: Shape 106">
              <a:extLst>
                <a:ext uri="{FF2B5EF4-FFF2-40B4-BE49-F238E27FC236}">
                  <a16:creationId xmlns:a16="http://schemas.microsoft.com/office/drawing/2014/main" id="{B7D7567A-C98C-9F8B-C941-72387BBB9D2A}"/>
                </a:ext>
              </a:extLst>
            </p:cNvPr>
            <p:cNvSpPr/>
            <p:nvPr/>
          </p:nvSpPr>
          <p:spPr>
            <a:xfrm>
              <a:off x="-442254" y="2266523"/>
              <a:ext cx="36888" cy="52850"/>
            </a:xfrm>
            <a:custGeom>
              <a:avLst/>
              <a:gdLst>
                <a:gd name="connsiteX0" fmla="*/ 1224 w 59400"/>
                <a:gd name="connsiteY0" fmla="*/ 82296 h 85104"/>
                <a:gd name="connsiteX1" fmla="*/ 648 w 59400"/>
                <a:gd name="connsiteY1" fmla="*/ 70848 h 85104"/>
                <a:gd name="connsiteX2" fmla="*/ 15624 w 59400"/>
                <a:gd name="connsiteY2" fmla="*/ 57888 h 85104"/>
                <a:gd name="connsiteX3" fmla="*/ 29808 w 59400"/>
                <a:gd name="connsiteY3" fmla="*/ 44136 h 85104"/>
                <a:gd name="connsiteX4" fmla="*/ 36720 w 59400"/>
                <a:gd name="connsiteY4" fmla="*/ 38304 h 85104"/>
                <a:gd name="connsiteX5" fmla="*/ 39168 w 59400"/>
                <a:gd name="connsiteY5" fmla="*/ 31752 h 85104"/>
                <a:gd name="connsiteX6" fmla="*/ 42768 w 59400"/>
                <a:gd name="connsiteY6" fmla="*/ 26064 h 85104"/>
                <a:gd name="connsiteX7" fmla="*/ 39744 w 59400"/>
                <a:gd name="connsiteY7" fmla="*/ 19728 h 85104"/>
                <a:gd name="connsiteX8" fmla="*/ 34920 w 59400"/>
                <a:gd name="connsiteY8" fmla="*/ 16200 h 85104"/>
                <a:gd name="connsiteX9" fmla="*/ 28656 w 59400"/>
                <a:gd name="connsiteY9" fmla="*/ 13392 h 85104"/>
                <a:gd name="connsiteX10" fmla="*/ 21672 w 59400"/>
                <a:gd name="connsiteY10" fmla="*/ 15192 h 85104"/>
                <a:gd name="connsiteX11" fmla="*/ 16920 w 59400"/>
                <a:gd name="connsiteY11" fmla="*/ 19944 h 85104"/>
                <a:gd name="connsiteX12" fmla="*/ 16200 w 59400"/>
                <a:gd name="connsiteY12" fmla="*/ 26352 h 85104"/>
                <a:gd name="connsiteX13" fmla="*/ 0 w 59400"/>
                <a:gd name="connsiteY13" fmla="*/ 27144 h 85104"/>
                <a:gd name="connsiteX14" fmla="*/ 4680 w 59400"/>
                <a:gd name="connsiteY14" fmla="*/ 13896 h 85104"/>
                <a:gd name="connsiteX15" fmla="*/ 13824 w 59400"/>
                <a:gd name="connsiteY15" fmla="*/ 4320 h 85104"/>
                <a:gd name="connsiteX16" fmla="*/ 28728 w 59400"/>
                <a:gd name="connsiteY16" fmla="*/ 0 h 85104"/>
                <a:gd name="connsiteX17" fmla="*/ 43632 w 59400"/>
                <a:gd name="connsiteY17" fmla="*/ 4680 h 85104"/>
                <a:gd name="connsiteX18" fmla="*/ 54792 w 59400"/>
                <a:gd name="connsiteY18" fmla="*/ 12024 h 85104"/>
                <a:gd name="connsiteX19" fmla="*/ 58032 w 59400"/>
                <a:gd name="connsiteY19" fmla="*/ 24984 h 85104"/>
                <a:gd name="connsiteX20" fmla="*/ 57240 w 59400"/>
                <a:gd name="connsiteY20" fmla="*/ 34632 h 85104"/>
                <a:gd name="connsiteX21" fmla="*/ 49536 w 59400"/>
                <a:gd name="connsiteY21" fmla="*/ 44136 h 85104"/>
                <a:gd name="connsiteX22" fmla="*/ 37296 w 59400"/>
                <a:gd name="connsiteY22" fmla="*/ 58032 h 85104"/>
                <a:gd name="connsiteX23" fmla="*/ 25488 w 59400"/>
                <a:gd name="connsiteY23" fmla="*/ 69696 h 85104"/>
                <a:gd name="connsiteX24" fmla="*/ 24624 w 59400"/>
                <a:gd name="connsiteY24" fmla="*/ 68832 h 85104"/>
                <a:gd name="connsiteX25" fmla="*/ 59400 w 59400"/>
                <a:gd name="connsiteY25" fmla="*/ 68040 h 85104"/>
                <a:gd name="connsiteX26" fmla="*/ 58176 w 59400"/>
                <a:gd name="connsiteY26" fmla="*/ 82152 h 85104"/>
                <a:gd name="connsiteX27" fmla="*/ 29736 w 59400"/>
                <a:gd name="connsiteY27" fmla="*/ 85104 h 85104"/>
                <a:gd name="connsiteX28" fmla="*/ 1152 w 59400"/>
                <a:gd name="connsiteY28" fmla="*/ 82440 h 85104"/>
                <a:gd name="connsiteX29" fmla="*/ 1224 w 59400"/>
                <a:gd name="connsiteY29" fmla="*/ 82296 h 85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9400" h="85104">
                  <a:moveTo>
                    <a:pt x="1224" y="82296"/>
                  </a:moveTo>
                  <a:lnTo>
                    <a:pt x="648" y="70848"/>
                  </a:lnTo>
                  <a:lnTo>
                    <a:pt x="15624" y="57888"/>
                  </a:lnTo>
                  <a:lnTo>
                    <a:pt x="29808" y="44136"/>
                  </a:lnTo>
                  <a:lnTo>
                    <a:pt x="36720" y="38304"/>
                  </a:lnTo>
                  <a:lnTo>
                    <a:pt x="39168" y="31752"/>
                  </a:lnTo>
                  <a:lnTo>
                    <a:pt x="42768" y="26064"/>
                  </a:lnTo>
                  <a:lnTo>
                    <a:pt x="39744" y="19728"/>
                  </a:lnTo>
                  <a:lnTo>
                    <a:pt x="34920" y="16200"/>
                  </a:lnTo>
                  <a:lnTo>
                    <a:pt x="28656" y="13392"/>
                  </a:lnTo>
                  <a:lnTo>
                    <a:pt x="21672" y="15192"/>
                  </a:lnTo>
                  <a:lnTo>
                    <a:pt x="16920" y="19944"/>
                  </a:lnTo>
                  <a:lnTo>
                    <a:pt x="16200" y="26352"/>
                  </a:lnTo>
                  <a:lnTo>
                    <a:pt x="0" y="27144"/>
                  </a:lnTo>
                  <a:lnTo>
                    <a:pt x="4680" y="13896"/>
                  </a:lnTo>
                  <a:lnTo>
                    <a:pt x="13824" y="4320"/>
                  </a:lnTo>
                  <a:lnTo>
                    <a:pt x="28728" y="0"/>
                  </a:lnTo>
                  <a:lnTo>
                    <a:pt x="43632" y="4680"/>
                  </a:lnTo>
                  <a:lnTo>
                    <a:pt x="54792" y="12024"/>
                  </a:lnTo>
                  <a:lnTo>
                    <a:pt x="58032" y="24984"/>
                  </a:lnTo>
                  <a:lnTo>
                    <a:pt x="57240" y="34632"/>
                  </a:lnTo>
                  <a:lnTo>
                    <a:pt x="49536" y="44136"/>
                  </a:lnTo>
                  <a:lnTo>
                    <a:pt x="37296" y="58032"/>
                  </a:lnTo>
                  <a:lnTo>
                    <a:pt x="25488" y="69696"/>
                  </a:lnTo>
                  <a:lnTo>
                    <a:pt x="24624" y="68832"/>
                  </a:lnTo>
                  <a:lnTo>
                    <a:pt x="59400" y="68040"/>
                  </a:lnTo>
                  <a:lnTo>
                    <a:pt x="58176" y="82152"/>
                  </a:lnTo>
                  <a:lnTo>
                    <a:pt x="29736" y="85104"/>
                  </a:lnTo>
                  <a:lnTo>
                    <a:pt x="1152" y="82440"/>
                  </a:lnTo>
                  <a:lnTo>
                    <a:pt x="1224" y="82296"/>
                  </a:lnTo>
                  <a:close/>
                </a:path>
              </a:pathLst>
            </a:custGeom>
            <a:grpFill/>
            <a:ln w="12700" cap="flat">
              <a:solidFill>
                <a:srgbClr val="004C4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31" name="Graphic 109">
            <a:extLst>
              <a:ext uri="{FF2B5EF4-FFF2-40B4-BE49-F238E27FC236}">
                <a16:creationId xmlns:a16="http://schemas.microsoft.com/office/drawing/2014/main" id="{A8A9D229-3B12-231F-FF5B-CEE2854067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6954" y="3924871"/>
            <a:ext cx="452817" cy="452817"/>
          </a:xfrm>
          <a:prstGeom prst="rect">
            <a:avLst/>
          </a:prstGeom>
        </p:spPr>
      </p:pic>
      <p:pic>
        <p:nvPicPr>
          <p:cNvPr id="32" name="Graphic 110">
            <a:extLst>
              <a:ext uri="{FF2B5EF4-FFF2-40B4-BE49-F238E27FC236}">
                <a16:creationId xmlns:a16="http://schemas.microsoft.com/office/drawing/2014/main" id="{2EE7ADA0-F84A-0419-4515-123A1D4232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57571" y="3974366"/>
            <a:ext cx="389550" cy="38955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17E2E28A-5AE5-596F-FD97-29F04A4ED4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04505" y="3942335"/>
            <a:ext cx="452817" cy="452817"/>
          </a:xfrm>
          <a:prstGeom prst="rect">
            <a:avLst/>
          </a:prstGeom>
        </p:spPr>
      </p:pic>
      <p:pic>
        <p:nvPicPr>
          <p:cNvPr id="34" name="Billede 33">
            <a:extLst>
              <a:ext uri="{FF2B5EF4-FFF2-40B4-BE49-F238E27FC236}">
                <a16:creationId xmlns:a16="http://schemas.microsoft.com/office/drawing/2014/main" id="{9170D757-15A3-57CD-F482-F95C6924089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8864" y="2370607"/>
            <a:ext cx="2073467" cy="1211574"/>
          </a:xfrm>
          <a:prstGeom prst="rect">
            <a:avLst/>
          </a:prstGeom>
        </p:spPr>
      </p:pic>
      <p:pic>
        <p:nvPicPr>
          <p:cNvPr id="35" name="Billede 34">
            <a:extLst>
              <a:ext uri="{FF2B5EF4-FFF2-40B4-BE49-F238E27FC236}">
                <a16:creationId xmlns:a16="http://schemas.microsoft.com/office/drawing/2014/main" id="{5C83CEB1-5340-C85F-7E72-2CC871803C70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b="4819"/>
          <a:stretch>
            <a:fillRect/>
          </a:stretch>
        </p:blipFill>
        <p:spPr>
          <a:xfrm>
            <a:off x="2956716" y="2379165"/>
            <a:ext cx="2063404" cy="1203015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06BBB01D-E46E-A263-72B4-1262690292AE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t="-1" b="2060"/>
          <a:stretch>
            <a:fillRect/>
          </a:stretch>
        </p:blipFill>
        <p:spPr>
          <a:xfrm>
            <a:off x="5304505" y="2367036"/>
            <a:ext cx="2063404" cy="1211574"/>
          </a:xfrm>
          <a:prstGeom prst="rect">
            <a:avLst/>
          </a:prstGeom>
        </p:spPr>
      </p:pic>
      <p:pic>
        <p:nvPicPr>
          <p:cNvPr id="37" name="Billede 36">
            <a:extLst>
              <a:ext uri="{FF2B5EF4-FFF2-40B4-BE49-F238E27FC236}">
                <a16:creationId xmlns:a16="http://schemas.microsoft.com/office/drawing/2014/main" id="{52010592-F42D-152A-E9E3-6F923EE7FC10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t="6168"/>
          <a:stretch>
            <a:fillRect/>
          </a:stretch>
        </p:blipFill>
        <p:spPr>
          <a:xfrm>
            <a:off x="603895" y="4478277"/>
            <a:ext cx="2063404" cy="1226660"/>
          </a:xfrm>
          <a:prstGeom prst="rect">
            <a:avLst/>
          </a:prstGeom>
        </p:spPr>
      </p:pic>
      <p:pic>
        <p:nvPicPr>
          <p:cNvPr id="38" name="Billede 37">
            <a:extLst>
              <a:ext uri="{FF2B5EF4-FFF2-40B4-BE49-F238E27FC236}">
                <a16:creationId xmlns:a16="http://schemas.microsoft.com/office/drawing/2014/main" id="{193CAC09-3086-CBD4-79C1-F8E0B9EDCBA6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b="10285"/>
          <a:stretch>
            <a:fillRect/>
          </a:stretch>
        </p:blipFill>
        <p:spPr>
          <a:xfrm>
            <a:off x="2953031" y="4478277"/>
            <a:ext cx="2081672" cy="1226660"/>
          </a:xfrm>
          <a:prstGeom prst="rect">
            <a:avLst/>
          </a:prstGeom>
        </p:spPr>
      </p:pic>
      <p:pic>
        <p:nvPicPr>
          <p:cNvPr id="39" name="Billede 38">
            <a:extLst>
              <a:ext uri="{FF2B5EF4-FFF2-40B4-BE49-F238E27FC236}">
                <a16:creationId xmlns:a16="http://schemas.microsoft.com/office/drawing/2014/main" id="{13A3DBF7-0373-4681-9042-4685703D2950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r="5380"/>
          <a:stretch>
            <a:fillRect/>
          </a:stretch>
        </p:blipFill>
        <p:spPr>
          <a:xfrm>
            <a:off x="5318833" y="4478277"/>
            <a:ext cx="2081672" cy="1226660"/>
          </a:xfrm>
          <a:prstGeom prst="rect">
            <a:avLst/>
          </a:prstGeom>
        </p:spPr>
      </p:pic>
      <p:sp>
        <p:nvSpPr>
          <p:cNvPr id="40" name="Rectangle: Rounded Corners 3">
            <a:extLst>
              <a:ext uri="{FF2B5EF4-FFF2-40B4-BE49-F238E27FC236}">
                <a16:creationId xmlns:a16="http://schemas.microsoft.com/office/drawing/2014/main" id="{5D1D16C0-7693-FDA4-43EF-7E6DBA28D97E}"/>
              </a:ext>
            </a:extLst>
          </p:cNvPr>
          <p:cNvSpPr/>
          <p:nvPr/>
        </p:nvSpPr>
        <p:spPr>
          <a:xfrm>
            <a:off x="7703556" y="2379165"/>
            <a:ext cx="3998588" cy="3325772"/>
          </a:xfrm>
          <a:custGeom>
            <a:avLst/>
            <a:gdLst>
              <a:gd name="csX0" fmla="*/ 0 w 3998588"/>
              <a:gd name="csY0" fmla="*/ 221696 h 3325772"/>
              <a:gd name="csX1" fmla="*/ 221696 w 3998588"/>
              <a:gd name="csY1" fmla="*/ 0 h 3325772"/>
              <a:gd name="csX2" fmla="*/ 778677 w 3998588"/>
              <a:gd name="csY2" fmla="*/ 0 h 3325772"/>
              <a:gd name="csX3" fmla="*/ 1264553 w 3998588"/>
              <a:gd name="csY3" fmla="*/ 0 h 3325772"/>
              <a:gd name="csX4" fmla="*/ 1892638 w 3998588"/>
              <a:gd name="csY4" fmla="*/ 0 h 3325772"/>
              <a:gd name="csX5" fmla="*/ 2414067 w 3998588"/>
              <a:gd name="csY5" fmla="*/ 0 h 3325772"/>
              <a:gd name="csX6" fmla="*/ 2899944 w 3998588"/>
              <a:gd name="csY6" fmla="*/ 0 h 3325772"/>
              <a:gd name="csX7" fmla="*/ 3776892 w 3998588"/>
              <a:gd name="csY7" fmla="*/ 0 h 3325772"/>
              <a:gd name="csX8" fmla="*/ 3998588 w 3998588"/>
              <a:gd name="csY8" fmla="*/ 221696 h 3325772"/>
              <a:gd name="csX9" fmla="*/ 3998588 w 3998588"/>
              <a:gd name="csY9" fmla="*/ 826996 h 3325772"/>
              <a:gd name="csX10" fmla="*/ 3998588 w 3998588"/>
              <a:gd name="csY10" fmla="*/ 1345824 h 3325772"/>
              <a:gd name="csX11" fmla="*/ 3998588 w 3998588"/>
              <a:gd name="csY11" fmla="*/ 1893476 h 3325772"/>
              <a:gd name="csX12" fmla="*/ 3998588 w 3998588"/>
              <a:gd name="csY12" fmla="*/ 2469952 h 3325772"/>
              <a:gd name="csX13" fmla="*/ 3998588 w 3998588"/>
              <a:gd name="csY13" fmla="*/ 3104076 h 3325772"/>
              <a:gd name="csX14" fmla="*/ 3776892 w 3998588"/>
              <a:gd name="csY14" fmla="*/ 3325772 h 3325772"/>
              <a:gd name="csX15" fmla="*/ 3184359 w 3998588"/>
              <a:gd name="csY15" fmla="*/ 3325772 h 3325772"/>
              <a:gd name="csX16" fmla="*/ 2556275 w 3998588"/>
              <a:gd name="csY16" fmla="*/ 3325772 h 3325772"/>
              <a:gd name="csX17" fmla="*/ 1999294 w 3998588"/>
              <a:gd name="csY17" fmla="*/ 3325772 h 3325772"/>
              <a:gd name="csX18" fmla="*/ 1371209 w 3998588"/>
              <a:gd name="csY18" fmla="*/ 3325772 h 3325772"/>
              <a:gd name="csX19" fmla="*/ 849781 w 3998588"/>
              <a:gd name="csY19" fmla="*/ 3325772 h 3325772"/>
              <a:gd name="csX20" fmla="*/ 221696 w 3998588"/>
              <a:gd name="csY20" fmla="*/ 3325772 h 3325772"/>
              <a:gd name="csX21" fmla="*/ 0 w 3998588"/>
              <a:gd name="csY21" fmla="*/ 3104076 h 3325772"/>
              <a:gd name="csX22" fmla="*/ 0 w 3998588"/>
              <a:gd name="csY22" fmla="*/ 2498776 h 3325772"/>
              <a:gd name="csX23" fmla="*/ 0 w 3998588"/>
              <a:gd name="csY23" fmla="*/ 1864653 h 3325772"/>
              <a:gd name="csX24" fmla="*/ 0 w 3998588"/>
              <a:gd name="csY24" fmla="*/ 1317000 h 3325772"/>
              <a:gd name="csX25" fmla="*/ 0 w 3998588"/>
              <a:gd name="csY25" fmla="*/ 798172 h 3325772"/>
              <a:gd name="csX26" fmla="*/ 0 w 3998588"/>
              <a:gd name="csY26" fmla="*/ 221696 h 33257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</a:cxnLst>
            <a:rect l="l" t="t" r="r" b="b"/>
            <a:pathLst>
              <a:path w="3998588" h="3325772" fill="none" extrusionOk="0">
                <a:moveTo>
                  <a:pt x="0" y="221696"/>
                </a:moveTo>
                <a:cubicBezTo>
                  <a:pt x="-1017" y="78164"/>
                  <a:pt x="112811" y="8539"/>
                  <a:pt x="221696" y="0"/>
                </a:cubicBezTo>
                <a:cubicBezTo>
                  <a:pt x="412621" y="25188"/>
                  <a:pt x="514760" y="26598"/>
                  <a:pt x="778677" y="0"/>
                </a:cubicBezTo>
                <a:cubicBezTo>
                  <a:pt x="1042594" y="-26598"/>
                  <a:pt x="1082368" y="6694"/>
                  <a:pt x="1264553" y="0"/>
                </a:cubicBezTo>
                <a:cubicBezTo>
                  <a:pt x="1446738" y="-6694"/>
                  <a:pt x="1700737" y="-17970"/>
                  <a:pt x="1892638" y="0"/>
                </a:cubicBezTo>
                <a:cubicBezTo>
                  <a:pt x="2084539" y="17970"/>
                  <a:pt x="2202305" y="17880"/>
                  <a:pt x="2414067" y="0"/>
                </a:cubicBezTo>
                <a:cubicBezTo>
                  <a:pt x="2625829" y="-17880"/>
                  <a:pt x="2677015" y="10316"/>
                  <a:pt x="2899944" y="0"/>
                </a:cubicBezTo>
                <a:cubicBezTo>
                  <a:pt x="3122873" y="-10316"/>
                  <a:pt x="3486341" y="-15486"/>
                  <a:pt x="3776892" y="0"/>
                </a:cubicBezTo>
                <a:cubicBezTo>
                  <a:pt x="3894128" y="19470"/>
                  <a:pt x="4010444" y="102658"/>
                  <a:pt x="3998588" y="221696"/>
                </a:cubicBezTo>
                <a:cubicBezTo>
                  <a:pt x="3978403" y="370973"/>
                  <a:pt x="4024877" y="607250"/>
                  <a:pt x="3998588" y="826996"/>
                </a:cubicBezTo>
                <a:cubicBezTo>
                  <a:pt x="3972299" y="1046742"/>
                  <a:pt x="4004791" y="1169714"/>
                  <a:pt x="3998588" y="1345824"/>
                </a:cubicBezTo>
                <a:cubicBezTo>
                  <a:pt x="3992385" y="1521934"/>
                  <a:pt x="3976715" y="1765032"/>
                  <a:pt x="3998588" y="1893476"/>
                </a:cubicBezTo>
                <a:cubicBezTo>
                  <a:pt x="4020461" y="2021920"/>
                  <a:pt x="3999508" y="2325979"/>
                  <a:pt x="3998588" y="2469952"/>
                </a:cubicBezTo>
                <a:cubicBezTo>
                  <a:pt x="3997668" y="2613925"/>
                  <a:pt x="4019535" y="2911098"/>
                  <a:pt x="3998588" y="3104076"/>
                </a:cubicBezTo>
                <a:cubicBezTo>
                  <a:pt x="4002865" y="3237508"/>
                  <a:pt x="3925122" y="3337770"/>
                  <a:pt x="3776892" y="3325772"/>
                </a:cubicBezTo>
                <a:cubicBezTo>
                  <a:pt x="3622316" y="3336170"/>
                  <a:pt x="3323116" y="3312513"/>
                  <a:pt x="3184359" y="3325772"/>
                </a:cubicBezTo>
                <a:cubicBezTo>
                  <a:pt x="3045602" y="3339031"/>
                  <a:pt x="2785127" y="3298158"/>
                  <a:pt x="2556275" y="3325772"/>
                </a:cubicBezTo>
                <a:cubicBezTo>
                  <a:pt x="2327423" y="3353386"/>
                  <a:pt x="2200497" y="3301619"/>
                  <a:pt x="1999294" y="3325772"/>
                </a:cubicBezTo>
                <a:cubicBezTo>
                  <a:pt x="1798091" y="3349925"/>
                  <a:pt x="1552044" y="3309732"/>
                  <a:pt x="1371209" y="3325772"/>
                </a:cubicBezTo>
                <a:cubicBezTo>
                  <a:pt x="1190374" y="3341812"/>
                  <a:pt x="1027612" y="3344675"/>
                  <a:pt x="849781" y="3325772"/>
                </a:cubicBezTo>
                <a:cubicBezTo>
                  <a:pt x="671950" y="3306869"/>
                  <a:pt x="410232" y="3297353"/>
                  <a:pt x="221696" y="3325772"/>
                </a:cubicBezTo>
                <a:cubicBezTo>
                  <a:pt x="122317" y="3333683"/>
                  <a:pt x="-12896" y="3200924"/>
                  <a:pt x="0" y="3104076"/>
                </a:cubicBezTo>
                <a:cubicBezTo>
                  <a:pt x="-10632" y="2963914"/>
                  <a:pt x="-28035" y="2764725"/>
                  <a:pt x="0" y="2498776"/>
                </a:cubicBezTo>
                <a:cubicBezTo>
                  <a:pt x="28035" y="2232827"/>
                  <a:pt x="22260" y="2046762"/>
                  <a:pt x="0" y="1864653"/>
                </a:cubicBezTo>
                <a:cubicBezTo>
                  <a:pt x="-22260" y="1682544"/>
                  <a:pt x="22210" y="1583670"/>
                  <a:pt x="0" y="1317000"/>
                </a:cubicBezTo>
                <a:cubicBezTo>
                  <a:pt x="-22210" y="1050330"/>
                  <a:pt x="988" y="1054692"/>
                  <a:pt x="0" y="798172"/>
                </a:cubicBezTo>
                <a:cubicBezTo>
                  <a:pt x="-988" y="541652"/>
                  <a:pt x="233" y="346021"/>
                  <a:pt x="0" y="221696"/>
                </a:cubicBezTo>
                <a:close/>
              </a:path>
              <a:path w="3998588" h="3325772" stroke="0" extrusionOk="0">
                <a:moveTo>
                  <a:pt x="0" y="221696"/>
                </a:moveTo>
                <a:cubicBezTo>
                  <a:pt x="-24751" y="83990"/>
                  <a:pt x="91347" y="2969"/>
                  <a:pt x="221696" y="0"/>
                </a:cubicBezTo>
                <a:cubicBezTo>
                  <a:pt x="392768" y="-23617"/>
                  <a:pt x="670272" y="-4281"/>
                  <a:pt x="885333" y="0"/>
                </a:cubicBezTo>
                <a:cubicBezTo>
                  <a:pt x="1100394" y="4281"/>
                  <a:pt x="1255129" y="24833"/>
                  <a:pt x="1442313" y="0"/>
                </a:cubicBezTo>
                <a:cubicBezTo>
                  <a:pt x="1629497" y="-24833"/>
                  <a:pt x="1755621" y="19204"/>
                  <a:pt x="1963742" y="0"/>
                </a:cubicBezTo>
                <a:cubicBezTo>
                  <a:pt x="2171863" y="-19204"/>
                  <a:pt x="2464482" y="15461"/>
                  <a:pt x="2591827" y="0"/>
                </a:cubicBezTo>
                <a:cubicBezTo>
                  <a:pt x="2719173" y="-15461"/>
                  <a:pt x="2921108" y="-4496"/>
                  <a:pt x="3148807" y="0"/>
                </a:cubicBezTo>
                <a:cubicBezTo>
                  <a:pt x="3376506" y="4496"/>
                  <a:pt x="3637609" y="-29672"/>
                  <a:pt x="3776892" y="0"/>
                </a:cubicBezTo>
                <a:cubicBezTo>
                  <a:pt x="3896766" y="-24465"/>
                  <a:pt x="3987699" y="114390"/>
                  <a:pt x="3998588" y="221696"/>
                </a:cubicBezTo>
                <a:cubicBezTo>
                  <a:pt x="4021829" y="398014"/>
                  <a:pt x="3985164" y="491491"/>
                  <a:pt x="3998588" y="740524"/>
                </a:cubicBezTo>
                <a:cubicBezTo>
                  <a:pt x="4012012" y="989557"/>
                  <a:pt x="4018529" y="1143845"/>
                  <a:pt x="3998588" y="1317000"/>
                </a:cubicBezTo>
                <a:cubicBezTo>
                  <a:pt x="3978647" y="1490155"/>
                  <a:pt x="4004139" y="1662348"/>
                  <a:pt x="3998588" y="1893476"/>
                </a:cubicBezTo>
                <a:cubicBezTo>
                  <a:pt x="3993037" y="2124604"/>
                  <a:pt x="3999362" y="2327555"/>
                  <a:pt x="3998588" y="2441129"/>
                </a:cubicBezTo>
                <a:cubicBezTo>
                  <a:pt x="3997814" y="2554703"/>
                  <a:pt x="4014263" y="2772619"/>
                  <a:pt x="3998588" y="3104076"/>
                </a:cubicBezTo>
                <a:cubicBezTo>
                  <a:pt x="4008988" y="3213604"/>
                  <a:pt x="3876503" y="3316947"/>
                  <a:pt x="3776892" y="3325772"/>
                </a:cubicBezTo>
                <a:cubicBezTo>
                  <a:pt x="3619078" y="3311976"/>
                  <a:pt x="3373143" y="3316271"/>
                  <a:pt x="3184359" y="3325772"/>
                </a:cubicBezTo>
                <a:cubicBezTo>
                  <a:pt x="2995575" y="3335273"/>
                  <a:pt x="2713558" y="3309377"/>
                  <a:pt x="2520723" y="3325772"/>
                </a:cubicBezTo>
                <a:cubicBezTo>
                  <a:pt x="2327888" y="3342167"/>
                  <a:pt x="2107393" y="3322628"/>
                  <a:pt x="1928190" y="3325772"/>
                </a:cubicBezTo>
                <a:cubicBezTo>
                  <a:pt x="1748987" y="3328916"/>
                  <a:pt x="1646904" y="3303475"/>
                  <a:pt x="1442313" y="3325772"/>
                </a:cubicBezTo>
                <a:cubicBezTo>
                  <a:pt x="1237722" y="3348069"/>
                  <a:pt x="1179999" y="3330852"/>
                  <a:pt x="920885" y="3325772"/>
                </a:cubicBezTo>
                <a:cubicBezTo>
                  <a:pt x="661771" y="3320692"/>
                  <a:pt x="486744" y="3320169"/>
                  <a:pt x="221696" y="3325772"/>
                </a:cubicBezTo>
                <a:cubicBezTo>
                  <a:pt x="128605" y="3319562"/>
                  <a:pt x="357" y="3229907"/>
                  <a:pt x="0" y="3104076"/>
                </a:cubicBezTo>
                <a:cubicBezTo>
                  <a:pt x="18092" y="2970277"/>
                  <a:pt x="-6085" y="2843662"/>
                  <a:pt x="0" y="2585248"/>
                </a:cubicBezTo>
                <a:cubicBezTo>
                  <a:pt x="6085" y="2326834"/>
                  <a:pt x="6497" y="2211944"/>
                  <a:pt x="0" y="2095243"/>
                </a:cubicBezTo>
                <a:cubicBezTo>
                  <a:pt x="-6497" y="1978543"/>
                  <a:pt x="-15053" y="1707082"/>
                  <a:pt x="0" y="1605238"/>
                </a:cubicBezTo>
                <a:cubicBezTo>
                  <a:pt x="15053" y="1503395"/>
                  <a:pt x="-23913" y="1226485"/>
                  <a:pt x="0" y="1028762"/>
                </a:cubicBezTo>
                <a:cubicBezTo>
                  <a:pt x="23913" y="831039"/>
                  <a:pt x="-26671" y="457394"/>
                  <a:pt x="0" y="221696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  <a:alpha val="78000"/>
            </a:schemeClr>
          </a:solidFill>
          <a:ln>
            <a:solidFill>
              <a:schemeClr val="accent1">
                <a:lumMod val="90000"/>
                <a:lumOff val="1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666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da-DK" sz="1600" b="1" i="0" dirty="0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ksempler på tiltag </a:t>
            </a:r>
            <a:endParaRPr lang="da-DK" sz="1600" b="1" dirty="0">
              <a:solidFill>
                <a:srgbClr val="1A1A1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spcBef>
                <a:spcPts val="600"/>
              </a:spcBef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mlægge fra fossile brændsler til vedvarende energi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r på energien vejledninger til beboerne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ennemsyn af varmekældrene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irenoveringer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R løsninger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sinkelser af regnvand og lettere nedsivning, dræn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eplantning af hjemmehørende arter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kabe levesteder og gode vilkår for små økosystemer</a:t>
            </a:r>
          </a:p>
          <a:p>
            <a:pPr marL="171450" indent="-171450"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</a:pPr>
            <a:r>
              <a:rPr lang="da-DK" sz="14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nvandsbede</a:t>
            </a:r>
          </a:p>
        </p:txBody>
      </p:sp>
      <p:pic>
        <p:nvPicPr>
          <p:cNvPr id="43" name="Billede 42" descr="Et billede, der indeholder tekst, Font/skrifttype, logo, design&#10;&#10;Indhold genereret af kunstig intelligens kan være forkert.">
            <a:extLst>
              <a:ext uri="{FF2B5EF4-FFF2-40B4-BE49-F238E27FC236}">
                <a16:creationId xmlns:a16="http://schemas.microsoft.com/office/drawing/2014/main" id="{8FB5C2FD-5EB3-BAA3-F6AE-2680772456A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7927" y="71162"/>
            <a:ext cx="789745" cy="789745"/>
          </a:xfrm>
          <a:prstGeom prst="rect">
            <a:avLst/>
          </a:prstGeom>
        </p:spPr>
      </p:pic>
      <p:pic>
        <p:nvPicPr>
          <p:cNvPr id="44" name="Billede 43" descr="Et billede, der indeholder tekst, Font/skrifttype, design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ABF018DC-F858-228E-3CA9-985DF60CE38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800" y="71163"/>
            <a:ext cx="789745" cy="789745"/>
          </a:xfrm>
          <a:prstGeom prst="rect">
            <a:avLst/>
          </a:prstGeom>
        </p:spPr>
      </p:pic>
      <p:pic>
        <p:nvPicPr>
          <p:cNvPr id="45" name="Billede 44">
            <a:extLst>
              <a:ext uri="{FF2B5EF4-FFF2-40B4-BE49-F238E27FC236}">
                <a16:creationId xmlns:a16="http://schemas.microsoft.com/office/drawing/2014/main" id="{843D9702-198A-C22C-C6B4-A330D707CFD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612510" y="70119"/>
            <a:ext cx="789745" cy="789745"/>
          </a:xfrm>
          <a:prstGeom prst="rect">
            <a:avLst/>
          </a:prstGeom>
        </p:spPr>
      </p:pic>
      <p:pic>
        <p:nvPicPr>
          <p:cNvPr id="46" name="Billede 45">
            <a:extLst>
              <a:ext uri="{FF2B5EF4-FFF2-40B4-BE49-F238E27FC236}">
                <a16:creationId xmlns:a16="http://schemas.microsoft.com/office/drawing/2014/main" id="{629F9FC3-8001-0C41-3E62-89CB4C7B77B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1402255" y="78680"/>
            <a:ext cx="789745" cy="789745"/>
          </a:xfrm>
          <a:prstGeom prst="rect">
            <a:avLst/>
          </a:prstGeom>
        </p:spPr>
      </p:pic>
      <p:pic>
        <p:nvPicPr>
          <p:cNvPr id="47" name="Billede 46" descr="Et billede, der indeholder tekst, Font/skrifttype, logo, Grafik&#10;&#10;Indhold genereret af kunstig intelligens kan være forkert.">
            <a:extLst>
              <a:ext uri="{FF2B5EF4-FFF2-40B4-BE49-F238E27FC236}">
                <a16:creationId xmlns:a16="http://schemas.microsoft.com/office/drawing/2014/main" id="{4004C2F7-43F7-B213-D0EC-C3317C423AC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285" y="70119"/>
            <a:ext cx="789745" cy="789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05775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15ACAC-175B-523A-E39A-C5C6A5E0E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3E12EF9-4865-F106-889E-D765AB1C77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2765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E12EF9-4865-F106-889E-D765AB1C77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Rounded Corners 2">
            <a:extLst>
              <a:ext uri="{FF2B5EF4-FFF2-40B4-BE49-F238E27FC236}">
                <a16:creationId xmlns:a16="http://schemas.microsoft.com/office/drawing/2014/main" id="{F73BCF6A-D117-7CF5-0BBD-5C9EAE3843A3}"/>
              </a:ext>
            </a:extLst>
          </p:cNvPr>
          <p:cNvSpPr/>
          <p:nvPr/>
        </p:nvSpPr>
        <p:spPr>
          <a:xfrm>
            <a:off x="7465102" y="92334"/>
            <a:ext cx="4726897" cy="6765666"/>
          </a:xfrm>
          <a:prstGeom prst="roundRect">
            <a:avLst>
              <a:gd name="adj" fmla="val 0"/>
            </a:avLst>
          </a:prstGeom>
          <a:solidFill>
            <a:schemeClr val="accent3">
              <a:alpha val="22932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216000" rIns="39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målet med prioriteringsworkshoppe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 at skabe fælles forståelse for </a:t>
            </a:r>
            <a:r>
              <a:rPr kumimoji="0" lang="da-DK" sz="1400" b="0" u="none" strike="noStrike" kern="1200" cap="none" spc="0" normalizeH="0" baseline="0" noProof="0" dirty="0" err="1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menKompas</a:t>
            </a: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kumimoji="0" lang="da-DK" sz="1400" b="0" u="none" strike="noStrike" kern="1200" cap="none" spc="0" normalizeH="0" baseline="0" noProof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ålepunkterne </a:t>
            </a: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g deres relevans. Samt at understøtte et databaseret arbejde med bæredygtighed og give administrationen indblik i bestyrelsens prioriteringer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550ACA-658D-E643-4258-A61374117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>
                <a:latin typeface="DM Sans 14pt" pitchFamily="2" charset="77"/>
              </a:rPr>
              <a:t>Dagsord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E61D27D-8B5A-C907-8308-797093D645E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BED5D03-3AAF-F9F3-131C-5F3206008F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8" name="Graphic 55">
            <a:extLst>
              <a:ext uri="{FF2B5EF4-FFF2-40B4-BE49-F238E27FC236}">
                <a16:creationId xmlns:a16="http://schemas.microsoft.com/office/drawing/2014/main" id="{121C7A5C-D3BB-FC48-74EB-4CC1670BFF4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9606" t="53973" b="15223"/>
          <a:stretch>
            <a:fillRect/>
          </a:stretch>
        </p:blipFill>
        <p:spPr>
          <a:xfrm>
            <a:off x="7465102" y="4668670"/>
            <a:ext cx="4267384" cy="2204320"/>
          </a:xfrm>
          <a:prstGeom prst="rect">
            <a:avLst/>
          </a:prstGeom>
        </p:spPr>
      </p:pic>
      <p:pic>
        <p:nvPicPr>
          <p:cNvPr id="9" name="Graphic 3" descr="Target with solid fill">
            <a:extLst>
              <a:ext uri="{FF2B5EF4-FFF2-40B4-BE49-F238E27FC236}">
                <a16:creationId xmlns:a16="http://schemas.microsoft.com/office/drawing/2014/main" id="{B251BF67-D65B-E7AC-98C7-FD60E1370B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35950" y="210852"/>
            <a:ext cx="2381822" cy="2381822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3673B1DD-4BE1-9AC7-AE89-F64342202DF6}"/>
              </a:ext>
            </a:extLst>
          </p:cNvPr>
          <p:cNvSpPr txBox="1"/>
          <p:nvPr/>
        </p:nvSpPr>
        <p:spPr>
          <a:xfrm>
            <a:off x="360001" y="2451549"/>
            <a:ext cx="6732624" cy="2310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6.00 – 16.25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Introduktion og opstart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6.25 – 16.55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Gruppearbejde – Placering af målepunkter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6.55 – 17.1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Plenum – Samlet overblik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7.10 – 17.3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Udvælgelse af prioriterede målepunkter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7.30 – 17.5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Plenum – Enighed om prioritering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9.10 – 19.3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Opsamling og næste skridt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FF838D77-AF94-6FBB-8DC8-1A6CCFE42906}"/>
              </a:ext>
            </a:extLst>
          </p:cNvPr>
          <p:cNvSpPr txBox="1"/>
          <p:nvPr/>
        </p:nvSpPr>
        <p:spPr>
          <a:xfrm rot="455371">
            <a:off x="4296018" y="2055216"/>
            <a:ext cx="2646720" cy="510778"/>
          </a:xfrm>
          <a:custGeom>
            <a:avLst/>
            <a:gdLst>
              <a:gd name="csX0" fmla="*/ 0 w 2646720"/>
              <a:gd name="csY0" fmla="*/ 85131 h 510778"/>
              <a:gd name="csX1" fmla="*/ 85131 w 2646720"/>
              <a:gd name="csY1" fmla="*/ 0 h 510778"/>
              <a:gd name="csX2" fmla="*/ 629952 w 2646720"/>
              <a:gd name="csY2" fmla="*/ 0 h 510778"/>
              <a:gd name="csX3" fmla="*/ 1174773 w 2646720"/>
              <a:gd name="csY3" fmla="*/ 0 h 510778"/>
              <a:gd name="csX4" fmla="*/ 1793887 w 2646720"/>
              <a:gd name="csY4" fmla="*/ 0 h 510778"/>
              <a:gd name="csX5" fmla="*/ 2561589 w 2646720"/>
              <a:gd name="csY5" fmla="*/ 0 h 510778"/>
              <a:gd name="csX6" fmla="*/ 2646720 w 2646720"/>
              <a:gd name="csY6" fmla="*/ 85131 h 510778"/>
              <a:gd name="csX7" fmla="*/ 2646720 w 2646720"/>
              <a:gd name="csY7" fmla="*/ 425647 h 510778"/>
              <a:gd name="csX8" fmla="*/ 2561589 w 2646720"/>
              <a:gd name="csY8" fmla="*/ 510778 h 510778"/>
              <a:gd name="csX9" fmla="*/ 2016768 w 2646720"/>
              <a:gd name="csY9" fmla="*/ 510778 h 510778"/>
              <a:gd name="csX10" fmla="*/ 1422418 w 2646720"/>
              <a:gd name="csY10" fmla="*/ 510778 h 510778"/>
              <a:gd name="csX11" fmla="*/ 852833 w 2646720"/>
              <a:gd name="csY11" fmla="*/ 510778 h 510778"/>
              <a:gd name="csX12" fmla="*/ 85131 w 2646720"/>
              <a:gd name="csY12" fmla="*/ 510778 h 510778"/>
              <a:gd name="csX13" fmla="*/ 0 w 2646720"/>
              <a:gd name="csY13" fmla="*/ 425647 h 510778"/>
              <a:gd name="csX14" fmla="*/ 0 w 2646720"/>
              <a:gd name="csY14" fmla="*/ 85131 h 5107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646720" h="510778" fill="none" extrusionOk="0">
                <a:moveTo>
                  <a:pt x="0" y="85131"/>
                </a:moveTo>
                <a:cubicBezTo>
                  <a:pt x="7851" y="35820"/>
                  <a:pt x="41741" y="4830"/>
                  <a:pt x="85131" y="0"/>
                </a:cubicBezTo>
                <a:cubicBezTo>
                  <a:pt x="199718" y="-26422"/>
                  <a:pt x="461560" y="16176"/>
                  <a:pt x="629952" y="0"/>
                </a:cubicBezTo>
                <a:cubicBezTo>
                  <a:pt x="798344" y="-16176"/>
                  <a:pt x="965931" y="-16244"/>
                  <a:pt x="1174773" y="0"/>
                </a:cubicBezTo>
                <a:cubicBezTo>
                  <a:pt x="1383615" y="16244"/>
                  <a:pt x="1565717" y="-1913"/>
                  <a:pt x="1793887" y="0"/>
                </a:cubicBezTo>
                <a:cubicBezTo>
                  <a:pt x="2022057" y="1913"/>
                  <a:pt x="2352265" y="-2278"/>
                  <a:pt x="2561589" y="0"/>
                </a:cubicBezTo>
                <a:cubicBezTo>
                  <a:pt x="2612839" y="2651"/>
                  <a:pt x="2646026" y="39804"/>
                  <a:pt x="2646720" y="85131"/>
                </a:cubicBezTo>
                <a:cubicBezTo>
                  <a:pt x="2642746" y="157754"/>
                  <a:pt x="2656361" y="272253"/>
                  <a:pt x="2646720" y="425647"/>
                </a:cubicBezTo>
                <a:cubicBezTo>
                  <a:pt x="2653582" y="470375"/>
                  <a:pt x="2602881" y="501532"/>
                  <a:pt x="2561589" y="510778"/>
                </a:cubicBezTo>
                <a:cubicBezTo>
                  <a:pt x="2378137" y="522652"/>
                  <a:pt x="2266450" y="488731"/>
                  <a:pt x="2016768" y="510778"/>
                </a:cubicBezTo>
                <a:cubicBezTo>
                  <a:pt x="1767086" y="532825"/>
                  <a:pt x="1623294" y="500618"/>
                  <a:pt x="1422418" y="510778"/>
                </a:cubicBezTo>
                <a:cubicBezTo>
                  <a:pt x="1221542" y="520939"/>
                  <a:pt x="1023571" y="506871"/>
                  <a:pt x="852833" y="510778"/>
                </a:cubicBezTo>
                <a:cubicBezTo>
                  <a:pt x="682095" y="514685"/>
                  <a:pt x="343731" y="535259"/>
                  <a:pt x="85131" y="510778"/>
                </a:cubicBezTo>
                <a:cubicBezTo>
                  <a:pt x="37012" y="509777"/>
                  <a:pt x="1156" y="471833"/>
                  <a:pt x="0" y="425647"/>
                </a:cubicBezTo>
                <a:cubicBezTo>
                  <a:pt x="50" y="283716"/>
                  <a:pt x="15364" y="221519"/>
                  <a:pt x="0" y="85131"/>
                </a:cubicBezTo>
                <a:close/>
              </a:path>
              <a:path w="2646720" h="510778" stroke="0" extrusionOk="0">
                <a:moveTo>
                  <a:pt x="0" y="85131"/>
                </a:moveTo>
                <a:cubicBezTo>
                  <a:pt x="835" y="39343"/>
                  <a:pt x="39372" y="-2380"/>
                  <a:pt x="85131" y="0"/>
                </a:cubicBezTo>
                <a:cubicBezTo>
                  <a:pt x="249916" y="7265"/>
                  <a:pt x="559891" y="-278"/>
                  <a:pt x="753775" y="0"/>
                </a:cubicBezTo>
                <a:cubicBezTo>
                  <a:pt x="947659" y="278"/>
                  <a:pt x="1124483" y="-14119"/>
                  <a:pt x="1348125" y="0"/>
                </a:cubicBezTo>
                <a:cubicBezTo>
                  <a:pt x="1571767" y="14119"/>
                  <a:pt x="1795141" y="-27538"/>
                  <a:pt x="1917710" y="0"/>
                </a:cubicBezTo>
                <a:cubicBezTo>
                  <a:pt x="2040280" y="27538"/>
                  <a:pt x="2251963" y="-10292"/>
                  <a:pt x="2561589" y="0"/>
                </a:cubicBezTo>
                <a:cubicBezTo>
                  <a:pt x="2604804" y="2441"/>
                  <a:pt x="2649707" y="41282"/>
                  <a:pt x="2646720" y="85131"/>
                </a:cubicBezTo>
                <a:cubicBezTo>
                  <a:pt x="2651731" y="221772"/>
                  <a:pt x="2644912" y="261270"/>
                  <a:pt x="2646720" y="425647"/>
                </a:cubicBezTo>
                <a:cubicBezTo>
                  <a:pt x="2645154" y="476307"/>
                  <a:pt x="2605298" y="503153"/>
                  <a:pt x="2561589" y="510778"/>
                </a:cubicBezTo>
                <a:cubicBezTo>
                  <a:pt x="2396916" y="533890"/>
                  <a:pt x="2137463" y="533974"/>
                  <a:pt x="1892945" y="510778"/>
                </a:cubicBezTo>
                <a:cubicBezTo>
                  <a:pt x="1648427" y="487582"/>
                  <a:pt x="1512762" y="534537"/>
                  <a:pt x="1224302" y="510778"/>
                </a:cubicBezTo>
                <a:cubicBezTo>
                  <a:pt x="935842" y="487019"/>
                  <a:pt x="538335" y="499065"/>
                  <a:pt x="85131" y="510778"/>
                </a:cubicBezTo>
                <a:cubicBezTo>
                  <a:pt x="33468" y="517716"/>
                  <a:pt x="7754" y="475517"/>
                  <a:pt x="0" y="425647"/>
                </a:cubicBezTo>
                <a:cubicBezTo>
                  <a:pt x="-6198" y="261958"/>
                  <a:pt x="-11075" y="232093"/>
                  <a:pt x="0" y="85131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416985888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Dagsorden tilpasses til dagen og de timer, der er til rådighed</a:t>
            </a:r>
          </a:p>
        </p:txBody>
      </p:sp>
    </p:spTree>
    <p:extLst>
      <p:ext uri="{BB962C8B-B14F-4D97-AF65-F5344CB8AC3E}">
        <p14:creationId xmlns:p14="http://schemas.microsoft.com/office/powerpoint/2010/main" val="16872968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936FD5-C338-C974-797C-A433D5505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S- Social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AC67477-CE75-AAD1-F0FC-6581529259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20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DE5D45B-AACA-F235-1175-3371EC2592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53F272DA-B1A2-4550-19B6-E0CAA52F40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Hvordan vi passer på mennesker og samfund</a:t>
            </a:r>
          </a:p>
        </p:txBody>
      </p:sp>
      <p:sp>
        <p:nvSpPr>
          <p:cNvPr id="7" name="Rectangle: Rounded Corners 3">
            <a:extLst>
              <a:ext uri="{FF2B5EF4-FFF2-40B4-BE49-F238E27FC236}">
                <a16:creationId xmlns:a16="http://schemas.microsoft.com/office/drawing/2014/main" id="{C2817AC3-8AA0-B495-DC0C-2DF5A3E93F87}"/>
              </a:ext>
            </a:extLst>
          </p:cNvPr>
          <p:cNvSpPr/>
          <p:nvPr/>
        </p:nvSpPr>
        <p:spPr>
          <a:xfrm>
            <a:off x="7703556" y="2379165"/>
            <a:ext cx="3998588" cy="3325772"/>
          </a:xfrm>
          <a:custGeom>
            <a:avLst/>
            <a:gdLst>
              <a:gd name="csX0" fmla="*/ 0 w 3998588"/>
              <a:gd name="csY0" fmla="*/ 221696 h 3325772"/>
              <a:gd name="csX1" fmla="*/ 221696 w 3998588"/>
              <a:gd name="csY1" fmla="*/ 0 h 3325772"/>
              <a:gd name="csX2" fmla="*/ 778677 w 3998588"/>
              <a:gd name="csY2" fmla="*/ 0 h 3325772"/>
              <a:gd name="csX3" fmla="*/ 1264553 w 3998588"/>
              <a:gd name="csY3" fmla="*/ 0 h 3325772"/>
              <a:gd name="csX4" fmla="*/ 1892638 w 3998588"/>
              <a:gd name="csY4" fmla="*/ 0 h 3325772"/>
              <a:gd name="csX5" fmla="*/ 2414067 w 3998588"/>
              <a:gd name="csY5" fmla="*/ 0 h 3325772"/>
              <a:gd name="csX6" fmla="*/ 2899944 w 3998588"/>
              <a:gd name="csY6" fmla="*/ 0 h 3325772"/>
              <a:gd name="csX7" fmla="*/ 3776892 w 3998588"/>
              <a:gd name="csY7" fmla="*/ 0 h 3325772"/>
              <a:gd name="csX8" fmla="*/ 3998588 w 3998588"/>
              <a:gd name="csY8" fmla="*/ 221696 h 3325772"/>
              <a:gd name="csX9" fmla="*/ 3998588 w 3998588"/>
              <a:gd name="csY9" fmla="*/ 826996 h 3325772"/>
              <a:gd name="csX10" fmla="*/ 3998588 w 3998588"/>
              <a:gd name="csY10" fmla="*/ 1345824 h 3325772"/>
              <a:gd name="csX11" fmla="*/ 3998588 w 3998588"/>
              <a:gd name="csY11" fmla="*/ 1893476 h 3325772"/>
              <a:gd name="csX12" fmla="*/ 3998588 w 3998588"/>
              <a:gd name="csY12" fmla="*/ 2469952 h 3325772"/>
              <a:gd name="csX13" fmla="*/ 3998588 w 3998588"/>
              <a:gd name="csY13" fmla="*/ 3104076 h 3325772"/>
              <a:gd name="csX14" fmla="*/ 3776892 w 3998588"/>
              <a:gd name="csY14" fmla="*/ 3325772 h 3325772"/>
              <a:gd name="csX15" fmla="*/ 3184359 w 3998588"/>
              <a:gd name="csY15" fmla="*/ 3325772 h 3325772"/>
              <a:gd name="csX16" fmla="*/ 2556275 w 3998588"/>
              <a:gd name="csY16" fmla="*/ 3325772 h 3325772"/>
              <a:gd name="csX17" fmla="*/ 1999294 w 3998588"/>
              <a:gd name="csY17" fmla="*/ 3325772 h 3325772"/>
              <a:gd name="csX18" fmla="*/ 1371209 w 3998588"/>
              <a:gd name="csY18" fmla="*/ 3325772 h 3325772"/>
              <a:gd name="csX19" fmla="*/ 849781 w 3998588"/>
              <a:gd name="csY19" fmla="*/ 3325772 h 3325772"/>
              <a:gd name="csX20" fmla="*/ 221696 w 3998588"/>
              <a:gd name="csY20" fmla="*/ 3325772 h 3325772"/>
              <a:gd name="csX21" fmla="*/ 0 w 3998588"/>
              <a:gd name="csY21" fmla="*/ 3104076 h 3325772"/>
              <a:gd name="csX22" fmla="*/ 0 w 3998588"/>
              <a:gd name="csY22" fmla="*/ 2498776 h 3325772"/>
              <a:gd name="csX23" fmla="*/ 0 w 3998588"/>
              <a:gd name="csY23" fmla="*/ 1864653 h 3325772"/>
              <a:gd name="csX24" fmla="*/ 0 w 3998588"/>
              <a:gd name="csY24" fmla="*/ 1317000 h 3325772"/>
              <a:gd name="csX25" fmla="*/ 0 w 3998588"/>
              <a:gd name="csY25" fmla="*/ 798172 h 3325772"/>
              <a:gd name="csX26" fmla="*/ 0 w 3998588"/>
              <a:gd name="csY26" fmla="*/ 221696 h 33257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</a:cxnLst>
            <a:rect l="l" t="t" r="r" b="b"/>
            <a:pathLst>
              <a:path w="3998588" h="3325772" fill="none" extrusionOk="0">
                <a:moveTo>
                  <a:pt x="0" y="221696"/>
                </a:moveTo>
                <a:cubicBezTo>
                  <a:pt x="-1017" y="78164"/>
                  <a:pt x="112811" y="8539"/>
                  <a:pt x="221696" y="0"/>
                </a:cubicBezTo>
                <a:cubicBezTo>
                  <a:pt x="412621" y="25188"/>
                  <a:pt x="514760" y="26598"/>
                  <a:pt x="778677" y="0"/>
                </a:cubicBezTo>
                <a:cubicBezTo>
                  <a:pt x="1042594" y="-26598"/>
                  <a:pt x="1082368" y="6694"/>
                  <a:pt x="1264553" y="0"/>
                </a:cubicBezTo>
                <a:cubicBezTo>
                  <a:pt x="1446738" y="-6694"/>
                  <a:pt x="1700737" y="-17970"/>
                  <a:pt x="1892638" y="0"/>
                </a:cubicBezTo>
                <a:cubicBezTo>
                  <a:pt x="2084539" y="17970"/>
                  <a:pt x="2202305" y="17880"/>
                  <a:pt x="2414067" y="0"/>
                </a:cubicBezTo>
                <a:cubicBezTo>
                  <a:pt x="2625829" y="-17880"/>
                  <a:pt x="2677015" y="10316"/>
                  <a:pt x="2899944" y="0"/>
                </a:cubicBezTo>
                <a:cubicBezTo>
                  <a:pt x="3122873" y="-10316"/>
                  <a:pt x="3486341" y="-15486"/>
                  <a:pt x="3776892" y="0"/>
                </a:cubicBezTo>
                <a:cubicBezTo>
                  <a:pt x="3894128" y="19470"/>
                  <a:pt x="4010444" y="102658"/>
                  <a:pt x="3998588" y="221696"/>
                </a:cubicBezTo>
                <a:cubicBezTo>
                  <a:pt x="3978403" y="370973"/>
                  <a:pt x="4024877" y="607250"/>
                  <a:pt x="3998588" y="826996"/>
                </a:cubicBezTo>
                <a:cubicBezTo>
                  <a:pt x="3972299" y="1046742"/>
                  <a:pt x="4004791" y="1169714"/>
                  <a:pt x="3998588" y="1345824"/>
                </a:cubicBezTo>
                <a:cubicBezTo>
                  <a:pt x="3992385" y="1521934"/>
                  <a:pt x="3976715" y="1765032"/>
                  <a:pt x="3998588" y="1893476"/>
                </a:cubicBezTo>
                <a:cubicBezTo>
                  <a:pt x="4020461" y="2021920"/>
                  <a:pt x="3999508" y="2325979"/>
                  <a:pt x="3998588" y="2469952"/>
                </a:cubicBezTo>
                <a:cubicBezTo>
                  <a:pt x="3997668" y="2613925"/>
                  <a:pt x="4019535" y="2911098"/>
                  <a:pt x="3998588" y="3104076"/>
                </a:cubicBezTo>
                <a:cubicBezTo>
                  <a:pt x="4002865" y="3237508"/>
                  <a:pt x="3925122" y="3337770"/>
                  <a:pt x="3776892" y="3325772"/>
                </a:cubicBezTo>
                <a:cubicBezTo>
                  <a:pt x="3622316" y="3336170"/>
                  <a:pt x="3323116" y="3312513"/>
                  <a:pt x="3184359" y="3325772"/>
                </a:cubicBezTo>
                <a:cubicBezTo>
                  <a:pt x="3045602" y="3339031"/>
                  <a:pt x="2785127" y="3298158"/>
                  <a:pt x="2556275" y="3325772"/>
                </a:cubicBezTo>
                <a:cubicBezTo>
                  <a:pt x="2327423" y="3353386"/>
                  <a:pt x="2200497" y="3301619"/>
                  <a:pt x="1999294" y="3325772"/>
                </a:cubicBezTo>
                <a:cubicBezTo>
                  <a:pt x="1798091" y="3349925"/>
                  <a:pt x="1552044" y="3309732"/>
                  <a:pt x="1371209" y="3325772"/>
                </a:cubicBezTo>
                <a:cubicBezTo>
                  <a:pt x="1190374" y="3341812"/>
                  <a:pt x="1027612" y="3344675"/>
                  <a:pt x="849781" y="3325772"/>
                </a:cubicBezTo>
                <a:cubicBezTo>
                  <a:pt x="671950" y="3306869"/>
                  <a:pt x="410232" y="3297353"/>
                  <a:pt x="221696" y="3325772"/>
                </a:cubicBezTo>
                <a:cubicBezTo>
                  <a:pt x="122317" y="3333683"/>
                  <a:pt x="-12896" y="3200924"/>
                  <a:pt x="0" y="3104076"/>
                </a:cubicBezTo>
                <a:cubicBezTo>
                  <a:pt x="-10632" y="2963914"/>
                  <a:pt x="-28035" y="2764725"/>
                  <a:pt x="0" y="2498776"/>
                </a:cubicBezTo>
                <a:cubicBezTo>
                  <a:pt x="28035" y="2232827"/>
                  <a:pt x="22260" y="2046762"/>
                  <a:pt x="0" y="1864653"/>
                </a:cubicBezTo>
                <a:cubicBezTo>
                  <a:pt x="-22260" y="1682544"/>
                  <a:pt x="22210" y="1583670"/>
                  <a:pt x="0" y="1317000"/>
                </a:cubicBezTo>
                <a:cubicBezTo>
                  <a:pt x="-22210" y="1050330"/>
                  <a:pt x="988" y="1054692"/>
                  <a:pt x="0" y="798172"/>
                </a:cubicBezTo>
                <a:cubicBezTo>
                  <a:pt x="-988" y="541652"/>
                  <a:pt x="233" y="346021"/>
                  <a:pt x="0" y="221696"/>
                </a:cubicBezTo>
                <a:close/>
              </a:path>
              <a:path w="3998588" h="3325772" stroke="0" extrusionOk="0">
                <a:moveTo>
                  <a:pt x="0" y="221696"/>
                </a:moveTo>
                <a:cubicBezTo>
                  <a:pt x="-24751" y="83990"/>
                  <a:pt x="91347" y="2969"/>
                  <a:pt x="221696" y="0"/>
                </a:cubicBezTo>
                <a:cubicBezTo>
                  <a:pt x="392768" y="-23617"/>
                  <a:pt x="670272" y="-4281"/>
                  <a:pt x="885333" y="0"/>
                </a:cubicBezTo>
                <a:cubicBezTo>
                  <a:pt x="1100394" y="4281"/>
                  <a:pt x="1255129" y="24833"/>
                  <a:pt x="1442313" y="0"/>
                </a:cubicBezTo>
                <a:cubicBezTo>
                  <a:pt x="1629497" y="-24833"/>
                  <a:pt x="1755621" y="19204"/>
                  <a:pt x="1963742" y="0"/>
                </a:cubicBezTo>
                <a:cubicBezTo>
                  <a:pt x="2171863" y="-19204"/>
                  <a:pt x="2464482" y="15461"/>
                  <a:pt x="2591827" y="0"/>
                </a:cubicBezTo>
                <a:cubicBezTo>
                  <a:pt x="2719173" y="-15461"/>
                  <a:pt x="2921108" y="-4496"/>
                  <a:pt x="3148807" y="0"/>
                </a:cubicBezTo>
                <a:cubicBezTo>
                  <a:pt x="3376506" y="4496"/>
                  <a:pt x="3637609" y="-29672"/>
                  <a:pt x="3776892" y="0"/>
                </a:cubicBezTo>
                <a:cubicBezTo>
                  <a:pt x="3896766" y="-24465"/>
                  <a:pt x="3987699" y="114390"/>
                  <a:pt x="3998588" y="221696"/>
                </a:cubicBezTo>
                <a:cubicBezTo>
                  <a:pt x="4021829" y="398014"/>
                  <a:pt x="3985164" y="491491"/>
                  <a:pt x="3998588" y="740524"/>
                </a:cubicBezTo>
                <a:cubicBezTo>
                  <a:pt x="4012012" y="989557"/>
                  <a:pt x="4018529" y="1143845"/>
                  <a:pt x="3998588" y="1317000"/>
                </a:cubicBezTo>
                <a:cubicBezTo>
                  <a:pt x="3978647" y="1490155"/>
                  <a:pt x="4004139" y="1662348"/>
                  <a:pt x="3998588" y="1893476"/>
                </a:cubicBezTo>
                <a:cubicBezTo>
                  <a:pt x="3993037" y="2124604"/>
                  <a:pt x="3999362" y="2327555"/>
                  <a:pt x="3998588" y="2441129"/>
                </a:cubicBezTo>
                <a:cubicBezTo>
                  <a:pt x="3997814" y="2554703"/>
                  <a:pt x="4014263" y="2772619"/>
                  <a:pt x="3998588" y="3104076"/>
                </a:cubicBezTo>
                <a:cubicBezTo>
                  <a:pt x="4008988" y="3213604"/>
                  <a:pt x="3876503" y="3316947"/>
                  <a:pt x="3776892" y="3325772"/>
                </a:cubicBezTo>
                <a:cubicBezTo>
                  <a:pt x="3619078" y="3311976"/>
                  <a:pt x="3373143" y="3316271"/>
                  <a:pt x="3184359" y="3325772"/>
                </a:cubicBezTo>
                <a:cubicBezTo>
                  <a:pt x="2995575" y="3335273"/>
                  <a:pt x="2713558" y="3309377"/>
                  <a:pt x="2520723" y="3325772"/>
                </a:cubicBezTo>
                <a:cubicBezTo>
                  <a:pt x="2327888" y="3342167"/>
                  <a:pt x="2107393" y="3322628"/>
                  <a:pt x="1928190" y="3325772"/>
                </a:cubicBezTo>
                <a:cubicBezTo>
                  <a:pt x="1748987" y="3328916"/>
                  <a:pt x="1646904" y="3303475"/>
                  <a:pt x="1442313" y="3325772"/>
                </a:cubicBezTo>
                <a:cubicBezTo>
                  <a:pt x="1237722" y="3348069"/>
                  <a:pt x="1179999" y="3330852"/>
                  <a:pt x="920885" y="3325772"/>
                </a:cubicBezTo>
                <a:cubicBezTo>
                  <a:pt x="661771" y="3320692"/>
                  <a:pt x="486744" y="3320169"/>
                  <a:pt x="221696" y="3325772"/>
                </a:cubicBezTo>
                <a:cubicBezTo>
                  <a:pt x="128605" y="3319562"/>
                  <a:pt x="357" y="3229907"/>
                  <a:pt x="0" y="3104076"/>
                </a:cubicBezTo>
                <a:cubicBezTo>
                  <a:pt x="18092" y="2970277"/>
                  <a:pt x="-6085" y="2843662"/>
                  <a:pt x="0" y="2585248"/>
                </a:cubicBezTo>
                <a:cubicBezTo>
                  <a:pt x="6085" y="2326834"/>
                  <a:pt x="6497" y="2211944"/>
                  <a:pt x="0" y="2095243"/>
                </a:cubicBezTo>
                <a:cubicBezTo>
                  <a:pt x="-6497" y="1978543"/>
                  <a:pt x="-15053" y="1707082"/>
                  <a:pt x="0" y="1605238"/>
                </a:cubicBezTo>
                <a:cubicBezTo>
                  <a:pt x="15053" y="1503395"/>
                  <a:pt x="-23913" y="1226485"/>
                  <a:pt x="0" y="1028762"/>
                </a:cubicBezTo>
                <a:cubicBezTo>
                  <a:pt x="23913" y="831039"/>
                  <a:pt x="-26671" y="457394"/>
                  <a:pt x="0" y="221696"/>
                </a:cubicBezTo>
                <a:close/>
              </a:path>
            </a:pathLst>
          </a:custGeom>
          <a:solidFill>
            <a:srgbClr val="FCD9DC">
              <a:alpha val="77647"/>
            </a:srgbClr>
          </a:solidFill>
          <a:ln>
            <a:solidFill>
              <a:schemeClr val="accent6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666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da-DK" sz="1400" b="1" i="0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ksempler på tiltag </a:t>
            </a:r>
            <a:endParaRPr lang="da-DK" sz="1400" b="1">
              <a:solidFill>
                <a:srgbClr val="1A1A1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endParaRPr lang="da-DK" sz="140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ndhedsfremme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yghedsvandring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ktiecafeer eller mentorordning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tnerskaber i lokalsamfundet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iltag for blandet by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ælleshuse og –areal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eboerrådgivning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ompetenceudvikling og efteruddannelse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kus på inklusion </a:t>
            </a:r>
          </a:p>
          <a:p>
            <a:endParaRPr lang="da-DK" sz="1400" b="1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Flowchart: Alternate Process 76">
            <a:extLst>
              <a:ext uri="{FF2B5EF4-FFF2-40B4-BE49-F238E27FC236}">
                <a16:creationId xmlns:a16="http://schemas.microsoft.com/office/drawing/2014/main" id="{F5DDA120-D6F2-F17E-F26A-892AAFF247C8}"/>
              </a:ext>
            </a:extLst>
          </p:cNvPr>
          <p:cNvSpPr/>
          <p:nvPr/>
        </p:nvSpPr>
        <p:spPr>
          <a:xfrm>
            <a:off x="1075400" y="1617114"/>
            <a:ext cx="1843292" cy="268866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-</a:t>
            </a:r>
          </a:p>
          <a:p>
            <a:pPr marL="28800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ammensætning</a:t>
            </a:r>
          </a:p>
        </p:txBody>
      </p:sp>
      <p:sp>
        <p:nvSpPr>
          <p:cNvPr id="9" name="Flowchart: Alternate Process 77">
            <a:extLst>
              <a:ext uri="{FF2B5EF4-FFF2-40B4-BE49-F238E27FC236}">
                <a16:creationId xmlns:a16="http://schemas.microsoft.com/office/drawing/2014/main" id="{3A99DEFA-FC8A-30B8-CB61-B8E86D4F42E8}"/>
              </a:ext>
            </a:extLst>
          </p:cNvPr>
          <p:cNvSpPr/>
          <p:nvPr/>
        </p:nvSpPr>
        <p:spPr>
          <a:xfrm>
            <a:off x="2918692" y="1561001"/>
            <a:ext cx="2473277" cy="324000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darbejdertrivsel</a:t>
            </a:r>
          </a:p>
        </p:txBody>
      </p:sp>
      <p:sp>
        <p:nvSpPr>
          <p:cNvPr id="10" name="Flowchart: Alternate Process 94">
            <a:extLst>
              <a:ext uri="{FF2B5EF4-FFF2-40B4-BE49-F238E27FC236}">
                <a16:creationId xmlns:a16="http://schemas.microsoft.com/office/drawing/2014/main" id="{9A8E3071-C93E-C7BC-3678-4F790D1C16D3}"/>
              </a:ext>
            </a:extLst>
          </p:cNvPr>
          <p:cNvSpPr/>
          <p:nvPr/>
        </p:nvSpPr>
        <p:spPr>
          <a:xfrm>
            <a:off x="3228920" y="3254967"/>
            <a:ext cx="1965504" cy="303961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del af almene boliger i området</a:t>
            </a:r>
          </a:p>
        </p:txBody>
      </p:sp>
      <p:sp>
        <p:nvSpPr>
          <p:cNvPr id="11" name="Flowchart: Alternate Process 95">
            <a:extLst>
              <a:ext uri="{FF2B5EF4-FFF2-40B4-BE49-F238E27FC236}">
                <a16:creationId xmlns:a16="http://schemas.microsoft.com/office/drawing/2014/main" id="{07B935FA-EF28-0844-8D18-5C8162F42427}"/>
              </a:ext>
            </a:extLst>
          </p:cNvPr>
          <p:cNvSpPr/>
          <p:nvPr/>
        </p:nvSpPr>
        <p:spPr>
          <a:xfrm>
            <a:off x="2759270" y="4864946"/>
            <a:ext cx="2473277" cy="324000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ivschancer</a:t>
            </a:r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Flowchart: Alternate Process 98">
            <a:extLst>
              <a:ext uri="{FF2B5EF4-FFF2-40B4-BE49-F238E27FC236}">
                <a16:creationId xmlns:a16="http://schemas.microsoft.com/office/drawing/2014/main" id="{DA1ADC50-F798-31A4-2F1B-AE2AAFF2BA75}"/>
              </a:ext>
            </a:extLst>
          </p:cNvPr>
          <p:cNvSpPr/>
          <p:nvPr/>
        </p:nvSpPr>
        <p:spPr>
          <a:xfrm>
            <a:off x="5095345" y="4890194"/>
            <a:ext cx="2473277" cy="324000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ivskvalitet og Sundhed</a:t>
            </a:r>
          </a:p>
        </p:txBody>
      </p:sp>
      <p:sp>
        <p:nvSpPr>
          <p:cNvPr id="13" name="Flowchart: Alternate Process 93">
            <a:extLst>
              <a:ext uri="{FF2B5EF4-FFF2-40B4-BE49-F238E27FC236}">
                <a16:creationId xmlns:a16="http://schemas.microsoft.com/office/drawing/2014/main" id="{38855436-4EBE-9CE4-74CD-74494AAE8E65}"/>
              </a:ext>
            </a:extLst>
          </p:cNvPr>
          <p:cNvSpPr/>
          <p:nvPr/>
        </p:nvSpPr>
        <p:spPr>
          <a:xfrm>
            <a:off x="1186522" y="3290062"/>
            <a:ext cx="1843291" cy="268866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lmenboligers betalbarhed</a:t>
            </a:r>
          </a:p>
        </p:txBody>
      </p:sp>
      <p:sp>
        <p:nvSpPr>
          <p:cNvPr id="14" name="Flowchart: Alternate Process 3">
            <a:extLst>
              <a:ext uri="{FF2B5EF4-FFF2-40B4-BE49-F238E27FC236}">
                <a16:creationId xmlns:a16="http://schemas.microsoft.com/office/drawing/2014/main" id="{A217D49E-D6BE-076A-DD62-024C5CC00F66}"/>
              </a:ext>
            </a:extLst>
          </p:cNvPr>
          <p:cNvSpPr/>
          <p:nvPr/>
        </p:nvSpPr>
        <p:spPr>
          <a:xfrm>
            <a:off x="5012986" y="3224156"/>
            <a:ext cx="2473277" cy="324000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0" bIns="45720" rtlCol="0" anchor="ctr"/>
          <a:lstStyle/>
          <a:p>
            <a:pPr marL="287655" algn="ctr" defTabSz="914309">
              <a:defRPr/>
            </a:pPr>
            <a:r>
              <a:rPr lang="da-DK" sz="1000" b="1">
                <a:solidFill>
                  <a:srgbClr val="EF3E50"/>
                </a:solidFill>
                <a:latin typeface="Verdana"/>
                <a:ea typeface="Verdana"/>
              </a:rPr>
              <a:t>Funktioner i området</a:t>
            </a:r>
            <a:endParaRPr lang="da-DK" sz="1000" b="1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Flowchart: Alternate Process 4">
            <a:extLst>
              <a:ext uri="{FF2B5EF4-FFF2-40B4-BE49-F238E27FC236}">
                <a16:creationId xmlns:a16="http://schemas.microsoft.com/office/drawing/2014/main" id="{C00DD97B-90A9-FB84-7C27-523D6BC3F77B}"/>
              </a:ext>
            </a:extLst>
          </p:cNvPr>
          <p:cNvSpPr/>
          <p:nvPr/>
        </p:nvSpPr>
        <p:spPr>
          <a:xfrm>
            <a:off x="888856" y="4869159"/>
            <a:ext cx="2473277" cy="324000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rgbClr val="EF3E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okalt fællesskab</a:t>
            </a:r>
            <a:endParaRPr kumimoji="0" lang="da-DK" sz="800" b="1" i="0" u="none" strike="noStrike" kern="1200" cap="none" spc="0" normalizeH="0" baseline="0" noProof="0">
              <a:ln>
                <a:noFill/>
              </a:ln>
              <a:solidFill>
                <a:srgbClr val="EF3E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6" name="Graphic 121">
            <a:extLst>
              <a:ext uri="{FF2B5EF4-FFF2-40B4-BE49-F238E27FC236}">
                <a16:creationId xmlns:a16="http://schemas.microsoft.com/office/drawing/2014/main" id="{C6326F14-FCFD-771B-0691-5A5C24DE42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81783" y="3191579"/>
            <a:ext cx="460536" cy="460536"/>
          </a:xfrm>
          <a:prstGeom prst="rect">
            <a:avLst/>
          </a:prstGeom>
        </p:spPr>
      </p:pic>
      <p:pic>
        <p:nvPicPr>
          <p:cNvPr id="17" name="Graphic 58">
            <a:extLst>
              <a:ext uri="{FF2B5EF4-FFF2-40B4-BE49-F238E27FC236}">
                <a16:creationId xmlns:a16="http://schemas.microsoft.com/office/drawing/2014/main" id="{DBE44A4C-95B5-CE68-D179-D3DFF2B01C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39353" y="4870654"/>
            <a:ext cx="378983" cy="378983"/>
          </a:xfrm>
          <a:prstGeom prst="rect">
            <a:avLst/>
          </a:prstGeom>
        </p:spPr>
      </p:pic>
      <p:pic>
        <p:nvPicPr>
          <p:cNvPr id="18" name="Graphic 123">
            <a:extLst>
              <a:ext uri="{FF2B5EF4-FFF2-40B4-BE49-F238E27FC236}">
                <a16:creationId xmlns:a16="http://schemas.microsoft.com/office/drawing/2014/main" id="{AED19256-8B0B-C802-B3CA-BAE28A9C191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6557" y="3224156"/>
            <a:ext cx="454639" cy="45463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B79060E-B8BB-4B99-B13B-1FB39D65A6D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13296" y="3111448"/>
            <a:ext cx="596841" cy="596841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087930B5-8315-6F1B-1776-A883C760D71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119763" y="4877001"/>
            <a:ext cx="415977" cy="415977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91AE7C88-F7B4-8FE8-E4AD-3FC684D756B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78842" y="1447751"/>
            <a:ext cx="500522" cy="500522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32E2A6AF-C16F-E6F2-7EF3-9351344206D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43885" y="4827101"/>
            <a:ext cx="454639" cy="454639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1619A220-EB37-AD2E-C71B-A5A575A9D00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84412" y="1935447"/>
            <a:ext cx="1843291" cy="116943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901BB347-6E5A-30FB-9DEB-495EC619CD2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75287" y="1477412"/>
            <a:ext cx="500522" cy="500522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AD2AFB36-225B-75DA-C5AF-0E0AC9D007B6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 t="1" r="1313" b="2689"/>
          <a:stretch>
            <a:fillRect/>
          </a:stretch>
        </p:blipFill>
        <p:spPr>
          <a:xfrm>
            <a:off x="3090494" y="1933212"/>
            <a:ext cx="1843290" cy="1169430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5517B44E-23E0-CA8C-F317-CA455BFAC3AE}"/>
              </a:ext>
            </a:extLst>
          </p:cNvPr>
          <p:cNvPicPr>
            <a:picLocks noChangeAspect="1"/>
          </p:cNvPicPr>
          <p:nvPr/>
        </p:nvPicPr>
        <p:blipFill>
          <a:blip r:embed="rId22"/>
          <a:srcRect b="13235"/>
          <a:stretch>
            <a:fillRect/>
          </a:stretch>
        </p:blipFill>
        <p:spPr>
          <a:xfrm>
            <a:off x="902356" y="3658842"/>
            <a:ext cx="1839194" cy="1166257"/>
          </a:xfrm>
          <a:prstGeom prst="rect">
            <a:avLst/>
          </a:prstGeom>
        </p:spPr>
      </p:pic>
      <p:pic>
        <p:nvPicPr>
          <p:cNvPr id="27" name="Billede 26">
            <a:extLst>
              <a:ext uri="{FF2B5EF4-FFF2-40B4-BE49-F238E27FC236}">
                <a16:creationId xmlns:a16="http://schemas.microsoft.com/office/drawing/2014/main" id="{95CCFF1B-BB0D-04AD-03E1-E805DBE26008}"/>
              </a:ext>
            </a:extLst>
          </p:cNvPr>
          <p:cNvPicPr>
            <a:picLocks noChangeAspect="1"/>
          </p:cNvPicPr>
          <p:nvPr/>
        </p:nvPicPr>
        <p:blipFill>
          <a:blip r:embed="rId23"/>
          <a:srcRect l="6156"/>
          <a:stretch>
            <a:fillRect/>
          </a:stretch>
        </p:blipFill>
        <p:spPr>
          <a:xfrm>
            <a:off x="898259" y="5203511"/>
            <a:ext cx="1843291" cy="1202783"/>
          </a:xfrm>
          <a:prstGeom prst="rect">
            <a:avLst/>
          </a:prstGeom>
        </p:spPr>
      </p:pic>
      <p:pic>
        <p:nvPicPr>
          <p:cNvPr id="28" name="Billede 27">
            <a:extLst>
              <a:ext uri="{FF2B5EF4-FFF2-40B4-BE49-F238E27FC236}">
                <a16:creationId xmlns:a16="http://schemas.microsoft.com/office/drawing/2014/main" id="{E3262803-3D82-F708-8B32-112CE317F945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078842" y="3659673"/>
            <a:ext cx="1839194" cy="1175270"/>
          </a:xfrm>
          <a:prstGeom prst="rect">
            <a:avLst/>
          </a:prstGeom>
        </p:spPr>
      </p:pic>
      <p:pic>
        <p:nvPicPr>
          <p:cNvPr id="29" name="Billede 28">
            <a:extLst>
              <a:ext uri="{FF2B5EF4-FFF2-40B4-BE49-F238E27FC236}">
                <a16:creationId xmlns:a16="http://schemas.microsoft.com/office/drawing/2014/main" id="{CB9B58DB-9C9E-CD22-CDD4-EAB499E8932C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083478" y="5205066"/>
            <a:ext cx="1843292" cy="1205441"/>
          </a:xfrm>
          <a:prstGeom prst="rect">
            <a:avLst/>
          </a:prstGeom>
        </p:spPr>
      </p:pic>
      <p:pic>
        <p:nvPicPr>
          <p:cNvPr id="30" name="Billede 29">
            <a:extLst>
              <a:ext uri="{FF2B5EF4-FFF2-40B4-BE49-F238E27FC236}">
                <a16:creationId xmlns:a16="http://schemas.microsoft.com/office/drawing/2014/main" id="{D1E500F3-2187-4A80-88DF-05808F5BD7CC}"/>
              </a:ext>
            </a:extLst>
          </p:cNvPr>
          <p:cNvPicPr>
            <a:picLocks noChangeAspect="1"/>
          </p:cNvPicPr>
          <p:nvPr/>
        </p:nvPicPr>
        <p:blipFill>
          <a:blip r:embed="rId26"/>
          <a:srcRect b="3294"/>
          <a:stretch>
            <a:fillRect/>
          </a:stretch>
        </p:blipFill>
        <p:spPr>
          <a:xfrm>
            <a:off x="5255328" y="3650130"/>
            <a:ext cx="1843292" cy="1174969"/>
          </a:xfrm>
          <a:prstGeom prst="rect">
            <a:avLst/>
          </a:prstGeom>
        </p:spPr>
      </p:pic>
      <p:pic>
        <p:nvPicPr>
          <p:cNvPr id="31" name="Billede 30">
            <a:extLst>
              <a:ext uri="{FF2B5EF4-FFF2-40B4-BE49-F238E27FC236}">
                <a16:creationId xmlns:a16="http://schemas.microsoft.com/office/drawing/2014/main" id="{4FFAE3BC-6153-51DF-B432-9F8693D5C7D8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255328" y="5201989"/>
            <a:ext cx="1843293" cy="1191262"/>
          </a:xfrm>
          <a:prstGeom prst="rect">
            <a:avLst/>
          </a:prstGeom>
        </p:spPr>
      </p:pic>
      <p:grpSp>
        <p:nvGrpSpPr>
          <p:cNvPr id="32" name="Group 331">
            <a:extLst>
              <a:ext uri="{FF2B5EF4-FFF2-40B4-BE49-F238E27FC236}">
                <a16:creationId xmlns:a16="http://schemas.microsoft.com/office/drawing/2014/main" id="{7CC8FA75-7EBB-33A4-3964-406B7A5A535C}"/>
              </a:ext>
            </a:extLst>
          </p:cNvPr>
          <p:cNvGrpSpPr/>
          <p:nvPr/>
        </p:nvGrpSpPr>
        <p:grpSpPr>
          <a:xfrm>
            <a:off x="81862" y="47143"/>
            <a:ext cx="962976" cy="963400"/>
            <a:chOff x="3092692" y="-1631033"/>
            <a:chExt cx="2192906" cy="2193874"/>
          </a:xfrm>
        </p:grpSpPr>
        <p:sp>
          <p:nvSpPr>
            <p:cNvPr id="33" name="Freeform: Shape 326">
              <a:extLst>
                <a:ext uri="{FF2B5EF4-FFF2-40B4-BE49-F238E27FC236}">
                  <a16:creationId xmlns:a16="http://schemas.microsoft.com/office/drawing/2014/main" id="{5CDC13E2-5BEC-2B5D-AEAA-AA161CDD2C37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" name="Freeform: Shape 327">
              <a:extLst>
                <a:ext uri="{FF2B5EF4-FFF2-40B4-BE49-F238E27FC236}">
                  <a16:creationId xmlns:a16="http://schemas.microsoft.com/office/drawing/2014/main" id="{A6B6158A-4605-E789-4099-FFE28137CF5D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  <p:pic>
        <p:nvPicPr>
          <p:cNvPr id="47" name="Billede 46" descr="Et billede, der indeholder tekst, Font/skrifttype, design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4AF9A00F-C457-3396-6D3B-307918CCB5FF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3600" y="71748"/>
            <a:ext cx="788400" cy="788400"/>
          </a:xfrm>
          <a:prstGeom prst="rect">
            <a:avLst/>
          </a:prstGeom>
        </p:spPr>
      </p:pic>
      <p:pic>
        <p:nvPicPr>
          <p:cNvPr id="48" name="Billede 47">
            <a:extLst>
              <a:ext uri="{FF2B5EF4-FFF2-40B4-BE49-F238E27FC236}">
                <a16:creationId xmlns:a16="http://schemas.microsoft.com/office/drawing/2014/main" id="{77E08BE5-E9A5-68D4-76E8-093F75FE0A22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634586" y="68899"/>
            <a:ext cx="788400" cy="788400"/>
          </a:xfrm>
          <a:prstGeom prst="rect">
            <a:avLst/>
          </a:prstGeom>
        </p:spPr>
      </p:pic>
      <p:pic>
        <p:nvPicPr>
          <p:cNvPr id="49" name="Billede 48" descr="Et billede, der indeholder tekst, Font/skrifttype, logo, Grafik&#10;&#10;Indhold genereret af kunstig intelligens kan være forkert.">
            <a:extLst>
              <a:ext uri="{FF2B5EF4-FFF2-40B4-BE49-F238E27FC236}">
                <a16:creationId xmlns:a16="http://schemas.microsoft.com/office/drawing/2014/main" id="{79B28B09-897B-995E-12B2-E9AF4AC8300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9567" y="73352"/>
            <a:ext cx="788400" cy="788400"/>
          </a:xfrm>
          <a:prstGeom prst="rect">
            <a:avLst/>
          </a:prstGeom>
        </p:spPr>
      </p:pic>
      <p:pic>
        <p:nvPicPr>
          <p:cNvPr id="50" name="Billede 49" descr="Et billede, der indeholder tekst, Font/skrifttype, logo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EB2588B5-25B4-1335-0C4D-B4C4DB3D8226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4151" y="68899"/>
            <a:ext cx="788400" cy="788400"/>
          </a:xfrm>
          <a:prstGeom prst="rect">
            <a:avLst/>
          </a:prstGeom>
        </p:spPr>
      </p:pic>
      <p:pic>
        <p:nvPicPr>
          <p:cNvPr id="51" name="Billede 50" descr="Et billede, der indeholder tekst, Font/skrifttype, grøn, Grafik&#10;&#10;Indhold genereret af kunstig intelligens kan være forkert.">
            <a:extLst>
              <a:ext uri="{FF2B5EF4-FFF2-40B4-BE49-F238E27FC236}">
                <a16:creationId xmlns:a16="http://schemas.microsoft.com/office/drawing/2014/main" id="{73032E07-D430-3CBF-8DE4-699D1F3A98E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444" y="71748"/>
            <a:ext cx="788400" cy="788400"/>
          </a:xfrm>
          <a:prstGeom prst="rect">
            <a:avLst/>
          </a:prstGeom>
        </p:spPr>
      </p:pic>
      <p:pic>
        <p:nvPicPr>
          <p:cNvPr id="52" name="Billede 51" descr="Et billede, der indeholder tekst, Font/skrifttype, Grafik, design&#10;&#10;Indhold genereret af kunstig intelligens kan være forkert.">
            <a:extLst>
              <a:ext uri="{FF2B5EF4-FFF2-40B4-BE49-F238E27FC236}">
                <a16:creationId xmlns:a16="http://schemas.microsoft.com/office/drawing/2014/main" id="{54A5C3C5-E33F-CF9C-154B-4B5355CC0B39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732" y="71957"/>
            <a:ext cx="788400" cy="78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32368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A8C8E9-8556-578F-821C-7EDB9373E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G - Governanc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5F0A557-41BE-31CB-43A2-678FFA4724F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21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AD7D8E-B8FD-CE76-C441-5ED641873E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62C2276B-36A3-B964-D73F-32DBB654EA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Hvordan vi leder og styrer</a:t>
            </a:r>
          </a:p>
        </p:txBody>
      </p:sp>
      <p:sp>
        <p:nvSpPr>
          <p:cNvPr id="7" name="Rectangle: Rounded Corners 3">
            <a:extLst>
              <a:ext uri="{FF2B5EF4-FFF2-40B4-BE49-F238E27FC236}">
                <a16:creationId xmlns:a16="http://schemas.microsoft.com/office/drawing/2014/main" id="{FAB952C0-D5BD-F7A1-6440-168FF51C3316}"/>
              </a:ext>
            </a:extLst>
          </p:cNvPr>
          <p:cNvSpPr/>
          <p:nvPr/>
        </p:nvSpPr>
        <p:spPr>
          <a:xfrm>
            <a:off x="7703556" y="2379165"/>
            <a:ext cx="3998588" cy="3325772"/>
          </a:xfrm>
          <a:custGeom>
            <a:avLst/>
            <a:gdLst>
              <a:gd name="csX0" fmla="*/ 0 w 3998588"/>
              <a:gd name="csY0" fmla="*/ 221696 h 3325772"/>
              <a:gd name="csX1" fmla="*/ 221696 w 3998588"/>
              <a:gd name="csY1" fmla="*/ 0 h 3325772"/>
              <a:gd name="csX2" fmla="*/ 778677 w 3998588"/>
              <a:gd name="csY2" fmla="*/ 0 h 3325772"/>
              <a:gd name="csX3" fmla="*/ 1264553 w 3998588"/>
              <a:gd name="csY3" fmla="*/ 0 h 3325772"/>
              <a:gd name="csX4" fmla="*/ 1892638 w 3998588"/>
              <a:gd name="csY4" fmla="*/ 0 h 3325772"/>
              <a:gd name="csX5" fmla="*/ 2414067 w 3998588"/>
              <a:gd name="csY5" fmla="*/ 0 h 3325772"/>
              <a:gd name="csX6" fmla="*/ 2899944 w 3998588"/>
              <a:gd name="csY6" fmla="*/ 0 h 3325772"/>
              <a:gd name="csX7" fmla="*/ 3776892 w 3998588"/>
              <a:gd name="csY7" fmla="*/ 0 h 3325772"/>
              <a:gd name="csX8" fmla="*/ 3998588 w 3998588"/>
              <a:gd name="csY8" fmla="*/ 221696 h 3325772"/>
              <a:gd name="csX9" fmla="*/ 3998588 w 3998588"/>
              <a:gd name="csY9" fmla="*/ 826996 h 3325772"/>
              <a:gd name="csX10" fmla="*/ 3998588 w 3998588"/>
              <a:gd name="csY10" fmla="*/ 1345824 h 3325772"/>
              <a:gd name="csX11" fmla="*/ 3998588 w 3998588"/>
              <a:gd name="csY11" fmla="*/ 1893476 h 3325772"/>
              <a:gd name="csX12" fmla="*/ 3998588 w 3998588"/>
              <a:gd name="csY12" fmla="*/ 2469952 h 3325772"/>
              <a:gd name="csX13" fmla="*/ 3998588 w 3998588"/>
              <a:gd name="csY13" fmla="*/ 3104076 h 3325772"/>
              <a:gd name="csX14" fmla="*/ 3776892 w 3998588"/>
              <a:gd name="csY14" fmla="*/ 3325772 h 3325772"/>
              <a:gd name="csX15" fmla="*/ 3184359 w 3998588"/>
              <a:gd name="csY15" fmla="*/ 3325772 h 3325772"/>
              <a:gd name="csX16" fmla="*/ 2556275 w 3998588"/>
              <a:gd name="csY16" fmla="*/ 3325772 h 3325772"/>
              <a:gd name="csX17" fmla="*/ 1999294 w 3998588"/>
              <a:gd name="csY17" fmla="*/ 3325772 h 3325772"/>
              <a:gd name="csX18" fmla="*/ 1371209 w 3998588"/>
              <a:gd name="csY18" fmla="*/ 3325772 h 3325772"/>
              <a:gd name="csX19" fmla="*/ 849781 w 3998588"/>
              <a:gd name="csY19" fmla="*/ 3325772 h 3325772"/>
              <a:gd name="csX20" fmla="*/ 221696 w 3998588"/>
              <a:gd name="csY20" fmla="*/ 3325772 h 3325772"/>
              <a:gd name="csX21" fmla="*/ 0 w 3998588"/>
              <a:gd name="csY21" fmla="*/ 3104076 h 3325772"/>
              <a:gd name="csX22" fmla="*/ 0 w 3998588"/>
              <a:gd name="csY22" fmla="*/ 2498776 h 3325772"/>
              <a:gd name="csX23" fmla="*/ 0 w 3998588"/>
              <a:gd name="csY23" fmla="*/ 1864653 h 3325772"/>
              <a:gd name="csX24" fmla="*/ 0 w 3998588"/>
              <a:gd name="csY24" fmla="*/ 1317000 h 3325772"/>
              <a:gd name="csX25" fmla="*/ 0 w 3998588"/>
              <a:gd name="csY25" fmla="*/ 798172 h 3325772"/>
              <a:gd name="csX26" fmla="*/ 0 w 3998588"/>
              <a:gd name="csY26" fmla="*/ 221696 h 3325772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</a:cxnLst>
            <a:rect l="l" t="t" r="r" b="b"/>
            <a:pathLst>
              <a:path w="3998588" h="3325772" fill="none" extrusionOk="0">
                <a:moveTo>
                  <a:pt x="0" y="221696"/>
                </a:moveTo>
                <a:cubicBezTo>
                  <a:pt x="-1017" y="78164"/>
                  <a:pt x="112811" y="8539"/>
                  <a:pt x="221696" y="0"/>
                </a:cubicBezTo>
                <a:cubicBezTo>
                  <a:pt x="412621" y="25188"/>
                  <a:pt x="514760" y="26598"/>
                  <a:pt x="778677" y="0"/>
                </a:cubicBezTo>
                <a:cubicBezTo>
                  <a:pt x="1042594" y="-26598"/>
                  <a:pt x="1082368" y="6694"/>
                  <a:pt x="1264553" y="0"/>
                </a:cubicBezTo>
                <a:cubicBezTo>
                  <a:pt x="1446738" y="-6694"/>
                  <a:pt x="1700737" y="-17970"/>
                  <a:pt x="1892638" y="0"/>
                </a:cubicBezTo>
                <a:cubicBezTo>
                  <a:pt x="2084539" y="17970"/>
                  <a:pt x="2202305" y="17880"/>
                  <a:pt x="2414067" y="0"/>
                </a:cubicBezTo>
                <a:cubicBezTo>
                  <a:pt x="2625829" y="-17880"/>
                  <a:pt x="2677015" y="10316"/>
                  <a:pt x="2899944" y="0"/>
                </a:cubicBezTo>
                <a:cubicBezTo>
                  <a:pt x="3122873" y="-10316"/>
                  <a:pt x="3486341" y="-15486"/>
                  <a:pt x="3776892" y="0"/>
                </a:cubicBezTo>
                <a:cubicBezTo>
                  <a:pt x="3894128" y="19470"/>
                  <a:pt x="4010444" y="102658"/>
                  <a:pt x="3998588" y="221696"/>
                </a:cubicBezTo>
                <a:cubicBezTo>
                  <a:pt x="3978403" y="370973"/>
                  <a:pt x="4024877" y="607250"/>
                  <a:pt x="3998588" y="826996"/>
                </a:cubicBezTo>
                <a:cubicBezTo>
                  <a:pt x="3972299" y="1046742"/>
                  <a:pt x="4004791" y="1169714"/>
                  <a:pt x="3998588" y="1345824"/>
                </a:cubicBezTo>
                <a:cubicBezTo>
                  <a:pt x="3992385" y="1521934"/>
                  <a:pt x="3976715" y="1765032"/>
                  <a:pt x="3998588" y="1893476"/>
                </a:cubicBezTo>
                <a:cubicBezTo>
                  <a:pt x="4020461" y="2021920"/>
                  <a:pt x="3999508" y="2325979"/>
                  <a:pt x="3998588" y="2469952"/>
                </a:cubicBezTo>
                <a:cubicBezTo>
                  <a:pt x="3997668" y="2613925"/>
                  <a:pt x="4019535" y="2911098"/>
                  <a:pt x="3998588" y="3104076"/>
                </a:cubicBezTo>
                <a:cubicBezTo>
                  <a:pt x="4002865" y="3237508"/>
                  <a:pt x="3925122" y="3337770"/>
                  <a:pt x="3776892" y="3325772"/>
                </a:cubicBezTo>
                <a:cubicBezTo>
                  <a:pt x="3622316" y="3336170"/>
                  <a:pt x="3323116" y="3312513"/>
                  <a:pt x="3184359" y="3325772"/>
                </a:cubicBezTo>
                <a:cubicBezTo>
                  <a:pt x="3045602" y="3339031"/>
                  <a:pt x="2785127" y="3298158"/>
                  <a:pt x="2556275" y="3325772"/>
                </a:cubicBezTo>
                <a:cubicBezTo>
                  <a:pt x="2327423" y="3353386"/>
                  <a:pt x="2200497" y="3301619"/>
                  <a:pt x="1999294" y="3325772"/>
                </a:cubicBezTo>
                <a:cubicBezTo>
                  <a:pt x="1798091" y="3349925"/>
                  <a:pt x="1552044" y="3309732"/>
                  <a:pt x="1371209" y="3325772"/>
                </a:cubicBezTo>
                <a:cubicBezTo>
                  <a:pt x="1190374" y="3341812"/>
                  <a:pt x="1027612" y="3344675"/>
                  <a:pt x="849781" y="3325772"/>
                </a:cubicBezTo>
                <a:cubicBezTo>
                  <a:pt x="671950" y="3306869"/>
                  <a:pt x="410232" y="3297353"/>
                  <a:pt x="221696" y="3325772"/>
                </a:cubicBezTo>
                <a:cubicBezTo>
                  <a:pt x="122317" y="3333683"/>
                  <a:pt x="-12896" y="3200924"/>
                  <a:pt x="0" y="3104076"/>
                </a:cubicBezTo>
                <a:cubicBezTo>
                  <a:pt x="-10632" y="2963914"/>
                  <a:pt x="-28035" y="2764725"/>
                  <a:pt x="0" y="2498776"/>
                </a:cubicBezTo>
                <a:cubicBezTo>
                  <a:pt x="28035" y="2232827"/>
                  <a:pt x="22260" y="2046762"/>
                  <a:pt x="0" y="1864653"/>
                </a:cubicBezTo>
                <a:cubicBezTo>
                  <a:pt x="-22260" y="1682544"/>
                  <a:pt x="22210" y="1583670"/>
                  <a:pt x="0" y="1317000"/>
                </a:cubicBezTo>
                <a:cubicBezTo>
                  <a:pt x="-22210" y="1050330"/>
                  <a:pt x="988" y="1054692"/>
                  <a:pt x="0" y="798172"/>
                </a:cubicBezTo>
                <a:cubicBezTo>
                  <a:pt x="-988" y="541652"/>
                  <a:pt x="233" y="346021"/>
                  <a:pt x="0" y="221696"/>
                </a:cubicBezTo>
                <a:close/>
              </a:path>
              <a:path w="3998588" h="3325772" stroke="0" extrusionOk="0">
                <a:moveTo>
                  <a:pt x="0" y="221696"/>
                </a:moveTo>
                <a:cubicBezTo>
                  <a:pt x="-24751" y="83990"/>
                  <a:pt x="91347" y="2969"/>
                  <a:pt x="221696" y="0"/>
                </a:cubicBezTo>
                <a:cubicBezTo>
                  <a:pt x="392768" y="-23617"/>
                  <a:pt x="670272" y="-4281"/>
                  <a:pt x="885333" y="0"/>
                </a:cubicBezTo>
                <a:cubicBezTo>
                  <a:pt x="1100394" y="4281"/>
                  <a:pt x="1255129" y="24833"/>
                  <a:pt x="1442313" y="0"/>
                </a:cubicBezTo>
                <a:cubicBezTo>
                  <a:pt x="1629497" y="-24833"/>
                  <a:pt x="1755621" y="19204"/>
                  <a:pt x="1963742" y="0"/>
                </a:cubicBezTo>
                <a:cubicBezTo>
                  <a:pt x="2171863" y="-19204"/>
                  <a:pt x="2464482" y="15461"/>
                  <a:pt x="2591827" y="0"/>
                </a:cubicBezTo>
                <a:cubicBezTo>
                  <a:pt x="2719173" y="-15461"/>
                  <a:pt x="2921108" y="-4496"/>
                  <a:pt x="3148807" y="0"/>
                </a:cubicBezTo>
                <a:cubicBezTo>
                  <a:pt x="3376506" y="4496"/>
                  <a:pt x="3637609" y="-29672"/>
                  <a:pt x="3776892" y="0"/>
                </a:cubicBezTo>
                <a:cubicBezTo>
                  <a:pt x="3896766" y="-24465"/>
                  <a:pt x="3987699" y="114390"/>
                  <a:pt x="3998588" y="221696"/>
                </a:cubicBezTo>
                <a:cubicBezTo>
                  <a:pt x="4021829" y="398014"/>
                  <a:pt x="3985164" y="491491"/>
                  <a:pt x="3998588" y="740524"/>
                </a:cubicBezTo>
                <a:cubicBezTo>
                  <a:pt x="4012012" y="989557"/>
                  <a:pt x="4018529" y="1143845"/>
                  <a:pt x="3998588" y="1317000"/>
                </a:cubicBezTo>
                <a:cubicBezTo>
                  <a:pt x="3978647" y="1490155"/>
                  <a:pt x="4004139" y="1662348"/>
                  <a:pt x="3998588" y="1893476"/>
                </a:cubicBezTo>
                <a:cubicBezTo>
                  <a:pt x="3993037" y="2124604"/>
                  <a:pt x="3999362" y="2327555"/>
                  <a:pt x="3998588" y="2441129"/>
                </a:cubicBezTo>
                <a:cubicBezTo>
                  <a:pt x="3997814" y="2554703"/>
                  <a:pt x="4014263" y="2772619"/>
                  <a:pt x="3998588" y="3104076"/>
                </a:cubicBezTo>
                <a:cubicBezTo>
                  <a:pt x="4008988" y="3213604"/>
                  <a:pt x="3876503" y="3316947"/>
                  <a:pt x="3776892" y="3325772"/>
                </a:cubicBezTo>
                <a:cubicBezTo>
                  <a:pt x="3619078" y="3311976"/>
                  <a:pt x="3373143" y="3316271"/>
                  <a:pt x="3184359" y="3325772"/>
                </a:cubicBezTo>
                <a:cubicBezTo>
                  <a:pt x="2995575" y="3335273"/>
                  <a:pt x="2713558" y="3309377"/>
                  <a:pt x="2520723" y="3325772"/>
                </a:cubicBezTo>
                <a:cubicBezTo>
                  <a:pt x="2327888" y="3342167"/>
                  <a:pt x="2107393" y="3322628"/>
                  <a:pt x="1928190" y="3325772"/>
                </a:cubicBezTo>
                <a:cubicBezTo>
                  <a:pt x="1748987" y="3328916"/>
                  <a:pt x="1646904" y="3303475"/>
                  <a:pt x="1442313" y="3325772"/>
                </a:cubicBezTo>
                <a:cubicBezTo>
                  <a:pt x="1237722" y="3348069"/>
                  <a:pt x="1179999" y="3330852"/>
                  <a:pt x="920885" y="3325772"/>
                </a:cubicBezTo>
                <a:cubicBezTo>
                  <a:pt x="661771" y="3320692"/>
                  <a:pt x="486744" y="3320169"/>
                  <a:pt x="221696" y="3325772"/>
                </a:cubicBezTo>
                <a:cubicBezTo>
                  <a:pt x="128605" y="3319562"/>
                  <a:pt x="357" y="3229907"/>
                  <a:pt x="0" y="3104076"/>
                </a:cubicBezTo>
                <a:cubicBezTo>
                  <a:pt x="18092" y="2970277"/>
                  <a:pt x="-6085" y="2843662"/>
                  <a:pt x="0" y="2585248"/>
                </a:cubicBezTo>
                <a:cubicBezTo>
                  <a:pt x="6085" y="2326834"/>
                  <a:pt x="6497" y="2211944"/>
                  <a:pt x="0" y="2095243"/>
                </a:cubicBezTo>
                <a:cubicBezTo>
                  <a:pt x="-6497" y="1978543"/>
                  <a:pt x="-15053" y="1707082"/>
                  <a:pt x="0" y="1605238"/>
                </a:cubicBezTo>
                <a:cubicBezTo>
                  <a:pt x="15053" y="1503395"/>
                  <a:pt x="-23913" y="1226485"/>
                  <a:pt x="0" y="1028762"/>
                </a:cubicBezTo>
                <a:cubicBezTo>
                  <a:pt x="23913" y="831039"/>
                  <a:pt x="-26671" y="457394"/>
                  <a:pt x="0" y="221696"/>
                </a:cubicBezTo>
                <a:close/>
              </a:path>
            </a:pathLst>
          </a:custGeom>
          <a:solidFill>
            <a:srgbClr val="D5DAE4">
              <a:alpha val="77647"/>
            </a:srgbClr>
          </a:solidFill>
          <a:ln>
            <a:solidFill>
              <a:schemeClr val="accent4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666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da-DK" sz="1400" b="1" i="0">
                <a:solidFill>
                  <a:srgbClr val="1A1A1A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ksempler på tiltag </a:t>
            </a:r>
            <a:endParaRPr lang="da-DK" sz="1400" b="1">
              <a:solidFill>
                <a:srgbClr val="1A1A1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endParaRPr lang="da-DK" sz="140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ddannelse af demokrater 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kruttering af flere demokrater og frivillige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nderstøtte beboerinitiativ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rav om lærlingeplads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rug af lokale leverandør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ngsigtede vedligeholdelsesplan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genkontrol og interne procedur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ruktureret risikostyring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edtagelse af politikker</a:t>
            </a:r>
          </a:p>
          <a:p>
            <a:pPr marL="171450" indent="-17145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da-DK" sz="140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lementering af politikker i daglig drift</a:t>
            </a:r>
          </a:p>
          <a:p>
            <a:endParaRPr lang="da-DK" sz="1400" b="1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Flowchart: Alternate Process 103">
            <a:extLst>
              <a:ext uri="{FF2B5EF4-FFF2-40B4-BE49-F238E27FC236}">
                <a16:creationId xmlns:a16="http://schemas.microsoft.com/office/drawing/2014/main" id="{B92C649A-BE31-46E5-14E2-4A9EC89BC2A1}"/>
              </a:ext>
            </a:extLst>
          </p:cNvPr>
          <p:cNvSpPr/>
          <p:nvPr/>
        </p:nvSpPr>
        <p:spPr>
          <a:xfrm>
            <a:off x="622876" y="1880785"/>
            <a:ext cx="2473277" cy="446188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eboerdemokrati</a:t>
            </a:r>
          </a:p>
        </p:txBody>
      </p:sp>
      <p:sp>
        <p:nvSpPr>
          <p:cNvPr id="9" name="Flowchart: Alternate Process 104">
            <a:extLst>
              <a:ext uri="{FF2B5EF4-FFF2-40B4-BE49-F238E27FC236}">
                <a16:creationId xmlns:a16="http://schemas.microsoft.com/office/drawing/2014/main" id="{451CDEB1-F9A5-0235-0DA7-E33BA7D37BDE}"/>
              </a:ext>
            </a:extLst>
          </p:cNvPr>
          <p:cNvSpPr/>
          <p:nvPr/>
        </p:nvSpPr>
        <p:spPr>
          <a:xfrm>
            <a:off x="2679318" y="1863771"/>
            <a:ext cx="2473277" cy="446188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rivillighed</a:t>
            </a:r>
          </a:p>
        </p:txBody>
      </p:sp>
      <p:sp>
        <p:nvSpPr>
          <p:cNvPr id="10" name="Flowchart: Alternate Process 108">
            <a:extLst>
              <a:ext uri="{FF2B5EF4-FFF2-40B4-BE49-F238E27FC236}">
                <a16:creationId xmlns:a16="http://schemas.microsoft.com/office/drawing/2014/main" id="{A0085B8B-78D8-4A58-F98E-24C5F201ADF1}"/>
              </a:ext>
            </a:extLst>
          </p:cNvPr>
          <p:cNvSpPr/>
          <p:nvPr/>
        </p:nvSpPr>
        <p:spPr>
          <a:xfrm>
            <a:off x="596313" y="3919193"/>
            <a:ext cx="2473277" cy="446188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Økonomistyring</a:t>
            </a:r>
          </a:p>
        </p:txBody>
      </p:sp>
      <p:sp>
        <p:nvSpPr>
          <p:cNvPr id="11" name="Flowchart: Alternate Process 112">
            <a:extLst>
              <a:ext uri="{FF2B5EF4-FFF2-40B4-BE49-F238E27FC236}">
                <a16:creationId xmlns:a16="http://schemas.microsoft.com/office/drawing/2014/main" id="{DAEA6070-346C-6F39-5E99-41E1E6751885}"/>
              </a:ext>
            </a:extLst>
          </p:cNvPr>
          <p:cNvSpPr/>
          <p:nvPr/>
        </p:nvSpPr>
        <p:spPr>
          <a:xfrm>
            <a:off x="5230279" y="3903903"/>
            <a:ext cx="2473277" cy="446188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Politikker og praksis</a:t>
            </a:r>
          </a:p>
        </p:txBody>
      </p:sp>
      <p:sp>
        <p:nvSpPr>
          <p:cNvPr id="12" name="Flowchart: Alternate Process 11">
            <a:extLst>
              <a:ext uri="{FF2B5EF4-FFF2-40B4-BE49-F238E27FC236}">
                <a16:creationId xmlns:a16="http://schemas.microsoft.com/office/drawing/2014/main" id="{7DCE1F0B-7249-3012-74EE-D5240C2010C0}"/>
              </a:ext>
            </a:extLst>
          </p:cNvPr>
          <p:cNvSpPr/>
          <p:nvPr/>
        </p:nvSpPr>
        <p:spPr>
          <a:xfrm>
            <a:off x="5152595" y="1893343"/>
            <a:ext cx="2473277" cy="446188"/>
          </a:xfrm>
          <a:prstGeom prst="flowChartAlternate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ociale klausuler</a:t>
            </a:r>
          </a:p>
        </p:txBody>
      </p:sp>
      <p:sp>
        <p:nvSpPr>
          <p:cNvPr id="13" name="Flowchart: Alternate Process 109">
            <a:extLst>
              <a:ext uri="{FF2B5EF4-FFF2-40B4-BE49-F238E27FC236}">
                <a16:creationId xmlns:a16="http://schemas.microsoft.com/office/drawing/2014/main" id="{1085AE99-2133-0511-57CB-C66D32FA278D}"/>
              </a:ext>
            </a:extLst>
          </p:cNvPr>
          <p:cNvSpPr/>
          <p:nvPr/>
        </p:nvSpPr>
        <p:spPr>
          <a:xfrm>
            <a:off x="3109322" y="3907802"/>
            <a:ext cx="1880612" cy="446188"/>
          </a:xfrm>
          <a:prstGeom prst="flowChartAlternateProcess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288000" marR="0" lvl="0" indent="0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verholdelse af regulering</a:t>
            </a:r>
          </a:p>
        </p:txBody>
      </p:sp>
      <p:pic>
        <p:nvPicPr>
          <p:cNvPr id="14" name="Graphic 113">
            <a:extLst>
              <a:ext uri="{FF2B5EF4-FFF2-40B4-BE49-F238E27FC236}">
                <a16:creationId xmlns:a16="http://schemas.microsoft.com/office/drawing/2014/main" id="{74BBAE2F-4389-1774-E1B0-0D03FE880D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6185" y="3919193"/>
            <a:ext cx="448585" cy="448585"/>
          </a:xfrm>
          <a:prstGeom prst="rect">
            <a:avLst/>
          </a:prstGeom>
        </p:spPr>
      </p:pic>
      <p:pic>
        <p:nvPicPr>
          <p:cNvPr id="15" name="Graphic 114">
            <a:extLst>
              <a:ext uri="{FF2B5EF4-FFF2-40B4-BE49-F238E27FC236}">
                <a16:creationId xmlns:a16="http://schemas.microsoft.com/office/drawing/2014/main" id="{76CC2E34-4CAE-54D8-2BF0-31420C4235D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2876" y="1913594"/>
            <a:ext cx="465571" cy="465571"/>
          </a:xfrm>
          <a:prstGeom prst="rect">
            <a:avLst/>
          </a:prstGeom>
        </p:spPr>
      </p:pic>
      <p:pic>
        <p:nvPicPr>
          <p:cNvPr id="16" name="Graphic 17">
            <a:extLst>
              <a:ext uri="{FF2B5EF4-FFF2-40B4-BE49-F238E27FC236}">
                <a16:creationId xmlns:a16="http://schemas.microsoft.com/office/drawing/2014/main" id="{C8484F0A-11AF-617C-420C-B8A21361402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17065" y="1820046"/>
            <a:ext cx="465570" cy="465570"/>
          </a:xfrm>
          <a:prstGeom prst="rect">
            <a:avLst/>
          </a:prstGeom>
        </p:spPr>
      </p:pic>
      <p:pic>
        <p:nvPicPr>
          <p:cNvPr id="17" name="Graphic 21">
            <a:extLst>
              <a:ext uri="{FF2B5EF4-FFF2-40B4-BE49-F238E27FC236}">
                <a16:creationId xmlns:a16="http://schemas.microsoft.com/office/drawing/2014/main" id="{089CA1F8-B383-1154-BD6E-4D13DB80E95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66668" y="3859104"/>
            <a:ext cx="566364" cy="56636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1AD476A-9C51-2D29-EED3-B9BB28C2696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8256" y="1844387"/>
            <a:ext cx="465572" cy="46557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E21C42EA-C410-1067-07FB-77E0636A3F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889827" y="3842652"/>
            <a:ext cx="599269" cy="599269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901F1F12-BC81-E24A-F359-A8468FE33F59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b="9889"/>
          <a:stretch>
            <a:fillRect/>
          </a:stretch>
        </p:blipFill>
        <p:spPr>
          <a:xfrm>
            <a:off x="596313" y="2411974"/>
            <a:ext cx="2083005" cy="1211574"/>
          </a:xfrm>
          <a:prstGeom prst="rect">
            <a:avLst/>
          </a:prstGeom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E0D743DD-6182-BF11-42B6-9B9452731046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 b="4271"/>
          <a:stretch>
            <a:fillRect/>
          </a:stretch>
        </p:blipFill>
        <p:spPr>
          <a:xfrm>
            <a:off x="3008256" y="2403609"/>
            <a:ext cx="2082744" cy="1198848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7075CDDC-99C0-518C-40C4-84F622BE58F3}"/>
              </a:ext>
            </a:extLst>
          </p:cNvPr>
          <p:cNvPicPr>
            <a:picLocks noChangeAspect="1"/>
          </p:cNvPicPr>
          <p:nvPr/>
        </p:nvPicPr>
        <p:blipFill>
          <a:blip r:embed="rId18"/>
          <a:srcRect b="4284"/>
          <a:stretch>
            <a:fillRect/>
          </a:stretch>
        </p:blipFill>
        <p:spPr>
          <a:xfrm>
            <a:off x="5425545" y="2391994"/>
            <a:ext cx="2082744" cy="1210463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2E52A2C6-0CAE-81FB-396B-8965D0FC69DC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 b="4534"/>
          <a:stretch>
            <a:fillRect/>
          </a:stretch>
        </p:blipFill>
        <p:spPr>
          <a:xfrm>
            <a:off x="596313" y="4485716"/>
            <a:ext cx="2083005" cy="1219221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E81E0F34-354E-211B-4125-DFA5F905A9DE}"/>
              </a:ext>
            </a:extLst>
          </p:cNvPr>
          <p:cNvPicPr>
            <a:picLocks noChangeAspect="1"/>
          </p:cNvPicPr>
          <p:nvPr/>
        </p:nvPicPr>
        <p:blipFill>
          <a:blip r:embed="rId20"/>
          <a:srcRect b="8754"/>
          <a:stretch>
            <a:fillRect/>
          </a:stretch>
        </p:blipFill>
        <p:spPr>
          <a:xfrm>
            <a:off x="5425545" y="4470267"/>
            <a:ext cx="2076783" cy="1228717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5C964C5C-36CC-D216-4E40-5685FB92932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008256" y="4485556"/>
            <a:ext cx="2076783" cy="1198847"/>
          </a:xfrm>
          <a:prstGeom prst="rect">
            <a:avLst/>
          </a:prstGeom>
        </p:spPr>
      </p:pic>
      <p:grpSp>
        <p:nvGrpSpPr>
          <p:cNvPr id="26" name="Group 332">
            <a:extLst>
              <a:ext uri="{FF2B5EF4-FFF2-40B4-BE49-F238E27FC236}">
                <a16:creationId xmlns:a16="http://schemas.microsoft.com/office/drawing/2014/main" id="{D67ED150-3F45-D82B-342B-4BA847496E2C}"/>
              </a:ext>
            </a:extLst>
          </p:cNvPr>
          <p:cNvGrpSpPr/>
          <p:nvPr/>
        </p:nvGrpSpPr>
        <p:grpSpPr>
          <a:xfrm rot="21410080">
            <a:off x="143677" y="87985"/>
            <a:ext cx="905270" cy="898990"/>
            <a:chOff x="8336051" y="3610471"/>
            <a:chExt cx="2227633" cy="2212181"/>
          </a:xfrm>
        </p:grpSpPr>
        <p:sp>
          <p:nvSpPr>
            <p:cNvPr id="27" name="Freeform: Shape 333">
              <a:extLst>
                <a:ext uri="{FF2B5EF4-FFF2-40B4-BE49-F238E27FC236}">
                  <a16:creationId xmlns:a16="http://schemas.microsoft.com/office/drawing/2014/main" id="{3D699B7B-FEE7-A546-39D5-7A64C08DF54D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28" name="Freeform: Shape 334">
              <a:extLst>
                <a:ext uri="{FF2B5EF4-FFF2-40B4-BE49-F238E27FC236}">
                  <a16:creationId xmlns:a16="http://schemas.microsoft.com/office/drawing/2014/main" id="{96F3F597-AAD2-97A6-D3C6-CC32854BE95E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29" name="Billede 28" descr="Et billede, der indeholder tekst, logo, Font/skrifttype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66DE34BF-D6C8-41FE-3878-562B438E543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3600" y="83031"/>
            <a:ext cx="788400" cy="788400"/>
          </a:xfrm>
          <a:prstGeom prst="rect">
            <a:avLst/>
          </a:prstGeom>
        </p:spPr>
      </p:pic>
      <p:pic>
        <p:nvPicPr>
          <p:cNvPr id="31" name="Billede 30" descr="Et billede, der indeholder tekst, fugl, design&#10;&#10;Indhold genereret af kunstig intelligens kan være forkert.">
            <a:extLst>
              <a:ext uri="{FF2B5EF4-FFF2-40B4-BE49-F238E27FC236}">
                <a16:creationId xmlns:a16="http://schemas.microsoft.com/office/drawing/2014/main" id="{A73A580F-D799-4B54-4520-DF2623D3DB5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5074" y="83031"/>
            <a:ext cx="788400" cy="788400"/>
          </a:xfrm>
          <a:prstGeom prst="rect">
            <a:avLst/>
          </a:prstGeom>
        </p:spPr>
      </p:pic>
      <p:pic>
        <p:nvPicPr>
          <p:cNvPr id="32" name="Billede 31" descr="Et billede, der indeholder tekst, Font/skrifttype, logo, Grafik&#10;&#10;Indhold genereret af kunstig intelligens kan være forkert.">
            <a:extLst>
              <a:ext uri="{FF2B5EF4-FFF2-40B4-BE49-F238E27FC236}">
                <a16:creationId xmlns:a16="http://schemas.microsoft.com/office/drawing/2014/main" id="{695A2D57-F886-37FC-71A2-86C531ADD9D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3085" y="83031"/>
            <a:ext cx="788400" cy="788400"/>
          </a:xfrm>
          <a:prstGeom prst="rect">
            <a:avLst/>
          </a:prstGeom>
        </p:spPr>
      </p:pic>
      <p:pic>
        <p:nvPicPr>
          <p:cNvPr id="33" name="Billede 32" descr="Et billede, der indeholder tekst, Font/skrifttype, logo, Grafik&#10;&#10;Indhold genereret af kunstig intelligens kan være forkert.">
            <a:extLst>
              <a:ext uri="{FF2B5EF4-FFF2-40B4-BE49-F238E27FC236}">
                <a16:creationId xmlns:a16="http://schemas.microsoft.com/office/drawing/2014/main" id="{DA5F0F13-8A26-BE71-5B21-82824CDD250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6548" y="83487"/>
            <a:ext cx="788400" cy="78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444124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3E92EB-B352-22A5-B1F2-033E35D0BB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3EAEFD9-5334-C83B-6B08-29D5B560B4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AEFD9-5334-C83B-6B08-29D5B560B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7" name="Freeform: Shape 636">
            <a:extLst>
              <a:ext uri="{FF2B5EF4-FFF2-40B4-BE49-F238E27FC236}">
                <a16:creationId xmlns:a16="http://schemas.microsoft.com/office/drawing/2014/main" id="{C2F9A8EB-579C-2964-4550-3D2560197A29}"/>
              </a:ext>
            </a:extLst>
          </p:cNvPr>
          <p:cNvSpPr/>
          <p:nvPr/>
        </p:nvSpPr>
        <p:spPr>
          <a:xfrm>
            <a:off x="3758279" y="1598358"/>
            <a:ext cx="2311092" cy="2311090"/>
          </a:xfrm>
          <a:custGeom>
            <a:avLst/>
            <a:gdLst>
              <a:gd name="connsiteX0" fmla="*/ 1983858 w 1983858"/>
              <a:gd name="connsiteY0" fmla="*/ 0 h 1983856"/>
              <a:gd name="connsiteX1" fmla="*/ 1983858 w 1983858"/>
              <a:gd name="connsiteY1" fmla="*/ 1983856 h 1983856"/>
              <a:gd name="connsiteX2" fmla="*/ 0 w 1983858"/>
              <a:gd name="connsiteY2" fmla="*/ 1983856 h 1983856"/>
              <a:gd name="connsiteX3" fmla="*/ 9212 w 1983858"/>
              <a:gd name="connsiteY3" fmla="*/ 1801423 h 1983856"/>
              <a:gd name="connsiteX4" fmla="*/ 1801423 w 1983858"/>
              <a:gd name="connsiteY4" fmla="*/ 9212 h 1983856"/>
              <a:gd name="connsiteX5" fmla="*/ 1983858 w 1983858"/>
              <a:gd name="connsiteY5" fmla="*/ 0 h 1983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83858" h="1983856">
                <a:moveTo>
                  <a:pt x="1983858" y="0"/>
                </a:moveTo>
                <a:lnTo>
                  <a:pt x="1983858" y="1983856"/>
                </a:lnTo>
                <a:lnTo>
                  <a:pt x="0" y="1983856"/>
                </a:lnTo>
                <a:lnTo>
                  <a:pt x="9212" y="1801423"/>
                </a:lnTo>
                <a:cubicBezTo>
                  <a:pt x="105181" y="856441"/>
                  <a:pt x="856441" y="105180"/>
                  <a:pt x="1801423" y="9212"/>
                </a:cubicBezTo>
                <a:lnTo>
                  <a:pt x="1983858" y="0"/>
                </a:lnTo>
                <a:close/>
              </a:path>
            </a:pathLst>
          </a:custGeom>
          <a:solidFill>
            <a:srgbClr val="E1EBE5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636" name="Freeform: Shape 635">
            <a:extLst>
              <a:ext uri="{FF2B5EF4-FFF2-40B4-BE49-F238E27FC236}">
                <a16:creationId xmlns:a16="http://schemas.microsoft.com/office/drawing/2014/main" id="{A305F7F9-5B6E-A1E8-B6F6-160547707401}"/>
              </a:ext>
            </a:extLst>
          </p:cNvPr>
          <p:cNvSpPr/>
          <p:nvPr/>
        </p:nvSpPr>
        <p:spPr>
          <a:xfrm>
            <a:off x="6122632" y="1598358"/>
            <a:ext cx="2311089" cy="2311090"/>
          </a:xfrm>
          <a:custGeom>
            <a:avLst/>
            <a:gdLst>
              <a:gd name="connsiteX0" fmla="*/ 0 w 1983855"/>
              <a:gd name="connsiteY0" fmla="*/ 0 h 1983856"/>
              <a:gd name="connsiteX1" fmla="*/ 182432 w 1983855"/>
              <a:gd name="connsiteY1" fmla="*/ 9212 h 1983856"/>
              <a:gd name="connsiteX2" fmla="*/ 1974643 w 1983855"/>
              <a:gd name="connsiteY2" fmla="*/ 1801423 h 1983856"/>
              <a:gd name="connsiteX3" fmla="*/ 1983855 w 1983855"/>
              <a:gd name="connsiteY3" fmla="*/ 1983856 h 1983856"/>
              <a:gd name="connsiteX4" fmla="*/ 0 w 1983855"/>
              <a:gd name="connsiteY4" fmla="*/ 1983856 h 1983856"/>
              <a:gd name="connsiteX5" fmla="*/ 0 w 1983855"/>
              <a:gd name="connsiteY5" fmla="*/ 0 h 1983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83855" h="1983856">
                <a:moveTo>
                  <a:pt x="0" y="0"/>
                </a:moveTo>
                <a:lnTo>
                  <a:pt x="182432" y="9212"/>
                </a:lnTo>
                <a:cubicBezTo>
                  <a:pt x="1127414" y="105180"/>
                  <a:pt x="1878675" y="856441"/>
                  <a:pt x="1974643" y="1801423"/>
                </a:cubicBezTo>
                <a:lnTo>
                  <a:pt x="1983855" y="1983856"/>
                </a:lnTo>
                <a:lnTo>
                  <a:pt x="0" y="1983856"/>
                </a:lnTo>
                <a:lnTo>
                  <a:pt x="0" y="0"/>
                </a:lnTo>
                <a:close/>
              </a:path>
            </a:pathLst>
          </a:custGeom>
          <a:solidFill>
            <a:srgbClr val="B6C1D6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632" name="Freeform: Shape 631">
            <a:extLst>
              <a:ext uri="{FF2B5EF4-FFF2-40B4-BE49-F238E27FC236}">
                <a16:creationId xmlns:a16="http://schemas.microsoft.com/office/drawing/2014/main" id="{F082C510-B89C-A999-656D-0C42495AAA9A}"/>
              </a:ext>
            </a:extLst>
          </p:cNvPr>
          <p:cNvSpPr/>
          <p:nvPr/>
        </p:nvSpPr>
        <p:spPr>
          <a:xfrm>
            <a:off x="3758279" y="3962709"/>
            <a:ext cx="2311092" cy="2311091"/>
          </a:xfrm>
          <a:custGeom>
            <a:avLst/>
            <a:gdLst>
              <a:gd name="connsiteX0" fmla="*/ 0 w 1983858"/>
              <a:gd name="connsiteY0" fmla="*/ 0 h 1983857"/>
              <a:gd name="connsiteX1" fmla="*/ 1983858 w 1983858"/>
              <a:gd name="connsiteY1" fmla="*/ 0 h 1983857"/>
              <a:gd name="connsiteX2" fmla="*/ 1983858 w 1983858"/>
              <a:gd name="connsiteY2" fmla="*/ 1983857 h 1983857"/>
              <a:gd name="connsiteX3" fmla="*/ 1801423 w 1983858"/>
              <a:gd name="connsiteY3" fmla="*/ 1974645 h 1983857"/>
              <a:gd name="connsiteX4" fmla="*/ 9212 w 1983858"/>
              <a:gd name="connsiteY4" fmla="*/ 182434 h 1983857"/>
              <a:gd name="connsiteX5" fmla="*/ 0 w 1983858"/>
              <a:gd name="connsiteY5" fmla="*/ 0 h 1983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83858" h="1983857">
                <a:moveTo>
                  <a:pt x="0" y="0"/>
                </a:moveTo>
                <a:lnTo>
                  <a:pt x="1983858" y="0"/>
                </a:lnTo>
                <a:lnTo>
                  <a:pt x="1983858" y="1983857"/>
                </a:lnTo>
                <a:lnTo>
                  <a:pt x="1801423" y="1974645"/>
                </a:lnTo>
                <a:cubicBezTo>
                  <a:pt x="856441" y="1878677"/>
                  <a:pt x="105181" y="1127416"/>
                  <a:pt x="9212" y="182434"/>
                </a:cubicBezTo>
                <a:lnTo>
                  <a:pt x="0" y="0"/>
                </a:lnTo>
                <a:close/>
              </a:path>
            </a:pathLst>
          </a:custGeom>
          <a:solidFill>
            <a:srgbClr val="B6C1D6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631" name="Freeform: Shape 630">
            <a:extLst>
              <a:ext uri="{FF2B5EF4-FFF2-40B4-BE49-F238E27FC236}">
                <a16:creationId xmlns:a16="http://schemas.microsoft.com/office/drawing/2014/main" id="{5CAAF290-B831-42DF-9A24-B97589A7F2CA}"/>
              </a:ext>
            </a:extLst>
          </p:cNvPr>
          <p:cNvSpPr/>
          <p:nvPr/>
        </p:nvSpPr>
        <p:spPr>
          <a:xfrm>
            <a:off x="6122632" y="3962709"/>
            <a:ext cx="2311089" cy="2311091"/>
          </a:xfrm>
          <a:custGeom>
            <a:avLst/>
            <a:gdLst>
              <a:gd name="connsiteX0" fmla="*/ 0 w 1983855"/>
              <a:gd name="connsiteY0" fmla="*/ 0 h 1983857"/>
              <a:gd name="connsiteX1" fmla="*/ 1983855 w 1983855"/>
              <a:gd name="connsiteY1" fmla="*/ 0 h 1983857"/>
              <a:gd name="connsiteX2" fmla="*/ 1974643 w 1983855"/>
              <a:gd name="connsiteY2" fmla="*/ 182434 h 1983857"/>
              <a:gd name="connsiteX3" fmla="*/ 182432 w 1983855"/>
              <a:gd name="connsiteY3" fmla="*/ 1974645 h 1983857"/>
              <a:gd name="connsiteX4" fmla="*/ 0 w 1983855"/>
              <a:gd name="connsiteY4" fmla="*/ 1983857 h 1983857"/>
              <a:gd name="connsiteX5" fmla="*/ 0 w 1983855"/>
              <a:gd name="connsiteY5" fmla="*/ 0 h 1983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83855" h="1983857">
                <a:moveTo>
                  <a:pt x="0" y="0"/>
                </a:moveTo>
                <a:lnTo>
                  <a:pt x="1983855" y="0"/>
                </a:lnTo>
                <a:lnTo>
                  <a:pt x="1974643" y="182434"/>
                </a:lnTo>
                <a:cubicBezTo>
                  <a:pt x="1878675" y="1127416"/>
                  <a:pt x="1127414" y="1878677"/>
                  <a:pt x="182432" y="1974645"/>
                </a:cubicBezTo>
                <a:lnTo>
                  <a:pt x="0" y="1983857"/>
                </a:lnTo>
                <a:lnTo>
                  <a:pt x="0" y="0"/>
                </a:lnTo>
                <a:close/>
              </a:path>
            </a:pathLst>
          </a:custGeom>
          <a:solidFill>
            <a:srgbClr val="E1EBE5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>
              <a:latin typeface="Verdana" panose="020B0604030504040204" pitchFamily="34" charset="0"/>
            </a:endParaRP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F4E8C577-B051-C40A-877A-D2736C28766B}"/>
              </a:ext>
            </a:extLst>
          </p:cNvPr>
          <p:cNvGrpSpPr/>
          <p:nvPr/>
        </p:nvGrpSpPr>
        <p:grpSpPr>
          <a:xfrm>
            <a:off x="3735250" y="1598219"/>
            <a:ext cx="4699956" cy="4675441"/>
            <a:chOff x="3725522" y="1637131"/>
            <a:chExt cx="4699956" cy="4675441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661BAA2-AC22-729A-23AF-D69A7C3FA1BB}"/>
                </a:ext>
              </a:extLst>
            </p:cNvPr>
            <p:cNvGrpSpPr/>
            <p:nvPr/>
          </p:nvGrpSpPr>
          <p:grpSpPr>
            <a:xfrm>
              <a:off x="3725522" y="1637131"/>
              <a:ext cx="4699956" cy="2311090"/>
              <a:chOff x="3725522" y="1637131"/>
              <a:chExt cx="4699956" cy="2311090"/>
            </a:xfrm>
          </p:grpSpPr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E6E2CAC1-0D57-EC15-EB39-80F09BD02E32}"/>
                  </a:ext>
                </a:extLst>
              </p:cNvPr>
              <p:cNvSpPr/>
              <p:nvPr/>
            </p:nvSpPr>
            <p:spPr>
              <a:xfrm>
                <a:off x="3725522" y="1637131"/>
                <a:ext cx="2323347" cy="2311090"/>
              </a:xfrm>
              <a:custGeom>
                <a:avLst/>
                <a:gdLst>
                  <a:gd name="connsiteX0" fmla="*/ 1983858 w 1983858"/>
                  <a:gd name="connsiteY0" fmla="*/ 0 h 1983856"/>
                  <a:gd name="connsiteX1" fmla="*/ 1983858 w 1983858"/>
                  <a:gd name="connsiteY1" fmla="*/ 1983856 h 1983856"/>
                  <a:gd name="connsiteX2" fmla="*/ 0 w 1983858"/>
                  <a:gd name="connsiteY2" fmla="*/ 1983856 h 1983856"/>
                  <a:gd name="connsiteX3" fmla="*/ 9212 w 1983858"/>
                  <a:gd name="connsiteY3" fmla="*/ 1801423 h 1983856"/>
                  <a:gd name="connsiteX4" fmla="*/ 1801423 w 1983858"/>
                  <a:gd name="connsiteY4" fmla="*/ 9212 h 1983856"/>
                  <a:gd name="connsiteX5" fmla="*/ 1983858 w 1983858"/>
                  <a:gd name="connsiteY5" fmla="*/ 0 h 1983856"/>
                  <a:gd name="connsiteX0" fmla="*/ 1990388 w 1990388"/>
                  <a:gd name="connsiteY0" fmla="*/ 0 h 1983856"/>
                  <a:gd name="connsiteX1" fmla="*/ 1990388 w 1990388"/>
                  <a:gd name="connsiteY1" fmla="*/ 1983856 h 1983856"/>
                  <a:gd name="connsiteX2" fmla="*/ 6530 w 1990388"/>
                  <a:gd name="connsiteY2" fmla="*/ 1983856 h 1983856"/>
                  <a:gd name="connsiteX3" fmla="*/ 501 w 1990388"/>
                  <a:gd name="connsiteY3" fmla="*/ 1801423 h 1983856"/>
                  <a:gd name="connsiteX4" fmla="*/ 1807953 w 1990388"/>
                  <a:gd name="connsiteY4" fmla="*/ 9212 h 1983856"/>
                  <a:gd name="connsiteX5" fmla="*/ 1990388 w 1990388"/>
                  <a:gd name="connsiteY5" fmla="*/ 0 h 1983856"/>
                  <a:gd name="connsiteX0" fmla="*/ 2091077 w 2091077"/>
                  <a:gd name="connsiteY0" fmla="*/ 0 h 1983856"/>
                  <a:gd name="connsiteX1" fmla="*/ 2091077 w 2091077"/>
                  <a:gd name="connsiteY1" fmla="*/ 1983856 h 1983856"/>
                  <a:gd name="connsiteX2" fmla="*/ 107219 w 2091077"/>
                  <a:gd name="connsiteY2" fmla="*/ 1983856 h 1983856"/>
                  <a:gd name="connsiteX3" fmla="*/ 101190 w 2091077"/>
                  <a:gd name="connsiteY3" fmla="*/ 1801423 h 1983856"/>
                  <a:gd name="connsiteX4" fmla="*/ 145267 w 2091077"/>
                  <a:gd name="connsiteY4" fmla="*/ 1592393 h 1983856"/>
                  <a:gd name="connsiteX5" fmla="*/ 1908642 w 2091077"/>
                  <a:gd name="connsiteY5" fmla="*/ 9212 h 1983856"/>
                  <a:gd name="connsiteX6" fmla="*/ 2091077 w 2091077"/>
                  <a:gd name="connsiteY6" fmla="*/ 0 h 1983856"/>
                  <a:gd name="connsiteX0" fmla="*/ 2133797 w 2133797"/>
                  <a:gd name="connsiteY0" fmla="*/ 0 h 1983856"/>
                  <a:gd name="connsiteX1" fmla="*/ 2133797 w 2133797"/>
                  <a:gd name="connsiteY1" fmla="*/ 1983856 h 1983856"/>
                  <a:gd name="connsiteX2" fmla="*/ 149939 w 2133797"/>
                  <a:gd name="connsiteY2" fmla="*/ 1983856 h 1983856"/>
                  <a:gd name="connsiteX3" fmla="*/ 143910 w 2133797"/>
                  <a:gd name="connsiteY3" fmla="*/ 1801423 h 1983856"/>
                  <a:gd name="connsiteX4" fmla="*/ 187987 w 2133797"/>
                  <a:gd name="connsiteY4" fmla="*/ 1592393 h 1983856"/>
                  <a:gd name="connsiteX5" fmla="*/ 1951362 w 2133797"/>
                  <a:gd name="connsiteY5" fmla="*/ 9212 h 1983856"/>
                  <a:gd name="connsiteX6" fmla="*/ 2133797 w 2133797"/>
                  <a:gd name="connsiteY6" fmla="*/ 0 h 1983856"/>
                  <a:gd name="connsiteX0" fmla="*/ 2113206 w 2113206"/>
                  <a:gd name="connsiteY0" fmla="*/ 0 h 1983856"/>
                  <a:gd name="connsiteX1" fmla="*/ 2113206 w 2113206"/>
                  <a:gd name="connsiteY1" fmla="*/ 1983856 h 1983856"/>
                  <a:gd name="connsiteX2" fmla="*/ 129348 w 2113206"/>
                  <a:gd name="connsiteY2" fmla="*/ 1983856 h 1983856"/>
                  <a:gd name="connsiteX3" fmla="*/ 212227 w 2113206"/>
                  <a:gd name="connsiteY3" fmla="*/ 1742998 h 1983856"/>
                  <a:gd name="connsiteX4" fmla="*/ 167396 w 2113206"/>
                  <a:gd name="connsiteY4" fmla="*/ 1592393 h 1983856"/>
                  <a:gd name="connsiteX5" fmla="*/ 1930771 w 2113206"/>
                  <a:gd name="connsiteY5" fmla="*/ 9212 h 1983856"/>
                  <a:gd name="connsiteX6" fmla="*/ 2113206 w 2113206"/>
                  <a:gd name="connsiteY6" fmla="*/ 0 h 1983856"/>
                  <a:gd name="connsiteX0" fmla="*/ 2122196 w 2122196"/>
                  <a:gd name="connsiteY0" fmla="*/ 0 h 1983856"/>
                  <a:gd name="connsiteX1" fmla="*/ 2122196 w 2122196"/>
                  <a:gd name="connsiteY1" fmla="*/ 1983856 h 1983856"/>
                  <a:gd name="connsiteX2" fmla="*/ 138338 w 2122196"/>
                  <a:gd name="connsiteY2" fmla="*/ 1983856 h 1983856"/>
                  <a:gd name="connsiteX3" fmla="*/ 221217 w 2122196"/>
                  <a:gd name="connsiteY3" fmla="*/ 1742998 h 1983856"/>
                  <a:gd name="connsiteX4" fmla="*/ 453270 w 2122196"/>
                  <a:gd name="connsiteY4" fmla="*/ 942097 h 1983856"/>
                  <a:gd name="connsiteX5" fmla="*/ 1939761 w 2122196"/>
                  <a:gd name="connsiteY5" fmla="*/ 9212 h 1983856"/>
                  <a:gd name="connsiteX6" fmla="*/ 2122196 w 2122196"/>
                  <a:gd name="connsiteY6" fmla="*/ 0 h 1983856"/>
                  <a:gd name="connsiteX0" fmla="*/ 2116165 w 2116165"/>
                  <a:gd name="connsiteY0" fmla="*/ 0 h 1983856"/>
                  <a:gd name="connsiteX1" fmla="*/ 2116165 w 2116165"/>
                  <a:gd name="connsiteY1" fmla="*/ 1983856 h 1983856"/>
                  <a:gd name="connsiteX2" fmla="*/ 132307 w 2116165"/>
                  <a:gd name="connsiteY2" fmla="*/ 1983856 h 1983856"/>
                  <a:gd name="connsiteX3" fmla="*/ 243128 w 2116165"/>
                  <a:gd name="connsiteY3" fmla="*/ 1422931 h 1983856"/>
                  <a:gd name="connsiteX4" fmla="*/ 447239 w 2116165"/>
                  <a:gd name="connsiteY4" fmla="*/ 942097 h 1983856"/>
                  <a:gd name="connsiteX5" fmla="*/ 1933730 w 2116165"/>
                  <a:gd name="connsiteY5" fmla="*/ 9212 h 1983856"/>
                  <a:gd name="connsiteX6" fmla="*/ 2116165 w 2116165"/>
                  <a:gd name="connsiteY6" fmla="*/ 0 h 1983856"/>
                  <a:gd name="connsiteX0" fmla="*/ 1992173 w 1992173"/>
                  <a:gd name="connsiteY0" fmla="*/ 0 h 1983856"/>
                  <a:gd name="connsiteX1" fmla="*/ 1992173 w 1992173"/>
                  <a:gd name="connsiteY1" fmla="*/ 1983856 h 1983856"/>
                  <a:gd name="connsiteX2" fmla="*/ 8315 w 1992173"/>
                  <a:gd name="connsiteY2" fmla="*/ 1983856 h 1983856"/>
                  <a:gd name="connsiteX3" fmla="*/ 119136 w 1992173"/>
                  <a:gd name="connsiteY3" fmla="*/ 1422931 h 1983856"/>
                  <a:gd name="connsiteX4" fmla="*/ 323247 w 1992173"/>
                  <a:gd name="connsiteY4" fmla="*/ 942097 h 1983856"/>
                  <a:gd name="connsiteX5" fmla="*/ 1809738 w 1992173"/>
                  <a:gd name="connsiteY5" fmla="*/ 9212 h 1983856"/>
                  <a:gd name="connsiteX6" fmla="*/ 1992173 w 1992173"/>
                  <a:gd name="connsiteY6" fmla="*/ 0 h 1983856"/>
                  <a:gd name="connsiteX0" fmla="*/ 1998350 w 1998350"/>
                  <a:gd name="connsiteY0" fmla="*/ 0 h 1983856"/>
                  <a:gd name="connsiteX1" fmla="*/ 1998350 w 1998350"/>
                  <a:gd name="connsiteY1" fmla="*/ 1983856 h 1983856"/>
                  <a:gd name="connsiteX2" fmla="*/ 14492 w 1998350"/>
                  <a:gd name="connsiteY2" fmla="*/ 1983856 h 1983856"/>
                  <a:gd name="connsiteX3" fmla="*/ 69429 w 1998350"/>
                  <a:gd name="connsiteY3" fmla="*/ 1613447 h 1983856"/>
                  <a:gd name="connsiteX4" fmla="*/ 329424 w 1998350"/>
                  <a:gd name="connsiteY4" fmla="*/ 942097 h 1983856"/>
                  <a:gd name="connsiteX5" fmla="*/ 1815915 w 1998350"/>
                  <a:gd name="connsiteY5" fmla="*/ 9212 h 1983856"/>
                  <a:gd name="connsiteX6" fmla="*/ 1998350 w 1998350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1813413 w 1995848"/>
                  <a:gd name="connsiteY5" fmla="*/ 9212 h 1983856"/>
                  <a:gd name="connsiteX6" fmla="*/ 1995848 w 1995848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613967 w 1995848"/>
                  <a:gd name="connsiteY5" fmla="*/ 878592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527599 w 1995848"/>
                  <a:gd name="connsiteY5" fmla="*/ 716017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449 w 1995449"/>
                  <a:gd name="connsiteY0" fmla="*/ 0 h 1983856"/>
                  <a:gd name="connsiteX1" fmla="*/ 1995449 w 1995449"/>
                  <a:gd name="connsiteY1" fmla="*/ 1983856 h 1983856"/>
                  <a:gd name="connsiteX2" fmla="*/ 11591 w 1995449"/>
                  <a:gd name="connsiteY2" fmla="*/ 1983856 h 1983856"/>
                  <a:gd name="connsiteX3" fmla="*/ 66528 w 1995449"/>
                  <a:gd name="connsiteY3" fmla="*/ 1613447 h 1983856"/>
                  <a:gd name="connsiteX4" fmla="*/ 199512 w 1995449"/>
                  <a:gd name="connsiteY4" fmla="*/ 1208821 h 1983856"/>
                  <a:gd name="connsiteX5" fmla="*/ 527200 w 1995449"/>
                  <a:gd name="connsiteY5" fmla="*/ 716017 h 1983856"/>
                  <a:gd name="connsiteX6" fmla="*/ 1813014 w 1995449"/>
                  <a:gd name="connsiteY6" fmla="*/ 9212 h 1983856"/>
                  <a:gd name="connsiteX7" fmla="*/ 1995449 w 1995449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526129 w 1994378"/>
                  <a:gd name="connsiteY5" fmla="*/ 716017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72531 w 1994378"/>
                  <a:gd name="connsiteY6" fmla="*/ 573765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3529 w 1994378"/>
                  <a:gd name="connsiteY7" fmla="*/ 337525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18678 w 1994378"/>
                  <a:gd name="connsiteY8" fmla="*/ 162250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295816 w 1994378"/>
                  <a:gd name="connsiteY8" fmla="*/ 131767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18000 w 1994378"/>
                  <a:gd name="connsiteY8" fmla="*/ 182572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14274 w 1994378"/>
                  <a:gd name="connsiteY10" fmla="*/ 86043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14106 w 1994378"/>
                  <a:gd name="connsiteY6" fmla="*/ 489939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64232 w 1994378"/>
                  <a:gd name="connsiteY6" fmla="*/ 647432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38829 w 1994378"/>
                  <a:gd name="connsiteY6" fmla="*/ 614409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302589 w 1994378"/>
                  <a:gd name="connsiteY5" fmla="*/ 959879 h 1983856"/>
                  <a:gd name="connsiteX6" fmla="*/ 442301 w 1994378"/>
                  <a:gd name="connsiteY6" fmla="*/ 784603 h 1983856"/>
                  <a:gd name="connsiteX7" fmla="*/ 538829 w 1994378"/>
                  <a:gd name="connsiteY7" fmla="*/ 614409 h 1983856"/>
                  <a:gd name="connsiteX8" fmla="*/ 714106 w 1994378"/>
                  <a:gd name="connsiteY8" fmla="*/ 489939 h 1983856"/>
                  <a:gd name="connsiteX9" fmla="*/ 947805 w 1994378"/>
                  <a:gd name="connsiteY9" fmla="*/ 253697 h 1983856"/>
                  <a:gd name="connsiteX10" fmla="*/ 1128161 w 1994378"/>
                  <a:gd name="connsiteY10" fmla="*/ 205434 h 1983856"/>
                  <a:gd name="connsiteX11" fmla="*/ 1295816 w 1994378"/>
                  <a:gd name="connsiteY11" fmla="*/ 131767 h 1983856"/>
                  <a:gd name="connsiteX12" fmla="*/ 1534596 w 1994378"/>
                  <a:gd name="connsiteY12" fmla="*/ 47939 h 1983856"/>
                  <a:gd name="connsiteX13" fmla="*/ 1809403 w 1994378"/>
                  <a:gd name="connsiteY13" fmla="*/ 26994 h 1983856"/>
                  <a:gd name="connsiteX14" fmla="*/ 1994378 w 1994378"/>
                  <a:gd name="connsiteY14" fmla="*/ 0 h 198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94378" h="1983856">
                    <a:moveTo>
                      <a:pt x="1994378" y="0"/>
                    </a:moveTo>
                    <a:lnTo>
                      <a:pt x="1994378" y="1983856"/>
                    </a:lnTo>
                    <a:lnTo>
                      <a:pt x="10520" y="1983856"/>
                    </a:lnTo>
                    <a:cubicBezTo>
                      <a:pt x="-26463" y="1874704"/>
                      <a:pt x="44298" y="1744736"/>
                      <a:pt x="65457" y="1613447"/>
                    </a:cubicBezTo>
                    <a:cubicBezTo>
                      <a:pt x="86616" y="1482158"/>
                      <a:pt x="97954" y="1305048"/>
                      <a:pt x="137476" y="1196120"/>
                    </a:cubicBezTo>
                    <a:cubicBezTo>
                      <a:pt x="176998" y="1087192"/>
                      <a:pt x="251785" y="1028465"/>
                      <a:pt x="302589" y="959879"/>
                    </a:cubicBezTo>
                    <a:cubicBezTo>
                      <a:pt x="353393" y="891293"/>
                      <a:pt x="402928" y="842181"/>
                      <a:pt x="442301" y="784603"/>
                    </a:cubicBezTo>
                    <a:cubicBezTo>
                      <a:pt x="481674" y="727025"/>
                      <a:pt x="493528" y="663520"/>
                      <a:pt x="538829" y="614409"/>
                    </a:cubicBezTo>
                    <a:cubicBezTo>
                      <a:pt x="584130" y="565298"/>
                      <a:pt x="650177" y="555562"/>
                      <a:pt x="714106" y="489939"/>
                    </a:cubicBezTo>
                    <a:cubicBezTo>
                      <a:pt x="778035" y="424316"/>
                      <a:pt x="877949" y="301961"/>
                      <a:pt x="947805" y="253697"/>
                    </a:cubicBezTo>
                    <a:cubicBezTo>
                      <a:pt x="1017661" y="205433"/>
                      <a:pt x="1070159" y="225756"/>
                      <a:pt x="1128161" y="205434"/>
                    </a:cubicBezTo>
                    <a:cubicBezTo>
                      <a:pt x="1186163" y="185112"/>
                      <a:pt x="1231464" y="151666"/>
                      <a:pt x="1295816" y="131767"/>
                    </a:cubicBezTo>
                    <a:cubicBezTo>
                      <a:pt x="1360168" y="111869"/>
                      <a:pt x="1448998" y="65401"/>
                      <a:pt x="1534596" y="47939"/>
                    </a:cubicBezTo>
                    <a:lnTo>
                      <a:pt x="1809403" y="26994"/>
                    </a:lnTo>
                    <a:lnTo>
                      <a:pt x="1994378" y="0"/>
                    </a:lnTo>
                    <a:close/>
                  </a:path>
                </a:pathLst>
              </a:custGeom>
              <a:noFill/>
              <a:ln w="127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a-DK" sz="1400" b="1">
                  <a:latin typeface="Verdana" panose="020B0604030504040204" pitchFamily="34" charset="0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5C3CA1FB-18E9-6F84-895A-5D086FEDAB1C}"/>
                  </a:ext>
                </a:extLst>
              </p:cNvPr>
              <p:cNvSpPr/>
              <p:nvPr/>
            </p:nvSpPr>
            <p:spPr>
              <a:xfrm flipH="1">
                <a:off x="6102131" y="1637131"/>
                <a:ext cx="2323347" cy="2311090"/>
              </a:xfrm>
              <a:custGeom>
                <a:avLst/>
                <a:gdLst>
                  <a:gd name="connsiteX0" fmla="*/ 1983858 w 1983858"/>
                  <a:gd name="connsiteY0" fmla="*/ 0 h 1983856"/>
                  <a:gd name="connsiteX1" fmla="*/ 1983858 w 1983858"/>
                  <a:gd name="connsiteY1" fmla="*/ 1983856 h 1983856"/>
                  <a:gd name="connsiteX2" fmla="*/ 0 w 1983858"/>
                  <a:gd name="connsiteY2" fmla="*/ 1983856 h 1983856"/>
                  <a:gd name="connsiteX3" fmla="*/ 9212 w 1983858"/>
                  <a:gd name="connsiteY3" fmla="*/ 1801423 h 1983856"/>
                  <a:gd name="connsiteX4" fmla="*/ 1801423 w 1983858"/>
                  <a:gd name="connsiteY4" fmla="*/ 9212 h 1983856"/>
                  <a:gd name="connsiteX5" fmla="*/ 1983858 w 1983858"/>
                  <a:gd name="connsiteY5" fmla="*/ 0 h 1983856"/>
                  <a:gd name="connsiteX0" fmla="*/ 1990388 w 1990388"/>
                  <a:gd name="connsiteY0" fmla="*/ 0 h 1983856"/>
                  <a:gd name="connsiteX1" fmla="*/ 1990388 w 1990388"/>
                  <a:gd name="connsiteY1" fmla="*/ 1983856 h 1983856"/>
                  <a:gd name="connsiteX2" fmla="*/ 6530 w 1990388"/>
                  <a:gd name="connsiteY2" fmla="*/ 1983856 h 1983856"/>
                  <a:gd name="connsiteX3" fmla="*/ 501 w 1990388"/>
                  <a:gd name="connsiteY3" fmla="*/ 1801423 h 1983856"/>
                  <a:gd name="connsiteX4" fmla="*/ 1807953 w 1990388"/>
                  <a:gd name="connsiteY4" fmla="*/ 9212 h 1983856"/>
                  <a:gd name="connsiteX5" fmla="*/ 1990388 w 1990388"/>
                  <a:gd name="connsiteY5" fmla="*/ 0 h 1983856"/>
                  <a:gd name="connsiteX0" fmla="*/ 2091077 w 2091077"/>
                  <a:gd name="connsiteY0" fmla="*/ 0 h 1983856"/>
                  <a:gd name="connsiteX1" fmla="*/ 2091077 w 2091077"/>
                  <a:gd name="connsiteY1" fmla="*/ 1983856 h 1983856"/>
                  <a:gd name="connsiteX2" fmla="*/ 107219 w 2091077"/>
                  <a:gd name="connsiteY2" fmla="*/ 1983856 h 1983856"/>
                  <a:gd name="connsiteX3" fmla="*/ 101190 w 2091077"/>
                  <a:gd name="connsiteY3" fmla="*/ 1801423 h 1983856"/>
                  <a:gd name="connsiteX4" fmla="*/ 145267 w 2091077"/>
                  <a:gd name="connsiteY4" fmla="*/ 1592393 h 1983856"/>
                  <a:gd name="connsiteX5" fmla="*/ 1908642 w 2091077"/>
                  <a:gd name="connsiteY5" fmla="*/ 9212 h 1983856"/>
                  <a:gd name="connsiteX6" fmla="*/ 2091077 w 2091077"/>
                  <a:gd name="connsiteY6" fmla="*/ 0 h 1983856"/>
                  <a:gd name="connsiteX0" fmla="*/ 2133797 w 2133797"/>
                  <a:gd name="connsiteY0" fmla="*/ 0 h 1983856"/>
                  <a:gd name="connsiteX1" fmla="*/ 2133797 w 2133797"/>
                  <a:gd name="connsiteY1" fmla="*/ 1983856 h 1983856"/>
                  <a:gd name="connsiteX2" fmla="*/ 149939 w 2133797"/>
                  <a:gd name="connsiteY2" fmla="*/ 1983856 h 1983856"/>
                  <a:gd name="connsiteX3" fmla="*/ 143910 w 2133797"/>
                  <a:gd name="connsiteY3" fmla="*/ 1801423 h 1983856"/>
                  <a:gd name="connsiteX4" fmla="*/ 187987 w 2133797"/>
                  <a:gd name="connsiteY4" fmla="*/ 1592393 h 1983856"/>
                  <a:gd name="connsiteX5" fmla="*/ 1951362 w 2133797"/>
                  <a:gd name="connsiteY5" fmla="*/ 9212 h 1983856"/>
                  <a:gd name="connsiteX6" fmla="*/ 2133797 w 2133797"/>
                  <a:gd name="connsiteY6" fmla="*/ 0 h 1983856"/>
                  <a:gd name="connsiteX0" fmla="*/ 2113206 w 2113206"/>
                  <a:gd name="connsiteY0" fmla="*/ 0 h 1983856"/>
                  <a:gd name="connsiteX1" fmla="*/ 2113206 w 2113206"/>
                  <a:gd name="connsiteY1" fmla="*/ 1983856 h 1983856"/>
                  <a:gd name="connsiteX2" fmla="*/ 129348 w 2113206"/>
                  <a:gd name="connsiteY2" fmla="*/ 1983856 h 1983856"/>
                  <a:gd name="connsiteX3" fmla="*/ 212227 w 2113206"/>
                  <a:gd name="connsiteY3" fmla="*/ 1742998 h 1983856"/>
                  <a:gd name="connsiteX4" fmla="*/ 167396 w 2113206"/>
                  <a:gd name="connsiteY4" fmla="*/ 1592393 h 1983856"/>
                  <a:gd name="connsiteX5" fmla="*/ 1930771 w 2113206"/>
                  <a:gd name="connsiteY5" fmla="*/ 9212 h 1983856"/>
                  <a:gd name="connsiteX6" fmla="*/ 2113206 w 2113206"/>
                  <a:gd name="connsiteY6" fmla="*/ 0 h 1983856"/>
                  <a:gd name="connsiteX0" fmla="*/ 2122196 w 2122196"/>
                  <a:gd name="connsiteY0" fmla="*/ 0 h 1983856"/>
                  <a:gd name="connsiteX1" fmla="*/ 2122196 w 2122196"/>
                  <a:gd name="connsiteY1" fmla="*/ 1983856 h 1983856"/>
                  <a:gd name="connsiteX2" fmla="*/ 138338 w 2122196"/>
                  <a:gd name="connsiteY2" fmla="*/ 1983856 h 1983856"/>
                  <a:gd name="connsiteX3" fmla="*/ 221217 w 2122196"/>
                  <a:gd name="connsiteY3" fmla="*/ 1742998 h 1983856"/>
                  <a:gd name="connsiteX4" fmla="*/ 453270 w 2122196"/>
                  <a:gd name="connsiteY4" fmla="*/ 942097 h 1983856"/>
                  <a:gd name="connsiteX5" fmla="*/ 1939761 w 2122196"/>
                  <a:gd name="connsiteY5" fmla="*/ 9212 h 1983856"/>
                  <a:gd name="connsiteX6" fmla="*/ 2122196 w 2122196"/>
                  <a:gd name="connsiteY6" fmla="*/ 0 h 1983856"/>
                  <a:gd name="connsiteX0" fmla="*/ 2116165 w 2116165"/>
                  <a:gd name="connsiteY0" fmla="*/ 0 h 1983856"/>
                  <a:gd name="connsiteX1" fmla="*/ 2116165 w 2116165"/>
                  <a:gd name="connsiteY1" fmla="*/ 1983856 h 1983856"/>
                  <a:gd name="connsiteX2" fmla="*/ 132307 w 2116165"/>
                  <a:gd name="connsiteY2" fmla="*/ 1983856 h 1983856"/>
                  <a:gd name="connsiteX3" fmla="*/ 243128 w 2116165"/>
                  <a:gd name="connsiteY3" fmla="*/ 1422931 h 1983856"/>
                  <a:gd name="connsiteX4" fmla="*/ 447239 w 2116165"/>
                  <a:gd name="connsiteY4" fmla="*/ 942097 h 1983856"/>
                  <a:gd name="connsiteX5" fmla="*/ 1933730 w 2116165"/>
                  <a:gd name="connsiteY5" fmla="*/ 9212 h 1983856"/>
                  <a:gd name="connsiteX6" fmla="*/ 2116165 w 2116165"/>
                  <a:gd name="connsiteY6" fmla="*/ 0 h 1983856"/>
                  <a:gd name="connsiteX0" fmla="*/ 1992173 w 1992173"/>
                  <a:gd name="connsiteY0" fmla="*/ 0 h 1983856"/>
                  <a:gd name="connsiteX1" fmla="*/ 1992173 w 1992173"/>
                  <a:gd name="connsiteY1" fmla="*/ 1983856 h 1983856"/>
                  <a:gd name="connsiteX2" fmla="*/ 8315 w 1992173"/>
                  <a:gd name="connsiteY2" fmla="*/ 1983856 h 1983856"/>
                  <a:gd name="connsiteX3" fmla="*/ 119136 w 1992173"/>
                  <a:gd name="connsiteY3" fmla="*/ 1422931 h 1983856"/>
                  <a:gd name="connsiteX4" fmla="*/ 323247 w 1992173"/>
                  <a:gd name="connsiteY4" fmla="*/ 942097 h 1983856"/>
                  <a:gd name="connsiteX5" fmla="*/ 1809738 w 1992173"/>
                  <a:gd name="connsiteY5" fmla="*/ 9212 h 1983856"/>
                  <a:gd name="connsiteX6" fmla="*/ 1992173 w 1992173"/>
                  <a:gd name="connsiteY6" fmla="*/ 0 h 1983856"/>
                  <a:gd name="connsiteX0" fmla="*/ 1998350 w 1998350"/>
                  <a:gd name="connsiteY0" fmla="*/ 0 h 1983856"/>
                  <a:gd name="connsiteX1" fmla="*/ 1998350 w 1998350"/>
                  <a:gd name="connsiteY1" fmla="*/ 1983856 h 1983856"/>
                  <a:gd name="connsiteX2" fmla="*/ 14492 w 1998350"/>
                  <a:gd name="connsiteY2" fmla="*/ 1983856 h 1983856"/>
                  <a:gd name="connsiteX3" fmla="*/ 69429 w 1998350"/>
                  <a:gd name="connsiteY3" fmla="*/ 1613447 h 1983856"/>
                  <a:gd name="connsiteX4" fmla="*/ 329424 w 1998350"/>
                  <a:gd name="connsiteY4" fmla="*/ 942097 h 1983856"/>
                  <a:gd name="connsiteX5" fmla="*/ 1815915 w 1998350"/>
                  <a:gd name="connsiteY5" fmla="*/ 9212 h 1983856"/>
                  <a:gd name="connsiteX6" fmla="*/ 1998350 w 1998350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1813413 w 1995848"/>
                  <a:gd name="connsiteY5" fmla="*/ 9212 h 1983856"/>
                  <a:gd name="connsiteX6" fmla="*/ 1995848 w 1995848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613967 w 1995848"/>
                  <a:gd name="connsiteY5" fmla="*/ 878592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527599 w 1995848"/>
                  <a:gd name="connsiteY5" fmla="*/ 716017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449 w 1995449"/>
                  <a:gd name="connsiteY0" fmla="*/ 0 h 1983856"/>
                  <a:gd name="connsiteX1" fmla="*/ 1995449 w 1995449"/>
                  <a:gd name="connsiteY1" fmla="*/ 1983856 h 1983856"/>
                  <a:gd name="connsiteX2" fmla="*/ 11591 w 1995449"/>
                  <a:gd name="connsiteY2" fmla="*/ 1983856 h 1983856"/>
                  <a:gd name="connsiteX3" fmla="*/ 66528 w 1995449"/>
                  <a:gd name="connsiteY3" fmla="*/ 1613447 h 1983856"/>
                  <a:gd name="connsiteX4" fmla="*/ 199512 w 1995449"/>
                  <a:gd name="connsiteY4" fmla="*/ 1208821 h 1983856"/>
                  <a:gd name="connsiteX5" fmla="*/ 527200 w 1995449"/>
                  <a:gd name="connsiteY5" fmla="*/ 716017 h 1983856"/>
                  <a:gd name="connsiteX6" fmla="*/ 1813014 w 1995449"/>
                  <a:gd name="connsiteY6" fmla="*/ 9212 h 1983856"/>
                  <a:gd name="connsiteX7" fmla="*/ 1995449 w 1995449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526129 w 1994378"/>
                  <a:gd name="connsiteY5" fmla="*/ 716017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72531 w 1994378"/>
                  <a:gd name="connsiteY6" fmla="*/ 573765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3529 w 1994378"/>
                  <a:gd name="connsiteY7" fmla="*/ 337525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18678 w 1994378"/>
                  <a:gd name="connsiteY8" fmla="*/ 162250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295816 w 1994378"/>
                  <a:gd name="connsiteY8" fmla="*/ 131767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18000 w 1994378"/>
                  <a:gd name="connsiteY8" fmla="*/ 182572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14274 w 1994378"/>
                  <a:gd name="connsiteY10" fmla="*/ 86043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14106 w 1994378"/>
                  <a:gd name="connsiteY6" fmla="*/ 489939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64232 w 1994378"/>
                  <a:gd name="connsiteY6" fmla="*/ 647432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38829 w 1994378"/>
                  <a:gd name="connsiteY6" fmla="*/ 614409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302589 w 1994378"/>
                  <a:gd name="connsiteY5" fmla="*/ 959879 h 1983856"/>
                  <a:gd name="connsiteX6" fmla="*/ 442301 w 1994378"/>
                  <a:gd name="connsiteY6" fmla="*/ 784603 h 1983856"/>
                  <a:gd name="connsiteX7" fmla="*/ 538829 w 1994378"/>
                  <a:gd name="connsiteY7" fmla="*/ 614409 h 1983856"/>
                  <a:gd name="connsiteX8" fmla="*/ 714106 w 1994378"/>
                  <a:gd name="connsiteY8" fmla="*/ 489939 h 1983856"/>
                  <a:gd name="connsiteX9" fmla="*/ 947805 w 1994378"/>
                  <a:gd name="connsiteY9" fmla="*/ 253697 h 1983856"/>
                  <a:gd name="connsiteX10" fmla="*/ 1128161 w 1994378"/>
                  <a:gd name="connsiteY10" fmla="*/ 205434 h 1983856"/>
                  <a:gd name="connsiteX11" fmla="*/ 1295816 w 1994378"/>
                  <a:gd name="connsiteY11" fmla="*/ 131767 h 1983856"/>
                  <a:gd name="connsiteX12" fmla="*/ 1534596 w 1994378"/>
                  <a:gd name="connsiteY12" fmla="*/ 47939 h 1983856"/>
                  <a:gd name="connsiteX13" fmla="*/ 1809403 w 1994378"/>
                  <a:gd name="connsiteY13" fmla="*/ 26994 h 1983856"/>
                  <a:gd name="connsiteX14" fmla="*/ 1994378 w 1994378"/>
                  <a:gd name="connsiteY14" fmla="*/ 0 h 198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94378" h="1983856">
                    <a:moveTo>
                      <a:pt x="1994378" y="0"/>
                    </a:moveTo>
                    <a:lnTo>
                      <a:pt x="1994378" y="1983856"/>
                    </a:lnTo>
                    <a:lnTo>
                      <a:pt x="10520" y="1983856"/>
                    </a:lnTo>
                    <a:cubicBezTo>
                      <a:pt x="-26463" y="1874704"/>
                      <a:pt x="44298" y="1744736"/>
                      <a:pt x="65457" y="1613447"/>
                    </a:cubicBezTo>
                    <a:cubicBezTo>
                      <a:pt x="86616" y="1482158"/>
                      <a:pt x="97954" y="1305048"/>
                      <a:pt x="137476" y="1196120"/>
                    </a:cubicBezTo>
                    <a:cubicBezTo>
                      <a:pt x="176998" y="1087192"/>
                      <a:pt x="251785" y="1028465"/>
                      <a:pt x="302589" y="959879"/>
                    </a:cubicBezTo>
                    <a:cubicBezTo>
                      <a:pt x="353393" y="891293"/>
                      <a:pt x="402928" y="842181"/>
                      <a:pt x="442301" y="784603"/>
                    </a:cubicBezTo>
                    <a:cubicBezTo>
                      <a:pt x="481674" y="727025"/>
                      <a:pt x="493528" y="663520"/>
                      <a:pt x="538829" y="614409"/>
                    </a:cubicBezTo>
                    <a:cubicBezTo>
                      <a:pt x="584130" y="565298"/>
                      <a:pt x="650177" y="555562"/>
                      <a:pt x="714106" y="489939"/>
                    </a:cubicBezTo>
                    <a:cubicBezTo>
                      <a:pt x="778035" y="424316"/>
                      <a:pt x="877949" y="301961"/>
                      <a:pt x="947805" y="253697"/>
                    </a:cubicBezTo>
                    <a:cubicBezTo>
                      <a:pt x="1017661" y="205433"/>
                      <a:pt x="1070159" y="225756"/>
                      <a:pt x="1128161" y="205434"/>
                    </a:cubicBezTo>
                    <a:cubicBezTo>
                      <a:pt x="1186163" y="185112"/>
                      <a:pt x="1231464" y="151666"/>
                      <a:pt x="1295816" y="131767"/>
                    </a:cubicBezTo>
                    <a:cubicBezTo>
                      <a:pt x="1360168" y="111869"/>
                      <a:pt x="1448998" y="65401"/>
                      <a:pt x="1534596" y="47939"/>
                    </a:cubicBezTo>
                    <a:lnTo>
                      <a:pt x="1809403" y="26994"/>
                    </a:lnTo>
                    <a:lnTo>
                      <a:pt x="1994378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a-DK" sz="1400" b="1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61ADFE9-5880-28F4-1DB2-8B583ACF3D58}"/>
                </a:ext>
              </a:extLst>
            </p:cNvPr>
            <p:cNvGrpSpPr/>
            <p:nvPr/>
          </p:nvGrpSpPr>
          <p:grpSpPr>
            <a:xfrm flipH="1">
              <a:off x="3725522" y="4001482"/>
              <a:ext cx="4699956" cy="2311090"/>
              <a:chOff x="3725522" y="4001482"/>
              <a:chExt cx="4699956" cy="2311090"/>
            </a:xfrm>
          </p:grpSpPr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1520873D-68AC-C041-6CE1-0767000BA4E4}"/>
                  </a:ext>
                </a:extLst>
              </p:cNvPr>
              <p:cNvSpPr/>
              <p:nvPr/>
            </p:nvSpPr>
            <p:spPr>
              <a:xfrm flipV="1">
                <a:off x="3725522" y="4001482"/>
                <a:ext cx="2323347" cy="2311090"/>
              </a:xfrm>
              <a:custGeom>
                <a:avLst/>
                <a:gdLst>
                  <a:gd name="connsiteX0" fmla="*/ 1983858 w 1983858"/>
                  <a:gd name="connsiteY0" fmla="*/ 0 h 1983856"/>
                  <a:gd name="connsiteX1" fmla="*/ 1983858 w 1983858"/>
                  <a:gd name="connsiteY1" fmla="*/ 1983856 h 1983856"/>
                  <a:gd name="connsiteX2" fmla="*/ 0 w 1983858"/>
                  <a:gd name="connsiteY2" fmla="*/ 1983856 h 1983856"/>
                  <a:gd name="connsiteX3" fmla="*/ 9212 w 1983858"/>
                  <a:gd name="connsiteY3" fmla="*/ 1801423 h 1983856"/>
                  <a:gd name="connsiteX4" fmla="*/ 1801423 w 1983858"/>
                  <a:gd name="connsiteY4" fmla="*/ 9212 h 1983856"/>
                  <a:gd name="connsiteX5" fmla="*/ 1983858 w 1983858"/>
                  <a:gd name="connsiteY5" fmla="*/ 0 h 1983856"/>
                  <a:gd name="connsiteX0" fmla="*/ 1990388 w 1990388"/>
                  <a:gd name="connsiteY0" fmla="*/ 0 h 1983856"/>
                  <a:gd name="connsiteX1" fmla="*/ 1990388 w 1990388"/>
                  <a:gd name="connsiteY1" fmla="*/ 1983856 h 1983856"/>
                  <a:gd name="connsiteX2" fmla="*/ 6530 w 1990388"/>
                  <a:gd name="connsiteY2" fmla="*/ 1983856 h 1983856"/>
                  <a:gd name="connsiteX3" fmla="*/ 501 w 1990388"/>
                  <a:gd name="connsiteY3" fmla="*/ 1801423 h 1983856"/>
                  <a:gd name="connsiteX4" fmla="*/ 1807953 w 1990388"/>
                  <a:gd name="connsiteY4" fmla="*/ 9212 h 1983856"/>
                  <a:gd name="connsiteX5" fmla="*/ 1990388 w 1990388"/>
                  <a:gd name="connsiteY5" fmla="*/ 0 h 1983856"/>
                  <a:gd name="connsiteX0" fmla="*/ 2091077 w 2091077"/>
                  <a:gd name="connsiteY0" fmla="*/ 0 h 1983856"/>
                  <a:gd name="connsiteX1" fmla="*/ 2091077 w 2091077"/>
                  <a:gd name="connsiteY1" fmla="*/ 1983856 h 1983856"/>
                  <a:gd name="connsiteX2" fmla="*/ 107219 w 2091077"/>
                  <a:gd name="connsiteY2" fmla="*/ 1983856 h 1983856"/>
                  <a:gd name="connsiteX3" fmla="*/ 101190 w 2091077"/>
                  <a:gd name="connsiteY3" fmla="*/ 1801423 h 1983856"/>
                  <a:gd name="connsiteX4" fmla="*/ 145267 w 2091077"/>
                  <a:gd name="connsiteY4" fmla="*/ 1592393 h 1983856"/>
                  <a:gd name="connsiteX5" fmla="*/ 1908642 w 2091077"/>
                  <a:gd name="connsiteY5" fmla="*/ 9212 h 1983856"/>
                  <a:gd name="connsiteX6" fmla="*/ 2091077 w 2091077"/>
                  <a:gd name="connsiteY6" fmla="*/ 0 h 1983856"/>
                  <a:gd name="connsiteX0" fmla="*/ 2133797 w 2133797"/>
                  <a:gd name="connsiteY0" fmla="*/ 0 h 1983856"/>
                  <a:gd name="connsiteX1" fmla="*/ 2133797 w 2133797"/>
                  <a:gd name="connsiteY1" fmla="*/ 1983856 h 1983856"/>
                  <a:gd name="connsiteX2" fmla="*/ 149939 w 2133797"/>
                  <a:gd name="connsiteY2" fmla="*/ 1983856 h 1983856"/>
                  <a:gd name="connsiteX3" fmla="*/ 143910 w 2133797"/>
                  <a:gd name="connsiteY3" fmla="*/ 1801423 h 1983856"/>
                  <a:gd name="connsiteX4" fmla="*/ 187987 w 2133797"/>
                  <a:gd name="connsiteY4" fmla="*/ 1592393 h 1983856"/>
                  <a:gd name="connsiteX5" fmla="*/ 1951362 w 2133797"/>
                  <a:gd name="connsiteY5" fmla="*/ 9212 h 1983856"/>
                  <a:gd name="connsiteX6" fmla="*/ 2133797 w 2133797"/>
                  <a:gd name="connsiteY6" fmla="*/ 0 h 1983856"/>
                  <a:gd name="connsiteX0" fmla="*/ 2113206 w 2113206"/>
                  <a:gd name="connsiteY0" fmla="*/ 0 h 1983856"/>
                  <a:gd name="connsiteX1" fmla="*/ 2113206 w 2113206"/>
                  <a:gd name="connsiteY1" fmla="*/ 1983856 h 1983856"/>
                  <a:gd name="connsiteX2" fmla="*/ 129348 w 2113206"/>
                  <a:gd name="connsiteY2" fmla="*/ 1983856 h 1983856"/>
                  <a:gd name="connsiteX3" fmla="*/ 212227 w 2113206"/>
                  <a:gd name="connsiteY3" fmla="*/ 1742998 h 1983856"/>
                  <a:gd name="connsiteX4" fmla="*/ 167396 w 2113206"/>
                  <a:gd name="connsiteY4" fmla="*/ 1592393 h 1983856"/>
                  <a:gd name="connsiteX5" fmla="*/ 1930771 w 2113206"/>
                  <a:gd name="connsiteY5" fmla="*/ 9212 h 1983856"/>
                  <a:gd name="connsiteX6" fmla="*/ 2113206 w 2113206"/>
                  <a:gd name="connsiteY6" fmla="*/ 0 h 1983856"/>
                  <a:gd name="connsiteX0" fmla="*/ 2122196 w 2122196"/>
                  <a:gd name="connsiteY0" fmla="*/ 0 h 1983856"/>
                  <a:gd name="connsiteX1" fmla="*/ 2122196 w 2122196"/>
                  <a:gd name="connsiteY1" fmla="*/ 1983856 h 1983856"/>
                  <a:gd name="connsiteX2" fmla="*/ 138338 w 2122196"/>
                  <a:gd name="connsiteY2" fmla="*/ 1983856 h 1983856"/>
                  <a:gd name="connsiteX3" fmla="*/ 221217 w 2122196"/>
                  <a:gd name="connsiteY3" fmla="*/ 1742998 h 1983856"/>
                  <a:gd name="connsiteX4" fmla="*/ 453270 w 2122196"/>
                  <a:gd name="connsiteY4" fmla="*/ 942097 h 1983856"/>
                  <a:gd name="connsiteX5" fmla="*/ 1939761 w 2122196"/>
                  <a:gd name="connsiteY5" fmla="*/ 9212 h 1983856"/>
                  <a:gd name="connsiteX6" fmla="*/ 2122196 w 2122196"/>
                  <a:gd name="connsiteY6" fmla="*/ 0 h 1983856"/>
                  <a:gd name="connsiteX0" fmla="*/ 2116165 w 2116165"/>
                  <a:gd name="connsiteY0" fmla="*/ 0 h 1983856"/>
                  <a:gd name="connsiteX1" fmla="*/ 2116165 w 2116165"/>
                  <a:gd name="connsiteY1" fmla="*/ 1983856 h 1983856"/>
                  <a:gd name="connsiteX2" fmla="*/ 132307 w 2116165"/>
                  <a:gd name="connsiteY2" fmla="*/ 1983856 h 1983856"/>
                  <a:gd name="connsiteX3" fmla="*/ 243128 w 2116165"/>
                  <a:gd name="connsiteY3" fmla="*/ 1422931 h 1983856"/>
                  <a:gd name="connsiteX4" fmla="*/ 447239 w 2116165"/>
                  <a:gd name="connsiteY4" fmla="*/ 942097 h 1983856"/>
                  <a:gd name="connsiteX5" fmla="*/ 1933730 w 2116165"/>
                  <a:gd name="connsiteY5" fmla="*/ 9212 h 1983856"/>
                  <a:gd name="connsiteX6" fmla="*/ 2116165 w 2116165"/>
                  <a:gd name="connsiteY6" fmla="*/ 0 h 1983856"/>
                  <a:gd name="connsiteX0" fmla="*/ 1992173 w 1992173"/>
                  <a:gd name="connsiteY0" fmla="*/ 0 h 1983856"/>
                  <a:gd name="connsiteX1" fmla="*/ 1992173 w 1992173"/>
                  <a:gd name="connsiteY1" fmla="*/ 1983856 h 1983856"/>
                  <a:gd name="connsiteX2" fmla="*/ 8315 w 1992173"/>
                  <a:gd name="connsiteY2" fmla="*/ 1983856 h 1983856"/>
                  <a:gd name="connsiteX3" fmla="*/ 119136 w 1992173"/>
                  <a:gd name="connsiteY3" fmla="*/ 1422931 h 1983856"/>
                  <a:gd name="connsiteX4" fmla="*/ 323247 w 1992173"/>
                  <a:gd name="connsiteY4" fmla="*/ 942097 h 1983856"/>
                  <a:gd name="connsiteX5" fmla="*/ 1809738 w 1992173"/>
                  <a:gd name="connsiteY5" fmla="*/ 9212 h 1983856"/>
                  <a:gd name="connsiteX6" fmla="*/ 1992173 w 1992173"/>
                  <a:gd name="connsiteY6" fmla="*/ 0 h 1983856"/>
                  <a:gd name="connsiteX0" fmla="*/ 1998350 w 1998350"/>
                  <a:gd name="connsiteY0" fmla="*/ 0 h 1983856"/>
                  <a:gd name="connsiteX1" fmla="*/ 1998350 w 1998350"/>
                  <a:gd name="connsiteY1" fmla="*/ 1983856 h 1983856"/>
                  <a:gd name="connsiteX2" fmla="*/ 14492 w 1998350"/>
                  <a:gd name="connsiteY2" fmla="*/ 1983856 h 1983856"/>
                  <a:gd name="connsiteX3" fmla="*/ 69429 w 1998350"/>
                  <a:gd name="connsiteY3" fmla="*/ 1613447 h 1983856"/>
                  <a:gd name="connsiteX4" fmla="*/ 329424 w 1998350"/>
                  <a:gd name="connsiteY4" fmla="*/ 942097 h 1983856"/>
                  <a:gd name="connsiteX5" fmla="*/ 1815915 w 1998350"/>
                  <a:gd name="connsiteY5" fmla="*/ 9212 h 1983856"/>
                  <a:gd name="connsiteX6" fmla="*/ 1998350 w 1998350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1813413 w 1995848"/>
                  <a:gd name="connsiteY5" fmla="*/ 9212 h 1983856"/>
                  <a:gd name="connsiteX6" fmla="*/ 1995848 w 1995848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613967 w 1995848"/>
                  <a:gd name="connsiteY5" fmla="*/ 878592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527599 w 1995848"/>
                  <a:gd name="connsiteY5" fmla="*/ 716017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449 w 1995449"/>
                  <a:gd name="connsiteY0" fmla="*/ 0 h 1983856"/>
                  <a:gd name="connsiteX1" fmla="*/ 1995449 w 1995449"/>
                  <a:gd name="connsiteY1" fmla="*/ 1983856 h 1983856"/>
                  <a:gd name="connsiteX2" fmla="*/ 11591 w 1995449"/>
                  <a:gd name="connsiteY2" fmla="*/ 1983856 h 1983856"/>
                  <a:gd name="connsiteX3" fmla="*/ 66528 w 1995449"/>
                  <a:gd name="connsiteY3" fmla="*/ 1613447 h 1983856"/>
                  <a:gd name="connsiteX4" fmla="*/ 199512 w 1995449"/>
                  <a:gd name="connsiteY4" fmla="*/ 1208821 h 1983856"/>
                  <a:gd name="connsiteX5" fmla="*/ 527200 w 1995449"/>
                  <a:gd name="connsiteY5" fmla="*/ 716017 h 1983856"/>
                  <a:gd name="connsiteX6" fmla="*/ 1813014 w 1995449"/>
                  <a:gd name="connsiteY6" fmla="*/ 9212 h 1983856"/>
                  <a:gd name="connsiteX7" fmla="*/ 1995449 w 1995449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526129 w 1994378"/>
                  <a:gd name="connsiteY5" fmla="*/ 716017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72531 w 1994378"/>
                  <a:gd name="connsiteY6" fmla="*/ 573765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3529 w 1994378"/>
                  <a:gd name="connsiteY7" fmla="*/ 337525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18678 w 1994378"/>
                  <a:gd name="connsiteY8" fmla="*/ 162250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295816 w 1994378"/>
                  <a:gd name="connsiteY8" fmla="*/ 131767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18000 w 1994378"/>
                  <a:gd name="connsiteY8" fmla="*/ 182572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14274 w 1994378"/>
                  <a:gd name="connsiteY10" fmla="*/ 86043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14106 w 1994378"/>
                  <a:gd name="connsiteY6" fmla="*/ 489939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64232 w 1994378"/>
                  <a:gd name="connsiteY6" fmla="*/ 647432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38829 w 1994378"/>
                  <a:gd name="connsiteY6" fmla="*/ 614409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302589 w 1994378"/>
                  <a:gd name="connsiteY5" fmla="*/ 959879 h 1983856"/>
                  <a:gd name="connsiteX6" fmla="*/ 442301 w 1994378"/>
                  <a:gd name="connsiteY6" fmla="*/ 784603 h 1983856"/>
                  <a:gd name="connsiteX7" fmla="*/ 538829 w 1994378"/>
                  <a:gd name="connsiteY7" fmla="*/ 614409 h 1983856"/>
                  <a:gd name="connsiteX8" fmla="*/ 714106 w 1994378"/>
                  <a:gd name="connsiteY8" fmla="*/ 489939 h 1983856"/>
                  <a:gd name="connsiteX9" fmla="*/ 947805 w 1994378"/>
                  <a:gd name="connsiteY9" fmla="*/ 253697 h 1983856"/>
                  <a:gd name="connsiteX10" fmla="*/ 1128161 w 1994378"/>
                  <a:gd name="connsiteY10" fmla="*/ 205434 h 1983856"/>
                  <a:gd name="connsiteX11" fmla="*/ 1295816 w 1994378"/>
                  <a:gd name="connsiteY11" fmla="*/ 131767 h 1983856"/>
                  <a:gd name="connsiteX12" fmla="*/ 1534596 w 1994378"/>
                  <a:gd name="connsiteY12" fmla="*/ 47939 h 1983856"/>
                  <a:gd name="connsiteX13" fmla="*/ 1809403 w 1994378"/>
                  <a:gd name="connsiteY13" fmla="*/ 26994 h 1983856"/>
                  <a:gd name="connsiteX14" fmla="*/ 1994378 w 1994378"/>
                  <a:gd name="connsiteY14" fmla="*/ 0 h 198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94378" h="1983856">
                    <a:moveTo>
                      <a:pt x="1994378" y="0"/>
                    </a:moveTo>
                    <a:lnTo>
                      <a:pt x="1994378" y="1983856"/>
                    </a:lnTo>
                    <a:lnTo>
                      <a:pt x="10520" y="1983856"/>
                    </a:lnTo>
                    <a:cubicBezTo>
                      <a:pt x="-26463" y="1874704"/>
                      <a:pt x="44298" y="1744736"/>
                      <a:pt x="65457" y="1613447"/>
                    </a:cubicBezTo>
                    <a:cubicBezTo>
                      <a:pt x="86616" y="1482158"/>
                      <a:pt x="97954" y="1305048"/>
                      <a:pt x="137476" y="1196120"/>
                    </a:cubicBezTo>
                    <a:cubicBezTo>
                      <a:pt x="176998" y="1087192"/>
                      <a:pt x="251785" y="1028465"/>
                      <a:pt x="302589" y="959879"/>
                    </a:cubicBezTo>
                    <a:cubicBezTo>
                      <a:pt x="353393" y="891293"/>
                      <a:pt x="402928" y="842181"/>
                      <a:pt x="442301" y="784603"/>
                    </a:cubicBezTo>
                    <a:cubicBezTo>
                      <a:pt x="481674" y="727025"/>
                      <a:pt x="493528" y="663520"/>
                      <a:pt x="538829" y="614409"/>
                    </a:cubicBezTo>
                    <a:cubicBezTo>
                      <a:pt x="584130" y="565298"/>
                      <a:pt x="650177" y="555562"/>
                      <a:pt x="714106" y="489939"/>
                    </a:cubicBezTo>
                    <a:cubicBezTo>
                      <a:pt x="778035" y="424316"/>
                      <a:pt x="877949" y="301961"/>
                      <a:pt x="947805" y="253697"/>
                    </a:cubicBezTo>
                    <a:cubicBezTo>
                      <a:pt x="1017661" y="205433"/>
                      <a:pt x="1070159" y="225756"/>
                      <a:pt x="1128161" y="205434"/>
                    </a:cubicBezTo>
                    <a:cubicBezTo>
                      <a:pt x="1186163" y="185112"/>
                      <a:pt x="1231464" y="151666"/>
                      <a:pt x="1295816" y="131767"/>
                    </a:cubicBezTo>
                    <a:cubicBezTo>
                      <a:pt x="1360168" y="111869"/>
                      <a:pt x="1448998" y="65401"/>
                      <a:pt x="1534596" y="47939"/>
                    </a:cubicBezTo>
                    <a:lnTo>
                      <a:pt x="1809403" y="26994"/>
                    </a:lnTo>
                    <a:lnTo>
                      <a:pt x="1994378" y="0"/>
                    </a:lnTo>
                    <a:close/>
                  </a:path>
                </a:pathLst>
              </a:custGeom>
              <a:noFill/>
              <a:ln w="127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a-DK" sz="1400" b="1">
                  <a:latin typeface="Verdana" panose="020B0604030504040204" pitchFamily="34" charset="0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8170BD7D-BC01-44E0-4506-C51D1B9F7AEB}"/>
                  </a:ext>
                </a:extLst>
              </p:cNvPr>
              <p:cNvSpPr/>
              <p:nvPr/>
            </p:nvSpPr>
            <p:spPr>
              <a:xfrm flipH="1" flipV="1">
                <a:off x="6102131" y="4001482"/>
                <a:ext cx="2323347" cy="2311090"/>
              </a:xfrm>
              <a:custGeom>
                <a:avLst/>
                <a:gdLst>
                  <a:gd name="connsiteX0" fmla="*/ 1983858 w 1983858"/>
                  <a:gd name="connsiteY0" fmla="*/ 0 h 1983856"/>
                  <a:gd name="connsiteX1" fmla="*/ 1983858 w 1983858"/>
                  <a:gd name="connsiteY1" fmla="*/ 1983856 h 1983856"/>
                  <a:gd name="connsiteX2" fmla="*/ 0 w 1983858"/>
                  <a:gd name="connsiteY2" fmla="*/ 1983856 h 1983856"/>
                  <a:gd name="connsiteX3" fmla="*/ 9212 w 1983858"/>
                  <a:gd name="connsiteY3" fmla="*/ 1801423 h 1983856"/>
                  <a:gd name="connsiteX4" fmla="*/ 1801423 w 1983858"/>
                  <a:gd name="connsiteY4" fmla="*/ 9212 h 1983856"/>
                  <a:gd name="connsiteX5" fmla="*/ 1983858 w 1983858"/>
                  <a:gd name="connsiteY5" fmla="*/ 0 h 1983856"/>
                  <a:gd name="connsiteX0" fmla="*/ 1990388 w 1990388"/>
                  <a:gd name="connsiteY0" fmla="*/ 0 h 1983856"/>
                  <a:gd name="connsiteX1" fmla="*/ 1990388 w 1990388"/>
                  <a:gd name="connsiteY1" fmla="*/ 1983856 h 1983856"/>
                  <a:gd name="connsiteX2" fmla="*/ 6530 w 1990388"/>
                  <a:gd name="connsiteY2" fmla="*/ 1983856 h 1983856"/>
                  <a:gd name="connsiteX3" fmla="*/ 501 w 1990388"/>
                  <a:gd name="connsiteY3" fmla="*/ 1801423 h 1983856"/>
                  <a:gd name="connsiteX4" fmla="*/ 1807953 w 1990388"/>
                  <a:gd name="connsiteY4" fmla="*/ 9212 h 1983856"/>
                  <a:gd name="connsiteX5" fmla="*/ 1990388 w 1990388"/>
                  <a:gd name="connsiteY5" fmla="*/ 0 h 1983856"/>
                  <a:gd name="connsiteX0" fmla="*/ 2091077 w 2091077"/>
                  <a:gd name="connsiteY0" fmla="*/ 0 h 1983856"/>
                  <a:gd name="connsiteX1" fmla="*/ 2091077 w 2091077"/>
                  <a:gd name="connsiteY1" fmla="*/ 1983856 h 1983856"/>
                  <a:gd name="connsiteX2" fmla="*/ 107219 w 2091077"/>
                  <a:gd name="connsiteY2" fmla="*/ 1983856 h 1983856"/>
                  <a:gd name="connsiteX3" fmla="*/ 101190 w 2091077"/>
                  <a:gd name="connsiteY3" fmla="*/ 1801423 h 1983856"/>
                  <a:gd name="connsiteX4" fmla="*/ 145267 w 2091077"/>
                  <a:gd name="connsiteY4" fmla="*/ 1592393 h 1983856"/>
                  <a:gd name="connsiteX5" fmla="*/ 1908642 w 2091077"/>
                  <a:gd name="connsiteY5" fmla="*/ 9212 h 1983856"/>
                  <a:gd name="connsiteX6" fmla="*/ 2091077 w 2091077"/>
                  <a:gd name="connsiteY6" fmla="*/ 0 h 1983856"/>
                  <a:gd name="connsiteX0" fmla="*/ 2133797 w 2133797"/>
                  <a:gd name="connsiteY0" fmla="*/ 0 h 1983856"/>
                  <a:gd name="connsiteX1" fmla="*/ 2133797 w 2133797"/>
                  <a:gd name="connsiteY1" fmla="*/ 1983856 h 1983856"/>
                  <a:gd name="connsiteX2" fmla="*/ 149939 w 2133797"/>
                  <a:gd name="connsiteY2" fmla="*/ 1983856 h 1983856"/>
                  <a:gd name="connsiteX3" fmla="*/ 143910 w 2133797"/>
                  <a:gd name="connsiteY3" fmla="*/ 1801423 h 1983856"/>
                  <a:gd name="connsiteX4" fmla="*/ 187987 w 2133797"/>
                  <a:gd name="connsiteY4" fmla="*/ 1592393 h 1983856"/>
                  <a:gd name="connsiteX5" fmla="*/ 1951362 w 2133797"/>
                  <a:gd name="connsiteY5" fmla="*/ 9212 h 1983856"/>
                  <a:gd name="connsiteX6" fmla="*/ 2133797 w 2133797"/>
                  <a:gd name="connsiteY6" fmla="*/ 0 h 1983856"/>
                  <a:gd name="connsiteX0" fmla="*/ 2113206 w 2113206"/>
                  <a:gd name="connsiteY0" fmla="*/ 0 h 1983856"/>
                  <a:gd name="connsiteX1" fmla="*/ 2113206 w 2113206"/>
                  <a:gd name="connsiteY1" fmla="*/ 1983856 h 1983856"/>
                  <a:gd name="connsiteX2" fmla="*/ 129348 w 2113206"/>
                  <a:gd name="connsiteY2" fmla="*/ 1983856 h 1983856"/>
                  <a:gd name="connsiteX3" fmla="*/ 212227 w 2113206"/>
                  <a:gd name="connsiteY3" fmla="*/ 1742998 h 1983856"/>
                  <a:gd name="connsiteX4" fmla="*/ 167396 w 2113206"/>
                  <a:gd name="connsiteY4" fmla="*/ 1592393 h 1983856"/>
                  <a:gd name="connsiteX5" fmla="*/ 1930771 w 2113206"/>
                  <a:gd name="connsiteY5" fmla="*/ 9212 h 1983856"/>
                  <a:gd name="connsiteX6" fmla="*/ 2113206 w 2113206"/>
                  <a:gd name="connsiteY6" fmla="*/ 0 h 1983856"/>
                  <a:gd name="connsiteX0" fmla="*/ 2122196 w 2122196"/>
                  <a:gd name="connsiteY0" fmla="*/ 0 h 1983856"/>
                  <a:gd name="connsiteX1" fmla="*/ 2122196 w 2122196"/>
                  <a:gd name="connsiteY1" fmla="*/ 1983856 h 1983856"/>
                  <a:gd name="connsiteX2" fmla="*/ 138338 w 2122196"/>
                  <a:gd name="connsiteY2" fmla="*/ 1983856 h 1983856"/>
                  <a:gd name="connsiteX3" fmla="*/ 221217 w 2122196"/>
                  <a:gd name="connsiteY3" fmla="*/ 1742998 h 1983856"/>
                  <a:gd name="connsiteX4" fmla="*/ 453270 w 2122196"/>
                  <a:gd name="connsiteY4" fmla="*/ 942097 h 1983856"/>
                  <a:gd name="connsiteX5" fmla="*/ 1939761 w 2122196"/>
                  <a:gd name="connsiteY5" fmla="*/ 9212 h 1983856"/>
                  <a:gd name="connsiteX6" fmla="*/ 2122196 w 2122196"/>
                  <a:gd name="connsiteY6" fmla="*/ 0 h 1983856"/>
                  <a:gd name="connsiteX0" fmla="*/ 2116165 w 2116165"/>
                  <a:gd name="connsiteY0" fmla="*/ 0 h 1983856"/>
                  <a:gd name="connsiteX1" fmla="*/ 2116165 w 2116165"/>
                  <a:gd name="connsiteY1" fmla="*/ 1983856 h 1983856"/>
                  <a:gd name="connsiteX2" fmla="*/ 132307 w 2116165"/>
                  <a:gd name="connsiteY2" fmla="*/ 1983856 h 1983856"/>
                  <a:gd name="connsiteX3" fmla="*/ 243128 w 2116165"/>
                  <a:gd name="connsiteY3" fmla="*/ 1422931 h 1983856"/>
                  <a:gd name="connsiteX4" fmla="*/ 447239 w 2116165"/>
                  <a:gd name="connsiteY4" fmla="*/ 942097 h 1983856"/>
                  <a:gd name="connsiteX5" fmla="*/ 1933730 w 2116165"/>
                  <a:gd name="connsiteY5" fmla="*/ 9212 h 1983856"/>
                  <a:gd name="connsiteX6" fmla="*/ 2116165 w 2116165"/>
                  <a:gd name="connsiteY6" fmla="*/ 0 h 1983856"/>
                  <a:gd name="connsiteX0" fmla="*/ 1992173 w 1992173"/>
                  <a:gd name="connsiteY0" fmla="*/ 0 h 1983856"/>
                  <a:gd name="connsiteX1" fmla="*/ 1992173 w 1992173"/>
                  <a:gd name="connsiteY1" fmla="*/ 1983856 h 1983856"/>
                  <a:gd name="connsiteX2" fmla="*/ 8315 w 1992173"/>
                  <a:gd name="connsiteY2" fmla="*/ 1983856 h 1983856"/>
                  <a:gd name="connsiteX3" fmla="*/ 119136 w 1992173"/>
                  <a:gd name="connsiteY3" fmla="*/ 1422931 h 1983856"/>
                  <a:gd name="connsiteX4" fmla="*/ 323247 w 1992173"/>
                  <a:gd name="connsiteY4" fmla="*/ 942097 h 1983856"/>
                  <a:gd name="connsiteX5" fmla="*/ 1809738 w 1992173"/>
                  <a:gd name="connsiteY5" fmla="*/ 9212 h 1983856"/>
                  <a:gd name="connsiteX6" fmla="*/ 1992173 w 1992173"/>
                  <a:gd name="connsiteY6" fmla="*/ 0 h 1983856"/>
                  <a:gd name="connsiteX0" fmla="*/ 1998350 w 1998350"/>
                  <a:gd name="connsiteY0" fmla="*/ 0 h 1983856"/>
                  <a:gd name="connsiteX1" fmla="*/ 1998350 w 1998350"/>
                  <a:gd name="connsiteY1" fmla="*/ 1983856 h 1983856"/>
                  <a:gd name="connsiteX2" fmla="*/ 14492 w 1998350"/>
                  <a:gd name="connsiteY2" fmla="*/ 1983856 h 1983856"/>
                  <a:gd name="connsiteX3" fmla="*/ 69429 w 1998350"/>
                  <a:gd name="connsiteY3" fmla="*/ 1613447 h 1983856"/>
                  <a:gd name="connsiteX4" fmla="*/ 329424 w 1998350"/>
                  <a:gd name="connsiteY4" fmla="*/ 942097 h 1983856"/>
                  <a:gd name="connsiteX5" fmla="*/ 1815915 w 1998350"/>
                  <a:gd name="connsiteY5" fmla="*/ 9212 h 1983856"/>
                  <a:gd name="connsiteX6" fmla="*/ 1998350 w 1998350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1813413 w 1995848"/>
                  <a:gd name="connsiteY5" fmla="*/ 9212 h 1983856"/>
                  <a:gd name="connsiteX6" fmla="*/ 1995848 w 1995848"/>
                  <a:gd name="connsiteY6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613967 w 1995848"/>
                  <a:gd name="connsiteY5" fmla="*/ 878592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848 w 1995848"/>
                  <a:gd name="connsiteY0" fmla="*/ 0 h 1983856"/>
                  <a:gd name="connsiteX1" fmla="*/ 1995848 w 1995848"/>
                  <a:gd name="connsiteY1" fmla="*/ 1983856 h 1983856"/>
                  <a:gd name="connsiteX2" fmla="*/ 11990 w 1995848"/>
                  <a:gd name="connsiteY2" fmla="*/ 1983856 h 1983856"/>
                  <a:gd name="connsiteX3" fmla="*/ 66927 w 1995848"/>
                  <a:gd name="connsiteY3" fmla="*/ 1613447 h 1983856"/>
                  <a:gd name="connsiteX4" fmla="*/ 220232 w 1995848"/>
                  <a:gd name="connsiteY4" fmla="*/ 1198660 h 1983856"/>
                  <a:gd name="connsiteX5" fmla="*/ 527599 w 1995848"/>
                  <a:gd name="connsiteY5" fmla="*/ 716017 h 1983856"/>
                  <a:gd name="connsiteX6" fmla="*/ 1813413 w 1995848"/>
                  <a:gd name="connsiteY6" fmla="*/ 9212 h 1983856"/>
                  <a:gd name="connsiteX7" fmla="*/ 1995848 w 1995848"/>
                  <a:gd name="connsiteY7" fmla="*/ 0 h 1983856"/>
                  <a:gd name="connsiteX0" fmla="*/ 1995449 w 1995449"/>
                  <a:gd name="connsiteY0" fmla="*/ 0 h 1983856"/>
                  <a:gd name="connsiteX1" fmla="*/ 1995449 w 1995449"/>
                  <a:gd name="connsiteY1" fmla="*/ 1983856 h 1983856"/>
                  <a:gd name="connsiteX2" fmla="*/ 11591 w 1995449"/>
                  <a:gd name="connsiteY2" fmla="*/ 1983856 h 1983856"/>
                  <a:gd name="connsiteX3" fmla="*/ 66528 w 1995449"/>
                  <a:gd name="connsiteY3" fmla="*/ 1613447 h 1983856"/>
                  <a:gd name="connsiteX4" fmla="*/ 199512 w 1995449"/>
                  <a:gd name="connsiteY4" fmla="*/ 1208821 h 1983856"/>
                  <a:gd name="connsiteX5" fmla="*/ 527200 w 1995449"/>
                  <a:gd name="connsiteY5" fmla="*/ 716017 h 1983856"/>
                  <a:gd name="connsiteX6" fmla="*/ 1813014 w 1995449"/>
                  <a:gd name="connsiteY6" fmla="*/ 9212 h 1983856"/>
                  <a:gd name="connsiteX7" fmla="*/ 1995449 w 1995449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526129 w 1994378"/>
                  <a:gd name="connsiteY5" fmla="*/ 716017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1811943 w 1994378"/>
                  <a:gd name="connsiteY6" fmla="*/ 9212 h 1983856"/>
                  <a:gd name="connsiteX7" fmla="*/ 1994378 w 1994378"/>
                  <a:gd name="connsiteY7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72531 w 1994378"/>
                  <a:gd name="connsiteY6" fmla="*/ 573765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1811943 w 1994378"/>
                  <a:gd name="connsiteY7" fmla="*/ 9212 h 1983856"/>
                  <a:gd name="connsiteX8" fmla="*/ 1994378 w 1994378"/>
                  <a:gd name="connsiteY8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3529 w 1994378"/>
                  <a:gd name="connsiteY7" fmla="*/ 337525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811943 w 1994378"/>
                  <a:gd name="connsiteY8" fmla="*/ 9212 h 1983856"/>
                  <a:gd name="connsiteX9" fmla="*/ 1994378 w 1994378"/>
                  <a:gd name="connsiteY9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18678 w 1994378"/>
                  <a:gd name="connsiteY8" fmla="*/ 162250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11943 w 1994378"/>
                  <a:gd name="connsiteY9" fmla="*/ 9212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90989 w 1994378"/>
                  <a:gd name="connsiteY7" fmla="*/ 274019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308517 w 1994378"/>
                  <a:gd name="connsiteY8" fmla="*/ 91124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295816 w 1994378"/>
                  <a:gd name="connsiteY8" fmla="*/ 131767 h 1983856"/>
                  <a:gd name="connsiteX9" fmla="*/ 1809403 w 1994378"/>
                  <a:gd name="connsiteY9" fmla="*/ 26994 h 1983856"/>
                  <a:gd name="connsiteX10" fmla="*/ 1994378 w 1994378"/>
                  <a:gd name="connsiteY10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18000 w 1994378"/>
                  <a:gd name="connsiteY8" fmla="*/ 182572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809403 w 1994378"/>
                  <a:gd name="connsiteY10" fmla="*/ 26994 h 1983856"/>
                  <a:gd name="connsiteX11" fmla="*/ 1994378 w 1994378"/>
                  <a:gd name="connsiteY11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14274 w 1994378"/>
                  <a:gd name="connsiteY10" fmla="*/ 86043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698865 w 1994378"/>
                  <a:gd name="connsiteY6" fmla="*/ 472157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714106 w 1994378"/>
                  <a:gd name="connsiteY6" fmla="*/ 489939 h 1983856"/>
                  <a:gd name="connsiteX7" fmla="*/ 947805 w 1994378"/>
                  <a:gd name="connsiteY7" fmla="*/ 253697 h 1983856"/>
                  <a:gd name="connsiteX8" fmla="*/ 1128161 w 1994378"/>
                  <a:gd name="connsiteY8" fmla="*/ 205434 h 1983856"/>
                  <a:gd name="connsiteX9" fmla="*/ 1295816 w 1994378"/>
                  <a:gd name="connsiteY9" fmla="*/ 131767 h 1983856"/>
                  <a:gd name="connsiteX10" fmla="*/ 1534596 w 1994378"/>
                  <a:gd name="connsiteY10" fmla="*/ 47939 h 1983856"/>
                  <a:gd name="connsiteX11" fmla="*/ 1809403 w 1994378"/>
                  <a:gd name="connsiteY11" fmla="*/ 26994 h 1983856"/>
                  <a:gd name="connsiteX12" fmla="*/ 1994378 w 1994378"/>
                  <a:gd name="connsiteY12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64232 w 1994378"/>
                  <a:gd name="connsiteY6" fmla="*/ 647432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442301 w 1994378"/>
                  <a:gd name="connsiteY5" fmla="*/ 784603 h 1983856"/>
                  <a:gd name="connsiteX6" fmla="*/ 538829 w 1994378"/>
                  <a:gd name="connsiteY6" fmla="*/ 614409 h 1983856"/>
                  <a:gd name="connsiteX7" fmla="*/ 714106 w 1994378"/>
                  <a:gd name="connsiteY7" fmla="*/ 489939 h 1983856"/>
                  <a:gd name="connsiteX8" fmla="*/ 947805 w 1994378"/>
                  <a:gd name="connsiteY8" fmla="*/ 253697 h 1983856"/>
                  <a:gd name="connsiteX9" fmla="*/ 1128161 w 1994378"/>
                  <a:gd name="connsiteY9" fmla="*/ 205434 h 1983856"/>
                  <a:gd name="connsiteX10" fmla="*/ 1295816 w 1994378"/>
                  <a:gd name="connsiteY10" fmla="*/ 131767 h 1983856"/>
                  <a:gd name="connsiteX11" fmla="*/ 1534596 w 1994378"/>
                  <a:gd name="connsiteY11" fmla="*/ 47939 h 1983856"/>
                  <a:gd name="connsiteX12" fmla="*/ 1809403 w 1994378"/>
                  <a:gd name="connsiteY12" fmla="*/ 26994 h 1983856"/>
                  <a:gd name="connsiteX13" fmla="*/ 1994378 w 1994378"/>
                  <a:gd name="connsiteY13" fmla="*/ 0 h 1983856"/>
                  <a:gd name="connsiteX0" fmla="*/ 1994378 w 1994378"/>
                  <a:gd name="connsiteY0" fmla="*/ 0 h 1983856"/>
                  <a:gd name="connsiteX1" fmla="*/ 1994378 w 1994378"/>
                  <a:gd name="connsiteY1" fmla="*/ 1983856 h 1983856"/>
                  <a:gd name="connsiteX2" fmla="*/ 10520 w 1994378"/>
                  <a:gd name="connsiteY2" fmla="*/ 1983856 h 1983856"/>
                  <a:gd name="connsiteX3" fmla="*/ 65457 w 1994378"/>
                  <a:gd name="connsiteY3" fmla="*/ 1613447 h 1983856"/>
                  <a:gd name="connsiteX4" fmla="*/ 137476 w 1994378"/>
                  <a:gd name="connsiteY4" fmla="*/ 1196120 h 1983856"/>
                  <a:gd name="connsiteX5" fmla="*/ 302589 w 1994378"/>
                  <a:gd name="connsiteY5" fmla="*/ 959879 h 1983856"/>
                  <a:gd name="connsiteX6" fmla="*/ 442301 w 1994378"/>
                  <a:gd name="connsiteY6" fmla="*/ 784603 h 1983856"/>
                  <a:gd name="connsiteX7" fmla="*/ 538829 w 1994378"/>
                  <a:gd name="connsiteY7" fmla="*/ 614409 h 1983856"/>
                  <a:gd name="connsiteX8" fmla="*/ 714106 w 1994378"/>
                  <a:gd name="connsiteY8" fmla="*/ 489939 h 1983856"/>
                  <a:gd name="connsiteX9" fmla="*/ 947805 w 1994378"/>
                  <a:gd name="connsiteY9" fmla="*/ 253697 h 1983856"/>
                  <a:gd name="connsiteX10" fmla="*/ 1128161 w 1994378"/>
                  <a:gd name="connsiteY10" fmla="*/ 205434 h 1983856"/>
                  <a:gd name="connsiteX11" fmla="*/ 1295816 w 1994378"/>
                  <a:gd name="connsiteY11" fmla="*/ 131767 h 1983856"/>
                  <a:gd name="connsiteX12" fmla="*/ 1534596 w 1994378"/>
                  <a:gd name="connsiteY12" fmla="*/ 47939 h 1983856"/>
                  <a:gd name="connsiteX13" fmla="*/ 1809403 w 1994378"/>
                  <a:gd name="connsiteY13" fmla="*/ 26994 h 1983856"/>
                  <a:gd name="connsiteX14" fmla="*/ 1994378 w 1994378"/>
                  <a:gd name="connsiteY14" fmla="*/ 0 h 198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94378" h="1983856">
                    <a:moveTo>
                      <a:pt x="1994378" y="0"/>
                    </a:moveTo>
                    <a:lnTo>
                      <a:pt x="1994378" y="1983856"/>
                    </a:lnTo>
                    <a:lnTo>
                      <a:pt x="10520" y="1983856"/>
                    </a:lnTo>
                    <a:cubicBezTo>
                      <a:pt x="-26463" y="1874704"/>
                      <a:pt x="44298" y="1744736"/>
                      <a:pt x="65457" y="1613447"/>
                    </a:cubicBezTo>
                    <a:cubicBezTo>
                      <a:pt x="86616" y="1482158"/>
                      <a:pt x="97954" y="1305048"/>
                      <a:pt x="137476" y="1196120"/>
                    </a:cubicBezTo>
                    <a:cubicBezTo>
                      <a:pt x="176998" y="1087192"/>
                      <a:pt x="251785" y="1028465"/>
                      <a:pt x="302589" y="959879"/>
                    </a:cubicBezTo>
                    <a:cubicBezTo>
                      <a:pt x="353393" y="891293"/>
                      <a:pt x="402928" y="842181"/>
                      <a:pt x="442301" y="784603"/>
                    </a:cubicBezTo>
                    <a:cubicBezTo>
                      <a:pt x="481674" y="727025"/>
                      <a:pt x="493528" y="663520"/>
                      <a:pt x="538829" y="614409"/>
                    </a:cubicBezTo>
                    <a:cubicBezTo>
                      <a:pt x="584130" y="565298"/>
                      <a:pt x="650177" y="555562"/>
                      <a:pt x="714106" y="489939"/>
                    </a:cubicBezTo>
                    <a:cubicBezTo>
                      <a:pt x="778035" y="424316"/>
                      <a:pt x="877949" y="301961"/>
                      <a:pt x="947805" y="253697"/>
                    </a:cubicBezTo>
                    <a:cubicBezTo>
                      <a:pt x="1017661" y="205433"/>
                      <a:pt x="1070159" y="225756"/>
                      <a:pt x="1128161" y="205434"/>
                    </a:cubicBezTo>
                    <a:cubicBezTo>
                      <a:pt x="1186163" y="185112"/>
                      <a:pt x="1231464" y="151666"/>
                      <a:pt x="1295816" y="131767"/>
                    </a:cubicBezTo>
                    <a:cubicBezTo>
                      <a:pt x="1360168" y="111869"/>
                      <a:pt x="1448998" y="65401"/>
                      <a:pt x="1534596" y="47939"/>
                    </a:cubicBezTo>
                    <a:lnTo>
                      <a:pt x="1809403" y="26994"/>
                    </a:lnTo>
                    <a:lnTo>
                      <a:pt x="1994378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a-DK" sz="1400" b="1">
                  <a:latin typeface="Verdana" panose="020B0604030504040204" pitchFamily="34" charset="0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F72F5E-769F-5096-AD32-D77564E42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Hvad får vi ud af at bruge AlmenKompa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68B2AC-395B-84C8-FEEF-2ABAA341EB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F24D2F-939A-0D87-527A-25396D357D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A4BAD1D2-1C90-0284-F298-38B3D27AD52C}"/>
              </a:ext>
            </a:extLst>
          </p:cNvPr>
          <p:cNvGrpSpPr/>
          <p:nvPr/>
        </p:nvGrpSpPr>
        <p:grpSpPr>
          <a:xfrm>
            <a:off x="4416358" y="2408377"/>
            <a:ext cx="1141332" cy="783257"/>
            <a:chOff x="352425" y="1598747"/>
            <a:chExt cx="1288710" cy="1107284"/>
          </a:xfrm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585ECFA5-812A-FFEC-7E2C-15E6191745C8}"/>
                </a:ext>
              </a:extLst>
            </p:cNvPr>
            <p:cNvSpPr/>
            <p:nvPr/>
          </p:nvSpPr>
          <p:spPr>
            <a:xfrm>
              <a:off x="566976" y="2207574"/>
              <a:ext cx="358866" cy="268904"/>
            </a:xfrm>
            <a:custGeom>
              <a:avLst/>
              <a:gdLst>
                <a:gd name="connsiteX0" fmla="*/ 1290066 w 1449374"/>
                <a:gd name="connsiteY0" fmla="*/ 412909 h 1086040"/>
                <a:gd name="connsiteX1" fmla="*/ 1148143 w 1449374"/>
                <a:gd name="connsiteY1" fmla="*/ 478060 h 1086040"/>
                <a:gd name="connsiteX2" fmla="*/ 1112901 w 1449374"/>
                <a:gd name="connsiteY2" fmla="*/ 478060 h 1086040"/>
                <a:gd name="connsiteX3" fmla="*/ 1112901 w 1449374"/>
                <a:gd name="connsiteY3" fmla="*/ 0 h 1086040"/>
                <a:gd name="connsiteX4" fmla="*/ 680657 w 1449374"/>
                <a:gd name="connsiteY4" fmla="*/ 0 h 1086040"/>
                <a:gd name="connsiteX5" fmla="*/ 680657 w 1449374"/>
                <a:gd name="connsiteY5" fmla="*/ 61436 h 1086040"/>
                <a:gd name="connsiteX6" fmla="*/ 745808 w 1449374"/>
                <a:gd name="connsiteY6" fmla="*/ 203264 h 1086040"/>
                <a:gd name="connsiteX7" fmla="*/ 588645 w 1449374"/>
                <a:gd name="connsiteY7" fmla="*/ 362236 h 1086040"/>
                <a:gd name="connsiteX8" fmla="*/ 409575 w 1449374"/>
                <a:gd name="connsiteY8" fmla="*/ 194310 h 1086040"/>
                <a:gd name="connsiteX9" fmla="*/ 474917 w 1449374"/>
                <a:gd name="connsiteY9" fmla="*/ 61436 h 1086040"/>
                <a:gd name="connsiteX10" fmla="*/ 474917 w 1449374"/>
                <a:gd name="connsiteY10" fmla="*/ 0 h 1086040"/>
                <a:gd name="connsiteX11" fmla="*/ 0 w 1449374"/>
                <a:gd name="connsiteY11" fmla="*/ 0 h 1086040"/>
                <a:gd name="connsiteX12" fmla="*/ 0 w 1449374"/>
                <a:gd name="connsiteY12" fmla="*/ 1004697 h 1086040"/>
                <a:gd name="connsiteX13" fmla="*/ 81344 w 1449374"/>
                <a:gd name="connsiteY13" fmla="*/ 1086041 h 1086040"/>
                <a:gd name="connsiteX14" fmla="*/ 1112996 w 1449374"/>
                <a:gd name="connsiteY14" fmla="*/ 1086041 h 1086040"/>
                <a:gd name="connsiteX15" fmla="*/ 1112996 w 1449374"/>
                <a:gd name="connsiteY15" fmla="*/ 683800 h 1086040"/>
                <a:gd name="connsiteX16" fmla="*/ 1148239 w 1449374"/>
                <a:gd name="connsiteY16" fmla="*/ 683800 h 1086040"/>
                <a:gd name="connsiteX17" fmla="*/ 1281113 w 1449374"/>
                <a:gd name="connsiteY17" fmla="*/ 749141 h 1086040"/>
                <a:gd name="connsiteX18" fmla="*/ 1449038 w 1449374"/>
                <a:gd name="connsiteY18" fmla="*/ 570071 h 1086040"/>
                <a:gd name="connsiteX19" fmla="*/ 1290066 w 1449374"/>
                <a:gd name="connsiteY19" fmla="*/ 412909 h 1086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49374" h="1086040">
                  <a:moveTo>
                    <a:pt x="1290066" y="412909"/>
                  </a:moveTo>
                  <a:cubicBezTo>
                    <a:pt x="1232345" y="409861"/>
                    <a:pt x="1180624" y="436150"/>
                    <a:pt x="1148143" y="478060"/>
                  </a:cubicBezTo>
                  <a:lnTo>
                    <a:pt x="1112901" y="478060"/>
                  </a:lnTo>
                  <a:lnTo>
                    <a:pt x="1112901" y="0"/>
                  </a:lnTo>
                  <a:lnTo>
                    <a:pt x="680657" y="0"/>
                  </a:lnTo>
                  <a:lnTo>
                    <a:pt x="680657" y="61436"/>
                  </a:lnTo>
                  <a:cubicBezTo>
                    <a:pt x="722567" y="93917"/>
                    <a:pt x="748760" y="145542"/>
                    <a:pt x="745808" y="203264"/>
                  </a:cubicBezTo>
                  <a:cubicBezTo>
                    <a:pt x="741426" y="287750"/>
                    <a:pt x="673037" y="356902"/>
                    <a:pt x="588645" y="362236"/>
                  </a:cubicBezTo>
                  <a:cubicBezTo>
                    <a:pt x="490823" y="368332"/>
                    <a:pt x="409575" y="290798"/>
                    <a:pt x="409575" y="194310"/>
                  </a:cubicBezTo>
                  <a:cubicBezTo>
                    <a:pt x="409575" y="140208"/>
                    <a:pt x="435197" y="92202"/>
                    <a:pt x="474917" y="61436"/>
                  </a:cubicBezTo>
                  <a:lnTo>
                    <a:pt x="474917" y="0"/>
                  </a:lnTo>
                  <a:lnTo>
                    <a:pt x="0" y="0"/>
                  </a:lnTo>
                  <a:lnTo>
                    <a:pt x="0" y="1004697"/>
                  </a:lnTo>
                  <a:cubicBezTo>
                    <a:pt x="0" y="1049560"/>
                    <a:pt x="36385" y="1086041"/>
                    <a:pt x="81344" y="1086041"/>
                  </a:cubicBezTo>
                  <a:lnTo>
                    <a:pt x="1112996" y="1086041"/>
                  </a:lnTo>
                  <a:lnTo>
                    <a:pt x="1112996" y="683800"/>
                  </a:lnTo>
                  <a:lnTo>
                    <a:pt x="1148239" y="683800"/>
                  </a:lnTo>
                  <a:cubicBezTo>
                    <a:pt x="1179005" y="723519"/>
                    <a:pt x="1227011" y="749141"/>
                    <a:pt x="1281113" y="749141"/>
                  </a:cubicBezTo>
                  <a:cubicBezTo>
                    <a:pt x="1377601" y="749141"/>
                    <a:pt x="1455134" y="667893"/>
                    <a:pt x="1449038" y="570071"/>
                  </a:cubicBezTo>
                  <a:cubicBezTo>
                    <a:pt x="1443704" y="485680"/>
                    <a:pt x="1374553" y="417290"/>
                    <a:pt x="1290066" y="412909"/>
                  </a:cubicBezTo>
                  <a:close/>
                </a:path>
              </a:pathLst>
            </a:custGeom>
            <a:solidFill>
              <a:srgbClr val="B6C1D6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3CDAF8F-BC0B-2B52-60A1-36437ABE2FFD}"/>
                </a:ext>
              </a:extLst>
            </p:cNvPr>
            <p:cNvSpPr/>
            <p:nvPr/>
          </p:nvSpPr>
          <p:spPr>
            <a:xfrm>
              <a:off x="564051" y="2369303"/>
              <a:ext cx="221420" cy="335727"/>
            </a:xfrm>
            <a:custGeom>
              <a:avLst/>
              <a:gdLst>
                <a:gd name="connsiteX0" fmla="*/ 615791 w 894261"/>
                <a:gd name="connsiteY0" fmla="*/ 432856 h 1355923"/>
                <a:gd name="connsiteX1" fmla="*/ 721424 w 894261"/>
                <a:gd name="connsiteY1" fmla="*/ 163489 h 1355923"/>
                <a:gd name="connsiteX2" fmla="*/ 764286 w 894261"/>
                <a:gd name="connsiteY2" fmla="*/ 17566 h 1355923"/>
                <a:gd name="connsiteX3" fmla="*/ 868775 w 894261"/>
                <a:gd name="connsiteY3" fmla="*/ 62048 h 1355923"/>
                <a:gd name="connsiteX4" fmla="*/ 844486 w 894261"/>
                <a:gd name="connsiteY4" fmla="*/ 433713 h 1355923"/>
                <a:gd name="connsiteX5" fmla="*/ 829151 w 894261"/>
                <a:gd name="connsiteY5" fmla="*/ 921869 h 1355923"/>
                <a:gd name="connsiteX6" fmla="*/ 699707 w 894261"/>
                <a:gd name="connsiteY6" fmla="*/ 1355924 h 1355923"/>
                <a:gd name="connsiteX7" fmla="*/ 0 w 894261"/>
                <a:gd name="connsiteY7" fmla="*/ 1352495 h 1355923"/>
                <a:gd name="connsiteX8" fmla="*/ 355378 w 894261"/>
                <a:gd name="connsiteY8" fmla="*/ 858242 h 1355923"/>
                <a:gd name="connsiteX9" fmla="*/ 107156 w 894261"/>
                <a:gd name="connsiteY9" fmla="*/ 432856 h 1355923"/>
                <a:gd name="connsiteX10" fmla="*/ 615791 w 894261"/>
                <a:gd name="connsiteY10" fmla="*/ 432856 h 1355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4261" h="1355923">
                  <a:moveTo>
                    <a:pt x="615791" y="432856"/>
                  </a:moveTo>
                  <a:cubicBezTo>
                    <a:pt x="677608" y="380659"/>
                    <a:pt x="684466" y="334558"/>
                    <a:pt x="721424" y="163489"/>
                  </a:cubicBezTo>
                  <a:cubicBezTo>
                    <a:pt x="736664" y="93194"/>
                    <a:pt x="740854" y="41664"/>
                    <a:pt x="764286" y="17566"/>
                  </a:cubicBezTo>
                  <a:cubicBezTo>
                    <a:pt x="797814" y="-16724"/>
                    <a:pt x="859727" y="-246"/>
                    <a:pt x="868775" y="62048"/>
                  </a:cubicBezTo>
                  <a:cubicBezTo>
                    <a:pt x="882015" y="152630"/>
                    <a:pt x="844486" y="433713"/>
                    <a:pt x="844486" y="433713"/>
                  </a:cubicBezTo>
                  <a:cubicBezTo>
                    <a:pt x="960882" y="859100"/>
                    <a:pt x="837819" y="913583"/>
                    <a:pt x="829151" y="921869"/>
                  </a:cubicBezTo>
                  <a:lnTo>
                    <a:pt x="699707" y="1355924"/>
                  </a:lnTo>
                  <a:lnTo>
                    <a:pt x="0" y="1352495"/>
                  </a:lnTo>
                  <a:lnTo>
                    <a:pt x="355378" y="858242"/>
                  </a:lnTo>
                  <a:lnTo>
                    <a:pt x="107156" y="432856"/>
                  </a:lnTo>
                  <a:lnTo>
                    <a:pt x="615791" y="432856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02626875-A0B3-2DD3-258D-BCC47EDA530B}"/>
                </a:ext>
              </a:extLst>
            </p:cNvPr>
            <p:cNvGrpSpPr/>
            <p:nvPr/>
          </p:nvGrpSpPr>
          <p:grpSpPr>
            <a:xfrm>
              <a:off x="352425" y="1598747"/>
              <a:ext cx="485782" cy="592405"/>
              <a:chOff x="5228432" y="1281113"/>
              <a:chExt cx="797683" cy="972765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27389DA3-65F5-1136-A153-E6AF7B37699F}"/>
                  </a:ext>
                </a:extLst>
              </p:cNvPr>
              <p:cNvSpPr/>
              <p:nvPr/>
            </p:nvSpPr>
            <p:spPr>
              <a:xfrm>
                <a:off x="5573637" y="1664078"/>
                <a:ext cx="452478" cy="589800"/>
              </a:xfrm>
              <a:custGeom>
                <a:avLst/>
                <a:gdLst>
                  <a:gd name="connsiteX0" fmla="*/ 1112901 w 1112900"/>
                  <a:gd name="connsiteY0" fmla="*/ 1086041 h 1450657"/>
                  <a:gd name="connsiteX1" fmla="*/ 1112901 w 1112900"/>
                  <a:gd name="connsiteY1" fmla="*/ 640175 h 1450657"/>
                  <a:gd name="connsiteX2" fmla="*/ 1047179 w 1112900"/>
                  <a:gd name="connsiteY2" fmla="*/ 640175 h 1450657"/>
                  <a:gd name="connsiteX3" fmla="*/ 914305 w 1112900"/>
                  <a:gd name="connsiteY3" fmla="*/ 705517 h 1450657"/>
                  <a:gd name="connsiteX4" fmla="*/ 746093 w 1112900"/>
                  <a:gd name="connsiteY4" fmla="*/ 537305 h 1450657"/>
                  <a:gd name="connsiteX5" fmla="*/ 914305 w 1112900"/>
                  <a:gd name="connsiteY5" fmla="*/ 369094 h 1450657"/>
                  <a:gd name="connsiteX6" fmla="*/ 1047179 w 1112900"/>
                  <a:gd name="connsiteY6" fmla="*/ 434435 h 1450657"/>
                  <a:gd name="connsiteX7" fmla="*/ 1112901 w 1112900"/>
                  <a:gd name="connsiteY7" fmla="*/ 434435 h 1450657"/>
                  <a:gd name="connsiteX8" fmla="*/ 1112901 w 1112900"/>
                  <a:gd name="connsiteY8" fmla="*/ 0 h 1450657"/>
                  <a:gd name="connsiteX9" fmla="*/ 0 w 1112900"/>
                  <a:gd name="connsiteY9" fmla="*/ 0 h 1450657"/>
                  <a:gd name="connsiteX10" fmla="*/ 0 w 1112900"/>
                  <a:gd name="connsiteY10" fmla="*/ 1086041 h 1450657"/>
                  <a:gd name="connsiteX11" fmla="*/ 474917 w 1112900"/>
                  <a:gd name="connsiteY11" fmla="*/ 1086041 h 1450657"/>
                  <a:gd name="connsiteX12" fmla="*/ 474917 w 1112900"/>
                  <a:gd name="connsiteY12" fmla="*/ 1149572 h 1450657"/>
                  <a:gd name="connsiteX13" fmla="*/ 409575 w 1112900"/>
                  <a:gd name="connsiteY13" fmla="*/ 1282446 h 1450657"/>
                  <a:gd name="connsiteX14" fmla="*/ 577787 w 1112900"/>
                  <a:gd name="connsiteY14" fmla="*/ 1450658 h 1450657"/>
                  <a:gd name="connsiteX15" fmla="*/ 745998 w 1112900"/>
                  <a:gd name="connsiteY15" fmla="*/ 1282446 h 1450657"/>
                  <a:gd name="connsiteX16" fmla="*/ 680657 w 1112900"/>
                  <a:gd name="connsiteY16" fmla="*/ 1149572 h 1450657"/>
                  <a:gd name="connsiteX17" fmla="*/ 680657 w 1112900"/>
                  <a:gd name="connsiteY17" fmla="*/ 1086041 h 1450657"/>
                  <a:gd name="connsiteX18" fmla="*/ 1112901 w 1112900"/>
                  <a:gd name="connsiteY18" fmla="*/ 1086041 h 145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12900" h="1450657">
                    <a:moveTo>
                      <a:pt x="1112901" y="1086041"/>
                    </a:moveTo>
                    <a:lnTo>
                      <a:pt x="1112901" y="640175"/>
                    </a:lnTo>
                    <a:lnTo>
                      <a:pt x="1047179" y="640175"/>
                    </a:lnTo>
                    <a:cubicBezTo>
                      <a:pt x="1016413" y="679895"/>
                      <a:pt x="968407" y="705517"/>
                      <a:pt x="914305" y="705517"/>
                    </a:cubicBezTo>
                    <a:cubicBezTo>
                      <a:pt x="821341" y="705517"/>
                      <a:pt x="746093" y="630174"/>
                      <a:pt x="746093" y="537305"/>
                    </a:cubicBezTo>
                    <a:cubicBezTo>
                      <a:pt x="746093" y="444341"/>
                      <a:pt x="821436" y="369094"/>
                      <a:pt x="914305" y="369094"/>
                    </a:cubicBezTo>
                    <a:cubicBezTo>
                      <a:pt x="968407" y="369094"/>
                      <a:pt x="1016413" y="394716"/>
                      <a:pt x="1047179" y="434435"/>
                    </a:cubicBezTo>
                    <a:lnTo>
                      <a:pt x="1112901" y="434435"/>
                    </a:lnTo>
                    <a:lnTo>
                      <a:pt x="1112901" y="0"/>
                    </a:lnTo>
                    <a:lnTo>
                      <a:pt x="0" y="0"/>
                    </a:lnTo>
                    <a:lnTo>
                      <a:pt x="0" y="1086041"/>
                    </a:lnTo>
                    <a:lnTo>
                      <a:pt x="474917" y="1086041"/>
                    </a:lnTo>
                    <a:lnTo>
                      <a:pt x="474917" y="1149572"/>
                    </a:lnTo>
                    <a:cubicBezTo>
                      <a:pt x="435197" y="1180338"/>
                      <a:pt x="409575" y="1228344"/>
                      <a:pt x="409575" y="1282446"/>
                    </a:cubicBezTo>
                    <a:cubicBezTo>
                      <a:pt x="409575" y="1375410"/>
                      <a:pt x="484918" y="1450658"/>
                      <a:pt x="577787" y="1450658"/>
                    </a:cubicBezTo>
                    <a:cubicBezTo>
                      <a:pt x="670751" y="1450658"/>
                      <a:pt x="745998" y="1375315"/>
                      <a:pt x="745998" y="1282446"/>
                    </a:cubicBezTo>
                    <a:cubicBezTo>
                      <a:pt x="745998" y="1228344"/>
                      <a:pt x="720376" y="1180338"/>
                      <a:pt x="680657" y="1149572"/>
                    </a:cubicBezTo>
                    <a:lnTo>
                      <a:pt x="680657" y="1086041"/>
                    </a:lnTo>
                    <a:lnTo>
                      <a:pt x="1112901" y="1086041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B3137BD0-5380-6A40-44D7-60831C5F1F3F}"/>
                  </a:ext>
                </a:extLst>
              </p:cNvPr>
              <p:cNvGrpSpPr/>
              <p:nvPr/>
            </p:nvGrpSpPr>
            <p:grpSpPr>
              <a:xfrm>
                <a:off x="5228432" y="1281113"/>
                <a:ext cx="658203" cy="598591"/>
                <a:chOff x="5264150" y="1671638"/>
                <a:chExt cx="658203" cy="598591"/>
              </a:xfrm>
            </p:grpSpPr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884D1EC6-3DD5-1FB2-20EE-10F06AE5DB42}"/>
                    </a:ext>
                  </a:extLst>
                </p:cNvPr>
                <p:cNvSpPr/>
                <p:nvPr/>
              </p:nvSpPr>
              <p:spPr>
                <a:xfrm>
                  <a:off x="5264150" y="1671638"/>
                  <a:ext cx="3873" cy="38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25" h="9525"/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F20BA2D1-5604-867E-16D5-572D353AB68D}"/>
                    </a:ext>
                  </a:extLst>
                </p:cNvPr>
                <p:cNvSpPr/>
                <p:nvPr/>
              </p:nvSpPr>
              <p:spPr>
                <a:xfrm>
                  <a:off x="5266074" y="1674504"/>
                  <a:ext cx="656279" cy="595725"/>
                </a:xfrm>
                <a:custGeom>
                  <a:avLst/>
                  <a:gdLst>
                    <a:gd name="connsiteX0" fmla="*/ 769173 w 1614165"/>
                    <a:gd name="connsiteY0" fmla="*/ 460439 h 1465230"/>
                    <a:gd name="connsiteX1" fmla="*/ 1480976 w 1614165"/>
                    <a:gd name="connsiteY1" fmla="*/ 732663 h 1465230"/>
                    <a:gd name="connsiteX2" fmla="*/ 1613278 w 1614165"/>
                    <a:gd name="connsiteY2" fmla="*/ 1169194 h 1465230"/>
                    <a:gd name="connsiteX3" fmla="*/ 1437161 w 1614165"/>
                    <a:gd name="connsiteY3" fmla="*/ 1465231 h 1465230"/>
                    <a:gd name="connsiteX4" fmla="*/ 1348197 w 1614165"/>
                    <a:gd name="connsiteY4" fmla="*/ 1376839 h 1465230"/>
                    <a:gd name="connsiteX5" fmla="*/ 1400680 w 1614165"/>
                    <a:gd name="connsiteY5" fmla="*/ 1263872 h 1465230"/>
                    <a:gd name="connsiteX6" fmla="*/ 1154650 w 1614165"/>
                    <a:gd name="connsiteY6" fmla="*/ 1427702 h 1465230"/>
                    <a:gd name="connsiteX7" fmla="*/ 1091880 w 1614165"/>
                    <a:gd name="connsiteY7" fmla="*/ 1352360 h 1465230"/>
                    <a:gd name="connsiteX8" fmla="*/ 1019299 w 1614165"/>
                    <a:gd name="connsiteY8" fmla="*/ 1364932 h 1465230"/>
                    <a:gd name="connsiteX9" fmla="*/ 954720 w 1614165"/>
                    <a:gd name="connsiteY9" fmla="*/ 1326166 h 1465230"/>
                    <a:gd name="connsiteX10" fmla="*/ 973770 w 1614165"/>
                    <a:gd name="connsiteY10" fmla="*/ 1272921 h 1465230"/>
                    <a:gd name="connsiteX11" fmla="*/ 897951 w 1614165"/>
                    <a:gd name="connsiteY11" fmla="*/ 1281398 h 1465230"/>
                    <a:gd name="connsiteX12" fmla="*/ 868518 w 1614165"/>
                    <a:gd name="connsiteY12" fmla="*/ 1256252 h 1465230"/>
                    <a:gd name="connsiteX13" fmla="*/ 888045 w 1614165"/>
                    <a:gd name="connsiteY13" fmla="*/ 1196721 h 1465230"/>
                    <a:gd name="connsiteX14" fmla="*/ 1005393 w 1614165"/>
                    <a:gd name="connsiteY14" fmla="*/ 1123950 h 1465230"/>
                    <a:gd name="connsiteX15" fmla="*/ 991962 w 1614165"/>
                    <a:gd name="connsiteY15" fmla="*/ 1060133 h 1465230"/>
                    <a:gd name="connsiteX16" fmla="*/ 973675 w 1614165"/>
                    <a:gd name="connsiteY16" fmla="*/ 963359 h 1465230"/>
                    <a:gd name="connsiteX17" fmla="*/ 584769 w 1614165"/>
                    <a:gd name="connsiteY17" fmla="*/ 916400 h 1465230"/>
                    <a:gd name="connsiteX18" fmla="*/ 479803 w 1614165"/>
                    <a:gd name="connsiteY18" fmla="*/ 739235 h 1465230"/>
                    <a:gd name="connsiteX19" fmla="*/ 29 w 1614165"/>
                    <a:gd name="connsiteY19" fmla="*/ 385477 h 1465230"/>
                    <a:gd name="connsiteX20" fmla="*/ 351216 w 1614165"/>
                    <a:gd name="connsiteY20" fmla="*/ 0 h 1465230"/>
                    <a:gd name="connsiteX21" fmla="*/ 769173 w 1614165"/>
                    <a:gd name="connsiteY21" fmla="*/ 460439 h 1465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614165" h="1465230">
                      <a:moveTo>
                        <a:pt x="769173" y="460439"/>
                      </a:moveTo>
                      <a:cubicBezTo>
                        <a:pt x="769173" y="460439"/>
                        <a:pt x="1419730" y="697421"/>
                        <a:pt x="1480976" y="732663"/>
                      </a:cubicBezTo>
                      <a:cubicBezTo>
                        <a:pt x="1542222" y="767906"/>
                        <a:pt x="1623565" y="1143857"/>
                        <a:pt x="1613278" y="1169194"/>
                      </a:cubicBezTo>
                      <a:cubicBezTo>
                        <a:pt x="1602991" y="1194626"/>
                        <a:pt x="1437161" y="1465231"/>
                        <a:pt x="1437161" y="1465231"/>
                      </a:cubicBezTo>
                      <a:cubicBezTo>
                        <a:pt x="1437161" y="1465231"/>
                        <a:pt x="1326862" y="1464564"/>
                        <a:pt x="1348197" y="1376839"/>
                      </a:cubicBezTo>
                      <a:cubicBezTo>
                        <a:pt x="1364390" y="1310069"/>
                        <a:pt x="1400680" y="1263872"/>
                        <a:pt x="1400680" y="1263872"/>
                      </a:cubicBezTo>
                      <a:cubicBezTo>
                        <a:pt x="1400680" y="1263872"/>
                        <a:pt x="1199798" y="1432084"/>
                        <a:pt x="1154650" y="1427702"/>
                      </a:cubicBezTo>
                      <a:cubicBezTo>
                        <a:pt x="1076068" y="1419987"/>
                        <a:pt x="1091880" y="1352360"/>
                        <a:pt x="1091880" y="1352360"/>
                      </a:cubicBezTo>
                      <a:lnTo>
                        <a:pt x="1019299" y="1364932"/>
                      </a:lnTo>
                      <a:cubicBezTo>
                        <a:pt x="991200" y="1369790"/>
                        <a:pt x="962816" y="1353598"/>
                        <a:pt x="954720" y="1326166"/>
                      </a:cubicBezTo>
                      <a:cubicBezTo>
                        <a:pt x="949671" y="1309211"/>
                        <a:pt x="951958" y="1289876"/>
                        <a:pt x="973770" y="1272921"/>
                      </a:cubicBezTo>
                      <a:lnTo>
                        <a:pt x="897951" y="1281398"/>
                      </a:lnTo>
                      <a:cubicBezTo>
                        <a:pt x="882711" y="1283113"/>
                        <a:pt x="869185" y="1271588"/>
                        <a:pt x="868518" y="1256252"/>
                      </a:cubicBezTo>
                      <a:cubicBezTo>
                        <a:pt x="867947" y="1241774"/>
                        <a:pt x="871947" y="1221867"/>
                        <a:pt x="888045" y="1196721"/>
                      </a:cubicBezTo>
                      <a:cubicBezTo>
                        <a:pt x="924240" y="1140238"/>
                        <a:pt x="1003773" y="1128713"/>
                        <a:pt x="1005393" y="1123950"/>
                      </a:cubicBezTo>
                      <a:cubicBezTo>
                        <a:pt x="1006917" y="1119283"/>
                        <a:pt x="991962" y="1060133"/>
                        <a:pt x="991962" y="1060133"/>
                      </a:cubicBezTo>
                      <a:lnTo>
                        <a:pt x="973675" y="963359"/>
                      </a:lnTo>
                      <a:cubicBezTo>
                        <a:pt x="973675" y="963359"/>
                        <a:pt x="674399" y="980885"/>
                        <a:pt x="584769" y="916400"/>
                      </a:cubicBezTo>
                      <a:cubicBezTo>
                        <a:pt x="495138" y="851916"/>
                        <a:pt x="488280" y="743522"/>
                        <a:pt x="479803" y="739235"/>
                      </a:cubicBezTo>
                      <a:cubicBezTo>
                        <a:pt x="471421" y="735140"/>
                        <a:pt x="3839" y="391763"/>
                        <a:pt x="29" y="385477"/>
                      </a:cubicBezTo>
                      <a:cubicBezTo>
                        <a:pt x="-3686" y="379286"/>
                        <a:pt x="351216" y="0"/>
                        <a:pt x="351216" y="0"/>
                      </a:cubicBezTo>
                      <a:lnTo>
                        <a:pt x="769173" y="46043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55135AFF-9A6C-D6FD-2705-1E2E4ADD3B2D}"/>
                    </a:ext>
                  </a:extLst>
                </p:cNvPr>
                <p:cNvSpPr/>
                <p:nvPr/>
              </p:nvSpPr>
              <p:spPr>
                <a:xfrm>
                  <a:off x="5661905" y="2027140"/>
                  <a:ext cx="74832" cy="164906"/>
                </a:xfrm>
                <a:custGeom>
                  <a:avLst/>
                  <a:gdLst>
                    <a:gd name="connsiteX0" fmla="*/ 131735 w 184055"/>
                    <a:gd name="connsiteY0" fmla="*/ 10 h 405598"/>
                    <a:gd name="connsiteX1" fmla="*/ 135354 w 184055"/>
                    <a:gd name="connsiteY1" fmla="*/ 1820 h 405598"/>
                    <a:gd name="connsiteX2" fmla="*/ 143641 w 184055"/>
                    <a:gd name="connsiteY2" fmla="*/ 10202 h 405598"/>
                    <a:gd name="connsiteX3" fmla="*/ 158500 w 184055"/>
                    <a:gd name="connsiteY3" fmla="*/ 51636 h 405598"/>
                    <a:gd name="connsiteX4" fmla="*/ 158500 w 184055"/>
                    <a:gd name="connsiteY4" fmla="*/ 51445 h 405598"/>
                    <a:gd name="connsiteX5" fmla="*/ 174692 w 184055"/>
                    <a:gd name="connsiteY5" fmla="*/ 135265 h 405598"/>
                    <a:gd name="connsiteX6" fmla="*/ 181550 w 184055"/>
                    <a:gd name="connsiteY6" fmla="*/ 187653 h 405598"/>
                    <a:gd name="connsiteX7" fmla="*/ 183646 w 184055"/>
                    <a:gd name="connsiteY7" fmla="*/ 245279 h 405598"/>
                    <a:gd name="connsiteX8" fmla="*/ 179169 w 184055"/>
                    <a:gd name="connsiteY8" fmla="*/ 271568 h 405598"/>
                    <a:gd name="connsiteX9" fmla="*/ 167453 w 184055"/>
                    <a:gd name="connsiteY9" fmla="*/ 294523 h 405598"/>
                    <a:gd name="connsiteX10" fmla="*/ 136307 w 184055"/>
                    <a:gd name="connsiteY10" fmla="*/ 331480 h 405598"/>
                    <a:gd name="connsiteX11" fmla="*/ 69155 w 184055"/>
                    <a:gd name="connsiteY11" fmla="*/ 377295 h 405598"/>
                    <a:gd name="connsiteX12" fmla="*/ 19149 w 184055"/>
                    <a:gd name="connsiteY12" fmla="*/ 399584 h 405598"/>
                    <a:gd name="connsiteX13" fmla="*/ 5052 w 184055"/>
                    <a:gd name="connsiteY13" fmla="*/ 404346 h 405598"/>
                    <a:gd name="connsiteX14" fmla="*/ 4 w 184055"/>
                    <a:gd name="connsiteY14" fmla="*/ 405585 h 405598"/>
                    <a:gd name="connsiteX15" fmla="*/ 4766 w 184055"/>
                    <a:gd name="connsiteY15" fmla="*/ 403394 h 405598"/>
                    <a:gd name="connsiteX16" fmla="*/ 18482 w 184055"/>
                    <a:gd name="connsiteY16" fmla="*/ 397774 h 405598"/>
                    <a:gd name="connsiteX17" fmla="*/ 67536 w 184055"/>
                    <a:gd name="connsiteY17" fmla="*/ 374152 h 405598"/>
                    <a:gd name="connsiteX18" fmla="*/ 133259 w 184055"/>
                    <a:gd name="connsiteY18" fmla="*/ 328051 h 405598"/>
                    <a:gd name="connsiteX19" fmla="*/ 163358 w 184055"/>
                    <a:gd name="connsiteY19" fmla="*/ 291856 h 405598"/>
                    <a:gd name="connsiteX20" fmla="*/ 174502 w 184055"/>
                    <a:gd name="connsiteY20" fmla="*/ 269758 h 405598"/>
                    <a:gd name="connsiteX21" fmla="*/ 177359 w 184055"/>
                    <a:gd name="connsiteY21" fmla="*/ 257661 h 405598"/>
                    <a:gd name="connsiteX22" fmla="*/ 178693 w 184055"/>
                    <a:gd name="connsiteY22" fmla="*/ 244898 h 405598"/>
                    <a:gd name="connsiteX23" fmla="*/ 176693 w 184055"/>
                    <a:gd name="connsiteY23" fmla="*/ 188034 h 405598"/>
                    <a:gd name="connsiteX24" fmla="*/ 170216 w 184055"/>
                    <a:gd name="connsiteY24" fmla="*/ 135932 h 405598"/>
                    <a:gd name="connsiteX25" fmla="*/ 155357 w 184055"/>
                    <a:gd name="connsiteY25" fmla="*/ 52112 h 405598"/>
                    <a:gd name="connsiteX26" fmla="*/ 155357 w 184055"/>
                    <a:gd name="connsiteY26" fmla="*/ 52017 h 405598"/>
                    <a:gd name="connsiteX27" fmla="*/ 155357 w 184055"/>
                    <a:gd name="connsiteY27" fmla="*/ 51921 h 405598"/>
                    <a:gd name="connsiteX28" fmla="*/ 142212 w 184055"/>
                    <a:gd name="connsiteY28" fmla="*/ 11059 h 405598"/>
                    <a:gd name="connsiteX29" fmla="*/ 131735 w 184055"/>
                    <a:gd name="connsiteY29" fmla="*/ 10 h 4055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84055" h="405598">
                      <a:moveTo>
                        <a:pt x="131735" y="10"/>
                      </a:moveTo>
                      <a:cubicBezTo>
                        <a:pt x="131830" y="-85"/>
                        <a:pt x="133068" y="486"/>
                        <a:pt x="135354" y="1820"/>
                      </a:cubicBezTo>
                      <a:cubicBezTo>
                        <a:pt x="137545" y="3344"/>
                        <a:pt x="140688" y="5916"/>
                        <a:pt x="143641" y="10202"/>
                      </a:cubicBezTo>
                      <a:cubicBezTo>
                        <a:pt x="149737" y="18584"/>
                        <a:pt x="155642" y="32871"/>
                        <a:pt x="158500" y="51636"/>
                      </a:cubicBezTo>
                      <a:lnTo>
                        <a:pt x="158500" y="51445"/>
                      </a:lnTo>
                      <a:cubicBezTo>
                        <a:pt x="163643" y="73829"/>
                        <a:pt x="169454" y="102404"/>
                        <a:pt x="174692" y="135265"/>
                      </a:cubicBezTo>
                      <a:cubicBezTo>
                        <a:pt x="177359" y="151648"/>
                        <a:pt x="179741" y="169174"/>
                        <a:pt x="181550" y="187653"/>
                      </a:cubicBezTo>
                      <a:cubicBezTo>
                        <a:pt x="183360" y="206036"/>
                        <a:pt x="184789" y="225276"/>
                        <a:pt x="183646" y="245279"/>
                      </a:cubicBezTo>
                      <a:cubicBezTo>
                        <a:pt x="183074" y="254137"/>
                        <a:pt x="181836" y="262995"/>
                        <a:pt x="179169" y="271568"/>
                      </a:cubicBezTo>
                      <a:cubicBezTo>
                        <a:pt x="175359" y="279378"/>
                        <a:pt x="172502" y="287665"/>
                        <a:pt x="167453" y="294523"/>
                      </a:cubicBezTo>
                      <a:cubicBezTo>
                        <a:pt x="158881" y="309192"/>
                        <a:pt x="147260" y="320717"/>
                        <a:pt x="136307" y="331480"/>
                      </a:cubicBezTo>
                      <a:cubicBezTo>
                        <a:pt x="113351" y="352054"/>
                        <a:pt x="89539" y="366437"/>
                        <a:pt x="69155" y="377295"/>
                      </a:cubicBezTo>
                      <a:cubicBezTo>
                        <a:pt x="48677" y="388059"/>
                        <a:pt x="31246" y="395107"/>
                        <a:pt x="19149" y="399584"/>
                      </a:cubicBezTo>
                      <a:cubicBezTo>
                        <a:pt x="13053" y="401870"/>
                        <a:pt x="8291" y="403394"/>
                        <a:pt x="5052" y="404346"/>
                      </a:cubicBezTo>
                      <a:cubicBezTo>
                        <a:pt x="1814" y="405299"/>
                        <a:pt x="4" y="405680"/>
                        <a:pt x="4" y="405585"/>
                      </a:cubicBezTo>
                      <a:cubicBezTo>
                        <a:pt x="-92" y="405394"/>
                        <a:pt x="1623" y="404727"/>
                        <a:pt x="4766" y="403394"/>
                      </a:cubicBezTo>
                      <a:cubicBezTo>
                        <a:pt x="8386" y="401870"/>
                        <a:pt x="12958" y="400060"/>
                        <a:pt x="18482" y="397774"/>
                      </a:cubicBezTo>
                      <a:cubicBezTo>
                        <a:pt x="30293" y="392726"/>
                        <a:pt x="47343" y="385201"/>
                        <a:pt x="67536" y="374152"/>
                      </a:cubicBezTo>
                      <a:cubicBezTo>
                        <a:pt x="87539" y="363008"/>
                        <a:pt x="110970" y="348530"/>
                        <a:pt x="133259" y="328051"/>
                      </a:cubicBezTo>
                      <a:cubicBezTo>
                        <a:pt x="143831" y="317383"/>
                        <a:pt x="155166" y="306048"/>
                        <a:pt x="163358" y="291856"/>
                      </a:cubicBezTo>
                      <a:cubicBezTo>
                        <a:pt x="168215" y="285189"/>
                        <a:pt x="170882" y="277283"/>
                        <a:pt x="174502" y="269758"/>
                      </a:cubicBezTo>
                      <a:cubicBezTo>
                        <a:pt x="175359" y="265758"/>
                        <a:pt x="176883" y="261852"/>
                        <a:pt x="177359" y="257661"/>
                      </a:cubicBezTo>
                      <a:cubicBezTo>
                        <a:pt x="177740" y="253375"/>
                        <a:pt x="178598" y="249184"/>
                        <a:pt x="178693" y="244898"/>
                      </a:cubicBezTo>
                      <a:cubicBezTo>
                        <a:pt x="179836" y="225467"/>
                        <a:pt x="178407" y="206322"/>
                        <a:pt x="176693" y="188034"/>
                      </a:cubicBezTo>
                      <a:cubicBezTo>
                        <a:pt x="174978" y="169746"/>
                        <a:pt x="172692" y="152315"/>
                        <a:pt x="170216" y="135932"/>
                      </a:cubicBezTo>
                      <a:cubicBezTo>
                        <a:pt x="165263" y="103166"/>
                        <a:pt x="159929" y="74591"/>
                        <a:pt x="155357" y="52112"/>
                      </a:cubicBezTo>
                      <a:lnTo>
                        <a:pt x="155357" y="52017"/>
                      </a:lnTo>
                      <a:lnTo>
                        <a:pt x="155357" y="51921"/>
                      </a:lnTo>
                      <a:cubicBezTo>
                        <a:pt x="152975" y="33633"/>
                        <a:pt x="147737" y="19441"/>
                        <a:pt x="142212" y="11059"/>
                      </a:cubicBezTo>
                      <a:cubicBezTo>
                        <a:pt x="136878" y="2582"/>
                        <a:pt x="131354" y="486"/>
                        <a:pt x="131735" y="1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9E2C3FCB-2649-0D0D-E6BF-5B4EFF093EFE}"/>
                    </a:ext>
                  </a:extLst>
                </p:cNvPr>
                <p:cNvSpPr/>
                <p:nvPr/>
              </p:nvSpPr>
              <p:spPr>
                <a:xfrm>
                  <a:off x="5710003" y="2025747"/>
                  <a:ext cx="93970" cy="198602"/>
                </a:xfrm>
                <a:custGeom>
                  <a:avLst/>
                  <a:gdLst>
                    <a:gd name="connsiteX0" fmla="*/ 4 w 231127"/>
                    <a:gd name="connsiteY0" fmla="*/ 488449 h 488475"/>
                    <a:gd name="connsiteX1" fmla="*/ 5242 w 231127"/>
                    <a:gd name="connsiteY1" fmla="*/ 485115 h 488475"/>
                    <a:gd name="connsiteX2" fmla="*/ 20482 w 231127"/>
                    <a:gd name="connsiteY2" fmla="*/ 476162 h 488475"/>
                    <a:gd name="connsiteX3" fmla="*/ 75727 w 231127"/>
                    <a:gd name="connsiteY3" fmla="*/ 441777 h 488475"/>
                    <a:gd name="connsiteX4" fmla="*/ 152880 w 231127"/>
                    <a:gd name="connsiteY4" fmla="*/ 384055 h 488475"/>
                    <a:gd name="connsiteX5" fmla="*/ 192790 w 231127"/>
                    <a:gd name="connsiteY5" fmla="*/ 343860 h 488475"/>
                    <a:gd name="connsiteX6" fmla="*/ 222222 w 231127"/>
                    <a:gd name="connsiteY6" fmla="*/ 291948 h 488475"/>
                    <a:gd name="connsiteX7" fmla="*/ 225079 w 231127"/>
                    <a:gd name="connsiteY7" fmla="*/ 231750 h 488475"/>
                    <a:gd name="connsiteX8" fmla="*/ 219269 w 231127"/>
                    <a:gd name="connsiteY8" fmla="*/ 174981 h 488475"/>
                    <a:gd name="connsiteX9" fmla="*/ 207839 w 231127"/>
                    <a:gd name="connsiteY9" fmla="*/ 79065 h 488475"/>
                    <a:gd name="connsiteX10" fmla="*/ 202791 w 231127"/>
                    <a:gd name="connsiteY10" fmla="*/ 42298 h 488475"/>
                    <a:gd name="connsiteX11" fmla="*/ 193361 w 231127"/>
                    <a:gd name="connsiteY11" fmla="*/ 16485 h 488475"/>
                    <a:gd name="connsiteX12" fmla="*/ 176692 w 231127"/>
                    <a:gd name="connsiteY12" fmla="*/ 7 h 488475"/>
                    <a:gd name="connsiteX13" fmla="*/ 182217 w 231127"/>
                    <a:gd name="connsiteY13" fmla="*/ 2865 h 488475"/>
                    <a:gd name="connsiteX14" fmla="*/ 194980 w 231127"/>
                    <a:gd name="connsiteY14" fmla="*/ 15438 h 488475"/>
                    <a:gd name="connsiteX15" fmla="*/ 205553 w 231127"/>
                    <a:gd name="connsiteY15" fmla="*/ 41727 h 488475"/>
                    <a:gd name="connsiteX16" fmla="*/ 211363 w 231127"/>
                    <a:gd name="connsiteY16" fmla="*/ 78493 h 488475"/>
                    <a:gd name="connsiteX17" fmla="*/ 223936 w 231127"/>
                    <a:gd name="connsiteY17" fmla="*/ 174505 h 488475"/>
                    <a:gd name="connsiteX18" fmla="*/ 230032 w 231127"/>
                    <a:gd name="connsiteY18" fmla="*/ 231369 h 488475"/>
                    <a:gd name="connsiteX19" fmla="*/ 227175 w 231127"/>
                    <a:gd name="connsiteY19" fmla="*/ 293187 h 488475"/>
                    <a:gd name="connsiteX20" fmla="*/ 196695 w 231127"/>
                    <a:gd name="connsiteY20" fmla="*/ 347003 h 488475"/>
                    <a:gd name="connsiteX21" fmla="*/ 156023 w 231127"/>
                    <a:gd name="connsiteY21" fmla="*/ 387579 h 488475"/>
                    <a:gd name="connsiteX22" fmla="*/ 77728 w 231127"/>
                    <a:gd name="connsiteY22" fmla="*/ 444729 h 488475"/>
                    <a:gd name="connsiteX23" fmla="*/ 21530 w 231127"/>
                    <a:gd name="connsiteY23" fmla="*/ 477876 h 488475"/>
                    <a:gd name="connsiteX24" fmla="*/ 5814 w 231127"/>
                    <a:gd name="connsiteY24" fmla="*/ 486068 h 488475"/>
                    <a:gd name="connsiteX25" fmla="*/ 4 w 231127"/>
                    <a:gd name="connsiteY25" fmla="*/ 488449 h 488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31127" h="488475">
                      <a:moveTo>
                        <a:pt x="4" y="488449"/>
                      </a:moveTo>
                      <a:cubicBezTo>
                        <a:pt x="-92" y="488259"/>
                        <a:pt x="1718" y="487211"/>
                        <a:pt x="5242" y="485115"/>
                      </a:cubicBezTo>
                      <a:cubicBezTo>
                        <a:pt x="9148" y="482829"/>
                        <a:pt x="14291" y="479781"/>
                        <a:pt x="20482" y="476162"/>
                      </a:cubicBezTo>
                      <a:cubicBezTo>
                        <a:pt x="33722" y="468351"/>
                        <a:pt x="52867" y="456921"/>
                        <a:pt x="75727" y="441777"/>
                      </a:cubicBezTo>
                      <a:cubicBezTo>
                        <a:pt x="98587" y="426537"/>
                        <a:pt x="125448" y="407772"/>
                        <a:pt x="152880" y="384055"/>
                      </a:cubicBezTo>
                      <a:cubicBezTo>
                        <a:pt x="166310" y="371958"/>
                        <a:pt x="180407" y="359100"/>
                        <a:pt x="192790" y="343860"/>
                      </a:cubicBezTo>
                      <a:cubicBezTo>
                        <a:pt x="205648" y="329096"/>
                        <a:pt x="216602" y="311570"/>
                        <a:pt x="222222" y="291948"/>
                      </a:cubicBezTo>
                      <a:cubicBezTo>
                        <a:pt x="227175" y="271946"/>
                        <a:pt x="226508" y="251372"/>
                        <a:pt x="225079" y="231750"/>
                      </a:cubicBezTo>
                      <a:cubicBezTo>
                        <a:pt x="223365" y="212129"/>
                        <a:pt x="221650" y="192984"/>
                        <a:pt x="219269" y="174981"/>
                      </a:cubicBezTo>
                      <a:cubicBezTo>
                        <a:pt x="214983" y="138977"/>
                        <a:pt x="211078" y="106497"/>
                        <a:pt x="207839" y="79065"/>
                      </a:cubicBezTo>
                      <a:cubicBezTo>
                        <a:pt x="206029" y="65349"/>
                        <a:pt x="204791" y="52966"/>
                        <a:pt x="202791" y="42298"/>
                      </a:cubicBezTo>
                      <a:cubicBezTo>
                        <a:pt x="200695" y="31630"/>
                        <a:pt x="197552" y="22867"/>
                        <a:pt x="193361" y="16485"/>
                      </a:cubicBezTo>
                      <a:cubicBezTo>
                        <a:pt x="184979" y="3722"/>
                        <a:pt x="176216" y="579"/>
                        <a:pt x="176692" y="7"/>
                      </a:cubicBezTo>
                      <a:cubicBezTo>
                        <a:pt x="176788" y="-88"/>
                        <a:pt x="178693" y="769"/>
                        <a:pt x="182217" y="2865"/>
                      </a:cubicBezTo>
                      <a:cubicBezTo>
                        <a:pt x="185551" y="5151"/>
                        <a:pt x="190504" y="8961"/>
                        <a:pt x="194980" y="15438"/>
                      </a:cubicBezTo>
                      <a:cubicBezTo>
                        <a:pt x="199552" y="21819"/>
                        <a:pt x="203172" y="30963"/>
                        <a:pt x="205553" y="41727"/>
                      </a:cubicBezTo>
                      <a:cubicBezTo>
                        <a:pt x="207839" y="52585"/>
                        <a:pt x="209363" y="64968"/>
                        <a:pt x="211363" y="78493"/>
                      </a:cubicBezTo>
                      <a:cubicBezTo>
                        <a:pt x="214983" y="106020"/>
                        <a:pt x="219174" y="138501"/>
                        <a:pt x="223936" y="174505"/>
                      </a:cubicBezTo>
                      <a:cubicBezTo>
                        <a:pt x="226413" y="192603"/>
                        <a:pt x="228223" y="211462"/>
                        <a:pt x="230032" y="231369"/>
                      </a:cubicBezTo>
                      <a:cubicBezTo>
                        <a:pt x="231461" y="251181"/>
                        <a:pt x="232318" y="272136"/>
                        <a:pt x="227175" y="293187"/>
                      </a:cubicBezTo>
                      <a:cubicBezTo>
                        <a:pt x="221269" y="313951"/>
                        <a:pt x="209839" y="332049"/>
                        <a:pt x="196695" y="347003"/>
                      </a:cubicBezTo>
                      <a:cubicBezTo>
                        <a:pt x="184027" y="362529"/>
                        <a:pt x="169739" y="375483"/>
                        <a:pt x="156023" y="387579"/>
                      </a:cubicBezTo>
                      <a:cubicBezTo>
                        <a:pt x="128115" y="411297"/>
                        <a:pt x="100969" y="429870"/>
                        <a:pt x="77728" y="444729"/>
                      </a:cubicBezTo>
                      <a:cubicBezTo>
                        <a:pt x="54487" y="459588"/>
                        <a:pt x="35056" y="470542"/>
                        <a:pt x="21530" y="477876"/>
                      </a:cubicBezTo>
                      <a:cubicBezTo>
                        <a:pt x="14767" y="481496"/>
                        <a:pt x="9433" y="484258"/>
                        <a:pt x="5814" y="486068"/>
                      </a:cubicBezTo>
                      <a:cubicBezTo>
                        <a:pt x="2004" y="487782"/>
                        <a:pt x="4" y="488640"/>
                        <a:pt x="4" y="48844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E545740A-EBF1-8D7F-79E1-B03252922B7E}"/>
                    </a:ext>
                  </a:extLst>
                </p:cNvPr>
                <p:cNvSpPr/>
                <p:nvPr/>
              </p:nvSpPr>
              <p:spPr>
                <a:xfrm>
                  <a:off x="5834004" y="2039227"/>
                  <a:ext cx="34501" cy="151233"/>
                </a:xfrm>
                <a:custGeom>
                  <a:avLst/>
                  <a:gdLst>
                    <a:gd name="connsiteX0" fmla="*/ 7 w 84858"/>
                    <a:gd name="connsiteY0" fmla="*/ 371953 h 371968"/>
                    <a:gd name="connsiteX1" fmla="*/ 10198 w 84858"/>
                    <a:gd name="connsiteY1" fmla="*/ 359951 h 371968"/>
                    <a:gd name="connsiteX2" fmla="*/ 35440 w 84858"/>
                    <a:gd name="connsiteY2" fmla="*/ 325375 h 371968"/>
                    <a:gd name="connsiteX3" fmla="*/ 65444 w 84858"/>
                    <a:gd name="connsiteY3" fmla="*/ 269464 h 371968"/>
                    <a:gd name="connsiteX4" fmla="*/ 72587 w 84858"/>
                    <a:gd name="connsiteY4" fmla="*/ 252509 h 371968"/>
                    <a:gd name="connsiteX5" fmla="*/ 78493 w 84858"/>
                    <a:gd name="connsiteY5" fmla="*/ 234697 h 371968"/>
                    <a:gd name="connsiteX6" fmla="*/ 78588 w 84858"/>
                    <a:gd name="connsiteY6" fmla="*/ 195169 h 371968"/>
                    <a:gd name="connsiteX7" fmla="*/ 64681 w 84858"/>
                    <a:gd name="connsiteY7" fmla="*/ 118588 h 371968"/>
                    <a:gd name="connsiteX8" fmla="*/ 48965 w 84858"/>
                    <a:gd name="connsiteY8" fmla="*/ 56770 h 371968"/>
                    <a:gd name="connsiteX9" fmla="*/ 37440 w 84858"/>
                    <a:gd name="connsiteY9" fmla="*/ 15337 h 371968"/>
                    <a:gd name="connsiteX10" fmla="*/ 33535 w 84858"/>
                    <a:gd name="connsiteY10" fmla="*/ 1 h 371968"/>
                    <a:gd name="connsiteX11" fmla="*/ 39250 w 84858"/>
                    <a:gd name="connsiteY11" fmla="*/ 14765 h 371968"/>
                    <a:gd name="connsiteX12" fmla="*/ 52299 w 84858"/>
                    <a:gd name="connsiteY12" fmla="*/ 55818 h 371968"/>
                    <a:gd name="connsiteX13" fmla="*/ 69063 w 84858"/>
                    <a:gd name="connsiteY13" fmla="*/ 117540 h 371968"/>
                    <a:gd name="connsiteX14" fmla="*/ 83446 w 84858"/>
                    <a:gd name="connsiteY14" fmla="*/ 194597 h 371968"/>
                    <a:gd name="connsiteX15" fmla="*/ 83255 w 84858"/>
                    <a:gd name="connsiteY15" fmla="*/ 235650 h 371968"/>
                    <a:gd name="connsiteX16" fmla="*/ 76969 w 84858"/>
                    <a:gd name="connsiteY16" fmla="*/ 254224 h 371968"/>
                    <a:gd name="connsiteX17" fmla="*/ 69635 w 84858"/>
                    <a:gd name="connsiteY17" fmla="*/ 271273 h 371968"/>
                    <a:gd name="connsiteX18" fmla="*/ 38392 w 84858"/>
                    <a:gd name="connsiteY18" fmla="*/ 327185 h 371968"/>
                    <a:gd name="connsiteX19" fmla="*/ 11627 w 84858"/>
                    <a:gd name="connsiteY19" fmla="*/ 361094 h 371968"/>
                    <a:gd name="connsiteX20" fmla="*/ 7 w 84858"/>
                    <a:gd name="connsiteY20" fmla="*/ 371953 h 3719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4858" h="371968">
                      <a:moveTo>
                        <a:pt x="7" y="371953"/>
                      </a:moveTo>
                      <a:cubicBezTo>
                        <a:pt x="-184" y="371667"/>
                        <a:pt x="3721" y="367762"/>
                        <a:pt x="10198" y="359951"/>
                      </a:cubicBezTo>
                      <a:cubicBezTo>
                        <a:pt x="16675" y="352236"/>
                        <a:pt x="25629" y="340520"/>
                        <a:pt x="35440" y="325375"/>
                      </a:cubicBezTo>
                      <a:cubicBezTo>
                        <a:pt x="45250" y="310135"/>
                        <a:pt x="55823" y="291371"/>
                        <a:pt x="65444" y="269464"/>
                      </a:cubicBezTo>
                      <a:cubicBezTo>
                        <a:pt x="67729" y="263939"/>
                        <a:pt x="70396" y="258415"/>
                        <a:pt x="72587" y="252509"/>
                      </a:cubicBezTo>
                      <a:cubicBezTo>
                        <a:pt x="74778" y="246699"/>
                        <a:pt x="77540" y="240698"/>
                        <a:pt x="78493" y="234697"/>
                      </a:cubicBezTo>
                      <a:cubicBezTo>
                        <a:pt x="80779" y="222410"/>
                        <a:pt x="80017" y="208789"/>
                        <a:pt x="78588" y="195169"/>
                      </a:cubicBezTo>
                      <a:cubicBezTo>
                        <a:pt x="75540" y="167832"/>
                        <a:pt x="70015" y="141924"/>
                        <a:pt x="64681" y="118588"/>
                      </a:cubicBezTo>
                      <a:cubicBezTo>
                        <a:pt x="59348" y="95251"/>
                        <a:pt x="53728" y="74296"/>
                        <a:pt x="48965" y="56770"/>
                      </a:cubicBezTo>
                      <a:cubicBezTo>
                        <a:pt x="44298" y="39911"/>
                        <a:pt x="40393" y="25909"/>
                        <a:pt x="37440" y="15337"/>
                      </a:cubicBezTo>
                      <a:cubicBezTo>
                        <a:pt x="34678" y="5526"/>
                        <a:pt x="33249" y="97"/>
                        <a:pt x="33535" y="1"/>
                      </a:cubicBezTo>
                      <a:cubicBezTo>
                        <a:pt x="33820" y="-94"/>
                        <a:pt x="35916" y="5145"/>
                        <a:pt x="39250" y="14765"/>
                      </a:cubicBezTo>
                      <a:cubicBezTo>
                        <a:pt x="42583" y="24385"/>
                        <a:pt x="47156" y="38387"/>
                        <a:pt x="52299" y="55818"/>
                      </a:cubicBezTo>
                      <a:cubicBezTo>
                        <a:pt x="57442" y="73249"/>
                        <a:pt x="63443" y="94108"/>
                        <a:pt x="69063" y="117540"/>
                      </a:cubicBezTo>
                      <a:cubicBezTo>
                        <a:pt x="74683" y="140971"/>
                        <a:pt x="80398" y="166879"/>
                        <a:pt x="83446" y="194597"/>
                      </a:cubicBezTo>
                      <a:cubicBezTo>
                        <a:pt x="84970" y="208408"/>
                        <a:pt x="85732" y="222220"/>
                        <a:pt x="83255" y="235650"/>
                      </a:cubicBezTo>
                      <a:cubicBezTo>
                        <a:pt x="82017" y="242603"/>
                        <a:pt x="79350" y="248318"/>
                        <a:pt x="76969" y="254224"/>
                      </a:cubicBezTo>
                      <a:cubicBezTo>
                        <a:pt x="74683" y="260129"/>
                        <a:pt x="72016" y="265749"/>
                        <a:pt x="69635" y="271273"/>
                      </a:cubicBezTo>
                      <a:cubicBezTo>
                        <a:pt x="59633" y="293276"/>
                        <a:pt x="48584" y="312136"/>
                        <a:pt x="38392" y="327185"/>
                      </a:cubicBezTo>
                      <a:cubicBezTo>
                        <a:pt x="28106" y="342330"/>
                        <a:pt x="18676" y="353760"/>
                        <a:pt x="11627" y="361094"/>
                      </a:cubicBezTo>
                      <a:cubicBezTo>
                        <a:pt x="4674" y="368714"/>
                        <a:pt x="197" y="372238"/>
                        <a:pt x="7" y="37195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91A336EA-39B2-9E8C-6942-98B2025EF08D}"/>
                    </a:ext>
                  </a:extLst>
                </p:cNvPr>
                <p:cNvSpPr/>
                <p:nvPr/>
              </p:nvSpPr>
              <p:spPr>
                <a:xfrm>
                  <a:off x="5835478" y="2066220"/>
                  <a:ext cx="38340" cy="122181"/>
                </a:xfrm>
                <a:custGeom>
                  <a:avLst/>
                  <a:gdLst>
                    <a:gd name="connsiteX0" fmla="*/ 49816 w 94300"/>
                    <a:gd name="connsiteY0" fmla="*/ 0 h 300513"/>
                    <a:gd name="connsiteX1" fmla="*/ 93440 w 94300"/>
                    <a:gd name="connsiteY1" fmla="*/ 168878 h 300513"/>
                    <a:gd name="connsiteX2" fmla="*/ 0 w 94300"/>
                    <a:gd name="connsiteY2" fmla="*/ 300514 h 300513"/>
                    <a:gd name="connsiteX3" fmla="*/ 78581 w 94300"/>
                    <a:gd name="connsiteY3" fmla="*/ 157353 h 300513"/>
                    <a:gd name="connsiteX4" fmla="*/ 49816 w 94300"/>
                    <a:gd name="connsiteY4" fmla="*/ 0 h 300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300" h="300513">
                      <a:moveTo>
                        <a:pt x="49816" y="0"/>
                      </a:moveTo>
                      <a:cubicBezTo>
                        <a:pt x="49816" y="0"/>
                        <a:pt x="101537" y="139541"/>
                        <a:pt x="93440" y="168878"/>
                      </a:cubicBezTo>
                      <a:cubicBezTo>
                        <a:pt x="85439" y="198120"/>
                        <a:pt x="55340" y="267271"/>
                        <a:pt x="0" y="300514"/>
                      </a:cubicBezTo>
                      <a:cubicBezTo>
                        <a:pt x="0" y="300514"/>
                        <a:pt x="76676" y="207073"/>
                        <a:pt x="78581" y="157353"/>
                      </a:cubicBezTo>
                      <a:cubicBezTo>
                        <a:pt x="80486" y="108490"/>
                        <a:pt x="49816" y="0"/>
                        <a:pt x="4981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A21651E5-66A7-19A9-9AC2-9CBA6FEC0C42}"/>
                </a:ext>
              </a:extLst>
            </p:cNvPr>
            <p:cNvGrpSpPr/>
            <p:nvPr/>
          </p:nvGrpSpPr>
          <p:grpSpPr>
            <a:xfrm>
              <a:off x="843776" y="2117162"/>
              <a:ext cx="536181" cy="588869"/>
              <a:chOff x="6061253" y="2348279"/>
              <a:chExt cx="880441" cy="966957"/>
            </a:xfrm>
          </p:grpSpPr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74FBDF7A-E6C2-CAA6-0DA6-4C5EB91D0BB1}"/>
                  </a:ext>
                </a:extLst>
              </p:cNvPr>
              <p:cNvSpPr/>
              <p:nvPr/>
            </p:nvSpPr>
            <p:spPr>
              <a:xfrm>
                <a:off x="6061253" y="2348279"/>
                <a:ext cx="452476" cy="589801"/>
              </a:xfrm>
              <a:custGeom>
                <a:avLst/>
                <a:gdLst>
                  <a:gd name="connsiteX0" fmla="*/ 680656 w 1112900"/>
                  <a:gd name="connsiteY0" fmla="*/ 364617 h 1450657"/>
                  <a:gd name="connsiteX1" fmla="*/ 680656 w 1112900"/>
                  <a:gd name="connsiteY1" fmla="*/ 301085 h 1450657"/>
                  <a:gd name="connsiteX2" fmla="*/ 745998 w 1112900"/>
                  <a:gd name="connsiteY2" fmla="*/ 168211 h 1450657"/>
                  <a:gd name="connsiteX3" fmla="*/ 577787 w 1112900"/>
                  <a:gd name="connsiteY3" fmla="*/ 0 h 1450657"/>
                  <a:gd name="connsiteX4" fmla="*/ 409575 w 1112900"/>
                  <a:gd name="connsiteY4" fmla="*/ 168211 h 1450657"/>
                  <a:gd name="connsiteX5" fmla="*/ 474916 w 1112900"/>
                  <a:gd name="connsiteY5" fmla="*/ 301085 h 1450657"/>
                  <a:gd name="connsiteX6" fmla="*/ 474916 w 1112900"/>
                  <a:gd name="connsiteY6" fmla="*/ 364617 h 1450657"/>
                  <a:gd name="connsiteX7" fmla="*/ 0 w 1112900"/>
                  <a:gd name="connsiteY7" fmla="*/ 364617 h 1450657"/>
                  <a:gd name="connsiteX8" fmla="*/ 0 w 1112900"/>
                  <a:gd name="connsiteY8" fmla="*/ 365665 h 1450657"/>
                  <a:gd name="connsiteX9" fmla="*/ 0 w 1112900"/>
                  <a:gd name="connsiteY9" fmla="*/ 843724 h 1450657"/>
                  <a:gd name="connsiteX10" fmla="*/ 35242 w 1112900"/>
                  <a:gd name="connsiteY10" fmla="*/ 843724 h 1450657"/>
                  <a:gd name="connsiteX11" fmla="*/ 168116 w 1112900"/>
                  <a:gd name="connsiteY11" fmla="*/ 778383 h 1450657"/>
                  <a:gd name="connsiteX12" fmla="*/ 336328 w 1112900"/>
                  <a:gd name="connsiteY12" fmla="*/ 946595 h 1450657"/>
                  <a:gd name="connsiteX13" fmla="*/ 168116 w 1112900"/>
                  <a:gd name="connsiteY13" fmla="*/ 1114806 h 1450657"/>
                  <a:gd name="connsiteX14" fmla="*/ 35242 w 1112900"/>
                  <a:gd name="connsiteY14" fmla="*/ 1049464 h 1450657"/>
                  <a:gd name="connsiteX15" fmla="*/ 0 w 1112900"/>
                  <a:gd name="connsiteY15" fmla="*/ 1049464 h 1450657"/>
                  <a:gd name="connsiteX16" fmla="*/ 0 w 1112900"/>
                  <a:gd name="connsiteY16" fmla="*/ 1450657 h 1450657"/>
                  <a:gd name="connsiteX17" fmla="*/ 1112901 w 1112900"/>
                  <a:gd name="connsiteY17" fmla="*/ 1450657 h 1450657"/>
                  <a:gd name="connsiteX18" fmla="*/ 1112901 w 1112900"/>
                  <a:gd name="connsiteY18" fmla="*/ 364617 h 1450657"/>
                  <a:gd name="connsiteX19" fmla="*/ 680656 w 1112900"/>
                  <a:gd name="connsiteY19" fmla="*/ 364617 h 145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12900" h="1450657">
                    <a:moveTo>
                      <a:pt x="680656" y="364617"/>
                    </a:moveTo>
                    <a:lnTo>
                      <a:pt x="680656" y="301085"/>
                    </a:lnTo>
                    <a:cubicBezTo>
                      <a:pt x="720376" y="270319"/>
                      <a:pt x="745998" y="222313"/>
                      <a:pt x="745998" y="168211"/>
                    </a:cubicBezTo>
                    <a:cubicBezTo>
                      <a:pt x="745998" y="75247"/>
                      <a:pt x="670655" y="0"/>
                      <a:pt x="577787" y="0"/>
                    </a:cubicBezTo>
                    <a:cubicBezTo>
                      <a:pt x="484822" y="0"/>
                      <a:pt x="409575" y="75343"/>
                      <a:pt x="409575" y="168211"/>
                    </a:cubicBezTo>
                    <a:cubicBezTo>
                      <a:pt x="409575" y="222313"/>
                      <a:pt x="435197" y="270319"/>
                      <a:pt x="474916" y="301085"/>
                    </a:cubicBezTo>
                    <a:lnTo>
                      <a:pt x="474916" y="364617"/>
                    </a:lnTo>
                    <a:lnTo>
                      <a:pt x="0" y="364617"/>
                    </a:lnTo>
                    <a:lnTo>
                      <a:pt x="0" y="365665"/>
                    </a:lnTo>
                    <a:lnTo>
                      <a:pt x="0" y="843724"/>
                    </a:lnTo>
                    <a:lnTo>
                      <a:pt x="35242" y="843724"/>
                    </a:lnTo>
                    <a:cubicBezTo>
                      <a:pt x="66008" y="804005"/>
                      <a:pt x="114014" y="778383"/>
                      <a:pt x="168116" y="778383"/>
                    </a:cubicBezTo>
                    <a:cubicBezTo>
                      <a:pt x="261080" y="778383"/>
                      <a:pt x="336328" y="853726"/>
                      <a:pt x="336328" y="946595"/>
                    </a:cubicBezTo>
                    <a:cubicBezTo>
                      <a:pt x="336328" y="1039558"/>
                      <a:pt x="260985" y="1114806"/>
                      <a:pt x="168116" y="1114806"/>
                    </a:cubicBezTo>
                    <a:cubicBezTo>
                      <a:pt x="114014" y="1114806"/>
                      <a:pt x="66008" y="1089184"/>
                      <a:pt x="35242" y="1049464"/>
                    </a:cubicBezTo>
                    <a:lnTo>
                      <a:pt x="0" y="1049464"/>
                    </a:lnTo>
                    <a:lnTo>
                      <a:pt x="0" y="1450657"/>
                    </a:lnTo>
                    <a:lnTo>
                      <a:pt x="1112901" y="1450657"/>
                    </a:lnTo>
                    <a:lnTo>
                      <a:pt x="1112901" y="364617"/>
                    </a:lnTo>
                    <a:lnTo>
                      <a:pt x="680656" y="364617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168A90A6-5D30-74EA-1571-53EBB4216F98}"/>
                  </a:ext>
                </a:extLst>
              </p:cNvPr>
              <p:cNvGrpSpPr/>
              <p:nvPr/>
            </p:nvGrpSpPr>
            <p:grpSpPr>
              <a:xfrm>
                <a:off x="6346077" y="2580489"/>
                <a:ext cx="595617" cy="734747"/>
                <a:chOff x="6346077" y="2578108"/>
                <a:chExt cx="595617" cy="734747"/>
              </a:xfrm>
            </p:grpSpPr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013FB340-7358-360A-1B88-CFF3F7C9A6FB}"/>
                    </a:ext>
                  </a:extLst>
                </p:cNvPr>
                <p:cNvSpPr/>
                <p:nvPr/>
              </p:nvSpPr>
              <p:spPr>
                <a:xfrm>
                  <a:off x="6346077" y="2578108"/>
                  <a:ext cx="595617" cy="734747"/>
                </a:xfrm>
                <a:custGeom>
                  <a:avLst/>
                  <a:gdLst>
                    <a:gd name="connsiteX0" fmla="*/ 2495 w 1464963"/>
                    <a:gd name="connsiteY0" fmla="*/ 754745 h 1807162"/>
                    <a:gd name="connsiteX1" fmla="*/ 18211 w 1464963"/>
                    <a:gd name="connsiteY1" fmla="*/ 793036 h 1807162"/>
                    <a:gd name="connsiteX2" fmla="*/ 260051 w 1464963"/>
                    <a:gd name="connsiteY2" fmla="*/ 1003253 h 1807162"/>
                    <a:gd name="connsiteX3" fmla="*/ 633622 w 1464963"/>
                    <a:gd name="connsiteY3" fmla="*/ 1226233 h 1807162"/>
                    <a:gd name="connsiteX4" fmla="*/ 763257 w 1464963"/>
                    <a:gd name="connsiteY4" fmla="*/ 1308148 h 1807162"/>
                    <a:gd name="connsiteX5" fmla="*/ 887939 w 1464963"/>
                    <a:gd name="connsiteY5" fmla="*/ 1807162 h 1807162"/>
                    <a:gd name="connsiteX6" fmla="*/ 1464964 w 1464963"/>
                    <a:gd name="connsiteY6" fmla="*/ 1807162 h 1807162"/>
                    <a:gd name="connsiteX7" fmla="*/ 1085393 w 1464963"/>
                    <a:gd name="connsiteY7" fmla="*/ 1058497 h 1807162"/>
                    <a:gd name="connsiteX8" fmla="*/ 1039673 w 1464963"/>
                    <a:gd name="connsiteY8" fmla="*/ 521002 h 1807162"/>
                    <a:gd name="connsiteX9" fmla="*/ 859936 w 1464963"/>
                    <a:gd name="connsiteY9" fmla="*/ 254587 h 1807162"/>
                    <a:gd name="connsiteX10" fmla="*/ 798404 w 1464963"/>
                    <a:gd name="connsiteY10" fmla="*/ 262684 h 1807162"/>
                    <a:gd name="connsiteX11" fmla="*/ 674103 w 1464963"/>
                    <a:gd name="connsiteY11" fmla="*/ 156670 h 1807162"/>
                    <a:gd name="connsiteX12" fmla="*/ 596379 w 1464963"/>
                    <a:gd name="connsiteY12" fmla="*/ 163433 h 1807162"/>
                    <a:gd name="connsiteX13" fmla="*/ 442169 w 1464963"/>
                    <a:gd name="connsiteY13" fmla="*/ 1889 h 1807162"/>
                    <a:gd name="connsiteX14" fmla="*/ 423595 w 1464963"/>
                    <a:gd name="connsiteY14" fmla="*/ 101235 h 1807162"/>
                    <a:gd name="connsiteX15" fmla="*/ 600665 w 1464963"/>
                    <a:gd name="connsiteY15" fmla="*/ 478901 h 1807162"/>
                    <a:gd name="connsiteX16" fmla="*/ 589426 w 1464963"/>
                    <a:gd name="connsiteY16" fmla="*/ 496903 h 1807162"/>
                    <a:gd name="connsiteX17" fmla="*/ 300151 w 1464963"/>
                    <a:gd name="connsiteY17" fmla="*/ 82375 h 1807162"/>
                    <a:gd name="connsiteX18" fmla="*/ 237286 w 1464963"/>
                    <a:gd name="connsiteY18" fmla="*/ 168100 h 1807162"/>
                    <a:gd name="connsiteX19" fmla="*/ 442931 w 1464963"/>
                    <a:gd name="connsiteY19" fmla="*/ 597106 h 1807162"/>
                    <a:gd name="connsiteX20" fmla="*/ 494938 w 1464963"/>
                    <a:gd name="connsiteY20" fmla="*/ 886952 h 1807162"/>
                    <a:gd name="connsiteX21" fmla="*/ 488937 w 1464963"/>
                    <a:gd name="connsiteY21" fmla="*/ 893429 h 1807162"/>
                    <a:gd name="connsiteX22" fmla="*/ 299770 w 1464963"/>
                    <a:gd name="connsiteY22" fmla="*/ 829993 h 1807162"/>
                    <a:gd name="connsiteX23" fmla="*/ 2495 w 1464963"/>
                    <a:gd name="connsiteY23" fmla="*/ 754745 h 1807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464963" h="1807162">
                      <a:moveTo>
                        <a:pt x="2495" y="754745"/>
                      </a:moveTo>
                      <a:cubicBezTo>
                        <a:pt x="-6744" y="768747"/>
                        <a:pt x="12211" y="787892"/>
                        <a:pt x="18211" y="793036"/>
                      </a:cubicBezTo>
                      <a:cubicBezTo>
                        <a:pt x="60693" y="829231"/>
                        <a:pt x="215284" y="955151"/>
                        <a:pt x="260051" y="1003253"/>
                      </a:cubicBezTo>
                      <a:cubicBezTo>
                        <a:pt x="311486" y="1058497"/>
                        <a:pt x="591712" y="1199563"/>
                        <a:pt x="633622" y="1226233"/>
                      </a:cubicBezTo>
                      <a:cubicBezTo>
                        <a:pt x="675532" y="1252903"/>
                        <a:pt x="721347" y="1249093"/>
                        <a:pt x="763257" y="1308148"/>
                      </a:cubicBezTo>
                      <a:cubicBezTo>
                        <a:pt x="805167" y="1367203"/>
                        <a:pt x="887939" y="1807162"/>
                        <a:pt x="887939" y="1807162"/>
                      </a:cubicBezTo>
                      <a:lnTo>
                        <a:pt x="1464964" y="1807162"/>
                      </a:lnTo>
                      <a:lnTo>
                        <a:pt x="1085393" y="1058497"/>
                      </a:lnTo>
                      <a:cubicBezTo>
                        <a:pt x="1085393" y="1058497"/>
                        <a:pt x="1053008" y="574341"/>
                        <a:pt x="1039673" y="521002"/>
                      </a:cubicBezTo>
                      <a:cubicBezTo>
                        <a:pt x="1026337" y="467662"/>
                        <a:pt x="899941" y="267922"/>
                        <a:pt x="859936" y="254587"/>
                      </a:cubicBezTo>
                      <a:cubicBezTo>
                        <a:pt x="819931" y="241252"/>
                        <a:pt x="798404" y="262684"/>
                        <a:pt x="798404" y="262684"/>
                      </a:cubicBezTo>
                      <a:cubicBezTo>
                        <a:pt x="798404" y="262684"/>
                        <a:pt x="727538" y="164290"/>
                        <a:pt x="674103" y="156670"/>
                      </a:cubicBezTo>
                      <a:cubicBezTo>
                        <a:pt x="620763" y="149050"/>
                        <a:pt x="596379" y="163433"/>
                        <a:pt x="596379" y="163433"/>
                      </a:cubicBezTo>
                      <a:cubicBezTo>
                        <a:pt x="596379" y="163433"/>
                        <a:pt x="500653" y="-20495"/>
                        <a:pt x="442169" y="1889"/>
                      </a:cubicBezTo>
                      <a:cubicBezTo>
                        <a:pt x="401783" y="17320"/>
                        <a:pt x="398164" y="45323"/>
                        <a:pt x="423595" y="101235"/>
                      </a:cubicBezTo>
                      <a:cubicBezTo>
                        <a:pt x="442645" y="143050"/>
                        <a:pt x="557612" y="372793"/>
                        <a:pt x="600665" y="478901"/>
                      </a:cubicBezTo>
                      <a:cubicBezTo>
                        <a:pt x="616191" y="517096"/>
                        <a:pt x="589426" y="496903"/>
                        <a:pt x="589426" y="496903"/>
                      </a:cubicBezTo>
                      <a:cubicBezTo>
                        <a:pt x="589426" y="496903"/>
                        <a:pt x="356349" y="106188"/>
                        <a:pt x="300151" y="82375"/>
                      </a:cubicBezTo>
                      <a:cubicBezTo>
                        <a:pt x="254241" y="62944"/>
                        <a:pt x="202901" y="103330"/>
                        <a:pt x="237286" y="168100"/>
                      </a:cubicBezTo>
                      <a:cubicBezTo>
                        <a:pt x="271576" y="232870"/>
                        <a:pt x="442931" y="597106"/>
                        <a:pt x="442931" y="597106"/>
                      </a:cubicBezTo>
                      <a:cubicBezTo>
                        <a:pt x="471697" y="687118"/>
                        <a:pt x="487889" y="800370"/>
                        <a:pt x="494938" y="886952"/>
                      </a:cubicBezTo>
                      <a:cubicBezTo>
                        <a:pt x="495700" y="890572"/>
                        <a:pt x="492652" y="893905"/>
                        <a:pt x="488937" y="893429"/>
                      </a:cubicBezTo>
                      <a:cubicBezTo>
                        <a:pt x="460457" y="889429"/>
                        <a:pt x="348729" y="865807"/>
                        <a:pt x="299770" y="829993"/>
                      </a:cubicBezTo>
                      <a:cubicBezTo>
                        <a:pt x="244716" y="789797"/>
                        <a:pt x="69170" y="653875"/>
                        <a:pt x="2495" y="75474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id="{3C89E12D-1D1C-A98E-16FF-2DBA9152FD18}"/>
                    </a:ext>
                  </a:extLst>
                </p:cNvPr>
                <p:cNvSpPr/>
                <p:nvPr/>
              </p:nvSpPr>
              <p:spPr>
                <a:xfrm>
                  <a:off x="6576188" y="2623370"/>
                  <a:ext cx="79408" cy="153939"/>
                </a:xfrm>
                <a:custGeom>
                  <a:avLst/>
                  <a:gdLst>
                    <a:gd name="connsiteX0" fmla="*/ 21 w 195309"/>
                    <a:gd name="connsiteY0" fmla="*/ 5 h 378625"/>
                    <a:gd name="connsiteX1" fmla="*/ 8974 w 195309"/>
                    <a:gd name="connsiteY1" fmla="*/ 14198 h 378625"/>
                    <a:gd name="connsiteX2" fmla="*/ 31930 w 195309"/>
                    <a:gd name="connsiteY2" fmla="*/ 53726 h 378625"/>
                    <a:gd name="connsiteX3" fmla="*/ 104986 w 195309"/>
                    <a:gd name="connsiteY3" fmla="*/ 185552 h 378625"/>
                    <a:gd name="connsiteX4" fmla="*/ 171471 w 195309"/>
                    <a:gd name="connsiteY4" fmla="*/ 320902 h 378625"/>
                    <a:gd name="connsiteX5" fmla="*/ 189473 w 195309"/>
                    <a:gd name="connsiteY5" fmla="*/ 362908 h 378625"/>
                    <a:gd name="connsiteX6" fmla="*/ 195283 w 195309"/>
                    <a:gd name="connsiteY6" fmla="*/ 378624 h 378625"/>
                    <a:gd name="connsiteX7" fmla="*/ 187663 w 195309"/>
                    <a:gd name="connsiteY7" fmla="*/ 363670 h 378625"/>
                    <a:gd name="connsiteX8" fmla="*/ 168232 w 195309"/>
                    <a:gd name="connsiteY8" fmla="*/ 322331 h 378625"/>
                    <a:gd name="connsiteX9" fmla="*/ 100605 w 195309"/>
                    <a:gd name="connsiteY9" fmla="*/ 187838 h 378625"/>
                    <a:gd name="connsiteX10" fmla="*/ 28882 w 195309"/>
                    <a:gd name="connsiteY10" fmla="*/ 55441 h 378625"/>
                    <a:gd name="connsiteX11" fmla="*/ 7355 w 195309"/>
                    <a:gd name="connsiteY11" fmla="*/ 15150 h 378625"/>
                    <a:gd name="connsiteX12" fmla="*/ 21 w 195309"/>
                    <a:gd name="connsiteY12" fmla="*/ 5 h 378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95309" h="378625">
                      <a:moveTo>
                        <a:pt x="21" y="5"/>
                      </a:moveTo>
                      <a:cubicBezTo>
                        <a:pt x="307" y="-185"/>
                        <a:pt x="3545" y="4863"/>
                        <a:pt x="8974" y="14198"/>
                      </a:cubicBezTo>
                      <a:cubicBezTo>
                        <a:pt x="14784" y="24199"/>
                        <a:pt x="22500" y="37534"/>
                        <a:pt x="31930" y="53726"/>
                      </a:cubicBezTo>
                      <a:cubicBezTo>
                        <a:pt x="51075" y="87159"/>
                        <a:pt x="77364" y="133546"/>
                        <a:pt x="104986" y="185552"/>
                      </a:cubicBezTo>
                      <a:cubicBezTo>
                        <a:pt x="132609" y="237559"/>
                        <a:pt x="155755" y="285660"/>
                        <a:pt x="171471" y="320902"/>
                      </a:cubicBezTo>
                      <a:cubicBezTo>
                        <a:pt x="179281" y="338524"/>
                        <a:pt x="185473" y="352906"/>
                        <a:pt x="189473" y="362908"/>
                      </a:cubicBezTo>
                      <a:cubicBezTo>
                        <a:pt x="193474" y="372909"/>
                        <a:pt x="195569" y="378529"/>
                        <a:pt x="195283" y="378624"/>
                      </a:cubicBezTo>
                      <a:cubicBezTo>
                        <a:pt x="194998" y="378719"/>
                        <a:pt x="192331" y="373385"/>
                        <a:pt x="187663" y="363670"/>
                      </a:cubicBezTo>
                      <a:cubicBezTo>
                        <a:pt x="182710" y="353192"/>
                        <a:pt x="176233" y="339286"/>
                        <a:pt x="168232" y="322331"/>
                      </a:cubicBezTo>
                      <a:cubicBezTo>
                        <a:pt x="151754" y="287470"/>
                        <a:pt x="128132" y="239845"/>
                        <a:pt x="100605" y="187838"/>
                      </a:cubicBezTo>
                      <a:cubicBezTo>
                        <a:pt x="73077" y="135927"/>
                        <a:pt x="47265" y="89350"/>
                        <a:pt x="28882" y="55441"/>
                      </a:cubicBezTo>
                      <a:cubicBezTo>
                        <a:pt x="20023" y="38962"/>
                        <a:pt x="12784" y="25437"/>
                        <a:pt x="7355" y="15150"/>
                      </a:cubicBezTo>
                      <a:cubicBezTo>
                        <a:pt x="2402" y="5530"/>
                        <a:pt x="-265" y="196"/>
                        <a:pt x="21" y="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id="{927A901A-010B-512F-2172-0305B34E4AF5}"/>
                    </a:ext>
                  </a:extLst>
                </p:cNvPr>
                <p:cNvSpPr/>
                <p:nvPr/>
              </p:nvSpPr>
              <p:spPr>
                <a:xfrm>
                  <a:off x="6663939" y="2679096"/>
                  <a:ext cx="52475" cy="93761"/>
                </a:xfrm>
                <a:custGeom>
                  <a:avLst/>
                  <a:gdLst>
                    <a:gd name="connsiteX0" fmla="*/ 26 w 129066"/>
                    <a:gd name="connsiteY0" fmla="*/ 10 h 230611"/>
                    <a:gd name="connsiteX1" fmla="*/ 7170 w 129066"/>
                    <a:gd name="connsiteY1" fmla="*/ 7629 h 230611"/>
                    <a:gd name="connsiteX2" fmla="*/ 24981 w 129066"/>
                    <a:gd name="connsiteY2" fmla="*/ 29823 h 230611"/>
                    <a:gd name="connsiteX3" fmla="*/ 76226 w 129066"/>
                    <a:gd name="connsiteY3" fmla="*/ 108690 h 230611"/>
                    <a:gd name="connsiteX4" fmla="*/ 115755 w 129066"/>
                    <a:gd name="connsiteY4" fmla="*/ 194034 h 230611"/>
                    <a:gd name="connsiteX5" fmla="*/ 125946 w 129066"/>
                    <a:gd name="connsiteY5" fmla="*/ 220608 h 230611"/>
                    <a:gd name="connsiteX6" fmla="*/ 128994 w 129066"/>
                    <a:gd name="connsiteY6" fmla="*/ 230610 h 230611"/>
                    <a:gd name="connsiteX7" fmla="*/ 124137 w 129066"/>
                    <a:gd name="connsiteY7" fmla="*/ 221370 h 230611"/>
                    <a:gd name="connsiteX8" fmla="*/ 112421 w 129066"/>
                    <a:gd name="connsiteY8" fmla="*/ 195462 h 230611"/>
                    <a:gd name="connsiteX9" fmla="*/ 71844 w 129066"/>
                    <a:gd name="connsiteY9" fmla="*/ 111071 h 230611"/>
                    <a:gd name="connsiteX10" fmla="*/ 22124 w 129066"/>
                    <a:gd name="connsiteY10" fmla="*/ 31918 h 230611"/>
                    <a:gd name="connsiteX11" fmla="*/ 5550 w 129066"/>
                    <a:gd name="connsiteY11" fmla="*/ 8772 h 230611"/>
                    <a:gd name="connsiteX12" fmla="*/ 26 w 129066"/>
                    <a:gd name="connsiteY12" fmla="*/ 10 h 230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9066" h="230611">
                      <a:moveTo>
                        <a:pt x="26" y="10"/>
                      </a:moveTo>
                      <a:cubicBezTo>
                        <a:pt x="312" y="-181"/>
                        <a:pt x="2883" y="2486"/>
                        <a:pt x="7170" y="7629"/>
                      </a:cubicBezTo>
                      <a:cubicBezTo>
                        <a:pt x="11551" y="12678"/>
                        <a:pt x="17647" y="20298"/>
                        <a:pt x="24981" y="29823"/>
                      </a:cubicBezTo>
                      <a:cubicBezTo>
                        <a:pt x="39555" y="48968"/>
                        <a:pt x="58700" y="76400"/>
                        <a:pt x="76226" y="108690"/>
                      </a:cubicBezTo>
                      <a:cubicBezTo>
                        <a:pt x="93752" y="141075"/>
                        <a:pt x="106706" y="171840"/>
                        <a:pt x="115755" y="194034"/>
                      </a:cubicBezTo>
                      <a:cubicBezTo>
                        <a:pt x="120231" y="205178"/>
                        <a:pt x="123756" y="214322"/>
                        <a:pt x="125946" y="220608"/>
                      </a:cubicBezTo>
                      <a:cubicBezTo>
                        <a:pt x="128232" y="226895"/>
                        <a:pt x="129375" y="230514"/>
                        <a:pt x="128994" y="230610"/>
                      </a:cubicBezTo>
                      <a:cubicBezTo>
                        <a:pt x="128708" y="230705"/>
                        <a:pt x="126994" y="227466"/>
                        <a:pt x="124137" y="221370"/>
                      </a:cubicBezTo>
                      <a:cubicBezTo>
                        <a:pt x="120898" y="214227"/>
                        <a:pt x="117088" y="205559"/>
                        <a:pt x="112421" y="195462"/>
                      </a:cubicBezTo>
                      <a:cubicBezTo>
                        <a:pt x="102610" y="173555"/>
                        <a:pt x="89180" y="143265"/>
                        <a:pt x="71844" y="111071"/>
                      </a:cubicBezTo>
                      <a:cubicBezTo>
                        <a:pt x="54414" y="78972"/>
                        <a:pt x="35935" y="51445"/>
                        <a:pt x="22124" y="31918"/>
                      </a:cubicBezTo>
                      <a:cubicBezTo>
                        <a:pt x="15647" y="22870"/>
                        <a:pt x="10122" y="15154"/>
                        <a:pt x="5550" y="8772"/>
                      </a:cubicBezTo>
                      <a:cubicBezTo>
                        <a:pt x="1836" y="3438"/>
                        <a:pt x="-260" y="295"/>
                        <a:pt x="26" y="1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6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DB1E255F-4DD0-13D8-93DE-9F8577A05B8F}"/>
                </a:ext>
              </a:extLst>
            </p:cNvPr>
            <p:cNvGrpSpPr/>
            <p:nvPr/>
          </p:nvGrpSpPr>
          <p:grpSpPr>
            <a:xfrm>
              <a:off x="956162" y="1753808"/>
              <a:ext cx="684973" cy="426799"/>
              <a:chOff x="5907860" y="1720676"/>
              <a:chExt cx="1124765" cy="700830"/>
            </a:xfrm>
          </p:grpSpPr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4F0DA413-EDD2-38B5-8671-6646C7DB7AD0}"/>
                  </a:ext>
                </a:extLst>
              </p:cNvPr>
              <p:cNvSpPr/>
              <p:nvPr/>
            </p:nvSpPr>
            <p:spPr>
              <a:xfrm>
                <a:off x="5907860" y="1979949"/>
                <a:ext cx="601612" cy="441557"/>
              </a:xfrm>
              <a:custGeom>
                <a:avLst/>
                <a:gdLst>
                  <a:gd name="connsiteX0" fmla="*/ 366808 w 1479708"/>
                  <a:gd name="connsiteY0" fmla="*/ 0 h 1086040"/>
                  <a:gd name="connsiteX1" fmla="*/ 366808 w 1479708"/>
                  <a:gd name="connsiteY1" fmla="*/ 435483 h 1086040"/>
                  <a:gd name="connsiteX2" fmla="*/ 301085 w 1479708"/>
                  <a:gd name="connsiteY2" fmla="*/ 435483 h 1086040"/>
                  <a:gd name="connsiteX3" fmla="*/ 168212 w 1479708"/>
                  <a:gd name="connsiteY3" fmla="*/ 370141 h 1086040"/>
                  <a:gd name="connsiteX4" fmla="*/ 0 w 1479708"/>
                  <a:gd name="connsiteY4" fmla="*/ 538353 h 1086040"/>
                  <a:gd name="connsiteX5" fmla="*/ 168212 w 1479708"/>
                  <a:gd name="connsiteY5" fmla="*/ 706565 h 1086040"/>
                  <a:gd name="connsiteX6" fmla="*/ 301085 w 1479708"/>
                  <a:gd name="connsiteY6" fmla="*/ 641223 h 1086040"/>
                  <a:gd name="connsiteX7" fmla="*/ 366808 w 1479708"/>
                  <a:gd name="connsiteY7" fmla="*/ 641223 h 1086040"/>
                  <a:gd name="connsiteX8" fmla="*/ 366808 w 1479708"/>
                  <a:gd name="connsiteY8" fmla="*/ 1086041 h 1086040"/>
                  <a:gd name="connsiteX9" fmla="*/ 841724 w 1479708"/>
                  <a:gd name="connsiteY9" fmla="*/ 1086041 h 1086040"/>
                  <a:gd name="connsiteX10" fmla="*/ 841724 w 1479708"/>
                  <a:gd name="connsiteY10" fmla="*/ 1024604 h 1086040"/>
                  <a:gd name="connsiteX11" fmla="*/ 776383 w 1479708"/>
                  <a:gd name="connsiteY11" fmla="*/ 891731 h 1086040"/>
                  <a:gd name="connsiteX12" fmla="*/ 944594 w 1479708"/>
                  <a:gd name="connsiteY12" fmla="*/ 723519 h 1086040"/>
                  <a:gd name="connsiteX13" fmla="*/ 1112806 w 1479708"/>
                  <a:gd name="connsiteY13" fmla="*/ 891731 h 1086040"/>
                  <a:gd name="connsiteX14" fmla="*/ 1047464 w 1479708"/>
                  <a:gd name="connsiteY14" fmla="*/ 1024604 h 1086040"/>
                  <a:gd name="connsiteX15" fmla="*/ 1047464 w 1479708"/>
                  <a:gd name="connsiteY15" fmla="*/ 1086041 h 1086040"/>
                  <a:gd name="connsiteX16" fmla="*/ 1479709 w 1479708"/>
                  <a:gd name="connsiteY16" fmla="*/ 1086041 h 1086040"/>
                  <a:gd name="connsiteX17" fmla="*/ 1479709 w 1479708"/>
                  <a:gd name="connsiteY17" fmla="*/ 0 h 1086040"/>
                  <a:gd name="connsiteX18" fmla="*/ 366808 w 1479708"/>
                  <a:gd name="connsiteY18" fmla="*/ 0 h 1086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79708" h="1086040">
                    <a:moveTo>
                      <a:pt x="366808" y="0"/>
                    </a:moveTo>
                    <a:lnTo>
                      <a:pt x="366808" y="435483"/>
                    </a:lnTo>
                    <a:lnTo>
                      <a:pt x="301085" y="435483"/>
                    </a:lnTo>
                    <a:cubicBezTo>
                      <a:pt x="270320" y="395764"/>
                      <a:pt x="222313" y="370141"/>
                      <a:pt x="168212" y="370141"/>
                    </a:cubicBezTo>
                    <a:cubicBezTo>
                      <a:pt x="75247" y="370141"/>
                      <a:pt x="0" y="445484"/>
                      <a:pt x="0" y="538353"/>
                    </a:cubicBezTo>
                    <a:cubicBezTo>
                      <a:pt x="0" y="631317"/>
                      <a:pt x="75343" y="706565"/>
                      <a:pt x="168212" y="706565"/>
                    </a:cubicBezTo>
                    <a:cubicBezTo>
                      <a:pt x="222313" y="706565"/>
                      <a:pt x="270320" y="680942"/>
                      <a:pt x="301085" y="641223"/>
                    </a:cubicBezTo>
                    <a:lnTo>
                      <a:pt x="366808" y="641223"/>
                    </a:lnTo>
                    <a:lnTo>
                      <a:pt x="366808" y="1086041"/>
                    </a:lnTo>
                    <a:lnTo>
                      <a:pt x="841724" y="1086041"/>
                    </a:lnTo>
                    <a:lnTo>
                      <a:pt x="841724" y="1024604"/>
                    </a:lnTo>
                    <a:cubicBezTo>
                      <a:pt x="802005" y="993839"/>
                      <a:pt x="776383" y="945832"/>
                      <a:pt x="776383" y="891731"/>
                    </a:cubicBezTo>
                    <a:cubicBezTo>
                      <a:pt x="776383" y="798766"/>
                      <a:pt x="851726" y="723519"/>
                      <a:pt x="944594" y="723519"/>
                    </a:cubicBezTo>
                    <a:cubicBezTo>
                      <a:pt x="1037558" y="723519"/>
                      <a:pt x="1112806" y="798862"/>
                      <a:pt x="1112806" y="891731"/>
                    </a:cubicBezTo>
                    <a:cubicBezTo>
                      <a:pt x="1112806" y="945832"/>
                      <a:pt x="1087184" y="993839"/>
                      <a:pt x="1047464" y="1024604"/>
                    </a:cubicBezTo>
                    <a:lnTo>
                      <a:pt x="1047464" y="1086041"/>
                    </a:lnTo>
                    <a:lnTo>
                      <a:pt x="1479709" y="1086041"/>
                    </a:lnTo>
                    <a:lnTo>
                      <a:pt x="1479709" y="0"/>
                    </a:lnTo>
                    <a:lnTo>
                      <a:pt x="366808" y="0"/>
                    </a:lnTo>
                    <a:close/>
                  </a:path>
                </a:pathLst>
              </a:custGeom>
              <a:solidFill>
                <a:srgbClr val="E1EBE5"/>
              </a:solidFill>
              <a:ln w="63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3B19B2E5-3F74-E610-D614-479F7EE2D8CE}"/>
                  </a:ext>
                </a:extLst>
              </p:cNvPr>
              <p:cNvGrpSpPr/>
              <p:nvPr/>
            </p:nvGrpSpPr>
            <p:grpSpPr>
              <a:xfrm>
                <a:off x="6219684" y="1720676"/>
                <a:ext cx="812941" cy="467929"/>
                <a:chOff x="6219684" y="1720676"/>
                <a:chExt cx="812941" cy="467929"/>
              </a:xfrm>
            </p:grpSpPr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ACB9A95F-9EC7-A7AA-FE70-83FD7A60B316}"/>
                    </a:ext>
                  </a:extLst>
                </p:cNvPr>
                <p:cNvSpPr/>
                <p:nvPr/>
              </p:nvSpPr>
              <p:spPr>
                <a:xfrm>
                  <a:off x="6219684" y="1720676"/>
                  <a:ext cx="812941" cy="467929"/>
                </a:xfrm>
                <a:custGeom>
                  <a:avLst/>
                  <a:gdLst>
                    <a:gd name="connsiteX0" fmla="*/ 1742789 w 1999487"/>
                    <a:gd name="connsiteY0" fmla="*/ 0 h 1150904"/>
                    <a:gd name="connsiteX1" fmla="*/ 1253681 w 1999487"/>
                    <a:gd name="connsiteY1" fmla="*/ 394621 h 1150904"/>
                    <a:gd name="connsiteX2" fmla="*/ 1112806 w 1999487"/>
                    <a:gd name="connsiteY2" fmla="*/ 435864 h 1150904"/>
                    <a:gd name="connsiteX3" fmla="*/ 1112806 w 1999487"/>
                    <a:gd name="connsiteY3" fmla="*/ 435864 h 1150904"/>
                    <a:gd name="connsiteX4" fmla="*/ 797338 w 1999487"/>
                    <a:gd name="connsiteY4" fmla="*/ 340233 h 1150904"/>
                    <a:gd name="connsiteX5" fmla="*/ 368046 w 1999487"/>
                    <a:gd name="connsiteY5" fmla="*/ 310134 h 1150904"/>
                    <a:gd name="connsiteX6" fmla="*/ 149447 w 1999487"/>
                    <a:gd name="connsiteY6" fmla="*/ 403003 h 1150904"/>
                    <a:gd name="connsiteX7" fmla="*/ 0 w 1999487"/>
                    <a:gd name="connsiteY7" fmla="*/ 632936 h 1150904"/>
                    <a:gd name="connsiteX8" fmla="*/ 260318 w 1999487"/>
                    <a:gd name="connsiteY8" fmla="*/ 632936 h 1150904"/>
                    <a:gd name="connsiteX9" fmla="*/ 397002 w 1999487"/>
                    <a:gd name="connsiteY9" fmla="*/ 572262 h 1150904"/>
                    <a:gd name="connsiteX10" fmla="*/ 707803 w 1999487"/>
                    <a:gd name="connsiteY10" fmla="*/ 660368 h 1150904"/>
                    <a:gd name="connsiteX11" fmla="*/ 529971 w 1999487"/>
                    <a:gd name="connsiteY11" fmla="*/ 913352 h 1150904"/>
                    <a:gd name="connsiteX12" fmla="*/ 449104 w 1999487"/>
                    <a:gd name="connsiteY12" fmla="*/ 1142714 h 1150904"/>
                    <a:gd name="connsiteX13" fmla="*/ 639509 w 1999487"/>
                    <a:gd name="connsiteY13" fmla="*/ 1016699 h 1150904"/>
                    <a:gd name="connsiteX14" fmla="*/ 868680 w 1999487"/>
                    <a:gd name="connsiteY14" fmla="*/ 946785 h 1150904"/>
                    <a:gd name="connsiteX15" fmla="*/ 1319689 w 1999487"/>
                    <a:gd name="connsiteY15" fmla="*/ 769239 h 1150904"/>
                    <a:gd name="connsiteX16" fmla="*/ 1999488 w 1999487"/>
                    <a:gd name="connsiteY16" fmla="*/ 468344 h 1150904"/>
                    <a:gd name="connsiteX17" fmla="*/ 1742789 w 1999487"/>
                    <a:gd name="connsiteY17" fmla="*/ 0 h 1150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999487" h="1150904">
                      <a:moveTo>
                        <a:pt x="1742789" y="0"/>
                      </a:moveTo>
                      <a:lnTo>
                        <a:pt x="1253681" y="394621"/>
                      </a:lnTo>
                      <a:cubicBezTo>
                        <a:pt x="1213866" y="426053"/>
                        <a:pt x="1163384" y="440817"/>
                        <a:pt x="1112806" y="435864"/>
                      </a:cubicBezTo>
                      <a:lnTo>
                        <a:pt x="1112806" y="435864"/>
                      </a:lnTo>
                      <a:lnTo>
                        <a:pt x="797338" y="340233"/>
                      </a:lnTo>
                      <a:lnTo>
                        <a:pt x="368046" y="310134"/>
                      </a:lnTo>
                      <a:cubicBezTo>
                        <a:pt x="368046" y="310134"/>
                        <a:pt x="160496" y="388525"/>
                        <a:pt x="149447" y="403003"/>
                      </a:cubicBezTo>
                      <a:cubicBezTo>
                        <a:pt x="138398" y="417481"/>
                        <a:pt x="0" y="632936"/>
                        <a:pt x="0" y="632936"/>
                      </a:cubicBezTo>
                      <a:lnTo>
                        <a:pt x="260318" y="632936"/>
                      </a:lnTo>
                      <a:cubicBezTo>
                        <a:pt x="260318" y="632936"/>
                        <a:pt x="381667" y="576644"/>
                        <a:pt x="397002" y="572262"/>
                      </a:cubicBezTo>
                      <a:cubicBezTo>
                        <a:pt x="412337" y="567881"/>
                        <a:pt x="674560" y="623030"/>
                        <a:pt x="707803" y="660368"/>
                      </a:cubicBezTo>
                      <a:cubicBezTo>
                        <a:pt x="741140" y="697706"/>
                        <a:pt x="653606" y="803243"/>
                        <a:pt x="529971" y="913352"/>
                      </a:cubicBezTo>
                      <a:cubicBezTo>
                        <a:pt x="406336" y="1023461"/>
                        <a:pt x="395002" y="1103090"/>
                        <a:pt x="449104" y="1142714"/>
                      </a:cubicBezTo>
                      <a:cubicBezTo>
                        <a:pt x="506635" y="1184815"/>
                        <a:pt x="592169" y="1052703"/>
                        <a:pt x="639509" y="1016699"/>
                      </a:cubicBezTo>
                      <a:cubicBezTo>
                        <a:pt x="686848" y="980694"/>
                        <a:pt x="703326" y="1001173"/>
                        <a:pt x="868680" y="946785"/>
                      </a:cubicBezTo>
                      <a:cubicBezTo>
                        <a:pt x="1034034" y="892397"/>
                        <a:pt x="1319689" y="769239"/>
                        <a:pt x="1319689" y="769239"/>
                      </a:cubicBezTo>
                      <a:lnTo>
                        <a:pt x="1999488" y="468344"/>
                      </a:lnTo>
                      <a:lnTo>
                        <a:pt x="1742789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7BAB0B02-4218-8760-16F7-A633E9A3862F}"/>
                    </a:ext>
                  </a:extLst>
                </p:cNvPr>
                <p:cNvSpPr/>
                <p:nvPr/>
              </p:nvSpPr>
              <p:spPr>
                <a:xfrm>
                  <a:off x="6246319" y="1877595"/>
                  <a:ext cx="238872" cy="100844"/>
                </a:xfrm>
                <a:custGeom>
                  <a:avLst/>
                  <a:gdLst>
                    <a:gd name="connsiteX0" fmla="*/ 20 w 587522"/>
                    <a:gd name="connsiteY0" fmla="*/ 248031 h 248034"/>
                    <a:gd name="connsiteX1" fmla="*/ 3164 w 587522"/>
                    <a:gd name="connsiteY1" fmla="*/ 241840 h 248034"/>
                    <a:gd name="connsiteX2" fmla="*/ 13070 w 587522"/>
                    <a:gd name="connsiteY2" fmla="*/ 224409 h 248034"/>
                    <a:gd name="connsiteX3" fmla="*/ 50217 w 587522"/>
                    <a:gd name="connsiteY3" fmla="*/ 160973 h 248034"/>
                    <a:gd name="connsiteX4" fmla="*/ 63743 w 587522"/>
                    <a:gd name="connsiteY4" fmla="*/ 140398 h 248034"/>
                    <a:gd name="connsiteX5" fmla="*/ 84412 w 587522"/>
                    <a:gd name="connsiteY5" fmla="*/ 123158 h 248034"/>
                    <a:gd name="connsiteX6" fmla="*/ 133561 w 587522"/>
                    <a:gd name="connsiteY6" fmla="*/ 91821 h 248034"/>
                    <a:gd name="connsiteX7" fmla="*/ 246337 w 587522"/>
                    <a:gd name="connsiteY7" fmla="*/ 20193 h 248034"/>
                    <a:gd name="connsiteX8" fmla="*/ 262815 w 587522"/>
                    <a:gd name="connsiteY8" fmla="*/ 9715 h 248034"/>
                    <a:gd name="connsiteX9" fmla="*/ 263387 w 587522"/>
                    <a:gd name="connsiteY9" fmla="*/ 9334 h 248034"/>
                    <a:gd name="connsiteX10" fmla="*/ 264054 w 587522"/>
                    <a:gd name="connsiteY10" fmla="*/ 9334 h 248034"/>
                    <a:gd name="connsiteX11" fmla="*/ 493511 w 587522"/>
                    <a:gd name="connsiteY11" fmla="*/ 1905 h 248034"/>
                    <a:gd name="connsiteX12" fmla="*/ 562377 w 587522"/>
                    <a:gd name="connsiteY12" fmla="*/ 190 h 248034"/>
                    <a:gd name="connsiteX13" fmla="*/ 581046 w 587522"/>
                    <a:gd name="connsiteY13" fmla="*/ 0 h 248034"/>
                    <a:gd name="connsiteX14" fmla="*/ 587522 w 587522"/>
                    <a:gd name="connsiteY14" fmla="*/ 286 h 248034"/>
                    <a:gd name="connsiteX15" fmla="*/ 581046 w 587522"/>
                    <a:gd name="connsiteY15" fmla="*/ 952 h 248034"/>
                    <a:gd name="connsiteX16" fmla="*/ 562377 w 587522"/>
                    <a:gd name="connsiteY16" fmla="*/ 2096 h 248034"/>
                    <a:gd name="connsiteX17" fmla="*/ 493511 w 587522"/>
                    <a:gd name="connsiteY17" fmla="*/ 5334 h 248034"/>
                    <a:gd name="connsiteX18" fmla="*/ 264149 w 587522"/>
                    <a:gd name="connsiteY18" fmla="*/ 14288 h 248034"/>
                    <a:gd name="connsiteX19" fmla="*/ 265387 w 587522"/>
                    <a:gd name="connsiteY19" fmla="*/ 13906 h 248034"/>
                    <a:gd name="connsiteX20" fmla="*/ 248909 w 587522"/>
                    <a:gd name="connsiteY20" fmla="*/ 24384 h 248034"/>
                    <a:gd name="connsiteX21" fmla="*/ 135942 w 587522"/>
                    <a:gd name="connsiteY21" fmla="*/ 95631 h 248034"/>
                    <a:gd name="connsiteX22" fmla="*/ 53170 w 587522"/>
                    <a:gd name="connsiteY22" fmla="*/ 162782 h 248034"/>
                    <a:gd name="connsiteX23" fmla="*/ 14689 w 587522"/>
                    <a:gd name="connsiteY23" fmla="*/ 225457 h 248034"/>
                    <a:gd name="connsiteX24" fmla="*/ 4021 w 587522"/>
                    <a:gd name="connsiteY24" fmla="*/ 242316 h 248034"/>
                    <a:gd name="connsiteX25" fmla="*/ 20 w 587522"/>
                    <a:gd name="connsiteY25" fmla="*/ 248031 h 248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587522" h="248034">
                      <a:moveTo>
                        <a:pt x="20" y="248031"/>
                      </a:moveTo>
                      <a:cubicBezTo>
                        <a:pt x="-170" y="247936"/>
                        <a:pt x="973" y="245840"/>
                        <a:pt x="3164" y="241840"/>
                      </a:cubicBezTo>
                      <a:cubicBezTo>
                        <a:pt x="5640" y="237458"/>
                        <a:pt x="8974" y="231648"/>
                        <a:pt x="13070" y="224409"/>
                      </a:cubicBezTo>
                      <a:cubicBezTo>
                        <a:pt x="22119" y="208978"/>
                        <a:pt x="34787" y="187357"/>
                        <a:pt x="50217" y="160973"/>
                      </a:cubicBezTo>
                      <a:cubicBezTo>
                        <a:pt x="54218" y="154400"/>
                        <a:pt x="58028" y="146971"/>
                        <a:pt x="63743" y="140398"/>
                      </a:cubicBezTo>
                      <a:cubicBezTo>
                        <a:pt x="69362" y="133826"/>
                        <a:pt x="76506" y="127921"/>
                        <a:pt x="84412" y="123158"/>
                      </a:cubicBezTo>
                      <a:cubicBezTo>
                        <a:pt x="99843" y="113348"/>
                        <a:pt x="116226" y="102870"/>
                        <a:pt x="133561" y="91821"/>
                      </a:cubicBezTo>
                      <a:cubicBezTo>
                        <a:pt x="168232" y="69818"/>
                        <a:pt x="206332" y="45625"/>
                        <a:pt x="246337" y="20193"/>
                      </a:cubicBezTo>
                      <a:cubicBezTo>
                        <a:pt x="251957" y="16573"/>
                        <a:pt x="257577" y="13049"/>
                        <a:pt x="262815" y="9715"/>
                      </a:cubicBezTo>
                      <a:lnTo>
                        <a:pt x="263387" y="9334"/>
                      </a:lnTo>
                      <a:lnTo>
                        <a:pt x="264054" y="9334"/>
                      </a:lnTo>
                      <a:cubicBezTo>
                        <a:pt x="354065" y="6477"/>
                        <a:pt x="434742" y="3810"/>
                        <a:pt x="493511" y="1905"/>
                      </a:cubicBezTo>
                      <a:cubicBezTo>
                        <a:pt x="522276" y="1238"/>
                        <a:pt x="545613" y="667"/>
                        <a:pt x="562377" y="190"/>
                      </a:cubicBezTo>
                      <a:cubicBezTo>
                        <a:pt x="570092" y="95"/>
                        <a:pt x="576283" y="0"/>
                        <a:pt x="581046" y="0"/>
                      </a:cubicBezTo>
                      <a:cubicBezTo>
                        <a:pt x="585332" y="0"/>
                        <a:pt x="587522" y="95"/>
                        <a:pt x="587522" y="286"/>
                      </a:cubicBezTo>
                      <a:cubicBezTo>
                        <a:pt x="587522" y="476"/>
                        <a:pt x="585332" y="667"/>
                        <a:pt x="581046" y="952"/>
                      </a:cubicBezTo>
                      <a:cubicBezTo>
                        <a:pt x="576283" y="1238"/>
                        <a:pt x="570092" y="1619"/>
                        <a:pt x="562377" y="2096"/>
                      </a:cubicBezTo>
                      <a:cubicBezTo>
                        <a:pt x="545613" y="2857"/>
                        <a:pt x="522276" y="4000"/>
                        <a:pt x="493511" y="5334"/>
                      </a:cubicBezTo>
                      <a:cubicBezTo>
                        <a:pt x="434742" y="7620"/>
                        <a:pt x="354065" y="10763"/>
                        <a:pt x="264149" y="14288"/>
                      </a:cubicBezTo>
                      <a:lnTo>
                        <a:pt x="265387" y="13906"/>
                      </a:lnTo>
                      <a:cubicBezTo>
                        <a:pt x="260148" y="17240"/>
                        <a:pt x="254529" y="20765"/>
                        <a:pt x="248909" y="24384"/>
                      </a:cubicBezTo>
                      <a:cubicBezTo>
                        <a:pt x="208904" y="49625"/>
                        <a:pt x="170709" y="73723"/>
                        <a:pt x="135942" y="95631"/>
                      </a:cubicBezTo>
                      <a:cubicBezTo>
                        <a:pt x="102224" y="118586"/>
                        <a:pt x="65648" y="132874"/>
                        <a:pt x="53170" y="162782"/>
                      </a:cubicBezTo>
                      <a:cubicBezTo>
                        <a:pt x="37168" y="188881"/>
                        <a:pt x="24024" y="210121"/>
                        <a:pt x="14689" y="225457"/>
                      </a:cubicBezTo>
                      <a:cubicBezTo>
                        <a:pt x="10212" y="232505"/>
                        <a:pt x="6688" y="238125"/>
                        <a:pt x="4021" y="242316"/>
                      </a:cubicBezTo>
                      <a:cubicBezTo>
                        <a:pt x="1545" y="246126"/>
                        <a:pt x="211" y="248126"/>
                        <a:pt x="20" y="24803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20FE026A-E4E4-129D-EE00-F87E56B50B22}"/>
                    </a:ext>
                  </a:extLst>
                </p:cNvPr>
                <p:cNvSpPr/>
                <p:nvPr/>
              </p:nvSpPr>
              <p:spPr>
                <a:xfrm>
                  <a:off x="6667861" y="1896970"/>
                  <a:ext cx="45971" cy="7768"/>
                </a:xfrm>
                <a:custGeom>
                  <a:avLst/>
                  <a:gdLst>
                    <a:gd name="connsiteX0" fmla="*/ 113066 w 113070"/>
                    <a:gd name="connsiteY0" fmla="*/ 10068 h 19106"/>
                    <a:gd name="connsiteX1" fmla="*/ 96969 w 113070"/>
                    <a:gd name="connsiteY1" fmla="*/ 16164 h 19106"/>
                    <a:gd name="connsiteX2" fmla="*/ 55535 w 113070"/>
                    <a:gd name="connsiteY2" fmla="*/ 17784 h 19106"/>
                    <a:gd name="connsiteX3" fmla="*/ 15626 w 113070"/>
                    <a:gd name="connsiteY3" fmla="*/ 7020 h 19106"/>
                    <a:gd name="connsiteX4" fmla="*/ 4 w 113070"/>
                    <a:gd name="connsiteY4" fmla="*/ 162 h 19106"/>
                    <a:gd name="connsiteX5" fmla="*/ 16673 w 113070"/>
                    <a:gd name="connsiteY5" fmla="*/ 3687 h 19106"/>
                    <a:gd name="connsiteX6" fmla="*/ 56202 w 113070"/>
                    <a:gd name="connsiteY6" fmla="*/ 12831 h 19106"/>
                    <a:gd name="connsiteX7" fmla="*/ 113066 w 113070"/>
                    <a:gd name="connsiteY7" fmla="*/ 10068 h 191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3070" h="19106">
                      <a:moveTo>
                        <a:pt x="113066" y="10068"/>
                      </a:moveTo>
                      <a:cubicBezTo>
                        <a:pt x="113257" y="10640"/>
                        <a:pt x="107351" y="13497"/>
                        <a:pt x="96969" y="16164"/>
                      </a:cubicBezTo>
                      <a:cubicBezTo>
                        <a:pt x="86682" y="18831"/>
                        <a:pt x="71632" y="20355"/>
                        <a:pt x="55535" y="17784"/>
                      </a:cubicBezTo>
                      <a:cubicBezTo>
                        <a:pt x="39438" y="15402"/>
                        <a:pt x="25531" y="10545"/>
                        <a:pt x="15626" y="7020"/>
                      </a:cubicBezTo>
                      <a:cubicBezTo>
                        <a:pt x="5720" y="3401"/>
                        <a:pt x="-186" y="734"/>
                        <a:pt x="4" y="162"/>
                      </a:cubicBezTo>
                      <a:cubicBezTo>
                        <a:pt x="195" y="-504"/>
                        <a:pt x="6577" y="924"/>
                        <a:pt x="16673" y="3687"/>
                      </a:cubicBezTo>
                      <a:cubicBezTo>
                        <a:pt x="26770" y="6258"/>
                        <a:pt x="40676" y="10545"/>
                        <a:pt x="56202" y="12831"/>
                      </a:cubicBezTo>
                      <a:cubicBezTo>
                        <a:pt x="87635" y="17974"/>
                        <a:pt x="112685" y="8163"/>
                        <a:pt x="113066" y="100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8B2E7B9-81A2-7566-290E-3CD8C63FD73C}"/>
              </a:ext>
            </a:extLst>
          </p:cNvPr>
          <p:cNvGrpSpPr/>
          <p:nvPr/>
        </p:nvGrpSpPr>
        <p:grpSpPr>
          <a:xfrm>
            <a:off x="6677585" y="2363449"/>
            <a:ext cx="1211548" cy="877691"/>
            <a:chOff x="378476" y="2833201"/>
            <a:chExt cx="1236608" cy="1011508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C704AD98-433B-7B41-E49B-EA89E2A48AE4}"/>
                </a:ext>
              </a:extLst>
            </p:cNvPr>
            <p:cNvGrpSpPr/>
            <p:nvPr/>
          </p:nvGrpSpPr>
          <p:grpSpPr>
            <a:xfrm>
              <a:off x="594876" y="2833201"/>
              <a:ext cx="803808" cy="411649"/>
              <a:chOff x="482194" y="2777240"/>
              <a:chExt cx="1029172" cy="527063"/>
            </a:xfrm>
          </p:grpSpPr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23040967-F649-ADD8-ED80-CDD97EC6BEC8}"/>
                  </a:ext>
                </a:extLst>
              </p:cNvPr>
              <p:cNvSpPr/>
              <p:nvPr/>
            </p:nvSpPr>
            <p:spPr>
              <a:xfrm>
                <a:off x="1411738" y="3084245"/>
                <a:ext cx="27461" cy="31339"/>
              </a:xfrm>
              <a:custGeom>
                <a:avLst/>
                <a:gdLst>
                  <a:gd name="connsiteX0" fmla="*/ 57245 w 57340"/>
                  <a:gd name="connsiteY0" fmla="*/ 0 h 65436"/>
                  <a:gd name="connsiteX1" fmla="*/ 57341 w 57340"/>
                  <a:gd name="connsiteY1" fmla="*/ 65342 h 65436"/>
                  <a:gd name="connsiteX2" fmla="*/ 95 w 57340"/>
                  <a:gd name="connsiteY2" fmla="*/ 65437 h 65436"/>
                  <a:gd name="connsiteX3" fmla="*/ 0 w 57340"/>
                  <a:gd name="connsiteY3" fmla="*/ 190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" h="65436">
                    <a:moveTo>
                      <a:pt x="57245" y="0"/>
                    </a:moveTo>
                    <a:lnTo>
                      <a:pt x="57341" y="65342"/>
                    </a:lnTo>
                    <a:lnTo>
                      <a:pt x="95" y="65437"/>
                    </a:lnTo>
                    <a:lnTo>
                      <a:pt x="0" y="190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672D4E8E-351B-526E-157A-F8227774ED9D}"/>
                  </a:ext>
                </a:extLst>
              </p:cNvPr>
              <p:cNvSpPr/>
              <p:nvPr/>
            </p:nvSpPr>
            <p:spPr>
              <a:xfrm>
                <a:off x="1313022" y="3084427"/>
                <a:ext cx="27507" cy="31339"/>
              </a:xfrm>
              <a:custGeom>
                <a:avLst/>
                <a:gdLst>
                  <a:gd name="connsiteX0" fmla="*/ 57245 w 57435"/>
                  <a:gd name="connsiteY0" fmla="*/ 0 h 65436"/>
                  <a:gd name="connsiteX1" fmla="*/ 57436 w 57435"/>
                  <a:gd name="connsiteY1" fmla="*/ 65342 h 65436"/>
                  <a:gd name="connsiteX2" fmla="*/ 95 w 57435"/>
                  <a:gd name="connsiteY2" fmla="*/ 65437 h 65436"/>
                  <a:gd name="connsiteX3" fmla="*/ 0 w 57435"/>
                  <a:gd name="connsiteY3" fmla="*/ 191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35" h="65436">
                    <a:moveTo>
                      <a:pt x="57245" y="0"/>
                    </a:moveTo>
                    <a:lnTo>
                      <a:pt x="57436" y="65342"/>
                    </a:lnTo>
                    <a:lnTo>
                      <a:pt x="95" y="65437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496B788D-96FB-59D6-96E7-081150E8F6BE}"/>
                  </a:ext>
                </a:extLst>
              </p:cNvPr>
              <p:cNvSpPr/>
              <p:nvPr/>
            </p:nvSpPr>
            <p:spPr>
              <a:xfrm>
                <a:off x="1160706" y="3054457"/>
                <a:ext cx="31248" cy="35581"/>
              </a:xfrm>
              <a:custGeom>
                <a:avLst/>
                <a:gdLst>
                  <a:gd name="connsiteX0" fmla="*/ 65056 w 65246"/>
                  <a:gd name="connsiteY0" fmla="*/ 0 h 74294"/>
                  <a:gd name="connsiteX1" fmla="*/ 65246 w 65246"/>
                  <a:gd name="connsiteY1" fmla="*/ 74200 h 74294"/>
                  <a:gd name="connsiteX2" fmla="*/ 191 w 65246"/>
                  <a:gd name="connsiteY2" fmla="*/ 74295 h 74294"/>
                  <a:gd name="connsiteX3" fmla="*/ 0 w 65246"/>
                  <a:gd name="connsiteY3" fmla="*/ 191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246" h="74294">
                    <a:moveTo>
                      <a:pt x="65056" y="0"/>
                    </a:moveTo>
                    <a:lnTo>
                      <a:pt x="65246" y="74200"/>
                    </a:lnTo>
                    <a:lnTo>
                      <a:pt x="191" y="74295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685FABF7-51EF-1CB1-1738-C6D1CE578493}"/>
                  </a:ext>
                </a:extLst>
              </p:cNvPr>
              <p:cNvSpPr/>
              <p:nvPr/>
            </p:nvSpPr>
            <p:spPr>
              <a:xfrm rot="21595581">
                <a:off x="801926" y="3055141"/>
                <a:ext cx="31156" cy="35490"/>
              </a:xfrm>
              <a:custGeom>
                <a:avLst/>
                <a:gdLst>
                  <a:gd name="connsiteX0" fmla="*/ 0 w 65055"/>
                  <a:gd name="connsiteY0" fmla="*/ 0 h 74104"/>
                  <a:gd name="connsiteX1" fmla="*/ 65056 w 65055"/>
                  <a:gd name="connsiteY1" fmla="*/ 0 h 74104"/>
                  <a:gd name="connsiteX2" fmla="*/ 65056 w 65055"/>
                  <a:gd name="connsiteY2" fmla="*/ 74105 h 74104"/>
                  <a:gd name="connsiteX3" fmla="*/ 0 w 65055"/>
                  <a:gd name="connsiteY3" fmla="*/ 74105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055" h="74104">
                    <a:moveTo>
                      <a:pt x="0" y="0"/>
                    </a:moveTo>
                    <a:lnTo>
                      <a:pt x="65056" y="0"/>
                    </a:lnTo>
                    <a:lnTo>
                      <a:pt x="65056" y="74105"/>
                    </a:lnTo>
                    <a:lnTo>
                      <a:pt x="0" y="7410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9C4A5B94-2991-8F05-4D4E-7D6FCEBEA709}"/>
                  </a:ext>
                </a:extLst>
              </p:cNvPr>
              <p:cNvSpPr/>
              <p:nvPr/>
            </p:nvSpPr>
            <p:spPr>
              <a:xfrm>
                <a:off x="795486" y="2841184"/>
                <a:ext cx="74605" cy="94759"/>
              </a:xfrm>
              <a:custGeom>
                <a:avLst/>
                <a:gdLst>
                  <a:gd name="connsiteX0" fmla="*/ 154798 w 155776"/>
                  <a:gd name="connsiteY0" fmla="*/ 197572 h 197858"/>
                  <a:gd name="connsiteX1" fmla="*/ 1255 w 155776"/>
                  <a:gd name="connsiteY1" fmla="*/ 197858 h 197858"/>
                  <a:gd name="connsiteX2" fmla="*/ 77836 w 155776"/>
                  <a:gd name="connsiteY2" fmla="*/ 24 h 197858"/>
                  <a:gd name="connsiteX3" fmla="*/ 154798 w 155776"/>
                  <a:gd name="connsiteY3" fmla="*/ 197572 h 197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76" h="197858">
                    <a:moveTo>
                      <a:pt x="154798" y="197572"/>
                    </a:moveTo>
                    <a:lnTo>
                      <a:pt x="1255" y="197858"/>
                    </a:lnTo>
                    <a:cubicBezTo>
                      <a:pt x="4207" y="134898"/>
                      <a:pt x="-23034" y="-1881"/>
                      <a:pt x="77836" y="24"/>
                    </a:cubicBezTo>
                    <a:cubicBezTo>
                      <a:pt x="178229" y="-2072"/>
                      <a:pt x="151654" y="134898"/>
                      <a:pt x="154798" y="197572"/>
                    </a:cubicBez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419202A2-6C64-E303-F3C5-4651AE1D2B64}"/>
                  </a:ext>
                </a:extLst>
              </p:cNvPr>
              <p:cNvSpPr/>
              <p:nvPr/>
            </p:nvSpPr>
            <p:spPr>
              <a:xfrm>
                <a:off x="1123141" y="2840545"/>
                <a:ext cx="74601" cy="94804"/>
              </a:xfrm>
              <a:custGeom>
                <a:avLst/>
                <a:gdLst>
                  <a:gd name="connsiteX0" fmla="*/ 154731 w 155768"/>
                  <a:gd name="connsiteY0" fmla="*/ 197668 h 197953"/>
                  <a:gd name="connsiteX1" fmla="*/ 1283 w 155768"/>
                  <a:gd name="connsiteY1" fmla="*/ 197953 h 197953"/>
                  <a:gd name="connsiteX2" fmla="*/ 77674 w 155768"/>
                  <a:gd name="connsiteY2" fmla="*/ 24 h 197953"/>
                  <a:gd name="connsiteX3" fmla="*/ 154731 w 155768"/>
                  <a:gd name="connsiteY3" fmla="*/ 197668 h 197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68" h="197953">
                    <a:moveTo>
                      <a:pt x="154731" y="197668"/>
                    </a:moveTo>
                    <a:lnTo>
                      <a:pt x="1283" y="197953"/>
                    </a:lnTo>
                    <a:cubicBezTo>
                      <a:pt x="4141" y="134993"/>
                      <a:pt x="-22910" y="-1691"/>
                      <a:pt x="77674" y="24"/>
                    </a:cubicBezTo>
                    <a:cubicBezTo>
                      <a:pt x="178258" y="-2072"/>
                      <a:pt x="151683" y="134898"/>
                      <a:pt x="154731" y="197668"/>
                    </a:cubicBez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B1E209DB-8186-AE5E-034B-BFE8A06C24AF}"/>
                  </a:ext>
                </a:extLst>
              </p:cNvPr>
              <p:cNvSpPr/>
              <p:nvPr/>
            </p:nvSpPr>
            <p:spPr>
              <a:xfrm>
                <a:off x="919573" y="3006102"/>
                <a:ext cx="155007" cy="297379"/>
              </a:xfrm>
              <a:custGeom>
                <a:avLst/>
                <a:gdLst>
                  <a:gd name="connsiteX0" fmla="*/ 52102 w 323659"/>
                  <a:gd name="connsiteY0" fmla="*/ 571024 h 620934"/>
                  <a:gd name="connsiteX1" fmla="*/ 52197 w 323659"/>
                  <a:gd name="connsiteY1" fmla="*/ 620840 h 620934"/>
                  <a:gd name="connsiteX2" fmla="*/ 1143 w 323659"/>
                  <a:gd name="connsiteY2" fmla="*/ 620935 h 620934"/>
                  <a:gd name="connsiteX3" fmla="*/ 0 w 323659"/>
                  <a:gd name="connsiteY3" fmla="*/ 572 h 620934"/>
                  <a:gd name="connsiteX4" fmla="*/ 322516 w 323659"/>
                  <a:gd name="connsiteY4" fmla="*/ 0 h 620934"/>
                  <a:gd name="connsiteX5" fmla="*/ 323660 w 323659"/>
                  <a:gd name="connsiteY5" fmla="*/ 620363 h 620934"/>
                  <a:gd name="connsiteX6" fmla="*/ 272605 w 323659"/>
                  <a:gd name="connsiteY6" fmla="*/ 620459 h 620934"/>
                  <a:gd name="connsiteX7" fmla="*/ 272510 w 323659"/>
                  <a:gd name="connsiteY7" fmla="*/ 570643 h 620934"/>
                  <a:gd name="connsiteX8" fmla="*/ 272415 w 323659"/>
                  <a:gd name="connsiteY8" fmla="*/ 520732 h 620934"/>
                  <a:gd name="connsiteX9" fmla="*/ 272320 w 323659"/>
                  <a:gd name="connsiteY9" fmla="*/ 470916 h 620934"/>
                  <a:gd name="connsiteX10" fmla="*/ 271748 w 323659"/>
                  <a:gd name="connsiteY10" fmla="*/ 118491 h 620934"/>
                  <a:gd name="connsiteX11" fmla="*/ 51244 w 323659"/>
                  <a:gd name="connsiteY11" fmla="*/ 118872 h 620934"/>
                  <a:gd name="connsiteX12" fmla="*/ 51911 w 323659"/>
                  <a:gd name="connsiteY12" fmla="*/ 471297 h 620934"/>
                  <a:gd name="connsiteX13" fmla="*/ 52006 w 323659"/>
                  <a:gd name="connsiteY13" fmla="*/ 521208 h 620934"/>
                  <a:gd name="connsiteX14" fmla="*/ 52102 w 323659"/>
                  <a:gd name="connsiteY14" fmla="*/ 571024 h 620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23659" h="620934">
                    <a:moveTo>
                      <a:pt x="52102" y="571024"/>
                    </a:moveTo>
                    <a:cubicBezTo>
                      <a:pt x="52102" y="590360"/>
                      <a:pt x="52197" y="607314"/>
                      <a:pt x="52197" y="620840"/>
                    </a:cubicBezTo>
                    <a:lnTo>
                      <a:pt x="1143" y="620935"/>
                    </a:lnTo>
                    <a:lnTo>
                      <a:pt x="0" y="572"/>
                    </a:lnTo>
                    <a:cubicBezTo>
                      <a:pt x="80391" y="476"/>
                      <a:pt x="242125" y="95"/>
                      <a:pt x="322516" y="0"/>
                    </a:cubicBezTo>
                    <a:lnTo>
                      <a:pt x="323660" y="620363"/>
                    </a:lnTo>
                    <a:lnTo>
                      <a:pt x="272605" y="620459"/>
                    </a:lnTo>
                    <a:cubicBezTo>
                      <a:pt x="272605" y="606933"/>
                      <a:pt x="272510" y="589979"/>
                      <a:pt x="272510" y="570643"/>
                    </a:cubicBezTo>
                    <a:cubicBezTo>
                      <a:pt x="272510" y="555403"/>
                      <a:pt x="272415" y="538639"/>
                      <a:pt x="272415" y="520732"/>
                    </a:cubicBezTo>
                    <a:cubicBezTo>
                      <a:pt x="272415" y="504920"/>
                      <a:pt x="272415" y="488156"/>
                      <a:pt x="272320" y="470916"/>
                    </a:cubicBezTo>
                    <a:cubicBezTo>
                      <a:pt x="272129" y="345377"/>
                      <a:pt x="271844" y="189833"/>
                      <a:pt x="271748" y="118491"/>
                    </a:cubicBezTo>
                    <a:cubicBezTo>
                      <a:pt x="216789" y="118586"/>
                      <a:pt x="106204" y="118777"/>
                      <a:pt x="51244" y="118872"/>
                    </a:cubicBezTo>
                    <a:cubicBezTo>
                      <a:pt x="51340" y="190500"/>
                      <a:pt x="51625" y="345853"/>
                      <a:pt x="51911" y="471297"/>
                    </a:cubicBezTo>
                    <a:cubicBezTo>
                      <a:pt x="51911" y="488633"/>
                      <a:pt x="52006" y="505301"/>
                      <a:pt x="52006" y="521208"/>
                    </a:cubicBezTo>
                    <a:cubicBezTo>
                      <a:pt x="52006" y="539020"/>
                      <a:pt x="52102" y="555784"/>
                      <a:pt x="52102" y="571024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EBCA9722-B397-9E28-A230-3031FCE526DF}"/>
                  </a:ext>
                </a:extLst>
              </p:cNvPr>
              <p:cNvSpPr/>
              <p:nvPr/>
            </p:nvSpPr>
            <p:spPr>
              <a:xfrm>
                <a:off x="944526" y="3279396"/>
                <a:ext cx="105604" cy="24040"/>
              </a:xfrm>
              <a:custGeom>
                <a:avLst/>
                <a:gdLst>
                  <a:gd name="connsiteX0" fmla="*/ 220504 w 220503"/>
                  <a:gd name="connsiteY0" fmla="*/ 49816 h 50196"/>
                  <a:gd name="connsiteX1" fmla="*/ 95 w 220503"/>
                  <a:gd name="connsiteY1" fmla="*/ 50197 h 50196"/>
                  <a:gd name="connsiteX2" fmla="*/ 0 w 220503"/>
                  <a:gd name="connsiteY2" fmla="*/ 381 h 50196"/>
                  <a:gd name="connsiteX3" fmla="*/ 220409 w 220503"/>
                  <a:gd name="connsiteY3" fmla="*/ 0 h 50196"/>
                  <a:gd name="connsiteX4" fmla="*/ 220504 w 220503"/>
                  <a:gd name="connsiteY4" fmla="*/ 49816 h 50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503" h="50196">
                    <a:moveTo>
                      <a:pt x="220504" y="49816"/>
                    </a:moveTo>
                    <a:lnTo>
                      <a:pt x="95" y="50197"/>
                    </a:lnTo>
                    <a:cubicBezTo>
                      <a:pt x="95" y="36671"/>
                      <a:pt x="0" y="19717"/>
                      <a:pt x="0" y="381"/>
                    </a:cubicBezTo>
                    <a:lnTo>
                      <a:pt x="220409" y="0"/>
                    </a:lnTo>
                    <a:cubicBezTo>
                      <a:pt x="220409" y="19336"/>
                      <a:pt x="220504" y="36290"/>
                      <a:pt x="220504" y="49816"/>
                    </a:cubicBez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63FD8B42-F9AC-2E1C-3CE1-14EEFA4F0336}"/>
                  </a:ext>
                </a:extLst>
              </p:cNvPr>
              <p:cNvSpPr/>
              <p:nvPr/>
            </p:nvSpPr>
            <p:spPr>
              <a:xfrm rot="21594989">
                <a:off x="653442" y="3085659"/>
                <a:ext cx="27461" cy="31293"/>
              </a:xfrm>
              <a:custGeom>
                <a:avLst/>
                <a:gdLst>
                  <a:gd name="connsiteX0" fmla="*/ 0 w 57340"/>
                  <a:gd name="connsiteY0" fmla="*/ 0 h 65341"/>
                  <a:gd name="connsiteX1" fmla="*/ 57341 w 57340"/>
                  <a:gd name="connsiteY1" fmla="*/ 0 h 65341"/>
                  <a:gd name="connsiteX2" fmla="*/ 57341 w 57340"/>
                  <a:gd name="connsiteY2" fmla="*/ 65342 h 65341"/>
                  <a:gd name="connsiteX3" fmla="*/ 0 w 57340"/>
                  <a:gd name="connsiteY3" fmla="*/ 65342 h 65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" h="65341">
                    <a:moveTo>
                      <a:pt x="0" y="0"/>
                    </a:moveTo>
                    <a:lnTo>
                      <a:pt x="57341" y="0"/>
                    </a:lnTo>
                    <a:lnTo>
                      <a:pt x="57341" y="65342"/>
                    </a:lnTo>
                    <a:lnTo>
                      <a:pt x="0" y="65342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2E1DF37D-C2F1-C431-77EA-E91D8051B04A}"/>
                  </a:ext>
                </a:extLst>
              </p:cNvPr>
              <p:cNvSpPr/>
              <p:nvPr/>
            </p:nvSpPr>
            <p:spPr>
              <a:xfrm>
                <a:off x="634738" y="3065313"/>
                <a:ext cx="64868" cy="51730"/>
              </a:xfrm>
              <a:custGeom>
                <a:avLst/>
                <a:gdLst>
                  <a:gd name="connsiteX0" fmla="*/ 135255 w 135445"/>
                  <a:gd name="connsiteY0" fmla="*/ 0 h 108013"/>
                  <a:gd name="connsiteX1" fmla="*/ 135446 w 135445"/>
                  <a:gd name="connsiteY1" fmla="*/ 107728 h 108013"/>
                  <a:gd name="connsiteX2" fmla="*/ 96488 w 135445"/>
                  <a:gd name="connsiteY2" fmla="*/ 107823 h 108013"/>
                  <a:gd name="connsiteX3" fmla="*/ 96393 w 135445"/>
                  <a:gd name="connsiteY3" fmla="*/ 42481 h 108013"/>
                  <a:gd name="connsiteX4" fmla="*/ 39053 w 135445"/>
                  <a:gd name="connsiteY4" fmla="*/ 42577 h 108013"/>
                  <a:gd name="connsiteX5" fmla="*/ 39148 w 135445"/>
                  <a:gd name="connsiteY5" fmla="*/ 107918 h 108013"/>
                  <a:gd name="connsiteX6" fmla="*/ 191 w 135445"/>
                  <a:gd name="connsiteY6" fmla="*/ 108013 h 108013"/>
                  <a:gd name="connsiteX7" fmla="*/ 0 w 135445"/>
                  <a:gd name="connsiteY7" fmla="*/ 286 h 10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445" h="108013">
                    <a:moveTo>
                      <a:pt x="135255" y="0"/>
                    </a:moveTo>
                    <a:lnTo>
                      <a:pt x="135446" y="107728"/>
                    </a:lnTo>
                    <a:lnTo>
                      <a:pt x="96488" y="107823"/>
                    </a:lnTo>
                    <a:lnTo>
                      <a:pt x="96393" y="42481"/>
                    </a:lnTo>
                    <a:lnTo>
                      <a:pt x="39053" y="42577"/>
                    </a:lnTo>
                    <a:lnTo>
                      <a:pt x="39148" y="107918"/>
                    </a:lnTo>
                    <a:lnTo>
                      <a:pt x="191" y="108013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D7AFD7DA-5E1E-7588-4FA3-8A5A0FB2F388}"/>
                  </a:ext>
                </a:extLst>
              </p:cNvPr>
              <p:cNvSpPr/>
              <p:nvPr/>
            </p:nvSpPr>
            <p:spPr>
              <a:xfrm>
                <a:off x="554726" y="3085841"/>
                <a:ext cx="27507" cy="31339"/>
              </a:xfrm>
              <a:custGeom>
                <a:avLst/>
                <a:gdLst>
                  <a:gd name="connsiteX0" fmla="*/ 57341 w 57435"/>
                  <a:gd name="connsiteY0" fmla="*/ 0 h 65436"/>
                  <a:gd name="connsiteX1" fmla="*/ 57436 w 57435"/>
                  <a:gd name="connsiteY1" fmla="*/ 65342 h 65436"/>
                  <a:gd name="connsiteX2" fmla="*/ 191 w 57435"/>
                  <a:gd name="connsiteY2" fmla="*/ 65437 h 65436"/>
                  <a:gd name="connsiteX3" fmla="*/ 0 w 57435"/>
                  <a:gd name="connsiteY3" fmla="*/ 95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35" h="65436">
                    <a:moveTo>
                      <a:pt x="57341" y="0"/>
                    </a:moveTo>
                    <a:lnTo>
                      <a:pt x="57436" y="65342"/>
                    </a:lnTo>
                    <a:lnTo>
                      <a:pt x="191" y="65437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BF1AD755-6F53-D053-08A6-DEE84C32DD03}"/>
                  </a:ext>
                </a:extLst>
              </p:cNvPr>
              <p:cNvSpPr/>
              <p:nvPr/>
            </p:nvSpPr>
            <p:spPr>
              <a:xfrm>
                <a:off x="536068" y="3065496"/>
                <a:ext cx="64822" cy="51730"/>
              </a:xfrm>
              <a:custGeom>
                <a:avLst/>
                <a:gdLst>
                  <a:gd name="connsiteX0" fmla="*/ 135160 w 135350"/>
                  <a:gd name="connsiteY0" fmla="*/ 0 h 108013"/>
                  <a:gd name="connsiteX1" fmla="*/ 135350 w 135350"/>
                  <a:gd name="connsiteY1" fmla="*/ 107728 h 108013"/>
                  <a:gd name="connsiteX2" fmla="*/ 96393 w 135350"/>
                  <a:gd name="connsiteY2" fmla="*/ 107823 h 108013"/>
                  <a:gd name="connsiteX3" fmla="*/ 96298 w 135350"/>
                  <a:gd name="connsiteY3" fmla="*/ 42481 h 108013"/>
                  <a:gd name="connsiteX4" fmla="*/ 38957 w 135350"/>
                  <a:gd name="connsiteY4" fmla="*/ 42577 h 108013"/>
                  <a:gd name="connsiteX5" fmla="*/ 39148 w 135350"/>
                  <a:gd name="connsiteY5" fmla="*/ 107918 h 108013"/>
                  <a:gd name="connsiteX6" fmla="*/ 191 w 135350"/>
                  <a:gd name="connsiteY6" fmla="*/ 108013 h 108013"/>
                  <a:gd name="connsiteX7" fmla="*/ 0 w 135350"/>
                  <a:gd name="connsiteY7" fmla="*/ 286 h 10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350" h="108013">
                    <a:moveTo>
                      <a:pt x="135160" y="0"/>
                    </a:moveTo>
                    <a:lnTo>
                      <a:pt x="135350" y="107728"/>
                    </a:lnTo>
                    <a:lnTo>
                      <a:pt x="96393" y="107823"/>
                    </a:lnTo>
                    <a:lnTo>
                      <a:pt x="96298" y="42481"/>
                    </a:lnTo>
                    <a:lnTo>
                      <a:pt x="38957" y="42577"/>
                    </a:lnTo>
                    <a:lnTo>
                      <a:pt x="39148" y="107918"/>
                    </a:lnTo>
                    <a:lnTo>
                      <a:pt x="191" y="108013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8B3AB1DF-9E5F-B083-E644-A02CB7BDED33}"/>
                  </a:ext>
                </a:extLst>
              </p:cNvPr>
              <p:cNvSpPr/>
              <p:nvPr/>
            </p:nvSpPr>
            <p:spPr>
              <a:xfrm>
                <a:off x="536159" y="3117089"/>
                <a:ext cx="64822" cy="31932"/>
              </a:xfrm>
              <a:custGeom>
                <a:avLst/>
                <a:gdLst>
                  <a:gd name="connsiteX0" fmla="*/ 135160 w 135350"/>
                  <a:gd name="connsiteY0" fmla="*/ 0 h 66675"/>
                  <a:gd name="connsiteX1" fmla="*/ 135350 w 135350"/>
                  <a:gd name="connsiteY1" fmla="*/ 66485 h 66675"/>
                  <a:gd name="connsiteX2" fmla="*/ 95 w 135350"/>
                  <a:gd name="connsiteY2" fmla="*/ 66675 h 66675"/>
                  <a:gd name="connsiteX3" fmla="*/ 0 w 135350"/>
                  <a:gd name="connsiteY3" fmla="*/ 286 h 66675"/>
                  <a:gd name="connsiteX4" fmla="*/ 38957 w 135350"/>
                  <a:gd name="connsiteY4" fmla="*/ 190 h 66675"/>
                  <a:gd name="connsiteX5" fmla="*/ 96203 w 135350"/>
                  <a:gd name="connsiteY5" fmla="*/ 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675">
                    <a:moveTo>
                      <a:pt x="135160" y="0"/>
                    </a:moveTo>
                    <a:lnTo>
                      <a:pt x="135350" y="66485"/>
                    </a:lnTo>
                    <a:lnTo>
                      <a:pt x="95" y="66675"/>
                    </a:lnTo>
                    <a:lnTo>
                      <a:pt x="0" y="286"/>
                    </a:lnTo>
                    <a:lnTo>
                      <a:pt x="38957" y="190"/>
                    </a:lnTo>
                    <a:lnTo>
                      <a:pt x="96203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B0AA4006-C50F-4C5A-9F65-D203D5DAF374}"/>
                  </a:ext>
                </a:extLst>
              </p:cNvPr>
              <p:cNvSpPr/>
              <p:nvPr/>
            </p:nvSpPr>
            <p:spPr>
              <a:xfrm>
                <a:off x="634830" y="3116907"/>
                <a:ext cx="64822" cy="31932"/>
              </a:xfrm>
              <a:custGeom>
                <a:avLst/>
                <a:gdLst>
                  <a:gd name="connsiteX0" fmla="*/ 135255 w 135350"/>
                  <a:gd name="connsiteY0" fmla="*/ 0 h 66675"/>
                  <a:gd name="connsiteX1" fmla="*/ 135350 w 135350"/>
                  <a:gd name="connsiteY1" fmla="*/ 66485 h 66675"/>
                  <a:gd name="connsiteX2" fmla="*/ 191 w 135350"/>
                  <a:gd name="connsiteY2" fmla="*/ 66675 h 66675"/>
                  <a:gd name="connsiteX3" fmla="*/ 0 w 135350"/>
                  <a:gd name="connsiteY3" fmla="*/ 286 h 66675"/>
                  <a:gd name="connsiteX4" fmla="*/ 38957 w 135350"/>
                  <a:gd name="connsiteY4" fmla="*/ 191 h 66675"/>
                  <a:gd name="connsiteX5" fmla="*/ 96298 w 135350"/>
                  <a:gd name="connsiteY5" fmla="*/ 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675">
                    <a:moveTo>
                      <a:pt x="135255" y="0"/>
                    </a:moveTo>
                    <a:lnTo>
                      <a:pt x="135350" y="66485"/>
                    </a:lnTo>
                    <a:lnTo>
                      <a:pt x="191" y="66675"/>
                    </a:lnTo>
                    <a:lnTo>
                      <a:pt x="0" y="286"/>
                    </a:lnTo>
                    <a:lnTo>
                      <a:pt x="38957" y="191"/>
                    </a:lnTo>
                    <a:lnTo>
                      <a:pt x="96298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B305E4D8-262A-9809-DF57-5D1A4C3954FE}"/>
                  </a:ext>
                </a:extLst>
              </p:cNvPr>
              <p:cNvSpPr/>
              <p:nvPr/>
            </p:nvSpPr>
            <p:spPr>
              <a:xfrm>
                <a:off x="751975" y="2989041"/>
                <a:ext cx="131377" cy="314760"/>
              </a:xfrm>
              <a:custGeom>
                <a:avLst/>
                <a:gdLst>
                  <a:gd name="connsiteX0" fmla="*/ 273177 w 274319"/>
                  <a:gd name="connsiteY0" fmla="*/ 36385 h 657225"/>
                  <a:gd name="connsiteX1" fmla="*/ 274320 w 274319"/>
                  <a:gd name="connsiteY1" fmla="*/ 656749 h 657225"/>
                  <a:gd name="connsiteX2" fmla="*/ 1238 w 274319"/>
                  <a:gd name="connsiteY2" fmla="*/ 657225 h 657225"/>
                  <a:gd name="connsiteX3" fmla="*/ 952 w 274319"/>
                  <a:gd name="connsiteY3" fmla="*/ 526923 h 657225"/>
                  <a:gd name="connsiteX4" fmla="*/ 95 w 274319"/>
                  <a:gd name="connsiteY4" fmla="*/ 35719 h 657225"/>
                  <a:gd name="connsiteX5" fmla="*/ 0 w 274319"/>
                  <a:gd name="connsiteY5" fmla="*/ 476 h 657225"/>
                  <a:gd name="connsiteX6" fmla="*/ 232791 w 274319"/>
                  <a:gd name="connsiteY6" fmla="*/ 0 h 657225"/>
                  <a:gd name="connsiteX7" fmla="*/ 232886 w 274319"/>
                  <a:gd name="connsiteY7" fmla="*/ 36481 h 657225"/>
                  <a:gd name="connsiteX8" fmla="*/ 273177 w 274319"/>
                  <a:gd name="connsiteY8" fmla="*/ 36385 h 657225"/>
                  <a:gd name="connsiteX9" fmla="*/ 214313 w 274319"/>
                  <a:gd name="connsiteY9" fmla="*/ 570071 h 657225"/>
                  <a:gd name="connsiteX10" fmla="*/ 214217 w 274319"/>
                  <a:gd name="connsiteY10" fmla="*/ 494633 h 657225"/>
                  <a:gd name="connsiteX11" fmla="*/ 214027 w 274319"/>
                  <a:gd name="connsiteY11" fmla="*/ 372332 h 657225"/>
                  <a:gd name="connsiteX12" fmla="*/ 60484 w 274319"/>
                  <a:gd name="connsiteY12" fmla="*/ 372618 h 657225"/>
                  <a:gd name="connsiteX13" fmla="*/ 60865 w 274319"/>
                  <a:gd name="connsiteY13" fmla="*/ 570357 h 657225"/>
                  <a:gd name="connsiteX14" fmla="*/ 214313 w 274319"/>
                  <a:gd name="connsiteY14" fmla="*/ 570071 h 657225"/>
                  <a:gd name="connsiteX15" fmla="*/ 213836 w 274319"/>
                  <a:gd name="connsiteY15" fmla="*/ 287465 h 657225"/>
                  <a:gd name="connsiteX16" fmla="*/ 213646 w 274319"/>
                  <a:gd name="connsiteY16" fmla="*/ 212027 h 657225"/>
                  <a:gd name="connsiteX17" fmla="*/ 213455 w 274319"/>
                  <a:gd name="connsiteY17" fmla="*/ 89821 h 657225"/>
                  <a:gd name="connsiteX18" fmla="*/ 60007 w 274319"/>
                  <a:gd name="connsiteY18" fmla="*/ 90106 h 657225"/>
                  <a:gd name="connsiteX19" fmla="*/ 60198 w 274319"/>
                  <a:gd name="connsiteY19" fmla="*/ 212312 h 657225"/>
                  <a:gd name="connsiteX20" fmla="*/ 60389 w 274319"/>
                  <a:gd name="connsiteY20" fmla="*/ 287750 h 657225"/>
                  <a:gd name="connsiteX21" fmla="*/ 213836 w 274319"/>
                  <a:gd name="connsiteY21" fmla="*/ 287465 h 65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319" h="657225">
                    <a:moveTo>
                      <a:pt x="273177" y="36385"/>
                    </a:moveTo>
                    <a:lnTo>
                      <a:pt x="274320" y="656749"/>
                    </a:lnTo>
                    <a:cubicBezTo>
                      <a:pt x="203930" y="656844"/>
                      <a:pt x="106966" y="657035"/>
                      <a:pt x="1238" y="657225"/>
                    </a:cubicBezTo>
                    <a:lnTo>
                      <a:pt x="952" y="526923"/>
                    </a:lnTo>
                    <a:lnTo>
                      <a:pt x="95" y="35719"/>
                    </a:lnTo>
                    <a:lnTo>
                      <a:pt x="0" y="476"/>
                    </a:lnTo>
                    <a:lnTo>
                      <a:pt x="232791" y="0"/>
                    </a:lnTo>
                    <a:cubicBezTo>
                      <a:pt x="232791" y="13525"/>
                      <a:pt x="232791" y="27813"/>
                      <a:pt x="232886" y="36481"/>
                    </a:cubicBezTo>
                    <a:lnTo>
                      <a:pt x="273177" y="36385"/>
                    </a:lnTo>
                    <a:close/>
                    <a:moveTo>
                      <a:pt x="214313" y="570071"/>
                    </a:moveTo>
                    <a:lnTo>
                      <a:pt x="214217" y="494633"/>
                    </a:lnTo>
                    <a:lnTo>
                      <a:pt x="214027" y="372332"/>
                    </a:lnTo>
                    <a:lnTo>
                      <a:pt x="60484" y="372618"/>
                    </a:lnTo>
                    <a:lnTo>
                      <a:pt x="60865" y="570357"/>
                    </a:lnTo>
                    <a:lnTo>
                      <a:pt x="214313" y="570071"/>
                    </a:lnTo>
                    <a:close/>
                    <a:moveTo>
                      <a:pt x="213836" y="287465"/>
                    </a:moveTo>
                    <a:lnTo>
                      <a:pt x="213646" y="212027"/>
                    </a:lnTo>
                    <a:lnTo>
                      <a:pt x="213455" y="89821"/>
                    </a:lnTo>
                    <a:lnTo>
                      <a:pt x="60007" y="90106"/>
                    </a:lnTo>
                    <a:lnTo>
                      <a:pt x="60198" y="212312"/>
                    </a:lnTo>
                    <a:lnTo>
                      <a:pt x="60389" y="287750"/>
                    </a:lnTo>
                    <a:lnTo>
                      <a:pt x="213836" y="287465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B38FDC94-8724-AC61-B7F1-BAA3A0B4C01F}"/>
                  </a:ext>
                </a:extLst>
              </p:cNvPr>
              <p:cNvSpPr/>
              <p:nvPr/>
            </p:nvSpPr>
            <p:spPr>
              <a:xfrm>
                <a:off x="802154" y="3190442"/>
                <a:ext cx="31248" cy="35581"/>
              </a:xfrm>
              <a:custGeom>
                <a:avLst/>
                <a:gdLst>
                  <a:gd name="connsiteX0" fmla="*/ 65056 w 65246"/>
                  <a:gd name="connsiteY0" fmla="*/ 0 h 74294"/>
                  <a:gd name="connsiteX1" fmla="*/ 65246 w 65246"/>
                  <a:gd name="connsiteY1" fmla="*/ 74200 h 74294"/>
                  <a:gd name="connsiteX2" fmla="*/ 190 w 65246"/>
                  <a:gd name="connsiteY2" fmla="*/ 74295 h 74294"/>
                  <a:gd name="connsiteX3" fmla="*/ 0 w 65246"/>
                  <a:gd name="connsiteY3" fmla="*/ 190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246" h="74294">
                    <a:moveTo>
                      <a:pt x="65056" y="0"/>
                    </a:moveTo>
                    <a:lnTo>
                      <a:pt x="65246" y="74200"/>
                    </a:lnTo>
                    <a:lnTo>
                      <a:pt x="190" y="74295"/>
                    </a:lnTo>
                    <a:lnTo>
                      <a:pt x="0" y="190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292EEF04-FFB4-C82D-4DA6-92236CBDBA19}"/>
                  </a:ext>
                </a:extLst>
              </p:cNvPr>
              <p:cNvSpPr/>
              <p:nvPr/>
            </p:nvSpPr>
            <p:spPr>
              <a:xfrm>
                <a:off x="781079" y="3225933"/>
                <a:ext cx="73535" cy="36265"/>
              </a:xfrm>
              <a:custGeom>
                <a:avLst/>
                <a:gdLst>
                  <a:gd name="connsiteX0" fmla="*/ 153448 w 153543"/>
                  <a:gd name="connsiteY0" fmla="*/ 0 h 75723"/>
                  <a:gd name="connsiteX1" fmla="*/ 153543 w 153543"/>
                  <a:gd name="connsiteY1" fmla="*/ 75438 h 75723"/>
                  <a:gd name="connsiteX2" fmla="*/ 95 w 153543"/>
                  <a:gd name="connsiteY2" fmla="*/ 75724 h 75723"/>
                  <a:gd name="connsiteX3" fmla="*/ 0 w 153543"/>
                  <a:gd name="connsiteY3" fmla="*/ 286 h 75723"/>
                  <a:gd name="connsiteX4" fmla="*/ 44196 w 153543"/>
                  <a:gd name="connsiteY4" fmla="*/ 190 h 75723"/>
                  <a:gd name="connsiteX5" fmla="*/ 109252 w 153543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543" h="75723">
                    <a:moveTo>
                      <a:pt x="153448" y="0"/>
                    </a:moveTo>
                    <a:lnTo>
                      <a:pt x="153543" y="75438"/>
                    </a:lnTo>
                    <a:lnTo>
                      <a:pt x="95" y="75724"/>
                    </a:lnTo>
                    <a:lnTo>
                      <a:pt x="0" y="286"/>
                    </a:lnTo>
                    <a:lnTo>
                      <a:pt x="44196" y="190"/>
                    </a:lnTo>
                    <a:lnTo>
                      <a:pt x="109252" y="9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CB526F70-70C0-3F57-32D2-FFFDB69F017F}"/>
                  </a:ext>
                </a:extLst>
              </p:cNvPr>
              <p:cNvSpPr/>
              <p:nvPr/>
            </p:nvSpPr>
            <p:spPr>
              <a:xfrm>
                <a:off x="780805" y="3090586"/>
                <a:ext cx="73581" cy="36265"/>
              </a:xfrm>
              <a:custGeom>
                <a:avLst/>
                <a:gdLst>
                  <a:gd name="connsiteX0" fmla="*/ 153448 w 153638"/>
                  <a:gd name="connsiteY0" fmla="*/ 0 h 75723"/>
                  <a:gd name="connsiteX1" fmla="*/ 153638 w 153638"/>
                  <a:gd name="connsiteY1" fmla="*/ 75438 h 75723"/>
                  <a:gd name="connsiteX2" fmla="*/ 190 w 153638"/>
                  <a:gd name="connsiteY2" fmla="*/ 75724 h 75723"/>
                  <a:gd name="connsiteX3" fmla="*/ 0 w 153638"/>
                  <a:gd name="connsiteY3" fmla="*/ 286 h 75723"/>
                  <a:gd name="connsiteX4" fmla="*/ 44196 w 153638"/>
                  <a:gd name="connsiteY4" fmla="*/ 190 h 75723"/>
                  <a:gd name="connsiteX5" fmla="*/ 109252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153448" y="0"/>
                    </a:moveTo>
                    <a:lnTo>
                      <a:pt x="153638" y="75438"/>
                    </a:lnTo>
                    <a:lnTo>
                      <a:pt x="190" y="75724"/>
                    </a:lnTo>
                    <a:lnTo>
                      <a:pt x="0" y="286"/>
                    </a:lnTo>
                    <a:lnTo>
                      <a:pt x="44196" y="190"/>
                    </a:lnTo>
                    <a:lnTo>
                      <a:pt x="109252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DD5CE23B-ED7A-B9E2-1DB0-8DF3B75AA2A8}"/>
                  </a:ext>
                </a:extLst>
              </p:cNvPr>
              <p:cNvSpPr/>
              <p:nvPr/>
            </p:nvSpPr>
            <p:spPr>
              <a:xfrm>
                <a:off x="965692" y="3089992"/>
                <a:ext cx="62632" cy="42561"/>
              </a:xfrm>
              <a:custGeom>
                <a:avLst/>
                <a:gdLst>
                  <a:gd name="connsiteX0" fmla="*/ 130588 w 130778"/>
                  <a:gd name="connsiteY0" fmla="*/ 0 h 88868"/>
                  <a:gd name="connsiteX1" fmla="*/ 130778 w 130778"/>
                  <a:gd name="connsiteY1" fmla="*/ 88678 h 88868"/>
                  <a:gd name="connsiteX2" fmla="*/ 190 w 130778"/>
                  <a:gd name="connsiteY2" fmla="*/ 88868 h 88868"/>
                  <a:gd name="connsiteX3" fmla="*/ 0 w 130778"/>
                  <a:gd name="connsiteY3" fmla="*/ 286 h 8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78" h="88868">
                    <a:moveTo>
                      <a:pt x="130588" y="0"/>
                    </a:moveTo>
                    <a:lnTo>
                      <a:pt x="130778" y="88678"/>
                    </a:lnTo>
                    <a:lnTo>
                      <a:pt x="190" y="88868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850D8053-1EE7-3FB5-E717-B131B5F545FE}"/>
                  </a:ext>
                </a:extLst>
              </p:cNvPr>
              <p:cNvSpPr/>
              <p:nvPr/>
            </p:nvSpPr>
            <p:spPr>
              <a:xfrm>
                <a:off x="965829" y="3167040"/>
                <a:ext cx="62632" cy="42561"/>
              </a:xfrm>
              <a:custGeom>
                <a:avLst/>
                <a:gdLst>
                  <a:gd name="connsiteX0" fmla="*/ 130588 w 130778"/>
                  <a:gd name="connsiteY0" fmla="*/ 0 h 88868"/>
                  <a:gd name="connsiteX1" fmla="*/ 130778 w 130778"/>
                  <a:gd name="connsiteY1" fmla="*/ 88678 h 88868"/>
                  <a:gd name="connsiteX2" fmla="*/ 190 w 130778"/>
                  <a:gd name="connsiteY2" fmla="*/ 88868 h 88868"/>
                  <a:gd name="connsiteX3" fmla="*/ 0 w 130778"/>
                  <a:gd name="connsiteY3" fmla="*/ 286 h 8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78" h="88868">
                    <a:moveTo>
                      <a:pt x="130588" y="0"/>
                    </a:moveTo>
                    <a:lnTo>
                      <a:pt x="130778" y="88678"/>
                    </a:lnTo>
                    <a:lnTo>
                      <a:pt x="190" y="88868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34A1555B-729B-4482-258B-C19F08945CCB}"/>
                  </a:ext>
                </a:extLst>
              </p:cNvPr>
              <p:cNvSpPr/>
              <p:nvPr/>
            </p:nvSpPr>
            <p:spPr>
              <a:xfrm>
                <a:off x="944434" y="3231635"/>
                <a:ext cx="105604" cy="24085"/>
              </a:xfrm>
              <a:custGeom>
                <a:avLst/>
                <a:gdLst>
                  <a:gd name="connsiteX0" fmla="*/ 220409 w 220503"/>
                  <a:gd name="connsiteY0" fmla="*/ 0 h 50291"/>
                  <a:gd name="connsiteX1" fmla="*/ 220504 w 220503"/>
                  <a:gd name="connsiteY1" fmla="*/ 49816 h 50291"/>
                  <a:gd name="connsiteX2" fmla="*/ 95 w 220503"/>
                  <a:gd name="connsiteY2" fmla="*/ 50292 h 50291"/>
                  <a:gd name="connsiteX3" fmla="*/ 0 w 220503"/>
                  <a:gd name="connsiteY3" fmla="*/ 381 h 50291"/>
                  <a:gd name="connsiteX4" fmla="*/ 220409 w 220503"/>
                  <a:gd name="connsiteY4" fmla="*/ 0 h 5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503" h="50291">
                    <a:moveTo>
                      <a:pt x="220409" y="0"/>
                    </a:moveTo>
                    <a:cubicBezTo>
                      <a:pt x="220504" y="17240"/>
                      <a:pt x="220504" y="34004"/>
                      <a:pt x="220504" y="49816"/>
                    </a:cubicBezTo>
                    <a:lnTo>
                      <a:pt x="95" y="50292"/>
                    </a:lnTo>
                    <a:cubicBezTo>
                      <a:pt x="95" y="34385"/>
                      <a:pt x="0" y="17717"/>
                      <a:pt x="0" y="381"/>
                    </a:cubicBezTo>
                    <a:cubicBezTo>
                      <a:pt x="54959" y="286"/>
                      <a:pt x="165449" y="95"/>
                      <a:pt x="220409" y="0"/>
                    </a:cubicBez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EF824EE2-F724-8E99-D22B-A1294E3E7CA2}"/>
                  </a:ext>
                </a:extLst>
              </p:cNvPr>
              <p:cNvSpPr/>
              <p:nvPr/>
            </p:nvSpPr>
            <p:spPr>
              <a:xfrm>
                <a:off x="1139859" y="3225248"/>
                <a:ext cx="73581" cy="36265"/>
              </a:xfrm>
              <a:custGeom>
                <a:avLst/>
                <a:gdLst>
                  <a:gd name="connsiteX0" fmla="*/ 153448 w 153638"/>
                  <a:gd name="connsiteY0" fmla="*/ 0 h 75723"/>
                  <a:gd name="connsiteX1" fmla="*/ 153638 w 153638"/>
                  <a:gd name="connsiteY1" fmla="*/ 75438 h 75723"/>
                  <a:gd name="connsiteX2" fmla="*/ 95 w 153638"/>
                  <a:gd name="connsiteY2" fmla="*/ 75724 h 75723"/>
                  <a:gd name="connsiteX3" fmla="*/ 0 w 153638"/>
                  <a:gd name="connsiteY3" fmla="*/ 286 h 75723"/>
                  <a:gd name="connsiteX4" fmla="*/ 44196 w 153638"/>
                  <a:gd name="connsiteY4" fmla="*/ 191 h 75723"/>
                  <a:gd name="connsiteX5" fmla="*/ 109252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153448" y="0"/>
                    </a:moveTo>
                    <a:lnTo>
                      <a:pt x="153638" y="75438"/>
                    </a:lnTo>
                    <a:lnTo>
                      <a:pt x="95" y="75724"/>
                    </a:lnTo>
                    <a:lnTo>
                      <a:pt x="0" y="286"/>
                    </a:lnTo>
                    <a:lnTo>
                      <a:pt x="44196" y="191"/>
                    </a:lnTo>
                    <a:lnTo>
                      <a:pt x="109252" y="9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A1E7FBDF-6E89-5915-6A75-0BBFFF5D409A}"/>
                  </a:ext>
                </a:extLst>
              </p:cNvPr>
              <p:cNvSpPr/>
              <p:nvPr/>
            </p:nvSpPr>
            <p:spPr>
              <a:xfrm rot="21595581">
                <a:off x="1160980" y="3189804"/>
                <a:ext cx="31156" cy="35490"/>
              </a:xfrm>
              <a:custGeom>
                <a:avLst/>
                <a:gdLst>
                  <a:gd name="connsiteX0" fmla="*/ 0 w 65055"/>
                  <a:gd name="connsiteY0" fmla="*/ 0 h 74104"/>
                  <a:gd name="connsiteX1" fmla="*/ 65056 w 65055"/>
                  <a:gd name="connsiteY1" fmla="*/ 0 h 74104"/>
                  <a:gd name="connsiteX2" fmla="*/ 65056 w 65055"/>
                  <a:gd name="connsiteY2" fmla="*/ 74105 h 74104"/>
                  <a:gd name="connsiteX3" fmla="*/ 0 w 65055"/>
                  <a:gd name="connsiteY3" fmla="*/ 74105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055" h="74104">
                    <a:moveTo>
                      <a:pt x="0" y="0"/>
                    </a:moveTo>
                    <a:lnTo>
                      <a:pt x="65056" y="0"/>
                    </a:lnTo>
                    <a:lnTo>
                      <a:pt x="65056" y="74105"/>
                    </a:lnTo>
                    <a:lnTo>
                      <a:pt x="0" y="7410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26441D99-D1F8-0436-F4AF-0F351DAE6CF9}"/>
                  </a:ext>
                </a:extLst>
              </p:cNvPr>
              <p:cNvSpPr/>
              <p:nvPr/>
            </p:nvSpPr>
            <p:spPr>
              <a:xfrm>
                <a:off x="1294319" y="3064128"/>
                <a:ext cx="64868" cy="51684"/>
              </a:xfrm>
              <a:custGeom>
                <a:avLst/>
                <a:gdLst>
                  <a:gd name="connsiteX0" fmla="*/ 135255 w 135445"/>
                  <a:gd name="connsiteY0" fmla="*/ 0 h 107918"/>
                  <a:gd name="connsiteX1" fmla="*/ 135446 w 135445"/>
                  <a:gd name="connsiteY1" fmla="*/ 107633 h 107918"/>
                  <a:gd name="connsiteX2" fmla="*/ 96488 w 135445"/>
                  <a:gd name="connsiteY2" fmla="*/ 107728 h 107918"/>
                  <a:gd name="connsiteX3" fmla="*/ 96298 w 135445"/>
                  <a:gd name="connsiteY3" fmla="*/ 42386 h 107918"/>
                  <a:gd name="connsiteX4" fmla="*/ 39052 w 135445"/>
                  <a:gd name="connsiteY4" fmla="*/ 42577 h 107918"/>
                  <a:gd name="connsiteX5" fmla="*/ 39148 w 135445"/>
                  <a:gd name="connsiteY5" fmla="*/ 107823 h 107918"/>
                  <a:gd name="connsiteX6" fmla="*/ 191 w 135445"/>
                  <a:gd name="connsiteY6" fmla="*/ 107918 h 107918"/>
                  <a:gd name="connsiteX7" fmla="*/ 0 w 135445"/>
                  <a:gd name="connsiteY7" fmla="*/ 191 h 10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445" h="107918">
                    <a:moveTo>
                      <a:pt x="135255" y="0"/>
                    </a:moveTo>
                    <a:lnTo>
                      <a:pt x="135446" y="107633"/>
                    </a:lnTo>
                    <a:lnTo>
                      <a:pt x="96488" y="107728"/>
                    </a:lnTo>
                    <a:lnTo>
                      <a:pt x="96298" y="42386"/>
                    </a:lnTo>
                    <a:lnTo>
                      <a:pt x="39052" y="42577"/>
                    </a:lnTo>
                    <a:lnTo>
                      <a:pt x="39148" y="107823"/>
                    </a:lnTo>
                    <a:lnTo>
                      <a:pt x="191" y="107918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A4F6256E-675F-335D-89FF-72B68A798C76}"/>
                  </a:ext>
                </a:extLst>
              </p:cNvPr>
              <p:cNvSpPr/>
              <p:nvPr/>
            </p:nvSpPr>
            <p:spPr>
              <a:xfrm>
                <a:off x="1393035" y="3063945"/>
                <a:ext cx="64822" cy="51684"/>
              </a:xfrm>
              <a:custGeom>
                <a:avLst/>
                <a:gdLst>
                  <a:gd name="connsiteX0" fmla="*/ 135160 w 135350"/>
                  <a:gd name="connsiteY0" fmla="*/ 0 h 107918"/>
                  <a:gd name="connsiteX1" fmla="*/ 135350 w 135350"/>
                  <a:gd name="connsiteY1" fmla="*/ 107633 h 107918"/>
                  <a:gd name="connsiteX2" fmla="*/ 96393 w 135350"/>
                  <a:gd name="connsiteY2" fmla="*/ 107728 h 107918"/>
                  <a:gd name="connsiteX3" fmla="*/ 96298 w 135350"/>
                  <a:gd name="connsiteY3" fmla="*/ 42386 h 107918"/>
                  <a:gd name="connsiteX4" fmla="*/ 39052 w 135350"/>
                  <a:gd name="connsiteY4" fmla="*/ 42577 h 107918"/>
                  <a:gd name="connsiteX5" fmla="*/ 39148 w 135350"/>
                  <a:gd name="connsiteY5" fmla="*/ 107823 h 107918"/>
                  <a:gd name="connsiteX6" fmla="*/ 191 w 135350"/>
                  <a:gd name="connsiteY6" fmla="*/ 107918 h 107918"/>
                  <a:gd name="connsiteX7" fmla="*/ 0 w 135350"/>
                  <a:gd name="connsiteY7" fmla="*/ 191 h 10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350" h="107918">
                    <a:moveTo>
                      <a:pt x="135160" y="0"/>
                    </a:moveTo>
                    <a:lnTo>
                      <a:pt x="135350" y="107633"/>
                    </a:lnTo>
                    <a:lnTo>
                      <a:pt x="96393" y="107728"/>
                    </a:lnTo>
                    <a:lnTo>
                      <a:pt x="96298" y="42386"/>
                    </a:lnTo>
                    <a:lnTo>
                      <a:pt x="39052" y="42577"/>
                    </a:lnTo>
                    <a:lnTo>
                      <a:pt x="39148" y="107823"/>
                    </a:lnTo>
                    <a:lnTo>
                      <a:pt x="191" y="107918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39CA878F-17CB-0B41-8A8B-32292BBF270D}"/>
                  </a:ext>
                </a:extLst>
              </p:cNvPr>
              <p:cNvSpPr/>
              <p:nvPr/>
            </p:nvSpPr>
            <p:spPr>
              <a:xfrm>
                <a:off x="1393126" y="3115493"/>
                <a:ext cx="64822" cy="31978"/>
              </a:xfrm>
              <a:custGeom>
                <a:avLst/>
                <a:gdLst>
                  <a:gd name="connsiteX0" fmla="*/ 135160 w 135350"/>
                  <a:gd name="connsiteY0" fmla="*/ 0 h 66770"/>
                  <a:gd name="connsiteX1" fmla="*/ 135350 w 135350"/>
                  <a:gd name="connsiteY1" fmla="*/ 66484 h 66770"/>
                  <a:gd name="connsiteX2" fmla="*/ 95 w 135350"/>
                  <a:gd name="connsiteY2" fmla="*/ 66770 h 66770"/>
                  <a:gd name="connsiteX3" fmla="*/ 0 w 135350"/>
                  <a:gd name="connsiteY3" fmla="*/ 286 h 66770"/>
                  <a:gd name="connsiteX4" fmla="*/ 38957 w 135350"/>
                  <a:gd name="connsiteY4" fmla="*/ 190 h 66770"/>
                  <a:gd name="connsiteX5" fmla="*/ 96202 w 135350"/>
                  <a:gd name="connsiteY5" fmla="*/ 95 h 6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770">
                    <a:moveTo>
                      <a:pt x="135160" y="0"/>
                    </a:moveTo>
                    <a:lnTo>
                      <a:pt x="135350" y="66484"/>
                    </a:lnTo>
                    <a:lnTo>
                      <a:pt x="95" y="66770"/>
                    </a:lnTo>
                    <a:lnTo>
                      <a:pt x="0" y="286"/>
                    </a:lnTo>
                    <a:lnTo>
                      <a:pt x="38957" y="190"/>
                    </a:lnTo>
                    <a:lnTo>
                      <a:pt x="96202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D4100A2B-1AAF-82BA-C890-CC7E883A4833}"/>
                  </a:ext>
                </a:extLst>
              </p:cNvPr>
              <p:cNvSpPr/>
              <p:nvPr/>
            </p:nvSpPr>
            <p:spPr>
              <a:xfrm>
                <a:off x="1294411" y="3115675"/>
                <a:ext cx="64822" cy="31978"/>
              </a:xfrm>
              <a:custGeom>
                <a:avLst/>
                <a:gdLst>
                  <a:gd name="connsiteX0" fmla="*/ 135255 w 135350"/>
                  <a:gd name="connsiteY0" fmla="*/ 0 h 66770"/>
                  <a:gd name="connsiteX1" fmla="*/ 135350 w 135350"/>
                  <a:gd name="connsiteY1" fmla="*/ 66484 h 66770"/>
                  <a:gd name="connsiteX2" fmla="*/ 95 w 135350"/>
                  <a:gd name="connsiteY2" fmla="*/ 66770 h 66770"/>
                  <a:gd name="connsiteX3" fmla="*/ 0 w 135350"/>
                  <a:gd name="connsiteY3" fmla="*/ 286 h 66770"/>
                  <a:gd name="connsiteX4" fmla="*/ 38957 w 135350"/>
                  <a:gd name="connsiteY4" fmla="*/ 190 h 66770"/>
                  <a:gd name="connsiteX5" fmla="*/ 96298 w 135350"/>
                  <a:gd name="connsiteY5" fmla="*/ 95 h 6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770">
                    <a:moveTo>
                      <a:pt x="135255" y="0"/>
                    </a:moveTo>
                    <a:lnTo>
                      <a:pt x="135350" y="66484"/>
                    </a:lnTo>
                    <a:lnTo>
                      <a:pt x="95" y="66770"/>
                    </a:lnTo>
                    <a:lnTo>
                      <a:pt x="0" y="286"/>
                    </a:lnTo>
                    <a:lnTo>
                      <a:pt x="38957" y="190"/>
                    </a:lnTo>
                    <a:lnTo>
                      <a:pt x="96298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1ED43422-E6C7-B710-7D14-B3A706C06D7A}"/>
                  </a:ext>
                </a:extLst>
              </p:cNvPr>
              <p:cNvSpPr/>
              <p:nvPr/>
            </p:nvSpPr>
            <p:spPr>
              <a:xfrm>
                <a:off x="1139585" y="3089947"/>
                <a:ext cx="73581" cy="36265"/>
              </a:xfrm>
              <a:custGeom>
                <a:avLst/>
                <a:gdLst>
                  <a:gd name="connsiteX0" fmla="*/ 153448 w 153638"/>
                  <a:gd name="connsiteY0" fmla="*/ 0 h 75723"/>
                  <a:gd name="connsiteX1" fmla="*/ 153638 w 153638"/>
                  <a:gd name="connsiteY1" fmla="*/ 75438 h 75723"/>
                  <a:gd name="connsiteX2" fmla="*/ 190 w 153638"/>
                  <a:gd name="connsiteY2" fmla="*/ 75724 h 75723"/>
                  <a:gd name="connsiteX3" fmla="*/ 0 w 153638"/>
                  <a:gd name="connsiteY3" fmla="*/ 286 h 75723"/>
                  <a:gd name="connsiteX4" fmla="*/ 44291 w 153638"/>
                  <a:gd name="connsiteY4" fmla="*/ 190 h 75723"/>
                  <a:gd name="connsiteX5" fmla="*/ 109347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153448" y="0"/>
                    </a:moveTo>
                    <a:lnTo>
                      <a:pt x="153638" y="75438"/>
                    </a:lnTo>
                    <a:lnTo>
                      <a:pt x="190" y="75724"/>
                    </a:lnTo>
                    <a:lnTo>
                      <a:pt x="0" y="286"/>
                    </a:lnTo>
                    <a:lnTo>
                      <a:pt x="44291" y="190"/>
                    </a:lnTo>
                    <a:lnTo>
                      <a:pt x="109347" y="95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AD777B94-10B6-B0D9-DE93-9E5C87F058D3}"/>
                  </a:ext>
                </a:extLst>
              </p:cNvPr>
              <p:cNvSpPr/>
              <p:nvPr/>
            </p:nvSpPr>
            <p:spPr>
              <a:xfrm>
                <a:off x="1110801" y="2988357"/>
                <a:ext cx="131377" cy="314760"/>
              </a:xfrm>
              <a:custGeom>
                <a:avLst/>
                <a:gdLst>
                  <a:gd name="connsiteX0" fmla="*/ 274034 w 274319"/>
                  <a:gd name="connsiteY0" fmla="*/ 526447 h 657225"/>
                  <a:gd name="connsiteX1" fmla="*/ 274320 w 274319"/>
                  <a:gd name="connsiteY1" fmla="*/ 656749 h 657225"/>
                  <a:gd name="connsiteX2" fmla="*/ 1143 w 274319"/>
                  <a:gd name="connsiteY2" fmla="*/ 657225 h 657225"/>
                  <a:gd name="connsiteX3" fmla="*/ 0 w 274319"/>
                  <a:gd name="connsiteY3" fmla="*/ 36957 h 657225"/>
                  <a:gd name="connsiteX4" fmla="*/ 40291 w 274319"/>
                  <a:gd name="connsiteY4" fmla="*/ 36862 h 657225"/>
                  <a:gd name="connsiteX5" fmla="*/ 40195 w 274319"/>
                  <a:gd name="connsiteY5" fmla="*/ 381 h 657225"/>
                  <a:gd name="connsiteX6" fmla="*/ 40291 w 274319"/>
                  <a:gd name="connsiteY6" fmla="*/ 381 h 657225"/>
                  <a:gd name="connsiteX7" fmla="*/ 273082 w 274319"/>
                  <a:gd name="connsiteY7" fmla="*/ 0 h 657225"/>
                  <a:gd name="connsiteX8" fmla="*/ 273177 w 274319"/>
                  <a:gd name="connsiteY8" fmla="*/ 35243 h 657225"/>
                  <a:gd name="connsiteX9" fmla="*/ 274034 w 274319"/>
                  <a:gd name="connsiteY9" fmla="*/ 526447 h 657225"/>
                  <a:gd name="connsiteX10" fmla="*/ 214313 w 274319"/>
                  <a:gd name="connsiteY10" fmla="*/ 570071 h 657225"/>
                  <a:gd name="connsiteX11" fmla="*/ 214122 w 274319"/>
                  <a:gd name="connsiteY11" fmla="*/ 494633 h 657225"/>
                  <a:gd name="connsiteX12" fmla="*/ 213931 w 274319"/>
                  <a:gd name="connsiteY12" fmla="*/ 372428 h 657225"/>
                  <a:gd name="connsiteX13" fmla="*/ 60484 w 274319"/>
                  <a:gd name="connsiteY13" fmla="*/ 372713 h 657225"/>
                  <a:gd name="connsiteX14" fmla="*/ 60674 w 274319"/>
                  <a:gd name="connsiteY14" fmla="*/ 494919 h 657225"/>
                  <a:gd name="connsiteX15" fmla="*/ 60769 w 274319"/>
                  <a:gd name="connsiteY15" fmla="*/ 570357 h 657225"/>
                  <a:gd name="connsiteX16" fmla="*/ 214313 w 274319"/>
                  <a:gd name="connsiteY16" fmla="*/ 570071 h 657225"/>
                  <a:gd name="connsiteX17" fmla="*/ 213741 w 274319"/>
                  <a:gd name="connsiteY17" fmla="*/ 287560 h 657225"/>
                  <a:gd name="connsiteX18" fmla="*/ 213646 w 274319"/>
                  <a:gd name="connsiteY18" fmla="*/ 212122 h 657225"/>
                  <a:gd name="connsiteX19" fmla="*/ 213550 w 274319"/>
                  <a:gd name="connsiteY19" fmla="*/ 212122 h 657225"/>
                  <a:gd name="connsiteX20" fmla="*/ 213360 w 274319"/>
                  <a:gd name="connsiteY20" fmla="*/ 89821 h 657225"/>
                  <a:gd name="connsiteX21" fmla="*/ 59912 w 274319"/>
                  <a:gd name="connsiteY21" fmla="*/ 90107 h 657225"/>
                  <a:gd name="connsiteX22" fmla="*/ 60103 w 274319"/>
                  <a:gd name="connsiteY22" fmla="*/ 212408 h 657225"/>
                  <a:gd name="connsiteX23" fmla="*/ 60293 w 274319"/>
                  <a:gd name="connsiteY23" fmla="*/ 287846 h 657225"/>
                  <a:gd name="connsiteX24" fmla="*/ 213741 w 274319"/>
                  <a:gd name="connsiteY24" fmla="*/ 287560 h 65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74319" h="657225">
                    <a:moveTo>
                      <a:pt x="274034" y="526447"/>
                    </a:moveTo>
                    <a:lnTo>
                      <a:pt x="274320" y="656749"/>
                    </a:lnTo>
                    <a:lnTo>
                      <a:pt x="1143" y="657225"/>
                    </a:lnTo>
                    <a:lnTo>
                      <a:pt x="0" y="36957"/>
                    </a:lnTo>
                    <a:lnTo>
                      <a:pt x="40291" y="36862"/>
                    </a:lnTo>
                    <a:lnTo>
                      <a:pt x="40195" y="381"/>
                    </a:lnTo>
                    <a:lnTo>
                      <a:pt x="40291" y="381"/>
                    </a:lnTo>
                    <a:lnTo>
                      <a:pt x="273082" y="0"/>
                    </a:lnTo>
                    <a:lnTo>
                      <a:pt x="273177" y="35243"/>
                    </a:lnTo>
                    <a:lnTo>
                      <a:pt x="274034" y="526447"/>
                    </a:lnTo>
                    <a:close/>
                    <a:moveTo>
                      <a:pt x="214313" y="570071"/>
                    </a:moveTo>
                    <a:lnTo>
                      <a:pt x="214122" y="494633"/>
                    </a:lnTo>
                    <a:lnTo>
                      <a:pt x="213931" y="372428"/>
                    </a:lnTo>
                    <a:lnTo>
                      <a:pt x="60484" y="372713"/>
                    </a:lnTo>
                    <a:lnTo>
                      <a:pt x="60674" y="494919"/>
                    </a:lnTo>
                    <a:lnTo>
                      <a:pt x="60769" y="570357"/>
                    </a:lnTo>
                    <a:lnTo>
                      <a:pt x="214313" y="570071"/>
                    </a:lnTo>
                    <a:close/>
                    <a:moveTo>
                      <a:pt x="213741" y="287560"/>
                    </a:moveTo>
                    <a:lnTo>
                      <a:pt x="213646" y="212122"/>
                    </a:lnTo>
                    <a:lnTo>
                      <a:pt x="213550" y="212122"/>
                    </a:lnTo>
                    <a:lnTo>
                      <a:pt x="213360" y="89821"/>
                    </a:lnTo>
                    <a:lnTo>
                      <a:pt x="59912" y="90107"/>
                    </a:lnTo>
                    <a:lnTo>
                      <a:pt x="60103" y="212408"/>
                    </a:lnTo>
                    <a:lnTo>
                      <a:pt x="60293" y="287846"/>
                    </a:lnTo>
                    <a:lnTo>
                      <a:pt x="213741" y="287560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20CABBC3-3397-3C92-6E4B-C53E9CE2EC9F}"/>
                  </a:ext>
                </a:extLst>
              </p:cNvPr>
              <p:cNvSpPr/>
              <p:nvPr/>
            </p:nvSpPr>
            <p:spPr>
              <a:xfrm>
                <a:off x="1241585" y="2975630"/>
                <a:ext cx="269781" cy="29606"/>
              </a:xfrm>
              <a:custGeom>
                <a:avLst/>
                <a:gdLst>
                  <a:gd name="connsiteX0" fmla="*/ 563213 w 563308"/>
                  <a:gd name="connsiteY0" fmla="*/ 0 h 61817"/>
                  <a:gd name="connsiteX1" fmla="*/ 563309 w 563308"/>
                  <a:gd name="connsiteY1" fmla="*/ 60769 h 61817"/>
                  <a:gd name="connsiteX2" fmla="*/ 520922 w 563308"/>
                  <a:gd name="connsiteY2" fmla="*/ 60865 h 61817"/>
                  <a:gd name="connsiteX3" fmla="*/ 7620 w 563308"/>
                  <a:gd name="connsiteY3" fmla="*/ 61817 h 61817"/>
                  <a:gd name="connsiteX4" fmla="*/ 95 w 563308"/>
                  <a:gd name="connsiteY4" fmla="*/ 61817 h 61817"/>
                  <a:gd name="connsiteX5" fmla="*/ 0 w 563308"/>
                  <a:gd name="connsiteY5" fmla="*/ 26575 h 61817"/>
                  <a:gd name="connsiteX6" fmla="*/ 119634 w 563308"/>
                  <a:gd name="connsiteY6" fmla="*/ 26384 h 61817"/>
                  <a:gd name="connsiteX7" fmla="*/ 119634 w 563308"/>
                  <a:gd name="connsiteY7" fmla="*/ 857 h 61817"/>
                  <a:gd name="connsiteX8" fmla="*/ 520827 w 563308"/>
                  <a:gd name="connsiteY8" fmla="*/ 95 h 61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3308" h="61817">
                    <a:moveTo>
                      <a:pt x="563213" y="0"/>
                    </a:moveTo>
                    <a:lnTo>
                      <a:pt x="563309" y="60769"/>
                    </a:lnTo>
                    <a:lnTo>
                      <a:pt x="520922" y="60865"/>
                    </a:lnTo>
                    <a:lnTo>
                      <a:pt x="7620" y="61817"/>
                    </a:lnTo>
                    <a:lnTo>
                      <a:pt x="95" y="61817"/>
                    </a:lnTo>
                    <a:lnTo>
                      <a:pt x="0" y="26575"/>
                    </a:lnTo>
                    <a:lnTo>
                      <a:pt x="119634" y="26384"/>
                    </a:lnTo>
                    <a:lnTo>
                      <a:pt x="119634" y="857"/>
                    </a:lnTo>
                    <a:lnTo>
                      <a:pt x="520827" y="95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4A5CBCBF-E347-1F94-9472-9C91BC7015BE}"/>
                  </a:ext>
                </a:extLst>
              </p:cNvPr>
              <p:cNvSpPr/>
              <p:nvPr/>
            </p:nvSpPr>
            <p:spPr>
              <a:xfrm>
                <a:off x="1086761" y="2955239"/>
                <a:ext cx="212120" cy="33300"/>
              </a:xfrm>
              <a:custGeom>
                <a:avLst/>
                <a:gdLst>
                  <a:gd name="connsiteX0" fmla="*/ 90488 w 442912"/>
                  <a:gd name="connsiteY0" fmla="*/ 69532 h 69532"/>
                  <a:gd name="connsiteX1" fmla="*/ 90392 w 442912"/>
                  <a:gd name="connsiteY1" fmla="*/ 69532 h 69532"/>
                  <a:gd name="connsiteX2" fmla="*/ 90392 w 442912"/>
                  <a:gd name="connsiteY2" fmla="*/ 42863 h 69532"/>
                  <a:gd name="connsiteX3" fmla="*/ 32480 w 442912"/>
                  <a:gd name="connsiteY3" fmla="*/ 43053 h 69532"/>
                  <a:gd name="connsiteX4" fmla="*/ 0 w 442912"/>
                  <a:gd name="connsiteY4" fmla="*/ 3429 h 69532"/>
                  <a:gd name="connsiteX5" fmla="*/ 3238 w 442912"/>
                  <a:gd name="connsiteY5" fmla="*/ 762 h 69532"/>
                  <a:gd name="connsiteX6" fmla="*/ 412909 w 442912"/>
                  <a:gd name="connsiteY6" fmla="*/ 95 h 69532"/>
                  <a:gd name="connsiteX7" fmla="*/ 442817 w 442912"/>
                  <a:gd name="connsiteY7" fmla="*/ 0 h 69532"/>
                  <a:gd name="connsiteX8" fmla="*/ 442913 w 442912"/>
                  <a:gd name="connsiteY8" fmla="*/ 43434 h 69532"/>
                  <a:gd name="connsiteX9" fmla="*/ 442913 w 442912"/>
                  <a:gd name="connsiteY9" fmla="*/ 68961 h 69532"/>
                  <a:gd name="connsiteX10" fmla="*/ 323279 w 442912"/>
                  <a:gd name="connsiteY10" fmla="*/ 69151 h 69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2912" h="69532">
                    <a:moveTo>
                      <a:pt x="90488" y="69532"/>
                    </a:moveTo>
                    <a:lnTo>
                      <a:pt x="90392" y="69532"/>
                    </a:lnTo>
                    <a:lnTo>
                      <a:pt x="90392" y="42863"/>
                    </a:lnTo>
                    <a:lnTo>
                      <a:pt x="32480" y="43053"/>
                    </a:lnTo>
                    <a:lnTo>
                      <a:pt x="0" y="3429"/>
                    </a:lnTo>
                    <a:lnTo>
                      <a:pt x="3238" y="762"/>
                    </a:lnTo>
                    <a:lnTo>
                      <a:pt x="412909" y="95"/>
                    </a:lnTo>
                    <a:lnTo>
                      <a:pt x="442817" y="0"/>
                    </a:lnTo>
                    <a:lnTo>
                      <a:pt x="442913" y="43434"/>
                    </a:lnTo>
                    <a:lnTo>
                      <a:pt x="442913" y="68961"/>
                    </a:lnTo>
                    <a:lnTo>
                      <a:pt x="323279" y="69151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06C9B88C-2C1C-DCE2-B0A1-C0A1FB0BD898}"/>
                  </a:ext>
                </a:extLst>
              </p:cNvPr>
              <p:cNvSpPr/>
              <p:nvPr/>
            </p:nvSpPr>
            <p:spPr>
              <a:xfrm>
                <a:off x="891153" y="2847080"/>
                <a:ext cx="211162" cy="129142"/>
              </a:xfrm>
              <a:custGeom>
                <a:avLst/>
                <a:gdLst>
                  <a:gd name="connsiteX0" fmla="*/ 408432 w 440912"/>
                  <a:gd name="connsiteY0" fmla="*/ 229267 h 269652"/>
                  <a:gd name="connsiteX1" fmla="*/ 440912 w 440912"/>
                  <a:gd name="connsiteY1" fmla="*/ 268891 h 269652"/>
                  <a:gd name="connsiteX2" fmla="*/ 220504 w 440912"/>
                  <a:gd name="connsiteY2" fmla="*/ 269272 h 269652"/>
                  <a:gd name="connsiteX3" fmla="*/ 0 w 440912"/>
                  <a:gd name="connsiteY3" fmla="*/ 269653 h 269652"/>
                  <a:gd name="connsiteX4" fmla="*/ 34481 w 440912"/>
                  <a:gd name="connsiteY4" fmla="*/ 227362 h 269652"/>
                  <a:gd name="connsiteX5" fmla="*/ 34576 w 440912"/>
                  <a:gd name="connsiteY5" fmla="*/ 227362 h 269652"/>
                  <a:gd name="connsiteX6" fmla="*/ 220027 w 440912"/>
                  <a:gd name="connsiteY6" fmla="*/ 0 h 269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912" h="269652">
                    <a:moveTo>
                      <a:pt x="408432" y="229267"/>
                    </a:moveTo>
                    <a:lnTo>
                      <a:pt x="440912" y="268891"/>
                    </a:lnTo>
                    <a:lnTo>
                      <a:pt x="220504" y="269272"/>
                    </a:lnTo>
                    <a:lnTo>
                      <a:pt x="0" y="269653"/>
                    </a:lnTo>
                    <a:lnTo>
                      <a:pt x="34481" y="227362"/>
                    </a:lnTo>
                    <a:lnTo>
                      <a:pt x="34576" y="227362"/>
                    </a:lnTo>
                    <a:lnTo>
                      <a:pt x="220027" y="0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2DE60482-D4F3-D658-5486-3627D5A2BCCF}"/>
                  </a:ext>
                </a:extLst>
              </p:cNvPr>
              <p:cNvSpPr/>
              <p:nvPr/>
            </p:nvSpPr>
            <p:spPr>
              <a:xfrm>
                <a:off x="694588" y="2955969"/>
                <a:ext cx="213078" cy="33391"/>
              </a:xfrm>
              <a:custGeom>
                <a:avLst/>
                <a:gdLst>
                  <a:gd name="connsiteX0" fmla="*/ 29908 w 444912"/>
                  <a:gd name="connsiteY0" fmla="*/ 667 h 69722"/>
                  <a:gd name="connsiteX1" fmla="*/ 444913 w 444912"/>
                  <a:gd name="connsiteY1" fmla="*/ 0 h 69722"/>
                  <a:gd name="connsiteX2" fmla="*/ 410432 w 444912"/>
                  <a:gd name="connsiteY2" fmla="*/ 42291 h 69722"/>
                  <a:gd name="connsiteX3" fmla="*/ 352615 w 444912"/>
                  <a:gd name="connsiteY3" fmla="*/ 42386 h 69722"/>
                  <a:gd name="connsiteX4" fmla="*/ 352615 w 444912"/>
                  <a:gd name="connsiteY4" fmla="*/ 69056 h 69722"/>
                  <a:gd name="connsiteX5" fmla="*/ 119824 w 444912"/>
                  <a:gd name="connsiteY5" fmla="*/ 69532 h 69722"/>
                  <a:gd name="connsiteX6" fmla="*/ 190 w 444912"/>
                  <a:gd name="connsiteY6" fmla="*/ 69723 h 69722"/>
                  <a:gd name="connsiteX7" fmla="*/ 95 w 444912"/>
                  <a:gd name="connsiteY7" fmla="*/ 44196 h 69722"/>
                  <a:gd name="connsiteX8" fmla="*/ 0 w 444912"/>
                  <a:gd name="connsiteY8" fmla="*/ 762 h 69722"/>
                  <a:gd name="connsiteX9" fmla="*/ 29908 w 444912"/>
                  <a:gd name="connsiteY9" fmla="*/ 667 h 69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44912" h="69722">
                    <a:moveTo>
                      <a:pt x="29908" y="667"/>
                    </a:moveTo>
                    <a:lnTo>
                      <a:pt x="444913" y="0"/>
                    </a:lnTo>
                    <a:lnTo>
                      <a:pt x="410432" y="42291"/>
                    </a:lnTo>
                    <a:lnTo>
                      <a:pt x="352615" y="42386"/>
                    </a:lnTo>
                    <a:cubicBezTo>
                      <a:pt x="352615" y="48863"/>
                      <a:pt x="352615" y="58769"/>
                      <a:pt x="352615" y="69056"/>
                    </a:cubicBezTo>
                    <a:lnTo>
                      <a:pt x="119824" y="69532"/>
                    </a:lnTo>
                    <a:lnTo>
                      <a:pt x="190" y="69723"/>
                    </a:lnTo>
                    <a:lnTo>
                      <a:pt x="95" y="44196"/>
                    </a:lnTo>
                    <a:lnTo>
                      <a:pt x="0" y="762"/>
                    </a:lnTo>
                    <a:lnTo>
                      <a:pt x="29908" y="667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A98EF304-DC26-AC88-AAF1-3746965ACBC2}"/>
                  </a:ext>
                </a:extLst>
              </p:cNvPr>
              <p:cNvSpPr/>
              <p:nvPr/>
            </p:nvSpPr>
            <p:spPr>
              <a:xfrm>
                <a:off x="482194" y="2977135"/>
                <a:ext cx="269826" cy="29514"/>
              </a:xfrm>
              <a:custGeom>
                <a:avLst/>
                <a:gdLst>
                  <a:gd name="connsiteX0" fmla="*/ 563309 w 563403"/>
                  <a:gd name="connsiteY0" fmla="*/ 25336 h 61626"/>
                  <a:gd name="connsiteX1" fmla="*/ 563404 w 563403"/>
                  <a:gd name="connsiteY1" fmla="*/ 60579 h 61626"/>
                  <a:gd name="connsiteX2" fmla="*/ 555784 w 563403"/>
                  <a:gd name="connsiteY2" fmla="*/ 60579 h 61626"/>
                  <a:gd name="connsiteX3" fmla="*/ 42482 w 563403"/>
                  <a:gd name="connsiteY3" fmla="*/ 61531 h 61626"/>
                  <a:gd name="connsiteX4" fmla="*/ 95 w 563403"/>
                  <a:gd name="connsiteY4" fmla="*/ 61627 h 61626"/>
                  <a:gd name="connsiteX5" fmla="*/ 0 w 563403"/>
                  <a:gd name="connsiteY5" fmla="*/ 857 h 61626"/>
                  <a:gd name="connsiteX6" fmla="*/ 42386 w 563403"/>
                  <a:gd name="connsiteY6" fmla="*/ 762 h 61626"/>
                  <a:gd name="connsiteX7" fmla="*/ 443579 w 563403"/>
                  <a:gd name="connsiteY7" fmla="*/ 0 h 61626"/>
                  <a:gd name="connsiteX8" fmla="*/ 443675 w 563403"/>
                  <a:gd name="connsiteY8" fmla="*/ 25527 h 61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3403" h="61626">
                    <a:moveTo>
                      <a:pt x="563309" y="25336"/>
                    </a:moveTo>
                    <a:lnTo>
                      <a:pt x="563404" y="60579"/>
                    </a:lnTo>
                    <a:lnTo>
                      <a:pt x="555784" y="60579"/>
                    </a:lnTo>
                    <a:lnTo>
                      <a:pt x="42482" y="61531"/>
                    </a:lnTo>
                    <a:lnTo>
                      <a:pt x="95" y="61627"/>
                    </a:lnTo>
                    <a:lnTo>
                      <a:pt x="0" y="857"/>
                    </a:lnTo>
                    <a:lnTo>
                      <a:pt x="42386" y="762"/>
                    </a:lnTo>
                    <a:lnTo>
                      <a:pt x="443579" y="0"/>
                    </a:lnTo>
                    <a:lnTo>
                      <a:pt x="443675" y="25527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7FA8931E-93D9-C964-4ABE-7090419513AE}"/>
                  </a:ext>
                </a:extLst>
              </p:cNvPr>
              <p:cNvSpPr/>
              <p:nvPr/>
            </p:nvSpPr>
            <p:spPr>
              <a:xfrm>
                <a:off x="1139768" y="3166721"/>
                <a:ext cx="73581" cy="58664"/>
              </a:xfrm>
              <a:custGeom>
                <a:avLst/>
                <a:gdLst>
                  <a:gd name="connsiteX0" fmla="*/ 153448 w 153638"/>
                  <a:gd name="connsiteY0" fmla="*/ 0 h 122491"/>
                  <a:gd name="connsiteX1" fmla="*/ 153638 w 153638"/>
                  <a:gd name="connsiteY1" fmla="*/ 122206 h 122491"/>
                  <a:gd name="connsiteX2" fmla="*/ 109442 w 153638"/>
                  <a:gd name="connsiteY2" fmla="*/ 122301 h 122491"/>
                  <a:gd name="connsiteX3" fmla="*/ 109347 w 153638"/>
                  <a:gd name="connsiteY3" fmla="*/ 48197 h 122491"/>
                  <a:gd name="connsiteX4" fmla="*/ 44291 w 153638"/>
                  <a:gd name="connsiteY4" fmla="*/ 48292 h 122491"/>
                  <a:gd name="connsiteX5" fmla="*/ 44387 w 153638"/>
                  <a:gd name="connsiteY5" fmla="*/ 122396 h 122491"/>
                  <a:gd name="connsiteX6" fmla="*/ 191 w 153638"/>
                  <a:gd name="connsiteY6" fmla="*/ 122492 h 122491"/>
                  <a:gd name="connsiteX7" fmla="*/ 0 w 153638"/>
                  <a:gd name="connsiteY7" fmla="*/ 286 h 1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638" h="122491">
                    <a:moveTo>
                      <a:pt x="153448" y="0"/>
                    </a:moveTo>
                    <a:lnTo>
                      <a:pt x="153638" y="122206"/>
                    </a:lnTo>
                    <a:lnTo>
                      <a:pt x="109442" y="122301"/>
                    </a:lnTo>
                    <a:lnTo>
                      <a:pt x="109347" y="48197"/>
                    </a:lnTo>
                    <a:lnTo>
                      <a:pt x="44291" y="48292"/>
                    </a:lnTo>
                    <a:lnTo>
                      <a:pt x="44387" y="122396"/>
                    </a:lnTo>
                    <a:lnTo>
                      <a:pt x="191" y="122492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B2100291-83B0-0BB6-0FCD-AF70F7050B3C}"/>
                  </a:ext>
                </a:extLst>
              </p:cNvPr>
              <p:cNvSpPr/>
              <p:nvPr/>
            </p:nvSpPr>
            <p:spPr>
              <a:xfrm>
                <a:off x="1139494" y="3031374"/>
                <a:ext cx="73581" cy="58709"/>
              </a:xfrm>
              <a:custGeom>
                <a:avLst/>
                <a:gdLst>
                  <a:gd name="connsiteX0" fmla="*/ 153448 w 153638"/>
                  <a:gd name="connsiteY0" fmla="*/ 0 h 122586"/>
                  <a:gd name="connsiteX1" fmla="*/ 153638 w 153638"/>
                  <a:gd name="connsiteY1" fmla="*/ 122301 h 122586"/>
                  <a:gd name="connsiteX2" fmla="*/ 109538 w 153638"/>
                  <a:gd name="connsiteY2" fmla="*/ 122396 h 122586"/>
                  <a:gd name="connsiteX3" fmla="*/ 109347 w 153638"/>
                  <a:gd name="connsiteY3" fmla="*/ 48197 h 122586"/>
                  <a:gd name="connsiteX4" fmla="*/ 44291 w 153638"/>
                  <a:gd name="connsiteY4" fmla="*/ 48387 h 122586"/>
                  <a:gd name="connsiteX5" fmla="*/ 44482 w 153638"/>
                  <a:gd name="connsiteY5" fmla="*/ 122492 h 122586"/>
                  <a:gd name="connsiteX6" fmla="*/ 191 w 153638"/>
                  <a:gd name="connsiteY6" fmla="*/ 122587 h 122586"/>
                  <a:gd name="connsiteX7" fmla="*/ 0 w 153638"/>
                  <a:gd name="connsiteY7" fmla="*/ 286 h 12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638" h="122586">
                    <a:moveTo>
                      <a:pt x="153448" y="0"/>
                    </a:moveTo>
                    <a:lnTo>
                      <a:pt x="153638" y="122301"/>
                    </a:lnTo>
                    <a:lnTo>
                      <a:pt x="109538" y="122396"/>
                    </a:lnTo>
                    <a:lnTo>
                      <a:pt x="109347" y="48197"/>
                    </a:lnTo>
                    <a:lnTo>
                      <a:pt x="44291" y="48387"/>
                    </a:lnTo>
                    <a:lnTo>
                      <a:pt x="44482" y="122492"/>
                    </a:lnTo>
                    <a:lnTo>
                      <a:pt x="191" y="122587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BA9A0FB2-09A6-BCB0-FDDE-1A805210E0AA}"/>
                  </a:ext>
                </a:extLst>
              </p:cNvPr>
              <p:cNvSpPr/>
              <p:nvPr/>
            </p:nvSpPr>
            <p:spPr>
              <a:xfrm>
                <a:off x="780714" y="3032058"/>
                <a:ext cx="73581" cy="58664"/>
              </a:xfrm>
              <a:custGeom>
                <a:avLst/>
                <a:gdLst>
                  <a:gd name="connsiteX0" fmla="*/ 153448 w 153638"/>
                  <a:gd name="connsiteY0" fmla="*/ 0 h 122491"/>
                  <a:gd name="connsiteX1" fmla="*/ 153638 w 153638"/>
                  <a:gd name="connsiteY1" fmla="*/ 122206 h 122491"/>
                  <a:gd name="connsiteX2" fmla="*/ 109442 w 153638"/>
                  <a:gd name="connsiteY2" fmla="*/ 122301 h 122491"/>
                  <a:gd name="connsiteX3" fmla="*/ 109347 w 153638"/>
                  <a:gd name="connsiteY3" fmla="*/ 48196 h 122491"/>
                  <a:gd name="connsiteX4" fmla="*/ 44291 w 153638"/>
                  <a:gd name="connsiteY4" fmla="*/ 48292 h 122491"/>
                  <a:gd name="connsiteX5" fmla="*/ 44387 w 153638"/>
                  <a:gd name="connsiteY5" fmla="*/ 122396 h 122491"/>
                  <a:gd name="connsiteX6" fmla="*/ 191 w 153638"/>
                  <a:gd name="connsiteY6" fmla="*/ 122492 h 122491"/>
                  <a:gd name="connsiteX7" fmla="*/ 0 w 153638"/>
                  <a:gd name="connsiteY7" fmla="*/ 286 h 1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638" h="122491">
                    <a:moveTo>
                      <a:pt x="153448" y="0"/>
                    </a:moveTo>
                    <a:lnTo>
                      <a:pt x="153638" y="122206"/>
                    </a:lnTo>
                    <a:lnTo>
                      <a:pt x="109442" y="122301"/>
                    </a:lnTo>
                    <a:lnTo>
                      <a:pt x="109347" y="48196"/>
                    </a:lnTo>
                    <a:lnTo>
                      <a:pt x="44291" y="48292"/>
                    </a:lnTo>
                    <a:lnTo>
                      <a:pt x="44387" y="122396"/>
                    </a:lnTo>
                    <a:lnTo>
                      <a:pt x="191" y="122492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B6C1D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DC714E00-DE09-03C8-FFBC-694D205DD8A4}"/>
                  </a:ext>
                </a:extLst>
              </p:cNvPr>
              <p:cNvSpPr/>
              <p:nvPr/>
            </p:nvSpPr>
            <p:spPr>
              <a:xfrm>
                <a:off x="780942" y="3167359"/>
                <a:ext cx="73626" cy="94838"/>
              </a:xfrm>
              <a:custGeom>
                <a:avLst/>
                <a:gdLst>
                  <a:gd name="connsiteX0" fmla="*/ 153543 w 153733"/>
                  <a:gd name="connsiteY0" fmla="*/ 0 h 198024"/>
                  <a:gd name="connsiteX1" fmla="*/ 153734 w 153733"/>
                  <a:gd name="connsiteY1" fmla="*/ 122301 h 198024"/>
                  <a:gd name="connsiteX2" fmla="*/ 109538 w 153733"/>
                  <a:gd name="connsiteY2" fmla="*/ 122396 h 198024"/>
                  <a:gd name="connsiteX3" fmla="*/ 109347 w 153733"/>
                  <a:gd name="connsiteY3" fmla="*/ 48197 h 198024"/>
                  <a:gd name="connsiteX4" fmla="*/ 44291 w 153733"/>
                  <a:gd name="connsiteY4" fmla="*/ 48387 h 198024"/>
                  <a:gd name="connsiteX5" fmla="*/ 44482 w 153733"/>
                  <a:gd name="connsiteY5" fmla="*/ 122492 h 198024"/>
                  <a:gd name="connsiteX6" fmla="*/ 286 w 153733"/>
                  <a:gd name="connsiteY6" fmla="*/ 122587 h 198024"/>
                  <a:gd name="connsiteX7" fmla="*/ 381 w 153733"/>
                  <a:gd name="connsiteY7" fmla="*/ 198025 h 198024"/>
                  <a:gd name="connsiteX8" fmla="*/ 0 w 153733"/>
                  <a:gd name="connsiteY8" fmla="*/ 286 h 198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3733" h="198024">
                    <a:moveTo>
                      <a:pt x="153543" y="0"/>
                    </a:moveTo>
                    <a:lnTo>
                      <a:pt x="153734" y="122301"/>
                    </a:lnTo>
                    <a:lnTo>
                      <a:pt x="109538" y="122396"/>
                    </a:lnTo>
                    <a:lnTo>
                      <a:pt x="109347" y="48197"/>
                    </a:lnTo>
                    <a:lnTo>
                      <a:pt x="44291" y="48387"/>
                    </a:lnTo>
                    <a:lnTo>
                      <a:pt x="44482" y="122492"/>
                    </a:lnTo>
                    <a:lnTo>
                      <a:pt x="286" y="122587"/>
                    </a:lnTo>
                    <a:lnTo>
                      <a:pt x="381" y="198025"/>
                    </a:lnTo>
                    <a:lnTo>
                      <a:pt x="0" y="286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C7EC04F7-F9C8-A6C6-71AE-7FD56638E9F1}"/>
                  </a:ext>
                </a:extLst>
              </p:cNvPr>
              <p:cNvSpPr/>
              <p:nvPr/>
            </p:nvSpPr>
            <p:spPr>
              <a:xfrm>
                <a:off x="944480" y="3255492"/>
                <a:ext cx="105604" cy="24086"/>
              </a:xfrm>
              <a:custGeom>
                <a:avLst/>
                <a:gdLst>
                  <a:gd name="connsiteX0" fmla="*/ 220409 w 220503"/>
                  <a:gd name="connsiteY0" fmla="*/ 0 h 50292"/>
                  <a:gd name="connsiteX1" fmla="*/ 220504 w 220503"/>
                  <a:gd name="connsiteY1" fmla="*/ 49911 h 50292"/>
                  <a:gd name="connsiteX2" fmla="*/ 95 w 220503"/>
                  <a:gd name="connsiteY2" fmla="*/ 50292 h 50292"/>
                  <a:gd name="connsiteX3" fmla="*/ 0 w 220503"/>
                  <a:gd name="connsiteY3" fmla="*/ 476 h 50292"/>
                  <a:gd name="connsiteX4" fmla="*/ 220409 w 220503"/>
                  <a:gd name="connsiteY4" fmla="*/ 0 h 50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503" h="50292">
                    <a:moveTo>
                      <a:pt x="220409" y="0"/>
                    </a:moveTo>
                    <a:cubicBezTo>
                      <a:pt x="220409" y="17907"/>
                      <a:pt x="220504" y="34671"/>
                      <a:pt x="220504" y="49911"/>
                    </a:cubicBezTo>
                    <a:lnTo>
                      <a:pt x="95" y="50292"/>
                    </a:lnTo>
                    <a:cubicBezTo>
                      <a:pt x="95" y="35052"/>
                      <a:pt x="0" y="18288"/>
                      <a:pt x="0" y="476"/>
                    </a:cubicBezTo>
                    <a:lnTo>
                      <a:pt x="220409" y="0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6B3C9BCF-E0AE-E475-3928-E81828B16E4F}"/>
                  </a:ext>
                </a:extLst>
              </p:cNvPr>
              <p:cNvSpPr/>
              <p:nvPr/>
            </p:nvSpPr>
            <p:spPr>
              <a:xfrm>
                <a:off x="863464" y="2975767"/>
                <a:ext cx="266633" cy="30746"/>
              </a:xfrm>
              <a:custGeom>
                <a:avLst/>
                <a:gdLst>
                  <a:gd name="connsiteX0" fmla="*/ 556641 w 556736"/>
                  <a:gd name="connsiteY0" fmla="*/ 26670 h 64198"/>
                  <a:gd name="connsiteX1" fmla="*/ 556736 w 556736"/>
                  <a:gd name="connsiteY1" fmla="*/ 63151 h 64198"/>
                  <a:gd name="connsiteX2" fmla="*/ 516446 w 556736"/>
                  <a:gd name="connsiteY2" fmla="*/ 63246 h 64198"/>
                  <a:gd name="connsiteX3" fmla="*/ 439674 w 556736"/>
                  <a:gd name="connsiteY3" fmla="*/ 63341 h 64198"/>
                  <a:gd name="connsiteX4" fmla="*/ 117158 w 556736"/>
                  <a:gd name="connsiteY4" fmla="*/ 63913 h 64198"/>
                  <a:gd name="connsiteX5" fmla="*/ 40386 w 556736"/>
                  <a:gd name="connsiteY5" fmla="*/ 64103 h 64198"/>
                  <a:gd name="connsiteX6" fmla="*/ 95 w 556736"/>
                  <a:gd name="connsiteY6" fmla="*/ 64198 h 64198"/>
                  <a:gd name="connsiteX7" fmla="*/ 0 w 556736"/>
                  <a:gd name="connsiteY7" fmla="*/ 27718 h 64198"/>
                  <a:gd name="connsiteX8" fmla="*/ 0 w 556736"/>
                  <a:gd name="connsiteY8" fmla="*/ 1048 h 64198"/>
                  <a:gd name="connsiteX9" fmla="*/ 57817 w 556736"/>
                  <a:gd name="connsiteY9" fmla="*/ 952 h 64198"/>
                  <a:gd name="connsiteX10" fmla="*/ 278321 w 556736"/>
                  <a:gd name="connsiteY10" fmla="*/ 572 h 64198"/>
                  <a:gd name="connsiteX11" fmla="*/ 498729 w 556736"/>
                  <a:gd name="connsiteY11" fmla="*/ 191 h 64198"/>
                  <a:gd name="connsiteX12" fmla="*/ 556641 w 556736"/>
                  <a:gd name="connsiteY12" fmla="*/ 0 h 64198"/>
                  <a:gd name="connsiteX13" fmla="*/ 556641 w 556736"/>
                  <a:gd name="connsiteY13" fmla="*/ 26670 h 6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56736" h="64198">
                    <a:moveTo>
                      <a:pt x="556641" y="26670"/>
                    </a:moveTo>
                    <a:lnTo>
                      <a:pt x="556736" y="63151"/>
                    </a:lnTo>
                    <a:lnTo>
                      <a:pt x="516446" y="63246"/>
                    </a:lnTo>
                    <a:lnTo>
                      <a:pt x="439674" y="63341"/>
                    </a:lnTo>
                    <a:cubicBezTo>
                      <a:pt x="359283" y="63437"/>
                      <a:pt x="197548" y="63818"/>
                      <a:pt x="117158" y="63913"/>
                    </a:cubicBezTo>
                    <a:lnTo>
                      <a:pt x="40386" y="64103"/>
                    </a:lnTo>
                    <a:lnTo>
                      <a:pt x="95" y="64198"/>
                    </a:lnTo>
                    <a:cubicBezTo>
                      <a:pt x="0" y="55531"/>
                      <a:pt x="0" y="41243"/>
                      <a:pt x="0" y="27718"/>
                    </a:cubicBezTo>
                    <a:cubicBezTo>
                      <a:pt x="0" y="17431"/>
                      <a:pt x="0" y="7525"/>
                      <a:pt x="0" y="1048"/>
                    </a:cubicBezTo>
                    <a:lnTo>
                      <a:pt x="57817" y="952"/>
                    </a:lnTo>
                    <a:lnTo>
                      <a:pt x="278321" y="572"/>
                    </a:lnTo>
                    <a:lnTo>
                      <a:pt x="498729" y="191"/>
                    </a:lnTo>
                    <a:lnTo>
                      <a:pt x="556641" y="0"/>
                    </a:lnTo>
                    <a:lnTo>
                      <a:pt x="556641" y="26670"/>
                    </a:lnTo>
                    <a:close/>
                  </a:path>
                </a:pathLst>
              </a:custGeom>
              <a:solidFill>
                <a:srgbClr val="FBCCD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1EE234C4-2158-29B7-C775-3AD9D5DC1B4C}"/>
                  </a:ext>
                </a:extLst>
              </p:cNvPr>
              <p:cNvSpPr/>
              <p:nvPr/>
            </p:nvSpPr>
            <p:spPr>
              <a:xfrm>
                <a:off x="944115" y="3062850"/>
                <a:ext cx="105878" cy="168967"/>
              </a:xfrm>
              <a:custGeom>
                <a:avLst/>
                <a:gdLst>
                  <a:gd name="connsiteX0" fmla="*/ 220504 w 221075"/>
                  <a:gd name="connsiteY0" fmla="*/ 0 h 352806"/>
                  <a:gd name="connsiteX1" fmla="*/ 221075 w 221075"/>
                  <a:gd name="connsiteY1" fmla="*/ 352425 h 352806"/>
                  <a:gd name="connsiteX2" fmla="*/ 667 w 221075"/>
                  <a:gd name="connsiteY2" fmla="*/ 352806 h 352806"/>
                  <a:gd name="connsiteX3" fmla="*/ 0 w 221075"/>
                  <a:gd name="connsiteY3" fmla="*/ 381 h 352806"/>
                  <a:gd name="connsiteX4" fmla="*/ 220504 w 221075"/>
                  <a:gd name="connsiteY4" fmla="*/ 0 h 352806"/>
                  <a:gd name="connsiteX5" fmla="*/ 176117 w 221075"/>
                  <a:gd name="connsiteY5" fmla="*/ 306229 h 352806"/>
                  <a:gd name="connsiteX6" fmla="*/ 175927 w 221075"/>
                  <a:gd name="connsiteY6" fmla="*/ 217551 h 352806"/>
                  <a:gd name="connsiteX7" fmla="*/ 45339 w 221075"/>
                  <a:gd name="connsiteY7" fmla="*/ 217837 h 352806"/>
                  <a:gd name="connsiteX8" fmla="*/ 45529 w 221075"/>
                  <a:gd name="connsiteY8" fmla="*/ 306419 h 352806"/>
                  <a:gd name="connsiteX9" fmla="*/ 176117 w 221075"/>
                  <a:gd name="connsiteY9" fmla="*/ 306229 h 352806"/>
                  <a:gd name="connsiteX10" fmla="*/ 175831 w 221075"/>
                  <a:gd name="connsiteY10" fmla="*/ 145352 h 352806"/>
                  <a:gd name="connsiteX11" fmla="*/ 175641 w 221075"/>
                  <a:gd name="connsiteY11" fmla="*/ 56674 h 352806"/>
                  <a:gd name="connsiteX12" fmla="*/ 45053 w 221075"/>
                  <a:gd name="connsiteY12" fmla="*/ 56959 h 352806"/>
                  <a:gd name="connsiteX13" fmla="*/ 45244 w 221075"/>
                  <a:gd name="connsiteY13" fmla="*/ 145542 h 352806"/>
                  <a:gd name="connsiteX14" fmla="*/ 175831 w 221075"/>
                  <a:gd name="connsiteY14" fmla="*/ 145352 h 352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1075" h="352806">
                    <a:moveTo>
                      <a:pt x="220504" y="0"/>
                    </a:moveTo>
                    <a:cubicBezTo>
                      <a:pt x="220599" y="71342"/>
                      <a:pt x="220885" y="226886"/>
                      <a:pt x="221075" y="352425"/>
                    </a:cubicBezTo>
                    <a:cubicBezTo>
                      <a:pt x="166116" y="352520"/>
                      <a:pt x="55626" y="352711"/>
                      <a:pt x="667" y="352806"/>
                    </a:cubicBezTo>
                    <a:cubicBezTo>
                      <a:pt x="381" y="227362"/>
                      <a:pt x="95" y="72009"/>
                      <a:pt x="0" y="381"/>
                    </a:cubicBezTo>
                    <a:cubicBezTo>
                      <a:pt x="54959" y="286"/>
                      <a:pt x="165545" y="95"/>
                      <a:pt x="220504" y="0"/>
                    </a:cubicBezTo>
                    <a:close/>
                    <a:moveTo>
                      <a:pt x="176117" y="306229"/>
                    </a:moveTo>
                    <a:lnTo>
                      <a:pt x="175927" y="217551"/>
                    </a:lnTo>
                    <a:lnTo>
                      <a:pt x="45339" y="217837"/>
                    </a:lnTo>
                    <a:lnTo>
                      <a:pt x="45529" y="306419"/>
                    </a:lnTo>
                    <a:lnTo>
                      <a:pt x="176117" y="306229"/>
                    </a:lnTo>
                    <a:close/>
                    <a:moveTo>
                      <a:pt x="175831" y="145352"/>
                    </a:moveTo>
                    <a:lnTo>
                      <a:pt x="175641" y="56674"/>
                    </a:lnTo>
                    <a:lnTo>
                      <a:pt x="45053" y="56959"/>
                    </a:lnTo>
                    <a:lnTo>
                      <a:pt x="45244" y="145542"/>
                    </a:lnTo>
                    <a:lnTo>
                      <a:pt x="175831" y="145352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108F8ACD-E075-7D78-968D-91689B1E4F5C}"/>
                  </a:ext>
                </a:extLst>
              </p:cNvPr>
              <p:cNvSpPr/>
              <p:nvPr/>
            </p:nvSpPr>
            <p:spPr>
              <a:xfrm rot="21593666">
                <a:off x="883080" y="3006422"/>
                <a:ext cx="36767" cy="297106"/>
              </a:xfrm>
              <a:custGeom>
                <a:avLst/>
                <a:gdLst>
                  <a:gd name="connsiteX0" fmla="*/ 0 w 76771"/>
                  <a:gd name="connsiteY0" fmla="*/ 0 h 620364"/>
                  <a:gd name="connsiteX1" fmla="*/ 76772 w 76771"/>
                  <a:gd name="connsiteY1" fmla="*/ 0 h 620364"/>
                  <a:gd name="connsiteX2" fmla="*/ 76772 w 76771"/>
                  <a:gd name="connsiteY2" fmla="*/ 620364 h 620364"/>
                  <a:gd name="connsiteX3" fmla="*/ 0 w 76771"/>
                  <a:gd name="connsiteY3" fmla="*/ 620364 h 620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771" h="620364">
                    <a:moveTo>
                      <a:pt x="0" y="0"/>
                    </a:moveTo>
                    <a:lnTo>
                      <a:pt x="76772" y="0"/>
                    </a:lnTo>
                    <a:lnTo>
                      <a:pt x="76772" y="620364"/>
                    </a:lnTo>
                    <a:lnTo>
                      <a:pt x="0" y="620364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79" name="Freeform: Shape 278">
                <a:extLst>
                  <a:ext uri="{FF2B5EF4-FFF2-40B4-BE49-F238E27FC236}">
                    <a16:creationId xmlns:a16="http://schemas.microsoft.com/office/drawing/2014/main" id="{2F3BA9CC-AD8D-6AE8-2A81-A15ADAE5A5DC}"/>
                  </a:ext>
                </a:extLst>
              </p:cNvPr>
              <p:cNvSpPr/>
              <p:nvPr/>
            </p:nvSpPr>
            <p:spPr>
              <a:xfrm>
                <a:off x="1074033" y="3006056"/>
                <a:ext cx="37315" cy="297151"/>
              </a:xfrm>
              <a:custGeom>
                <a:avLst/>
                <a:gdLst>
                  <a:gd name="connsiteX0" fmla="*/ 76772 w 77914"/>
                  <a:gd name="connsiteY0" fmla="*/ 0 h 620458"/>
                  <a:gd name="connsiteX1" fmla="*/ 77915 w 77914"/>
                  <a:gd name="connsiteY1" fmla="*/ 620268 h 620458"/>
                  <a:gd name="connsiteX2" fmla="*/ 1143 w 77914"/>
                  <a:gd name="connsiteY2" fmla="*/ 620459 h 620458"/>
                  <a:gd name="connsiteX3" fmla="*/ 0 w 77914"/>
                  <a:gd name="connsiteY3" fmla="*/ 95 h 62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914" h="620458">
                    <a:moveTo>
                      <a:pt x="76772" y="0"/>
                    </a:moveTo>
                    <a:lnTo>
                      <a:pt x="77915" y="620268"/>
                    </a:lnTo>
                    <a:lnTo>
                      <a:pt x="1143" y="620459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id="{35C45182-801F-2859-4A64-105DA7337460}"/>
                  </a:ext>
                </a:extLst>
              </p:cNvPr>
              <p:cNvSpPr/>
              <p:nvPr/>
            </p:nvSpPr>
            <p:spPr>
              <a:xfrm>
                <a:off x="1241631" y="3004780"/>
                <a:ext cx="249846" cy="235705"/>
              </a:xfrm>
              <a:custGeom>
                <a:avLst/>
                <a:gdLst>
                  <a:gd name="connsiteX0" fmla="*/ 520827 w 521684"/>
                  <a:gd name="connsiteY0" fmla="*/ 1143 h 492156"/>
                  <a:gd name="connsiteX1" fmla="*/ 521684 w 521684"/>
                  <a:gd name="connsiteY1" fmla="*/ 491204 h 492156"/>
                  <a:gd name="connsiteX2" fmla="*/ 857 w 521684"/>
                  <a:gd name="connsiteY2" fmla="*/ 492157 h 492156"/>
                  <a:gd name="connsiteX3" fmla="*/ 0 w 521684"/>
                  <a:gd name="connsiteY3" fmla="*/ 952 h 492156"/>
                  <a:gd name="connsiteX4" fmla="*/ 7525 w 521684"/>
                  <a:gd name="connsiteY4" fmla="*/ 952 h 492156"/>
                  <a:gd name="connsiteX5" fmla="*/ 520827 w 521684"/>
                  <a:gd name="connsiteY5" fmla="*/ 0 h 492156"/>
                  <a:gd name="connsiteX6" fmla="*/ 520827 w 521684"/>
                  <a:gd name="connsiteY6" fmla="*/ 1143 h 492156"/>
                  <a:gd name="connsiteX7" fmla="*/ 451675 w 521684"/>
                  <a:gd name="connsiteY7" fmla="*/ 297656 h 492156"/>
                  <a:gd name="connsiteX8" fmla="*/ 451485 w 521684"/>
                  <a:gd name="connsiteY8" fmla="*/ 231172 h 492156"/>
                  <a:gd name="connsiteX9" fmla="*/ 451295 w 521684"/>
                  <a:gd name="connsiteY9" fmla="*/ 123539 h 492156"/>
                  <a:gd name="connsiteX10" fmla="*/ 316135 w 521684"/>
                  <a:gd name="connsiteY10" fmla="*/ 123730 h 492156"/>
                  <a:gd name="connsiteX11" fmla="*/ 316325 w 521684"/>
                  <a:gd name="connsiteY11" fmla="*/ 231458 h 492156"/>
                  <a:gd name="connsiteX12" fmla="*/ 316421 w 521684"/>
                  <a:gd name="connsiteY12" fmla="*/ 297942 h 492156"/>
                  <a:gd name="connsiteX13" fmla="*/ 451675 w 521684"/>
                  <a:gd name="connsiteY13" fmla="*/ 297656 h 492156"/>
                  <a:gd name="connsiteX14" fmla="*/ 245554 w 521684"/>
                  <a:gd name="connsiteY14" fmla="*/ 298037 h 492156"/>
                  <a:gd name="connsiteX15" fmla="*/ 245459 w 521684"/>
                  <a:gd name="connsiteY15" fmla="*/ 231553 h 492156"/>
                  <a:gd name="connsiteX16" fmla="*/ 245269 w 521684"/>
                  <a:gd name="connsiteY16" fmla="*/ 123920 h 492156"/>
                  <a:gd name="connsiteX17" fmla="*/ 110014 w 521684"/>
                  <a:gd name="connsiteY17" fmla="*/ 124111 h 492156"/>
                  <a:gd name="connsiteX18" fmla="*/ 110204 w 521684"/>
                  <a:gd name="connsiteY18" fmla="*/ 231839 h 492156"/>
                  <a:gd name="connsiteX19" fmla="*/ 110300 w 521684"/>
                  <a:gd name="connsiteY19" fmla="*/ 298323 h 492156"/>
                  <a:gd name="connsiteX20" fmla="*/ 245554 w 521684"/>
                  <a:gd name="connsiteY20" fmla="*/ 298037 h 492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21684" h="492156">
                    <a:moveTo>
                      <a:pt x="520827" y="1143"/>
                    </a:moveTo>
                    <a:lnTo>
                      <a:pt x="521684" y="491204"/>
                    </a:lnTo>
                    <a:lnTo>
                      <a:pt x="857" y="492157"/>
                    </a:lnTo>
                    <a:lnTo>
                      <a:pt x="0" y="952"/>
                    </a:lnTo>
                    <a:lnTo>
                      <a:pt x="7525" y="952"/>
                    </a:lnTo>
                    <a:lnTo>
                      <a:pt x="520827" y="0"/>
                    </a:lnTo>
                    <a:lnTo>
                      <a:pt x="520827" y="1143"/>
                    </a:lnTo>
                    <a:close/>
                    <a:moveTo>
                      <a:pt x="451675" y="297656"/>
                    </a:moveTo>
                    <a:lnTo>
                      <a:pt x="451485" y="231172"/>
                    </a:lnTo>
                    <a:lnTo>
                      <a:pt x="451295" y="123539"/>
                    </a:lnTo>
                    <a:lnTo>
                      <a:pt x="316135" y="123730"/>
                    </a:lnTo>
                    <a:lnTo>
                      <a:pt x="316325" y="231458"/>
                    </a:lnTo>
                    <a:lnTo>
                      <a:pt x="316421" y="297942"/>
                    </a:lnTo>
                    <a:lnTo>
                      <a:pt x="451675" y="297656"/>
                    </a:lnTo>
                    <a:close/>
                    <a:moveTo>
                      <a:pt x="245554" y="298037"/>
                    </a:moveTo>
                    <a:lnTo>
                      <a:pt x="245459" y="231553"/>
                    </a:lnTo>
                    <a:lnTo>
                      <a:pt x="245269" y="123920"/>
                    </a:lnTo>
                    <a:lnTo>
                      <a:pt x="110014" y="124111"/>
                    </a:lnTo>
                    <a:lnTo>
                      <a:pt x="110204" y="231839"/>
                    </a:lnTo>
                    <a:lnTo>
                      <a:pt x="110300" y="298323"/>
                    </a:lnTo>
                    <a:lnTo>
                      <a:pt x="245554" y="298037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id="{87CEB7DD-729C-7569-A759-8EC7498CBAD6}"/>
                  </a:ext>
                </a:extLst>
              </p:cNvPr>
              <p:cNvSpPr/>
              <p:nvPr/>
            </p:nvSpPr>
            <p:spPr>
              <a:xfrm>
                <a:off x="502540" y="3006148"/>
                <a:ext cx="249891" cy="235705"/>
              </a:xfrm>
              <a:custGeom>
                <a:avLst/>
                <a:gdLst>
                  <a:gd name="connsiteX0" fmla="*/ 520922 w 521779"/>
                  <a:gd name="connsiteY0" fmla="*/ 0 h 492156"/>
                  <a:gd name="connsiteX1" fmla="*/ 521779 w 521779"/>
                  <a:gd name="connsiteY1" fmla="*/ 491204 h 492156"/>
                  <a:gd name="connsiteX2" fmla="*/ 952 w 521779"/>
                  <a:gd name="connsiteY2" fmla="*/ 492157 h 492156"/>
                  <a:gd name="connsiteX3" fmla="*/ 857 w 521779"/>
                  <a:gd name="connsiteY3" fmla="*/ 492157 h 492156"/>
                  <a:gd name="connsiteX4" fmla="*/ 0 w 521779"/>
                  <a:gd name="connsiteY4" fmla="*/ 2096 h 492156"/>
                  <a:gd name="connsiteX5" fmla="*/ 0 w 521779"/>
                  <a:gd name="connsiteY5" fmla="*/ 952 h 492156"/>
                  <a:gd name="connsiteX6" fmla="*/ 513302 w 521779"/>
                  <a:gd name="connsiteY6" fmla="*/ 0 h 492156"/>
                  <a:gd name="connsiteX7" fmla="*/ 520922 w 521779"/>
                  <a:gd name="connsiteY7" fmla="*/ 0 h 492156"/>
                  <a:gd name="connsiteX8" fmla="*/ 411575 w 521779"/>
                  <a:gd name="connsiteY8" fmla="*/ 297752 h 492156"/>
                  <a:gd name="connsiteX9" fmla="*/ 411480 w 521779"/>
                  <a:gd name="connsiteY9" fmla="*/ 231267 h 492156"/>
                  <a:gd name="connsiteX10" fmla="*/ 411290 w 521779"/>
                  <a:gd name="connsiteY10" fmla="*/ 123539 h 492156"/>
                  <a:gd name="connsiteX11" fmla="*/ 276035 w 521779"/>
                  <a:gd name="connsiteY11" fmla="*/ 123825 h 492156"/>
                  <a:gd name="connsiteX12" fmla="*/ 276225 w 521779"/>
                  <a:gd name="connsiteY12" fmla="*/ 231553 h 492156"/>
                  <a:gd name="connsiteX13" fmla="*/ 276416 w 521779"/>
                  <a:gd name="connsiteY13" fmla="*/ 297942 h 492156"/>
                  <a:gd name="connsiteX14" fmla="*/ 411575 w 521779"/>
                  <a:gd name="connsiteY14" fmla="*/ 297752 h 492156"/>
                  <a:gd name="connsiteX15" fmla="*/ 205550 w 521779"/>
                  <a:gd name="connsiteY15" fmla="*/ 298133 h 492156"/>
                  <a:gd name="connsiteX16" fmla="*/ 205359 w 521779"/>
                  <a:gd name="connsiteY16" fmla="*/ 231648 h 492156"/>
                  <a:gd name="connsiteX17" fmla="*/ 205169 w 521779"/>
                  <a:gd name="connsiteY17" fmla="*/ 123920 h 492156"/>
                  <a:gd name="connsiteX18" fmla="*/ 70009 w 521779"/>
                  <a:gd name="connsiteY18" fmla="*/ 124206 h 492156"/>
                  <a:gd name="connsiteX19" fmla="*/ 70199 w 521779"/>
                  <a:gd name="connsiteY19" fmla="*/ 231934 h 492156"/>
                  <a:gd name="connsiteX20" fmla="*/ 70295 w 521779"/>
                  <a:gd name="connsiteY20" fmla="*/ 298323 h 492156"/>
                  <a:gd name="connsiteX21" fmla="*/ 205550 w 521779"/>
                  <a:gd name="connsiteY21" fmla="*/ 298133 h 492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21779" h="492156">
                    <a:moveTo>
                      <a:pt x="520922" y="0"/>
                    </a:moveTo>
                    <a:lnTo>
                      <a:pt x="521779" y="491204"/>
                    </a:lnTo>
                    <a:lnTo>
                      <a:pt x="952" y="492157"/>
                    </a:lnTo>
                    <a:lnTo>
                      <a:pt x="857" y="492157"/>
                    </a:lnTo>
                    <a:lnTo>
                      <a:pt x="0" y="2096"/>
                    </a:lnTo>
                    <a:lnTo>
                      <a:pt x="0" y="952"/>
                    </a:lnTo>
                    <a:lnTo>
                      <a:pt x="513302" y="0"/>
                    </a:lnTo>
                    <a:lnTo>
                      <a:pt x="520922" y="0"/>
                    </a:lnTo>
                    <a:close/>
                    <a:moveTo>
                      <a:pt x="411575" y="297752"/>
                    </a:moveTo>
                    <a:lnTo>
                      <a:pt x="411480" y="231267"/>
                    </a:lnTo>
                    <a:lnTo>
                      <a:pt x="411290" y="123539"/>
                    </a:lnTo>
                    <a:lnTo>
                      <a:pt x="276035" y="123825"/>
                    </a:lnTo>
                    <a:lnTo>
                      <a:pt x="276225" y="231553"/>
                    </a:lnTo>
                    <a:lnTo>
                      <a:pt x="276416" y="297942"/>
                    </a:lnTo>
                    <a:lnTo>
                      <a:pt x="411575" y="297752"/>
                    </a:lnTo>
                    <a:close/>
                    <a:moveTo>
                      <a:pt x="205550" y="298133"/>
                    </a:moveTo>
                    <a:lnTo>
                      <a:pt x="205359" y="231648"/>
                    </a:lnTo>
                    <a:lnTo>
                      <a:pt x="205169" y="123920"/>
                    </a:lnTo>
                    <a:lnTo>
                      <a:pt x="70009" y="124206"/>
                    </a:lnTo>
                    <a:lnTo>
                      <a:pt x="70199" y="231934"/>
                    </a:lnTo>
                    <a:lnTo>
                      <a:pt x="70295" y="298323"/>
                    </a:lnTo>
                    <a:lnTo>
                      <a:pt x="205550" y="298133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2" name="Freeform: Shape 281">
                <a:extLst>
                  <a:ext uri="{FF2B5EF4-FFF2-40B4-BE49-F238E27FC236}">
                    <a16:creationId xmlns:a16="http://schemas.microsoft.com/office/drawing/2014/main" id="{7D3C4918-1CB3-1302-CECB-EBFBEA5AB784}"/>
                  </a:ext>
                </a:extLst>
              </p:cNvPr>
              <p:cNvSpPr/>
              <p:nvPr/>
            </p:nvSpPr>
            <p:spPr>
              <a:xfrm>
                <a:off x="502950" y="3241397"/>
                <a:ext cx="249618" cy="62861"/>
              </a:xfrm>
              <a:custGeom>
                <a:avLst/>
                <a:gdLst>
                  <a:gd name="connsiteX0" fmla="*/ 520922 w 521208"/>
                  <a:gd name="connsiteY0" fmla="*/ 0 h 131254"/>
                  <a:gd name="connsiteX1" fmla="*/ 521208 w 521208"/>
                  <a:gd name="connsiteY1" fmla="*/ 130302 h 131254"/>
                  <a:gd name="connsiteX2" fmla="*/ 286 w 521208"/>
                  <a:gd name="connsiteY2" fmla="*/ 131254 h 131254"/>
                  <a:gd name="connsiteX3" fmla="*/ 0 w 521208"/>
                  <a:gd name="connsiteY3" fmla="*/ 952 h 131254"/>
                  <a:gd name="connsiteX4" fmla="*/ 95 w 521208"/>
                  <a:gd name="connsiteY4" fmla="*/ 952 h 131254"/>
                  <a:gd name="connsiteX5" fmla="*/ 520922 w 521208"/>
                  <a:gd name="connsiteY5" fmla="*/ 0 h 131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1208" h="131254">
                    <a:moveTo>
                      <a:pt x="520922" y="0"/>
                    </a:moveTo>
                    <a:lnTo>
                      <a:pt x="521208" y="130302"/>
                    </a:lnTo>
                    <a:cubicBezTo>
                      <a:pt x="343948" y="130683"/>
                      <a:pt x="142208" y="131064"/>
                      <a:pt x="286" y="131254"/>
                    </a:cubicBezTo>
                    <a:lnTo>
                      <a:pt x="0" y="952"/>
                    </a:lnTo>
                    <a:lnTo>
                      <a:pt x="95" y="952"/>
                    </a:lnTo>
                    <a:lnTo>
                      <a:pt x="520922" y="0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B3206BA5-D951-D0D1-BFA5-3EA148C54C4C}"/>
                  </a:ext>
                </a:extLst>
              </p:cNvPr>
              <p:cNvSpPr/>
              <p:nvPr/>
            </p:nvSpPr>
            <p:spPr>
              <a:xfrm rot="21592461">
                <a:off x="1242089" y="3240257"/>
                <a:ext cx="249436" cy="62405"/>
              </a:xfrm>
              <a:custGeom>
                <a:avLst/>
                <a:gdLst>
                  <a:gd name="connsiteX0" fmla="*/ 0 w 520828"/>
                  <a:gd name="connsiteY0" fmla="*/ 0 h 130302"/>
                  <a:gd name="connsiteX1" fmla="*/ 520828 w 520828"/>
                  <a:gd name="connsiteY1" fmla="*/ 0 h 130302"/>
                  <a:gd name="connsiteX2" fmla="*/ 520828 w 520828"/>
                  <a:gd name="connsiteY2" fmla="*/ 130302 h 130302"/>
                  <a:gd name="connsiteX3" fmla="*/ 0 w 520828"/>
                  <a:gd name="connsiteY3" fmla="*/ 130302 h 130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0828" h="130302">
                    <a:moveTo>
                      <a:pt x="0" y="0"/>
                    </a:moveTo>
                    <a:lnTo>
                      <a:pt x="520828" y="0"/>
                    </a:lnTo>
                    <a:lnTo>
                      <a:pt x="520828" y="130302"/>
                    </a:lnTo>
                    <a:lnTo>
                      <a:pt x="0" y="130302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4" name="Freeform: Shape 283">
                <a:extLst>
                  <a:ext uri="{FF2B5EF4-FFF2-40B4-BE49-F238E27FC236}">
                    <a16:creationId xmlns:a16="http://schemas.microsoft.com/office/drawing/2014/main" id="{DF340203-0991-94A3-CD40-B86420931A44}"/>
                  </a:ext>
                </a:extLst>
              </p:cNvPr>
              <p:cNvSpPr/>
              <p:nvPr/>
            </p:nvSpPr>
            <p:spPr>
              <a:xfrm>
                <a:off x="708912" y="2777240"/>
                <a:ext cx="575599" cy="179641"/>
              </a:xfrm>
              <a:custGeom>
                <a:avLst/>
                <a:gdLst>
                  <a:gd name="connsiteX0" fmla="*/ 1201864 w 1201864"/>
                  <a:gd name="connsiteY0" fmla="*/ 371666 h 375094"/>
                  <a:gd name="connsiteX1" fmla="*/ 1201864 w 1201864"/>
                  <a:gd name="connsiteY1" fmla="*/ 371666 h 375094"/>
                  <a:gd name="connsiteX2" fmla="*/ 792194 w 1201864"/>
                  <a:gd name="connsiteY2" fmla="*/ 372428 h 375094"/>
                  <a:gd name="connsiteX3" fmla="*/ 788956 w 1201864"/>
                  <a:gd name="connsiteY3" fmla="*/ 375095 h 375094"/>
                  <a:gd name="connsiteX4" fmla="*/ 600551 w 1201864"/>
                  <a:gd name="connsiteY4" fmla="*/ 145828 h 375094"/>
                  <a:gd name="connsiteX5" fmla="*/ 415100 w 1201864"/>
                  <a:gd name="connsiteY5" fmla="*/ 373190 h 375094"/>
                  <a:gd name="connsiteX6" fmla="*/ 415004 w 1201864"/>
                  <a:gd name="connsiteY6" fmla="*/ 373190 h 375094"/>
                  <a:gd name="connsiteX7" fmla="*/ 0 w 1201864"/>
                  <a:gd name="connsiteY7" fmla="*/ 373856 h 375094"/>
                  <a:gd name="connsiteX8" fmla="*/ 84011 w 1201864"/>
                  <a:gd name="connsiteY8" fmla="*/ 134588 h 375094"/>
                  <a:gd name="connsiteX9" fmla="*/ 130683 w 1201864"/>
                  <a:gd name="connsiteY9" fmla="*/ 1714 h 375094"/>
                  <a:gd name="connsiteX10" fmla="*/ 1069753 w 1201864"/>
                  <a:gd name="connsiteY10" fmla="*/ 0 h 375094"/>
                  <a:gd name="connsiteX11" fmla="*/ 1116902 w 1201864"/>
                  <a:gd name="connsiteY11" fmla="*/ 132683 h 375094"/>
                  <a:gd name="connsiteX12" fmla="*/ 1201864 w 1201864"/>
                  <a:gd name="connsiteY12" fmla="*/ 371666 h 375094"/>
                  <a:gd name="connsiteX13" fmla="*/ 866204 w 1201864"/>
                  <a:gd name="connsiteY13" fmla="*/ 330137 h 375094"/>
                  <a:gd name="connsiteX14" fmla="*/ 1019651 w 1201864"/>
                  <a:gd name="connsiteY14" fmla="*/ 329851 h 375094"/>
                  <a:gd name="connsiteX15" fmla="*/ 942594 w 1201864"/>
                  <a:gd name="connsiteY15" fmla="*/ 132207 h 375094"/>
                  <a:gd name="connsiteX16" fmla="*/ 866204 w 1201864"/>
                  <a:gd name="connsiteY16" fmla="*/ 330137 h 375094"/>
                  <a:gd name="connsiteX17" fmla="*/ 182023 w 1201864"/>
                  <a:gd name="connsiteY17" fmla="*/ 331375 h 375094"/>
                  <a:gd name="connsiteX18" fmla="*/ 335566 w 1201864"/>
                  <a:gd name="connsiteY18" fmla="*/ 331089 h 375094"/>
                  <a:gd name="connsiteX19" fmla="*/ 258604 w 1201864"/>
                  <a:gd name="connsiteY19" fmla="*/ 133541 h 375094"/>
                  <a:gd name="connsiteX20" fmla="*/ 182023 w 1201864"/>
                  <a:gd name="connsiteY20" fmla="*/ 331375 h 375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01864" h="375094">
                    <a:moveTo>
                      <a:pt x="1201864" y="371666"/>
                    </a:moveTo>
                    <a:lnTo>
                      <a:pt x="1201864" y="371666"/>
                    </a:lnTo>
                    <a:lnTo>
                      <a:pt x="792194" y="372428"/>
                    </a:lnTo>
                    <a:lnTo>
                      <a:pt x="788956" y="375095"/>
                    </a:lnTo>
                    <a:lnTo>
                      <a:pt x="600551" y="145828"/>
                    </a:lnTo>
                    <a:lnTo>
                      <a:pt x="415100" y="373190"/>
                    </a:lnTo>
                    <a:lnTo>
                      <a:pt x="415004" y="373190"/>
                    </a:lnTo>
                    <a:lnTo>
                      <a:pt x="0" y="373856"/>
                    </a:lnTo>
                    <a:lnTo>
                      <a:pt x="84011" y="134588"/>
                    </a:lnTo>
                    <a:lnTo>
                      <a:pt x="130683" y="1714"/>
                    </a:lnTo>
                    <a:cubicBezTo>
                      <a:pt x="364712" y="1238"/>
                      <a:pt x="835724" y="381"/>
                      <a:pt x="1069753" y="0"/>
                    </a:cubicBezTo>
                    <a:lnTo>
                      <a:pt x="1116902" y="132683"/>
                    </a:lnTo>
                    <a:lnTo>
                      <a:pt x="1201864" y="371666"/>
                    </a:lnTo>
                    <a:close/>
                    <a:moveTo>
                      <a:pt x="866204" y="330137"/>
                    </a:moveTo>
                    <a:lnTo>
                      <a:pt x="1019651" y="329851"/>
                    </a:lnTo>
                    <a:cubicBezTo>
                      <a:pt x="1016603" y="267081"/>
                      <a:pt x="1043178" y="130112"/>
                      <a:pt x="942594" y="132207"/>
                    </a:cubicBezTo>
                    <a:cubicBezTo>
                      <a:pt x="842010" y="130493"/>
                      <a:pt x="869061" y="267176"/>
                      <a:pt x="866204" y="330137"/>
                    </a:cubicBezTo>
                    <a:close/>
                    <a:moveTo>
                      <a:pt x="182023" y="331375"/>
                    </a:moveTo>
                    <a:lnTo>
                      <a:pt x="335566" y="331089"/>
                    </a:lnTo>
                    <a:cubicBezTo>
                      <a:pt x="332423" y="268415"/>
                      <a:pt x="358997" y="131445"/>
                      <a:pt x="258604" y="133541"/>
                    </a:cubicBezTo>
                    <a:cubicBezTo>
                      <a:pt x="157734" y="131636"/>
                      <a:pt x="184975" y="268415"/>
                      <a:pt x="182023" y="33137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5" name="Freeform: Shape 284">
                <a:extLst>
                  <a:ext uri="{FF2B5EF4-FFF2-40B4-BE49-F238E27FC236}">
                    <a16:creationId xmlns:a16="http://schemas.microsoft.com/office/drawing/2014/main" id="{F548B31A-9B30-D480-1E18-30EB1531E98A}"/>
                  </a:ext>
                </a:extLst>
              </p:cNvPr>
              <p:cNvSpPr/>
              <p:nvPr/>
            </p:nvSpPr>
            <p:spPr>
              <a:xfrm>
                <a:off x="1243821" y="2840055"/>
                <a:ext cx="247200" cy="135985"/>
              </a:xfrm>
              <a:custGeom>
                <a:avLst/>
                <a:gdLst>
                  <a:gd name="connsiteX0" fmla="*/ 516160 w 516159"/>
                  <a:gd name="connsiteY0" fmla="*/ 282035 h 283940"/>
                  <a:gd name="connsiteX1" fmla="*/ 516160 w 516159"/>
                  <a:gd name="connsiteY1" fmla="*/ 283178 h 283940"/>
                  <a:gd name="connsiteX2" fmla="*/ 114967 w 516159"/>
                  <a:gd name="connsiteY2" fmla="*/ 283940 h 283940"/>
                  <a:gd name="connsiteX3" fmla="*/ 114871 w 516159"/>
                  <a:gd name="connsiteY3" fmla="*/ 240506 h 283940"/>
                  <a:gd name="connsiteX4" fmla="*/ 84963 w 516159"/>
                  <a:gd name="connsiteY4" fmla="*/ 240601 h 283940"/>
                  <a:gd name="connsiteX5" fmla="*/ 84963 w 516159"/>
                  <a:gd name="connsiteY5" fmla="*/ 240506 h 283940"/>
                  <a:gd name="connsiteX6" fmla="*/ 0 w 516159"/>
                  <a:gd name="connsiteY6" fmla="*/ 1524 h 283940"/>
                  <a:gd name="connsiteX7" fmla="*/ 2286 w 516159"/>
                  <a:gd name="connsiteY7" fmla="*/ 762 h 283940"/>
                  <a:gd name="connsiteX8" fmla="*/ 415957 w 516159"/>
                  <a:gd name="connsiteY8" fmla="*/ 0 h 283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16159" h="283940">
                    <a:moveTo>
                      <a:pt x="516160" y="282035"/>
                    </a:moveTo>
                    <a:lnTo>
                      <a:pt x="516160" y="283178"/>
                    </a:lnTo>
                    <a:lnTo>
                      <a:pt x="114967" y="283940"/>
                    </a:lnTo>
                    <a:lnTo>
                      <a:pt x="114871" y="240506"/>
                    </a:lnTo>
                    <a:lnTo>
                      <a:pt x="84963" y="240601"/>
                    </a:lnTo>
                    <a:lnTo>
                      <a:pt x="84963" y="240506"/>
                    </a:lnTo>
                    <a:lnTo>
                      <a:pt x="0" y="1524"/>
                    </a:lnTo>
                    <a:lnTo>
                      <a:pt x="2286" y="762"/>
                    </a:lnTo>
                    <a:lnTo>
                      <a:pt x="415957" y="0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2A3B7110-7280-7B1A-5A55-D8FDBC0B3073}"/>
                  </a:ext>
                </a:extLst>
              </p:cNvPr>
              <p:cNvSpPr/>
              <p:nvPr/>
            </p:nvSpPr>
            <p:spPr>
              <a:xfrm>
                <a:off x="502494" y="2841332"/>
                <a:ext cx="246652" cy="136168"/>
              </a:xfrm>
              <a:custGeom>
                <a:avLst/>
                <a:gdLst>
                  <a:gd name="connsiteX0" fmla="*/ 515017 w 515016"/>
                  <a:gd name="connsiteY0" fmla="*/ 762 h 284321"/>
                  <a:gd name="connsiteX1" fmla="*/ 431006 w 515016"/>
                  <a:gd name="connsiteY1" fmla="*/ 240030 h 284321"/>
                  <a:gd name="connsiteX2" fmla="*/ 401098 w 515016"/>
                  <a:gd name="connsiteY2" fmla="*/ 240125 h 284321"/>
                  <a:gd name="connsiteX3" fmla="*/ 401193 w 515016"/>
                  <a:gd name="connsiteY3" fmla="*/ 283559 h 284321"/>
                  <a:gd name="connsiteX4" fmla="*/ 0 w 515016"/>
                  <a:gd name="connsiteY4" fmla="*/ 284321 h 284321"/>
                  <a:gd name="connsiteX5" fmla="*/ 0 w 515016"/>
                  <a:gd name="connsiteY5" fmla="*/ 283178 h 284321"/>
                  <a:gd name="connsiteX6" fmla="*/ 99155 w 515016"/>
                  <a:gd name="connsiteY6" fmla="*/ 762 h 284321"/>
                  <a:gd name="connsiteX7" fmla="*/ 512826 w 515016"/>
                  <a:gd name="connsiteY7" fmla="*/ 0 h 28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5016" h="284321">
                    <a:moveTo>
                      <a:pt x="515017" y="762"/>
                    </a:moveTo>
                    <a:lnTo>
                      <a:pt x="431006" y="240030"/>
                    </a:lnTo>
                    <a:lnTo>
                      <a:pt x="401098" y="240125"/>
                    </a:lnTo>
                    <a:lnTo>
                      <a:pt x="401193" y="283559"/>
                    </a:lnTo>
                    <a:lnTo>
                      <a:pt x="0" y="284321"/>
                    </a:lnTo>
                    <a:lnTo>
                      <a:pt x="0" y="283178"/>
                    </a:lnTo>
                    <a:lnTo>
                      <a:pt x="99155" y="762"/>
                    </a:lnTo>
                    <a:lnTo>
                      <a:pt x="512826" y="0"/>
                    </a:ln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361085AE-7999-CE11-B422-0A2AC8940B75}"/>
                  </a:ext>
                </a:extLst>
              </p:cNvPr>
              <p:cNvSpPr/>
              <p:nvPr/>
            </p:nvSpPr>
            <p:spPr>
              <a:xfrm>
                <a:off x="882805" y="3006376"/>
                <a:ext cx="37315" cy="297197"/>
              </a:xfrm>
              <a:custGeom>
                <a:avLst/>
                <a:gdLst>
                  <a:gd name="connsiteX0" fmla="*/ 77915 w 77914"/>
                  <a:gd name="connsiteY0" fmla="*/ 620363 h 620553"/>
                  <a:gd name="connsiteX1" fmla="*/ 1143 w 77914"/>
                  <a:gd name="connsiteY1" fmla="*/ 620554 h 620553"/>
                  <a:gd name="connsiteX2" fmla="*/ 0 w 77914"/>
                  <a:gd name="connsiteY2" fmla="*/ 191 h 620553"/>
                  <a:gd name="connsiteX3" fmla="*/ 76772 w 77914"/>
                  <a:gd name="connsiteY3" fmla="*/ 0 h 620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914" h="620553">
                    <a:moveTo>
                      <a:pt x="77915" y="620363"/>
                    </a:moveTo>
                    <a:lnTo>
                      <a:pt x="1143" y="620554"/>
                    </a:lnTo>
                    <a:lnTo>
                      <a:pt x="0" y="191"/>
                    </a:lnTo>
                    <a:lnTo>
                      <a:pt x="76772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54843815-7A63-D6CE-246C-78F73133C6F6}"/>
                  </a:ext>
                </a:extLst>
              </p:cNvPr>
              <p:cNvSpPr/>
              <p:nvPr/>
            </p:nvSpPr>
            <p:spPr>
              <a:xfrm>
                <a:off x="780714" y="3032058"/>
                <a:ext cx="73581" cy="58664"/>
              </a:xfrm>
              <a:custGeom>
                <a:avLst/>
                <a:gdLst>
                  <a:gd name="connsiteX0" fmla="*/ 191 w 153638"/>
                  <a:gd name="connsiteY0" fmla="*/ 122492 h 122491"/>
                  <a:gd name="connsiteX1" fmla="*/ 0 w 153638"/>
                  <a:gd name="connsiteY1" fmla="*/ 286 h 122491"/>
                  <a:gd name="connsiteX2" fmla="*/ 153448 w 153638"/>
                  <a:gd name="connsiteY2" fmla="*/ 0 h 122491"/>
                  <a:gd name="connsiteX3" fmla="*/ 153638 w 153638"/>
                  <a:gd name="connsiteY3" fmla="*/ 122206 h 1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638" h="122491">
                    <a:moveTo>
                      <a:pt x="191" y="122492"/>
                    </a:moveTo>
                    <a:lnTo>
                      <a:pt x="0" y="286"/>
                    </a:lnTo>
                    <a:lnTo>
                      <a:pt x="153448" y="0"/>
                    </a:lnTo>
                    <a:lnTo>
                      <a:pt x="153638" y="122206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FC3DE896-30ED-8C83-08AE-6EF6B57AA106}"/>
                  </a:ext>
                </a:extLst>
              </p:cNvPr>
              <p:cNvSpPr/>
              <p:nvPr/>
            </p:nvSpPr>
            <p:spPr>
              <a:xfrm>
                <a:off x="780805" y="3090586"/>
                <a:ext cx="73581" cy="36265"/>
              </a:xfrm>
              <a:custGeom>
                <a:avLst/>
                <a:gdLst>
                  <a:gd name="connsiteX0" fmla="*/ 44196 w 153638"/>
                  <a:gd name="connsiteY0" fmla="*/ 190 h 75723"/>
                  <a:gd name="connsiteX1" fmla="*/ 0 w 153638"/>
                  <a:gd name="connsiteY1" fmla="*/ 286 h 75723"/>
                  <a:gd name="connsiteX2" fmla="*/ 190 w 153638"/>
                  <a:gd name="connsiteY2" fmla="*/ 75724 h 75723"/>
                  <a:gd name="connsiteX3" fmla="*/ 153638 w 153638"/>
                  <a:gd name="connsiteY3" fmla="*/ 75438 h 75723"/>
                  <a:gd name="connsiteX4" fmla="*/ 153448 w 153638"/>
                  <a:gd name="connsiteY4" fmla="*/ 0 h 75723"/>
                  <a:gd name="connsiteX5" fmla="*/ 109252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44196" y="190"/>
                    </a:moveTo>
                    <a:lnTo>
                      <a:pt x="0" y="286"/>
                    </a:lnTo>
                    <a:lnTo>
                      <a:pt x="190" y="75724"/>
                    </a:lnTo>
                    <a:lnTo>
                      <a:pt x="153638" y="75438"/>
                    </a:lnTo>
                    <a:lnTo>
                      <a:pt x="153448" y="0"/>
                    </a:lnTo>
                    <a:lnTo>
                      <a:pt x="109252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0" name="Freeform: Shape 289">
                <a:extLst>
                  <a:ext uri="{FF2B5EF4-FFF2-40B4-BE49-F238E27FC236}">
                    <a16:creationId xmlns:a16="http://schemas.microsoft.com/office/drawing/2014/main" id="{578849BE-A1D7-8F26-DA26-5C7437E0C442}"/>
                  </a:ext>
                </a:extLst>
              </p:cNvPr>
              <p:cNvSpPr/>
              <p:nvPr/>
            </p:nvSpPr>
            <p:spPr>
              <a:xfrm rot="21594967">
                <a:off x="801926" y="3055141"/>
                <a:ext cx="31156" cy="35490"/>
              </a:xfrm>
              <a:custGeom>
                <a:avLst/>
                <a:gdLst>
                  <a:gd name="connsiteX0" fmla="*/ 0 w 65055"/>
                  <a:gd name="connsiteY0" fmla="*/ 0 h 74104"/>
                  <a:gd name="connsiteX1" fmla="*/ 65056 w 65055"/>
                  <a:gd name="connsiteY1" fmla="*/ 0 h 74104"/>
                  <a:gd name="connsiteX2" fmla="*/ 65056 w 65055"/>
                  <a:gd name="connsiteY2" fmla="*/ 74105 h 74104"/>
                  <a:gd name="connsiteX3" fmla="*/ 0 w 65055"/>
                  <a:gd name="connsiteY3" fmla="*/ 74105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055" h="74104">
                    <a:moveTo>
                      <a:pt x="0" y="0"/>
                    </a:moveTo>
                    <a:lnTo>
                      <a:pt x="65056" y="0"/>
                    </a:lnTo>
                    <a:lnTo>
                      <a:pt x="65056" y="74105"/>
                    </a:lnTo>
                    <a:lnTo>
                      <a:pt x="0" y="74105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1" name="Freeform: Shape 290">
                <a:extLst>
                  <a:ext uri="{FF2B5EF4-FFF2-40B4-BE49-F238E27FC236}">
                    <a16:creationId xmlns:a16="http://schemas.microsoft.com/office/drawing/2014/main" id="{368817BA-9EB4-AE34-6797-4BF328081AA9}"/>
                  </a:ext>
                </a:extLst>
              </p:cNvPr>
              <p:cNvSpPr/>
              <p:nvPr/>
            </p:nvSpPr>
            <p:spPr>
              <a:xfrm>
                <a:off x="780942" y="3167359"/>
                <a:ext cx="73626" cy="94838"/>
              </a:xfrm>
              <a:custGeom>
                <a:avLst/>
                <a:gdLst>
                  <a:gd name="connsiteX0" fmla="*/ 381 w 153733"/>
                  <a:gd name="connsiteY0" fmla="*/ 198025 h 198024"/>
                  <a:gd name="connsiteX1" fmla="*/ 0 w 153733"/>
                  <a:gd name="connsiteY1" fmla="*/ 286 h 198024"/>
                  <a:gd name="connsiteX2" fmla="*/ 153543 w 153733"/>
                  <a:gd name="connsiteY2" fmla="*/ 0 h 198024"/>
                  <a:gd name="connsiteX3" fmla="*/ 153734 w 153733"/>
                  <a:gd name="connsiteY3" fmla="*/ 122301 h 198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733" h="198024">
                    <a:moveTo>
                      <a:pt x="381" y="198025"/>
                    </a:moveTo>
                    <a:lnTo>
                      <a:pt x="0" y="286"/>
                    </a:lnTo>
                    <a:lnTo>
                      <a:pt x="153543" y="0"/>
                    </a:lnTo>
                    <a:lnTo>
                      <a:pt x="153734" y="122301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2" name="Freeform: Shape 291">
                <a:extLst>
                  <a:ext uri="{FF2B5EF4-FFF2-40B4-BE49-F238E27FC236}">
                    <a16:creationId xmlns:a16="http://schemas.microsoft.com/office/drawing/2014/main" id="{487FFA96-5351-7B0E-2360-50947018C79C}"/>
                  </a:ext>
                </a:extLst>
              </p:cNvPr>
              <p:cNvSpPr/>
              <p:nvPr/>
            </p:nvSpPr>
            <p:spPr>
              <a:xfrm>
                <a:off x="781079" y="3225933"/>
                <a:ext cx="73535" cy="36265"/>
              </a:xfrm>
              <a:custGeom>
                <a:avLst/>
                <a:gdLst>
                  <a:gd name="connsiteX0" fmla="*/ 44196 w 153543"/>
                  <a:gd name="connsiteY0" fmla="*/ 190 h 75723"/>
                  <a:gd name="connsiteX1" fmla="*/ 0 w 153543"/>
                  <a:gd name="connsiteY1" fmla="*/ 286 h 75723"/>
                  <a:gd name="connsiteX2" fmla="*/ 95 w 153543"/>
                  <a:gd name="connsiteY2" fmla="*/ 75724 h 75723"/>
                  <a:gd name="connsiteX3" fmla="*/ 153543 w 153543"/>
                  <a:gd name="connsiteY3" fmla="*/ 75438 h 75723"/>
                  <a:gd name="connsiteX4" fmla="*/ 153448 w 153543"/>
                  <a:gd name="connsiteY4" fmla="*/ 0 h 75723"/>
                  <a:gd name="connsiteX5" fmla="*/ 109252 w 153543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543" h="75723">
                    <a:moveTo>
                      <a:pt x="44196" y="190"/>
                    </a:moveTo>
                    <a:lnTo>
                      <a:pt x="0" y="286"/>
                    </a:lnTo>
                    <a:lnTo>
                      <a:pt x="95" y="75724"/>
                    </a:lnTo>
                    <a:lnTo>
                      <a:pt x="153543" y="75438"/>
                    </a:lnTo>
                    <a:lnTo>
                      <a:pt x="153448" y="0"/>
                    </a:lnTo>
                    <a:lnTo>
                      <a:pt x="109252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3" name="Freeform: Shape 292">
                <a:extLst>
                  <a:ext uri="{FF2B5EF4-FFF2-40B4-BE49-F238E27FC236}">
                    <a16:creationId xmlns:a16="http://schemas.microsoft.com/office/drawing/2014/main" id="{0ABCC108-84F3-E50A-512D-99AAF6507B57}"/>
                  </a:ext>
                </a:extLst>
              </p:cNvPr>
              <p:cNvSpPr/>
              <p:nvPr/>
            </p:nvSpPr>
            <p:spPr>
              <a:xfrm>
                <a:off x="802154" y="3190442"/>
                <a:ext cx="31248" cy="35581"/>
              </a:xfrm>
              <a:custGeom>
                <a:avLst/>
                <a:gdLst>
                  <a:gd name="connsiteX0" fmla="*/ 65246 w 65246"/>
                  <a:gd name="connsiteY0" fmla="*/ 74200 h 74294"/>
                  <a:gd name="connsiteX1" fmla="*/ 190 w 65246"/>
                  <a:gd name="connsiteY1" fmla="*/ 74295 h 74294"/>
                  <a:gd name="connsiteX2" fmla="*/ 0 w 65246"/>
                  <a:gd name="connsiteY2" fmla="*/ 190 h 74294"/>
                  <a:gd name="connsiteX3" fmla="*/ 65056 w 65246"/>
                  <a:gd name="connsiteY3" fmla="*/ 0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246" h="74294">
                    <a:moveTo>
                      <a:pt x="65246" y="74200"/>
                    </a:moveTo>
                    <a:lnTo>
                      <a:pt x="190" y="74295"/>
                    </a:lnTo>
                    <a:lnTo>
                      <a:pt x="0" y="190"/>
                    </a:lnTo>
                    <a:lnTo>
                      <a:pt x="65056" y="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4" name="Freeform: Shape 293">
                <a:extLst>
                  <a:ext uri="{FF2B5EF4-FFF2-40B4-BE49-F238E27FC236}">
                    <a16:creationId xmlns:a16="http://schemas.microsoft.com/office/drawing/2014/main" id="{AEC0CBBB-1F20-3BC3-9C68-3EE30D524187}"/>
                  </a:ext>
                </a:extLst>
              </p:cNvPr>
              <p:cNvSpPr/>
              <p:nvPr/>
            </p:nvSpPr>
            <p:spPr>
              <a:xfrm>
                <a:off x="1139768" y="3166721"/>
                <a:ext cx="73581" cy="58664"/>
              </a:xfrm>
              <a:custGeom>
                <a:avLst/>
                <a:gdLst>
                  <a:gd name="connsiteX0" fmla="*/ 191 w 153638"/>
                  <a:gd name="connsiteY0" fmla="*/ 122492 h 122491"/>
                  <a:gd name="connsiteX1" fmla="*/ 0 w 153638"/>
                  <a:gd name="connsiteY1" fmla="*/ 286 h 122491"/>
                  <a:gd name="connsiteX2" fmla="*/ 153448 w 153638"/>
                  <a:gd name="connsiteY2" fmla="*/ 0 h 122491"/>
                  <a:gd name="connsiteX3" fmla="*/ 153638 w 153638"/>
                  <a:gd name="connsiteY3" fmla="*/ 122206 h 12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638" h="122491">
                    <a:moveTo>
                      <a:pt x="191" y="122492"/>
                    </a:moveTo>
                    <a:lnTo>
                      <a:pt x="0" y="286"/>
                    </a:lnTo>
                    <a:lnTo>
                      <a:pt x="153448" y="0"/>
                    </a:lnTo>
                    <a:lnTo>
                      <a:pt x="153638" y="122206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5" name="Freeform: Shape 294">
                <a:extLst>
                  <a:ext uri="{FF2B5EF4-FFF2-40B4-BE49-F238E27FC236}">
                    <a16:creationId xmlns:a16="http://schemas.microsoft.com/office/drawing/2014/main" id="{4AF7C1CC-C922-31AE-355B-2C54CA869B42}"/>
                  </a:ext>
                </a:extLst>
              </p:cNvPr>
              <p:cNvSpPr/>
              <p:nvPr/>
            </p:nvSpPr>
            <p:spPr>
              <a:xfrm>
                <a:off x="1139859" y="3225248"/>
                <a:ext cx="73581" cy="36265"/>
              </a:xfrm>
              <a:custGeom>
                <a:avLst/>
                <a:gdLst>
                  <a:gd name="connsiteX0" fmla="*/ 44196 w 153638"/>
                  <a:gd name="connsiteY0" fmla="*/ 191 h 75723"/>
                  <a:gd name="connsiteX1" fmla="*/ 0 w 153638"/>
                  <a:gd name="connsiteY1" fmla="*/ 286 h 75723"/>
                  <a:gd name="connsiteX2" fmla="*/ 95 w 153638"/>
                  <a:gd name="connsiteY2" fmla="*/ 75724 h 75723"/>
                  <a:gd name="connsiteX3" fmla="*/ 153638 w 153638"/>
                  <a:gd name="connsiteY3" fmla="*/ 75438 h 75723"/>
                  <a:gd name="connsiteX4" fmla="*/ 153448 w 153638"/>
                  <a:gd name="connsiteY4" fmla="*/ 0 h 75723"/>
                  <a:gd name="connsiteX5" fmla="*/ 109252 w 153638"/>
                  <a:gd name="connsiteY5" fmla="*/ 95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638" h="75723">
                    <a:moveTo>
                      <a:pt x="44196" y="191"/>
                    </a:moveTo>
                    <a:lnTo>
                      <a:pt x="0" y="286"/>
                    </a:lnTo>
                    <a:lnTo>
                      <a:pt x="95" y="75724"/>
                    </a:lnTo>
                    <a:lnTo>
                      <a:pt x="153638" y="75438"/>
                    </a:lnTo>
                    <a:lnTo>
                      <a:pt x="153448" y="0"/>
                    </a:lnTo>
                    <a:lnTo>
                      <a:pt x="109252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6" name="Freeform: Shape 295">
                <a:extLst>
                  <a:ext uri="{FF2B5EF4-FFF2-40B4-BE49-F238E27FC236}">
                    <a16:creationId xmlns:a16="http://schemas.microsoft.com/office/drawing/2014/main" id="{9EFE9F2B-09D3-D406-06F5-D93083E5D28B}"/>
                  </a:ext>
                </a:extLst>
              </p:cNvPr>
              <p:cNvSpPr/>
              <p:nvPr/>
            </p:nvSpPr>
            <p:spPr>
              <a:xfrm rot="21594967">
                <a:off x="1160981" y="3189804"/>
                <a:ext cx="31156" cy="35490"/>
              </a:xfrm>
              <a:custGeom>
                <a:avLst/>
                <a:gdLst>
                  <a:gd name="connsiteX0" fmla="*/ 0 w 65055"/>
                  <a:gd name="connsiteY0" fmla="*/ 0 h 74104"/>
                  <a:gd name="connsiteX1" fmla="*/ 65056 w 65055"/>
                  <a:gd name="connsiteY1" fmla="*/ 0 h 74104"/>
                  <a:gd name="connsiteX2" fmla="*/ 65056 w 65055"/>
                  <a:gd name="connsiteY2" fmla="*/ 74105 h 74104"/>
                  <a:gd name="connsiteX3" fmla="*/ 0 w 65055"/>
                  <a:gd name="connsiteY3" fmla="*/ 74105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055" h="74104">
                    <a:moveTo>
                      <a:pt x="0" y="0"/>
                    </a:moveTo>
                    <a:lnTo>
                      <a:pt x="65056" y="0"/>
                    </a:lnTo>
                    <a:lnTo>
                      <a:pt x="65056" y="74105"/>
                    </a:lnTo>
                    <a:lnTo>
                      <a:pt x="0" y="74105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7" name="Freeform: Shape 296">
                <a:extLst>
                  <a:ext uri="{FF2B5EF4-FFF2-40B4-BE49-F238E27FC236}">
                    <a16:creationId xmlns:a16="http://schemas.microsoft.com/office/drawing/2014/main" id="{C81BF508-130E-A2A2-B587-9A9B8A6F47BB}"/>
                  </a:ext>
                </a:extLst>
              </p:cNvPr>
              <p:cNvSpPr/>
              <p:nvPr/>
            </p:nvSpPr>
            <p:spPr>
              <a:xfrm>
                <a:off x="751975" y="2989269"/>
                <a:ext cx="593" cy="314531"/>
              </a:xfrm>
              <a:custGeom>
                <a:avLst/>
                <a:gdLst>
                  <a:gd name="connsiteX0" fmla="*/ 0 w 1238"/>
                  <a:gd name="connsiteY0" fmla="*/ 0 h 656748"/>
                  <a:gd name="connsiteX1" fmla="*/ 95 w 1238"/>
                  <a:gd name="connsiteY1" fmla="*/ 35243 h 656748"/>
                  <a:gd name="connsiteX2" fmla="*/ 952 w 1238"/>
                  <a:gd name="connsiteY2" fmla="*/ 526447 h 656748"/>
                  <a:gd name="connsiteX3" fmla="*/ 1238 w 1238"/>
                  <a:gd name="connsiteY3" fmla="*/ 656749 h 65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" h="656748">
                    <a:moveTo>
                      <a:pt x="0" y="0"/>
                    </a:moveTo>
                    <a:lnTo>
                      <a:pt x="95" y="35243"/>
                    </a:lnTo>
                    <a:lnTo>
                      <a:pt x="952" y="526447"/>
                    </a:lnTo>
                    <a:lnTo>
                      <a:pt x="1238" y="656749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8" name="Freeform: Shape 297">
                <a:extLst>
                  <a:ext uri="{FF2B5EF4-FFF2-40B4-BE49-F238E27FC236}">
                    <a16:creationId xmlns:a16="http://schemas.microsoft.com/office/drawing/2014/main" id="{ECECEBE3-B253-A6EF-8738-08BCA41B98A8}"/>
                  </a:ext>
                </a:extLst>
              </p:cNvPr>
              <p:cNvSpPr/>
              <p:nvPr/>
            </p:nvSpPr>
            <p:spPr>
              <a:xfrm>
                <a:off x="694588" y="2955969"/>
                <a:ext cx="213078" cy="33391"/>
              </a:xfrm>
              <a:custGeom>
                <a:avLst/>
                <a:gdLst>
                  <a:gd name="connsiteX0" fmla="*/ 352615 w 444912"/>
                  <a:gd name="connsiteY0" fmla="*/ 69056 h 69722"/>
                  <a:gd name="connsiteX1" fmla="*/ 119824 w 444912"/>
                  <a:gd name="connsiteY1" fmla="*/ 69532 h 69722"/>
                  <a:gd name="connsiteX2" fmla="*/ 190 w 444912"/>
                  <a:gd name="connsiteY2" fmla="*/ 69723 h 69722"/>
                  <a:gd name="connsiteX3" fmla="*/ 95 w 444912"/>
                  <a:gd name="connsiteY3" fmla="*/ 44196 h 69722"/>
                  <a:gd name="connsiteX4" fmla="*/ 0 w 444912"/>
                  <a:gd name="connsiteY4" fmla="*/ 762 h 69722"/>
                  <a:gd name="connsiteX5" fmla="*/ 29908 w 444912"/>
                  <a:gd name="connsiteY5" fmla="*/ 667 h 69722"/>
                  <a:gd name="connsiteX6" fmla="*/ 444913 w 444912"/>
                  <a:gd name="connsiteY6" fmla="*/ 0 h 69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4912" h="69722">
                    <a:moveTo>
                      <a:pt x="352615" y="69056"/>
                    </a:moveTo>
                    <a:lnTo>
                      <a:pt x="119824" y="69532"/>
                    </a:lnTo>
                    <a:lnTo>
                      <a:pt x="190" y="69723"/>
                    </a:lnTo>
                    <a:lnTo>
                      <a:pt x="95" y="44196"/>
                    </a:lnTo>
                    <a:lnTo>
                      <a:pt x="0" y="762"/>
                    </a:lnTo>
                    <a:lnTo>
                      <a:pt x="29908" y="667"/>
                    </a:lnTo>
                    <a:lnTo>
                      <a:pt x="444913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299" name="Freeform: Shape 298">
                <a:extLst>
                  <a:ext uri="{FF2B5EF4-FFF2-40B4-BE49-F238E27FC236}">
                    <a16:creationId xmlns:a16="http://schemas.microsoft.com/office/drawing/2014/main" id="{C398A659-FD87-5C31-22C9-F565DF00D340}"/>
                  </a:ext>
                </a:extLst>
              </p:cNvPr>
              <p:cNvSpPr/>
              <p:nvPr/>
            </p:nvSpPr>
            <p:spPr>
              <a:xfrm>
                <a:off x="891153" y="2847080"/>
                <a:ext cx="211162" cy="129142"/>
              </a:xfrm>
              <a:custGeom>
                <a:avLst/>
                <a:gdLst>
                  <a:gd name="connsiteX0" fmla="*/ 0 w 440912"/>
                  <a:gd name="connsiteY0" fmla="*/ 269653 h 269652"/>
                  <a:gd name="connsiteX1" fmla="*/ 220504 w 440912"/>
                  <a:gd name="connsiteY1" fmla="*/ 269272 h 269652"/>
                  <a:gd name="connsiteX2" fmla="*/ 440912 w 440912"/>
                  <a:gd name="connsiteY2" fmla="*/ 268891 h 269652"/>
                  <a:gd name="connsiteX3" fmla="*/ 408432 w 440912"/>
                  <a:gd name="connsiteY3" fmla="*/ 229267 h 269652"/>
                  <a:gd name="connsiteX4" fmla="*/ 220027 w 440912"/>
                  <a:gd name="connsiteY4" fmla="*/ 0 h 269652"/>
                  <a:gd name="connsiteX5" fmla="*/ 34576 w 440912"/>
                  <a:gd name="connsiteY5" fmla="*/ 227362 h 269652"/>
                  <a:gd name="connsiteX6" fmla="*/ 34481 w 440912"/>
                  <a:gd name="connsiteY6" fmla="*/ 227362 h 269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912" h="269652">
                    <a:moveTo>
                      <a:pt x="0" y="269653"/>
                    </a:moveTo>
                    <a:lnTo>
                      <a:pt x="220504" y="269272"/>
                    </a:lnTo>
                    <a:lnTo>
                      <a:pt x="440912" y="268891"/>
                    </a:lnTo>
                    <a:lnTo>
                      <a:pt x="408432" y="229267"/>
                    </a:lnTo>
                    <a:lnTo>
                      <a:pt x="220027" y="0"/>
                    </a:lnTo>
                    <a:lnTo>
                      <a:pt x="34576" y="227362"/>
                    </a:lnTo>
                    <a:lnTo>
                      <a:pt x="34481" y="227362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0" name="Freeform: Shape 299">
                <a:extLst>
                  <a:ext uri="{FF2B5EF4-FFF2-40B4-BE49-F238E27FC236}">
                    <a16:creationId xmlns:a16="http://schemas.microsoft.com/office/drawing/2014/main" id="{420678C2-FD1E-A410-231C-50439D063438}"/>
                  </a:ext>
                </a:extLst>
              </p:cNvPr>
              <p:cNvSpPr/>
              <p:nvPr/>
            </p:nvSpPr>
            <p:spPr>
              <a:xfrm>
                <a:off x="863464" y="2976223"/>
                <a:ext cx="27689" cy="30289"/>
              </a:xfrm>
              <a:custGeom>
                <a:avLst/>
                <a:gdLst>
                  <a:gd name="connsiteX0" fmla="*/ 57817 w 57816"/>
                  <a:gd name="connsiteY0" fmla="*/ 0 h 63245"/>
                  <a:gd name="connsiteX1" fmla="*/ 0 w 57816"/>
                  <a:gd name="connsiteY1" fmla="*/ 95 h 63245"/>
                  <a:gd name="connsiteX2" fmla="*/ 0 w 57816"/>
                  <a:gd name="connsiteY2" fmla="*/ 26765 h 63245"/>
                  <a:gd name="connsiteX3" fmla="*/ 95 w 57816"/>
                  <a:gd name="connsiteY3" fmla="*/ 63246 h 63245"/>
                  <a:gd name="connsiteX4" fmla="*/ 40386 w 57816"/>
                  <a:gd name="connsiteY4" fmla="*/ 63151 h 6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16" h="63245">
                    <a:moveTo>
                      <a:pt x="57817" y="0"/>
                    </a:moveTo>
                    <a:lnTo>
                      <a:pt x="0" y="95"/>
                    </a:lnTo>
                    <a:cubicBezTo>
                      <a:pt x="0" y="6572"/>
                      <a:pt x="0" y="16478"/>
                      <a:pt x="0" y="26765"/>
                    </a:cubicBezTo>
                    <a:cubicBezTo>
                      <a:pt x="0" y="40291"/>
                      <a:pt x="0" y="54578"/>
                      <a:pt x="95" y="63246"/>
                    </a:cubicBezTo>
                    <a:lnTo>
                      <a:pt x="40386" y="63151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1" name="Freeform: Shape 300">
                <a:extLst>
                  <a:ext uri="{FF2B5EF4-FFF2-40B4-BE49-F238E27FC236}">
                    <a16:creationId xmlns:a16="http://schemas.microsoft.com/office/drawing/2014/main" id="{52C7C06B-B576-1D4F-FD21-36E38AF2BCCF}"/>
                  </a:ext>
                </a:extLst>
              </p:cNvPr>
              <p:cNvSpPr/>
              <p:nvPr/>
            </p:nvSpPr>
            <p:spPr>
              <a:xfrm>
                <a:off x="1102316" y="2975767"/>
                <a:ext cx="27781" cy="30289"/>
              </a:xfrm>
              <a:custGeom>
                <a:avLst/>
                <a:gdLst>
                  <a:gd name="connsiteX0" fmla="*/ 0 w 58007"/>
                  <a:gd name="connsiteY0" fmla="*/ 191 h 63245"/>
                  <a:gd name="connsiteX1" fmla="*/ 57912 w 58007"/>
                  <a:gd name="connsiteY1" fmla="*/ 0 h 63245"/>
                  <a:gd name="connsiteX2" fmla="*/ 57912 w 58007"/>
                  <a:gd name="connsiteY2" fmla="*/ 26670 h 63245"/>
                  <a:gd name="connsiteX3" fmla="*/ 58007 w 58007"/>
                  <a:gd name="connsiteY3" fmla="*/ 63151 h 63245"/>
                  <a:gd name="connsiteX4" fmla="*/ 17717 w 58007"/>
                  <a:gd name="connsiteY4" fmla="*/ 63246 h 6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007" h="63245">
                    <a:moveTo>
                      <a:pt x="0" y="191"/>
                    </a:moveTo>
                    <a:lnTo>
                      <a:pt x="57912" y="0"/>
                    </a:lnTo>
                    <a:lnTo>
                      <a:pt x="57912" y="26670"/>
                    </a:lnTo>
                    <a:lnTo>
                      <a:pt x="58007" y="63151"/>
                    </a:lnTo>
                    <a:lnTo>
                      <a:pt x="17717" y="63246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2" name="Freeform: Shape 301">
                <a:extLst>
                  <a:ext uri="{FF2B5EF4-FFF2-40B4-BE49-F238E27FC236}">
                    <a16:creationId xmlns:a16="http://schemas.microsoft.com/office/drawing/2014/main" id="{073AC9AD-B87F-95F9-DAEE-AC543E6509A4}"/>
                  </a:ext>
                </a:extLst>
              </p:cNvPr>
              <p:cNvSpPr/>
              <p:nvPr/>
            </p:nvSpPr>
            <p:spPr>
              <a:xfrm>
                <a:off x="1074033" y="3006056"/>
                <a:ext cx="37315" cy="297151"/>
              </a:xfrm>
              <a:custGeom>
                <a:avLst/>
                <a:gdLst>
                  <a:gd name="connsiteX0" fmla="*/ 0 w 77914"/>
                  <a:gd name="connsiteY0" fmla="*/ 95 h 620458"/>
                  <a:gd name="connsiteX1" fmla="*/ 76772 w 77914"/>
                  <a:gd name="connsiteY1" fmla="*/ 0 h 620458"/>
                  <a:gd name="connsiteX2" fmla="*/ 77915 w 77914"/>
                  <a:gd name="connsiteY2" fmla="*/ 620268 h 620458"/>
                  <a:gd name="connsiteX3" fmla="*/ 1143 w 77914"/>
                  <a:gd name="connsiteY3" fmla="*/ 620459 h 62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914" h="620458">
                    <a:moveTo>
                      <a:pt x="0" y="95"/>
                    </a:moveTo>
                    <a:lnTo>
                      <a:pt x="76772" y="0"/>
                    </a:lnTo>
                    <a:lnTo>
                      <a:pt x="77915" y="620268"/>
                    </a:lnTo>
                    <a:lnTo>
                      <a:pt x="1143" y="620459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3" name="Freeform: Shape 302">
                <a:extLst>
                  <a:ext uri="{FF2B5EF4-FFF2-40B4-BE49-F238E27FC236}">
                    <a16:creationId xmlns:a16="http://schemas.microsoft.com/office/drawing/2014/main" id="{CBAA9C48-0DBC-DD8D-D6D5-B7109926FCDE}"/>
                  </a:ext>
                </a:extLst>
              </p:cNvPr>
              <p:cNvSpPr/>
              <p:nvPr/>
            </p:nvSpPr>
            <p:spPr>
              <a:xfrm>
                <a:off x="1139494" y="3031374"/>
                <a:ext cx="73672" cy="94702"/>
              </a:xfrm>
              <a:custGeom>
                <a:avLst/>
                <a:gdLst>
                  <a:gd name="connsiteX0" fmla="*/ 153829 w 153828"/>
                  <a:gd name="connsiteY0" fmla="*/ 197739 h 197739"/>
                  <a:gd name="connsiteX1" fmla="*/ 153638 w 153828"/>
                  <a:gd name="connsiteY1" fmla="*/ 122301 h 197739"/>
                  <a:gd name="connsiteX2" fmla="*/ 153448 w 153828"/>
                  <a:gd name="connsiteY2" fmla="*/ 0 h 197739"/>
                  <a:gd name="connsiteX3" fmla="*/ 0 w 153828"/>
                  <a:gd name="connsiteY3" fmla="*/ 286 h 197739"/>
                  <a:gd name="connsiteX4" fmla="*/ 191 w 153828"/>
                  <a:gd name="connsiteY4" fmla="*/ 122587 h 197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828" h="197739">
                    <a:moveTo>
                      <a:pt x="153829" y="197739"/>
                    </a:moveTo>
                    <a:lnTo>
                      <a:pt x="153638" y="122301"/>
                    </a:lnTo>
                    <a:lnTo>
                      <a:pt x="153448" y="0"/>
                    </a:lnTo>
                    <a:lnTo>
                      <a:pt x="0" y="286"/>
                    </a:lnTo>
                    <a:lnTo>
                      <a:pt x="191" y="122587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4" name="Freeform: Shape 303">
                <a:extLst>
                  <a:ext uri="{FF2B5EF4-FFF2-40B4-BE49-F238E27FC236}">
                    <a16:creationId xmlns:a16="http://schemas.microsoft.com/office/drawing/2014/main" id="{2ADDFC45-1725-28A6-4BD1-71823A1D4A60}"/>
                  </a:ext>
                </a:extLst>
              </p:cNvPr>
              <p:cNvSpPr/>
              <p:nvPr/>
            </p:nvSpPr>
            <p:spPr>
              <a:xfrm>
                <a:off x="1123141" y="2840545"/>
                <a:ext cx="74601" cy="94804"/>
              </a:xfrm>
              <a:custGeom>
                <a:avLst/>
                <a:gdLst>
                  <a:gd name="connsiteX0" fmla="*/ 154731 w 155768"/>
                  <a:gd name="connsiteY0" fmla="*/ 197668 h 197953"/>
                  <a:gd name="connsiteX1" fmla="*/ 1283 w 155768"/>
                  <a:gd name="connsiteY1" fmla="*/ 197953 h 197953"/>
                  <a:gd name="connsiteX2" fmla="*/ 77674 w 155768"/>
                  <a:gd name="connsiteY2" fmla="*/ 24 h 197953"/>
                  <a:gd name="connsiteX3" fmla="*/ 154731 w 155768"/>
                  <a:gd name="connsiteY3" fmla="*/ 197668 h 197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68" h="197953">
                    <a:moveTo>
                      <a:pt x="154731" y="197668"/>
                    </a:moveTo>
                    <a:lnTo>
                      <a:pt x="1283" y="197953"/>
                    </a:lnTo>
                    <a:cubicBezTo>
                      <a:pt x="4141" y="134993"/>
                      <a:pt x="-22910" y="-1691"/>
                      <a:pt x="77674" y="24"/>
                    </a:cubicBezTo>
                    <a:cubicBezTo>
                      <a:pt x="178258" y="-2072"/>
                      <a:pt x="151683" y="134898"/>
                      <a:pt x="154731" y="19766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5" name="Freeform: Shape 304">
                <a:extLst>
                  <a:ext uri="{FF2B5EF4-FFF2-40B4-BE49-F238E27FC236}">
                    <a16:creationId xmlns:a16="http://schemas.microsoft.com/office/drawing/2014/main" id="{10AB66D3-5A52-CE61-CF96-E43D8F1D54FE}"/>
                  </a:ext>
                </a:extLst>
              </p:cNvPr>
              <p:cNvSpPr/>
              <p:nvPr/>
            </p:nvSpPr>
            <p:spPr>
              <a:xfrm>
                <a:off x="795486" y="2841184"/>
                <a:ext cx="74605" cy="94759"/>
              </a:xfrm>
              <a:custGeom>
                <a:avLst/>
                <a:gdLst>
                  <a:gd name="connsiteX0" fmla="*/ 154798 w 155776"/>
                  <a:gd name="connsiteY0" fmla="*/ 197572 h 197858"/>
                  <a:gd name="connsiteX1" fmla="*/ 1255 w 155776"/>
                  <a:gd name="connsiteY1" fmla="*/ 197858 h 197858"/>
                  <a:gd name="connsiteX2" fmla="*/ 77836 w 155776"/>
                  <a:gd name="connsiteY2" fmla="*/ 24 h 197858"/>
                  <a:gd name="connsiteX3" fmla="*/ 154798 w 155776"/>
                  <a:gd name="connsiteY3" fmla="*/ 197572 h 197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76" h="197858">
                    <a:moveTo>
                      <a:pt x="154798" y="197572"/>
                    </a:moveTo>
                    <a:lnTo>
                      <a:pt x="1255" y="197858"/>
                    </a:lnTo>
                    <a:cubicBezTo>
                      <a:pt x="4207" y="134898"/>
                      <a:pt x="-23034" y="-1881"/>
                      <a:pt x="77836" y="24"/>
                    </a:cubicBezTo>
                    <a:cubicBezTo>
                      <a:pt x="178229" y="-2072"/>
                      <a:pt x="151654" y="134898"/>
                      <a:pt x="154798" y="19757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6" name="Freeform: Shape 305">
                <a:extLst>
                  <a:ext uri="{FF2B5EF4-FFF2-40B4-BE49-F238E27FC236}">
                    <a16:creationId xmlns:a16="http://schemas.microsoft.com/office/drawing/2014/main" id="{9553CE29-2131-975B-59AA-7AE8E6979992}"/>
                  </a:ext>
                </a:extLst>
              </p:cNvPr>
              <p:cNvSpPr/>
              <p:nvPr/>
            </p:nvSpPr>
            <p:spPr>
              <a:xfrm>
                <a:off x="1139585" y="3089947"/>
                <a:ext cx="73581" cy="36265"/>
              </a:xfrm>
              <a:custGeom>
                <a:avLst/>
                <a:gdLst>
                  <a:gd name="connsiteX0" fmla="*/ 109347 w 153638"/>
                  <a:gd name="connsiteY0" fmla="*/ 95 h 75723"/>
                  <a:gd name="connsiteX1" fmla="*/ 153448 w 153638"/>
                  <a:gd name="connsiteY1" fmla="*/ 0 h 75723"/>
                  <a:gd name="connsiteX2" fmla="*/ 153543 w 153638"/>
                  <a:gd name="connsiteY2" fmla="*/ 0 h 75723"/>
                  <a:gd name="connsiteX3" fmla="*/ 153638 w 153638"/>
                  <a:gd name="connsiteY3" fmla="*/ 75438 h 75723"/>
                  <a:gd name="connsiteX4" fmla="*/ 190 w 153638"/>
                  <a:gd name="connsiteY4" fmla="*/ 75724 h 75723"/>
                  <a:gd name="connsiteX5" fmla="*/ 0 w 153638"/>
                  <a:gd name="connsiteY5" fmla="*/ 286 h 75723"/>
                  <a:gd name="connsiteX6" fmla="*/ 44291 w 153638"/>
                  <a:gd name="connsiteY6" fmla="*/ 190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3638" h="75723">
                    <a:moveTo>
                      <a:pt x="109347" y="95"/>
                    </a:moveTo>
                    <a:lnTo>
                      <a:pt x="153448" y="0"/>
                    </a:lnTo>
                    <a:lnTo>
                      <a:pt x="153543" y="0"/>
                    </a:lnTo>
                    <a:lnTo>
                      <a:pt x="153638" y="75438"/>
                    </a:lnTo>
                    <a:lnTo>
                      <a:pt x="190" y="75724"/>
                    </a:lnTo>
                    <a:lnTo>
                      <a:pt x="0" y="286"/>
                    </a:lnTo>
                    <a:lnTo>
                      <a:pt x="44291" y="19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7" name="Freeform: Shape 306">
                <a:extLst>
                  <a:ext uri="{FF2B5EF4-FFF2-40B4-BE49-F238E27FC236}">
                    <a16:creationId xmlns:a16="http://schemas.microsoft.com/office/drawing/2014/main" id="{5F3A70DB-0CEF-5EE0-891E-854D76538D6A}"/>
                  </a:ext>
                </a:extLst>
              </p:cNvPr>
              <p:cNvSpPr/>
              <p:nvPr/>
            </p:nvSpPr>
            <p:spPr>
              <a:xfrm>
                <a:off x="1160706" y="3054457"/>
                <a:ext cx="31248" cy="35581"/>
              </a:xfrm>
              <a:custGeom>
                <a:avLst/>
                <a:gdLst>
                  <a:gd name="connsiteX0" fmla="*/ 191 w 65246"/>
                  <a:gd name="connsiteY0" fmla="*/ 74295 h 74294"/>
                  <a:gd name="connsiteX1" fmla="*/ 65246 w 65246"/>
                  <a:gd name="connsiteY1" fmla="*/ 74200 h 74294"/>
                  <a:gd name="connsiteX2" fmla="*/ 65056 w 65246"/>
                  <a:gd name="connsiteY2" fmla="*/ 0 h 74294"/>
                  <a:gd name="connsiteX3" fmla="*/ 0 w 65246"/>
                  <a:gd name="connsiteY3" fmla="*/ 191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246" h="74294">
                    <a:moveTo>
                      <a:pt x="191" y="74295"/>
                    </a:moveTo>
                    <a:lnTo>
                      <a:pt x="65246" y="74200"/>
                    </a:lnTo>
                    <a:lnTo>
                      <a:pt x="65056" y="0"/>
                    </a:lnTo>
                    <a:lnTo>
                      <a:pt x="0" y="191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8" name="Freeform: Shape 307">
                <a:extLst>
                  <a:ext uri="{FF2B5EF4-FFF2-40B4-BE49-F238E27FC236}">
                    <a16:creationId xmlns:a16="http://schemas.microsoft.com/office/drawing/2014/main" id="{1264E869-7AB9-3F5E-67B4-10423FF9043C}"/>
                  </a:ext>
                </a:extLst>
              </p:cNvPr>
              <p:cNvSpPr/>
              <p:nvPr/>
            </p:nvSpPr>
            <p:spPr>
              <a:xfrm>
                <a:off x="1241585" y="2988357"/>
                <a:ext cx="456" cy="252127"/>
              </a:xfrm>
              <a:custGeom>
                <a:avLst/>
                <a:gdLst>
                  <a:gd name="connsiteX0" fmla="*/ 952 w 952"/>
                  <a:gd name="connsiteY0" fmla="*/ 526447 h 526446"/>
                  <a:gd name="connsiteX1" fmla="*/ 95 w 952"/>
                  <a:gd name="connsiteY1" fmla="*/ 35243 h 526446"/>
                  <a:gd name="connsiteX2" fmla="*/ 0 w 952"/>
                  <a:gd name="connsiteY2" fmla="*/ 0 h 526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2" h="526446">
                    <a:moveTo>
                      <a:pt x="952" y="526447"/>
                    </a:moveTo>
                    <a:lnTo>
                      <a:pt x="95" y="35243"/>
                    </a:lnTo>
                    <a:lnTo>
                      <a:pt x="0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09" name="Freeform: Shape 308">
                <a:extLst>
                  <a:ext uri="{FF2B5EF4-FFF2-40B4-BE49-F238E27FC236}">
                    <a16:creationId xmlns:a16="http://schemas.microsoft.com/office/drawing/2014/main" id="{D1E13C16-06D9-64AB-96C8-4E8C1CE98721}"/>
                  </a:ext>
                </a:extLst>
              </p:cNvPr>
              <p:cNvSpPr/>
              <p:nvPr/>
            </p:nvSpPr>
            <p:spPr>
              <a:xfrm>
                <a:off x="1088311" y="2955239"/>
                <a:ext cx="210570" cy="33300"/>
              </a:xfrm>
              <a:custGeom>
                <a:avLst/>
                <a:gdLst>
                  <a:gd name="connsiteX0" fmla="*/ 87249 w 439674"/>
                  <a:gd name="connsiteY0" fmla="*/ 69532 h 69532"/>
                  <a:gd name="connsiteX1" fmla="*/ 320040 w 439674"/>
                  <a:gd name="connsiteY1" fmla="*/ 69151 h 69532"/>
                  <a:gd name="connsiteX2" fmla="*/ 439674 w 439674"/>
                  <a:gd name="connsiteY2" fmla="*/ 68961 h 69532"/>
                  <a:gd name="connsiteX3" fmla="*/ 439674 w 439674"/>
                  <a:gd name="connsiteY3" fmla="*/ 43434 h 69532"/>
                  <a:gd name="connsiteX4" fmla="*/ 439579 w 439674"/>
                  <a:gd name="connsiteY4" fmla="*/ 0 h 69532"/>
                  <a:gd name="connsiteX5" fmla="*/ 409670 w 439674"/>
                  <a:gd name="connsiteY5" fmla="*/ 95 h 69532"/>
                  <a:gd name="connsiteX6" fmla="*/ 0 w 439674"/>
                  <a:gd name="connsiteY6" fmla="*/ 762 h 69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9674" h="69532">
                    <a:moveTo>
                      <a:pt x="87249" y="69532"/>
                    </a:moveTo>
                    <a:lnTo>
                      <a:pt x="320040" y="69151"/>
                    </a:lnTo>
                    <a:lnTo>
                      <a:pt x="439674" y="68961"/>
                    </a:lnTo>
                    <a:lnTo>
                      <a:pt x="439674" y="43434"/>
                    </a:lnTo>
                    <a:lnTo>
                      <a:pt x="439579" y="0"/>
                    </a:lnTo>
                    <a:lnTo>
                      <a:pt x="409670" y="95"/>
                    </a:lnTo>
                    <a:lnTo>
                      <a:pt x="0" y="762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C4D675CB-20FF-A480-0BCF-D01489D08A9A}"/>
                  </a:ext>
                </a:extLst>
              </p:cNvPr>
              <p:cNvSpPr/>
              <p:nvPr/>
            </p:nvSpPr>
            <p:spPr>
              <a:xfrm>
                <a:off x="708912" y="2777240"/>
                <a:ext cx="575599" cy="179094"/>
              </a:xfrm>
              <a:custGeom>
                <a:avLst/>
                <a:gdLst>
                  <a:gd name="connsiteX0" fmla="*/ 1201864 w 1201864"/>
                  <a:gd name="connsiteY0" fmla="*/ 371666 h 373951"/>
                  <a:gd name="connsiteX1" fmla="*/ 1116902 w 1201864"/>
                  <a:gd name="connsiteY1" fmla="*/ 132683 h 373951"/>
                  <a:gd name="connsiteX2" fmla="*/ 1069753 w 1201864"/>
                  <a:gd name="connsiteY2" fmla="*/ 0 h 373951"/>
                  <a:gd name="connsiteX3" fmla="*/ 130683 w 1201864"/>
                  <a:gd name="connsiteY3" fmla="*/ 1714 h 373951"/>
                  <a:gd name="connsiteX4" fmla="*/ 84011 w 1201864"/>
                  <a:gd name="connsiteY4" fmla="*/ 134588 h 373951"/>
                  <a:gd name="connsiteX5" fmla="*/ 0 w 1201864"/>
                  <a:gd name="connsiteY5" fmla="*/ 373856 h 373951"/>
                  <a:gd name="connsiteX6" fmla="*/ 0 w 1201864"/>
                  <a:gd name="connsiteY6" fmla="*/ 373951 h 373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1864" h="373951">
                    <a:moveTo>
                      <a:pt x="1201864" y="371666"/>
                    </a:moveTo>
                    <a:lnTo>
                      <a:pt x="1116902" y="132683"/>
                    </a:lnTo>
                    <a:lnTo>
                      <a:pt x="1069753" y="0"/>
                    </a:lnTo>
                    <a:cubicBezTo>
                      <a:pt x="835724" y="381"/>
                      <a:pt x="364712" y="1238"/>
                      <a:pt x="130683" y="1714"/>
                    </a:cubicBezTo>
                    <a:lnTo>
                      <a:pt x="84011" y="134588"/>
                    </a:lnTo>
                    <a:lnTo>
                      <a:pt x="0" y="373856"/>
                    </a:lnTo>
                    <a:lnTo>
                      <a:pt x="0" y="373951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1" name="Freeform: Shape 310">
                <a:extLst>
                  <a:ext uri="{FF2B5EF4-FFF2-40B4-BE49-F238E27FC236}">
                    <a16:creationId xmlns:a16="http://schemas.microsoft.com/office/drawing/2014/main" id="{438CF64B-E9CD-0680-2D73-393A36DAB0B0}"/>
                  </a:ext>
                </a:extLst>
              </p:cNvPr>
              <p:cNvSpPr/>
              <p:nvPr/>
            </p:nvSpPr>
            <p:spPr>
              <a:xfrm>
                <a:off x="944434" y="3231635"/>
                <a:ext cx="105558" cy="182"/>
              </a:xfrm>
              <a:custGeom>
                <a:avLst/>
                <a:gdLst>
                  <a:gd name="connsiteX0" fmla="*/ 0 w 220408"/>
                  <a:gd name="connsiteY0" fmla="*/ 381 h 381"/>
                  <a:gd name="connsiteX1" fmla="*/ 220409 w 220408"/>
                  <a:gd name="connsiteY1" fmla="*/ 0 h 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408" h="381">
                    <a:moveTo>
                      <a:pt x="0" y="381"/>
                    </a:moveTo>
                    <a:cubicBezTo>
                      <a:pt x="54959" y="286"/>
                      <a:pt x="165449" y="95"/>
                      <a:pt x="220409" y="0"/>
                    </a:cubicBez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2" name="Freeform: Shape 311">
                <a:extLst>
                  <a:ext uri="{FF2B5EF4-FFF2-40B4-BE49-F238E27FC236}">
                    <a16:creationId xmlns:a16="http://schemas.microsoft.com/office/drawing/2014/main" id="{0D5E4842-65ED-5946-5031-36452A130FBC}"/>
                  </a:ext>
                </a:extLst>
              </p:cNvPr>
              <p:cNvSpPr/>
              <p:nvPr/>
            </p:nvSpPr>
            <p:spPr>
              <a:xfrm>
                <a:off x="944480" y="3255493"/>
                <a:ext cx="105558" cy="228"/>
              </a:xfrm>
              <a:custGeom>
                <a:avLst/>
                <a:gdLst>
                  <a:gd name="connsiteX0" fmla="*/ 0 w 220408"/>
                  <a:gd name="connsiteY0" fmla="*/ 476 h 476"/>
                  <a:gd name="connsiteX1" fmla="*/ 220409 w 220408"/>
                  <a:gd name="connsiteY1" fmla="*/ 0 h 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408" h="476">
                    <a:moveTo>
                      <a:pt x="0" y="476"/>
                    </a:moveTo>
                    <a:lnTo>
                      <a:pt x="220409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3" name="Freeform: Shape 312">
                <a:extLst>
                  <a:ext uri="{FF2B5EF4-FFF2-40B4-BE49-F238E27FC236}">
                    <a16:creationId xmlns:a16="http://schemas.microsoft.com/office/drawing/2014/main" id="{C908090D-B657-CFB9-4314-02A324E9593C}"/>
                  </a:ext>
                </a:extLst>
              </p:cNvPr>
              <p:cNvSpPr/>
              <p:nvPr/>
            </p:nvSpPr>
            <p:spPr>
              <a:xfrm>
                <a:off x="944526" y="3279396"/>
                <a:ext cx="105558" cy="182"/>
              </a:xfrm>
              <a:custGeom>
                <a:avLst/>
                <a:gdLst>
                  <a:gd name="connsiteX0" fmla="*/ 0 w 220408"/>
                  <a:gd name="connsiteY0" fmla="*/ 381 h 381"/>
                  <a:gd name="connsiteX1" fmla="*/ 220409 w 220408"/>
                  <a:gd name="connsiteY1" fmla="*/ 0 h 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408" h="381">
                    <a:moveTo>
                      <a:pt x="0" y="381"/>
                    </a:moveTo>
                    <a:lnTo>
                      <a:pt x="220409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4" name="Freeform: Shape 313">
                <a:extLst>
                  <a:ext uri="{FF2B5EF4-FFF2-40B4-BE49-F238E27FC236}">
                    <a16:creationId xmlns:a16="http://schemas.microsoft.com/office/drawing/2014/main" id="{7731CC6D-A4D5-FBDE-BB98-C600F26A0B94}"/>
                  </a:ext>
                </a:extLst>
              </p:cNvPr>
              <p:cNvSpPr/>
              <p:nvPr/>
            </p:nvSpPr>
            <p:spPr>
              <a:xfrm>
                <a:off x="965692" y="3089992"/>
                <a:ext cx="62632" cy="42561"/>
              </a:xfrm>
              <a:custGeom>
                <a:avLst/>
                <a:gdLst>
                  <a:gd name="connsiteX0" fmla="*/ 130778 w 130778"/>
                  <a:gd name="connsiteY0" fmla="*/ 88678 h 88868"/>
                  <a:gd name="connsiteX1" fmla="*/ 190 w 130778"/>
                  <a:gd name="connsiteY1" fmla="*/ 88868 h 88868"/>
                  <a:gd name="connsiteX2" fmla="*/ 0 w 130778"/>
                  <a:gd name="connsiteY2" fmla="*/ 286 h 88868"/>
                  <a:gd name="connsiteX3" fmla="*/ 130588 w 130778"/>
                  <a:gd name="connsiteY3" fmla="*/ 0 h 8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78" h="88868">
                    <a:moveTo>
                      <a:pt x="130778" y="88678"/>
                    </a:moveTo>
                    <a:lnTo>
                      <a:pt x="190" y="88868"/>
                    </a:lnTo>
                    <a:lnTo>
                      <a:pt x="0" y="286"/>
                    </a:lnTo>
                    <a:lnTo>
                      <a:pt x="130588" y="0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5" name="Freeform: Shape 314">
                <a:extLst>
                  <a:ext uri="{FF2B5EF4-FFF2-40B4-BE49-F238E27FC236}">
                    <a16:creationId xmlns:a16="http://schemas.microsoft.com/office/drawing/2014/main" id="{4DB5DAE8-300B-F7D1-B2A7-88602226CF05}"/>
                  </a:ext>
                </a:extLst>
              </p:cNvPr>
              <p:cNvSpPr/>
              <p:nvPr/>
            </p:nvSpPr>
            <p:spPr>
              <a:xfrm>
                <a:off x="965829" y="3167040"/>
                <a:ext cx="62632" cy="42561"/>
              </a:xfrm>
              <a:custGeom>
                <a:avLst/>
                <a:gdLst>
                  <a:gd name="connsiteX0" fmla="*/ 130778 w 130778"/>
                  <a:gd name="connsiteY0" fmla="*/ 88678 h 88868"/>
                  <a:gd name="connsiteX1" fmla="*/ 190 w 130778"/>
                  <a:gd name="connsiteY1" fmla="*/ 88868 h 88868"/>
                  <a:gd name="connsiteX2" fmla="*/ 0 w 130778"/>
                  <a:gd name="connsiteY2" fmla="*/ 286 h 88868"/>
                  <a:gd name="connsiteX3" fmla="*/ 130588 w 130778"/>
                  <a:gd name="connsiteY3" fmla="*/ 0 h 8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78" h="88868">
                    <a:moveTo>
                      <a:pt x="130778" y="88678"/>
                    </a:moveTo>
                    <a:lnTo>
                      <a:pt x="190" y="88868"/>
                    </a:lnTo>
                    <a:lnTo>
                      <a:pt x="0" y="286"/>
                    </a:lnTo>
                    <a:lnTo>
                      <a:pt x="130588" y="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09A2F246-E930-DDEE-25CB-CC710D4780E3}"/>
                  </a:ext>
                </a:extLst>
              </p:cNvPr>
              <p:cNvSpPr/>
              <p:nvPr/>
            </p:nvSpPr>
            <p:spPr>
              <a:xfrm>
                <a:off x="1393035" y="3063945"/>
                <a:ext cx="64822" cy="51684"/>
              </a:xfrm>
              <a:custGeom>
                <a:avLst/>
                <a:gdLst>
                  <a:gd name="connsiteX0" fmla="*/ 135350 w 135350"/>
                  <a:gd name="connsiteY0" fmla="*/ 107633 h 107918"/>
                  <a:gd name="connsiteX1" fmla="*/ 135160 w 135350"/>
                  <a:gd name="connsiteY1" fmla="*/ 0 h 107918"/>
                  <a:gd name="connsiteX2" fmla="*/ 0 w 135350"/>
                  <a:gd name="connsiteY2" fmla="*/ 191 h 107918"/>
                  <a:gd name="connsiteX3" fmla="*/ 191 w 135350"/>
                  <a:gd name="connsiteY3" fmla="*/ 107918 h 10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350" h="107918">
                    <a:moveTo>
                      <a:pt x="135350" y="107633"/>
                    </a:moveTo>
                    <a:lnTo>
                      <a:pt x="135160" y="0"/>
                    </a:lnTo>
                    <a:lnTo>
                      <a:pt x="0" y="191"/>
                    </a:lnTo>
                    <a:lnTo>
                      <a:pt x="191" y="107918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10AE10F8-AAC0-4119-EB4C-B1A407247A01}"/>
                  </a:ext>
                </a:extLst>
              </p:cNvPr>
              <p:cNvSpPr/>
              <p:nvPr/>
            </p:nvSpPr>
            <p:spPr>
              <a:xfrm>
                <a:off x="1393126" y="3115493"/>
                <a:ext cx="64822" cy="31978"/>
              </a:xfrm>
              <a:custGeom>
                <a:avLst/>
                <a:gdLst>
                  <a:gd name="connsiteX0" fmla="*/ 96202 w 135350"/>
                  <a:gd name="connsiteY0" fmla="*/ 95 h 66770"/>
                  <a:gd name="connsiteX1" fmla="*/ 135160 w 135350"/>
                  <a:gd name="connsiteY1" fmla="*/ 0 h 66770"/>
                  <a:gd name="connsiteX2" fmla="*/ 135350 w 135350"/>
                  <a:gd name="connsiteY2" fmla="*/ 66484 h 66770"/>
                  <a:gd name="connsiteX3" fmla="*/ 95 w 135350"/>
                  <a:gd name="connsiteY3" fmla="*/ 66770 h 66770"/>
                  <a:gd name="connsiteX4" fmla="*/ 0 w 135350"/>
                  <a:gd name="connsiteY4" fmla="*/ 286 h 66770"/>
                  <a:gd name="connsiteX5" fmla="*/ 38957 w 135350"/>
                  <a:gd name="connsiteY5" fmla="*/ 190 h 6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770">
                    <a:moveTo>
                      <a:pt x="96202" y="95"/>
                    </a:moveTo>
                    <a:lnTo>
                      <a:pt x="135160" y="0"/>
                    </a:lnTo>
                    <a:lnTo>
                      <a:pt x="135350" y="66484"/>
                    </a:lnTo>
                    <a:lnTo>
                      <a:pt x="95" y="66770"/>
                    </a:lnTo>
                    <a:lnTo>
                      <a:pt x="0" y="286"/>
                    </a:lnTo>
                    <a:lnTo>
                      <a:pt x="38957" y="19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3291918F-FDB0-2722-1E32-6F6B95556929}"/>
                  </a:ext>
                </a:extLst>
              </p:cNvPr>
              <p:cNvSpPr/>
              <p:nvPr/>
            </p:nvSpPr>
            <p:spPr>
              <a:xfrm>
                <a:off x="1411738" y="3084245"/>
                <a:ext cx="27461" cy="31339"/>
              </a:xfrm>
              <a:custGeom>
                <a:avLst/>
                <a:gdLst>
                  <a:gd name="connsiteX0" fmla="*/ 95 w 57340"/>
                  <a:gd name="connsiteY0" fmla="*/ 65437 h 65436"/>
                  <a:gd name="connsiteX1" fmla="*/ 57341 w 57340"/>
                  <a:gd name="connsiteY1" fmla="*/ 65342 h 65436"/>
                  <a:gd name="connsiteX2" fmla="*/ 57245 w 57340"/>
                  <a:gd name="connsiteY2" fmla="*/ 0 h 65436"/>
                  <a:gd name="connsiteX3" fmla="*/ 0 w 57340"/>
                  <a:gd name="connsiteY3" fmla="*/ 190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" h="65436">
                    <a:moveTo>
                      <a:pt x="95" y="65437"/>
                    </a:moveTo>
                    <a:lnTo>
                      <a:pt x="57341" y="65342"/>
                    </a:lnTo>
                    <a:lnTo>
                      <a:pt x="57245" y="0"/>
                    </a:lnTo>
                    <a:lnTo>
                      <a:pt x="0" y="19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19" name="Freeform: Shape 318">
                <a:extLst>
                  <a:ext uri="{FF2B5EF4-FFF2-40B4-BE49-F238E27FC236}">
                    <a16:creationId xmlns:a16="http://schemas.microsoft.com/office/drawing/2014/main" id="{3AD84D10-7FF0-911D-48DB-BC72CD99A383}"/>
                  </a:ext>
                </a:extLst>
              </p:cNvPr>
              <p:cNvSpPr/>
              <p:nvPr/>
            </p:nvSpPr>
            <p:spPr>
              <a:xfrm>
                <a:off x="1294319" y="3064128"/>
                <a:ext cx="64868" cy="51684"/>
              </a:xfrm>
              <a:custGeom>
                <a:avLst/>
                <a:gdLst>
                  <a:gd name="connsiteX0" fmla="*/ 135446 w 135445"/>
                  <a:gd name="connsiteY0" fmla="*/ 107633 h 107918"/>
                  <a:gd name="connsiteX1" fmla="*/ 135255 w 135445"/>
                  <a:gd name="connsiteY1" fmla="*/ 0 h 107918"/>
                  <a:gd name="connsiteX2" fmla="*/ 0 w 135445"/>
                  <a:gd name="connsiteY2" fmla="*/ 191 h 107918"/>
                  <a:gd name="connsiteX3" fmla="*/ 191 w 135445"/>
                  <a:gd name="connsiteY3" fmla="*/ 107918 h 107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445" h="107918">
                    <a:moveTo>
                      <a:pt x="135446" y="107633"/>
                    </a:moveTo>
                    <a:lnTo>
                      <a:pt x="135255" y="0"/>
                    </a:lnTo>
                    <a:lnTo>
                      <a:pt x="0" y="191"/>
                    </a:lnTo>
                    <a:lnTo>
                      <a:pt x="191" y="107918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0" name="Freeform: Shape 319">
                <a:extLst>
                  <a:ext uri="{FF2B5EF4-FFF2-40B4-BE49-F238E27FC236}">
                    <a16:creationId xmlns:a16="http://schemas.microsoft.com/office/drawing/2014/main" id="{800CB52A-D3C8-B587-EC72-DB946521642A}"/>
                  </a:ext>
                </a:extLst>
              </p:cNvPr>
              <p:cNvSpPr/>
              <p:nvPr/>
            </p:nvSpPr>
            <p:spPr>
              <a:xfrm>
                <a:off x="1294411" y="3115675"/>
                <a:ext cx="64822" cy="31978"/>
              </a:xfrm>
              <a:custGeom>
                <a:avLst/>
                <a:gdLst>
                  <a:gd name="connsiteX0" fmla="*/ 96298 w 135350"/>
                  <a:gd name="connsiteY0" fmla="*/ 95 h 66770"/>
                  <a:gd name="connsiteX1" fmla="*/ 135255 w 135350"/>
                  <a:gd name="connsiteY1" fmla="*/ 0 h 66770"/>
                  <a:gd name="connsiteX2" fmla="*/ 135350 w 135350"/>
                  <a:gd name="connsiteY2" fmla="*/ 66484 h 66770"/>
                  <a:gd name="connsiteX3" fmla="*/ 95 w 135350"/>
                  <a:gd name="connsiteY3" fmla="*/ 66770 h 66770"/>
                  <a:gd name="connsiteX4" fmla="*/ 0 w 135350"/>
                  <a:gd name="connsiteY4" fmla="*/ 286 h 66770"/>
                  <a:gd name="connsiteX5" fmla="*/ 38957 w 135350"/>
                  <a:gd name="connsiteY5" fmla="*/ 190 h 6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770">
                    <a:moveTo>
                      <a:pt x="96298" y="95"/>
                    </a:moveTo>
                    <a:lnTo>
                      <a:pt x="135255" y="0"/>
                    </a:lnTo>
                    <a:lnTo>
                      <a:pt x="135350" y="66484"/>
                    </a:lnTo>
                    <a:lnTo>
                      <a:pt x="95" y="66770"/>
                    </a:lnTo>
                    <a:lnTo>
                      <a:pt x="0" y="286"/>
                    </a:lnTo>
                    <a:lnTo>
                      <a:pt x="38957" y="19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1" name="Freeform: Shape 320">
                <a:extLst>
                  <a:ext uri="{FF2B5EF4-FFF2-40B4-BE49-F238E27FC236}">
                    <a16:creationId xmlns:a16="http://schemas.microsoft.com/office/drawing/2014/main" id="{6DFA8813-6F4A-C310-36D2-82F928D1DC24}"/>
                  </a:ext>
                </a:extLst>
              </p:cNvPr>
              <p:cNvSpPr/>
              <p:nvPr/>
            </p:nvSpPr>
            <p:spPr>
              <a:xfrm>
                <a:off x="1313022" y="3084427"/>
                <a:ext cx="27507" cy="31339"/>
              </a:xfrm>
              <a:custGeom>
                <a:avLst/>
                <a:gdLst>
                  <a:gd name="connsiteX0" fmla="*/ 95 w 57435"/>
                  <a:gd name="connsiteY0" fmla="*/ 65437 h 65436"/>
                  <a:gd name="connsiteX1" fmla="*/ 57436 w 57435"/>
                  <a:gd name="connsiteY1" fmla="*/ 65342 h 65436"/>
                  <a:gd name="connsiteX2" fmla="*/ 57245 w 57435"/>
                  <a:gd name="connsiteY2" fmla="*/ 0 h 65436"/>
                  <a:gd name="connsiteX3" fmla="*/ 0 w 57435"/>
                  <a:gd name="connsiteY3" fmla="*/ 191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35" h="65436">
                    <a:moveTo>
                      <a:pt x="95" y="65437"/>
                    </a:moveTo>
                    <a:lnTo>
                      <a:pt x="57436" y="65342"/>
                    </a:lnTo>
                    <a:lnTo>
                      <a:pt x="57245" y="0"/>
                    </a:lnTo>
                    <a:lnTo>
                      <a:pt x="0" y="191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7325792C-8E70-DDB8-BCCF-C9575F1D9887}"/>
                  </a:ext>
                </a:extLst>
              </p:cNvPr>
              <p:cNvSpPr/>
              <p:nvPr/>
            </p:nvSpPr>
            <p:spPr>
              <a:xfrm rot="21593713">
                <a:off x="1242089" y="3240257"/>
                <a:ext cx="249435" cy="62405"/>
              </a:xfrm>
              <a:custGeom>
                <a:avLst/>
                <a:gdLst>
                  <a:gd name="connsiteX0" fmla="*/ 0 w 520827"/>
                  <a:gd name="connsiteY0" fmla="*/ 0 h 130302"/>
                  <a:gd name="connsiteX1" fmla="*/ 520828 w 520827"/>
                  <a:gd name="connsiteY1" fmla="*/ 0 h 130302"/>
                  <a:gd name="connsiteX2" fmla="*/ 520828 w 520827"/>
                  <a:gd name="connsiteY2" fmla="*/ 130302 h 130302"/>
                  <a:gd name="connsiteX3" fmla="*/ 0 w 520827"/>
                  <a:gd name="connsiteY3" fmla="*/ 130302 h 130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0827" h="130302">
                    <a:moveTo>
                      <a:pt x="0" y="0"/>
                    </a:moveTo>
                    <a:lnTo>
                      <a:pt x="520828" y="0"/>
                    </a:lnTo>
                    <a:lnTo>
                      <a:pt x="520828" y="130302"/>
                    </a:lnTo>
                    <a:lnTo>
                      <a:pt x="0" y="130302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C25F0265-675F-1DC6-7CB4-B7C96D6333BA}"/>
                  </a:ext>
                </a:extLst>
              </p:cNvPr>
              <p:cNvSpPr/>
              <p:nvPr/>
            </p:nvSpPr>
            <p:spPr>
              <a:xfrm>
                <a:off x="1491066" y="3005327"/>
                <a:ext cx="410" cy="234701"/>
              </a:xfrm>
              <a:custGeom>
                <a:avLst/>
                <a:gdLst>
                  <a:gd name="connsiteX0" fmla="*/ 857 w 857"/>
                  <a:gd name="connsiteY0" fmla="*/ 490061 h 490061"/>
                  <a:gd name="connsiteX1" fmla="*/ 0 w 857"/>
                  <a:gd name="connsiteY1" fmla="*/ 0 h 490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" h="490061">
                    <a:moveTo>
                      <a:pt x="857" y="490061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D51A3A67-80FE-CBBC-2FD7-27B9FD10ACE3}"/>
                  </a:ext>
                </a:extLst>
              </p:cNvPr>
              <p:cNvSpPr/>
              <p:nvPr/>
            </p:nvSpPr>
            <p:spPr>
              <a:xfrm>
                <a:off x="1245235" y="2975630"/>
                <a:ext cx="266131" cy="29606"/>
              </a:xfrm>
              <a:custGeom>
                <a:avLst/>
                <a:gdLst>
                  <a:gd name="connsiteX0" fmla="*/ 0 w 555688"/>
                  <a:gd name="connsiteY0" fmla="*/ 61817 h 61817"/>
                  <a:gd name="connsiteX1" fmla="*/ 513302 w 555688"/>
                  <a:gd name="connsiteY1" fmla="*/ 60865 h 61817"/>
                  <a:gd name="connsiteX2" fmla="*/ 555689 w 555688"/>
                  <a:gd name="connsiteY2" fmla="*/ 60769 h 61817"/>
                  <a:gd name="connsiteX3" fmla="*/ 555593 w 555688"/>
                  <a:gd name="connsiteY3" fmla="*/ 0 h 61817"/>
                  <a:gd name="connsiteX4" fmla="*/ 513207 w 555688"/>
                  <a:gd name="connsiteY4" fmla="*/ 95 h 61817"/>
                  <a:gd name="connsiteX5" fmla="*/ 112014 w 555688"/>
                  <a:gd name="connsiteY5" fmla="*/ 857 h 61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5688" h="61817">
                    <a:moveTo>
                      <a:pt x="0" y="61817"/>
                    </a:moveTo>
                    <a:lnTo>
                      <a:pt x="513302" y="60865"/>
                    </a:lnTo>
                    <a:lnTo>
                      <a:pt x="555689" y="60769"/>
                    </a:lnTo>
                    <a:lnTo>
                      <a:pt x="555593" y="0"/>
                    </a:lnTo>
                    <a:lnTo>
                      <a:pt x="513207" y="95"/>
                    </a:lnTo>
                    <a:lnTo>
                      <a:pt x="112014" y="857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5" name="Freeform: Shape 324">
                <a:extLst>
                  <a:ext uri="{FF2B5EF4-FFF2-40B4-BE49-F238E27FC236}">
                    <a16:creationId xmlns:a16="http://schemas.microsoft.com/office/drawing/2014/main" id="{2D03BC18-110D-B71D-833A-1BA83C77C919}"/>
                  </a:ext>
                </a:extLst>
              </p:cNvPr>
              <p:cNvSpPr/>
              <p:nvPr/>
            </p:nvSpPr>
            <p:spPr>
              <a:xfrm>
                <a:off x="1244915" y="2840055"/>
                <a:ext cx="246105" cy="135073"/>
              </a:xfrm>
              <a:custGeom>
                <a:avLst/>
                <a:gdLst>
                  <a:gd name="connsiteX0" fmla="*/ 513874 w 513873"/>
                  <a:gd name="connsiteY0" fmla="*/ 282035 h 282035"/>
                  <a:gd name="connsiteX1" fmla="*/ 413671 w 513873"/>
                  <a:gd name="connsiteY1" fmla="*/ 0 h 282035"/>
                  <a:gd name="connsiteX2" fmla="*/ 0 w 513873"/>
                  <a:gd name="connsiteY2" fmla="*/ 762 h 282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3873" h="282035">
                    <a:moveTo>
                      <a:pt x="513874" y="282035"/>
                    </a:moveTo>
                    <a:lnTo>
                      <a:pt x="413671" y="0"/>
                    </a:lnTo>
                    <a:lnTo>
                      <a:pt x="0" y="762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6" name="Freeform: Shape 325">
                <a:extLst>
                  <a:ext uri="{FF2B5EF4-FFF2-40B4-BE49-F238E27FC236}">
                    <a16:creationId xmlns:a16="http://schemas.microsoft.com/office/drawing/2014/main" id="{4D2BCF86-FB50-B1C1-B7D8-05836C34C505}"/>
                  </a:ext>
                </a:extLst>
              </p:cNvPr>
              <p:cNvSpPr/>
              <p:nvPr/>
            </p:nvSpPr>
            <p:spPr>
              <a:xfrm>
                <a:off x="502995" y="3241397"/>
                <a:ext cx="249435" cy="456"/>
              </a:xfrm>
              <a:custGeom>
                <a:avLst/>
                <a:gdLst>
                  <a:gd name="connsiteX0" fmla="*/ 520827 w 520827"/>
                  <a:gd name="connsiteY0" fmla="*/ 0 h 952"/>
                  <a:gd name="connsiteX1" fmla="*/ 0 w 520827"/>
                  <a:gd name="connsiteY1" fmla="*/ 952 h 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0827" h="952">
                    <a:moveTo>
                      <a:pt x="520827" y="0"/>
                    </a:moveTo>
                    <a:lnTo>
                      <a:pt x="0" y="952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7" name="Freeform: Shape 326">
                <a:extLst>
                  <a:ext uri="{FF2B5EF4-FFF2-40B4-BE49-F238E27FC236}">
                    <a16:creationId xmlns:a16="http://schemas.microsoft.com/office/drawing/2014/main" id="{CEF8886E-65FD-DAE9-640B-FA5096DF6C89}"/>
                  </a:ext>
                </a:extLst>
              </p:cNvPr>
              <p:cNvSpPr/>
              <p:nvPr/>
            </p:nvSpPr>
            <p:spPr>
              <a:xfrm>
                <a:off x="536068" y="3065496"/>
                <a:ext cx="64822" cy="51730"/>
              </a:xfrm>
              <a:custGeom>
                <a:avLst/>
                <a:gdLst>
                  <a:gd name="connsiteX0" fmla="*/ 191 w 135350"/>
                  <a:gd name="connsiteY0" fmla="*/ 108013 h 108013"/>
                  <a:gd name="connsiteX1" fmla="*/ 0 w 135350"/>
                  <a:gd name="connsiteY1" fmla="*/ 286 h 108013"/>
                  <a:gd name="connsiteX2" fmla="*/ 135160 w 135350"/>
                  <a:gd name="connsiteY2" fmla="*/ 0 h 108013"/>
                  <a:gd name="connsiteX3" fmla="*/ 135350 w 135350"/>
                  <a:gd name="connsiteY3" fmla="*/ 107728 h 10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350" h="108013">
                    <a:moveTo>
                      <a:pt x="191" y="108013"/>
                    </a:moveTo>
                    <a:lnTo>
                      <a:pt x="0" y="286"/>
                    </a:lnTo>
                    <a:lnTo>
                      <a:pt x="135160" y="0"/>
                    </a:lnTo>
                    <a:lnTo>
                      <a:pt x="135350" y="107728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8" name="Freeform: Shape 327">
                <a:extLst>
                  <a:ext uri="{FF2B5EF4-FFF2-40B4-BE49-F238E27FC236}">
                    <a16:creationId xmlns:a16="http://schemas.microsoft.com/office/drawing/2014/main" id="{96DB8551-E36C-2060-1171-5419BB215C6C}"/>
                  </a:ext>
                </a:extLst>
              </p:cNvPr>
              <p:cNvSpPr/>
              <p:nvPr/>
            </p:nvSpPr>
            <p:spPr>
              <a:xfrm>
                <a:off x="536159" y="3117089"/>
                <a:ext cx="64822" cy="31932"/>
              </a:xfrm>
              <a:custGeom>
                <a:avLst/>
                <a:gdLst>
                  <a:gd name="connsiteX0" fmla="*/ 38957 w 135350"/>
                  <a:gd name="connsiteY0" fmla="*/ 190 h 66675"/>
                  <a:gd name="connsiteX1" fmla="*/ 0 w 135350"/>
                  <a:gd name="connsiteY1" fmla="*/ 286 h 66675"/>
                  <a:gd name="connsiteX2" fmla="*/ 95 w 135350"/>
                  <a:gd name="connsiteY2" fmla="*/ 66675 h 66675"/>
                  <a:gd name="connsiteX3" fmla="*/ 135350 w 135350"/>
                  <a:gd name="connsiteY3" fmla="*/ 66485 h 66675"/>
                  <a:gd name="connsiteX4" fmla="*/ 135160 w 135350"/>
                  <a:gd name="connsiteY4" fmla="*/ 0 h 66675"/>
                  <a:gd name="connsiteX5" fmla="*/ 96203 w 135350"/>
                  <a:gd name="connsiteY5" fmla="*/ 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675">
                    <a:moveTo>
                      <a:pt x="38957" y="190"/>
                    </a:moveTo>
                    <a:lnTo>
                      <a:pt x="0" y="286"/>
                    </a:lnTo>
                    <a:lnTo>
                      <a:pt x="95" y="66675"/>
                    </a:lnTo>
                    <a:lnTo>
                      <a:pt x="135350" y="66485"/>
                    </a:lnTo>
                    <a:lnTo>
                      <a:pt x="135160" y="0"/>
                    </a:lnTo>
                    <a:lnTo>
                      <a:pt x="96203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29" name="Freeform: Shape 328">
                <a:extLst>
                  <a:ext uri="{FF2B5EF4-FFF2-40B4-BE49-F238E27FC236}">
                    <a16:creationId xmlns:a16="http://schemas.microsoft.com/office/drawing/2014/main" id="{37E5E377-13B5-E2CF-C8CC-22CBCE79DC21}"/>
                  </a:ext>
                </a:extLst>
              </p:cNvPr>
              <p:cNvSpPr/>
              <p:nvPr/>
            </p:nvSpPr>
            <p:spPr>
              <a:xfrm>
                <a:off x="554726" y="3085841"/>
                <a:ext cx="27507" cy="31339"/>
              </a:xfrm>
              <a:custGeom>
                <a:avLst/>
                <a:gdLst>
                  <a:gd name="connsiteX0" fmla="*/ 57436 w 57435"/>
                  <a:gd name="connsiteY0" fmla="*/ 65342 h 65436"/>
                  <a:gd name="connsiteX1" fmla="*/ 191 w 57435"/>
                  <a:gd name="connsiteY1" fmla="*/ 65437 h 65436"/>
                  <a:gd name="connsiteX2" fmla="*/ 0 w 57435"/>
                  <a:gd name="connsiteY2" fmla="*/ 95 h 65436"/>
                  <a:gd name="connsiteX3" fmla="*/ 57341 w 57435"/>
                  <a:gd name="connsiteY3" fmla="*/ 0 h 6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35" h="65436">
                    <a:moveTo>
                      <a:pt x="57436" y="65342"/>
                    </a:moveTo>
                    <a:lnTo>
                      <a:pt x="191" y="65437"/>
                    </a:lnTo>
                    <a:lnTo>
                      <a:pt x="0" y="95"/>
                    </a:lnTo>
                    <a:lnTo>
                      <a:pt x="57341" y="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:a16="http://schemas.microsoft.com/office/drawing/2014/main" id="{7FBA1551-F7C8-0C9C-A9A1-600256ADBFC4}"/>
                  </a:ext>
                </a:extLst>
              </p:cNvPr>
              <p:cNvSpPr/>
              <p:nvPr/>
            </p:nvSpPr>
            <p:spPr>
              <a:xfrm>
                <a:off x="634738" y="3065313"/>
                <a:ext cx="64868" cy="51730"/>
              </a:xfrm>
              <a:custGeom>
                <a:avLst/>
                <a:gdLst>
                  <a:gd name="connsiteX0" fmla="*/ 191 w 135445"/>
                  <a:gd name="connsiteY0" fmla="*/ 108013 h 108013"/>
                  <a:gd name="connsiteX1" fmla="*/ 0 w 135445"/>
                  <a:gd name="connsiteY1" fmla="*/ 286 h 108013"/>
                  <a:gd name="connsiteX2" fmla="*/ 135255 w 135445"/>
                  <a:gd name="connsiteY2" fmla="*/ 0 h 108013"/>
                  <a:gd name="connsiteX3" fmla="*/ 135446 w 135445"/>
                  <a:gd name="connsiteY3" fmla="*/ 107728 h 10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445" h="108013">
                    <a:moveTo>
                      <a:pt x="191" y="108013"/>
                    </a:moveTo>
                    <a:lnTo>
                      <a:pt x="0" y="286"/>
                    </a:lnTo>
                    <a:lnTo>
                      <a:pt x="135255" y="0"/>
                    </a:lnTo>
                    <a:lnTo>
                      <a:pt x="135446" y="107728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1" name="Freeform: Shape 330">
                <a:extLst>
                  <a:ext uri="{FF2B5EF4-FFF2-40B4-BE49-F238E27FC236}">
                    <a16:creationId xmlns:a16="http://schemas.microsoft.com/office/drawing/2014/main" id="{CD2CC81B-B1CE-F0B7-DFD1-BC46AED82181}"/>
                  </a:ext>
                </a:extLst>
              </p:cNvPr>
              <p:cNvSpPr/>
              <p:nvPr/>
            </p:nvSpPr>
            <p:spPr>
              <a:xfrm>
                <a:off x="634830" y="3116907"/>
                <a:ext cx="64822" cy="31932"/>
              </a:xfrm>
              <a:custGeom>
                <a:avLst/>
                <a:gdLst>
                  <a:gd name="connsiteX0" fmla="*/ 38957 w 135350"/>
                  <a:gd name="connsiteY0" fmla="*/ 191 h 66675"/>
                  <a:gd name="connsiteX1" fmla="*/ 0 w 135350"/>
                  <a:gd name="connsiteY1" fmla="*/ 286 h 66675"/>
                  <a:gd name="connsiteX2" fmla="*/ 191 w 135350"/>
                  <a:gd name="connsiteY2" fmla="*/ 66675 h 66675"/>
                  <a:gd name="connsiteX3" fmla="*/ 135350 w 135350"/>
                  <a:gd name="connsiteY3" fmla="*/ 66485 h 66675"/>
                  <a:gd name="connsiteX4" fmla="*/ 135255 w 135350"/>
                  <a:gd name="connsiteY4" fmla="*/ 0 h 66675"/>
                  <a:gd name="connsiteX5" fmla="*/ 96298 w 135350"/>
                  <a:gd name="connsiteY5" fmla="*/ 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50" h="66675">
                    <a:moveTo>
                      <a:pt x="38957" y="191"/>
                    </a:moveTo>
                    <a:lnTo>
                      <a:pt x="0" y="286"/>
                    </a:lnTo>
                    <a:lnTo>
                      <a:pt x="191" y="66675"/>
                    </a:lnTo>
                    <a:lnTo>
                      <a:pt x="135350" y="66485"/>
                    </a:lnTo>
                    <a:lnTo>
                      <a:pt x="135255" y="0"/>
                    </a:lnTo>
                    <a:lnTo>
                      <a:pt x="96298" y="95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2" name="Freeform: Shape 331">
                <a:extLst>
                  <a:ext uri="{FF2B5EF4-FFF2-40B4-BE49-F238E27FC236}">
                    <a16:creationId xmlns:a16="http://schemas.microsoft.com/office/drawing/2014/main" id="{1B9E62C6-49BE-DA68-1793-C249E0C6F03D}"/>
                  </a:ext>
                </a:extLst>
              </p:cNvPr>
              <p:cNvSpPr/>
              <p:nvPr/>
            </p:nvSpPr>
            <p:spPr>
              <a:xfrm rot="21594289">
                <a:off x="653442" y="3085659"/>
                <a:ext cx="27461" cy="31293"/>
              </a:xfrm>
              <a:custGeom>
                <a:avLst/>
                <a:gdLst>
                  <a:gd name="connsiteX0" fmla="*/ 0 w 57340"/>
                  <a:gd name="connsiteY0" fmla="*/ 0 h 65341"/>
                  <a:gd name="connsiteX1" fmla="*/ 57341 w 57340"/>
                  <a:gd name="connsiteY1" fmla="*/ 0 h 65341"/>
                  <a:gd name="connsiteX2" fmla="*/ 57341 w 57340"/>
                  <a:gd name="connsiteY2" fmla="*/ 65342 h 65341"/>
                  <a:gd name="connsiteX3" fmla="*/ 0 w 57340"/>
                  <a:gd name="connsiteY3" fmla="*/ 65342 h 65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" h="65341">
                    <a:moveTo>
                      <a:pt x="0" y="0"/>
                    </a:moveTo>
                    <a:lnTo>
                      <a:pt x="57341" y="0"/>
                    </a:lnTo>
                    <a:lnTo>
                      <a:pt x="57341" y="65342"/>
                    </a:lnTo>
                    <a:lnTo>
                      <a:pt x="0" y="65342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3" name="Freeform: Shape 332">
                <a:extLst>
                  <a:ext uri="{FF2B5EF4-FFF2-40B4-BE49-F238E27FC236}">
                    <a16:creationId xmlns:a16="http://schemas.microsoft.com/office/drawing/2014/main" id="{14D1B248-5BA2-8F67-3191-ABED51DE6FCB}"/>
                  </a:ext>
                </a:extLst>
              </p:cNvPr>
              <p:cNvSpPr/>
              <p:nvPr/>
            </p:nvSpPr>
            <p:spPr>
              <a:xfrm>
                <a:off x="502540" y="3007152"/>
                <a:ext cx="547" cy="297106"/>
              </a:xfrm>
              <a:custGeom>
                <a:avLst/>
                <a:gdLst>
                  <a:gd name="connsiteX0" fmla="*/ 0 w 1142"/>
                  <a:gd name="connsiteY0" fmla="*/ 0 h 620363"/>
                  <a:gd name="connsiteX1" fmla="*/ 857 w 1142"/>
                  <a:gd name="connsiteY1" fmla="*/ 490061 h 620363"/>
                  <a:gd name="connsiteX2" fmla="*/ 1143 w 1142"/>
                  <a:gd name="connsiteY2" fmla="*/ 620363 h 620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2" h="620363">
                    <a:moveTo>
                      <a:pt x="0" y="0"/>
                    </a:moveTo>
                    <a:lnTo>
                      <a:pt x="857" y="490061"/>
                    </a:lnTo>
                    <a:lnTo>
                      <a:pt x="1143" y="620363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4" name="Freeform: Shape 333">
                <a:extLst>
                  <a:ext uri="{FF2B5EF4-FFF2-40B4-BE49-F238E27FC236}">
                    <a16:creationId xmlns:a16="http://schemas.microsoft.com/office/drawing/2014/main" id="{8F52768D-86B7-FF13-C33D-C973152963F9}"/>
                  </a:ext>
                </a:extLst>
              </p:cNvPr>
              <p:cNvSpPr/>
              <p:nvPr/>
            </p:nvSpPr>
            <p:spPr>
              <a:xfrm>
                <a:off x="482194" y="2977135"/>
                <a:ext cx="266177" cy="29514"/>
              </a:xfrm>
              <a:custGeom>
                <a:avLst/>
                <a:gdLst>
                  <a:gd name="connsiteX0" fmla="*/ 555784 w 555783"/>
                  <a:gd name="connsiteY0" fmla="*/ 60579 h 61626"/>
                  <a:gd name="connsiteX1" fmla="*/ 42482 w 555783"/>
                  <a:gd name="connsiteY1" fmla="*/ 61531 h 61626"/>
                  <a:gd name="connsiteX2" fmla="*/ 95 w 555783"/>
                  <a:gd name="connsiteY2" fmla="*/ 61627 h 61626"/>
                  <a:gd name="connsiteX3" fmla="*/ 0 w 555783"/>
                  <a:gd name="connsiteY3" fmla="*/ 857 h 61626"/>
                  <a:gd name="connsiteX4" fmla="*/ 42386 w 555783"/>
                  <a:gd name="connsiteY4" fmla="*/ 762 h 61626"/>
                  <a:gd name="connsiteX5" fmla="*/ 443579 w 555783"/>
                  <a:gd name="connsiteY5" fmla="*/ 0 h 61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5783" h="61626">
                    <a:moveTo>
                      <a:pt x="555784" y="60579"/>
                    </a:moveTo>
                    <a:lnTo>
                      <a:pt x="42482" y="61531"/>
                    </a:lnTo>
                    <a:lnTo>
                      <a:pt x="95" y="61627"/>
                    </a:lnTo>
                    <a:lnTo>
                      <a:pt x="0" y="857"/>
                    </a:lnTo>
                    <a:lnTo>
                      <a:pt x="42386" y="762"/>
                    </a:lnTo>
                    <a:lnTo>
                      <a:pt x="443579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5" name="Freeform: Shape 334">
                <a:extLst>
                  <a:ext uri="{FF2B5EF4-FFF2-40B4-BE49-F238E27FC236}">
                    <a16:creationId xmlns:a16="http://schemas.microsoft.com/office/drawing/2014/main" id="{865ADE9E-A62A-A6BB-3E02-837238C1A5F4}"/>
                  </a:ext>
                </a:extLst>
              </p:cNvPr>
              <p:cNvSpPr/>
              <p:nvPr/>
            </p:nvSpPr>
            <p:spPr>
              <a:xfrm>
                <a:off x="502494" y="2841332"/>
                <a:ext cx="245604" cy="135620"/>
              </a:xfrm>
              <a:custGeom>
                <a:avLst/>
                <a:gdLst>
                  <a:gd name="connsiteX0" fmla="*/ 0 w 512826"/>
                  <a:gd name="connsiteY0" fmla="*/ 283178 h 283178"/>
                  <a:gd name="connsiteX1" fmla="*/ 99155 w 512826"/>
                  <a:gd name="connsiteY1" fmla="*/ 762 h 283178"/>
                  <a:gd name="connsiteX2" fmla="*/ 512826 w 512826"/>
                  <a:gd name="connsiteY2" fmla="*/ 0 h 283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2826" h="283178">
                    <a:moveTo>
                      <a:pt x="0" y="283178"/>
                    </a:moveTo>
                    <a:lnTo>
                      <a:pt x="99155" y="762"/>
                    </a:lnTo>
                    <a:lnTo>
                      <a:pt x="512826" y="0"/>
                    </a:ln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6" name="Freeform: Shape 335">
                <a:extLst>
                  <a:ext uri="{FF2B5EF4-FFF2-40B4-BE49-F238E27FC236}">
                    <a16:creationId xmlns:a16="http://schemas.microsoft.com/office/drawing/2014/main" id="{85E2D7DA-5742-16DF-EE5A-12DC580F2284}"/>
                  </a:ext>
                </a:extLst>
              </p:cNvPr>
              <p:cNvSpPr/>
              <p:nvPr/>
            </p:nvSpPr>
            <p:spPr>
              <a:xfrm>
                <a:off x="919573" y="3006102"/>
                <a:ext cx="155007" cy="297379"/>
              </a:xfrm>
              <a:custGeom>
                <a:avLst/>
                <a:gdLst>
                  <a:gd name="connsiteX0" fmla="*/ 323660 w 323659"/>
                  <a:gd name="connsiteY0" fmla="*/ 620363 h 620934"/>
                  <a:gd name="connsiteX1" fmla="*/ 272605 w 323659"/>
                  <a:gd name="connsiteY1" fmla="*/ 620459 h 620934"/>
                  <a:gd name="connsiteX2" fmla="*/ 272510 w 323659"/>
                  <a:gd name="connsiteY2" fmla="*/ 570643 h 620934"/>
                  <a:gd name="connsiteX3" fmla="*/ 272415 w 323659"/>
                  <a:gd name="connsiteY3" fmla="*/ 520732 h 620934"/>
                  <a:gd name="connsiteX4" fmla="*/ 272320 w 323659"/>
                  <a:gd name="connsiteY4" fmla="*/ 470916 h 620934"/>
                  <a:gd name="connsiteX5" fmla="*/ 271748 w 323659"/>
                  <a:gd name="connsiteY5" fmla="*/ 118491 h 620934"/>
                  <a:gd name="connsiteX6" fmla="*/ 51244 w 323659"/>
                  <a:gd name="connsiteY6" fmla="*/ 118872 h 620934"/>
                  <a:gd name="connsiteX7" fmla="*/ 51911 w 323659"/>
                  <a:gd name="connsiteY7" fmla="*/ 471297 h 620934"/>
                  <a:gd name="connsiteX8" fmla="*/ 52006 w 323659"/>
                  <a:gd name="connsiteY8" fmla="*/ 521208 h 620934"/>
                  <a:gd name="connsiteX9" fmla="*/ 52102 w 323659"/>
                  <a:gd name="connsiteY9" fmla="*/ 571024 h 620934"/>
                  <a:gd name="connsiteX10" fmla="*/ 52197 w 323659"/>
                  <a:gd name="connsiteY10" fmla="*/ 620840 h 620934"/>
                  <a:gd name="connsiteX11" fmla="*/ 1143 w 323659"/>
                  <a:gd name="connsiteY11" fmla="*/ 620935 h 620934"/>
                  <a:gd name="connsiteX12" fmla="*/ 0 w 323659"/>
                  <a:gd name="connsiteY12" fmla="*/ 572 h 620934"/>
                  <a:gd name="connsiteX13" fmla="*/ 322516 w 323659"/>
                  <a:gd name="connsiteY13" fmla="*/ 0 h 620934"/>
                  <a:gd name="connsiteX14" fmla="*/ 323660 w 323659"/>
                  <a:gd name="connsiteY14" fmla="*/ 620363 h 620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23659" h="620934">
                    <a:moveTo>
                      <a:pt x="323660" y="620363"/>
                    </a:moveTo>
                    <a:lnTo>
                      <a:pt x="272605" y="620459"/>
                    </a:lnTo>
                    <a:cubicBezTo>
                      <a:pt x="272605" y="606933"/>
                      <a:pt x="272510" y="589979"/>
                      <a:pt x="272510" y="570643"/>
                    </a:cubicBezTo>
                    <a:cubicBezTo>
                      <a:pt x="272510" y="555403"/>
                      <a:pt x="272415" y="538639"/>
                      <a:pt x="272415" y="520732"/>
                    </a:cubicBezTo>
                    <a:cubicBezTo>
                      <a:pt x="272415" y="504920"/>
                      <a:pt x="272415" y="488156"/>
                      <a:pt x="272320" y="470916"/>
                    </a:cubicBezTo>
                    <a:cubicBezTo>
                      <a:pt x="272129" y="345377"/>
                      <a:pt x="271844" y="189833"/>
                      <a:pt x="271748" y="118491"/>
                    </a:cubicBezTo>
                    <a:cubicBezTo>
                      <a:pt x="216789" y="118586"/>
                      <a:pt x="106204" y="118777"/>
                      <a:pt x="51244" y="118872"/>
                    </a:cubicBezTo>
                    <a:cubicBezTo>
                      <a:pt x="51340" y="190500"/>
                      <a:pt x="51625" y="345853"/>
                      <a:pt x="51911" y="471297"/>
                    </a:cubicBezTo>
                    <a:cubicBezTo>
                      <a:pt x="51911" y="488633"/>
                      <a:pt x="52006" y="505301"/>
                      <a:pt x="52006" y="521208"/>
                    </a:cubicBezTo>
                    <a:cubicBezTo>
                      <a:pt x="52006" y="539020"/>
                      <a:pt x="52102" y="555784"/>
                      <a:pt x="52102" y="571024"/>
                    </a:cubicBezTo>
                    <a:cubicBezTo>
                      <a:pt x="52102" y="590360"/>
                      <a:pt x="52197" y="607314"/>
                      <a:pt x="52197" y="620840"/>
                    </a:cubicBezTo>
                    <a:lnTo>
                      <a:pt x="1143" y="620935"/>
                    </a:lnTo>
                    <a:lnTo>
                      <a:pt x="0" y="572"/>
                    </a:lnTo>
                    <a:cubicBezTo>
                      <a:pt x="80391" y="476"/>
                      <a:pt x="242125" y="95"/>
                      <a:pt x="322516" y="0"/>
                    </a:cubicBezTo>
                    <a:lnTo>
                      <a:pt x="323660" y="62036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id="{AAB47C42-E8CD-3A29-8504-80CCB7727869}"/>
                  </a:ext>
                </a:extLst>
              </p:cNvPr>
              <p:cNvSpPr/>
              <p:nvPr/>
            </p:nvSpPr>
            <p:spPr>
              <a:xfrm>
                <a:off x="944571" y="3303254"/>
                <a:ext cx="105558" cy="182"/>
              </a:xfrm>
              <a:custGeom>
                <a:avLst/>
                <a:gdLst>
                  <a:gd name="connsiteX0" fmla="*/ 220408 w 220408"/>
                  <a:gd name="connsiteY0" fmla="*/ 0 h 380"/>
                  <a:gd name="connsiteX1" fmla="*/ 0 w 220408"/>
                  <a:gd name="connsiteY1" fmla="*/ 381 h 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0408" h="380">
                    <a:moveTo>
                      <a:pt x="220408" y="0"/>
                    </a:moveTo>
                    <a:lnTo>
                      <a:pt x="0" y="381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09BCFBF3-5AA9-CF5F-EA94-8D75A5C1143D}"/>
                  </a:ext>
                </a:extLst>
              </p:cNvPr>
              <p:cNvSpPr/>
              <p:nvPr/>
            </p:nvSpPr>
            <p:spPr>
              <a:xfrm>
                <a:off x="1111348" y="3302889"/>
                <a:ext cx="130830" cy="228"/>
              </a:xfrm>
              <a:custGeom>
                <a:avLst/>
                <a:gdLst>
                  <a:gd name="connsiteX0" fmla="*/ 273177 w 273177"/>
                  <a:gd name="connsiteY0" fmla="*/ 0 h 476"/>
                  <a:gd name="connsiteX1" fmla="*/ 0 w 273177"/>
                  <a:gd name="connsiteY1" fmla="*/ 476 h 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3177" h="476">
                    <a:moveTo>
                      <a:pt x="273177" y="0"/>
                    </a:moveTo>
                    <a:lnTo>
                      <a:pt x="0" y="476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39" name="Freeform: Shape 338">
                <a:extLst>
                  <a:ext uri="{FF2B5EF4-FFF2-40B4-BE49-F238E27FC236}">
                    <a16:creationId xmlns:a16="http://schemas.microsoft.com/office/drawing/2014/main" id="{BE49E8DF-4644-1C88-21CB-34EE263E862E}"/>
                  </a:ext>
                </a:extLst>
              </p:cNvPr>
              <p:cNvSpPr/>
              <p:nvPr/>
            </p:nvSpPr>
            <p:spPr>
              <a:xfrm>
                <a:off x="502540" y="3303573"/>
                <a:ext cx="380813" cy="730"/>
              </a:xfrm>
              <a:custGeom>
                <a:avLst/>
                <a:gdLst>
                  <a:gd name="connsiteX0" fmla="*/ 859250 w 859250"/>
                  <a:gd name="connsiteY0" fmla="*/ 0 h 1524"/>
                  <a:gd name="connsiteX1" fmla="*/ 586169 w 859250"/>
                  <a:gd name="connsiteY1" fmla="*/ 476 h 1524"/>
                  <a:gd name="connsiteX2" fmla="*/ 65246 w 859250"/>
                  <a:gd name="connsiteY2" fmla="*/ 1429 h 1524"/>
                  <a:gd name="connsiteX3" fmla="*/ 0 w 859250"/>
                  <a:gd name="connsiteY3" fmla="*/ 1524 h 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9250" h="1524">
                    <a:moveTo>
                      <a:pt x="859250" y="0"/>
                    </a:moveTo>
                    <a:cubicBezTo>
                      <a:pt x="788861" y="95"/>
                      <a:pt x="691896" y="286"/>
                      <a:pt x="586169" y="476"/>
                    </a:cubicBezTo>
                    <a:cubicBezTo>
                      <a:pt x="408908" y="857"/>
                      <a:pt x="207169" y="1238"/>
                      <a:pt x="65246" y="1429"/>
                    </a:cubicBezTo>
                    <a:cubicBezTo>
                      <a:pt x="41720" y="1429"/>
                      <a:pt x="19812" y="1524"/>
                      <a:pt x="0" y="1524"/>
                    </a:cubicBezTo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D26C01D-5326-0696-7A99-EDD055BC67CD}"/>
                </a:ext>
              </a:extLst>
            </p:cNvPr>
            <p:cNvGrpSpPr/>
            <p:nvPr/>
          </p:nvGrpSpPr>
          <p:grpSpPr>
            <a:xfrm>
              <a:off x="378476" y="3187484"/>
              <a:ext cx="1236608" cy="657225"/>
              <a:chOff x="378476" y="3187484"/>
              <a:chExt cx="1236608" cy="657225"/>
            </a:xfrm>
          </p:grpSpPr>
          <p:grpSp>
            <p:nvGrpSpPr>
              <p:cNvPr id="343" name="Group 342">
                <a:extLst>
                  <a:ext uri="{FF2B5EF4-FFF2-40B4-BE49-F238E27FC236}">
                    <a16:creationId xmlns:a16="http://schemas.microsoft.com/office/drawing/2014/main" id="{85F62388-1DE5-C009-A43C-813046C6F572}"/>
                  </a:ext>
                </a:extLst>
              </p:cNvPr>
              <p:cNvGrpSpPr/>
              <p:nvPr/>
            </p:nvGrpSpPr>
            <p:grpSpPr>
              <a:xfrm>
                <a:off x="378476" y="3187484"/>
                <a:ext cx="1236608" cy="657225"/>
                <a:chOff x="4964810" y="2791431"/>
                <a:chExt cx="1104805" cy="587175"/>
              </a:xfrm>
            </p:grpSpPr>
            <p:sp>
              <p:nvSpPr>
                <p:cNvPr id="344" name="Freeform: Shape 343">
                  <a:extLst>
                    <a:ext uri="{FF2B5EF4-FFF2-40B4-BE49-F238E27FC236}">
                      <a16:creationId xmlns:a16="http://schemas.microsoft.com/office/drawing/2014/main" id="{285C2C47-673A-F596-98BD-D9F2547932C4}"/>
                    </a:ext>
                  </a:extLst>
                </p:cNvPr>
                <p:cNvSpPr/>
                <p:nvPr/>
              </p:nvSpPr>
              <p:spPr>
                <a:xfrm rot="15133802">
                  <a:off x="5076434" y="2886990"/>
                  <a:ext cx="72197" cy="133677"/>
                </a:xfrm>
                <a:custGeom>
                  <a:avLst/>
                  <a:gdLst>
                    <a:gd name="connsiteX0" fmla="*/ 0 w 40315"/>
                    <a:gd name="connsiteY0" fmla="*/ 0 h 133677"/>
                    <a:gd name="connsiteX1" fmla="*/ 17621 w 40315"/>
                    <a:gd name="connsiteY1" fmla="*/ 38862 h 133677"/>
                    <a:gd name="connsiteX2" fmla="*/ 21431 w 40315"/>
                    <a:gd name="connsiteY2" fmla="*/ 61151 h 133677"/>
                    <a:gd name="connsiteX3" fmla="*/ 36767 w 40315"/>
                    <a:gd name="connsiteY3" fmla="*/ 105442 h 133677"/>
                    <a:gd name="connsiteX4" fmla="*/ 38481 w 40315"/>
                    <a:gd name="connsiteY4" fmla="*/ 115824 h 133677"/>
                    <a:gd name="connsiteX5" fmla="*/ 40195 w 40315"/>
                    <a:gd name="connsiteY5" fmla="*/ 128778 h 133677"/>
                    <a:gd name="connsiteX6" fmla="*/ 39433 w 40315"/>
                    <a:gd name="connsiteY6" fmla="*/ 132969 h 133677"/>
                    <a:gd name="connsiteX7" fmla="*/ 34481 w 40315"/>
                    <a:gd name="connsiteY7" fmla="*/ 132683 h 133677"/>
                    <a:gd name="connsiteX8" fmla="*/ 26289 w 40315"/>
                    <a:gd name="connsiteY8" fmla="*/ 120968 h 133677"/>
                    <a:gd name="connsiteX9" fmla="*/ 1619 w 40315"/>
                    <a:gd name="connsiteY9" fmla="*/ 69723 h 133677"/>
                    <a:gd name="connsiteX0" fmla="*/ 31881 w 72196"/>
                    <a:gd name="connsiteY0" fmla="*/ 0 h 133677"/>
                    <a:gd name="connsiteX1" fmla="*/ 49502 w 72196"/>
                    <a:gd name="connsiteY1" fmla="*/ 38862 h 133677"/>
                    <a:gd name="connsiteX2" fmla="*/ 53312 w 72196"/>
                    <a:gd name="connsiteY2" fmla="*/ 61151 h 133677"/>
                    <a:gd name="connsiteX3" fmla="*/ 68648 w 72196"/>
                    <a:gd name="connsiteY3" fmla="*/ 105442 h 133677"/>
                    <a:gd name="connsiteX4" fmla="*/ 70362 w 72196"/>
                    <a:gd name="connsiteY4" fmla="*/ 115824 h 133677"/>
                    <a:gd name="connsiteX5" fmla="*/ 72076 w 72196"/>
                    <a:gd name="connsiteY5" fmla="*/ 128778 h 133677"/>
                    <a:gd name="connsiteX6" fmla="*/ 71314 w 72196"/>
                    <a:gd name="connsiteY6" fmla="*/ 132969 h 133677"/>
                    <a:gd name="connsiteX7" fmla="*/ 66362 w 72196"/>
                    <a:gd name="connsiteY7" fmla="*/ 132683 h 133677"/>
                    <a:gd name="connsiteX8" fmla="*/ 58170 w 72196"/>
                    <a:gd name="connsiteY8" fmla="*/ 120968 h 133677"/>
                    <a:gd name="connsiteX9" fmla="*/ 0 w 72196"/>
                    <a:gd name="connsiteY9" fmla="*/ 20467 h 1336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2196" h="133677">
                      <a:moveTo>
                        <a:pt x="31881" y="0"/>
                      </a:moveTo>
                      <a:cubicBezTo>
                        <a:pt x="39025" y="12383"/>
                        <a:pt x="46359" y="24956"/>
                        <a:pt x="49502" y="38862"/>
                      </a:cubicBezTo>
                      <a:cubicBezTo>
                        <a:pt x="51217" y="46196"/>
                        <a:pt x="51693" y="53816"/>
                        <a:pt x="53312" y="61151"/>
                      </a:cubicBezTo>
                      <a:cubicBezTo>
                        <a:pt x="56836" y="76391"/>
                        <a:pt x="65314" y="90107"/>
                        <a:pt x="68648" y="105442"/>
                      </a:cubicBezTo>
                      <a:cubicBezTo>
                        <a:pt x="69410" y="108871"/>
                        <a:pt x="69886" y="112395"/>
                        <a:pt x="70362" y="115824"/>
                      </a:cubicBezTo>
                      <a:cubicBezTo>
                        <a:pt x="70934" y="120110"/>
                        <a:pt x="71505" y="124492"/>
                        <a:pt x="72076" y="128778"/>
                      </a:cubicBezTo>
                      <a:cubicBezTo>
                        <a:pt x="72267" y="130207"/>
                        <a:pt x="72362" y="131921"/>
                        <a:pt x="71314" y="132969"/>
                      </a:cubicBezTo>
                      <a:cubicBezTo>
                        <a:pt x="70076" y="134207"/>
                        <a:pt x="67886" y="133636"/>
                        <a:pt x="66362" y="132683"/>
                      </a:cubicBezTo>
                      <a:cubicBezTo>
                        <a:pt x="62266" y="130112"/>
                        <a:pt x="60170" y="125349"/>
                        <a:pt x="58170" y="120968"/>
                      </a:cubicBezTo>
                      <a:cubicBezTo>
                        <a:pt x="50550" y="103632"/>
                        <a:pt x="8763" y="37231"/>
                        <a:pt x="0" y="20467"/>
                      </a:cubicBezTo>
                    </a:path>
                  </a:pathLst>
                </a:custGeom>
                <a:solidFill>
                  <a:srgbClr val="E1EBE5"/>
                </a:solidFill>
                <a:ln w="3175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45" name="Freeform: Shape 344">
                  <a:extLst>
                    <a:ext uri="{FF2B5EF4-FFF2-40B4-BE49-F238E27FC236}">
                      <a16:creationId xmlns:a16="http://schemas.microsoft.com/office/drawing/2014/main" id="{A74D84B8-406A-3AD2-8174-B20D6E546B40}"/>
                    </a:ext>
                  </a:extLst>
                </p:cNvPr>
                <p:cNvSpPr/>
                <p:nvPr/>
              </p:nvSpPr>
              <p:spPr>
                <a:xfrm>
                  <a:off x="5773388" y="2846042"/>
                  <a:ext cx="154082" cy="531946"/>
                </a:xfrm>
                <a:custGeom>
                  <a:avLst/>
                  <a:gdLst>
                    <a:gd name="connsiteX0" fmla="*/ 40672 w 154082"/>
                    <a:gd name="connsiteY0" fmla="*/ 196840 h 539496"/>
                    <a:gd name="connsiteX1" fmla="*/ 35433 w 154082"/>
                    <a:gd name="connsiteY1" fmla="*/ 314855 h 539496"/>
                    <a:gd name="connsiteX2" fmla="*/ 49816 w 154082"/>
                    <a:gd name="connsiteY2" fmla="*/ 500878 h 539496"/>
                    <a:gd name="connsiteX3" fmla="*/ 2477 w 154082"/>
                    <a:gd name="connsiteY3" fmla="*/ 526976 h 539496"/>
                    <a:gd name="connsiteX4" fmla="*/ 0 w 154082"/>
                    <a:gd name="connsiteY4" fmla="*/ 528977 h 539496"/>
                    <a:gd name="connsiteX5" fmla="*/ 0 w 154082"/>
                    <a:gd name="connsiteY5" fmla="*/ 532501 h 539496"/>
                    <a:gd name="connsiteX6" fmla="*/ 5906 w 154082"/>
                    <a:gd name="connsiteY6" fmla="*/ 532501 h 539496"/>
                    <a:gd name="connsiteX7" fmla="*/ 64865 w 154082"/>
                    <a:gd name="connsiteY7" fmla="*/ 524500 h 539496"/>
                    <a:gd name="connsiteX8" fmla="*/ 68866 w 154082"/>
                    <a:gd name="connsiteY8" fmla="*/ 500878 h 539496"/>
                    <a:gd name="connsiteX9" fmla="*/ 70866 w 154082"/>
                    <a:gd name="connsiteY9" fmla="*/ 524500 h 539496"/>
                    <a:gd name="connsiteX10" fmla="*/ 140208 w 154082"/>
                    <a:gd name="connsiteY10" fmla="*/ 538025 h 539496"/>
                    <a:gd name="connsiteX11" fmla="*/ 87440 w 154082"/>
                    <a:gd name="connsiteY11" fmla="*/ 500878 h 539496"/>
                    <a:gd name="connsiteX12" fmla="*/ 119444 w 154082"/>
                    <a:gd name="connsiteY12" fmla="*/ 402008 h 539496"/>
                    <a:gd name="connsiteX13" fmla="*/ 119634 w 154082"/>
                    <a:gd name="connsiteY13" fmla="*/ 402008 h 539496"/>
                    <a:gd name="connsiteX14" fmla="*/ 133445 w 154082"/>
                    <a:gd name="connsiteY14" fmla="*/ 363146 h 539496"/>
                    <a:gd name="connsiteX15" fmla="*/ 137731 w 154082"/>
                    <a:gd name="connsiteY15" fmla="*/ 336762 h 539496"/>
                    <a:gd name="connsiteX16" fmla="*/ 139827 w 154082"/>
                    <a:gd name="connsiteY16" fmla="*/ 336762 h 539496"/>
                    <a:gd name="connsiteX17" fmla="*/ 140780 w 154082"/>
                    <a:gd name="connsiteY17" fmla="*/ 313140 h 539496"/>
                    <a:gd name="connsiteX18" fmla="*/ 146018 w 154082"/>
                    <a:gd name="connsiteY18" fmla="*/ 303329 h 539496"/>
                    <a:gd name="connsiteX19" fmla="*/ 153924 w 154082"/>
                    <a:gd name="connsiteY19" fmla="*/ 304853 h 539496"/>
                    <a:gd name="connsiteX20" fmla="*/ 153924 w 154082"/>
                    <a:gd name="connsiteY20" fmla="*/ 304853 h 539496"/>
                    <a:gd name="connsiteX21" fmla="*/ 153924 w 154082"/>
                    <a:gd name="connsiteY21" fmla="*/ 304853 h 539496"/>
                    <a:gd name="connsiteX22" fmla="*/ 153924 w 154082"/>
                    <a:gd name="connsiteY22" fmla="*/ 304853 h 539496"/>
                    <a:gd name="connsiteX23" fmla="*/ 119729 w 154082"/>
                    <a:gd name="connsiteY23" fmla="*/ 138642 h 539496"/>
                    <a:gd name="connsiteX24" fmla="*/ 136874 w 154082"/>
                    <a:gd name="connsiteY24" fmla="*/ 22628 h 539496"/>
                    <a:gd name="connsiteX25" fmla="*/ 96203 w 154082"/>
                    <a:gd name="connsiteY25" fmla="*/ 9864 h 539496"/>
                    <a:gd name="connsiteX26" fmla="*/ 101060 w 154082"/>
                    <a:gd name="connsiteY26" fmla="*/ 12817 h 539496"/>
                    <a:gd name="connsiteX27" fmla="*/ 57912 w 154082"/>
                    <a:gd name="connsiteY27" fmla="*/ 1482 h 539496"/>
                    <a:gd name="connsiteX28" fmla="*/ 79153 w 154082"/>
                    <a:gd name="connsiteY28" fmla="*/ 17389 h 539496"/>
                    <a:gd name="connsiteX29" fmla="*/ 42196 w 154082"/>
                    <a:gd name="connsiteY29" fmla="*/ 131879 h 539496"/>
                    <a:gd name="connsiteX30" fmla="*/ 41434 w 154082"/>
                    <a:gd name="connsiteY30" fmla="*/ 150739 h 539496"/>
                    <a:gd name="connsiteX0" fmla="*/ 40672 w 154082"/>
                    <a:gd name="connsiteY0" fmla="*/ 189290 h 531946"/>
                    <a:gd name="connsiteX1" fmla="*/ 35433 w 154082"/>
                    <a:gd name="connsiteY1" fmla="*/ 307305 h 531946"/>
                    <a:gd name="connsiteX2" fmla="*/ 49816 w 154082"/>
                    <a:gd name="connsiteY2" fmla="*/ 493328 h 531946"/>
                    <a:gd name="connsiteX3" fmla="*/ 2477 w 154082"/>
                    <a:gd name="connsiteY3" fmla="*/ 519426 h 531946"/>
                    <a:gd name="connsiteX4" fmla="*/ 0 w 154082"/>
                    <a:gd name="connsiteY4" fmla="*/ 521427 h 531946"/>
                    <a:gd name="connsiteX5" fmla="*/ 0 w 154082"/>
                    <a:gd name="connsiteY5" fmla="*/ 524951 h 531946"/>
                    <a:gd name="connsiteX6" fmla="*/ 5906 w 154082"/>
                    <a:gd name="connsiteY6" fmla="*/ 524951 h 531946"/>
                    <a:gd name="connsiteX7" fmla="*/ 64865 w 154082"/>
                    <a:gd name="connsiteY7" fmla="*/ 516950 h 531946"/>
                    <a:gd name="connsiteX8" fmla="*/ 68866 w 154082"/>
                    <a:gd name="connsiteY8" fmla="*/ 493328 h 531946"/>
                    <a:gd name="connsiteX9" fmla="*/ 70866 w 154082"/>
                    <a:gd name="connsiteY9" fmla="*/ 516950 h 531946"/>
                    <a:gd name="connsiteX10" fmla="*/ 140208 w 154082"/>
                    <a:gd name="connsiteY10" fmla="*/ 530475 h 531946"/>
                    <a:gd name="connsiteX11" fmla="*/ 87440 w 154082"/>
                    <a:gd name="connsiteY11" fmla="*/ 493328 h 531946"/>
                    <a:gd name="connsiteX12" fmla="*/ 119444 w 154082"/>
                    <a:gd name="connsiteY12" fmla="*/ 394458 h 531946"/>
                    <a:gd name="connsiteX13" fmla="*/ 119634 w 154082"/>
                    <a:gd name="connsiteY13" fmla="*/ 394458 h 531946"/>
                    <a:gd name="connsiteX14" fmla="*/ 133445 w 154082"/>
                    <a:gd name="connsiteY14" fmla="*/ 355596 h 531946"/>
                    <a:gd name="connsiteX15" fmla="*/ 137731 w 154082"/>
                    <a:gd name="connsiteY15" fmla="*/ 329212 h 531946"/>
                    <a:gd name="connsiteX16" fmla="*/ 139827 w 154082"/>
                    <a:gd name="connsiteY16" fmla="*/ 329212 h 531946"/>
                    <a:gd name="connsiteX17" fmla="*/ 140780 w 154082"/>
                    <a:gd name="connsiteY17" fmla="*/ 305590 h 531946"/>
                    <a:gd name="connsiteX18" fmla="*/ 146018 w 154082"/>
                    <a:gd name="connsiteY18" fmla="*/ 295779 h 531946"/>
                    <a:gd name="connsiteX19" fmla="*/ 153924 w 154082"/>
                    <a:gd name="connsiteY19" fmla="*/ 297303 h 531946"/>
                    <a:gd name="connsiteX20" fmla="*/ 153924 w 154082"/>
                    <a:gd name="connsiteY20" fmla="*/ 297303 h 531946"/>
                    <a:gd name="connsiteX21" fmla="*/ 153924 w 154082"/>
                    <a:gd name="connsiteY21" fmla="*/ 297303 h 531946"/>
                    <a:gd name="connsiteX22" fmla="*/ 153924 w 154082"/>
                    <a:gd name="connsiteY22" fmla="*/ 297303 h 531946"/>
                    <a:gd name="connsiteX23" fmla="*/ 119729 w 154082"/>
                    <a:gd name="connsiteY23" fmla="*/ 131092 h 531946"/>
                    <a:gd name="connsiteX24" fmla="*/ 136874 w 154082"/>
                    <a:gd name="connsiteY24" fmla="*/ 15078 h 531946"/>
                    <a:gd name="connsiteX25" fmla="*/ 96203 w 154082"/>
                    <a:gd name="connsiteY25" fmla="*/ 2314 h 531946"/>
                    <a:gd name="connsiteX26" fmla="*/ 101060 w 154082"/>
                    <a:gd name="connsiteY26" fmla="*/ 5267 h 531946"/>
                    <a:gd name="connsiteX27" fmla="*/ 79153 w 154082"/>
                    <a:gd name="connsiteY27" fmla="*/ 9839 h 531946"/>
                    <a:gd name="connsiteX28" fmla="*/ 42196 w 154082"/>
                    <a:gd name="connsiteY28" fmla="*/ 124329 h 531946"/>
                    <a:gd name="connsiteX29" fmla="*/ 41434 w 154082"/>
                    <a:gd name="connsiteY29" fmla="*/ 143189 h 531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54082" h="531946">
                      <a:moveTo>
                        <a:pt x="40672" y="189290"/>
                      </a:moveTo>
                      <a:cubicBezTo>
                        <a:pt x="39433" y="196053"/>
                        <a:pt x="35433" y="307305"/>
                        <a:pt x="35433" y="307305"/>
                      </a:cubicBezTo>
                      <a:lnTo>
                        <a:pt x="49816" y="493328"/>
                      </a:lnTo>
                      <a:lnTo>
                        <a:pt x="2477" y="519426"/>
                      </a:lnTo>
                      <a:lnTo>
                        <a:pt x="0" y="521427"/>
                      </a:lnTo>
                      <a:lnTo>
                        <a:pt x="0" y="524951"/>
                      </a:lnTo>
                      <a:lnTo>
                        <a:pt x="5906" y="524951"/>
                      </a:lnTo>
                      <a:cubicBezTo>
                        <a:pt x="5906" y="524951"/>
                        <a:pt x="58960" y="520950"/>
                        <a:pt x="64865" y="516950"/>
                      </a:cubicBezTo>
                      <a:cubicBezTo>
                        <a:pt x="67056" y="502662"/>
                        <a:pt x="68866" y="493328"/>
                        <a:pt x="68866" y="493328"/>
                      </a:cubicBezTo>
                      <a:lnTo>
                        <a:pt x="70866" y="516950"/>
                      </a:lnTo>
                      <a:cubicBezTo>
                        <a:pt x="70866" y="516950"/>
                        <a:pt x="131826" y="537524"/>
                        <a:pt x="140208" y="530475"/>
                      </a:cubicBezTo>
                      <a:cubicBezTo>
                        <a:pt x="148590" y="523713"/>
                        <a:pt x="87440" y="493328"/>
                        <a:pt x="87440" y="493328"/>
                      </a:cubicBezTo>
                      <a:lnTo>
                        <a:pt x="119444" y="394458"/>
                      </a:lnTo>
                      <a:lnTo>
                        <a:pt x="119634" y="394458"/>
                      </a:lnTo>
                      <a:lnTo>
                        <a:pt x="133445" y="355596"/>
                      </a:lnTo>
                      <a:lnTo>
                        <a:pt x="137731" y="329212"/>
                      </a:lnTo>
                      <a:lnTo>
                        <a:pt x="139827" y="329212"/>
                      </a:lnTo>
                      <a:cubicBezTo>
                        <a:pt x="140145" y="321338"/>
                        <a:pt x="140462" y="313464"/>
                        <a:pt x="140780" y="305590"/>
                      </a:cubicBezTo>
                      <a:lnTo>
                        <a:pt x="146018" y="295779"/>
                      </a:lnTo>
                      <a:lnTo>
                        <a:pt x="153924" y="297303"/>
                      </a:lnTo>
                      <a:lnTo>
                        <a:pt x="153924" y="297303"/>
                      </a:lnTo>
                      <a:lnTo>
                        <a:pt x="153924" y="297303"/>
                      </a:lnTo>
                      <a:lnTo>
                        <a:pt x="153924" y="297303"/>
                      </a:lnTo>
                      <a:cubicBezTo>
                        <a:pt x="153924" y="297303"/>
                        <a:pt x="158401" y="261108"/>
                        <a:pt x="119729" y="131092"/>
                      </a:cubicBezTo>
                      <a:cubicBezTo>
                        <a:pt x="139827" y="108994"/>
                        <a:pt x="169545" y="64322"/>
                        <a:pt x="136874" y="15078"/>
                      </a:cubicBezTo>
                      <a:cubicBezTo>
                        <a:pt x="125254" y="-3020"/>
                        <a:pt x="96203" y="2314"/>
                        <a:pt x="96203" y="2314"/>
                      </a:cubicBezTo>
                      <a:cubicBezTo>
                        <a:pt x="96203" y="2314"/>
                        <a:pt x="97060" y="30127"/>
                        <a:pt x="101060" y="5267"/>
                      </a:cubicBezTo>
                      <a:cubicBezTo>
                        <a:pt x="98218" y="6521"/>
                        <a:pt x="88964" y="-10005"/>
                        <a:pt x="79153" y="9839"/>
                      </a:cubicBezTo>
                      <a:cubicBezTo>
                        <a:pt x="64770" y="19364"/>
                        <a:pt x="17717" y="64036"/>
                        <a:pt x="42196" y="124329"/>
                      </a:cubicBezTo>
                      <a:cubicBezTo>
                        <a:pt x="41720" y="134902"/>
                        <a:pt x="41434" y="143189"/>
                        <a:pt x="41434" y="143189"/>
                      </a:cubicBezTo>
                    </a:path>
                  </a:pathLst>
                </a:custGeom>
                <a:solidFill>
                  <a:srgbClr val="E1EB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46" name="Freeform: Shape 345">
                  <a:extLst>
                    <a:ext uri="{FF2B5EF4-FFF2-40B4-BE49-F238E27FC236}">
                      <a16:creationId xmlns:a16="http://schemas.microsoft.com/office/drawing/2014/main" id="{2650D00A-FB52-A5D5-4C58-3762FE88FA45}"/>
                    </a:ext>
                  </a:extLst>
                </p:cNvPr>
                <p:cNvSpPr/>
                <p:nvPr/>
              </p:nvSpPr>
              <p:spPr>
                <a:xfrm>
                  <a:off x="5808154" y="2847010"/>
                  <a:ext cx="115807" cy="148773"/>
                </a:xfrm>
                <a:custGeom>
                  <a:avLst/>
                  <a:gdLst>
                    <a:gd name="connsiteX0" fmla="*/ 38671 w 115807"/>
                    <a:gd name="connsiteY0" fmla="*/ 12109 h 148773"/>
                    <a:gd name="connsiteX1" fmla="*/ 38671 w 115807"/>
                    <a:gd name="connsiteY1" fmla="*/ 12109 h 148773"/>
                    <a:gd name="connsiteX2" fmla="*/ 31242 w 115807"/>
                    <a:gd name="connsiteY2" fmla="*/ 19348 h 148773"/>
                    <a:gd name="connsiteX3" fmla="*/ 24289 w 115807"/>
                    <a:gd name="connsiteY3" fmla="*/ 27158 h 148773"/>
                    <a:gd name="connsiteX4" fmla="*/ 18098 w 115807"/>
                    <a:gd name="connsiteY4" fmla="*/ 35159 h 148773"/>
                    <a:gd name="connsiteX5" fmla="*/ 12859 w 115807"/>
                    <a:gd name="connsiteY5" fmla="*/ 44494 h 148773"/>
                    <a:gd name="connsiteX6" fmla="*/ 7620 w 115807"/>
                    <a:gd name="connsiteY6" fmla="*/ 53542 h 148773"/>
                    <a:gd name="connsiteX7" fmla="*/ 4667 w 115807"/>
                    <a:gd name="connsiteY7" fmla="*/ 63544 h 148773"/>
                    <a:gd name="connsiteX8" fmla="*/ 2477 w 115807"/>
                    <a:gd name="connsiteY8" fmla="*/ 73545 h 148773"/>
                    <a:gd name="connsiteX9" fmla="*/ 286 w 115807"/>
                    <a:gd name="connsiteY9" fmla="*/ 83832 h 148773"/>
                    <a:gd name="connsiteX10" fmla="*/ 0 w 115807"/>
                    <a:gd name="connsiteY10" fmla="*/ 94405 h 148773"/>
                    <a:gd name="connsiteX11" fmla="*/ 1238 w 115807"/>
                    <a:gd name="connsiteY11" fmla="*/ 104977 h 148773"/>
                    <a:gd name="connsiteX12" fmla="*/ 3715 w 115807"/>
                    <a:gd name="connsiteY12" fmla="*/ 114979 h 148773"/>
                    <a:gd name="connsiteX13" fmla="*/ 7144 w 115807"/>
                    <a:gd name="connsiteY13" fmla="*/ 124789 h 148773"/>
                    <a:gd name="connsiteX14" fmla="*/ 13335 w 115807"/>
                    <a:gd name="connsiteY14" fmla="*/ 133362 h 148773"/>
                    <a:gd name="connsiteX15" fmla="*/ 20479 w 115807"/>
                    <a:gd name="connsiteY15" fmla="*/ 140887 h 148773"/>
                    <a:gd name="connsiteX16" fmla="*/ 29623 w 115807"/>
                    <a:gd name="connsiteY16" fmla="*/ 145649 h 148773"/>
                    <a:gd name="connsiteX17" fmla="*/ 39529 w 115807"/>
                    <a:gd name="connsiteY17" fmla="*/ 147935 h 148773"/>
                    <a:gd name="connsiteX18" fmla="*/ 49911 w 115807"/>
                    <a:gd name="connsiteY18" fmla="*/ 148697 h 148773"/>
                    <a:gd name="connsiteX19" fmla="*/ 59531 w 115807"/>
                    <a:gd name="connsiteY19" fmla="*/ 145649 h 148773"/>
                    <a:gd name="connsiteX20" fmla="*/ 69152 w 115807"/>
                    <a:gd name="connsiteY20" fmla="*/ 141649 h 148773"/>
                    <a:gd name="connsiteX21" fmla="*/ 77819 w 115807"/>
                    <a:gd name="connsiteY21" fmla="*/ 136410 h 148773"/>
                    <a:gd name="connsiteX22" fmla="*/ 85535 w 115807"/>
                    <a:gd name="connsiteY22" fmla="*/ 129171 h 148773"/>
                    <a:gd name="connsiteX23" fmla="*/ 92488 w 115807"/>
                    <a:gd name="connsiteY23" fmla="*/ 121646 h 148773"/>
                    <a:gd name="connsiteX24" fmla="*/ 98965 w 115807"/>
                    <a:gd name="connsiteY24" fmla="*/ 113645 h 148773"/>
                    <a:gd name="connsiteX25" fmla="*/ 104204 w 115807"/>
                    <a:gd name="connsiteY25" fmla="*/ 104596 h 148773"/>
                    <a:gd name="connsiteX26" fmla="*/ 108204 w 115807"/>
                    <a:gd name="connsiteY26" fmla="*/ 94786 h 148773"/>
                    <a:gd name="connsiteX27" fmla="*/ 110966 w 115807"/>
                    <a:gd name="connsiteY27" fmla="*/ 84784 h 148773"/>
                    <a:gd name="connsiteX28" fmla="*/ 114205 w 115807"/>
                    <a:gd name="connsiteY28" fmla="*/ 74974 h 148773"/>
                    <a:gd name="connsiteX29" fmla="*/ 115729 w 115807"/>
                    <a:gd name="connsiteY29" fmla="*/ 64687 h 148773"/>
                    <a:gd name="connsiteX30" fmla="*/ 115252 w 115807"/>
                    <a:gd name="connsiteY30" fmla="*/ 54400 h 148773"/>
                    <a:gd name="connsiteX31" fmla="*/ 114300 w 115807"/>
                    <a:gd name="connsiteY31" fmla="*/ 44113 h 148773"/>
                    <a:gd name="connsiteX32" fmla="*/ 113062 w 115807"/>
                    <a:gd name="connsiteY32" fmla="*/ 33540 h 148773"/>
                    <a:gd name="connsiteX33" fmla="*/ 108585 w 115807"/>
                    <a:gd name="connsiteY33" fmla="*/ 24205 h 148773"/>
                    <a:gd name="connsiteX34" fmla="*/ 103632 w 115807"/>
                    <a:gd name="connsiteY34" fmla="*/ 14871 h 148773"/>
                    <a:gd name="connsiteX35" fmla="*/ 95441 w 115807"/>
                    <a:gd name="connsiteY35" fmla="*/ 8584 h 148773"/>
                    <a:gd name="connsiteX36" fmla="*/ 86487 w 115807"/>
                    <a:gd name="connsiteY36" fmla="*/ 3536 h 148773"/>
                    <a:gd name="connsiteX37" fmla="*/ 76867 w 115807"/>
                    <a:gd name="connsiteY37" fmla="*/ 488 h 148773"/>
                    <a:gd name="connsiteX38" fmla="*/ 66675 w 115807"/>
                    <a:gd name="connsiteY38" fmla="*/ 202 h 148773"/>
                    <a:gd name="connsiteX39" fmla="*/ 61436 w 115807"/>
                    <a:gd name="connsiteY39" fmla="*/ 488 h 148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115807" h="148773">
                      <a:moveTo>
                        <a:pt x="38671" y="12109"/>
                      </a:moveTo>
                      <a:lnTo>
                        <a:pt x="38671" y="12109"/>
                      </a:lnTo>
                      <a:cubicBezTo>
                        <a:pt x="35909" y="14109"/>
                        <a:pt x="34004" y="16871"/>
                        <a:pt x="31242" y="19348"/>
                      </a:cubicBezTo>
                      <a:cubicBezTo>
                        <a:pt x="29051" y="21634"/>
                        <a:pt x="26575" y="24396"/>
                        <a:pt x="24289" y="27158"/>
                      </a:cubicBezTo>
                      <a:cubicBezTo>
                        <a:pt x="22289" y="29635"/>
                        <a:pt x="19812" y="32206"/>
                        <a:pt x="18098" y="35159"/>
                      </a:cubicBezTo>
                      <a:cubicBezTo>
                        <a:pt x="16097" y="38207"/>
                        <a:pt x="14669" y="41160"/>
                        <a:pt x="12859" y="44494"/>
                      </a:cubicBezTo>
                      <a:cubicBezTo>
                        <a:pt x="11335" y="47542"/>
                        <a:pt x="8858" y="50304"/>
                        <a:pt x="7620" y="53542"/>
                      </a:cubicBezTo>
                      <a:cubicBezTo>
                        <a:pt x="6382" y="56781"/>
                        <a:pt x="5620" y="60305"/>
                        <a:pt x="4667" y="63544"/>
                      </a:cubicBezTo>
                      <a:cubicBezTo>
                        <a:pt x="3715" y="66782"/>
                        <a:pt x="2953" y="70306"/>
                        <a:pt x="2477" y="73545"/>
                      </a:cubicBezTo>
                      <a:cubicBezTo>
                        <a:pt x="1715" y="77069"/>
                        <a:pt x="476" y="80593"/>
                        <a:pt x="286" y="83832"/>
                      </a:cubicBezTo>
                      <a:cubicBezTo>
                        <a:pt x="0" y="87356"/>
                        <a:pt x="0" y="90880"/>
                        <a:pt x="0" y="94405"/>
                      </a:cubicBezTo>
                      <a:cubicBezTo>
                        <a:pt x="286" y="97929"/>
                        <a:pt x="762" y="101453"/>
                        <a:pt x="1238" y="104977"/>
                      </a:cubicBezTo>
                      <a:cubicBezTo>
                        <a:pt x="1715" y="108502"/>
                        <a:pt x="2762" y="111740"/>
                        <a:pt x="3715" y="114979"/>
                      </a:cubicBezTo>
                      <a:cubicBezTo>
                        <a:pt x="4953" y="118217"/>
                        <a:pt x="5715" y="121741"/>
                        <a:pt x="7144" y="124789"/>
                      </a:cubicBezTo>
                      <a:cubicBezTo>
                        <a:pt x="8858" y="128028"/>
                        <a:pt x="11144" y="130790"/>
                        <a:pt x="13335" y="133362"/>
                      </a:cubicBezTo>
                      <a:cubicBezTo>
                        <a:pt x="15526" y="136124"/>
                        <a:pt x="17812" y="138886"/>
                        <a:pt x="20479" y="140887"/>
                      </a:cubicBezTo>
                      <a:cubicBezTo>
                        <a:pt x="23241" y="143173"/>
                        <a:pt x="26384" y="144411"/>
                        <a:pt x="29623" y="145649"/>
                      </a:cubicBezTo>
                      <a:cubicBezTo>
                        <a:pt x="32861" y="146887"/>
                        <a:pt x="36290" y="147364"/>
                        <a:pt x="39529" y="147935"/>
                      </a:cubicBezTo>
                      <a:cubicBezTo>
                        <a:pt x="42958" y="148411"/>
                        <a:pt x="46482" y="148983"/>
                        <a:pt x="49911" y="148697"/>
                      </a:cubicBezTo>
                      <a:cubicBezTo>
                        <a:pt x="53150" y="148221"/>
                        <a:pt x="56388" y="146697"/>
                        <a:pt x="59531" y="145649"/>
                      </a:cubicBezTo>
                      <a:cubicBezTo>
                        <a:pt x="62770" y="144411"/>
                        <a:pt x="66008" y="143363"/>
                        <a:pt x="69152" y="141649"/>
                      </a:cubicBezTo>
                      <a:cubicBezTo>
                        <a:pt x="71914" y="140125"/>
                        <a:pt x="75057" y="138410"/>
                        <a:pt x="77819" y="136410"/>
                      </a:cubicBezTo>
                      <a:cubicBezTo>
                        <a:pt x="80581" y="134124"/>
                        <a:pt x="82772" y="131647"/>
                        <a:pt x="85535" y="129171"/>
                      </a:cubicBezTo>
                      <a:cubicBezTo>
                        <a:pt x="87725" y="126885"/>
                        <a:pt x="90202" y="124408"/>
                        <a:pt x="92488" y="121646"/>
                      </a:cubicBezTo>
                      <a:cubicBezTo>
                        <a:pt x="94679" y="119170"/>
                        <a:pt x="96965" y="116598"/>
                        <a:pt x="98965" y="113645"/>
                      </a:cubicBezTo>
                      <a:cubicBezTo>
                        <a:pt x="100679" y="110597"/>
                        <a:pt x="102394" y="107644"/>
                        <a:pt x="104204" y="104596"/>
                      </a:cubicBezTo>
                      <a:cubicBezTo>
                        <a:pt x="105727" y="101548"/>
                        <a:pt x="106680" y="98024"/>
                        <a:pt x="108204" y="94786"/>
                      </a:cubicBezTo>
                      <a:cubicBezTo>
                        <a:pt x="109442" y="91547"/>
                        <a:pt x="109919" y="88023"/>
                        <a:pt x="110966" y="84784"/>
                      </a:cubicBezTo>
                      <a:cubicBezTo>
                        <a:pt x="111919" y="81546"/>
                        <a:pt x="113443" y="78212"/>
                        <a:pt x="114205" y="74974"/>
                      </a:cubicBezTo>
                      <a:cubicBezTo>
                        <a:pt x="114681" y="71449"/>
                        <a:pt x="115443" y="68211"/>
                        <a:pt x="115729" y="64687"/>
                      </a:cubicBezTo>
                      <a:cubicBezTo>
                        <a:pt x="116015" y="61162"/>
                        <a:pt x="115443" y="57638"/>
                        <a:pt x="115252" y="54400"/>
                      </a:cubicBezTo>
                      <a:cubicBezTo>
                        <a:pt x="115252" y="50590"/>
                        <a:pt x="114776" y="47351"/>
                        <a:pt x="114300" y="44113"/>
                      </a:cubicBezTo>
                      <a:cubicBezTo>
                        <a:pt x="113824" y="40588"/>
                        <a:pt x="114014" y="36874"/>
                        <a:pt x="113062" y="33540"/>
                      </a:cubicBezTo>
                      <a:cubicBezTo>
                        <a:pt x="111823" y="30301"/>
                        <a:pt x="110109" y="27253"/>
                        <a:pt x="108585" y="24205"/>
                      </a:cubicBezTo>
                      <a:cubicBezTo>
                        <a:pt x="106871" y="20967"/>
                        <a:pt x="105823" y="17443"/>
                        <a:pt x="103632" y="14871"/>
                      </a:cubicBezTo>
                      <a:cubicBezTo>
                        <a:pt x="101632" y="12109"/>
                        <a:pt x="98203" y="10585"/>
                        <a:pt x="95441" y="8584"/>
                      </a:cubicBezTo>
                      <a:cubicBezTo>
                        <a:pt x="92678" y="6584"/>
                        <a:pt x="89725" y="4774"/>
                        <a:pt x="86487" y="3536"/>
                      </a:cubicBezTo>
                      <a:cubicBezTo>
                        <a:pt x="83248" y="2298"/>
                        <a:pt x="80296" y="1060"/>
                        <a:pt x="76867" y="488"/>
                      </a:cubicBezTo>
                      <a:cubicBezTo>
                        <a:pt x="73628" y="202"/>
                        <a:pt x="70199" y="-274"/>
                        <a:pt x="66675" y="202"/>
                      </a:cubicBezTo>
                      <a:cubicBezTo>
                        <a:pt x="64960" y="488"/>
                        <a:pt x="63246" y="-83"/>
                        <a:pt x="61436" y="488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47" name="Freeform: Shape 346">
                  <a:extLst>
                    <a:ext uri="{FF2B5EF4-FFF2-40B4-BE49-F238E27FC236}">
                      <a16:creationId xmlns:a16="http://schemas.microsoft.com/office/drawing/2014/main" id="{F448186C-ECD2-4F70-E7CD-5D8D26F72448}"/>
                    </a:ext>
                  </a:extLst>
                </p:cNvPr>
                <p:cNvSpPr/>
                <p:nvPr/>
              </p:nvSpPr>
              <p:spPr>
                <a:xfrm>
                  <a:off x="5820822" y="2905315"/>
                  <a:ext cx="61150" cy="37889"/>
                </a:xfrm>
                <a:custGeom>
                  <a:avLst/>
                  <a:gdLst>
                    <a:gd name="connsiteX0" fmla="*/ 61150 w 61150"/>
                    <a:gd name="connsiteY0" fmla="*/ 25051 h 37889"/>
                    <a:gd name="connsiteX1" fmla="*/ 61150 w 61150"/>
                    <a:gd name="connsiteY1" fmla="*/ 25051 h 37889"/>
                    <a:gd name="connsiteX2" fmla="*/ 52006 w 61150"/>
                    <a:gd name="connsiteY2" fmla="*/ 31337 h 37889"/>
                    <a:gd name="connsiteX3" fmla="*/ 41338 w 61150"/>
                    <a:gd name="connsiteY3" fmla="*/ 34862 h 37889"/>
                    <a:gd name="connsiteX4" fmla="*/ 30671 w 61150"/>
                    <a:gd name="connsiteY4" fmla="*/ 37147 h 37889"/>
                    <a:gd name="connsiteX5" fmla="*/ 19812 w 61150"/>
                    <a:gd name="connsiteY5" fmla="*/ 37433 h 37889"/>
                    <a:gd name="connsiteX6" fmla="*/ 10382 w 61150"/>
                    <a:gd name="connsiteY6" fmla="*/ 31909 h 37889"/>
                    <a:gd name="connsiteX7" fmla="*/ 5429 w 61150"/>
                    <a:gd name="connsiteY7" fmla="*/ 21907 h 37889"/>
                    <a:gd name="connsiteX8" fmla="*/ 2000 w 61150"/>
                    <a:gd name="connsiteY8" fmla="*/ 11335 h 37889"/>
                    <a:gd name="connsiteX9" fmla="*/ 0 w 61150"/>
                    <a:gd name="connsiteY9" fmla="*/ 0 h 37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1150" h="37889">
                      <a:moveTo>
                        <a:pt x="61150" y="25051"/>
                      </a:moveTo>
                      <a:lnTo>
                        <a:pt x="61150" y="25051"/>
                      </a:lnTo>
                      <a:cubicBezTo>
                        <a:pt x="56674" y="28384"/>
                        <a:pt x="57721" y="28384"/>
                        <a:pt x="52006" y="31337"/>
                      </a:cubicBezTo>
                      <a:cubicBezTo>
                        <a:pt x="49244" y="33052"/>
                        <a:pt x="45053" y="33623"/>
                        <a:pt x="41338" y="34862"/>
                      </a:cubicBezTo>
                      <a:cubicBezTo>
                        <a:pt x="37909" y="36100"/>
                        <a:pt x="34385" y="36576"/>
                        <a:pt x="30671" y="37147"/>
                      </a:cubicBezTo>
                      <a:cubicBezTo>
                        <a:pt x="26956" y="37624"/>
                        <a:pt x="23241" y="38386"/>
                        <a:pt x="19812" y="37433"/>
                      </a:cubicBezTo>
                      <a:cubicBezTo>
                        <a:pt x="16383" y="36385"/>
                        <a:pt x="13144" y="34957"/>
                        <a:pt x="10382" y="31909"/>
                      </a:cubicBezTo>
                      <a:cubicBezTo>
                        <a:pt x="8192" y="29432"/>
                        <a:pt x="6953" y="25908"/>
                        <a:pt x="5429" y="21907"/>
                      </a:cubicBezTo>
                      <a:cubicBezTo>
                        <a:pt x="4191" y="18859"/>
                        <a:pt x="2667" y="15335"/>
                        <a:pt x="2000" y="11335"/>
                      </a:cubicBezTo>
                      <a:cubicBezTo>
                        <a:pt x="1524" y="7810"/>
                        <a:pt x="286" y="4286"/>
                        <a:pt x="0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48" name="Freeform: Shape 347">
                  <a:extLst>
                    <a:ext uri="{FF2B5EF4-FFF2-40B4-BE49-F238E27FC236}">
                      <a16:creationId xmlns:a16="http://schemas.microsoft.com/office/drawing/2014/main" id="{DA454C10-F1B9-5AE7-209D-356EBE03D841}"/>
                    </a:ext>
                  </a:extLst>
                </p:cNvPr>
                <p:cNvSpPr/>
                <p:nvPr/>
              </p:nvSpPr>
              <p:spPr>
                <a:xfrm>
                  <a:off x="5857684" y="2893218"/>
                  <a:ext cx="5714" cy="13049"/>
                </a:xfrm>
                <a:custGeom>
                  <a:avLst/>
                  <a:gdLst>
                    <a:gd name="connsiteX0" fmla="*/ 5715 w 5714"/>
                    <a:gd name="connsiteY0" fmla="*/ 0 h 13049"/>
                    <a:gd name="connsiteX1" fmla="*/ 5715 w 5714"/>
                    <a:gd name="connsiteY1" fmla="*/ 0 h 13049"/>
                    <a:gd name="connsiteX2" fmla="*/ 0 w 5714"/>
                    <a:gd name="connsiteY2" fmla="*/ 13049 h 1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714" h="13049">
                      <a:moveTo>
                        <a:pt x="5715" y="0"/>
                      </a:moveTo>
                      <a:lnTo>
                        <a:pt x="5715" y="0"/>
                      </a:lnTo>
                      <a:cubicBezTo>
                        <a:pt x="2762" y="6572"/>
                        <a:pt x="2953" y="6763"/>
                        <a:pt x="0" y="1304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49" name="Freeform: Shape 348">
                  <a:extLst>
                    <a:ext uri="{FF2B5EF4-FFF2-40B4-BE49-F238E27FC236}">
                      <a16:creationId xmlns:a16="http://schemas.microsoft.com/office/drawing/2014/main" id="{6B5800C8-8A03-B347-084E-8D045FC74763}"/>
                    </a:ext>
                  </a:extLst>
                </p:cNvPr>
                <p:cNvSpPr/>
                <p:nvPr/>
              </p:nvSpPr>
              <p:spPr>
                <a:xfrm>
                  <a:off x="5846064" y="2886741"/>
                  <a:ext cx="4952" cy="13335"/>
                </a:xfrm>
                <a:custGeom>
                  <a:avLst/>
                  <a:gdLst>
                    <a:gd name="connsiteX0" fmla="*/ 4953 w 4952"/>
                    <a:gd name="connsiteY0" fmla="*/ 0 h 13335"/>
                    <a:gd name="connsiteX1" fmla="*/ 4953 w 4952"/>
                    <a:gd name="connsiteY1" fmla="*/ 0 h 13335"/>
                    <a:gd name="connsiteX2" fmla="*/ 0 w 4952"/>
                    <a:gd name="connsiteY2" fmla="*/ 13335 h 13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52" h="13335">
                      <a:moveTo>
                        <a:pt x="4953" y="0"/>
                      </a:moveTo>
                      <a:lnTo>
                        <a:pt x="4953" y="0"/>
                      </a:lnTo>
                      <a:cubicBezTo>
                        <a:pt x="2000" y="6572"/>
                        <a:pt x="2953" y="7049"/>
                        <a:pt x="0" y="13335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0" name="Freeform: Shape 349">
                  <a:extLst>
                    <a:ext uri="{FF2B5EF4-FFF2-40B4-BE49-F238E27FC236}">
                      <a16:creationId xmlns:a16="http://schemas.microsoft.com/office/drawing/2014/main" id="{46D33198-A41A-846A-1CF2-62292811B754}"/>
                    </a:ext>
                  </a:extLst>
                </p:cNvPr>
                <p:cNvSpPr/>
                <p:nvPr/>
              </p:nvSpPr>
              <p:spPr>
                <a:xfrm>
                  <a:off x="5874067" y="2977133"/>
                  <a:ext cx="53625" cy="168558"/>
                </a:xfrm>
                <a:custGeom>
                  <a:avLst/>
                  <a:gdLst>
                    <a:gd name="connsiteX0" fmla="*/ 18860 w 53625"/>
                    <a:gd name="connsiteY0" fmla="*/ 0 h 168558"/>
                    <a:gd name="connsiteX1" fmla="*/ 18860 w 53625"/>
                    <a:gd name="connsiteY1" fmla="*/ 0 h 168558"/>
                    <a:gd name="connsiteX2" fmla="*/ 22574 w 53625"/>
                    <a:gd name="connsiteY2" fmla="*/ 10287 h 168558"/>
                    <a:gd name="connsiteX3" fmla="*/ 25051 w 53625"/>
                    <a:gd name="connsiteY3" fmla="*/ 20860 h 168558"/>
                    <a:gd name="connsiteX4" fmla="*/ 28480 w 53625"/>
                    <a:gd name="connsiteY4" fmla="*/ 31147 h 168558"/>
                    <a:gd name="connsiteX5" fmla="*/ 30956 w 53625"/>
                    <a:gd name="connsiteY5" fmla="*/ 41720 h 168558"/>
                    <a:gd name="connsiteX6" fmla="*/ 33147 w 53625"/>
                    <a:gd name="connsiteY6" fmla="*/ 52292 h 168558"/>
                    <a:gd name="connsiteX7" fmla="*/ 37148 w 53625"/>
                    <a:gd name="connsiteY7" fmla="*/ 62579 h 168558"/>
                    <a:gd name="connsiteX8" fmla="*/ 39338 w 53625"/>
                    <a:gd name="connsiteY8" fmla="*/ 73152 h 168558"/>
                    <a:gd name="connsiteX9" fmla="*/ 41529 w 53625"/>
                    <a:gd name="connsiteY9" fmla="*/ 83725 h 168558"/>
                    <a:gd name="connsiteX10" fmla="*/ 43720 w 53625"/>
                    <a:gd name="connsiteY10" fmla="*/ 94298 h 168558"/>
                    <a:gd name="connsiteX11" fmla="*/ 45720 w 53625"/>
                    <a:gd name="connsiteY11" fmla="*/ 105061 h 168558"/>
                    <a:gd name="connsiteX12" fmla="*/ 48958 w 53625"/>
                    <a:gd name="connsiteY12" fmla="*/ 115634 h 168558"/>
                    <a:gd name="connsiteX13" fmla="*/ 50673 w 53625"/>
                    <a:gd name="connsiteY13" fmla="*/ 126206 h 168558"/>
                    <a:gd name="connsiteX14" fmla="*/ 51626 w 53625"/>
                    <a:gd name="connsiteY14" fmla="*/ 136969 h 168558"/>
                    <a:gd name="connsiteX15" fmla="*/ 51911 w 53625"/>
                    <a:gd name="connsiteY15" fmla="*/ 148018 h 168558"/>
                    <a:gd name="connsiteX16" fmla="*/ 53626 w 53625"/>
                    <a:gd name="connsiteY16" fmla="*/ 158591 h 168558"/>
                    <a:gd name="connsiteX17" fmla="*/ 50387 w 53625"/>
                    <a:gd name="connsiteY17" fmla="*/ 168402 h 168558"/>
                    <a:gd name="connsiteX18" fmla="*/ 42958 w 53625"/>
                    <a:gd name="connsiteY18" fmla="*/ 161830 h 168558"/>
                    <a:gd name="connsiteX19" fmla="*/ 37719 w 53625"/>
                    <a:gd name="connsiteY19" fmla="*/ 152305 h 168558"/>
                    <a:gd name="connsiteX20" fmla="*/ 32766 w 53625"/>
                    <a:gd name="connsiteY20" fmla="*/ 142494 h 168558"/>
                    <a:gd name="connsiteX21" fmla="*/ 28099 w 53625"/>
                    <a:gd name="connsiteY21" fmla="*/ 132493 h 168558"/>
                    <a:gd name="connsiteX22" fmla="*/ 24384 w 53625"/>
                    <a:gd name="connsiteY22" fmla="*/ 122206 h 168558"/>
                    <a:gd name="connsiteX23" fmla="*/ 19907 w 53625"/>
                    <a:gd name="connsiteY23" fmla="*/ 111919 h 168558"/>
                    <a:gd name="connsiteX24" fmla="*/ 15716 w 53625"/>
                    <a:gd name="connsiteY24" fmla="*/ 101918 h 168558"/>
                    <a:gd name="connsiteX25" fmla="*/ 11716 w 53625"/>
                    <a:gd name="connsiteY25" fmla="*/ 91631 h 168558"/>
                    <a:gd name="connsiteX26" fmla="*/ 8001 w 53625"/>
                    <a:gd name="connsiteY26" fmla="*/ 81058 h 168558"/>
                    <a:gd name="connsiteX27" fmla="*/ 4001 w 53625"/>
                    <a:gd name="connsiteY27" fmla="*/ 70771 h 168558"/>
                    <a:gd name="connsiteX28" fmla="*/ 0 w 53625"/>
                    <a:gd name="connsiteY28" fmla="*/ 60484 h 168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3625" h="168558">
                      <a:moveTo>
                        <a:pt x="18860" y="0"/>
                      </a:moveTo>
                      <a:lnTo>
                        <a:pt x="18860" y="0"/>
                      </a:lnTo>
                      <a:cubicBezTo>
                        <a:pt x="20383" y="5239"/>
                        <a:pt x="20574" y="3810"/>
                        <a:pt x="22574" y="10287"/>
                      </a:cubicBezTo>
                      <a:cubicBezTo>
                        <a:pt x="23527" y="13049"/>
                        <a:pt x="24098" y="16859"/>
                        <a:pt x="25051" y="20860"/>
                      </a:cubicBezTo>
                      <a:cubicBezTo>
                        <a:pt x="26003" y="23908"/>
                        <a:pt x="27527" y="27432"/>
                        <a:pt x="28480" y="31147"/>
                      </a:cubicBezTo>
                      <a:cubicBezTo>
                        <a:pt x="29432" y="34385"/>
                        <a:pt x="30004" y="37910"/>
                        <a:pt x="30956" y="41720"/>
                      </a:cubicBezTo>
                      <a:cubicBezTo>
                        <a:pt x="31718" y="44958"/>
                        <a:pt x="32195" y="48768"/>
                        <a:pt x="33147" y="52292"/>
                      </a:cubicBezTo>
                      <a:cubicBezTo>
                        <a:pt x="33909" y="55817"/>
                        <a:pt x="36100" y="58865"/>
                        <a:pt x="37148" y="62579"/>
                      </a:cubicBezTo>
                      <a:cubicBezTo>
                        <a:pt x="37910" y="65818"/>
                        <a:pt x="38386" y="69628"/>
                        <a:pt x="39338" y="73152"/>
                      </a:cubicBezTo>
                      <a:cubicBezTo>
                        <a:pt x="40100" y="76676"/>
                        <a:pt x="40577" y="80201"/>
                        <a:pt x="41529" y="83725"/>
                      </a:cubicBezTo>
                      <a:cubicBezTo>
                        <a:pt x="42291" y="87249"/>
                        <a:pt x="43053" y="90773"/>
                        <a:pt x="43720" y="94298"/>
                      </a:cubicBezTo>
                      <a:cubicBezTo>
                        <a:pt x="44672" y="97822"/>
                        <a:pt x="45244" y="101537"/>
                        <a:pt x="45720" y="105061"/>
                      </a:cubicBezTo>
                      <a:cubicBezTo>
                        <a:pt x="46482" y="108585"/>
                        <a:pt x="48197" y="112109"/>
                        <a:pt x="48958" y="115634"/>
                      </a:cubicBezTo>
                      <a:cubicBezTo>
                        <a:pt x="49435" y="119158"/>
                        <a:pt x="50197" y="122682"/>
                        <a:pt x="50673" y="126206"/>
                      </a:cubicBezTo>
                      <a:cubicBezTo>
                        <a:pt x="51149" y="130016"/>
                        <a:pt x="51149" y="133731"/>
                        <a:pt x="51626" y="136969"/>
                      </a:cubicBezTo>
                      <a:cubicBezTo>
                        <a:pt x="52102" y="140780"/>
                        <a:pt x="51626" y="144494"/>
                        <a:pt x="51911" y="148018"/>
                      </a:cubicBezTo>
                      <a:cubicBezTo>
                        <a:pt x="52197" y="151829"/>
                        <a:pt x="53626" y="155258"/>
                        <a:pt x="53626" y="158591"/>
                      </a:cubicBezTo>
                      <a:cubicBezTo>
                        <a:pt x="53626" y="165354"/>
                        <a:pt x="51911" y="167926"/>
                        <a:pt x="50387" y="168402"/>
                      </a:cubicBezTo>
                      <a:cubicBezTo>
                        <a:pt x="48673" y="169164"/>
                        <a:pt x="46196" y="167164"/>
                        <a:pt x="42958" y="161830"/>
                      </a:cubicBezTo>
                      <a:cubicBezTo>
                        <a:pt x="41434" y="159353"/>
                        <a:pt x="39529" y="156019"/>
                        <a:pt x="37719" y="152305"/>
                      </a:cubicBezTo>
                      <a:cubicBezTo>
                        <a:pt x="36005" y="149257"/>
                        <a:pt x="34481" y="146018"/>
                        <a:pt x="32766" y="142494"/>
                      </a:cubicBezTo>
                      <a:cubicBezTo>
                        <a:pt x="31242" y="139256"/>
                        <a:pt x="29528" y="135922"/>
                        <a:pt x="28099" y="132493"/>
                      </a:cubicBezTo>
                      <a:cubicBezTo>
                        <a:pt x="26575" y="129254"/>
                        <a:pt x="25908" y="125444"/>
                        <a:pt x="24384" y="122206"/>
                      </a:cubicBezTo>
                      <a:cubicBezTo>
                        <a:pt x="22860" y="118682"/>
                        <a:pt x="21431" y="115443"/>
                        <a:pt x="19907" y="111919"/>
                      </a:cubicBezTo>
                      <a:cubicBezTo>
                        <a:pt x="18669" y="108680"/>
                        <a:pt x="17145" y="105156"/>
                        <a:pt x="15716" y="101918"/>
                      </a:cubicBezTo>
                      <a:cubicBezTo>
                        <a:pt x="14478" y="98393"/>
                        <a:pt x="12954" y="94869"/>
                        <a:pt x="11716" y="91631"/>
                      </a:cubicBezTo>
                      <a:cubicBezTo>
                        <a:pt x="10192" y="87821"/>
                        <a:pt x="9239" y="84392"/>
                        <a:pt x="8001" y="81058"/>
                      </a:cubicBezTo>
                      <a:cubicBezTo>
                        <a:pt x="6477" y="77248"/>
                        <a:pt x="5239" y="73819"/>
                        <a:pt x="4001" y="70771"/>
                      </a:cubicBezTo>
                      <a:cubicBezTo>
                        <a:pt x="1810" y="64484"/>
                        <a:pt x="2000" y="65723"/>
                        <a:pt x="0" y="60484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1" name="Freeform: Shape 350">
                  <a:extLst>
                    <a:ext uri="{FF2B5EF4-FFF2-40B4-BE49-F238E27FC236}">
                      <a16:creationId xmlns:a16="http://schemas.microsoft.com/office/drawing/2014/main" id="{B7D6015E-23F2-CDB1-5516-7A0E1484D3BF}"/>
                    </a:ext>
                  </a:extLst>
                </p:cNvPr>
                <p:cNvSpPr/>
                <p:nvPr/>
              </p:nvSpPr>
              <p:spPr>
                <a:xfrm>
                  <a:off x="5806952" y="2970276"/>
                  <a:ext cx="93498" cy="185610"/>
                </a:xfrm>
                <a:custGeom>
                  <a:avLst/>
                  <a:gdLst>
                    <a:gd name="connsiteX0" fmla="*/ 7869 w 93498"/>
                    <a:gd name="connsiteY0" fmla="*/ 0 h 185610"/>
                    <a:gd name="connsiteX1" fmla="*/ 7869 w 93498"/>
                    <a:gd name="connsiteY1" fmla="*/ 0 h 185610"/>
                    <a:gd name="connsiteX2" fmla="*/ 7869 w 93498"/>
                    <a:gd name="connsiteY2" fmla="*/ 10763 h 185610"/>
                    <a:gd name="connsiteX3" fmla="*/ 7107 w 93498"/>
                    <a:gd name="connsiteY3" fmla="*/ 21527 h 185610"/>
                    <a:gd name="connsiteX4" fmla="*/ 6631 w 93498"/>
                    <a:gd name="connsiteY4" fmla="*/ 32576 h 185610"/>
                    <a:gd name="connsiteX5" fmla="*/ 7393 w 93498"/>
                    <a:gd name="connsiteY5" fmla="*/ 43339 h 185610"/>
                    <a:gd name="connsiteX6" fmla="*/ 6631 w 93498"/>
                    <a:gd name="connsiteY6" fmla="*/ 54102 h 185610"/>
                    <a:gd name="connsiteX7" fmla="*/ 5393 w 93498"/>
                    <a:gd name="connsiteY7" fmla="*/ 64865 h 185610"/>
                    <a:gd name="connsiteX8" fmla="*/ 5107 w 93498"/>
                    <a:gd name="connsiteY8" fmla="*/ 75629 h 185610"/>
                    <a:gd name="connsiteX9" fmla="*/ 5583 w 93498"/>
                    <a:gd name="connsiteY9" fmla="*/ 86392 h 185610"/>
                    <a:gd name="connsiteX10" fmla="*/ 4821 w 93498"/>
                    <a:gd name="connsiteY10" fmla="*/ 97155 h 185610"/>
                    <a:gd name="connsiteX11" fmla="*/ 4535 w 93498"/>
                    <a:gd name="connsiteY11" fmla="*/ 108204 h 185610"/>
                    <a:gd name="connsiteX12" fmla="*/ 4059 w 93498"/>
                    <a:gd name="connsiteY12" fmla="*/ 118967 h 185610"/>
                    <a:gd name="connsiteX13" fmla="*/ 3583 w 93498"/>
                    <a:gd name="connsiteY13" fmla="*/ 129730 h 185610"/>
                    <a:gd name="connsiteX14" fmla="*/ 3297 w 93498"/>
                    <a:gd name="connsiteY14" fmla="*/ 140494 h 185610"/>
                    <a:gd name="connsiteX15" fmla="*/ 2345 w 93498"/>
                    <a:gd name="connsiteY15" fmla="*/ 151257 h 185610"/>
                    <a:gd name="connsiteX16" fmla="*/ 2345 w 93498"/>
                    <a:gd name="connsiteY16" fmla="*/ 162020 h 185610"/>
                    <a:gd name="connsiteX17" fmla="*/ 1392 w 93498"/>
                    <a:gd name="connsiteY17" fmla="*/ 172784 h 185610"/>
                    <a:gd name="connsiteX18" fmla="*/ 1868 w 93498"/>
                    <a:gd name="connsiteY18" fmla="*/ 183833 h 185610"/>
                    <a:gd name="connsiteX19" fmla="*/ 13298 w 93498"/>
                    <a:gd name="connsiteY19" fmla="*/ 183833 h 185610"/>
                    <a:gd name="connsiteX20" fmla="*/ 24728 w 93498"/>
                    <a:gd name="connsiteY20" fmla="*/ 184595 h 185610"/>
                    <a:gd name="connsiteX21" fmla="*/ 36158 w 93498"/>
                    <a:gd name="connsiteY21" fmla="*/ 183547 h 185610"/>
                    <a:gd name="connsiteX22" fmla="*/ 47588 w 93498"/>
                    <a:gd name="connsiteY22" fmla="*/ 183833 h 185610"/>
                    <a:gd name="connsiteX23" fmla="*/ 59209 w 93498"/>
                    <a:gd name="connsiteY23" fmla="*/ 183356 h 185610"/>
                    <a:gd name="connsiteX24" fmla="*/ 70639 w 93498"/>
                    <a:gd name="connsiteY24" fmla="*/ 183071 h 185610"/>
                    <a:gd name="connsiteX25" fmla="*/ 82069 w 93498"/>
                    <a:gd name="connsiteY25" fmla="*/ 183833 h 185610"/>
                    <a:gd name="connsiteX26" fmla="*/ 93499 w 93498"/>
                    <a:gd name="connsiteY26" fmla="*/ 184309 h 185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93498" h="185610">
                      <a:moveTo>
                        <a:pt x="7869" y="0"/>
                      </a:moveTo>
                      <a:lnTo>
                        <a:pt x="7869" y="0"/>
                      </a:lnTo>
                      <a:cubicBezTo>
                        <a:pt x="7583" y="5524"/>
                        <a:pt x="8155" y="5524"/>
                        <a:pt x="7869" y="10763"/>
                      </a:cubicBezTo>
                      <a:cubicBezTo>
                        <a:pt x="7869" y="16288"/>
                        <a:pt x="7393" y="16288"/>
                        <a:pt x="7107" y="21527"/>
                      </a:cubicBezTo>
                      <a:cubicBezTo>
                        <a:pt x="6821" y="27051"/>
                        <a:pt x="6821" y="27051"/>
                        <a:pt x="6631" y="32576"/>
                      </a:cubicBezTo>
                      <a:cubicBezTo>
                        <a:pt x="6631" y="37814"/>
                        <a:pt x="7393" y="37814"/>
                        <a:pt x="7393" y="43339"/>
                      </a:cubicBezTo>
                      <a:cubicBezTo>
                        <a:pt x="7107" y="48578"/>
                        <a:pt x="6631" y="48578"/>
                        <a:pt x="6631" y="54102"/>
                      </a:cubicBezTo>
                      <a:cubicBezTo>
                        <a:pt x="6345" y="59341"/>
                        <a:pt x="5678" y="59341"/>
                        <a:pt x="5393" y="64865"/>
                      </a:cubicBezTo>
                      <a:cubicBezTo>
                        <a:pt x="5107" y="70104"/>
                        <a:pt x="5393" y="70104"/>
                        <a:pt x="5107" y="75629"/>
                      </a:cubicBezTo>
                      <a:cubicBezTo>
                        <a:pt x="5107" y="81153"/>
                        <a:pt x="5869" y="81153"/>
                        <a:pt x="5583" y="86392"/>
                      </a:cubicBezTo>
                      <a:cubicBezTo>
                        <a:pt x="5297" y="91916"/>
                        <a:pt x="5107" y="91916"/>
                        <a:pt x="4821" y="97155"/>
                      </a:cubicBezTo>
                      <a:cubicBezTo>
                        <a:pt x="4535" y="102680"/>
                        <a:pt x="4535" y="102680"/>
                        <a:pt x="4535" y="108204"/>
                      </a:cubicBezTo>
                      <a:cubicBezTo>
                        <a:pt x="4250" y="113443"/>
                        <a:pt x="4250" y="113443"/>
                        <a:pt x="4059" y="118967"/>
                      </a:cubicBezTo>
                      <a:cubicBezTo>
                        <a:pt x="3773" y="124206"/>
                        <a:pt x="3583" y="124206"/>
                        <a:pt x="3583" y="129730"/>
                      </a:cubicBezTo>
                      <a:cubicBezTo>
                        <a:pt x="3297" y="134969"/>
                        <a:pt x="3583" y="134969"/>
                        <a:pt x="3297" y="140494"/>
                      </a:cubicBezTo>
                      <a:cubicBezTo>
                        <a:pt x="3297" y="146018"/>
                        <a:pt x="2345" y="145733"/>
                        <a:pt x="2345" y="151257"/>
                      </a:cubicBezTo>
                      <a:cubicBezTo>
                        <a:pt x="2059" y="156781"/>
                        <a:pt x="2630" y="156781"/>
                        <a:pt x="2345" y="162020"/>
                      </a:cubicBezTo>
                      <a:cubicBezTo>
                        <a:pt x="2345" y="167545"/>
                        <a:pt x="1583" y="167545"/>
                        <a:pt x="1392" y="172784"/>
                      </a:cubicBezTo>
                      <a:cubicBezTo>
                        <a:pt x="1392" y="178308"/>
                        <a:pt x="-2037" y="180023"/>
                        <a:pt x="1868" y="183833"/>
                      </a:cubicBezTo>
                      <a:cubicBezTo>
                        <a:pt x="5869" y="187833"/>
                        <a:pt x="7583" y="183833"/>
                        <a:pt x="13298" y="183833"/>
                      </a:cubicBezTo>
                      <a:cubicBezTo>
                        <a:pt x="19013" y="183833"/>
                        <a:pt x="19013" y="184595"/>
                        <a:pt x="24728" y="184595"/>
                      </a:cubicBezTo>
                      <a:cubicBezTo>
                        <a:pt x="30443" y="184595"/>
                        <a:pt x="30443" y="183547"/>
                        <a:pt x="36158" y="183547"/>
                      </a:cubicBezTo>
                      <a:cubicBezTo>
                        <a:pt x="41873" y="183547"/>
                        <a:pt x="41873" y="183833"/>
                        <a:pt x="47588" y="183833"/>
                      </a:cubicBezTo>
                      <a:cubicBezTo>
                        <a:pt x="53303" y="183833"/>
                        <a:pt x="53303" y="183356"/>
                        <a:pt x="59209" y="183356"/>
                      </a:cubicBezTo>
                      <a:cubicBezTo>
                        <a:pt x="64924" y="183356"/>
                        <a:pt x="64924" y="183071"/>
                        <a:pt x="70639" y="183071"/>
                      </a:cubicBezTo>
                      <a:cubicBezTo>
                        <a:pt x="76354" y="183071"/>
                        <a:pt x="76354" y="183833"/>
                        <a:pt x="82069" y="183833"/>
                      </a:cubicBezTo>
                      <a:cubicBezTo>
                        <a:pt x="87784" y="183833"/>
                        <a:pt x="87784" y="184309"/>
                        <a:pt x="93499" y="18430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2" name="Freeform: Shape 351">
                  <a:extLst>
                    <a:ext uri="{FF2B5EF4-FFF2-40B4-BE49-F238E27FC236}">
                      <a16:creationId xmlns:a16="http://schemas.microsoft.com/office/drawing/2014/main" id="{0090F710-EAE0-4A2D-D366-EBC6712ADF45}"/>
                    </a:ext>
                  </a:extLst>
                </p:cNvPr>
                <p:cNvSpPr/>
                <p:nvPr/>
              </p:nvSpPr>
              <p:spPr>
                <a:xfrm>
                  <a:off x="5808154" y="3154584"/>
                  <a:ext cx="76866" cy="186057"/>
                </a:xfrm>
                <a:custGeom>
                  <a:avLst/>
                  <a:gdLst>
                    <a:gd name="connsiteX0" fmla="*/ 0 w 76866"/>
                    <a:gd name="connsiteY0" fmla="*/ 0 h 186057"/>
                    <a:gd name="connsiteX1" fmla="*/ 0 w 76866"/>
                    <a:gd name="connsiteY1" fmla="*/ 0 h 186057"/>
                    <a:gd name="connsiteX2" fmla="*/ 1524 w 76866"/>
                    <a:gd name="connsiteY2" fmla="*/ 10763 h 186057"/>
                    <a:gd name="connsiteX3" fmla="*/ 2477 w 76866"/>
                    <a:gd name="connsiteY3" fmla="*/ 21527 h 186057"/>
                    <a:gd name="connsiteX4" fmla="*/ 3429 w 76866"/>
                    <a:gd name="connsiteY4" fmla="*/ 32290 h 186057"/>
                    <a:gd name="connsiteX5" fmla="*/ 3715 w 76866"/>
                    <a:gd name="connsiteY5" fmla="*/ 43339 h 186057"/>
                    <a:gd name="connsiteX6" fmla="*/ 4953 w 76866"/>
                    <a:gd name="connsiteY6" fmla="*/ 54102 h 186057"/>
                    <a:gd name="connsiteX7" fmla="*/ 5429 w 76866"/>
                    <a:gd name="connsiteY7" fmla="*/ 65151 h 186057"/>
                    <a:gd name="connsiteX8" fmla="*/ 6668 w 76866"/>
                    <a:gd name="connsiteY8" fmla="*/ 75914 h 186057"/>
                    <a:gd name="connsiteX9" fmla="*/ 7144 w 76866"/>
                    <a:gd name="connsiteY9" fmla="*/ 86678 h 186057"/>
                    <a:gd name="connsiteX10" fmla="*/ 7906 w 76866"/>
                    <a:gd name="connsiteY10" fmla="*/ 97727 h 186057"/>
                    <a:gd name="connsiteX11" fmla="*/ 9906 w 76866"/>
                    <a:gd name="connsiteY11" fmla="*/ 108490 h 186057"/>
                    <a:gd name="connsiteX12" fmla="*/ 10192 w 76866"/>
                    <a:gd name="connsiteY12" fmla="*/ 119253 h 186057"/>
                    <a:gd name="connsiteX13" fmla="*/ 10668 w 76866"/>
                    <a:gd name="connsiteY13" fmla="*/ 130302 h 186057"/>
                    <a:gd name="connsiteX14" fmla="*/ 12383 w 76866"/>
                    <a:gd name="connsiteY14" fmla="*/ 141065 h 186057"/>
                    <a:gd name="connsiteX15" fmla="*/ 12383 w 76866"/>
                    <a:gd name="connsiteY15" fmla="*/ 151829 h 186057"/>
                    <a:gd name="connsiteX16" fmla="*/ 13621 w 76866"/>
                    <a:gd name="connsiteY16" fmla="*/ 162592 h 186057"/>
                    <a:gd name="connsiteX17" fmla="*/ 15145 w 76866"/>
                    <a:gd name="connsiteY17" fmla="*/ 173641 h 186057"/>
                    <a:gd name="connsiteX18" fmla="*/ 15431 w 76866"/>
                    <a:gd name="connsiteY18" fmla="*/ 183928 h 186057"/>
                    <a:gd name="connsiteX19" fmla="*/ 27527 w 76866"/>
                    <a:gd name="connsiteY19" fmla="*/ 183928 h 186057"/>
                    <a:gd name="connsiteX20" fmla="*/ 40196 w 76866"/>
                    <a:gd name="connsiteY20" fmla="*/ 184214 h 186057"/>
                    <a:gd name="connsiteX21" fmla="*/ 52864 w 76866"/>
                    <a:gd name="connsiteY21" fmla="*/ 184690 h 186057"/>
                    <a:gd name="connsiteX22" fmla="*/ 57055 w 76866"/>
                    <a:gd name="connsiteY22" fmla="*/ 174117 h 186057"/>
                    <a:gd name="connsiteX23" fmla="*/ 59531 w 76866"/>
                    <a:gd name="connsiteY23" fmla="*/ 163354 h 186057"/>
                    <a:gd name="connsiteX24" fmla="*/ 62484 w 76866"/>
                    <a:gd name="connsiteY24" fmla="*/ 152781 h 186057"/>
                    <a:gd name="connsiteX25" fmla="*/ 66199 w 76866"/>
                    <a:gd name="connsiteY25" fmla="*/ 142208 h 186057"/>
                    <a:gd name="connsiteX26" fmla="*/ 70675 w 76866"/>
                    <a:gd name="connsiteY26" fmla="*/ 131921 h 186057"/>
                    <a:gd name="connsiteX27" fmla="*/ 74104 w 76866"/>
                    <a:gd name="connsiteY27" fmla="*/ 121634 h 186057"/>
                    <a:gd name="connsiteX28" fmla="*/ 76867 w 76866"/>
                    <a:gd name="connsiteY28" fmla="*/ 110585 h 186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76866" h="186057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476" y="5525"/>
                        <a:pt x="952" y="5239"/>
                        <a:pt x="1524" y="10763"/>
                      </a:cubicBezTo>
                      <a:cubicBezTo>
                        <a:pt x="1810" y="16288"/>
                        <a:pt x="2000" y="16288"/>
                        <a:pt x="2477" y="21527"/>
                      </a:cubicBezTo>
                      <a:cubicBezTo>
                        <a:pt x="2762" y="27051"/>
                        <a:pt x="3239" y="27051"/>
                        <a:pt x="3429" y="32290"/>
                      </a:cubicBezTo>
                      <a:cubicBezTo>
                        <a:pt x="3905" y="37814"/>
                        <a:pt x="3143" y="37814"/>
                        <a:pt x="3715" y="43339"/>
                      </a:cubicBezTo>
                      <a:cubicBezTo>
                        <a:pt x="4191" y="48863"/>
                        <a:pt x="4477" y="48863"/>
                        <a:pt x="4953" y="54102"/>
                      </a:cubicBezTo>
                      <a:cubicBezTo>
                        <a:pt x="5239" y="59627"/>
                        <a:pt x="4953" y="59627"/>
                        <a:pt x="5429" y="65151"/>
                      </a:cubicBezTo>
                      <a:cubicBezTo>
                        <a:pt x="5906" y="70390"/>
                        <a:pt x="6382" y="70390"/>
                        <a:pt x="6668" y="75914"/>
                      </a:cubicBezTo>
                      <a:cubicBezTo>
                        <a:pt x="7144" y="81153"/>
                        <a:pt x="6668" y="81439"/>
                        <a:pt x="7144" y="86678"/>
                      </a:cubicBezTo>
                      <a:cubicBezTo>
                        <a:pt x="7620" y="92202"/>
                        <a:pt x="7429" y="92202"/>
                        <a:pt x="7906" y="97727"/>
                      </a:cubicBezTo>
                      <a:cubicBezTo>
                        <a:pt x="8382" y="102965"/>
                        <a:pt x="9620" y="102965"/>
                        <a:pt x="9906" y="108490"/>
                      </a:cubicBezTo>
                      <a:cubicBezTo>
                        <a:pt x="10382" y="113729"/>
                        <a:pt x="9906" y="113729"/>
                        <a:pt x="10192" y="119253"/>
                      </a:cubicBezTo>
                      <a:cubicBezTo>
                        <a:pt x="10668" y="124778"/>
                        <a:pt x="10192" y="124778"/>
                        <a:pt x="10668" y="130302"/>
                      </a:cubicBezTo>
                      <a:cubicBezTo>
                        <a:pt x="10954" y="135541"/>
                        <a:pt x="11906" y="135541"/>
                        <a:pt x="12383" y="141065"/>
                      </a:cubicBezTo>
                      <a:cubicBezTo>
                        <a:pt x="12859" y="146304"/>
                        <a:pt x="12097" y="146304"/>
                        <a:pt x="12383" y="151829"/>
                      </a:cubicBezTo>
                      <a:cubicBezTo>
                        <a:pt x="12859" y="157353"/>
                        <a:pt x="13145" y="157353"/>
                        <a:pt x="13621" y="162592"/>
                      </a:cubicBezTo>
                      <a:cubicBezTo>
                        <a:pt x="14097" y="168116"/>
                        <a:pt x="14573" y="168116"/>
                        <a:pt x="15145" y="173641"/>
                      </a:cubicBezTo>
                      <a:cubicBezTo>
                        <a:pt x="15431" y="178880"/>
                        <a:pt x="11144" y="180689"/>
                        <a:pt x="15431" y="183928"/>
                      </a:cubicBezTo>
                      <a:cubicBezTo>
                        <a:pt x="20383" y="187928"/>
                        <a:pt x="21336" y="183928"/>
                        <a:pt x="27527" y="183928"/>
                      </a:cubicBezTo>
                      <a:cubicBezTo>
                        <a:pt x="34004" y="183928"/>
                        <a:pt x="34004" y="184214"/>
                        <a:pt x="40196" y="184214"/>
                      </a:cubicBezTo>
                      <a:cubicBezTo>
                        <a:pt x="46387" y="184214"/>
                        <a:pt x="47625" y="188024"/>
                        <a:pt x="52864" y="184690"/>
                      </a:cubicBezTo>
                      <a:cubicBezTo>
                        <a:pt x="57341" y="181642"/>
                        <a:pt x="55340" y="179451"/>
                        <a:pt x="57055" y="174117"/>
                      </a:cubicBezTo>
                      <a:cubicBezTo>
                        <a:pt x="58769" y="168878"/>
                        <a:pt x="57817" y="168593"/>
                        <a:pt x="59531" y="163354"/>
                      </a:cubicBezTo>
                      <a:cubicBezTo>
                        <a:pt x="61246" y="158115"/>
                        <a:pt x="60770" y="158115"/>
                        <a:pt x="62484" y="152781"/>
                      </a:cubicBezTo>
                      <a:cubicBezTo>
                        <a:pt x="64198" y="147542"/>
                        <a:pt x="64484" y="147542"/>
                        <a:pt x="66199" y="142208"/>
                      </a:cubicBezTo>
                      <a:cubicBezTo>
                        <a:pt x="67913" y="136970"/>
                        <a:pt x="68961" y="137160"/>
                        <a:pt x="70675" y="131921"/>
                      </a:cubicBezTo>
                      <a:cubicBezTo>
                        <a:pt x="72390" y="126683"/>
                        <a:pt x="72390" y="126873"/>
                        <a:pt x="74104" y="121634"/>
                      </a:cubicBezTo>
                      <a:cubicBezTo>
                        <a:pt x="75819" y="116396"/>
                        <a:pt x="75057" y="115824"/>
                        <a:pt x="76867" y="110585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3" name="Freeform: Shape 352">
                  <a:extLst>
                    <a:ext uri="{FF2B5EF4-FFF2-40B4-BE49-F238E27FC236}">
                      <a16:creationId xmlns:a16="http://schemas.microsoft.com/office/drawing/2014/main" id="{F8A0FADC-1560-E1D3-C20A-76A15F8DD106}"/>
                    </a:ext>
                  </a:extLst>
                </p:cNvPr>
                <p:cNvSpPr/>
                <p:nvPr/>
              </p:nvSpPr>
              <p:spPr>
                <a:xfrm>
                  <a:off x="5844509" y="3253454"/>
                  <a:ext cx="3745" cy="85153"/>
                </a:xfrm>
                <a:custGeom>
                  <a:avLst/>
                  <a:gdLst>
                    <a:gd name="connsiteX0" fmla="*/ 317 w 3745"/>
                    <a:gd name="connsiteY0" fmla="*/ 85153 h 85153"/>
                    <a:gd name="connsiteX1" fmla="*/ 317 w 3745"/>
                    <a:gd name="connsiteY1" fmla="*/ 85153 h 85153"/>
                    <a:gd name="connsiteX2" fmla="*/ 31 w 3745"/>
                    <a:gd name="connsiteY2" fmla="*/ 74390 h 85153"/>
                    <a:gd name="connsiteX3" fmla="*/ 317 w 3745"/>
                    <a:gd name="connsiteY3" fmla="*/ 63818 h 85153"/>
                    <a:gd name="connsiteX4" fmla="*/ 793 w 3745"/>
                    <a:gd name="connsiteY4" fmla="*/ 53245 h 85153"/>
                    <a:gd name="connsiteX5" fmla="*/ 2793 w 3745"/>
                    <a:gd name="connsiteY5" fmla="*/ 42481 h 85153"/>
                    <a:gd name="connsiteX6" fmla="*/ 2793 w 3745"/>
                    <a:gd name="connsiteY6" fmla="*/ 31909 h 85153"/>
                    <a:gd name="connsiteX7" fmla="*/ 2317 w 3745"/>
                    <a:gd name="connsiteY7" fmla="*/ 21146 h 85153"/>
                    <a:gd name="connsiteX8" fmla="*/ 3270 w 3745"/>
                    <a:gd name="connsiteY8" fmla="*/ 10573 h 85153"/>
                    <a:gd name="connsiteX9" fmla="*/ 3746 w 3745"/>
                    <a:gd name="connsiteY9" fmla="*/ 0 h 85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45" h="85153">
                      <a:moveTo>
                        <a:pt x="317" y="85153"/>
                      </a:moveTo>
                      <a:lnTo>
                        <a:pt x="317" y="85153"/>
                      </a:lnTo>
                      <a:cubicBezTo>
                        <a:pt x="603" y="79629"/>
                        <a:pt x="-159" y="79629"/>
                        <a:pt x="31" y="74390"/>
                      </a:cubicBezTo>
                      <a:cubicBezTo>
                        <a:pt x="317" y="69152"/>
                        <a:pt x="31" y="69152"/>
                        <a:pt x="317" y="63818"/>
                      </a:cubicBezTo>
                      <a:cubicBezTo>
                        <a:pt x="603" y="58579"/>
                        <a:pt x="603" y="58579"/>
                        <a:pt x="793" y="53245"/>
                      </a:cubicBezTo>
                      <a:cubicBezTo>
                        <a:pt x="1079" y="47720"/>
                        <a:pt x="2507" y="48006"/>
                        <a:pt x="2793" y="42481"/>
                      </a:cubicBezTo>
                      <a:cubicBezTo>
                        <a:pt x="3079" y="37243"/>
                        <a:pt x="2507" y="37243"/>
                        <a:pt x="2793" y="31909"/>
                      </a:cubicBezTo>
                      <a:cubicBezTo>
                        <a:pt x="3079" y="26670"/>
                        <a:pt x="2031" y="26670"/>
                        <a:pt x="2317" y="21146"/>
                      </a:cubicBezTo>
                      <a:cubicBezTo>
                        <a:pt x="2603" y="15907"/>
                        <a:pt x="3079" y="15907"/>
                        <a:pt x="3270" y="10573"/>
                      </a:cubicBezTo>
                      <a:cubicBezTo>
                        <a:pt x="3555" y="5334"/>
                        <a:pt x="3555" y="5334"/>
                        <a:pt x="3746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4" name="Freeform: Shape 353">
                  <a:extLst>
                    <a:ext uri="{FF2B5EF4-FFF2-40B4-BE49-F238E27FC236}">
                      <a16:creationId xmlns:a16="http://schemas.microsoft.com/office/drawing/2014/main" id="{0D8F4BAA-1AE4-EA16-BFBD-D10F6246EA2F}"/>
                    </a:ext>
                  </a:extLst>
                </p:cNvPr>
                <p:cNvSpPr/>
                <p:nvPr/>
              </p:nvSpPr>
              <p:spPr>
                <a:xfrm>
                  <a:off x="5841793" y="3337800"/>
                  <a:ext cx="72826" cy="40431"/>
                </a:xfrm>
                <a:custGeom>
                  <a:avLst/>
                  <a:gdLst>
                    <a:gd name="connsiteX0" fmla="*/ 71707 w 72826"/>
                    <a:gd name="connsiteY0" fmla="*/ 36145 h 40431"/>
                    <a:gd name="connsiteX1" fmla="*/ 71707 w 72826"/>
                    <a:gd name="connsiteY1" fmla="*/ 36145 h 40431"/>
                    <a:gd name="connsiteX2" fmla="*/ 63516 w 72826"/>
                    <a:gd name="connsiteY2" fmla="*/ 29573 h 40431"/>
                    <a:gd name="connsiteX3" fmla="*/ 54372 w 72826"/>
                    <a:gd name="connsiteY3" fmla="*/ 24525 h 40431"/>
                    <a:gd name="connsiteX4" fmla="*/ 45704 w 72826"/>
                    <a:gd name="connsiteY4" fmla="*/ 18524 h 40431"/>
                    <a:gd name="connsiteX5" fmla="*/ 37322 w 72826"/>
                    <a:gd name="connsiteY5" fmla="*/ 12237 h 40431"/>
                    <a:gd name="connsiteX6" fmla="*/ 28178 w 72826"/>
                    <a:gd name="connsiteY6" fmla="*/ 6999 h 40431"/>
                    <a:gd name="connsiteX7" fmla="*/ 19225 w 72826"/>
                    <a:gd name="connsiteY7" fmla="*/ 998 h 40431"/>
                    <a:gd name="connsiteX8" fmla="*/ 10271 w 72826"/>
                    <a:gd name="connsiteY8" fmla="*/ 2236 h 40431"/>
                    <a:gd name="connsiteX9" fmla="*/ 1318 w 72826"/>
                    <a:gd name="connsiteY9" fmla="*/ 1474 h 40431"/>
                    <a:gd name="connsiteX10" fmla="*/ 2080 w 72826"/>
                    <a:gd name="connsiteY10" fmla="*/ 13285 h 40431"/>
                    <a:gd name="connsiteX11" fmla="*/ 2842 w 72826"/>
                    <a:gd name="connsiteY11" fmla="*/ 25096 h 40431"/>
                    <a:gd name="connsiteX12" fmla="*/ 13510 w 72826"/>
                    <a:gd name="connsiteY12" fmla="*/ 29097 h 40431"/>
                    <a:gd name="connsiteX13" fmla="*/ 24654 w 72826"/>
                    <a:gd name="connsiteY13" fmla="*/ 33097 h 40431"/>
                    <a:gd name="connsiteX14" fmla="*/ 36084 w 72826"/>
                    <a:gd name="connsiteY14" fmla="*/ 35859 h 40431"/>
                    <a:gd name="connsiteX15" fmla="*/ 47514 w 72826"/>
                    <a:gd name="connsiteY15" fmla="*/ 37383 h 40431"/>
                    <a:gd name="connsiteX16" fmla="*/ 59134 w 72826"/>
                    <a:gd name="connsiteY16" fmla="*/ 39669 h 40431"/>
                    <a:gd name="connsiteX17" fmla="*/ 70755 w 72826"/>
                    <a:gd name="connsiteY17" fmla="*/ 40431 h 40431"/>
                    <a:gd name="connsiteX18" fmla="*/ 71707 w 72826"/>
                    <a:gd name="connsiteY18" fmla="*/ 36145 h 40431"/>
                    <a:gd name="connsiteX19" fmla="*/ 71707 w 72826"/>
                    <a:gd name="connsiteY19" fmla="*/ 36145 h 40431"/>
                    <a:gd name="connsiteX20" fmla="*/ 71707 w 72826"/>
                    <a:gd name="connsiteY20" fmla="*/ 36145 h 40431"/>
                    <a:gd name="connsiteX21" fmla="*/ 71707 w 72826"/>
                    <a:gd name="connsiteY21" fmla="*/ 36145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2826" h="40431">
                      <a:moveTo>
                        <a:pt x="71707" y="36145"/>
                      </a:moveTo>
                      <a:lnTo>
                        <a:pt x="71707" y="36145"/>
                      </a:lnTo>
                      <a:cubicBezTo>
                        <a:pt x="67516" y="33097"/>
                        <a:pt x="67993" y="32335"/>
                        <a:pt x="63516" y="29573"/>
                      </a:cubicBezTo>
                      <a:cubicBezTo>
                        <a:pt x="59039" y="26811"/>
                        <a:pt x="58563" y="27287"/>
                        <a:pt x="54372" y="24525"/>
                      </a:cubicBezTo>
                      <a:cubicBezTo>
                        <a:pt x="49895" y="21477"/>
                        <a:pt x="50181" y="21286"/>
                        <a:pt x="45704" y="18524"/>
                      </a:cubicBezTo>
                      <a:cubicBezTo>
                        <a:pt x="41227" y="15476"/>
                        <a:pt x="41513" y="15285"/>
                        <a:pt x="37322" y="12237"/>
                      </a:cubicBezTo>
                      <a:cubicBezTo>
                        <a:pt x="32845" y="9475"/>
                        <a:pt x="32655" y="9951"/>
                        <a:pt x="28178" y="6999"/>
                      </a:cubicBezTo>
                      <a:cubicBezTo>
                        <a:pt x="23701" y="4236"/>
                        <a:pt x="24463" y="2712"/>
                        <a:pt x="19225" y="998"/>
                      </a:cubicBezTo>
                      <a:cubicBezTo>
                        <a:pt x="15034" y="-240"/>
                        <a:pt x="14748" y="2236"/>
                        <a:pt x="10271" y="2236"/>
                      </a:cubicBezTo>
                      <a:cubicBezTo>
                        <a:pt x="5794" y="2236"/>
                        <a:pt x="4080" y="-2241"/>
                        <a:pt x="1318" y="1474"/>
                      </a:cubicBezTo>
                      <a:cubicBezTo>
                        <a:pt x="-1921" y="6237"/>
                        <a:pt x="1794" y="7284"/>
                        <a:pt x="2080" y="13285"/>
                      </a:cubicBezTo>
                      <a:cubicBezTo>
                        <a:pt x="2556" y="19095"/>
                        <a:pt x="841" y="19572"/>
                        <a:pt x="2842" y="25096"/>
                      </a:cubicBezTo>
                      <a:cubicBezTo>
                        <a:pt x="4842" y="30621"/>
                        <a:pt x="6842" y="26811"/>
                        <a:pt x="13510" y="29097"/>
                      </a:cubicBezTo>
                      <a:cubicBezTo>
                        <a:pt x="16748" y="30144"/>
                        <a:pt x="20463" y="31859"/>
                        <a:pt x="24654" y="33097"/>
                      </a:cubicBezTo>
                      <a:cubicBezTo>
                        <a:pt x="28083" y="34145"/>
                        <a:pt x="32083" y="35097"/>
                        <a:pt x="36084" y="35859"/>
                      </a:cubicBezTo>
                      <a:cubicBezTo>
                        <a:pt x="39799" y="36907"/>
                        <a:pt x="43799" y="36621"/>
                        <a:pt x="47514" y="37383"/>
                      </a:cubicBezTo>
                      <a:cubicBezTo>
                        <a:pt x="51514" y="38145"/>
                        <a:pt x="55229" y="39098"/>
                        <a:pt x="59134" y="39669"/>
                      </a:cubicBezTo>
                      <a:cubicBezTo>
                        <a:pt x="63135" y="40146"/>
                        <a:pt x="67040" y="40431"/>
                        <a:pt x="70755" y="40431"/>
                      </a:cubicBezTo>
                      <a:cubicBezTo>
                        <a:pt x="72946" y="40431"/>
                        <a:pt x="73612" y="37383"/>
                        <a:pt x="71707" y="36145"/>
                      </a:cubicBezTo>
                      <a:lnTo>
                        <a:pt x="71707" y="36145"/>
                      </a:lnTo>
                      <a:lnTo>
                        <a:pt x="71707" y="36145"/>
                      </a:lnTo>
                      <a:lnTo>
                        <a:pt x="71707" y="36145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5" name="Freeform: Shape 354">
                  <a:extLst>
                    <a:ext uri="{FF2B5EF4-FFF2-40B4-BE49-F238E27FC236}">
                      <a16:creationId xmlns:a16="http://schemas.microsoft.com/office/drawing/2014/main" id="{C46D478E-8190-0A36-20F3-CA307C67AF5A}"/>
                    </a:ext>
                  </a:extLst>
                </p:cNvPr>
                <p:cNvSpPr/>
                <p:nvPr/>
              </p:nvSpPr>
              <p:spPr>
                <a:xfrm>
                  <a:off x="5773374" y="3338267"/>
                  <a:ext cx="69149" cy="32185"/>
                </a:xfrm>
                <a:custGeom>
                  <a:avLst/>
                  <a:gdLst>
                    <a:gd name="connsiteX0" fmla="*/ 1347 w 69149"/>
                    <a:gd name="connsiteY0" fmla="*/ 27677 h 32185"/>
                    <a:gd name="connsiteX1" fmla="*/ 1347 w 69149"/>
                    <a:gd name="connsiteY1" fmla="*/ 27677 h 32185"/>
                    <a:gd name="connsiteX2" fmla="*/ 11539 w 69149"/>
                    <a:gd name="connsiteY2" fmla="*/ 22438 h 32185"/>
                    <a:gd name="connsiteX3" fmla="*/ 21921 w 69149"/>
                    <a:gd name="connsiteY3" fmla="*/ 17961 h 32185"/>
                    <a:gd name="connsiteX4" fmla="*/ 31827 w 69149"/>
                    <a:gd name="connsiteY4" fmla="*/ 12151 h 32185"/>
                    <a:gd name="connsiteX5" fmla="*/ 42019 w 69149"/>
                    <a:gd name="connsiteY5" fmla="*/ 7103 h 32185"/>
                    <a:gd name="connsiteX6" fmla="*/ 51639 w 69149"/>
                    <a:gd name="connsiteY6" fmla="*/ 816 h 32185"/>
                    <a:gd name="connsiteX7" fmla="*/ 60021 w 69149"/>
                    <a:gd name="connsiteY7" fmla="*/ 2054 h 32185"/>
                    <a:gd name="connsiteX8" fmla="*/ 67927 w 69149"/>
                    <a:gd name="connsiteY8" fmla="*/ 1578 h 32185"/>
                    <a:gd name="connsiteX9" fmla="*/ 66975 w 69149"/>
                    <a:gd name="connsiteY9" fmla="*/ 13103 h 32185"/>
                    <a:gd name="connsiteX10" fmla="*/ 65260 w 69149"/>
                    <a:gd name="connsiteY10" fmla="*/ 24629 h 32185"/>
                    <a:gd name="connsiteX11" fmla="*/ 54592 w 69149"/>
                    <a:gd name="connsiteY11" fmla="*/ 25867 h 32185"/>
                    <a:gd name="connsiteX12" fmla="*/ 44400 w 69149"/>
                    <a:gd name="connsiteY12" fmla="*/ 29105 h 32185"/>
                    <a:gd name="connsiteX13" fmla="*/ 34018 w 69149"/>
                    <a:gd name="connsiteY13" fmla="*/ 30820 h 32185"/>
                    <a:gd name="connsiteX14" fmla="*/ 23350 w 69149"/>
                    <a:gd name="connsiteY14" fmla="*/ 30534 h 32185"/>
                    <a:gd name="connsiteX15" fmla="*/ 12968 w 69149"/>
                    <a:gd name="connsiteY15" fmla="*/ 32058 h 32185"/>
                    <a:gd name="connsiteX16" fmla="*/ 2586 w 69149"/>
                    <a:gd name="connsiteY16" fmla="*/ 32058 h 32185"/>
                    <a:gd name="connsiteX17" fmla="*/ 1347 w 69149"/>
                    <a:gd name="connsiteY17" fmla="*/ 27677 h 32185"/>
                    <a:gd name="connsiteX18" fmla="*/ 1347 w 69149"/>
                    <a:gd name="connsiteY18" fmla="*/ 27677 h 32185"/>
                    <a:gd name="connsiteX19" fmla="*/ 1347 w 69149"/>
                    <a:gd name="connsiteY19" fmla="*/ 27677 h 32185"/>
                    <a:gd name="connsiteX20" fmla="*/ 1347 w 69149"/>
                    <a:gd name="connsiteY20" fmla="*/ 27677 h 32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9149" h="32185">
                      <a:moveTo>
                        <a:pt x="1347" y="27677"/>
                      </a:moveTo>
                      <a:lnTo>
                        <a:pt x="1347" y="27677"/>
                      </a:lnTo>
                      <a:cubicBezTo>
                        <a:pt x="6300" y="25200"/>
                        <a:pt x="6300" y="25200"/>
                        <a:pt x="11539" y="22438"/>
                      </a:cubicBezTo>
                      <a:cubicBezTo>
                        <a:pt x="16492" y="19961"/>
                        <a:pt x="16778" y="20438"/>
                        <a:pt x="21921" y="17961"/>
                      </a:cubicBezTo>
                      <a:cubicBezTo>
                        <a:pt x="26874" y="15199"/>
                        <a:pt x="26589" y="14913"/>
                        <a:pt x="31827" y="12151"/>
                      </a:cubicBezTo>
                      <a:cubicBezTo>
                        <a:pt x="36780" y="9674"/>
                        <a:pt x="37066" y="9865"/>
                        <a:pt x="42019" y="7103"/>
                      </a:cubicBezTo>
                      <a:cubicBezTo>
                        <a:pt x="46972" y="4340"/>
                        <a:pt x="46210" y="2340"/>
                        <a:pt x="51639" y="816"/>
                      </a:cubicBezTo>
                      <a:cubicBezTo>
                        <a:pt x="55640" y="-422"/>
                        <a:pt x="55830" y="2054"/>
                        <a:pt x="60021" y="2054"/>
                      </a:cubicBezTo>
                      <a:cubicBezTo>
                        <a:pt x="64022" y="2054"/>
                        <a:pt x="65927" y="-2232"/>
                        <a:pt x="67927" y="1578"/>
                      </a:cubicBezTo>
                      <a:cubicBezTo>
                        <a:pt x="70880" y="6626"/>
                        <a:pt x="67641" y="7388"/>
                        <a:pt x="66975" y="13103"/>
                      </a:cubicBezTo>
                      <a:cubicBezTo>
                        <a:pt x="66213" y="18914"/>
                        <a:pt x="67737" y="19390"/>
                        <a:pt x="65260" y="24629"/>
                      </a:cubicBezTo>
                      <a:cubicBezTo>
                        <a:pt x="63069" y="29677"/>
                        <a:pt x="60783" y="24629"/>
                        <a:pt x="54592" y="25867"/>
                      </a:cubicBezTo>
                      <a:cubicBezTo>
                        <a:pt x="51639" y="26343"/>
                        <a:pt x="48115" y="28343"/>
                        <a:pt x="44400" y="29105"/>
                      </a:cubicBezTo>
                      <a:cubicBezTo>
                        <a:pt x="41162" y="29582"/>
                        <a:pt x="37733" y="30344"/>
                        <a:pt x="34018" y="30820"/>
                      </a:cubicBezTo>
                      <a:cubicBezTo>
                        <a:pt x="30780" y="31296"/>
                        <a:pt x="27065" y="30344"/>
                        <a:pt x="23350" y="30534"/>
                      </a:cubicBezTo>
                      <a:cubicBezTo>
                        <a:pt x="19921" y="31010"/>
                        <a:pt x="16397" y="31772"/>
                        <a:pt x="12968" y="32058"/>
                      </a:cubicBezTo>
                      <a:cubicBezTo>
                        <a:pt x="9539" y="32344"/>
                        <a:pt x="6015" y="32058"/>
                        <a:pt x="2586" y="32058"/>
                      </a:cubicBezTo>
                      <a:cubicBezTo>
                        <a:pt x="-177" y="32153"/>
                        <a:pt x="-939" y="29201"/>
                        <a:pt x="1347" y="27677"/>
                      </a:cubicBezTo>
                      <a:lnTo>
                        <a:pt x="1347" y="27677"/>
                      </a:lnTo>
                      <a:lnTo>
                        <a:pt x="1347" y="27677"/>
                      </a:lnTo>
                      <a:lnTo>
                        <a:pt x="1347" y="27677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6" name="Freeform: Shape 355">
                  <a:extLst>
                    <a:ext uri="{FF2B5EF4-FFF2-40B4-BE49-F238E27FC236}">
                      <a16:creationId xmlns:a16="http://schemas.microsoft.com/office/drawing/2014/main" id="{3E167891-FFF0-EDD8-C670-AD66E4FA15C7}"/>
                    </a:ext>
                  </a:extLst>
                </p:cNvPr>
                <p:cNvSpPr/>
                <p:nvPr/>
              </p:nvSpPr>
              <p:spPr>
                <a:xfrm>
                  <a:off x="4967034" y="2846009"/>
                  <a:ext cx="154082" cy="531978"/>
                </a:xfrm>
                <a:custGeom>
                  <a:avLst/>
                  <a:gdLst>
                    <a:gd name="connsiteX0" fmla="*/ 113410 w 154082"/>
                    <a:gd name="connsiteY0" fmla="*/ 196935 h 539591"/>
                    <a:gd name="connsiteX1" fmla="*/ 118649 w 154082"/>
                    <a:gd name="connsiteY1" fmla="*/ 314950 h 539591"/>
                    <a:gd name="connsiteX2" fmla="*/ 104266 w 154082"/>
                    <a:gd name="connsiteY2" fmla="*/ 500973 h 539591"/>
                    <a:gd name="connsiteX3" fmla="*/ 151606 w 154082"/>
                    <a:gd name="connsiteY3" fmla="*/ 527072 h 539591"/>
                    <a:gd name="connsiteX4" fmla="*/ 154082 w 154082"/>
                    <a:gd name="connsiteY4" fmla="*/ 529072 h 539591"/>
                    <a:gd name="connsiteX5" fmla="*/ 154082 w 154082"/>
                    <a:gd name="connsiteY5" fmla="*/ 532596 h 539591"/>
                    <a:gd name="connsiteX6" fmla="*/ 148177 w 154082"/>
                    <a:gd name="connsiteY6" fmla="*/ 532596 h 539591"/>
                    <a:gd name="connsiteX7" fmla="*/ 89217 w 154082"/>
                    <a:gd name="connsiteY7" fmla="*/ 524595 h 539591"/>
                    <a:gd name="connsiteX8" fmla="*/ 85216 w 154082"/>
                    <a:gd name="connsiteY8" fmla="*/ 500973 h 539591"/>
                    <a:gd name="connsiteX9" fmla="*/ 83216 w 154082"/>
                    <a:gd name="connsiteY9" fmla="*/ 524595 h 539591"/>
                    <a:gd name="connsiteX10" fmla="*/ 13874 w 154082"/>
                    <a:gd name="connsiteY10" fmla="*/ 538121 h 539591"/>
                    <a:gd name="connsiteX11" fmla="*/ 66643 w 154082"/>
                    <a:gd name="connsiteY11" fmla="*/ 500973 h 539591"/>
                    <a:gd name="connsiteX12" fmla="*/ 34639 w 154082"/>
                    <a:gd name="connsiteY12" fmla="*/ 402008 h 539591"/>
                    <a:gd name="connsiteX13" fmla="*/ 34448 w 154082"/>
                    <a:gd name="connsiteY13" fmla="*/ 402008 h 539591"/>
                    <a:gd name="connsiteX14" fmla="*/ 20637 w 154082"/>
                    <a:gd name="connsiteY14" fmla="*/ 363146 h 539591"/>
                    <a:gd name="connsiteX15" fmla="*/ 16351 w 154082"/>
                    <a:gd name="connsiteY15" fmla="*/ 336762 h 539591"/>
                    <a:gd name="connsiteX16" fmla="*/ 14350 w 154082"/>
                    <a:gd name="connsiteY16" fmla="*/ 336762 h 539591"/>
                    <a:gd name="connsiteX17" fmla="*/ 13398 w 154082"/>
                    <a:gd name="connsiteY17" fmla="*/ 313140 h 539591"/>
                    <a:gd name="connsiteX18" fmla="*/ 8159 w 154082"/>
                    <a:gd name="connsiteY18" fmla="*/ 303329 h 539591"/>
                    <a:gd name="connsiteX19" fmla="*/ 158 w 154082"/>
                    <a:gd name="connsiteY19" fmla="*/ 304853 h 539591"/>
                    <a:gd name="connsiteX20" fmla="*/ 158 w 154082"/>
                    <a:gd name="connsiteY20" fmla="*/ 304853 h 539591"/>
                    <a:gd name="connsiteX21" fmla="*/ 158 w 154082"/>
                    <a:gd name="connsiteY21" fmla="*/ 304853 h 539591"/>
                    <a:gd name="connsiteX22" fmla="*/ 158 w 154082"/>
                    <a:gd name="connsiteY22" fmla="*/ 304853 h 539591"/>
                    <a:gd name="connsiteX23" fmla="*/ 34353 w 154082"/>
                    <a:gd name="connsiteY23" fmla="*/ 138642 h 539591"/>
                    <a:gd name="connsiteX24" fmla="*/ 17208 w 154082"/>
                    <a:gd name="connsiteY24" fmla="*/ 22628 h 539591"/>
                    <a:gd name="connsiteX25" fmla="*/ 57880 w 154082"/>
                    <a:gd name="connsiteY25" fmla="*/ 9864 h 539591"/>
                    <a:gd name="connsiteX26" fmla="*/ 53117 w 154082"/>
                    <a:gd name="connsiteY26" fmla="*/ 12817 h 539591"/>
                    <a:gd name="connsiteX27" fmla="*/ 96265 w 154082"/>
                    <a:gd name="connsiteY27" fmla="*/ 1482 h 539591"/>
                    <a:gd name="connsiteX28" fmla="*/ 75025 w 154082"/>
                    <a:gd name="connsiteY28" fmla="*/ 17484 h 539591"/>
                    <a:gd name="connsiteX29" fmla="*/ 111982 w 154082"/>
                    <a:gd name="connsiteY29" fmla="*/ 131975 h 539591"/>
                    <a:gd name="connsiteX30" fmla="*/ 112744 w 154082"/>
                    <a:gd name="connsiteY30" fmla="*/ 150834 h 539591"/>
                    <a:gd name="connsiteX0" fmla="*/ 113410 w 154082"/>
                    <a:gd name="connsiteY0" fmla="*/ 189323 h 531979"/>
                    <a:gd name="connsiteX1" fmla="*/ 118649 w 154082"/>
                    <a:gd name="connsiteY1" fmla="*/ 307338 h 531979"/>
                    <a:gd name="connsiteX2" fmla="*/ 104266 w 154082"/>
                    <a:gd name="connsiteY2" fmla="*/ 493361 h 531979"/>
                    <a:gd name="connsiteX3" fmla="*/ 151606 w 154082"/>
                    <a:gd name="connsiteY3" fmla="*/ 519460 h 531979"/>
                    <a:gd name="connsiteX4" fmla="*/ 154082 w 154082"/>
                    <a:gd name="connsiteY4" fmla="*/ 521460 h 531979"/>
                    <a:gd name="connsiteX5" fmla="*/ 154082 w 154082"/>
                    <a:gd name="connsiteY5" fmla="*/ 524984 h 531979"/>
                    <a:gd name="connsiteX6" fmla="*/ 148177 w 154082"/>
                    <a:gd name="connsiteY6" fmla="*/ 524984 h 531979"/>
                    <a:gd name="connsiteX7" fmla="*/ 89217 w 154082"/>
                    <a:gd name="connsiteY7" fmla="*/ 516983 h 531979"/>
                    <a:gd name="connsiteX8" fmla="*/ 85216 w 154082"/>
                    <a:gd name="connsiteY8" fmla="*/ 493361 h 531979"/>
                    <a:gd name="connsiteX9" fmla="*/ 83216 w 154082"/>
                    <a:gd name="connsiteY9" fmla="*/ 516983 h 531979"/>
                    <a:gd name="connsiteX10" fmla="*/ 13874 w 154082"/>
                    <a:gd name="connsiteY10" fmla="*/ 530509 h 531979"/>
                    <a:gd name="connsiteX11" fmla="*/ 66643 w 154082"/>
                    <a:gd name="connsiteY11" fmla="*/ 493361 h 531979"/>
                    <a:gd name="connsiteX12" fmla="*/ 34639 w 154082"/>
                    <a:gd name="connsiteY12" fmla="*/ 394396 h 531979"/>
                    <a:gd name="connsiteX13" fmla="*/ 34448 w 154082"/>
                    <a:gd name="connsiteY13" fmla="*/ 394396 h 531979"/>
                    <a:gd name="connsiteX14" fmla="*/ 20637 w 154082"/>
                    <a:gd name="connsiteY14" fmla="*/ 355534 h 531979"/>
                    <a:gd name="connsiteX15" fmla="*/ 16351 w 154082"/>
                    <a:gd name="connsiteY15" fmla="*/ 329150 h 531979"/>
                    <a:gd name="connsiteX16" fmla="*/ 14350 w 154082"/>
                    <a:gd name="connsiteY16" fmla="*/ 329150 h 531979"/>
                    <a:gd name="connsiteX17" fmla="*/ 13398 w 154082"/>
                    <a:gd name="connsiteY17" fmla="*/ 305528 h 531979"/>
                    <a:gd name="connsiteX18" fmla="*/ 8159 w 154082"/>
                    <a:gd name="connsiteY18" fmla="*/ 295717 h 531979"/>
                    <a:gd name="connsiteX19" fmla="*/ 158 w 154082"/>
                    <a:gd name="connsiteY19" fmla="*/ 297241 h 531979"/>
                    <a:gd name="connsiteX20" fmla="*/ 158 w 154082"/>
                    <a:gd name="connsiteY20" fmla="*/ 297241 h 531979"/>
                    <a:gd name="connsiteX21" fmla="*/ 158 w 154082"/>
                    <a:gd name="connsiteY21" fmla="*/ 297241 h 531979"/>
                    <a:gd name="connsiteX22" fmla="*/ 158 w 154082"/>
                    <a:gd name="connsiteY22" fmla="*/ 297241 h 531979"/>
                    <a:gd name="connsiteX23" fmla="*/ 34353 w 154082"/>
                    <a:gd name="connsiteY23" fmla="*/ 131030 h 531979"/>
                    <a:gd name="connsiteX24" fmla="*/ 17208 w 154082"/>
                    <a:gd name="connsiteY24" fmla="*/ 15016 h 531979"/>
                    <a:gd name="connsiteX25" fmla="*/ 57880 w 154082"/>
                    <a:gd name="connsiteY25" fmla="*/ 2252 h 531979"/>
                    <a:gd name="connsiteX26" fmla="*/ 53117 w 154082"/>
                    <a:gd name="connsiteY26" fmla="*/ 5205 h 531979"/>
                    <a:gd name="connsiteX27" fmla="*/ 75025 w 154082"/>
                    <a:gd name="connsiteY27" fmla="*/ 9872 h 531979"/>
                    <a:gd name="connsiteX28" fmla="*/ 111982 w 154082"/>
                    <a:gd name="connsiteY28" fmla="*/ 124363 h 531979"/>
                    <a:gd name="connsiteX29" fmla="*/ 112744 w 154082"/>
                    <a:gd name="connsiteY29" fmla="*/ 143222 h 5319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54082" h="531979">
                      <a:moveTo>
                        <a:pt x="113410" y="189323"/>
                      </a:moveTo>
                      <a:cubicBezTo>
                        <a:pt x="114649" y="196086"/>
                        <a:pt x="118649" y="307338"/>
                        <a:pt x="118649" y="307338"/>
                      </a:cubicBezTo>
                      <a:lnTo>
                        <a:pt x="104266" y="493361"/>
                      </a:lnTo>
                      <a:lnTo>
                        <a:pt x="151606" y="519460"/>
                      </a:lnTo>
                      <a:lnTo>
                        <a:pt x="154082" y="521460"/>
                      </a:lnTo>
                      <a:lnTo>
                        <a:pt x="154082" y="524984"/>
                      </a:lnTo>
                      <a:lnTo>
                        <a:pt x="148177" y="524984"/>
                      </a:lnTo>
                      <a:cubicBezTo>
                        <a:pt x="148177" y="524984"/>
                        <a:pt x="95122" y="520984"/>
                        <a:pt x="89217" y="516983"/>
                      </a:cubicBezTo>
                      <a:cubicBezTo>
                        <a:pt x="87026" y="502696"/>
                        <a:pt x="85216" y="493361"/>
                        <a:pt x="85216" y="493361"/>
                      </a:cubicBezTo>
                      <a:lnTo>
                        <a:pt x="83216" y="516983"/>
                      </a:lnTo>
                      <a:cubicBezTo>
                        <a:pt x="83216" y="516983"/>
                        <a:pt x="22256" y="537557"/>
                        <a:pt x="13874" y="530509"/>
                      </a:cubicBezTo>
                      <a:cubicBezTo>
                        <a:pt x="5492" y="523746"/>
                        <a:pt x="66643" y="493361"/>
                        <a:pt x="66643" y="493361"/>
                      </a:cubicBezTo>
                      <a:lnTo>
                        <a:pt x="34639" y="394396"/>
                      </a:lnTo>
                      <a:lnTo>
                        <a:pt x="34448" y="394396"/>
                      </a:lnTo>
                      <a:lnTo>
                        <a:pt x="20637" y="355534"/>
                      </a:lnTo>
                      <a:lnTo>
                        <a:pt x="16351" y="329150"/>
                      </a:lnTo>
                      <a:lnTo>
                        <a:pt x="14350" y="329150"/>
                      </a:lnTo>
                      <a:cubicBezTo>
                        <a:pt x="14033" y="321276"/>
                        <a:pt x="13715" y="313402"/>
                        <a:pt x="13398" y="305528"/>
                      </a:cubicBezTo>
                      <a:lnTo>
                        <a:pt x="8159" y="295717"/>
                      </a:lnTo>
                      <a:lnTo>
                        <a:pt x="158" y="297241"/>
                      </a:lnTo>
                      <a:lnTo>
                        <a:pt x="158" y="297241"/>
                      </a:lnTo>
                      <a:lnTo>
                        <a:pt x="158" y="297241"/>
                      </a:lnTo>
                      <a:lnTo>
                        <a:pt x="158" y="297241"/>
                      </a:lnTo>
                      <a:cubicBezTo>
                        <a:pt x="158" y="297241"/>
                        <a:pt x="-4319" y="261046"/>
                        <a:pt x="34353" y="131030"/>
                      </a:cubicBezTo>
                      <a:cubicBezTo>
                        <a:pt x="14255" y="108932"/>
                        <a:pt x="-15463" y="64260"/>
                        <a:pt x="17208" y="15016"/>
                      </a:cubicBezTo>
                      <a:cubicBezTo>
                        <a:pt x="28828" y="-3082"/>
                        <a:pt x="57880" y="2252"/>
                        <a:pt x="57880" y="2252"/>
                      </a:cubicBezTo>
                      <a:cubicBezTo>
                        <a:pt x="57880" y="2252"/>
                        <a:pt x="57118" y="30065"/>
                        <a:pt x="53117" y="5205"/>
                      </a:cubicBezTo>
                      <a:cubicBezTo>
                        <a:pt x="55974" y="6475"/>
                        <a:pt x="65214" y="-9988"/>
                        <a:pt x="75025" y="9872"/>
                      </a:cubicBezTo>
                      <a:cubicBezTo>
                        <a:pt x="89407" y="19397"/>
                        <a:pt x="136461" y="64069"/>
                        <a:pt x="111982" y="124363"/>
                      </a:cubicBezTo>
                      <a:cubicBezTo>
                        <a:pt x="112458" y="134935"/>
                        <a:pt x="112744" y="143222"/>
                        <a:pt x="112744" y="143222"/>
                      </a:cubicBezTo>
                    </a:path>
                  </a:pathLst>
                </a:custGeom>
                <a:solidFill>
                  <a:srgbClr val="E1EB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7" name="Freeform: Shape 356">
                  <a:extLst>
                    <a:ext uri="{FF2B5EF4-FFF2-40B4-BE49-F238E27FC236}">
                      <a16:creationId xmlns:a16="http://schemas.microsoft.com/office/drawing/2014/main" id="{A3995808-E247-8156-9EF8-ACEB5A47BF25}"/>
                    </a:ext>
                  </a:extLst>
                </p:cNvPr>
                <p:cNvSpPr/>
                <p:nvPr/>
              </p:nvSpPr>
              <p:spPr>
                <a:xfrm>
                  <a:off x="4970637" y="2847010"/>
                  <a:ext cx="115807" cy="148773"/>
                </a:xfrm>
                <a:custGeom>
                  <a:avLst/>
                  <a:gdLst>
                    <a:gd name="connsiteX0" fmla="*/ 77136 w 115807"/>
                    <a:gd name="connsiteY0" fmla="*/ 12109 h 148773"/>
                    <a:gd name="connsiteX1" fmla="*/ 77136 w 115807"/>
                    <a:gd name="connsiteY1" fmla="*/ 12109 h 148773"/>
                    <a:gd name="connsiteX2" fmla="*/ 84565 w 115807"/>
                    <a:gd name="connsiteY2" fmla="*/ 19348 h 148773"/>
                    <a:gd name="connsiteX3" fmla="*/ 91519 w 115807"/>
                    <a:gd name="connsiteY3" fmla="*/ 27158 h 148773"/>
                    <a:gd name="connsiteX4" fmla="*/ 97710 w 115807"/>
                    <a:gd name="connsiteY4" fmla="*/ 35159 h 148773"/>
                    <a:gd name="connsiteX5" fmla="*/ 102949 w 115807"/>
                    <a:gd name="connsiteY5" fmla="*/ 44494 h 148773"/>
                    <a:gd name="connsiteX6" fmla="*/ 108187 w 115807"/>
                    <a:gd name="connsiteY6" fmla="*/ 53542 h 148773"/>
                    <a:gd name="connsiteX7" fmla="*/ 111140 w 115807"/>
                    <a:gd name="connsiteY7" fmla="*/ 63544 h 148773"/>
                    <a:gd name="connsiteX8" fmla="*/ 113331 w 115807"/>
                    <a:gd name="connsiteY8" fmla="*/ 73545 h 148773"/>
                    <a:gd name="connsiteX9" fmla="*/ 115522 w 115807"/>
                    <a:gd name="connsiteY9" fmla="*/ 83832 h 148773"/>
                    <a:gd name="connsiteX10" fmla="*/ 115807 w 115807"/>
                    <a:gd name="connsiteY10" fmla="*/ 94405 h 148773"/>
                    <a:gd name="connsiteX11" fmla="*/ 114569 w 115807"/>
                    <a:gd name="connsiteY11" fmla="*/ 104977 h 148773"/>
                    <a:gd name="connsiteX12" fmla="*/ 112093 w 115807"/>
                    <a:gd name="connsiteY12" fmla="*/ 114979 h 148773"/>
                    <a:gd name="connsiteX13" fmla="*/ 108664 w 115807"/>
                    <a:gd name="connsiteY13" fmla="*/ 124789 h 148773"/>
                    <a:gd name="connsiteX14" fmla="*/ 102472 w 115807"/>
                    <a:gd name="connsiteY14" fmla="*/ 133362 h 148773"/>
                    <a:gd name="connsiteX15" fmla="*/ 95329 w 115807"/>
                    <a:gd name="connsiteY15" fmla="*/ 140887 h 148773"/>
                    <a:gd name="connsiteX16" fmla="*/ 86185 w 115807"/>
                    <a:gd name="connsiteY16" fmla="*/ 145649 h 148773"/>
                    <a:gd name="connsiteX17" fmla="*/ 76279 w 115807"/>
                    <a:gd name="connsiteY17" fmla="*/ 147935 h 148773"/>
                    <a:gd name="connsiteX18" fmla="*/ 65896 w 115807"/>
                    <a:gd name="connsiteY18" fmla="*/ 148697 h 148773"/>
                    <a:gd name="connsiteX19" fmla="*/ 56276 w 115807"/>
                    <a:gd name="connsiteY19" fmla="*/ 145649 h 148773"/>
                    <a:gd name="connsiteX20" fmla="*/ 46656 w 115807"/>
                    <a:gd name="connsiteY20" fmla="*/ 141649 h 148773"/>
                    <a:gd name="connsiteX21" fmla="*/ 37988 w 115807"/>
                    <a:gd name="connsiteY21" fmla="*/ 136410 h 148773"/>
                    <a:gd name="connsiteX22" fmla="*/ 30273 w 115807"/>
                    <a:gd name="connsiteY22" fmla="*/ 129171 h 148773"/>
                    <a:gd name="connsiteX23" fmla="*/ 23320 w 115807"/>
                    <a:gd name="connsiteY23" fmla="*/ 121646 h 148773"/>
                    <a:gd name="connsiteX24" fmla="*/ 16843 w 115807"/>
                    <a:gd name="connsiteY24" fmla="*/ 113645 h 148773"/>
                    <a:gd name="connsiteX25" fmla="*/ 11604 w 115807"/>
                    <a:gd name="connsiteY25" fmla="*/ 104596 h 148773"/>
                    <a:gd name="connsiteX26" fmla="*/ 7603 w 115807"/>
                    <a:gd name="connsiteY26" fmla="*/ 94786 h 148773"/>
                    <a:gd name="connsiteX27" fmla="*/ 4841 w 115807"/>
                    <a:gd name="connsiteY27" fmla="*/ 84784 h 148773"/>
                    <a:gd name="connsiteX28" fmla="*/ 1603 w 115807"/>
                    <a:gd name="connsiteY28" fmla="*/ 74974 h 148773"/>
                    <a:gd name="connsiteX29" fmla="*/ 79 w 115807"/>
                    <a:gd name="connsiteY29" fmla="*/ 64687 h 148773"/>
                    <a:gd name="connsiteX30" fmla="*/ 555 w 115807"/>
                    <a:gd name="connsiteY30" fmla="*/ 54400 h 148773"/>
                    <a:gd name="connsiteX31" fmla="*/ 1507 w 115807"/>
                    <a:gd name="connsiteY31" fmla="*/ 44113 h 148773"/>
                    <a:gd name="connsiteX32" fmla="*/ 2746 w 115807"/>
                    <a:gd name="connsiteY32" fmla="*/ 33540 h 148773"/>
                    <a:gd name="connsiteX33" fmla="*/ 7222 w 115807"/>
                    <a:gd name="connsiteY33" fmla="*/ 24205 h 148773"/>
                    <a:gd name="connsiteX34" fmla="*/ 12175 w 115807"/>
                    <a:gd name="connsiteY34" fmla="*/ 14871 h 148773"/>
                    <a:gd name="connsiteX35" fmla="*/ 20367 w 115807"/>
                    <a:gd name="connsiteY35" fmla="*/ 8584 h 148773"/>
                    <a:gd name="connsiteX36" fmla="*/ 29320 w 115807"/>
                    <a:gd name="connsiteY36" fmla="*/ 3536 h 148773"/>
                    <a:gd name="connsiteX37" fmla="*/ 38941 w 115807"/>
                    <a:gd name="connsiteY37" fmla="*/ 488 h 148773"/>
                    <a:gd name="connsiteX38" fmla="*/ 49132 w 115807"/>
                    <a:gd name="connsiteY38" fmla="*/ 202 h 148773"/>
                    <a:gd name="connsiteX39" fmla="*/ 54276 w 115807"/>
                    <a:gd name="connsiteY39" fmla="*/ 583 h 148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115807" h="148773">
                      <a:moveTo>
                        <a:pt x="77136" y="12109"/>
                      </a:moveTo>
                      <a:lnTo>
                        <a:pt x="77136" y="12109"/>
                      </a:lnTo>
                      <a:cubicBezTo>
                        <a:pt x="79898" y="14109"/>
                        <a:pt x="81803" y="16871"/>
                        <a:pt x="84565" y="19348"/>
                      </a:cubicBezTo>
                      <a:cubicBezTo>
                        <a:pt x="86756" y="21634"/>
                        <a:pt x="89233" y="24396"/>
                        <a:pt x="91519" y="27158"/>
                      </a:cubicBezTo>
                      <a:cubicBezTo>
                        <a:pt x="93519" y="29635"/>
                        <a:pt x="95995" y="32206"/>
                        <a:pt x="97710" y="35159"/>
                      </a:cubicBezTo>
                      <a:cubicBezTo>
                        <a:pt x="99710" y="38207"/>
                        <a:pt x="101139" y="41160"/>
                        <a:pt x="102949" y="44494"/>
                      </a:cubicBezTo>
                      <a:cubicBezTo>
                        <a:pt x="104473" y="47542"/>
                        <a:pt x="106949" y="50304"/>
                        <a:pt x="108187" y="53542"/>
                      </a:cubicBezTo>
                      <a:cubicBezTo>
                        <a:pt x="109426" y="56781"/>
                        <a:pt x="110188" y="60305"/>
                        <a:pt x="111140" y="63544"/>
                      </a:cubicBezTo>
                      <a:cubicBezTo>
                        <a:pt x="112093" y="66782"/>
                        <a:pt x="112855" y="70306"/>
                        <a:pt x="113331" y="73545"/>
                      </a:cubicBezTo>
                      <a:cubicBezTo>
                        <a:pt x="114093" y="77069"/>
                        <a:pt x="115331" y="80593"/>
                        <a:pt x="115522" y="83832"/>
                      </a:cubicBezTo>
                      <a:cubicBezTo>
                        <a:pt x="115807" y="87356"/>
                        <a:pt x="115807" y="90880"/>
                        <a:pt x="115807" y="94405"/>
                      </a:cubicBezTo>
                      <a:cubicBezTo>
                        <a:pt x="115522" y="97929"/>
                        <a:pt x="115045" y="101453"/>
                        <a:pt x="114569" y="104977"/>
                      </a:cubicBezTo>
                      <a:cubicBezTo>
                        <a:pt x="114093" y="108502"/>
                        <a:pt x="113045" y="111740"/>
                        <a:pt x="112093" y="114979"/>
                      </a:cubicBezTo>
                      <a:cubicBezTo>
                        <a:pt x="110854" y="118217"/>
                        <a:pt x="110092" y="121741"/>
                        <a:pt x="108664" y="124789"/>
                      </a:cubicBezTo>
                      <a:cubicBezTo>
                        <a:pt x="106949" y="128028"/>
                        <a:pt x="104663" y="130790"/>
                        <a:pt x="102472" y="133362"/>
                      </a:cubicBezTo>
                      <a:cubicBezTo>
                        <a:pt x="100282" y="136124"/>
                        <a:pt x="97996" y="138886"/>
                        <a:pt x="95329" y="140887"/>
                      </a:cubicBezTo>
                      <a:cubicBezTo>
                        <a:pt x="92566" y="143173"/>
                        <a:pt x="89423" y="144411"/>
                        <a:pt x="86185" y="145649"/>
                      </a:cubicBezTo>
                      <a:cubicBezTo>
                        <a:pt x="82946" y="146887"/>
                        <a:pt x="79517" y="147364"/>
                        <a:pt x="76279" y="147935"/>
                      </a:cubicBezTo>
                      <a:cubicBezTo>
                        <a:pt x="72850" y="148411"/>
                        <a:pt x="69325" y="148983"/>
                        <a:pt x="65896" y="148697"/>
                      </a:cubicBezTo>
                      <a:cubicBezTo>
                        <a:pt x="62658" y="148221"/>
                        <a:pt x="59419" y="146697"/>
                        <a:pt x="56276" y="145649"/>
                      </a:cubicBezTo>
                      <a:cubicBezTo>
                        <a:pt x="53038" y="144411"/>
                        <a:pt x="49799" y="143363"/>
                        <a:pt x="46656" y="141649"/>
                      </a:cubicBezTo>
                      <a:cubicBezTo>
                        <a:pt x="43894" y="140125"/>
                        <a:pt x="40750" y="138410"/>
                        <a:pt x="37988" y="136410"/>
                      </a:cubicBezTo>
                      <a:cubicBezTo>
                        <a:pt x="35226" y="134124"/>
                        <a:pt x="33035" y="131647"/>
                        <a:pt x="30273" y="129171"/>
                      </a:cubicBezTo>
                      <a:cubicBezTo>
                        <a:pt x="28082" y="126885"/>
                        <a:pt x="25606" y="124408"/>
                        <a:pt x="23320" y="121646"/>
                      </a:cubicBezTo>
                      <a:cubicBezTo>
                        <a:pt x="21129" y="119170"/>
                        <a:pt x="18843" y="116598"/>
                        <a:pt x="16843" y="113645"/>
                      </a:cubicBezTo>
                      <a:cubicBezTo>
                        <a:pt x="15128" y="110597"/>
                        <a:pt x="13414" y="107644"/>
                        <a:pt x="11604" y="104596"/>
                      </a:cubicBezTo>
                      <a:cubicBezTo>
                        <a:pt x="10080" y="101548"/>
                        <a:pt x="9127" y="98024"/>
                        <a:pt x="7603" y="94786"/>
                      </a:cubicBezTo>
                      <a:cubicBezTo>
                        <a:pt x="6365" y="91547"/>
                        <a:pt x="5889" y="88023"/>
                        <a:pt x="4841" y="84784"/>
                      </a:cubicBezTo>
                      <a:cubicBezTo>
                        <a:pt x="3889" y="81546"/>
                        <a:pt x="2365" y="78212"/>
                        <a:pt x="1603" y="74974"/>
                      </a:cubicBezTo>
                      <a:cubicBezTo>
                        <a:pt x="1126" y="71449"/>
                        <a:pt x="364" y="68211"/>
                        <a:pt x="79" y="64687"/>
                      </a:cubicBezTo>
                      <a:cubicBezTo>
                        <a:pt x="-207" y="61162"/>
                        <a:pt x="364" y="57638"/>
                        <a:pt x="555" y="54400"/>
                      </a:cubicBezTo>
                      <a:cubicBezTo>
                        <a:pt x="555" y="50590"/>
                        <a:pt x="1031" y="47351"/>
                        <a:pt x="1507" y="44113"/>
                      </a:cubicBezTo>
                      <a:cubicBezTo>
                        <a:pt x="1984" y="40588"/>
                        <a:pt x="1793" y="36874"/>
                        <a:pt x="2746" y="33540"/>
                      </a:cubicBezTo>
                      <a:cubicBezTo>
                        <a:pt x="3984" y="30301"/>
                        <a:pt x="5698" y="27253"/>
                        <a:pt x="7222" y="24205"/>
                      </a:cubicBezTo>
                      <a:cubicBezTo>
                        <a:pt x="8937" y="20872"/>
                        <a:pt x="9985" y="17347"/>
                        <a:pt x="12175" y="14871"/>
                      </a:cubicBezTo>
                      <a:cubicBezTo>
                        <a:pt x="14176" y="12109"/>
                        <a:pt x="17605" y="10585"/>
                        <a:pt x="20367" y="8584"/>
                      </a:cubicBezTo>
                      <a:cubicBezTo>
                        <a:pt x="23129" y="6584"/>
                        <a:pt x="26082" y="4774"/>
                        <a:pt x="29320" y="3536"/>
                      </a:cubicBezTo>
                      <a:cubicBezTo>
                        <a:pt x="32559" y="2298"/>
                        <a:pt x="35512" y="1060"/>
                        <a:pt x="38941" y="488"/>
                      </a:cubicBezTo>
                      <a:cubicBezTo>
                        <a:pt x="42179" y="202"/>
                        <a:pt x="45608" y="-274"/>
                        <a:pt x="49132" y="202"/>
                      </a:cubicBezTo>
                      <a:cubicBezTo>
                        <a:pt x="50847" y="583"/>
                        <a:pt x="52561" y="12"/>
                        <a:pt x="54276" y="583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8" name="Freeform: Shape 357">
                  <a:extLst>
                    <a:ext uri="{FF2B5EF4-FFF2-40B4-BE49-F238E27FC236}">
                      <a16:creationId xmlns:a16="http://schemas.microsoft.com/office/drawing/2014/main" id="{31F7CBB5-964D-2D8C-3BC5-9C44A2BEDB0A}"/>
                    </a:ext>
                  </a:extLst>
                </p:cNvPr>
                <p:cNvSpPr/>
                <p:nvPr/>
              </p:nvSpPr>
              <p:spPr>
                <a:xfrm>
                  <a:off x="5012531" y="2905315"/>
                  <a:ext cx="61245" cy="37889"/>
                </a:xfrm>
                <a:custGeom>
                  <a:avLst/>
                  <a:gdLst>
                    <a:gd name="connsiteX0" fmla="*/ 0 w 61245"/>
                    <a:gd name="connsiteY0" fmla="*/ 25051 h 37889"/>
                    <a:gd name="connsiteX1" fmla="*/ 0 w 61245"/>
                    <a:gd name="connsiteY1" fmla="*/ 25051 h 37889"/>
                    <a:gd name="connsiteX2" fmla="*/ 9239 w 61245"/>
                    <a:gd name="connsiteY2" fmla="*/ 31337 h 37889"/>
                    <a:gd name="connsiteX3" fmla="*/ 19907 w 61245"/>
                    <a:gd name="connsiteY3" fmla="*/ 34862 h 37889"/>
                    <a:gd name="connsiteX4" fmla="*/ 30575 w 61245"/>
                    <a:gd name="connsiteY4" fmla="*/ 37147 h 37889"/>
                    <a:gd name="connsiteX5" fmla="*/ 41434 w 61245"/>
                    <a:gd name="connsiteY5" fmla="*/ 37433 h 37889"/>
                    <a:gd name="connsiteX6" fmla="*/ 50864 w 61245"/>
                    <a:gd name="connsiteY6" fmla="*/ 31909 h 37889"/>
                    <a:gd name="connsiteX7" fmla="*/ 55816 w 61245"/>
                    <a:gd name="connsiteY7" fmla="*/ 21907 h 37889"/>
                    <a:gd name="connsiteX8" fmla="*/ 59246 w 61245"/>
                    <a:gd name="connsiteY8" fmla="*/ 11335 h 37889"/>
                    <a:gd name="connsiteX9" fmla="*/ 61246 w 61245"/>
                    <a:gd name="connsiteY9" fmla="*/ 0 h 37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1245" h="37889">
                      <a:moveTo>
                        <a:pt x="0" y="25051"/>
                      </a:moveTo>
                      <a:lnTo>
                        <a:pt x="0" y="25051"/>
                      </a:lnTo>
                      <a:cubicBezTo>
                        <a:pt x="4477" y="28384"/>
                        <a:pt x="3524" y="28384"/>
                        <a:pt x="9239" y="31337"/>
                      </a:cubicBezTo>
                      <a:cubicBezTo>
                        <a:pt x="12002" y="33052"/>
                        <a:pt x="16192" y="33623"/>
                        <a:pt x="19907" y="34862"/>
                      </a:cubicBezTo>
                      <a:cubicBezTo>
                        <a:pt x="23336" y="36100"/>
                        <a:pt x="26860" y="36576"/>
                        <a:pt x="30575" y="37147"/>
                      </a:cubicBezTo>
                      <a:cubicBezTo>
                        <a:pt x="34290" y="37624"/>
                        <a:pt x="38005" y="38386"/>
                        <a:pt x="41434" y="37433"/>
                      </a:cubicBezTo>
                      <a:cubicBezTo>
                        <a:pt x="44863" y="36385"/>
                        <a:pt x="48101" y="34957"/>
                        <a:pt x="50864" y="31909"/>
                      </a:cubicBezTo>
                      <a:cubicBezTo>
                        <a:pt x="53054" y="29432"/>
                        <a:pt x="54293" y="25908"/>
                        <a:pt x="55816" y="21907"/>
                      </a:cubicBezTo>
                      <a:cubicBezTo>
                        <a:pt x="57055" y="18859"/>
                        <a:pt x="58579" y="15335"/>
                        <a:pt x="59246" y="11335"/>
                      </a:cubicBezTo>
                      <a:cubicBezTo>
                        <a:pt x="59722" y="7810"/>
                        <a:pt x="60960" y="4286"/>
                        <a:pt x="61246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59" name="Freeform: Shape 358">
                  <a:extLst>
                    <a:ext uri="{FF2B5EF4-FFF2-40B4-BE49-F238E27FC236}">
                      <a16:creationId xmlns:a16="http://schemas.microsoft.com/office/drawing/2014/main" id="{79EBE89F-96D3-DAA0-5340-620E52D87F54}"/>
                    </a:ext>
                  </a:extLst>
                </p:cNvPr>
                <p:cNvSpPr/>
                <p:nvPr/>
              </p:nvSpPr>
              <p:spPr>
                <a:xfrm>
                  <a:off x="5031104" y="2893218"/>
                  <a:ext cx="5715" cy="13049"/>
                </a:xfrm>
                <a:custGeom>
                  <a:avLst/>
                  <a:gdLst>
                    <a:gd name="connsiteX0" fmla="*/ 0 w 5715"/>
                    <a:gd name="connsiteY0" fmla="*/ 0 h 13049"/>
                    <a:gd name="connsiteX1" fmla="*/ 0 w 5715"/>
                    <a:gd name="connsiteY1" fmla="*/ 0 h 13049"/>
                    <a:gd name="connsiteX2" fmla="*/ 5715 w 5715"/>
                    <a:gd name="connsiteY2" fmla="*/ 13049 h 1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715" h="13049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953" y="6572"/>
                        <a:pt x="2762" y="6763"/>
                        <a:pt x="5715" y="1304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0" name="Freeform: Shape 359">
                  <a:extLst>
                    <a:ext uri="{FF2B5EF4-FFF2-40B4-BE49-F238E27FC236}">
                      <a16:creationId xmlns:a16="http://schemas.microsoft.com/office/drawing/2014/main" id="{DC829BDB-8D88-61C2-62C6-D1C25EC200FA}"/>
                    </a:ext>
                  </a:extLst>
                </p:cNvPr>
                <p:cNvSpPr/>
                <p:nvPr/>
              </p:nvSpPr>
              <p:spPr>
                <a:xfrm>
                  <a:off x="5043582" y="2886741"/>
                  <a:ext cx="4952" cy="13335"/>
                </a:xfrm>
                <a:custGeom>
                  <a:avLst/>
                  <a:gdLst>
                    <a:gd name="connsiteX0" fmla="*/ 0 w 4952"/>
                    <a:gd name="connsiteY0" fmla="*/ 0 h 13335"/>
                    <a:gd name="connsiteX1" fmla="*/ 0 w 4952"/>
                    <a:gd name="connsiteY1" fmla="*/ 0 h 13335"/>
                    <a:gd name="connsiteX2" fmla="*/ 4953 w 4952"/>
                    <a:gd name="connsiteY2" fmla="*/ 13335 h 13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52" h="13335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953" y="6572"/>
                        <a:pt x="2000" y="7049"/>
                        <a:pt x="4953" y="13335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1" name="Freeform: Shape 360">
                  <a:extLst>
                    <a:ext uri="{FF2B5EF4-FFF2-40B4-BE49-F238E27FC236}">
                      <a16:creationId xmlns:a16="http://schemas.microsoft.com/office/drawing/2014/main" id="{6FF4834F-924C-496D-B63E-3227184F1D1F}"/>
                    </a:ext>
                  </a:extLst>
                </p:cNvPr>
                <p:cNvSpPr/>
                <p:nvPr/>
              </p:nvSpPr>
              <p:spPr>
                <a:xfrm>
                  <a:off x="4966906" y="2977133"/>
                  <a:ext cx="53625" cy="168558"/>
                </a:xfrm>
                <a:custGeom>
                  <a:avLst/>
                  <a:gdLst>
                    <a:gd name="connsiteX0" fmla="*/ 34766 w 53625"/>
                    <a:gd name="connsiteY0" fmla="*/ 0 h 168558"/>
                    <a:gd name="connsiteX1" fmla="*/ 34766 w 53625"/>
                    <a:gd name="connsiteY1" fmla="*/ 0 h 168558"/>
                    <a:gd name="connsiteX2" fmla="*/ 31052 w 53625"/>
                    <a:gd name="connsiteY2" fmla="*/ 10287 h 168558"/>
                    <a:gd name="connsiteX3" fmla="*/ 28575 w 53625"/>
                    <a:gd name="connsiteY3" fmla="*/ 20860 h 168558"/>
                    <a:gd name="connsiteX4" fmla="*/ 25146 w 53625"/>
                    <a:gd name="connsiteY4" fmla="*/ 31147 h 168558"/>
                    <a:gd name="connsiteX5" fmla="*/ 22670 w 53625"/>
                    <a:gd name="connsiteY5" fmla="*/ 41720 h 168558"/>
                    <a:gd name="connsiteX6" fmla="*/ 20479 w 53625"/>
                    <a:gd name="connsiteY6" fmla="*/ 52292 h 168558"/>
                    <a:gd name="connsiteX7" fmla="*/ 16478 w 53625"/>
                    <a:gd name="connsiteY7" fmla="*/ 62579 h 168558"/>
                    <a:gd name="connsiteX8" fmla="*/ 14288 w 53625"/>
                    <a:gd name="connsiteY8" fmla="*/ 73152 h 168558"/>
                    <a:gd name="connsiteX9" fmla="*/ 12097 w 53625"/>
                    <a:gd name="connsiteY9" fmla="*/ 83725 h 168558"/>
                    <a:gd name="connsiteX10" fmla="*/ 9906 w 53625"/>
                    <a:gd name="connsiteY10" fmla="*/ 94298 h 168558"/>
                    <a:gd name="connsiteX11" fmla="*/ 7906 w 53625"/>
                    <a:gd name="connsiteY11" fmla="*/ 105061 h 168558"/>
                    <a:gd name="connsiteX12" fmla="*/ 4667 w 53625"/>
                    <a:gd name="connsiteY12" fmla="*/ 115634 h 168558"/>
                    <a:gd name="connsiteX13" fmla="*/ 2953 w 53625"/>
                    <a:gd name="connsiteY13" fmla="*/ 126206 h 168558"/>
                    <a:gd name="connsiteX14" fmla="*/ 2000 w 53625"/>
                    <a:gd name="connsiteY14" fmla="*/ 136969 h 168558"/>
                    <a:gd name="connsiteX15" fmla="*/ 1714 w 53625"/>
                    <a:gd name="connsiteY15" fmla="*/ 148018 h 168558"/>
                    <a:gd name="connsiteX16" fmla="*/ 0 w 53625"/>
                    <a:gd name="connsiteY16" fmla="*/ 158591 h 168558"/>
                    <a:gd name="connsiteX17" fmla="*/ 3239 w 53625"/>
                    <a:gd name="connsiteY17" fmla="*/ 168402 h 168558"/>
                    <a:gd name="connsiteX18" fmla="*/ 10668 w 53625"/>
                    <a:gd name="connsiteY18" fmla="*/ 161830 h 168558"/>
                    <a:gd name="connsiteX19" fmla="*/ 15907 w 53625"/>
                    <a:gd name="connsiteY19" fmla="*/ 152305 h 168558"/>
                    <a:gd name="connsiteX20" fmla="*/ 20860 w 53625"/>
                    <a:gd name="connsiteY20" fmla="*/ 142494 h 168558"/>
                    <a:gd name="connsiteX21" fmla="*/ 25527 w 53625"/>
                    <a:gd name="connsiteY21" fmla="*/ 132493 h 168558"/>
                    <a:gd name="connsiteX22" fmla="*/ 29242 w 53625"/>
                    <a:gd name="connsiteY22" fmla="*/ 122206 h 168558"/>
                    <a:gd name="connsiteX23" fmla="*/ 33719 w 53625"/>
                    <a:gd name="connsiteY23" fmla="*/ 111919 h 168558"/>
                    <a:gd name="connsiteX24" fmla="*/ 37910 w 53625"/>
                    <a:gd name="connsiteY24" fmla="*/ 101918 h 168558"/>
                    <a:gd name="connsiteX25" fmla="*/ 41910 w 53625"/>
                    <a:gd name="connsiteY25" fmla="*/ 91631 h 168558"/>
                    <a:gd name="connsiteX26" fmla="*/ 45625 w 53625"/>
                    <a:gd name="connsiteY26" fmla="*/ 81058 h 168558"/>
                    <a:gd name="connsiteX27" fmla="*/ 49625 w 53625"/>
                    <a:gd name="connsiteY27" fmla="*/ 70771 h 168558"/>
                    <a:gd name="connsiteX28" fmla="*/ 53626 w 53625"/>
                    <a:gd name="connsiteY28" fmla="*/ 60484 h 168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3625" h="168558">
                      <a:moveTo>
                        <a:pt x="34766" y="0"/>
                      </a:moveTo>
                      <a:lnTo>
                        <a:pt x="34766" y="0"/>
                      </a:lnTo>
                      <a:cubicBezTo>
                        <a:pt x="33242" y="5239"/>
                        <a:pt x="33052" y="3810"/>
                        <a:pt x="31052" y="10287"/>
                      </a:cubicBezTo>
                      <a:cubicBezTo>
                        <a:pt x="30099" y="13049"/>
                        <a:pt x="29528" y="16859"/>
                        <a:pt x="28575" y="20860"/>
                      </a:cubicBezTo>
                      <a:cubicBezTo>
                        <a:pt x="27622" y="23908"/>
                        <a:pt x="26099" y="27432"/>
                        <a:pt x="25146" y="31147"/>
                      </a:cubicBezTo>
                      <a:cubicBezTo>
                        <a:pt x="24194" y="34385"/>
                        <a:pt x="23622" y="37910"/>
                        <a:pt x="22670" y="41720"/>
                      </a:cubicBezTo>
                      <a:cubicBezTo>
                        <a:pt x="21908" y="44958"/>
                        <a:pt x="21431" y="48768"/>
                        <a:pt x="20479" y="52292"/>
                      </a:cubicBezTo>
                      <a:cubicBezTo>
                        <a:pt x="19717" y="55817"/>
                        <a:pt x="17526" y="58865"/>
                        <a:pt x="16478" y="62579"/>
                      </a:cubicBezTo>
                      <a:cubicBezTo>
                        <a:pt x="15716" y="65818"/>
                        <a:pt x="15240" y="69628"/>
                        <a:pt x="14288" y="73152"/>
                      </a:cubicBezTo>
                      <a:cubicBezTo>
                        <a:pt x="13526" y="76676"/>
                        <a:pt x="13049" y="80201"/>
                        <a:pt x="12097" y="83725"/>
                      </a:cubicBezTo>
                      <a:cubicBezTo>
                        <a:pt x="11335" y="87249"/>
                        <a:pt x="10573" y="90773"/>
                        <a:pt x="9906" y="94298"/>
                      </a:cubicBezTo>
                      <a:cubicBezTo>
                        <a:pt x="8954" y="97822"/>
                        <a:pt x="8382" y="101537"/>
                        <a:pt x="7906" y="105061"/>
                      </a:cubicBezTo>
                      <a:cubicBezTo>
                        <a:pt x="7144" y="108585"/>
                        <a:pt x="5429" y="112109"/>
                        <a:pt x="4667" y="115634"/>
                      </a:cubicBezTo>
                      <a:cubicBezTo>
                        <a:pt x="4191" y="119158"/>
                        <a:pt x="3429" y="122682"/>
                        <a:pt x="2953" y="126206"/>
                      </a:cubicBezTo>
                      <a:cubicBezTo>
                        <a:pt x="2477" y="130016"/>
                        <a:pt x="2477" y="133731"/>
                        <a:pt x="2000" y="136969"/>
                      </a:cubicBezTo>
                      <a:cubicBezTo>
                        <a:pt x="1524" y="140780"/>
                        <a:pt x="2000" y="144494"/>
                        <a:pt x="1714" y="148018"/>
                      </a:cubicBezTo>
                      <a:cubicBezTo>
                        <a:pt x="1429" y="151829"/>
                        <a:pt x="0" y="155258"/>
                        <a:pt x="0" y="158591"/>
                      </a:cubicBezTo>
                      <a:cubicBezTo>
                        <a:pt x="0" y="165354"/>
                        <a:pt x="1714" y="167926"/>
                        <a:pt x="3239" y="168402"/>
                      </a:cubicBezTo>
                      <a:cubicBezTo>
                        <a:pt x="4953" y="169164"/>
                        <a:pt x="7430" y="167164"/>
                        <a:pt x="10668" y="161830"/>
                      </a:cubicBezTo>
                      <a:cubicBezTo>
                        <a:pt x="12192" y="159353"/>
                        <a:pt x="14097" y="156019"/>
                        <a:pt x="15907" y="152305"/>
                      </a:cubicBezTo>
                      <a:cubicBezTo>
                        <a:pt x="17621" y="149257"/>
                        <a:pt x="19145" y="146018"/>
                        <a:pt x="20860" y="142494"/>
                      </a:cubicBezTo>
                      <a:cubicBezTo>
                        <a:pt x="22384" y="139256"/>
                        <a:pt x="24098" y="135922"/>
                        <a:pt x="25527" y="132493"/>
                      </a:cubicBezTo>
                      <a:cubicBezTo>
                        <a:pt x="27051" y="129254"/>
                        <a:pt x="27718" y="125444"/>
                        <a:pt x="29242" y="122206"/>
                      </a:cubicBezTo>
                      <a:cubicBezTo>
                        <a:pt x="30766" y="118682"/>
                        <a:pt x="32195" y="115443"/>
                        <a:pt x="33719" y="111919"/>
                      </a:cubicBezTo>
                      <a:cubicBezTo>
                        <a:pt x="34957" y="108680"/>
                        <a:pt x="36481" y="105156"/>
                        <a:pt x="37910" y="101918"/>
                      </a:cubicBezTo>
                      <a:cubicBezTo>
                        <a:pt x="39148" y="98393"/>
                        <a:pt x="40672" y="94869"/>
                        <a:pt x="41910" y="91631"/>
                      </a:cubicBezTo>
                      <a:cubicBezTo>
                        <a:pt x="43434" y="87821"/>
                        <a:pt x="44387" y="84392"/>
                        <a:pt x="45625" y="81058"/>
                      </a:cubicBezTo>
                      <a:cubicBezTo>
                        <a:pt x="47149" y="77248"/>
                        <a:pt x="48387" y="73819"/>
                        <a:pt x="49625" y="70771"/>
                      </a:cubicBezTo>
                      <a:cubicBezTo>
                        <a:pt x="51816" y="64484"/>
                        <a:pt x="51626" y="65723"/>
                        <a:pt x="53626" y="60484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2" name="Freeform: Shape 361">
                  <a:extLst>
                    <a:ext uri="{FF2B5EF4-FFF2-40B4-BE49-F238E27FC236}">
                      <a16:creationId xmlns:a16="http://schemas.microsoft.com/office/drawing/2014/main" id="{211ADE5C-8B30-1489-CE29-4C64D484A1FA}"/>
                    </a:ext>
                  </a:extLst>
                </p:cNvPr>
                <p:cNvSpPr/>
                <p:nvPr/>
              </p:nvSpPr>
              <p:spPr>
                <a:xfrm>
                  <a:off x="4994052" y="2970276"/>
                  <a:ext cx="93498" cy="185610"/>
                </a:xfrm>
                <a:custGeom>
                  <a:avLst/>
                  <a:gdLst>
                    <a:gd name="connsiteX0" fmla="*/ 85630 w 93498"/>
                    <a:gd name="connsiteY0" fmla="*/ 0 h 185610"/>
                    <a:gd name="connsiteX1" fmla="*/ 85630 w 93498"/>
                    <a:gd name="connsiteY1" fmla="*/ 0 h 185610"/>
                    <a:gd name="connsiteX2" fmla="*/ 85630 w 93498"/>
                    <a:gd name="connsiteY2" fmla="*/ 10763 h 185610"/>
                    <a:gd name="connsiteX3" fmla="*/ 86392 w 93498"/>
                    <a:gd name="connsiteY3" fmla="*/ 21527 h 185610"/>
                    <a:gd name="connsiteX4" fmla="*/ 86868 w 93498"/>
                    <a:gd name="connsiteY4" fmla="*/ 32576 h 185610"/>
                    <a:gd name="connsiteX5" fmla="*/ 86106 w 93498"/>
                    <a:gd name="connsiteY5" fmla="*/ 43339 h 185610"/>
                    <a:gd name="connsiteX6" fmla="*/ 86868 w 93498"/>
                    <a:gd name="connsiteY6" fmla="*/ 54102 h 185610"/>
                    <a:gd name="connsiteX7" fmla="*/ 88106 w 93498"/>
                    <a:gd name="connsiteY7" fmla="*/ 64865 h 185610"/>
                    <a:gd name="connsiteX8" fmla="*/ 88392 w 93498"/>
                    <a:gd name="connsiteY8" fmla="*/ 75629 h 185610"/>
                    <a:gd name="connsiteX9" fmla="*/ 87916 w 93498"/>
                    <a:gd name="connsiteY9" fmla="*/ 86392 h 185610"/>
                    <a:gd name="connsiteX10" fmla="*/ 88678 w 93498"/>
                    <a:gd name="connsiteY10" fmla="*/ 97155 h 185610"/>
                    <a:gd name="connsiteX11" fmla="*/ 88964 w 93498"/>
                    <a:gd name="connsiteY11" fmla="*/ 108204 h 185610"/>
                    <a:gd name="connsiteX12" fmla="*/ 89440 w 93498"/>
                    <a:gd name="connsiteY12" fmla="*/ 118967 h 185610"/>
                    <a:gd name="connsiteX13" fmla="*/ 89916 w 93498"/>
                    <a:gd name="connsiteY13" fmla="*/ 129730 h 185610"/>
                    <a:gd name="connsiteX14" fmla="*/ 90202 w 93498"/>
                    <a:gd name="connsiteY14" fmla="*/ 140494 h 185610"/>
                    <a:gd name="connsiteX15" fmla="*/ 91154 w 93498"/>
                    <a:gd name="connsiteY15" fmla="*/ 151257 h 185610"/>
                    <a:gd name="connsiteX16" fmla="*/ 91154 w 93498"/>
                    <a:gd name="connsiteY16" fmla="*/ 162020 h 185610"/>
                    <a:gd name="connsiteX17" fmla="*/ 92107 w 93498"/>
                    <a:gd name="connsiteY17" fmla="*/ 172784 h 185610"/>
                    <a:gd name="connsiteX18" fmla="*/ 91631 w 93498"/>
                    <a:gd name="connsiteY18" fmla="*/ 183833 h 185610"/>
                    <a:gd name="connsiteX19" fmla="*/ 80201 w 93498"/>
                    <a:gd name="connsiteY19" fmla="*/ 183833 h 185610"/>
                    <a:gd name="connsiteX20" fmla="*/ 68771 w 93498"/>
                    <a:gd name="connsiteY20" fmla="*/ 184595 h 185610"/>
                    <a:gd name="connsiteX21" fmla="*/ 57341 w 93498"/>
                    <a:gd name="connsiteY21" fmla="*/ 183547 h 185610"/>
                    <a:gd name="connsiteX22" fmla="*/ 45911 w 93498"/>
                    <a:gd name="connsiteY22" fmla="*/ 183833 h 185610"/>
                    <a:gd name="connsiteX23" fmla="*/ 34290 w 93498"/>
                    <a:gd name="connsiteY23" fmla="*/ 183356 h 185610"/>
                    <a:gd name="connsiteX24" fmla="*/ 22860 w 93498"/>
                    <a:gd name="connsiteY24" fmla="*/ 183071 h 185610"/>
                    <a:gd name="connsiteX25" fmla="*/ 11430 w 93498"/>
                    <a:gd name="connsiteY25" fmla="*/ 183833 h 185610"/>
                    <a:gd name="connsiteX26" fmla="*/ 0 w 93498"/>
                    <a:gd name="connsiteY26" fmla="*/ 184309 h 185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93498" h="185610">
                      <a:moveTo>
                        <a:pt x="85630" y="0"/>
                      </a:moveTo>
                      <a:lnTo>
                        <a:pt x="85630" y="0"/>
                      </a:lnTo>
                      <a:cubicBezTo>
                        <a:pt x="85916" y="5524"/>
                        <a:pt x="85344" y="5524"/>
                        <a:pt x="85630" y="10763"/>
                      </a:cubicBezTo>
                      <a:cubicBezTo>
                        <a:pt x="85630" y="16288"/>
                        <a:pt x="86106" y="16288"/>
                        <a:pt x="86392" y="21527"/>
                      </a:cubicBezTo>
                      <a:cubicBezTo>
                        <a:pt x="86678" y="27051"/>
                        <a:pt x="86678" y="27051"/>
                        <a:pt x="86868" y="32576"/>
                      </a:cubicBezTo>
                      <a:cubicBezTo>
                        <a:pt x="86868" y="37814"/>
                        <a:pt x="86106" y="37814"/>
                        <a:pt x="86106" y="43339"/>
                      </a:cubicBezTo>
                      <a:cubicBezTo>
                        <a:pt x="86392" y="48578"/>
                        <a:pt x="86868" y="48578"/>
                        <a:pt x="86868" y="54102"/>
                      </a:cubicBezTo>
                      <a:cubicBezTo>
                        <a:pt x="87154" y="59341"/>
                        <a:pt x="87821" y="59341"/>
                        <a:pt x="88106" y="64865"/>
                      </a:cubicBezTo>
                      <a:cubicBezTo>
                        <a:pt x="88392" y="70104"/>
                        <a:pt x="88106" y="70104"/>
                        <a:pt x="88392" y="75629"/>
                      </a:cubicBezTo>
                      <a:cubicBezTo>
                        <a:pt x="88392" y="81153"/>
                        <a:pt x="87630" y="81153"/>
                        <a:pt x="87916" y="86392"/>
                      </a:cubicBezTo>
                      <a:cubicBezTo>
                        <a:pt x="88202" y="91916"/>
                        <a:pt x="88392" y="91916"/>
                        <a:pt x="88678" y="97155"/>
                      </a:cubicBezTo>
                      <a:cubicBezTo>
                        <a:pt x="88964" y="102680"/>
                        <a:pt x="88964" y="102680"/>
                        <a:pt x="88964" y="108204"/>
                      </a:cubicBezTo>
                      <a:cubicBezTo>
                        <a:pt x="89249" y="113443"/>
                        <a:pt x="89249" y="113443"/>
                        <a:pt x="89440" y="118967"/>
                      </a:cubicBezTo>
                      <a:cubicBezTo>
                        <a:pt x="89726" y="124206"/>
                        <a:pt x="89916" y="124206"/>
                        <a:pt x="89916" y="129730"/>
                      </a:cubicBezTo>
                      <a:cubicBezTo>
                        <a:pt x="90202" y="134969"/>
                        <a:pt x="89916" y="134969"/>
                        <a:pt x="90202" y="140494"/>
                      </a:cubicBezTo>
                      <a:cubicBezTo>
                        <a:pt x="90202" y="146018"/>
                        <a:pt x="91154" y="145733"/>
                        <a:pt x="91154" y="151257"/>
                      </a:cubicBezTo>
                      <a:cubicBezTo>
                        <a:pt x="91440" y="156781"/>
                        <a:pt x="90869" y="156781"/>
                        <a:pt x="91154" y="162020"/>
                      </a:cubicBezTo>
                      <a:cubicBezTo>
                        <a:pt x="91154" y="167545"/>
                        <a:pt x="91916" y="167545"/>
                        <a:pt x="92107" y="172784"/>
                      </a:cubicBezTo>
                      <a:cubicBezTo>
                        <a:pt x="92107" y="178308"/>
                        <a:pt x="95536" y="180023"/>
                        <a:pt x="91631" y="183833"/>
                      </a:cubicBezTo>
                      <a:cubicBezTo>
                        <a:pt x="87630" y="187833"/>
                        <a:pt x="85916" y="183833"/>
                        <a:pt x="80201" y="183833"/>
                      </a:cubicBezTo>
                      <a:cubicBezTo>
                        <a:pt x="74486" y="183833"/>
                        <a:pt x="74486" y="184595"/>
                        <a:pt x="68771" y="184595"/>
                      </a:cubicBezTo>
                      <a:cubicBezTo>
                        <a:pt x="63056" y="184595"/>
                        <a:pt x="63056" y="183547"/>
                        <a:pt x="57341" y="183547"/>
                      </a:cubicBezTo>
                      <a:cubicBezTo>
                        <a:pt x="51625" y="183547"/>
                        <a:pt x="51625" y="183833"/>
                        <a:pt x="45911" y="183833"/>
                      </a:cubicBezTo>
                      <a:cubicBezTo>
                        <a:pt x="40196" y="183833"/>
                        <a:pt x="40196" y="183356"/>
                        <a:pt x="34290" y="183356"/>
                      </a:cubicBezTo>
                      <a:cubicBezTo>
                        <a:pt x="28575" y="183356"/>
                        <a:pt x="28575" y="183071"/>
                        <a:pt x="22860" y="183071"/>
                      </a:cubicBezTo>
                      <a:cubicBezTo>
                        <a:pt x="17145" y="183071"/>
                        <a:pt x="17145" y="183833"/>
                        <a:pt x="11430" y="183833"/>
                      </a:cubicBezTo>
                      <a:cubicBezTo>
                        <a:pt x="5715" y="183833"/>
                        <a:pt x="5715" y="184309"/>
                        <a:pt x="0" y="18430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3" name="Freeform: Shape 362">
                  <a:extLst>
                    <a:ext uri="{FF2B5EF4-FFF2-40B4-BE49-F238E27FC236}">
                      <a16:creationId xmlns:a16="http://schemas.microsoft.com/office/drawing/2014/main" id="{14F42A07-32D6-32B0-F0F3-DF98E3C26200}"/>
                    </a:ext>
                  </a:extLst>
                </p:cNvPr>
                <p:cNvSpPr/>
                <p:nvPr/>
              </p:nvSpPr>
              <p:spPr>
                <a:xfrm>
                  <a:off x="5009578" y="3154584"/>
                  <a:ext cx="76866" cy="186057"/>
                </a:xfrm>
                <a:custGeom>
                  <a:avLst/>
                  <a:gdLst>
                    <a:gd name="connsiteX0" fmla="*/ 76867 w 76866"/>
                    <a:gd name="connsiteY0" fmla="*/ 0 h 186057"/>
                    <a:gd name="connsiteX1" fmla="*/ 76867 w 76866"/>
                    <a:gd name="connsiteY1" fmla="*/ 0 h 186057"/>
                    <a:gd name="connsiteX2" fmla="*/ 75343 w 76866"/>
                    <a:gd name="connsiteY2" fmla="*/ 10763 h 186057"/>
                    <a:gd name="connsiteX3" fmla="*/ 74390 w 76866"/>
                    <a:gd name="connsiteY3" fmla="*/ 21527 h 186057"/>
                    <a:gd name="connsiteX4" fmla="*/ 73438 w 76866"/>
                    <a:gd name="connsiteY4" fmla="*/ 32290 h 186057"/>
                    <a:gd name="connsiteX5" fmla="*/ 73152 w 76866"/>
                    <a:gd name="connsiteY5" fmla="*/ 43339 h 186057"/>
                    <a:gd name="connsiteX6" fmla="*/ 71914 w 76866"/>
                    <a:gd name="connsiteY6" fmla="*/ 54102 h 186057"/>
                    <a:gd name="connsiteX7" fmla="*/ 71437 w 76866"/>
                    <a:gd name="connsiteY7" fmla="*/ 65151 h 186057"/>
                    <a:gd name="connsiteX8" fmla="*/ 70199 w 76866"/>
                    <a:gd name="connsiteY8" fmla="*/ 75914 h 186057"/>
                    <a:gd name="connsiteX9" fmla="*/ 69723 w 76866"/>
                    <a:gd name="connsiteY9" fmla="*/ 86678 h 186057"/>
                    <a:gd name="connsiteX10" fmla="*/ 68961 w 76866"/>
                    <a:gd name="connsiteY10" fmla="*/ 97727 h 186057"/>
                    <a:gd name="connsiteX11" fmla="*/ 66961 w 76866"/>
                    <a:gd name="connsiteY11" fmla="*/ 108490 h 186057"/>
                    <a:gd name="connsiteX12" fmla="*/ 66675 w 76866"/>
                    <a:gd name="connsiteY12" fmla="*/ 119253 h 186057"/>
                    <a:gd name="connsiteX13" fmla="*/ 66199 w 76866"/>
                    <a:gd name="connsiteY13" fmla="*/ 130302 h 186057"/>
                    <a:gd name="connsiteX14" fmla="*/ 64484 w 76866"/>
                    <a:gd name="connsiteY14" fmla="*/ 141065 h 186057"/>
                    <a:gd name="connsiteX15" fmla="*/ 64484 w 76866"/>
                    <a:gd name="connsiteY15" fmla="*/ 151829 h 186057"/>
                    <a:gd name="connsiteX16" fmla="*/ 63246 w 76866"/>
                    <a:gd name="connsiteY16" fmla="*/ 162592 h 186057"/>
                    <a:gd name="connsiteX17" fmla="*/ 61722 w 76866"/>
                    <a:gd name="connsiteY17" fmla="*/ 173641 h 186057"/>
                    <a:gd name="connsiteX18" fmla="*/ 61436 w 76866"/>
                    <a:gd name="connsiteY18" fmla="*/ 183928 h 186057"/>
                    <a:gd name="connsiteX19" fmla="*/ 49340 w 76866"/>
                    <a:gd name="connsiteY19" fmla="*/ 183928 h 186057"/>
                    <a:gd name="connsiteX20" fmla="*/ 36671 w 76866"/>
                    <a:gd name="connsiteY20" fmla="*/ 184214 h 186057"/>
                    <a:gd name="connsiteX21" fmla="*/ 24003 w 76866"/>
                    <a:gd name="connsiteY21" fmla="*/ 184690 h 186057"/>
                    <a:gd name="connsiteX22" fmla="*/ 19812 w 76866"/>
                    <a:gd name="connsiteY22" fmla="*/ 174498 h 186057"/>
                    <a:gd name="connsiteX23" fmla="*/ 17336 w 76866"/>
                    <a:gd name="connsiteY23" fmla="*/ 163735 h 186057"/>
                    <a:gd name="connsiteX24" fmla="*/ 14383 w 76866"/>
                    <a:gd name="connsiteY24" fmla="*/ 153162 h 186057"/>
                    <a:gd name="connsiteX25" fmla="*/ 10668 w 76866"/>
                    <a:gd name="connsiteY25" fmla="*/ 142589 h 186057"/>
                    <a:gd name="connsiteX26" fmla="*/ 6191 w 76866"/>
                    <a:gd name="connsiteY26" fmla="*/ 132302 h 186057"/>
                    <a:gd name="connsiteX27" fmla="*/ 2762 w 76866"/>
                    <a:gd name="connsiteY27" fmla="*/ 122015 h 186057"/>
                    <a:gd name="connsiteX28" fmla="*/ 0 w 76866"/>
                    <a:gd name="connsiteY28" fmla="*/ 110966 h 186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76866" h="186057">
                      <a:moveTo>
                        <a:pt x="76867" y="0"/>
                      </a:moveTo>
                      <a:lnTo>
                        <a:pt x="76867" y="0"/>
                      </a:lnTo>
                      <a:cubicBezTo>
                        <a:pt x="76391" y="5525"/>
                        <a:pt x="75914" y="5239"/>
                        <a:pt x="75343" y="10763"/>
                      </a:cubicBezTo>
                      <a:cubicBezTo>
                        <a:pt x="75057" y="16288"/>
                        <a:pt x="74867" y="16288"/>
                        <a:pt x="74390" y="21527"/>
                      </a:cubicBezTo>
                      <a:cubicBezTo>
                        <a:pt x="74105" y="27051"/>
                        <a:pt x="73628" y="27051"/>
                        <a:pt x="73438" y="32290"/>
                      </a:cubicBezTo>
                      <a:cubicBezTo>
                        <a:pt x="72962" y="37814"/>
                        <a:pt x="73724" y="37814"/>
                        <a:pt x="73152" y="43339"/>
                      </a:cubicBezTo>
                      <a:cubicBezTo>
                        <a:pt x="72676" y="48863"/>
                        <a:pt x="72390" y="48863"/>
                        <a:pt x="71914" y="54102"/>
                      </a:cubicBezTo>
                      <a:cubicBezTo>
                        <a:pt x="71628" y="59627"/>
                        <a:pt x="71914" y="59627"/>
                        <a:pt x="71437" y="65151"/>
                      </a:cubicBezTo>
                      <a:cubicBezTo>
                        <a:pt x="70961" y="70390"/>
                        <a:pt x="70485" y="70390"/>
                        <a:pt x="70199" y="75914"/>
                      </a:cubicBezTo>
                      <a:cubicBezTo>
                        <a:pt x="69723" y="81153"/>
                        <a:pt x="70199" y="81439"/>
                        <a:pt x="69723" y="86678"/>
                      </a:cubicBezTo>
                      <a:cubicBezTo>
                        <a:pt x="69247" y="92202"/>
                        <a:pt x="69437" y="92202"/>
                        <a:pt x="68961" y="97727"/>
                      </a:cubicBezTo>
                      <a:cubicBezTo>
                        <a:pt x="68485" y="102965"/>
                        <a:pt x="67247" y="102965"/>
                        <a:pt x="66961" y="108490"/>
                      </a:cubicBezTo>
                      <a:cubicBezTo>
                        <a:pt x="66485" y="113729"/>
                        <a:pt x="66961" y="113729"/>
                        <a:pt x="66675" y="119253"/>
                      </a:cubicBezTo>
                      <a:cubicBezTo>
                        <a:pt x="66199" y="124778"/>
                        <a:pt x="66675" y="124778"/>
                        <a:pt x="66199" y="130302"/>
                      </a:cubicBezTo>
                      <a:cubicBezTo>
                        <a:pt x="65913" y="135541"/>
                        <a:pt x="64961" y="135541"/>
                        <a:pt x="64484" y="141065"/>
                      </a:cubicBezTo>
                      <a:cubicBezTo>
                        <a:pt x="64008" y="146304"/>
                        <a:pt x="64770" y="146304"/>
                        <a:pt x="64484" y="151829"/>
                      </a:cubicBezTo>
                      <a:cubicBezTo>
                        <a:pt x="64008" y="157353"/>
                        <a:pt x="63722" y="157353"/>
                        <a:pt x="63246" y="162592"/>
                      </a:cubicBezTo>
                      <a:cubicBezTo>
                        <a:pt x="62770" y="168116"/>
                        <a:pt x="62293" y="168116"/>
                        <a:pt x="61722" y="173641"/>
                      </a:cubicBezTo>
                      <a:cubicBezTo>
                        <a:pt x="61436" y="178880"/>
                        <a:pt x="65723" y="180689"/>
                        <a:pt x="61436" y="183928"/>
                      </a:cubicBezTo>
                      <a:cubicBezTo>
                        <a:pt x="56483" y="187928"/>
                        <a:pt x="55531" y="183928"/>
                        <a:pt x="49340" y="183928"/>
                      </a:cubicBezTo>
                      <a:cubicBezTo>
                        <a:pt x="42862" y="183928"/>
                        <a:pt x="42862" y="184214"/>
                        <a:pt x="36671" y="184214"/>
                      </a:cubicBezTo>
                      <a:cubicBezTo>
                        <a:pt x="30480" y="184214"/>
                        <a:pt x="29242" y="188024"/>
                        <a:pt x="24003" y="184690"/>
                      </a:cubicBezTo>
                      <a:cubicBezTo>
                        <a:pt x="19622" y="182023"/>
                        <a:pt x="21526" y="179737"/>
                        <a:pt x="19812" y="174498"/>
                      </a:cubicBezTo>
                      <a:cubicBezTo>
                        <a:pt x="18098" y="169259"/>
                        <a:pt x="19050" y="168974"/>
                        <a:pt x="17336" y="163735"/>
                      </a:cubicBezTo>
                      <a:cubicBezTo>
                        <a:pt x="15621" y="158496"/>
                        <a:pt x="16097" y="158496"/>
                        <a:pt x="14383" y="153162"/>
                      </a:cubicBezTo>
                      <a:cubicBezTo>
                        <a:pt x="12668" y="147923"/>
                        <a:pt x="12382" y="147923"/>
                        <a:pt x="10668" y="142589"/>
                      </a:cubicBezTo>
                      <a:cubicBezTo>
                        <a:pt x="8954" y="137351"/>
                        <a:pt x="7906" y="137541"/>
                        <a:pt x="6191" y="132302"/>
                      </a:cubicBezTo>
                      <a:cubicBezTo>
                        <a:pt x="4477" y="126968"/>
                        <a:pt x="4477" y="127254"/>
                        <a:pt x="2762" y="122015"/>
                      </a:cubicBezTo>
                      <a:cubicBezTo>
                        <a:pt x="1048" y="116777"/>
                        <a:pt x="1810" y="116205"/>
                        <a:pt x="0" y="11096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4" name="Freeform: Shape 363">
                  <a:extLst>
                    <a:ext uri="{FF2B5EF4-FFF2-40B4-BE49-F238E27FC236}">
                      <a16:creationId xmlns:a16="http://schemas.microsoft.com/office/drawing/2014/main" id="{659382C0-AFEB-0590-C7D4-A57332999E08}"/>
                    </a:ext>
                  </a:extLst>
                </p:cNvPr>
                <p:cNvSpPr/>
                <p:nvPr/>
              </p:nvSpPr>
              <p:spPr>
                <a:xfrm>
                  <a:off x="5046345" y="3253454"/>
                  <a:ext cx="3745" cy="85153"/>
                </a:xfrm>
                <a:custGeom>
                  <a:avLst/>
                  <a:gdLst>
                    <a:gd name="connsiteX0" fmla="*/ 3429 w 3745"/>
                    <a:gd name="connsiteY0" fmla="*/ 85153 h 85153"/>
                    <a:gd name="connsiteX1" fmla="*/ 3429 w 3745"/>
                    <a:gd name="connsiteY1" fmla="*/ 85153 h 85153"/>
                    <a:gd name="connsiteX2" fmla="*/ 3715 w 3745"/>
                    <a:gd name="connsiteY2" fmla="*/ 74390 h 85153"/>
                    <a:gd name="connsiteX3" fmla="*/ 3429 w 3745"/>
                    <a:gd name="connsiteY3" fmla="*/ 63818 h 85153"/>
                    <a:gd name="connsiteX4" fmla="*/ 2953 w 3745"/>
                    <a:gd name="connsiteY4" fmla="*/ 53245 h 85153"/>
                    <a:gd name="connsiteX5" fmla="*/ 952 w 3745"/>
                    <a:gd name="connsiteY5" fmla="*/ 42481 h 85153"/>
                    <a:gd name="connsiteX6" fmla="*/ 952 w 3745"/>
                    <a:gd name="connsiteY6" fmla="*/ 31909 h 85153"/>
                    <a:gd name="connsiteX7" fmla="*/ 1429 w 3745"/>
                    <a:gd name="connsiteY7" fmla="*/ 21146 h 85153"/>
                    <a:gd name="connsiteX8" fmla="*/ 476 w 3745"/>
                    <a:gd name="connsiteY8" fmla="*/ 10573 h 85153"/>
                    <a:gd name="connsiteX9" fmla="*/ 0 w 3745"/>
                    <a:gd name="connsiteY9" fmla="*/ 0 h 85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45" h="85153">
                      <a:moveTo>
                        <a:pt x="3429" y="85153"/>
                      </a:moveTo>
                      <a:lnTo>
                        <a:pt x="3429" y="85153"/>
                      </a:lnTo>
                      <a:cubicBezTo>
                        <a:pt x="3143" y="79629"/>
                        <a:pt x="3905" y="79629"/>
                        <a:pt x="3715" y="74390"/>
                      </a:cubicBezTo>
                      <a:cubicBezTo>
                        <a:pt x="3429" y="69152"/>
                        <a:pt x="3715" y="69152"/>
                        <a:pt x="3429" y="63818"/>
                      </a:cubicBezTo>
                      <a:cubicBezTo>
                        <a:pt x="3143" y="58579"/>
                        <a:pt x="3143" y="58579"/>
                        <a:pt x="2953" y="53245"/>
                      </a:cubicBezTo>
                      <a:cubicBezTo>
                        <a:pt x="2667" y="47720"/>
                        <a:pt x="1238" y="48006"/>
                        <a:pt x="952" y="42481"/>
                      </a:cubicBezTo>
                      <a:cubicBezTo>
                        <a:pt x="667" y="37243"/>
                        <a:pt x="1238" y="37243"/>
                        <a:pt x="952" y="31909"/>
                      </a:cubicBezTo>
                      <a:cubicBezTo>
                        <a:pt x="667" y="26670"/>
                        <a:pt x="1714" y="26670"/>
                        <a:pt x="1429" y="21146"/>
                      </a:cubicBezTo>
                      <a:cubicBezTo>
                        <a:pt x="1143" y="15907"/>
                        <a:pt x="667" y="15907"/>
                        <a:pt x="476" y="10573"/>
                      </a:cubicBezTo>
                      <a:cubicBezTo>
                        <a:pt x="190" y="5334"/>
                        <a:pt x="190" y="5334"/>
                        <a:pt x="0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5" name="Freeform: Shape 364">
                  <a:extLst>
                    <a:ext uri="{FF2B5EF4-FFF2-40B4-BE49-F238E27FC236}">
                      <a16:creationId xmlns:a16="http://schemas.microsoft.com/office/drawing/2014/main" id="{817DD253-C332-ABA3-6A8A-EEB777AE9339}"/>
                    </a:ext>
                  </a:extLst>
                </p:cNvPr>
                <p:cNvSpPr/>
                <p:nvPr/>
              </p:nvSpPr>
              <p:spPr>
                <a:xfrm>
                  <a:off x="4979938" y="3337800"/>
                  <a:ext cx="72867" cy="40431"/>
                </a:xfrm>
                <a:custGeom>
                  <a:avLst/>
                  <a:gdLst>
                    <a:gd name="connsiteX0" fmla="*/ 1160 w 72867"/>
                    <a:gd name="connsiteY0" fmla="*/ 36145 h 40431"/>
                    <a:gd name="connsiteX1" fmla="*/ 1160 w 72867"/>
                    <a:gd name="connsiteY1" fmla="*/ 36145 h 40431"/>
                    <a:gd name="connsiteX2" fmla="*/ 9351 w 72867"/>
                    <a:gd name="connsiteY2" fmla="*/ 29573 h 40431"/>
                    <a:gd name="connsiteX3" fmla="*/ 18495 w 72867"/>
                    <a:gd name="connsiteY3" fmla="*/ 24525 h 40431"/>
                    <a:gd name="connsiteX4" fmla="*/ 27163 w 72867"/>
                    <a:gd name="connsiteY4" fmla="*/ 18524 h 40431"/>
                    <a:gd name="connsiteX5" fmla="*/ 35545 w 72867"/>
                    <a:gd name="connsiteY5" fmla="*/ 12237 h 40431"/>
                    <a:gd name="connsiteX6" fmla="*/ 44689 w 72867"/>
                    <a:gd name="connsiteY6" fmla="*/ 6999 h 40431"/>
                    <a:gd name="connsiteX7" fmla="*/ 53643 w 72867"/>
                    <a:gd name="connsiteY7" fmla="*/ 998 h 40431"/>
                    <a:gd name="connsiteX8" fmla="*/ 62596 w 72867"/>
                    <a:gd name="connsiteY8" fmla="*/ 2236 h 40431"/>
                    <a:gd name="connsiteX9" fmla="*/ 71550 w 72867"/>
                    <a:gd name="connsiteY9" fmla="*/ 1474 h 40431"/>
                    <a:gd name="connsiteX10" fmla="*/ 70788 w 72867"/>
                    <a:gd name="connsiteY10" fmla="*/ 13285 h 40431"/>
                    <a:gd name="connsiteX11" fmla="*/ 70026 w 72867"/>
                    <a:gd name="connsiteY11" fmla="*/ 25096 h 40431"/>
                    <a:gd name="connsiteX12" fmla="*/ 59358 w 72867"/>
                    <a:gd name="connsiteY12" fmla="*/ 29097 h 40431"/>
                    <a:gd name="connsiteX13" fmla="*/ 48213 w 72867"/>
                    <a:gd name="connsiteY13" fmla="*/ 33097 h 40431"/>
                    <a:gd name="connsiteX14" fmla="*/ 36783 w 72867"/>
                    <a:gd name="connsiteY14" fmla="*/ 35859 h 40431"/>
                    <a:gd name="connsiteX15" fmla="*/ 25353 w 72867"/>
                    <a:gd name="connsiteY15" fmla="*/ 37383 h 40431"/>
                    <a:gd name="connsiteX16" fmla="*/ 13733 w 72867"/>
                    <a:gd name="connsiteY16" fmla="*/ 39669 h 40431"/>
                    <a:gd name="connsiteX17" fmla="*/ 2112 w 72867"/>
                    <a:gd name="connsiteY17" fmla="*/ 40431 h 40431"/>
                    <a:gd name="connsiteX18" fmla="*/ 1160 w 72867"/>
                    <a:gd name="connsiteY18" fmla="*/ 36145 h 40431"/>
                    <a:gd name="connsiteX19" fmla="*/ 1160 w 72867"/>
                    <a:gd name="connsiteY19" fmla="*/ 36145 h 40431"/>
                    <a:gd name="connsiteX20" fmla="*/ 1160 w 72867"/>
                    <a:gd name="connsiteY20" fmla="*/ 36145 h 40431"/>
                    <a:gd name="connsiteX21" fmla="*/ 1160 w 72867"/>
                    <a:gd name="connsiteY21" fmla="*/ 36145 h 40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2867" h="40431">
                      <a:moveTo>
                        <a:pt x="1160" y="36145"/>
                      </a:moveTo>
                      <a:lnTo>
                        <a:pt x="1160" y="36145"/>
                      </a:lnTo>
                      <a:cubicBezTo>
                        <a:pt x="5351" y="33097"/>
                        <a:pt x="4875" y="32335"/>
                        <a:pt x="9351" y="29573"/>
                      </a:cubicBezTo>
                      <a:cubicBezTo>
                        <a:pt x="13828" y="26811"/>
                        <a:pt x="14304" y="27287"/>
                        <a:pt x="18495" y="24525"/>
                      </a:cubicBezTo>
                      <a:cubicBezTo>
                        <a:pt x="22972" y="21477"/>
                        <a:pt x="22686" y="21286"/>
                        <a:pt x="27163" y="18524"/>
                      </a:cubicBezTo>
                      <a:cubicBezTo>
                        <a:pt x="31640" y="15476"/>
                        <a:pt x="31354" y="15285"/>
                        <a:pt x="35545" y="12237"/>
                      </a:cubicBezTo>
                      <a:cubicBezTo>
                        <a:pt x="40022" y="9475"/>
                        <a:pt x="40212" y="9951"/>
                        <a:pt x="44689" y="6999"/>
                      </a:cubicBezTo>
                      <a:cubicBezTo>
                        <a:pt x="49166" y="4236"/>
                        <a:pt x="48404" y="2712"/>
                        <a:pt x="53643" y="998"/>
                      </a:cubicBezTo>
                      <a:cubicBezTo>
                        <a:pt x="57834" y="-240"/>
                        <a:pt x="58119" y="2236"/>
                        <a:pt x="62596" y="2236"/>
                      </a:cubicBezTo>
                      <a:cubicBezTo>
                        <a:pt x="67073" y="2236"/>
                        <a:pt x="68787" y="-2241"/>
                        <a:pt x="71550" y="1474"/>
                      </a:cubicBezTo>
                      <a:cubicBezTo>
                        <a:pt x="74788" y="6237"/>
                        <a:pt x="71073" y="7284"/>
                        <a:pt x="70788" y="13285"/>
                      </a:cubicBezTo>
                      <a:cubicBezTo>
                        <a:pt x="70311" y="19095"/>
                        <a:pt x="72026" y="19572"/>
                        <a:pt x="70026" y="25096"/>
                      </a:cubicBezTo>
                      <a:cubicBezTo>
                        <a:pt x="68025" y="30621"/>
                        <a:pt x="66025" y="26811"/>
                        <a:pt x="59358" y="29097"/>
                      </a:cubicBezTo>
                      <a:cubicBezTo>
                        <a:pt x="56119" y="30144"/>
                        <a:pt x="52404" y="31859"/>
                        <a:pt x="48213" y="33097"/>
                      </a:cubicBezTo>
                      <a:cubicBezTo>
                        <a:pt x="44784" y="34145"/>
                        <a:pt x="40784" y="35097"/>
                        <a:pt x="36783" y="35859"/>
                      </a:cubicBezTo>
                      <a:cubicBezTo>
                        <a:pt x="33069" y="36907"/>
                        <a:pt x="29068" y="36621"/>
                        <a:pt x="25353" y="37383"/>
                      </a:cubicBezTo>
                      <a:cubicBezTo>
                        <a:pt x="21353" y="38145"/>
                        <a:pt x="17638" y="39098"/>
                        <a:pt x="13733" y="39669"/>
                      </a:cubicBezTo>
                      <a:cubicBezTo>
                        <a:pt x="9732" y="40146"/>
                        <a:pt x="5827" y="40431"/>
                        <a:pt x="2112" y="40431"/>
                      </a:cubicBezTo>
                      <a:cubicBezTo>
                        <a:pt x="-78" y="40431"/>
                        <a:pt x="-840" y="37383"/>
                        <a:pt x="1160" y="36145"/>
                      </a:cubicBezTo>
                      <a:lnTo>
                        <a:pt x="1160" y="36145"/>
                      </a:lnTo>
                      <a:lnTo>
                        <a:pt x="1160" y="36145"/>
                      </a:lnTo>
                      <a:lnTo>
                        <a:pt x="1160" y="36145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6" name="Freeform: Shape 365">
                  <a:extLst>
                    <a:ext uri="{FF2B5EF4-FFF2-40B4-BE49-F238E27FC236}">
                      <a16:creationId xmlns:a16="http://schemas.microsoft.com/office/drawing/2014/main" id="{9BD1F3ED-296D-AC1F-2BE4-A05AC2671CC3}"/>
                    </a:ext>
                  </a:extLst>
                </p:cNvPr>
                <p:cNvSpPr/>
                <p:nvPr/>
              </p:nvSpPr>
              <p:spPr>
                <a:xfrm>
                  <a:off x="5052075" y="3338267"/>
                  <a:ext cx="69080" cy="32185"/>
                </a:xfrm>
                <a:custGeom>
                  <a:avLst/>
                  <a:gdLst>
                    <a:gd name="connsiteX0" fmla="*/ 67802 w 69080"/>
                    <a:gd name="connsiteY0" fmla="*/ 27677 h 32185"/>
                    <a:gd name="connsiteX1" fmla="*/ 67802 w 69080"/>
                    <a:gd name="connsiteY1" fmla="*/ 27677 h 32185"/>
                    <a:gd name="connsiteX2" fmla="*/ 57611 w 69080"/>
                    <a:gd name="connsiteY2" fmla="*/ 22438 h 32185"/>
                    <a:gd name="connsiteX3" fmla="*/ 47228 w 69080"/>
                    <a:gd name="connsiteY3" fmla="*/ 17961 h 32185"/>
                    <a:gd name="connsiteX4" fmla="*/ 37322 w 69080"/>
                    <a:gd name="connsiteY4" fmla="*/ 12151 h 32185"/>
                    <a:gd name="connsiteX5" fmla="*/ 27131 w 69080"/>
                    <a:gd name="connsiteY5" fmla="*/ 7103 h 32185"/>
                    <a:gd name="connsiteX6" fmla="*/ 17510 w 69080"/>
                    <a:gd name="connsiteY6" fmla="*/ 816 h 32185"/>
                    <a:gd name="connsiteX7" fmla="*/ 9128 w 69080"/>
                    <a:gd name="connsiteY7" fmla="*/ 2054 h 32185"/>
                    <a:gd name="connsiteX8" fmla="*/ 1223 w 69080"/>
                    <a:gd name="connsiteY8" fmla="*/ 1578 h 32185"/>
                    <a:gd name="connsiteX9" fmla="*/ 2175 w 69080"/>
                    <a:gd name="connsiteY9" fmla="*/ 13103 h 32185"/>
                    <a:gd name="connsiteX10" fmla="*/ 3890 w 69080"/>
                    <a:gd name="connsiteY10" fmla="*/ 24629 h 32185"/>
                    <a:gd name="connsiteX11" fmla="*/ 14558 w 69080"/>
                    <a:gd name="connsiteY11" fmla="*/ 25867 h 32185"/>
                    <a:gd name="connsiteX12" fmla="*/ 24749 w 69080"/>
                    <a:gd name="connsiteY12" fmla="*/ 29105 h 32185"/>
                    <a:gd name="connsiteX13" fmla="*/ 35132 w 69080"/>
                    <a:gd name="connsiteY13" fmla="*/ 30820 h 32185"/>
                    <a:gd name="connsiteX14" fmla="*/ 45800 w 69080"/>
                    <a:gd name="connsiteY14" fmla="*/ 30534 h 32185"/>
                    <a:gd name="connsiteX15" fmla="*/ 56182 w 69080"/>
                    <a:gd name="connsiteY15" fmla="*/ 32058 h 32185"/>
                    <a:gd name="connsiteX16" fmla="*/ 66564 w 69080"/>
                    <a:gd name="connsiteY16" fmla="*/ 32058 h 32185"/>
                    <a:gd name="connsiteX17" fmla="*/ 67802 w 69080"/>
                    <a:gd name="connsiteY17" fmla="*/ 27677 h 32185"/>
                    <a:gd name="connsiteX18" fmla="*/ 67802 w 69080"/>
                    <a:gd name="connsiteY18" fmla="*/ 27677 h 32185"/>
                    <a:gd name="connsiteX19" fmla="*/ 67802 w 69080"/>
                    <a:gd name="connsiteY19" fmla="*/ 27677 h 32185"/>
                    <a:gd name="connsiteX20" fmla="*/ 67802 w 69080"/>
                    <a:gd name="connsiteY20" fmla="*/ 27677 h 32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9080" h="32185">
                      <a:moveTo>
                        <a:pt x="67802" y="27677"/>
                      </a:moveTo>
                      <a:lnTo>
                        <a:pt x="67802" y="27677"/>
                      </a:lnTo>
                      <a:cubicBezTo>
                        <a:pt x="62849" y="25200"/>
                        <a:pt x="62849" y="25200"/>
                        <a:pt x="57611" y="22438"/>
                      </a:cubicBezTo>
                      <a:cubicBezTo>
                        <a:pt x="52658" y="19961"/>
                        <a:pt x="52372" y="20438"/>
                        <a:pt x="47228" y="17961"/>
                      </a:cubicBezTo>
                      <a:cubicBezTo>
                        <a:pt x="42275" y="15199"/>
                        <a:pt x="42561" y="14913"/>
                        <a:pt x="37322" y="12151"/>
                      </a:cubicBezTo>
                      <a:cubicBezTo>
                        <a:pt x="32369" y="9674"/>
                        <a:pt x="32084" y="9865"/>
                        <a:pt x="27131" y="7103"/>
                      </a:cubicBezTo>
                      <a:cubicBezTo>
                        <a:pt x="22178" y="4340"/>
                        <a:pt x="22940" y="2340"/>
                        <a:pt x="17510" y="816"/>
                      </a:cubicBezTo>
                      <a:cubicBezTo>
                        <a:pt x="13510" y="-422"/>
                        <a:pt x="13319" y="2054"/>
                        <a:pt x="9128" y="2054"/>
                      </a:cubicBezTo>
                      <a:cubicBezTo>
                        <a:pt x="5128" y="2054"/>
                        <a:pt x="3223" y="-2232"/>
                        <a:pt x="1223" y="1578"/>
                      </a:cubicBezTo>
                      <a:cubicBezTo>
                        <a:pt x="-1730" y="6626"/>
                        <a:pt x="1508" y="7388"/>
                        <a:pt x="2175" y="13103"/>
                      </a:cubicBezTo>
                      <a:cubicBezTo>
                        <a:pt x="2937" y="18914"/>
                        <a:pt x="1413" y="19390"/>
                        <a:pt x="3890" y="24629"/>
                      </a:cubicBezTo>
                      <a:cubicBezTo>
                        <a:pt x="6080" y="29677"/>
                        <a:pt x="8366" y="24629"/>
                        <a:pt x="14558" y="25867"/>
                      </a:cubicBezTo>
                      <a:cubicBezTo>
                        <a:pt x="17510" y="26343"/>
                        <a:pt x="21035" y="28343"/>
                        <a:pt x="24749" y="29105"/>
                      </a:cubicBezTo>
                      <a:cubicBezTo>
                        <a:pt x="27988" y="29582"/>
                        <a:pt x="31417" y="30344"/>
                        <a:pt x="35132" y="30820"/>
                      </a:cubicBezTo>
                      <a:cubicBezTo>
                        <a:pt x="38370" y="31296"/>
                        <a:pt x="42085" y="30344"/>
                        <a:pt x="45800" y="30534"/>
                      </a:cubicBezTo>
                      <a:cubicBezTo>
                        <a:pt x="49229" y="31010"/>
                        <a:pt x="52753" y="31772"/>
                        <a:pt x="56182" y="32058"/>
                      </a:cubicBezTo>
                      <a:cubicBezTo>
                        <a:pt x="59611" y="32344"/>
                        <a:pt x="63135" y="32058"/>
                        <a:pt x="66564" y="32058"/>
                      </a:cubicBezTo>
                      <a:cubicBezTo>
                        <a:pt x="69231" y="32153"/>
                        <a:pt x="69993" y="29201"/>
                        <a:pt x="67802" y="27677"/>
                      </a:cubicBezTo>
                      <a:lnTo>
                        <a:pt x="67802" y="27677"/>
                      </a:lnTo>
                      <a:lnTo>
                        <a:pt x="67802" y="27677"/>
                      </a:lnTo>
                      <a:lnTo>
                        <a:pt x="67802" y="27677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7" name="Freeform: Shape 366">
                  <a:extLst>
                    <a:ext uri="{FF2B5EF4-FFF2-40B4-BE49-F238E27FC236}">
                      <a16:creationId xmlns:a16="http://schemas.microsoft.com/office/drawing/2014/main" id="{1D4BA8D2-85F8-D948-9988-D65CFE6E6430}"/>
                    </a:ext>
                  </a:extLst>
                </p:cNvPr>
                <p:cNvSpPr/>
                <p:nvPr/>
              </p:nvSpPr>
              <p:spPr>
                <a:xfrm>
                  <a:off x="5233892" y="2791515"/>
                  <a:ext cx="310043" cy="583477"/>
                </a:xfrm>
                <a:custGeom>
                  <a:avLst/>
                  <a:gdLst>
                    <a:gd name="connsiteX0" fmla="*/ 178022 w 310043"/>
                    <a:gd name="connsiteY0" fmla="*/ 176760 h 583477"/>
                    <a:gd name="connsiteX1" fmla="*/ 142304 w 310043"/>
                    <a:gd name="connsiteY1" fmla="*/ 148852 h 583477"/>
                    <a:gd name="connsiteX2" fmla="*/ 137636 w 310043"/>
                    <a:gd name="connsiteY2" fmla="*/ 11311 h 583477"/>
                    <a:gd name="connsiteX3" fmla="*/ 67723 w 310043"/>
                    <a:gd name="connsiteY3" fmla="*/ 143327 h 583477"/>
                    <a:gd name="connsiteX4" fmla="*/ 49339 w 310043"/>
                    <a:gd name="connsiteY4" fmla="*/ 180284 h 583477"/>
                    <a:gd name="connsiteX5" fmla="*/ 20098 w 310043"/>
                    <a:gd name="connsiteY5" fmla="*/ 275725 h 583477"/>
                    <a:gd name="connsiteX6" fmla="*/ 43148 w 310043"/>
                    <a:gd name="connsiteY6" fmla="*/ 290488 h 583477"/>
                    <a:gd name="connsiteX7" fmla="*/ 43148 w 310043"/>
                    <a:gd name="connsiteY7" fmla="*/ 345924 h 583477"/>
                    <a:gd name="connsiteX8" fmla="*/ 85249 w 310043"/>
                    <a:gd name="connsiteY8" fmla="*/ 530709 h 583477"/>
                    <a:gd name="connsiteX9" fmla="*/ 85249 w 310043"/>
                    <a:gd name="connsiteY9" fmla="*/ 530709 h 583477"/>
                    <a:gd name="connsiteX10" fmla="*/ 85249 w 310043"/>
                    <a:gd name="connsiteY10" fmla="*/ 530709 h 583477"/>
                    <a:gd name="connsiteX11" fmla="*/ 85249 w 310043"/>
                    <a:gd name="connsiteY11" fmla="*/ 530709 h 583477"/>
                    <a:gd name="connsiteX12" fmla="*/ 0 w 310043"/>
                    <a:gd name="connsiteY12" fmla="*/ 575857 h 583477"/>
                    <a:gd name="connsiteX13" fmla="*/ 57721 w 310043"/>
                    <a:gd name="connsiteY13" fmla="*/ 582906 h 583477"/>
                    <a:gd name="connsiteX14" fmla="*/ 65627 w 310043"/>
                    <a:gd name="connsiteY14" fmla="*/ 570142 h 583477"/>
                    <a:gd name="connsiteX15" fmla="*/ 75057 w 310043"/>
                    <a:gd name="connsiteY15" fmla="*/ 583477 h 583477"/>
                    <a:gd name="connsiteX16" fmla="*/ 85249 w 310043"/>
                    <a:gd name="connsiteY16" fmla="*/ 583477 h 583477"/>
                    <a:gd name="connsiteX17" fmla="*/ 89726 w 310043"/>
                    <a:gd name="connsiteY17" fmla="*/ 561284 h 583477"/>
                    <a:gd name="connsiteX18" fmla="*/ 107061 w 310043"/>
                    <a:gd name="connsiteY18" fmla="*/ 558998 h 583477"/>
                    <a:gd name="connsiteX19" fmla="*/ 111252 w 310043"/>
                    <a:gd name="connsiteY19" fmla="*/ 583096 h 583477"/>
                    <a:gd name="connsiteX20" fmla="*/ 121444 w 310043"/>
                    <a:gd name="connsiteY20" fmla="*/ 580810 h 583477"/>
                    <a:gd name="connsiteX21" fmla="*/ 131826 w 310043"/>
                    <a:gd name="connsiteY21" fmla="*/ 566237 h 583477"/>
                    <a:gd name="connsiteX22" fmla="*/ 139256 w 310043"/>
                    <a:gd name="connsiteY22" fmla="*/ 580810 h 583477"/>
                    <a:gd name="connsiteX23" fmla="*/ 196501 w 310043"/>
                    <a:gd name="connsiteY23" fmla="*/ 574238 h 583477"/>
                    <a:gd name="connsiteX24" fmla="*/ 110966 w 310043"/>
                    <a:gd name="connsiteY24" fmla="*/ 528042 h 583477"/>
                    <a:gd name="connsiteX25" fmla="*/ 147352 w 310043"/>
                    <a:gd name="connsiteY25" fmla="*/ 343257 h 583477"/>
                    <a:gd name="connsiteX26" fmla="*/ 296704 w 310043"/>
                    <a:gd name="connsiteY26" fmla="*/ 343257 h 583477"/>
                    <a:gd name="connsiteX27" fmla="*/ 296704 w 310043"/>
                    <a:gd name="connsiteY27" fmla="*/ 310396 h 583477"/>
                    <a:gd name="connsiteX28" fmla="*/ 310039 w 310043"/>
                    <a:gd name="connsiteY28" fmla="*/ 284297 h 583477"/>
                    <a:gd name="connsiteX29" fmla="*/ 296418 w 310043"/>
                    <a:gd name="connsiteY29" fmla="*/ 261437 h 583477"/>
                    <a:gd name="connsiteX30" fmla="*/ 296894 w 310043"/>
                    <a:gd name="connsiteY30" fmla="*/ 219718 h 5834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310043" h="583477">
                      <a:moveTo>
                        <a:pt x="178022" y="176760"/>
                      </a:moveTo>
                      <a:lnTo>
                        <a:pt x="142304" y="148852"/>
                      </a:lnTo>
                      <a:cubicBezTo>
                        <a:pt x="153162" y="143327"/>
                        <a:pt x="197549" y="69032"/>
                        <a:pt x="137636" y="11311"/>
                      </a:cubicBezTo>
                      <a:cubicBezTo>
                        <a:pt x="66008" y="-38410"/>
                        <a:pt x="16478" y="88654"/>
                        <a:pt x="67723" y="143327"/>
                      </a:cubicBezTo>
                      <a:cubicBezTo>
                        <a:pt x="60008" y="161710"/>
                        <a:pt x="49339" y="180284"/>
                        <a:pt x="49339" y="180284"/>
                      </a:cubicBezTo>
                      <a:cubicBezTo>
                        <a:pt x="49339" y="180284"/>
                        <a:pt x="10478" y="262104"/>
                        <a:pt x="20098" y="275725"/>
                      </a:cubicBezTo>
                      <a:cubicBezTo>
                        <a:pt x="29718" y="289536"/>
                        <a:pt x="43148" y="290488"/>
                        <a:pt x="43148" y="290488"/>
                      </a:cubicBezTo>
                      <a:lnTo>
                        <a:pt x="43148" y="345924"/>
                      </a:lnTo>
                      <a:lnTo>
                        <a:pt x="85249" y="530709"/>
                      </a:lnTo>
                      <a:lnTo>
                        <a:pt x="85249" y="530709"/>
                      </a:lnTo>
                      <a:lnTo>
                        <a:pt x="85249" y="530709"/>
                      </a:lnTo>
                      <a:lnTo>
                        <a:pt x="85249" y="530709"/>
                      </a:lnTo>
                      <a:cubicBezTo>
                        <a:pt x="85249" y="530709"/>
                        <a:pt x="12859" y="560046"/>
                        <a:pt x="0" y="575857"/>
                      </a:cubicBezTo>
                      <a:cubicBezTo>
                        <a:pt x="3429" y="583382"/>
                        <a:pt x="30480" y="583858"/>
                        <a:pt x="57721" y="582906"/>
                      </a:cubicBezTo>
                      <a:lnTo>
                        <a:pt x="65627" y="570142"/>
                      </a:lnTo>
                      <a:lnTo>
                        <a:pt x="75057" y="583477"/>
                      </a:lnTo>
                      <a:lnTo>
                        <a:pt x="85249" y="583477"/>
                      </a:lnTo>
                      <a:lnTo>
                        <a:pt x="89726" y="561284"/>
                      </a:lnTo>
                      <a:lnTo>
                        <a:pt x="107061" y="558998"/>
                      </a:lnTo>
                      <a:lnTo>
                        <a:pt x="111252" y="583096"/>
                      </a:lnTo>
                      <a:lnTo>
                        <a:pt x="121444" y="580810"/>
                      </a:lnTo>
                      <a:lnTo>
                        <a:pt x="131826" y="566237"/>
                      </a:lnTo>
                      <a:lnTo>
                        <a:pt x="139256" y="580810"/>
                      </a:lnTo>
                      <a:cubicBezTo>
                        <a:pt x="139256" y="580810"/>
                        <a:pt x="189833" y="583096"/>
                        <a:pt x="196501" y="574238"/>
                      </a:cubicBezTo>
                      <a:cubicBezTo>
                        <a:pt x="203168" y="565666"/>
                        <a:pt x="110966" y="528042"/>
                        <a:pt x="110966" y="528042"/>
                      </a:cubicBezTo>
                      <a:lnTo>
                        <a:pt x="147352" y="343257"/>
                      </a:lnTo>
                      <a:lnTo>
                        <a:pt x="296704" y="343257"/>
                      </a:lnTo>
                      <a:lnTo>
                        <a:pt x="296704" y="310396"/>
                      </a:lnTo>
                      <a:cubicBezTo>
                        <a:pt x="296704" y="310396"/>
                        <a:pt x="310325" y="307919"/>
                        <a:pt x="310039" y="284297"/>
                      </a:cubicBezTo>
                      <a:cubicBezTo>
                        <a:pt x="309753" y="260485"/>
                        <a:pt x="296418" y="261437"/>
                        <a:pt x="296418" y="261437"/>
                      </a:cubicBezTo>
                      <a:lnTo>
                        <a:pt x="296894" y="219718"/>
                      </a:lnTo>
                    </a:path>
                  </a:pathLst>
                </a:cu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8" name="Freeform: Shape 367">
                  <a:extLst>
                    <a:ext uri="{FF2B5EF4-FFF2-40B4-BE49-F238E27FC236}">
                      <a16:creationId xmlns:a16="http://schemas.microsoft.com/office/drawing/2014/main" id="{80766826-5113-7164-9190-F098FA467848}"/>
                    </a:ext>
                  </a:extLst>
                </p:cNvPr>
                <p:cNvSpPr/>
                <p:nvPr/>
              </p:nvSpPr>
              <p:spPr>
                <a:xfrm>
                  <a:off x="5277040" y="3137439"/>
                  <a:ext cx="102584" cy="201644"/>
                </a:xfrm>
                <a:custGeom>
                  <a:avLst/>
                  <a:gdLst>
                    <a:gd name="connsiteX0" fmla="*/ 0 w 102584"/>
                    <a:gd name="connsiteY0" fmla="*/ 0 h 201644"/>
                    <a:gd name="connsiteX1" fmla="*/ 0 w 102584"/>
                    <a:gd name="connsiteY1" fmla="*/ 0 h 201644"/>
                    <a:gd name="connsiteX2" fmla="*/ 45053 w 102584"/>
                    <a:gd name="connsiteY2" fmla="*/ 197358 h 201644"/>
                    <a:gd name="connsiteX3" fmla="*/ 46577 w 102584"/>
                    <a:gd name="connsiteY3" fmla="*/ 201644 h 201644"/>
                    <a:gd name="connsiteX4" fmla="*/ 64389 w 102584"/>
                    <a:gd name="connsiteY4" fmla="*/ 200406 h 201644"/>
                    <a:gd name="connsiteX5" fmla="*/ 102584 w 102584"/>
                    <a:gd name="connsiteY5" fmla="*/ 11906 h 201644"/>
                    <a:gd name="connsiteX6" fmla="*/ 97155 w 102584"/>
                    <a:gd name="connsiteY6" fmla="*/ 8096 h 201644"/>
                    <a:gd name="connsiteX7" fmla="*/ 0 w 102584"/>
                    <a:gd name="connsiteY7" fmla="*/ 0 h 201644"/>
                    <a:gd name="connsiteX8" fmla="*/ 0 w 102584"/>
                    <a:gd name="connsiteY8" fmla="*/ 0 h 201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584" h="20164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45053" y="197358"/>
                      </a:lnTo>
                      <a:lnTo>
                        <a:pt x="46577" y="201644"/>
                      </a:lnTo>
                      <a:lnTo>
                        <a:pt x="64389" y="200406"/>
                      </a:lnTo>
                      <a:lnTo>
                        <a:pt x="102584" y="11906"/>
                      </a:lnTo>
                      <a:cubicBezTo>
                        <a:pt x="102584" y="11906"/>
                        <a:pt x="99631" y="8382"/>
                        <a:pt x="97155" y="8096"/>
                      </a:cubicBezTo>
                      <a:cubicBezTo>
                        <a:pt x="94678" y="7525"/>
                        <a:pt x="0" y="0"/>
                        <a:pt x="0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6C1D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69" name="Freeform: Shape 368">
                  <a:extLst>
                    <a:ext uri="{FF2B5EF4-FFF2-40B4-BE49-F238E27FC236}">
                      <a16:creationId xmlns:a16="http://schemas.microsoft.com/office/drawing/2014/main" id="{A9CDEB88-50C1-9473-B24D-2DB5916A8675}"/>
                    </a:ext>
                  </a:extLst>
                </p:cNvPr>
                <p:cNvSpPr/>
                <p:nvPr/>
              </p:nvSpPr>
              <p:spPr>
                <a:xfrm>
                  <a:off x="5568824" y="2852166"/>
                  <a:ext cx="259256" cy="524255"/>
                </a:xfrm>
                <a:custGeom>
                  <a:avLst/>
                  <a:gdLst>
                    <a:gd name="connsiteX0" fmla="*/ 79691 w 259256"/>
                    <a:gd name="connsiteY0" fmla="*/ 524256 h 524255"/>
                    <a:gd name="connsiteX1" fmla="*/ 79691 w 259256"/>
                    <a:gd name="connsiteY1" fmla="*/ 524256 h 524255"/>
                    <a:gd name="connsiteX2" fmla="*/ 115886 w 259256"/>
                    <a:gd name="connsiteY2" fmla="*/ 471297 h 524255"/>
                    <a:gd name="connsiteX3" fmla="*/ 79691 w 259256"/>
                    <a:gd name="connsiteY3" fmla="*/ 313182 h 524255"/>
                    <a:gd name="connsiteX4" fmla="*/ 81882 w 259256"/>
                    <a:gd name="connsiteY4" fmla="*/ 208026 h 524255"/>
                    <a:gd name="connsiteX5" fmla="*/ 76643 w 259256"/>
                    <a:gd name="connsiteY5" fmla="*/ 195739 h 524255"/>
                    <a:gd name="connsiteX6" fmla="*/ 24637 w 259256"/>
                    <a:gd name="connsiteY6" fmla="*/ 198501 h 524255"/>
                    <a:gd name="connsiteX7" fmla="*/ 824 w 259256"/>
                    <a:gd name="connsiteY7" fmla="*/ 88297 h 524255"/>
                    <a:gd name="connsiteX8" fmla="*/ 37210 w 259256"/>
                    <a:gd name="connsiteY8" fmla="*/ 173927 h 524255"/>
                    <a:gd name="connsiteX9" fmla="*/ 81787 w 259256"/>
                    <a:gd name="connsiteY9" fmla="*/ 163925 h 524255"/>
                    <a:gd name="connsiteX10" fmla="*/ 81787 w 259256"/>
                    <a:gd name="connsiteY10" fmla="*/ 141065 h 524255"/>
                    <a:gd name="connsiteX11" fmla="*/ 63213 w 259256"/>
                    <a:gd name="connsiteY11" fmla="*/ 79058 h 524255"/>
                    <a:gd name="connsiteX12" fmla="*/ 123697 w 259256"/>
                    <a:gd name="connsiteY12" fmla="*/ 0 h 524255"/>
                    <a:gd name="connsiteX13" fmla="*/ 182466 w 259256"/>
                    <a:gd name="connsiteY13" fmla="*/ 64294 h 524255"/>
                    <a:gd name="connsiteX14" fmla="*/ 197801 w 259256"/>
                    <a:gd name="connsiteY14" fmla="*/ 124015 h 524255"/>
                    <a:gd name="connsiteX15" fmla="*/ 258475 w 259256"/>
                    <a:gd name="connsiteY15" fmla="*/ 145066 h 524255"/>
                    <a:gd name="connsiteX16" fmla="*/ 182371 w 259256"/>
                    <a:gd name="connsiteY16" fmla="*/ 191262 h 524255"/>
                    <a:gd name="connsiteX17" fmla="*/ 180656 w 259256"/>
                    <a:gd name="connsiteY17" fmla="*/ 196501 h 524255"/>
                    <a:gd name="connsiteX18" fmla="*/ 225709 w 259256"/>
                    <a:gd name="connsiteY18" fmla="*/ 258794 h 524255"/>
                    <a:gd name="connsiteX19" fmla="*/ 177894 w 259256"/>
                    <a:gd name="connsiteY19" fmla="*/ 337090 h 524255"/>
                    <a:gd name="connsiteX20" fmla="*/ 198182 w 259256"/>
                    <a:gd name="connsiteY20" fmla="*/ 254794 h 524255"/>
                    <a:gd name="connsiteX21" fmla="*/ 153129 w 259256"/>
                    <a:gd name="connsiteY21" fmla="*/ 206597 h 524255"/>
                    <a:gd name="connsiteX22" fmla="*/ 139508 w 259256"/>
                    <a:gd name="connsiteY22" fmla="*/ 321564 h 524255"/>
                    <a:gd name="connsiteX23" fmla="*/ 126364 w 259256"/>
                    <a:gd name="connsiteY23" fmla="*/ 469392 h 524255"/>
                    <a:gd name="connsiteX24" fmla="*/ 170750 w 259256"/>
                    <a:gd name="connsiteY24" fmla="*/ 522827 h 524255"/>
                    <a:gd name="connsiteX25" fmla="*/ 138079 w 259256"/>
                    <a:gd name="connsiteY25" fmla="*/ 514541 h 524255"/>
                    <a:gd name="connsiteX26" fmla="*/ 132174 w 259256"/>
                    <a:gd name="connsiteY26" fmla="*/ 502253 h 524255"/>
                    <a:gd name="connsiteX27" fmla="*/ 127697 w 259256"/>
                    <a:gd name="connsiteY27" fmla="*/ 515303 h 524255"/>
                    <a:gd name="connsiteX28" fmla="*/ 120744 w 259256"/>
                    <a:gd name="connsiteY28" fmla="*/ 474155 h 524255"/>
                    <a:gd name="connsiteX29" fmla="*/ 118553 w 259256"/>
                    <a:gd name="connsiteY29" fmla="*/ 511016 h 524255"/>
                    <a:gd name="connsiteX30" fmla="*/ 115791 w 259256"/>
                    <a:gd name="connsiteY30" fmla="*/ 505206 h 524255"/>
                    <a:gd name="connsiteX31" fmla="*/ 105599 w 259256"/>
                    <a:gd name="connsiteY31" fmla="*/ 519303 h 524255"/>
                    <a:gd name="connsiteX32" fmla="*/ 79691 w 259256"/>
                    <a:gd name="connsiteY32" fmla="*/ 524256 h 524255"/>
                    <a:gd name="connsiteX33" fmla="*/ 79691 w 259256"/>
                    <a:gd name="connsiteY33" fmla="*/ 524256 h 524255"/>
                    <a:gd name="connsiteX34" fmla="*/ 79691 w 259256"/>
                    <a:gd name="connsiteY34" fmla="*/ 524256 h 524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259256" h="524255">
                      <a:moveTo>
                        <a:pt x="79691" y="524256"/>
                      </a:moveTo>
                      <a:lnTo>
                        <a:pt x="79691" y="524256"/>
                      </a:lnTo>
                      <a:lnTo>
                        <a:pt x="115886" y="471297"/>
                      </a:lnTo>
                      <a:lnTo>
                        <a:pt x="79691" y="313182"/>
                      </a:lnTo>
                      <a:lnTo>
                        <a:pt x="81882" y="208026"/>
                      </a:lnTo>
                      <a:lnTo>
                        <a:pt x="76643" y="195739"/>
                      </a:lnTo>
                      <a:cubicBezTo>
                        <a:pt x="76643" y="195739"/>
                        <a:pt x="40258" y="206502"/>
                        <a:pt x="24637" y="198501"/>
                      </a:cubicBezTo>
                      <a:cubicBezTo>
                        <a:pt x="9016" y="190500"/>
                        <a:pt x="-3367" y="105632"/>
                        <a:pt x="824" y="88297"/>
                      </a:cubicBezTo>
                      <a:cubicBezTo>
                        <a:pt x="5301" y="70961"/>
                        <a:pt x="23398" y="161639"/>
                        <a:pt x="37210" y="173927"/>
                      </a:cubicBezTo>
                      <a:cubicBezTo>
                        <a:pt x="47878" y="171164"/>
                        <a:pt x="81787" y="163925"/>
                        <a:pt x="81787" y="163925"/>
                      </a:cubicBezTo>
                      <a:lnTo>
                        <a:pt x="81787" y="141065"/>
                      </a:lnTo>
                      <a:cubicBezTo>
                        <a:pt x="81787" y="141065"/>
                        <a:pt x="63213" y="123253"/>
                        <a:pt x="63213" y="79058"/>
                      </a:cubicBezTo>
                      <a:cubicBezTo>
                        <a:pt x="63213" y="35147"/>
                        <a:pt x="92455" y="0"/>
                        <a:pt x="123697" y="0"/>
                      </a:cubicBezTo>
                      <a:cubicBezTo>
                        <a:pt x="154653" y="0"/>
                        <a:pt x="182466" y="37148"/>
                        <a:pt x="182466" y="64294"/>
                      </a:cubicBezTo>
                      <a:cubicBezTo>
                        <a:pt x="186181" y="67342"/>
                        <a:pt x="201040" y="90106"/>
                        <a:pt x="197801" y="124015"/>
                      </a:cubicBezTo>
                      <a:cubicBezTo>
                        <a:pt x="194372" y="158115"/>
                        <a:pt x="260761" y="200597"/>
                        <a:pt x="258475" y="145066"/>
                      </a:cubicBezTo>
                      <a:cubicBezTo>
                        <a:pt x="263428" y="171926"/>
                        <a:pt x="245617" y="249460"/>
                        <a:pt x="182371" y="191262"/>
                      </a:cubicBezTo>
                      <a:lnTo>
                        <a:pt x="180656" y="196501"/>
                      </a:lnTo>
                      <a:cubicBezTo>
                        <a:pt x="180656" y="196501"/>
                        <a:pt x="225709" y="254032"/>
                        <a:pt x="225709" y="258794"/>
                      </a:cubicBezTo>
                      <a:cubicBezTo>
                        <a:pt x="223519" y="264033"/>
                        <a:pt x="184371" y="341090"/>
                        <a:pt x="177894" y="337090"/>
                      </a:cubicBezTo>
                      <a:cubicBezTo>
                        <a:pt x="178370" y="325565"/>
                        <a:pt x="198182" y="254794"/>
                        <a:pt x="198182" y="254794"/>
                      </a:cubicBezTo>
                      <a:lnTo>
                        <a:pt x="153129" y="206597"/>
                      </a:lnTo>
                      <a:lnTo>
                        <a:pt x="139508" y="321564"/>
                      </a:lnTo>
                      <a:lnTo>
                        <a:pt x="126364" y="469392"/>
                      </a:lnTo>
                      <a:lnTo>
                        <a:pt x="170750" y="522827"/>
                      </a:lnTo>
                      <a:lnTo>
                        <a:pt x="138079" y="514541"/>
                      </a:lnTo>
                      <a:lnTo>
                        <a:pt x="132174" y="502253"/>
                      </a:lnTo>
                      <a:lnTo>
                        <a:pt x="127697" y="515303"/>
                      </a:lnTo>
                      <a:lnTo>
                        <a:pt x="120744" y="474155"/>
                      </a:lnTo>
                      <a:lnTo>
                        <a:pt x="118553" y="511016"/>
                      </a:lnTo>
                      <a:lnTo>
                        <a:pt x="115791" y="505206"/>
                      </a:lnTo>
                      <a:lnTo>
                        <a:pt x="105599" y="519303"/>
                      </a:lnTo>
                      <a:lnTo>
                        <a:pt x="79691" y="524256"/>
                      </a:lnTo>
                      <a:lnTo>
                        <a:pt x="79691" y="524256"/>
                      </a:lnTo>
                      <a:lnTo>
                        <a:pt x="79691" y="524256"/>
                      </a:lnTo>
                      <a:close/>
                    </a:path>
                  </a:pathLst>
                </a:custGeom>
                <a:solidFill>
                  <a:srgbClr val="FACCD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0" name="Freeform: Shape 369">
                  <a:extLst>
                    <a:ext uri="{FF2B5EF4-FFF2-40B4-BE49-F238E27FC236}">
                      <a16:creationId xmlns:a16="http://schemas.microsoft.com/office/drawing/2014/main" id="{E51160BB-33C8-09CD-6DDE-D420E0524454}"/>
                    </a:ext>
                  </a:extLst>
                </p:cNvPr>
                <p:cNvSpPr/>
                <p:nvPr/>
              </p:nvSpPr>
              <p:spPr>
                <a:xfrm>
                  <a:off x="5402580" y="2917888"/>
                  <a:ext cx="131826" cy="219741"/>
                </a:xfrm>
                <a:custGeom>
                  <a:avLst/>
                  <a:gdLst>
                    <a:gd name="connsiteX0" fmla="*/ 0 w 131826"/>
                    <a:gd name="connsiteY0" fmla="*/ 174498 h 219741"/>
                    <a:gd name="connsiteX1" fmla="*/ 0 w 131826"/>
                    <a:gd name="connsiteY1" fmla="*/ 174498 h 219741"/>
                    <a:gd name="connsiteX2" fmla="*/ 0 w 131826"/>
                    <a:gd name="connsiteY2" fmla="*/ 0 h 219741"/>
                    <a:gd name="connsiteX3" fmla="*/ 130588 w 131826"/>
                    <a:gd name="connsiteY3" fmla="*/ 0 h 219741"/>
                    <a:gd name="connsiteX4" fmla="*/ 131064 w 131826"/>
                    <a:gd name="connsiteY4" fmla="*/ 138398 h 219741"/>
                    <a:gd name="connsiteX5" fmla="*/ 123634 w 131826"/>
                    <a:gd name="connsiteY5" fmla="*/ 139351 h 219741"/>
                    <a:gd name="connsiteX6" fmla="*/ 116681 w 131826"/>
                    <a:gd name="connsiteY6" fmla="*/ 148209 h 219741"/>
                    <a:gd name="connsiteX7" fmla="*/ 114491 w 131826"/>
                    <a:gd name="connsiteY7" fmla="*/ 162973 h 219741"/>
                    <a:gd name="connsiteX8" fmla="*/ 121444 w 131826"/>
                    <a:gd name="connsiteY8" fmla="*/ 185071 h 219741"/>
                    <a:gd name="connsiteX9" fmla="*/ 131540 w 131826"/>
                    <a:gd name="connsiteY9" fmla="*/ 187547 h 219741"/>
                    <a:gd name="connsiteX10" fmla="*/ 131826 w 131826"/>
                    <a:gd name="connsiteY10" fmla="*/ 219742 h 219741"/>
                    <a:gd name="connsiteX11" fmla="*/ 0 w 131826"/>
                    <a:gd name="connsiteY11" fmla="*/ 219742 h 219741"/>
                    <a:gd name="connsiteX12" fmla="*/ 0 w 131826"/>
                    <a:gd name="connsiteY12" fmla="*/ 174498 h 219741"/>
                    <a:gd name="connsiteX13" fmla="*/ 0 w 131826"/>
                    <a:gd name="connsiteY13" fmla="*/ 174498 h 2197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1826" h="219741">
                      <a:moveTo>
                        <a:pt x="0" y="174498"/>
                      </a:moveTo>
                      <a:lnTo>
                        <a:pt x="0" y="174498"/>
                      </a:lnTo>
                      <a:lnTo>
                        <a:pt x="0" y="0"/>
                      </a:lnTo>
                      <a:lnTo>
                        <a:pt x="130588" y="0"/>
                      </a:lnTo>
                      <a:lnTo>
                        <a:pt x="131064" y="138398"/>
                      </a:lnTo>
                      <a:lnTo>
                        <a:pt x="123634" y="139351"/>
                      </a:lnTo>
                      <a:lnTo>
                        <a:pt x="116681" y="148209"/>
                      </a:lnTo>
                      <a:lnTo>
                        <a:pt x="114491" y="162973"/>
                      </a:lnTo>
                      <a:lnTo>
                        <a:pt x="121444" y="185071"/>
                      </a:lnTo>
                      <a:lnTo>
                        <a:pt x="131540" y="187547"/>
                      </a:lnTo>
                      <a:lnTo>
                        <a:pt x="131826" y="219742"/>
                      </a:lnTo>
                      <a:lnTo>
                        <a:pt x="0" y="219742"/>
                      </a:lnTo>
                      <a:lnTo>
                        <a:pt x="0" y="174498"/>
                      </a:lnTo>
                      <a:lnTo>
                        <a:pt x="0" y="174498"/>
                      </a:lnTo>
                      <a:close/>
                    </a:path>
                  </a:pathLst>
                </a:custGeom>
                <a:solidFill>
                  <a:srgbClr val="CADBC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1" name="Freeform: Shape 370">
                  <a:extLst>
                    <a:ext uri="{FF2B5EF4-FFF2-40B4-BE49-F238E27FC236}">
                      <a16:creationId xmlns:a16="http://schemas.microsoft.com/office/drawing/2014/main" id="{B017AD6F-980E-074A-22D4-C86E5F84A50C}"/>
                    </a:ext>
                  </a:extLst>
                </p:cNvPr>
                <p:cNvSpPr/>
                <p:nvPr/>
              </p:nvSpPr>
              <p:spPr>
                <a:xfrm>
                  <a:off x="5648515" y="3165347"/>
                  <a:ext cx="60007" cy="158114"/>
                </a:xfrm>
                <a:custGeom>
                  <a:avLst/>
                  <a:gdLst>
                    <a:gd name="connsiteX0" fmla="*/ 0 w 60007"/>
                    <a:gd name="connsiteY0" fmla="*/ 0 h 158114"/>
                    <a:gd name="connsiteX1" fmla="*/ 0 w 60007"/>
                    <a:gd name="connsiteY1" fmla="*/ 0 h 158114"/>
                    <a:gd name="connsiteX2" fmla="*/ 60008 w 60007"/>
                    <a:gd name="connsiteY2" fmla="*/ 8287 h 158114"/>
                    <a:gd name="connsiteX3" fmla="*/ 46863 w 60007"/>
                    <a:gd name="connsiteY3" fmla="*/ 156115 h 158114"/>
                    <a:gd name="connsiteX4" fmla="*/ 36195 w 60007"/>
                    <a:gd name="connsiteY4" fmla="*/ 158115 h 158114"/>
                    <a:gd name="connsiteX5" fmla="*/ 0 w 60007"/>
                    <a:gd name="connsiteY5" fmla="*/ 0 h 158114"/>
                    <a:gd name="connsiteX6" fmla="*/ 0 w 60007"/>
                    <a:gd name="connsiteY6" fmla="*/ 0 h 158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0007" h="15811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60008" y="8287"/>
                      </a:lnTo>
                      <a:lnTo>
                        <a:pt x="46863" y="156115"/>
                      </a:lnTo>
                      <a:lnTo>
                        <a:pt x="36195" y="158115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6C1D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2" name="Freeform: Shape 371">
                  <a:extLst>
                    <a:ext uri="{FF2B5EF4-FFF2-40B4-BE49-F238E27FC236}">
                      <a16:creationId xmlns:a16="http://schemas.microsoft.com/office/drawing/2014/main" id="{BBE9A0EC-DAA0-B4E9-80B8-82F63D2C3FEC}"/>
                    </a:ext>
                  </a:extLst>
                </p:cNvPr>
                <p:cNvSpPr/>
                <p:nvPr/>
              </p:nvSpPr>
              <p:spPr>
                <a:xfrm>
                  <a:off x="5631853" y="2852314"/>
                  <a:ext cx="121301" cy="163629"/>
                </a:xfrm>
                <a:custGeom>
                  <a:avLst/>
                  <a:gdLst>
                    <a:gd name="connsiteX0" fmla="*/ 37521 w 121301"/>
                    <a:gd name="connsiteY0" fmla="*/ 5757 h 163629"/>
                    <a:gd name="connsiteX1" fmla="*/ 37521 w 121301"/>
                    <a:gd name="connsiteY1" fmla="*/ 5757 h 163629"/>
                    <a:gd name="connsiteX2" fmla="*/ 21424 w 121301"/>
                    <a:gd name="connsiteY2" fmla="*/ 18807 h 163629"/>
                    <a:gd name="connsiteX3" fmla="*/ 8756 w 121301"/>
                    <a:gd name="connsiteY3" fmla="*/ 39666 h 163629"/>
                    <a:gd name="connsiteX4" fmla="*/ 2279 w 121301"/>
                    <a:gd name="connsiteY4" fmla="*/ 59288 h 163629"/>
                    <a:gd name="connsiteX5" fmla="*/ 279 w 121301"/>
                    <a:gd name="connsiteY5" fmla="*/ 75099 h 163629"/>
                    <a:gd name="connsiteX6" fmla="*/ 29997 w 121301"/>
                    <a:gd name="connsiteY6" fmla="*/ 152157 h 163629"/>
                    <a:gd name="connsiteX7" fmla="*/ 93909 w 121301"/>
                    <a:gd name="connsiteY7" fmla="*/ 149394 h 163629"/>
                    <a:gd name="connsiteX8" fmla="*/ 120960 w 121301"/>
                    <a:gd name="connsiteY8" fmla="*/ 73099 h 163629"/>
                    <a:gd name="connsiteX9" fmla="*/ 37521 w 121301"/>
                    <a:gd name="connsiteY9" fmla="*/ 5757 h 163629"/>
                    <a:gd name="connsiteX10" fmla="*/ 37521 w 121301"/>
                    <a:gd name="connsiteY10" fmla="*/ 5757 h 1636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1301" h="163629">
                      <a:moveTo>
                        <a:pt x="37521" y="5757"/>
                      </a:moveTo>
                      <a:lnTo>
                        <a:pt x="37521" y="5757"/>
                      </a:lnTo>
                      <a:lnTo>
                        <a:pt x="21424" y="18807"/>
                      </a:lnTo>
                      <a:lnTo>
                        <a:pt x="8756" y="39666"/>
                      </a:lnTo>
                      <a:lnTo>
                        <a:pt x="2279" y="59288"/>
                      </a:lnTo>
                      <a:lnTo>
                        <a:pt x="279" y="75099"/>
                      </a:lnTo>
                      <a:cubicBezTo>
                        <a:pt x="279" y="75099"/>
                        <a:pt x="-4960" y="124820"/>
                        <a:pt x="29997" y="152157"/>
                      </a:cubicBezTo>
                      <a:cubicBezTo>
                        <a:pt x="65144" y="179493"/>
                        <a:pt x="93909" y="149394"/>
                        <a:pt x="93909" y="149394"/>
                      </a:cubicBezTo>
                      <a:cubicBezTo>
                        <a:pt x="93909" y="149394"/>
                        <a:pt x="124866" y="120248"/>
                        <a:pt x="120960" y="73099"/>
                      </a:cubicBezTo>
                      <a:cubicBezTo>
                        <a:pt x="117055" y="25855"/>
                        <a:pt x="83337" y="-15579"/>
                        <a:pt x="37521" y="5757"/>
                      </a:cubicBezTo>
                      <a:lnTo>
                        <a:pt x="37521" y="575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3" name="Freeform: Shape 372">
                  <a:extLst>
                    <a:ext uri="{FF2B5EF4-FFF2-40B4-BE49-F238E27FC236}">
                      <a16:creationId xmlns:a16="http://schemas.microsoft.com/office/drawing/2014/main" id="{F05C6B1D-A3D9-9696-6035-7176AF663A27}"/>
                    </a:ext>
                  </a:extLst>
                </p:cNvPr>
                <p:cNvSpPr/>
                <p:nvPr/>
              </p:nvSpPr>
              <p:spPr>
                <a:xfrm>
                  <a:off x="5718632" y="2911316"/>
                  <a:ext cx="109809" cy="151206"/>
                </a:xfrm>
                <a:custGeom>
                  <a:avLst/>
                  <a:gdLst>
                    <a:gd name="connsiteX0" fmla="*/ 31991 w 109809"/>
                    <a:gd name="connsiteY0" fmla="*/ 0 h 151206"/>
                    <a:gd name="connsiteX1" fmla="*/ 31991 w 109809"/>
                    <a:gd name="connsiteY1" fmla="*/ 0 h 151206"/>
                    <a:gd name="connsiteX2" fmla="*/ 19894 w 109809"/>
                    <a:gd name="connsiteY2" fmla="*/ 74295 h 151206"/>
                    <a:gd name="connsiteX3" fmla="*/ 82 w 109809"/>
                    <a:gd name="connsiteY3" fmla="*/ 94583 h 151206"/>
                    <a:gd name="connsiteX4" fmla="*/ 29324 w 109809"/>
                    <a:gd name="connsiteY4" fmla="*/ 134207 h 151206"/>
                    <a:gd name="connsiteX5" fmla="*/ 34277 w 109809"/>
                    <a:gd name="connsiteY5" fmla="*/ 133160 h 151206"/>
                    <a:gd name="connsiteX6" fmla="*/ 78854 w 109809"/>
                    <a:gd name="connsiteY6" fmla="*/ 150209 h 151206"/>
                    <a:gd name="connsiteX7" fmla="*/ 109810 w 109809"/>
                    <a:gd name="connsiteY7" fmla="*/ 89249 h 151206"/>
                    <a:gd name="connsiteX8" fmla="*/ 80282 w 109809"/>
                    <a:gd name="connsiteY8" fmla="*/ 111347 h 151206"/>
                    <a:gd name="connsiteX9" fmla="*/ 46850 w 109809"/>
                    <a:gd name="connsiteY9" fmla="*/ 39053 h 151206"/>
                    <a:gd name="connsiteX10" fmla="*/ 31991 w 109809"/>
                    <a:gd name="connsiteY10" fmla="*/ 0 h 151206"/>
                    <a:gd name="connsiteX11" fmla="*/ 31991 w 109809"/>
                    <a:gd name="connsiteY11" fmla="*/ 0 h 151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09809" h="151206">
                      <a:moveTo>
                        <a:pt x="31991" y="0"/>
                      </a:moveTo>
                      <a:lnTo>
                        <a:pt x="31991" y="0"/>
                      </a:lnTo>
                      <a:cubicBezTo>
                        <a:pt x="31991" y="0"/>
                        <a:pt x="41897" y="40386"/>
                        <a:pt x="19894" y="74295"/>
                      </a:cubicBezTo>
                      <a:cubicBezTo>
                        <a:pt x="-2395" y="107918"/>
                        <a:pt x="82" y="94583"/>
                        <a:pt x="82" y="94583"/>
                      </a:cubicBezTo>
                      <a:lnTo>
                        <a:pt x="29324" y="134207"/>
                      </a:lnTo>
                      <a:lnTo>
                        <a:pt x="34277" y="133160"/>
                      </a:lnTo>
                      <a:cubicBezTo>
                        <a:pt x="34277" y="133160"/>
                        <a:pt x="55613" y="156210"/>
                        <a:pt x="78854" y="150209"/>
                      </a:cubicBezTo>
                      <a:cubicBezTo>
                        <a:pt x="102380" y="144399"/>
                        <a:pt x="107810" y="126587"/>
                        <a:pt x="109810" y="89249"/>
                      </a:cubicBezTo>
                      <a:cubicBezTo>
                        <a:pt x="105809" y="101822"/>
                        <a:pt x="101428" y="121634"/>
                        <a:pt x="80282" y="111347"/>
                      </a:cubicBezTo>
                      <a:cubicBezTo>
                        <a:pt x="58946" y="101060"/>
                        <a:pt x="47040" y="78962"/>
                        <a:pt x="46850" y="39053"/>
                      </a:cubicBezTo>
                      <a:cubicBezTo>
                        <a:pt x="47135" y="22765"/>
                        <a:pt x="31991" y="0"/>
                        <a:pt x="31991" y="0"/>
                      </a:cubicBezTo>
                      <a:lnTo>
                        <a:pt x="3199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4" name="Freeform: Shape 373">
                  <a:extLst>
                    <a:ext uri="{FF2B5EF4-FFF2-40B4-BE49-F238E27FC236}">
                      <a16:creationId xmlns:a16="http://schemas.microsoft.com/office/drawing/2014/main" id="{CF49A1FE-368B-8D81-3288-AF8815238B64}"/>
                    </a:ext>
                  </a:extLst>
                </p:cNvPr>
                <p:cNvSpPr/>
                <p:nvPr/>
              </p:nvSpPr>
              <p:spPr>
                <a:xfrm>
                  <a:off x="5644324" y="2928614"/>
                  <a:ext cx="82772" cy="75673"/>
                </a:xfrm>
                <a:custGeom>
                  <a:avLst/>
                  <a:gdLst>
                    <a:gd name="connsiteX0" fmla="*/ 0 w 82772"/>
                    <a:gd name="connsiteY0" fmla="*/ 228 h 75673"/>
                    <a:gd name="connsiteX1" fmla="*/ 0 w 82772"/>
                    <a:gd name="connsiteY1" fmla="*/ 228 h 75673"/>
                    <a:gd name="connsiteX2" fmla="*/ 6667 w 82772"/>
                    <a:gd name="connsiteY2" fmla="*/ 7752 h 75673"/>
                    <a:gd name="connsiteX3" fmla="*/ 14097 w 82772"/>
                    <a:gd name="connsiteY3" fmla="*/ 15277 h 75673"/>
                    <a:gd name="connsiteX4" fmla="*/ 22288 w 82772"/>
                    <a:gd name="connsiteY4" fmla="*/ 21849 h 75673"/>
                    <a:gd name="connsiteX5" fmla="*/ 31718 w 82772"/>
                    <a:gd name="connsiteY5" fmla="*/ 26612 h 75673"/>
                    <a:gd name="connsiteX6" fmla="*/ 41338 w 82772"/>
                    <a:gd name="connsiteY6" fmla="*/ 31089 h 75673"/>
                    <a:gd name="connsiteX7" fmla="*/ 51530 w 82772"/>
                    <a:gd name="connsiteY7" fmla="*/ 33851 h 75673"/>
                    <a:gd name="connsiteX8" fmla="*/ 61913 w 82772"/>
                    <a:gd name="connsiteY8" fmla="*/ 34137 h 75673"/>
                    <a:gd name="connsiteX9" fmla="*/ 72580 w 82772"/>
                    <a:gd name="connsiteY9" fmla="*/ 34613 h 75673"/>
                    <a:gd name="connsiteX10" fmla="*/ 82772 w 82772"/>
                    <a:gd name="connsiteY10" fmla="*/ 31851 h 75673"/>
                    <a:gd name="connsiteX11" fmla="*/ 77819 w 82772"/>
                    <a:gd name="connsiteY11" fmla="*/ 42423 h 75673"/>
                    <a:gd name="connsiteX12" fmla="*/ 72104 w 82772"/>
                    <a:gd name="connsiteY12" fmla="*/ 51948 h 75673"/>
                    <a:gd name="connsiteX13" fmla="*/ 64960 w 82772"/>
                    <a:gd name="connsiteY13" fmla="*/ 60235 h 75673"/>
                    <a:gd name="connsiteX14" fmla="*/ 56769 w 82772"/>
                    <a:gd name="connsiteY14" fmla="*/ 67760 h 75673"/>
                    <a:gd name="connsiteX15" fmla="*/ 47339 w 82772"/>
                    <a:gd name="connsiteY15" fmla="*/ 73284 h 75673"/>
                    <a:gd name="connsiteX16" fmla="*/ 37148 w 82772"/>
                    <a:gd name="connsiteY16" fmla="*/ 75570 h 75673"/>
                    <a:gd name="connsiteX17" fmla="*/ 26765 w 82772"/>
                    <a:gd name="connsiteY17" fmla="*/ 71760 h 75673"/>
                    <a:gd name="connsiteX18" fmla="*/ 20574 w 82772"/>
                    <a:gd name="connsiteY18" fmla="*/ 62426 h 75673"/>
                    <a:gd name="connsiteX19" fmla="*/ 14097 w 82772"/>
                    <a:gd name="connsiteY19" fmla="*/ 53377 h 75673"/>
                    <a:gd name="connsiteX20" fmla="*/ 10096 w 82772"/>
                    <a:gd name="connsiteY20" fmla="*/ 42804 h 75673"/>
                    <a:gd name="connsiteX21" fmla="*/ 7620 w 82772"/>
                    <a:gd name="connsiteY21" fmla="*/ 32041 h 75673"/>
                    <a:gd name="connsiteX22" fmla="*/ 4858 w 82772"/>
                    <a:gd name="connsiteY22" fmla="*/ 21278 h 75673"/>
                    <a:gd name="connsiteX23" fmla="*/ 2381 w 82772"/>
                    <a:gd name="connsiteY23" fmla="*/ 10705 h 75673"/>
                    <a:gd name="connsiteX24" fmla="*/ 0 w 82772"/>
                    <a:gd name="connsiteY24" fmla="*/ 228 h 75673"/>
                    <a:gd name="connsiteX25" fmla="*/ 0 w 82772"/>
                    <a:gd name="connsiteY25" fmla="*/ 228 h 75673"/>
                    <a:gd name="connsiteX26" fmla="*/ 0 w 82772"/>
                    <a:gd name="connsiteY26" fmla="*/ 228 h 75673"/>
                    <a:gd name="connsiteX27" fmla="*/ 0 w 82772"/>
                    <a:gd name="connsiteY27" fmla="*/ 228 h 75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82772" h="75673">
                      <a:moveTo>
                        <a:pt x="0" y="228"/>
                      </a:moveTo>
                      <a:lnTo>
                        <a:pt x="0" y="228"/>
                      </a:lnTo>
                      <a:cubicBezTo>
                        <a:pt x="4953" y="-1011"/>
                        <a:pt x="2191" y="2990"/>
                        <a:pt x="6667" y="7752"/>
                      </a:cubicBezTo>
                      <a:cubicBezTo>
                        <a:pt x="8858" y="10038"/>
                        <a:pt x="11144" y="12801"/>
                        <a:pt x="14097" y="15277"/>
                      </a:cubicBezTo>
                      <a:cubicBezTo>
                        <a:pt x="16573" y="17277"/>
                        <a:pt x="19336" y="19754"/>
                        <a:pt x="22288" y="21849"/>
                      </a:cubicBezTo>
                      <a:cubicBezTo>
                        <a:pt x="25241" y="23850"/>
                        <a:pt x="28480" y="25088"/>
                        <a:pt x="31718" y="26612"/>
                      </a:cubicBezTo>
                      <a:cubicBezTo>
                        <a:pt x="34671" y="28136"/>
                        <a:pt x="37909" y="29850"/>
                        <a:pt x="41338" y="31089"/>
                      </a:cubicBezTo>
                      <a:cubicBezTo>
                        <a:pt x="44577" y="32136"/>
                        <a:pt x="47815" y="33375"/>
                        <a:pt x="51530" y="33851"/>
                      </a:cubicBezTo>
                      <a:cubicBezTo>
                        <a:pt x="54769" y="34613"/>
                        <a:pt x="58483" y="34137"/>
                        <a:pt x="61913" y="34137"/>
                      </a:cubicBezTo>
                      <a:cubicBezTo>
                        <a:pt x="65342" y="34422"/>
                        <a:pt x="68866" y="35184"/>
                        <a:pt x="72580" y="34613"/>
                      </a:cubicBezTo>
                      <a:cubicBezTo>
                        <a:pt x="75819" y="34327"/>
                        <a:pt x="79248" y="32613"/>
                        <a:pt x="82772" y="31851"/>
                      </a:cubicBezTo>
                      <a:cubicBezTo>
                        <a:pt x="82486" y="32898"/>
                        <a:pt x="80772" y="37375"/>
                        <a:pt x="77819" y="42423"/>
                      </a:cubicBezTo>
                      <a:cubicBezTo>
                        <a:pt x="76105" y="45186"/>
                        <a:pt x="74390" y="48710"/>
                        <a:pt x="72104" y="51948"/>
                      </a:cubicBezTo>
                      <a:cubicBezTo>
                        <a:pt x="70104" y="54711"/>
                        <a:pt x="67151" y="57473"/>
                        <a:pt x="64960" y="60235"/>
                      </a:cubicBezTo>
                      <a:cubicBezTo>
                        <a:pt x="62484" y="62997"/>
                        <a:pt x="59531" y="65474"/>
                        <a:pt x="56769" y="67760"/>
                      </a:cubicBezTo>
                      <a:cubicBezTo>
                        <a:pt x="54007" y="70236"/>
                        <a:pt x="50578" y="71760"/>
                        <a:pt x="47339" y="73284"/>
                      </a:cubicBezTo>
                      <a:cubicBezTo>
                        <a:pt x="43910" y="74808"/>
                        <a:pt x="40672" y="76047"/>
                        <a:pt x="37148" y="75570"/>
                      </a:cubicBezTo>
                      <a:cubicBezTo>
                        <a:pt x="33719" y="75094"/>
                        <a:pt x="30004" y="74523"/>
                        <a:pt x="26765" y="71760"/>
                      </a:cubicBezTo>
                      <a:cubicBezTo>
                        <a:pt x="24289" y="69760"/>
                        <a:pt x="23050" y="65950"/>
                        <a:pt x="20574" y="62426"/>
                      </a:cubicBezTo>
                      <a:cubicBezTo>
                        <a:pt x="18859" y="59664"/>
                        <a:pt x="15907" y="57187"/>
                        <a:pt x="14097" y="53377"/>
                      </a:cubicBezTo>
                      <a:cubicBezTo>
                        <a:pt x="12573" y="50329"/>
                        <a:pt x="11621" y="46805"/>
                        <a:pt x="10096" y="42804"/>
                      </a:cubicBezTo>
                      <a:cubicBezTo>
                        <a:pt x="8858" y="39756"/>
                        <a:pt x="8858" y="35756"/>
                        <a:pt x="7620" y="32041"/>
                      </a:cubicBezTo>
                      <a:cubicBezTo>
                        <a:pt x="6667" y="28803"/>
                        <a:pt x="5905" y="25278"/>
                        <a:pt x="4858" y="21278"/>
                      </a:cubicBezTo>
                      <a:cubicBezTo>
                        <a:pt x="4096" y="18039"/>
                        <a:pt x="3143" y="14515"/>
                        <a:pt x="2381" y="10705"/>
                      </a:cubicBezTo>
                      <a:cubicBezTo>
                        <a:pt x="1715" y="7276"/>
                        <a:pt x="476" y="4038"/>
                        <a:pt x="0" y="228"/>
                      </a:cubicBezTo>
                      <a:lnTo>
                        <a:pt x="0" y="228"/>
                      </a:lnTo>
                      <a:lnTo>
                        <a:pt x="0" y="228"/>
                      </a:lnTo>
                      <a:lnTo>
                        <a:pt x="0" y="228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5" name="Freeform: Shape 374">
                  <a:extLst>
                    <a:ext uri="{FF2B5EF4-FFF2-40B4-BE49-F238E27FC236}">
                      <a16:creationId xmlns:a16="http://schemas.microsoft.com/office/drawing/2014/main" id="{378595D9-D732-31B9-71A3-831259133AED}"/>
                    </a:ext>
                  </a:extLst>
                </p:cNvPr>
                <p:cNvSpPr/>
                <p:nvPr/>
              </p:nvSpPr>
              <p:spPr>
                <a:xfrm>
                  <a:off x="5645005" y="3000660"/>
                  <a:ext cx="76471" cy="175179"/>
                </a:xfrm>
                <a:custGeom>
                  <a:avLst/>
                  <a:gdLst>
                    <a:gd name="connsiteX0" fmla="*/ 5796 w 76471"/>
                    <a:gd name="connsiteY0" fmla="*/ 0 h 175179"/>
                    <a:gd name="connsiteX1" fmla="*/ 5796 w 76471"/>
                    <a:gd name="connsiteY1" fmla="*/ 0 h 175179"/>
                    <a:gd name="connsiteX2" fmla="*/ 6081 w 76471"/>
                    <a:gd name="connsiteY2" fmla="*/ 9334 h 175179"/>
                    <a:gd name="connsiteX3" fmla="*/ 6367 w 76471"/>
                    <a:gd name="connsiteY3" fmla="*/ 18669 h 175179"/>
                    <a:gd name="connsiteX4" fmla="*/ 3605 w 76471"/>
                    <a:gd name="connsiteY4" fmla="*/ 24955 h 175179"/>
                    <a:gd name="connsiteX5" fmla="*/ 176 w 76471"/>
                    <a:gd name="connsiteY5" fmla="*/ 36766 h 175179"/>
                    <a:gd name="connsiteX6" fmla="*/ 652 w 76471"/>
                    <a:gd name="connsiteY6" fmla="*/ 49054 h 175179"/>
                    <a:gd name="connsiteX7" fmla="*/ 5129 w 76471"/>
                    <a:gd name="connsiteY7" fmla="*/ 60579 h 175179"/>
                    <a:gd name="connsiteX8" fmla="*/ 5415 w 76471"/>
                    <a:gd name="connsiteY8" fmla="*/ 60103 h 175179"/>
                    <a:gd name="connsiteX9" fmla="*/ 5129 w 76471"/>
                    <a:gd name="connsiteY9" fmla="*/ 70676 h 175179"/>
                    <a:gd name="connsiteX10" fmla="*/ 5605 w 76471"/>
                    <a:gd name="connsiteY10" fmla="*/ 81248 h 175179"/>
                    <a:gd name="connsiteX11" fmla="*/ 5129 w 76471"/>
                    <a:gd name="connsiteY11" fmla="*/ 91535 h 175179"/>
                    <a:gd name="connsiteX12" fmla="*/ 5129 w 76471"/>
                    <a:gd name="connsiteY12" fmla="*/ 102108 h 175179"/>
                    <a:gd name="connsiteX13" fmla="*/ 4843 w 76471"/>
                    <a:gd name="connsiteY13" fmla="*/ 112395 h 175179"/>
                    <a:gd name="connsiteX14" fmla="*/ 5605 w 76471"/>
                    <a:gd name="connsiteY14" fmla="*/ 122968 h 175179"/>
                    <a:gd name="connsiteX15" fmla="*/ 5319 w 76471"/>
                    <a:gd name="connsiteY15" fmla="*/ 133540 h 175179"/>
                    <a:gd name="connsiteX16" fmla="*/ 5034 w 76471"/>
                    <a:gd name="connsiteY16" fmla="*/ 143828 h 175179"/>
                    <a:gd name="connsiteX17" fmla="*/ 4748 w 76471"/>
                    <a:gd name="connsiteY17" fmla="*/ 154400 h 175179"/>
                    <a:gd name="connsiteX18" fmla="*/ 4748 w 76471"/>
                    <a:gd name="connsiteY18" fmla="*/ 164402 h 175179"/>
                    <a:gd name="connsiteX19" fmla="*/ 14178 w 76471"/>
                    <a:gd name="connsiteY19" fmla="*/ 166116 h 175179"/>
                    <a:gd name="connsiteX20" fmla="*/ 24369 w 76471"/>
                    <a:gd name="connsiteY20" fmla="*/ 166878 h 175179"/>
                    <a:gd name="connsiteX21" fmla="*/ 34275 w 76471"/>
                    <a:gd name="connsiteY21" fmla="*/ 168878 h 175179"/>
                    <a:gd name="connsiteX22" fmla="*/ 44467 w 76471"/>
                    <a:gd name="connsiteY22" fmla="*/ 169926 h 175179"/>
                    <a:gd name="connsiteX23" fmla="*/ 54373 w 76471"/>
                    <a:gd name="connsiteY23" fmla="*/ 172212 h 175179"/>
                    <a:gd name="connsiteX24" fmla="*/ 65041 w 76471"/>
                    <a:gd name="connsiteY24" fmla="*/ 173927 h 175179"/>
                    <a:gd name="connsiteX25" fmla="*/ 65803 w 76471"/>
                    <a:gd name="connsiteY25" fmla="*/ 161830 h 175179"/>
                    <a:gd name="connsiteX26" fmla="*/ 66565 w 76471"/>
                    <a:gd name="connsiteY26" fmla="*/ 150495 h 175179"/>
                    <a:gd name="connsiteX27" fmla="*/ 68089 w 76471"/>
                    <a:gd name="connsiteY27" fmla="*/ 139160 h 175179"/>
                    <a:gd name="connsiteX28" fmla="*/ 70089 w 76471"/>
                    <a:gd name="connsiteY28" fmla="*/ 128111 h 175179"/>
                    <a:gd name="connsiteX29" fmla="*/ 70375 w 76471"/>
                    <a:gd name="connsiteY29" fmla="*/ 116586 h 175179"/>
                    <a:gd name="connsiteX30" fmla="*/ 71328 w 76471"/>
                    <a:gd name="connsiteY30" fmla="*/ 105251 h 175179"/>
                    <a:gd name="connsiteX31" fmla="*/ 73518 w 76471"/>
                    <a:gd name="connsiteY31" fmla="*/ 94202 h 175179"/>
                    <a:gd name="connsiteX32" fmla="*/ 75233 w 76471"/>
                    <a:gd name="connsiteY32" fmla="*/ 82867 h 175179"/>
                    <a:gd name="connsiteX33" fmla="*/ 75233 w 76471"/>
                    <a:gd name="connsiteY33" fmla="*/ 71342 h 175179"/>
                    <a:gd name="connsiteX34" fmla="*/ 76471 w 76471"/>
                    <a:gd name="connsiteY34" fmla="*/ 60007 h 175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76471" h="175179">
                      <a:moveTo>
                        <a:pt x="5796" y="0"/>
                      </a:moveTo>
                      <a:lnTo>
                        <a:pt x="5796" y="0"/>
                      </a:lnTo>
                      <a:cubicBezTo>
                        <a:pt x="5796" y="4763"/>
                        <a:pt x="6272" y="4763"/>
                        <a:pt x="6081" y="9334"/>
                      </a:cubicBezTo>
                      <a:cubicBezTo>
                        <a:pt x="6081" y="13811"/>
                        <a:pt x="7320" y="14097"/>
                        <a:pt x="6367" y="18669"/>
                      </a:cubicBezTo>
                      <a:cubicBezTo>
                        <a:pt x="5891" y="21907"/>
                        <a:pt x="5129" y="21907"/>
                        <a:pt x="3605" y="24955"/>
                      </a:cubicBezTo>
                      <a:cubicBezTo>
                        <a:pt x="1890" y="28765"/>
                        <a:pt x="652" y="32766"/>
                        <a:pt x="176" y="36766"/>
                      </a:cubicBezTo>
                      <a:cubicBezTo>
                        <a:pt x="-110" y="40767"/>
                        <a:pt x="-110" y="45053"/>
                        <a:pt x="652" y="49054"/>
                      </a:cubicBezTo>
                      <a:cubicBezTo>
                        <a:pt x="1605" y="53054"/>
                        <a:pt x="2843" y="57055"/>
                        <a:pt x="5129" y="60579"/>
                      </a:cubicBezTo>
                      <a:lnTo>
                        <a:pt x="5415" y="60103"/>
                      </a:lnTo>
                      <a:cubicBezTo>
                        <a:pt x="5129" y="65341"/>
                        <a:pt x="5129" y="65341"/>
                        <a:pt x="5129" y="70676"/>
                      </a:cubicBezTo>
                      <a:cubicBezTo>
                        <a:pt x="5129" y="75914"/>
                        <a:pt x="5605" y="75914"/>
                        <a:pt x="5605" y="81248"/>
                      </a:cubicBezTo>
                      <a:cubicBezTo>
                        <a:pt x="5319" y="86296"/>
                        <a:pt x="5129" y="86296"/>
                        <a:pt x="5129" y="91535"/>
                      </a:cubicBezTo>
                      <a:cubicBezTo>
                        <a:pt x="5129" y="96774"/>
                        <a:pt x="5129" y="96774"/>
                        <a:pt x="5129" y="102108"/>
                      </a:cubicBezTo>
                      <a:cubicBezTo>
                        <a:pt x="5129" y="107347"/>
                        <a:pt x="5129" y="107347"/>
                        <a:pt x="4843" y="112395"/>
                      </a:cubicBezTo>
                      <a:cubicBezTo>
                        <a:pt x="4843" y="117634"/>
                        <a:pt x="5605" y="117634"/>
                        <a:pt x="5605" y="122968"/>
                      </a:cubicBezTo>
                      <a:cubicBezTo>
                        <a:pt x="5605" y="128302"/>
                        <a:pt x="5319" y="128207"/>
                        <a:pt x="5319" y="133540"/>
                      </a:cubicBezTo>
                      <a:cubicBezTo>
                        <a:pt x="5034" y="138589"/>
                        <a:pt x="5319" y="138589"/>
                        <a:pt x="5034" y="143828"/>
                      </a:cubicBezTo>
                      <a:cubicBezTo>
                        <a:pt x="5034" y="149066"/>
                        <a:pt x="4748" y="149066"/>
                        <a:pt x="4748" y="154400"/>
                      </a:cubicBezTo>
                      <a:cubicBezTo>
                        <a:pt x="4748" y="159734"/>
                        <a:pt x="1319" y="160401"/>
                        <a:pt x="4748" y="164402"/>
                      </a:cubicBezTo>
                      <a:cubicBezTo>
                        <a:pt x="7986" y="168402"/>
                        <a:pt x="9225" y="165449"/>
                        <a:pt x="14178" y="166116"/>
                      </a:cubicBezTo>
                      <a:cubicBezTo>
                        <a:pt x="19416" y="166878"/>
                        <a:pt x="19416" y="166116"/>
                        <a:pt x="24369" y="166878"/>
                      </a:cubicBezTo>
                      <a:cubicBezTo>
                        <a:pt x="29322" y="167640"/>
                        <a:pt x="29322" y="168116"/>
                        <a:pt x="34275" y="168878"/>
                      </a:cubicBezTo>
                      <a:cubicBezTo>
                        <a:pt x="39514" y="169640"/>
                        <a:pt x="39514" y="169164"/>
                        <a:pt x="44467" y="169926"/>
                      </a:cubicBezTo>
                      <a:cubicBezTo>
                        <a:pt x="49420" y="170688"/>
                        <a:pt x="49420" y="171450"/>
                        <a:pt x="54373" y="172212"/>
                      </a:cubicBezTo>
                      <a:cubicBezTo>
                        <a:pt x="59326" y="172974"/>
                        <a:pt x="61041" y="177260"/>
                        <a:pt x="65041" y="173927"/>
                      </a:cubicBezTo>
                      <a:cubicBezTo>
                        <a:pt x="69232" y="170116"/>
                        <a:pt x="65327" y="167640"/>
                        <a:pt x="65803" y="161830"/>
                      </a:cubicBezTo>
                      <a:cubicBezTo>
                        <a:pt x="66565" y="156305"/>
                        <a:pt x="65803" y="156305"/>
                        <a:pt x="66565" y="150495"/>
                      </a:cubicBezTo>
                      <a:cubicBezTo>
                        <a:pt x="67041" y="144971"/>
                        <a:pt x="67327" y="144971"/>
                        <a:pt x="68089" y="139160"/>
                      </a:cubicBezTo>
                      <a:cubicBezTo>
                        <a:pt x="68851" y="133636"/>
                        <a:pt x="69327" y="133636"/>
                        <a:pt x="70089" y="128111"/>
                      </a:cubicBezTo>
                      <a:cubicBezTo>
                        <a:pt x="70851" y="122301"/>
                        <a:pt x="69613" y="122301"/>
                        <a:pt x="70375" y="116586"/>
                      </a:cubicBezTo>
                      <a:cubicBezTo>
                        <a:pt x="70851" y="111061"/>
                        <a:pt x="70851" y="111061"/>
                        <a:pt x="71328" y="105251"/>
                      </a:cubicBezTo>
                      <a:cubicBezTo>
                        <a:pt x="72090" y="99727"/>
                        <a:pt x="73042" y="99727"/>
                        <a:pt x="73518" y="94202"/>
                      </a:cubicBezTo>
                      <a:cubicBezTo>
                        <a:pt x="74280" y="88392"/>
                        <a:pt x="74471" y="88392"/>
                        <a:pt x="75233" y="82867"/>
                      </a:cubicBezTo>
                      <a:cubicBezTo>
                        <a:pt x="75709" y="77057"/>
                        <a:pt x="74471" y="77057"/>
                        <a:pt x="75233" y="71342"/>
                      </a:cubicBezTo>
                      <a:cubicBezTo>
                        <a:pt x="75709" y="65818"/>
                        <a:pt x="75709" y="65818"/>
                        <a:pt x="76471" y="60007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6" name="Freeform: Shape 375">
                  <a:extLst>
                    <a:ext uri="{FF2B5EF4-FFF2-40B4-BE49-F238E27FC236}">
                      <a16:creationId xmlns:a16="http://schemas.microsoft.com/office/drawing/2014/main" id="{48D6BA44-22E2-E1E3-4E7C-6375E09B0065}"/>
                    </a:ext>
                  </a:extLst>
                </p:cNvPr>
                <p:cNvSpPr/>
                <p:nvPr/>
              </p:nvSpPr>
              <p:spPr>
                <a:xfrm>
                  <a:off x="5647878" y="3165347"/>
                  <a:ext cx="92061" cy="213259"/>
                </a:xfrm>
                <a:custGeom>
                  <a:avLst/>
                  <a:gdLst>
                    <a:gd name="connsiteX0" fmla="*/ 923 w 92061"/>
                    <a:gd name="connsiteY0" fmla="*/ 0 h 213259"/>
                    <a:gd name="connsiteX1" fmla="*/ 923 w 92061"/>
                    <a:gd name="connsiteY1" fmla="*/ 0 h 213259"/>
                    <a:gd name="connsiteX2" fmla="*/ 4161 w 92061"/>
                    <a:gd name="connsiteY2" fmla="*/ 10287 h 213259"/>
                    <a:gd name="connsiteX3" fmla="*/ 6162 w 92061"/>
                    <a:gd name="connsiteY3" fmla="*/ 21050 h 213259"/>
                    <a:gd name="connsiteX4" fmla="*/ 8352 w 92061"/>
                    <a:gd name="connsiteY4" fmla="*/ 31623 h 213259"/>
                    <a:gd name="connsiteX5" fmla="*/ 11115 w 92061"/>
                    <a:gd name="connsiteY5" fmla="*/ 42196 h 213259"/>
                    <a:gd name="connsiteX6" fmla="*/ 12829 w 92061"/>
                    <a:gd name="connsiteY6" fmla="*/ 52959 h 213259"/>
                    <a:gd name="connsiteX7" fmla="*/ 16258 w 92061"/>
                    <a:gd name="connsiteY7" fmla="*/ 63246 h 213259"/>
                    <a:gd name="connsiteX8" fmla="*/ 17211 w 92061"/>
                    <a:gd name="connsiteY8" fmla="*/ 74009 h 213259"/>
                    <a:gd name="connsiteX9" fmla="*/ 19401 w 92061"/>
                    <a:gd name="connsiteY9" fmla="*/ 84582 h 213259"/>
                    <a:gd name="connsiteX10" fmla="*/ 22354 w 92061"/>
                    <a:gd name="connsiteY10" fmla="*/ 95155 h 213259"/>
                    <a:gd name="connsiteX11" fmla="*/ 24831 w 92061"/>
                    <a:gd name="connsiteY11" fmla="*/ 105727 h 213259"/>
                    <a:gd name="connsiteX12" fmla="*/ 28069 w 92061"/>
                    <a:gd name="connsiteY12" fmla="*/ 116015 h 213259"/>
                    <a:gd name="connsiteX13" fmla="*/ 29307 w 92061"/>
                    <a:gd name="connsiteY13" fmla="*/ 127064 h 213259"/>
                    <a:gd name="connsiteX14" fmla="*/ 32546 w 92061"/>
                    <a:gd name="connsiteY14" fmla="*/ 137351 h 213259"/>
                    <a:gd name="connsiteX15" fmla="*/ 33784 w 92061"/>
                    <a:gd name="connsiteY15" fmla="*/ 148114 h 213259"/>
                    <a:gd name="connsiteX16" fmla="*/ 37213 w 92061"/>
                    <a:gd name="connsiteY16" fmla="*/ 158687 h 213259"/>
                    <a:gd name="connsiteX17" fmla="*/ 30546 w 92061"/>
                    <a:gd name="connsiteY17" fmla="*/ 167450 h 213259"/>
                    <a:gd name="connsiteX18" fmla="*/ 24354 w 92061"/>
                    <a:gd name="connsiteY18" fmla="*/ 176213 h 213259"/>
                    <a:gd name="connsiteX19" fmla="*/ 18449 w 92061"/>
                    <a:gd name="connsiteY19" fmla="*/ 185261 h 213259"/>
                    <a:gd name="connsiteX20" fmla="*/ 12258 w 92061"/>
                    <a:gd name="connsiteY20" fmla="*/ 193834 h 213259"/>
                    <a:gd name="connsiteX21" fmla="*/ 5590 w 92061"/>
                    <a:gd name="connsiteY21" fmla="*/ 202406 h 213259"/>
                    <a:gd name="connsiteX22" fmla="*/ 637 w 92061"/>
                    <a:gd name="connsiteY22" fmla="*/ 211455 h 213259"/>
                    <a:gd name="connsiteX23" fmla="*/ 9019 w 92061"/>
                    <a:gd name="connsiteY23" fmla="*/ 210217 h 213259"/>
                    <a:gd name="connsiteX24" fmla="*/ 17973 w 92061"/>
                    <a:gd name="connsiteY24" fmla="*/ 208217 h 213259"/>
                    <a:gd name="connsiteX25" fmla="*/ 27402 w 92061"/>
                    <a:gd name="connsiteY25" fmla="*/ 206502 h 213259"/>
                    <a:gd name="connsiteX26" fmla="*/ 31879 w 92061"/>
                    <a:gd name="connsiteY26" fmla="*/ 198501 h 213259"/>
                    <a:gd name="connsiteX27" fmla="*/ 36832 w 92061"/>
                    <a:gd name="connsiteY27" fmla="*/ 190976 h 213259"/>
                    <a:gd name="connsiteX28" fmla="*/ 39309 w 92061"/>
                    <a:gd name="connsiteY28" fmla="*/ 201549 h 213259"/>
                    <a:gd name="connsiteX29" fmla="*/ 39023 w 92061"/>
                    <a:gd name="connsiteY29" fmla="*/ 191262 h 213259"/>
                    <a:gd name="connsiteX30" fmla="*/ 40261 w 92061"/>
                    <a:gd name="connsiteY30" fmla="*/ 180975 h 213259"/>
                    <a:gd name="connsiteX31" fmla="*/ 40261 w 92061"/>
                    <a:gd name="connsiteY31" fmla="*/ 170402 h 213259"/>
                    <a:gd name="connsiteX32" fmla="*/ 41499 w 92061"/>
                    <a:gd name="connsiteY32" fmla="*/ 159353 h 213259"/>
                    <a:gd name="connsiteX33" fmla="*/ 42738 w 92061"/>
                    <a:gd name="connsiteY33" fmla="*/ 170688 h 213259"/>
                    <a:gd name="connsiteX34" fmla="*/ 45214 w 92061"/>
                    <a:gd name="connsiteY34" fmla="*/ 181451 h 213259"/>
                    <a:gd name="connsiteX35" fmla="*/ 46738 w 92061"/>
                    <a:gd name="connsiteY35" fmla="*/ 192500 h 213259"/>
                    <a:gd name="connsiteX36" fmla="*/ 48738 w 92061"/>
                    <a:gd name="connsiteY36" fmla="*/ 203835 h 213259"/>
                    <a:gd name="connsiteX37" fmla="*/ 53215 w 92061"/>
                    <a:gd name="connsiteY37" fmla="*/ 189262 h 213259"/>
                    <a:gd name="connsiteX38" fmla="*/ 58930 w 92061"/>
                    <a:gd name="connsiteY38" fmla="*/ 201835 h 213259"/>
                    <a:gd name="connsiteX39" fmla="*/ 70074 w 92061"/>
                    <a:gd name="connsiteY39" fmla="*/ 204597 h 213259"/>
                    <a:gd name="connsiteX40" fmla="*/ 80933 w 92061"/>
                    <a:gd name="connsiteY40" fmla="*/ 206597 h 213259"/>
                    <a:gd name="connsiteX41" fmla="*/ 91315 w 92061"/>
                    <a:gd name="connsiteY41" fmla="*/ 208598 h 213259"/>
                    <a:gd name="connsiteX42" fmla="*/ 84838 w 92061"/>
                    <a:gd name="connsiteY42" fmla="*/ 199835 h 213259"/>
                    <a:gd name="connsiteX43" fmla="*/ 77409 w 92061"/>
                    <a:gd name="connsiteY43" fmla="*/ 191072 h 213259"/>
                    <a:gd name="connsiteX44" fmla="*/ 69693 w 92061"/>
                    <a:gd name="connsiteY44" fmla="*/ 182499 h 213259"/>
                    <a:gd name="connsiteX45" fmla="*/ 62359 w 92061"/>
                    <a:gd name="connsiteY45" fmla="*/ 173450 h 213259"/>
                    <a:gd name="connsiteX46" fmla="*/ 54644 w 92061"/>
                    <a:gd name="connsiteY46" fmla="*/ 164687 h 213259"/>
                    <a:gd name="connsiteX47" fmla="*/ 46738 w 92061"/>
                    <a:gd name="connsiteY47" fmla="*/ 156115 h 213259"/>
                    <a:gd name="connsiteX48" fmla="*/ 48929 w 92061"/>
                    <a:gd name="connsiteY48" fmla="*/ 145352 h 213259"/>
                    <a:gd name="connsiteX49" fmla="*/ 48929 w 92061"/>
                    <a:gd name="connsiteY49" fmla="*/ 134779 h 213259"/>
                    <a:gd name="connsiteX50" fmla="*/ 50929 w 92061"/>
                    <a:gd name="connsiteY50" fmla="*/ 124206 h 213259"/>
                    <a:gd name="connsiteX51" fmla="*/ 50643 w 92061"/>
                    <a:gd name="connsiteY51" fmla="*/ 113633 h 213259"/>
                    <a:gd name="connsiteX52" fmla="*/ 51882 w 92061"/>
                    <a:gd name="connsiteY52" fmla="*/ 103061 h 213259"/>
                    <a:gd name="connsiteX53" fmla="*/ 52834 w 92061"/>
                    <a:gd name="connsiteY53" fmla="*/ 92488 h 213259"/>
                    <a:gd name="connsiteX54" fmla="*/ 54072 w 92061"/>
                    <a:gd name="connsiteY54" fmla="*/ 81915 h 213259"/>
                    <a:gd name="connsiteX55" fmla="*/ 55787 w 92061"/>
                    <a:gd name="connsiteY55" fmla="*/ 71342 h 213259"/>
                    <a:gd name="connsiteX56" fmla="*/ 56073 w 92061"/>
                    <a:gd name="connsiteY56" fmla="*/ 60770 h 213259"/>
                    <a:gd name="connsiteX57" fmla="*/ 57597 w 92061"/>
                    <a:gd name="connsiteY57" fmla="*/ 50197 h 213259"/>
                    <a:gd name="connsiteX58" fmla="*/ 58359 w 92061"/>
                    <a:gd name="connsiteY58" fmla="*/ 39624 h 213259"/>
                    <a:gd name="connsiteX59" fmla="*/ 58835 w 92061"/>
                    <a:gd name="connsiteY59" fmla="*/ 29051 h 213259"/>
                    <a:gd name="connsiteX60" fmla="*/ 60549 w 92061"/>
                    <a:gd name="connsiteY60" fmla="*/ 18478 h 213259"/>
                    <a:gd name="connsiteX61" fmla="*/ 61311 w 92061"/>
                    <a:gd name="connsiteY61" fmla="*/ 7906 h 213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</a:cxnLst>
                  <a:rect l="l" t="t" r="r" b="b"/>
                  <a:pathLst>
                    <a:path w="92061" h="213259">
                      <a:moveTo>
                        <a:pt x="923" y="0"/>
                      </a:moveTo>
                      <a:lnTo>
                        <a:pt x="923" y="0"/>
                      </a:lnTo>
                      <a:cubicBezTo>
                        <a:pt x="1875" y="5239"/>
                        <a:pt x="3114" y="5048"/>
                        <a:pt x="4161" y="10287"/>
                      </a:cubicBezTo>
                      <a:cubicBezTo>
                        <a:pt x="5400" y="15526"/>
                        <a:pt x="4923" y="15811"/>
                        <a:pt x="6162" y="21050"/>
                      </a:cubicBezTo>
                      <a:cubicBezTo>
                        <a:pt x="7114" y="26289"/>
                        <a:pt x="7114" y="26289"/>
                        <a:pt x="8352" y="31623"/>
                      </a:cubicBezTo>
                      <a:cubicBezTo>
                        <a:pt x="9591" y="36862"/>
                        <a:pt x="9876" y="36862"/>
                        <a:pt x="11115" y="42196"/>
                      </a:cubicBezTo>
                      <a:cubicBezTo>
                        <a:pt x="12067" y="47434"/>
                        <a:pt x="11591" y="47434"/>
                        <a:pt x="12829" y="52959"/>
                      </a:cubicBezTo>
                      <a:cubicBezTo>
                        <a:pt x="14067" y="58198"/>
                        <a:pt x="15306" y="58007"/>
                        <a:pt x="16258" y="63246"/>
                      </a:cubicBezTo>
                      <a:cubicBezTo>
                        <a:pt x="17496" y="68485"/>
                        <a:pt x="15972" y="68771"/>
                        <a:pt x="17211" y="74009"/>
                      </a:cubicBezTo>
                      <a:cubicBezTo>
                        <a:pt x="18163" y="79248"/>
                        <a:pt x="18163" y="79248"/>
                        <a:pt x="19401" y="84582"/>
                      </a:cubicBezTo>
                      <a:cubicBezTo>
                        <a:pt x="20640" y="89821"/>
                        <a:pt x="21116" y="89821"/>
                        <a:pt x="22354" y="95155"/>
                      </a:cubicBezTo>
                      <a:cubicBezTo>
                        <a:pt x="23592" y="100394"/>
                        <a:pt x="23878" y="100394"/>
                        <a:pt x="24831" y="105727"/>
                      </a:cubicBezTo>
                      <a:cubicBezTo>
                        <a:pt x="26069" y="110966"/>
                        <a:pt x="26831" y="110776"/>
                        <a:pt x="28069" y="116015"/>
                      </a:cubicBezTo>
                      <a:cubicBezTo>
                        <a:pt x="29307" y="121539"/>
                        <a:pt x="28355" y="121539"/>
                        <a:pt x="29307" y="127064"/>
                      </a:cubicBezTo>
                      <a:cubicBezTo>
                        <a:pt x="30546" y="132302"/>
                        <a:pt x="31308" y="132112"/>
                        <a:pt x="32546" y="137351"/>
                      </a:cubicBezTo>
                      <a:cubicBezTo>
                        <a:pt x="33498" y="142589"/>
                        <a:pt x="32832" y="142875"/>
                        <a:pt x="33784" y="148114"/>
                      </a:cubicBezTo>
                      <a:cubicBezTo>
                        <a:pt x="35022" y="153352"/>
                        <a:pt x="38261" y="153352"/>
                        <a:pt x="37213" y="158687"/>
                      </a:cubicBezTo>
                      <a:cubicBezTo>
                        <a:pt x="36261" y="163925"/>
                        <a:pt x="33498" y="162973"/>
                        <a:pt x="30546" y="167450"/>
                      </a:cubicBezTo>
                      <a:cubicBezTo>
                        <a:pt x="27307" y="171736"/>
                        <a:pt x="27593" y="171926"/>
                        <a:pt x="24354" y="176213"/>
                      </a:cubicBezTo>
                      <a:cubicBezTo>
                        <a:pt x="21402" y="180689"/>
                        <a:pt x="21592" y="180689"/>
                        <a:pt x="18449" y="185261"/>
                      </a:cubicBezTo>
                      <a:cubicBezTo>
                        <a:pt x="15496" y="189548"/>
                        <a:pt x="15210" y="189548"/>
                        <a:pt x="12258" y="193834"/>
                      </a:cubicBezTo>
                      <a:cubicBezTo>
                        <a:pt x="9019" y="198311"/>
                        <a:pt x="8543" y="197834"/>
                        <a:pt x="5590" y="202406"/>
                      </a:cubicBezTo>
                      <a:cubicBezTo>
                        <a:pt x="2352" y="206883"/>
                        <a:pt x="-1554" y="206407"/>
                        <a:pt x="637" y="211455"/>
                      </a:cubicBezTo>
                      <a:cubicBezTo>
                        <a:pt x="2352" y="215741"/>
                        <a:pt x="4638" y="211169"/>
                        <a:pt x="9019" y="210217"/>
                      </a:cubicBezTo>
                      <a:cubicBezTo>
                        <a:pt x="13496" y="209169"/>
                        <a:pt x="13496" y="209169"/>
                        <a:pt x="17973" y="208217"/>
                      </a:cubicBezTo>
                      <a:cubicBezTo>
                        <a:pt x="22640" y="207169"/>
                        <a:pt x="23402" y="209264"/>
                        <a:pt x="27402" y="206502"/>
                      </a:cubicBezTo>
                      <a:cubicBezTo>
                        <a:pt x="31117" y="204026"/>
                        <a:pt x="29403" y="202216"/>
                        <a:pt x="31879" y="198501"/>
                      </a:cubicBezTo>
                      <a:cubicBezTo>
                        <a:pt x="34356" y="194691"/>
                        <a:pt x="32832" y="189167"/>
                        <a:pt x="36832" y="190976"/>
                      </a:cubicBezTo>
                      <a:cubicBezTo>
                        <a:pt x="41785" y="193262"/>
                        <a:pt x="33879" y="200787"/>
                        <a:pt x="39309" y="201549"/>
                      </a:cubicBezTo>
                      <a:cubicBezTo>
                        <a:pt x="44262" y="202311"/>
                        <a:pt x="38832" y="196501"/>
                        <a:pt x="39023" y="191262"/>
                      </a:cubicBezTo>
                      <a:cubicBezTo>
                        <a:pt x="39499" y="186023"/>
                        <a:pt x="39975" y="186023"/>
                        <a:pt x="40261" y="180975"/>
                      </a:cubicBezTo>
                      <a:cubicBezTo>
                        <a:pt x="40547" y="175736"/>
                        <a:pt x="39975" y="175451"/>
                        <a:pt x="40261" y="170402"/>
                      </a:cubicBezTo>
                      <a:cubicBezTo>
                        <a:pt x="40547" y="165164"/>
                        <a:pt x="36261" y="158591"/>
                        <a:pt x="41499" y="159353"/>
                      </a:cubicBezTo>
                      <a:cubicBezTo>
                        <a:pt x="46929" y="160115"/>
                        <a:pt x="41785" y="165354"/>
                        <a:pt x="42738" y="170688"/>
                      </a:cubicBezTo>
                      <a:cubicBezTo>
                        <a:pt x="43690" y="176213"/>
                        <a:pt x="44262" y="175927"/>
                        <a:pt x="45214" y="181451"/>
                      </a:cubicBezTo>
                      <a:cubicBezTo>
                        <a:pt x="45976" y="186976"/>
                        <a:pt x="45690" y="186976"/>
                        <a:pt x="46738" y="192500"/>
                      </a:cubicBezTo>
                      <a:cubicBezTo>
                        <a:pt x="47500" y="197739"/>
                        <a:pt x="43976" y="206597"/>
                        <a:pt x="48738" y="203835"/>
                      </a:cubicBezTo>
                      <a:cubicBezTo>
                        <a:pt x="55406" y="200025"/>
                        <a:pt x="45786" y="190786"/>
                        <a:pt x="53215" y="189262"/>
                      </a:cubicBezTo>
                      <a:cubicBezTo>
                        <a:pt x="60168" y="188214"/>
                        <a:pt x="53691" y="197072"/>
                        <a:pt x="58930" y="201835"/>
                      </a:cubicBezTo>
                      <a:cubicBezTo>
                        <a:pt x="63121" y="205645"/>
                        <a:pt x="64645" y="203359"/>
                        <a:pt x="70074" y="204597"/>
                      </a:cubicBezTo>
                      <a:cubicBezTo>
                        <a:pt x="75504" y="205835"/>
                        <a:pt x="75504" y="205359"/>
                        <a:pt x="80933" y="206597"/>
                      </a:cubicBezTo>
                      <a:cubicBezTo>
                        <a:pt x="86362" y="207836"/>
                        <a:pt x="88648" y="213646"/>
                        <a:pt x="91315" y="208598"/>
                      </a:cubicBezTo>
                      <a:cubicBezTo>
                        <a:pt x="94077" y="203549"/>
                        <a:pt x="88553" y="204121"/>
                        <a:pt x="84838" y="199835"/>
                      </a:cubicBezTo>
                      <a:cubicBezTo>
                        <a:pt x="81123" y="195358"/>
                        <a:pt x="81123" y="195358"/>
                        <a:pt x="77409" y="191072"/>
                      </a:cubicBezTo>
                      <a:cubicBezTo>
                        <a:pt x="73694" y="186595"/>
                        <a:pt x="73408" y="187071"/>
                        <a:pt x="69693" y="182499"/>
                      </a:cubicBezTo>
                      <a:cubicBezTo>
                        <a:pt x="66074" y="177927"/>
                        <a:pt x="66074" y="177927"/>
                        <a:pt x="62359" y="173450"/>
                      </a:cubicBezTo>
                      <a:cubicBezTo>
                        <a:pt x="58644" y="169164"/>
                        <a:pt x="58359" y="169164"/>
                        <a:pt x="54644" y="164687"/>
                      </a:cubicBezTo>
                      <a:cubicBezTo>
                        <a:pt x="51215" y="160401"/>
                        <a:pt x="48738" y="161639"/>
                        <a:pt x="46738" y="156115"/>
                      </a:cubicBezTo>
                      <a:cubicBezTo>
                        <a:pt x="45214" y="151067"/>
                        <a:pt x="48453" y="150590"/>
                        <a:pt x="48929" y="145352"/>
                      </a:cubicBezTo>
                      <a:cubicBezTo>
                        <a:pt x="49405" y="140113"/>
                        <a:pt x="48453" y="140113"/>
                        <a:pt x="48929" y="134779"/>
                      </a:cubicBezTo>
                      <a:cubicBezTo>
                        <a:pt x="49405" y="129540"/>
                        <a:pt x="50453" y="129540"/>
                        <a:pt x="50929" y="124206"/>
                      </a:cubicBezTo>
                      <a:cubicBezTo>
                        <a:pt x="51405" y="118967"/>
                        <a:pt x="50167" y="118967"/>
                        <a:pt x="50643" y="113633"/>
                      </a:cubicBezTo>
                      <a:cubicBezTo>
                        <a:pt x="51120" y="108395"/>
                        <a:pt x="51405" y="108395"/>
                        <a:pt x="51882" y="103061"/>
                      </a:cubicBezTo>
                      <a:cubicBezTo>
                        <a:pt x="52358" y="97727"/>
                        <a:pt x="52358" y="97822"/>
                        <a:pt x="52834" y="92488"/>
                      </a:cubicBezTo>
                      <a:cubicBezTo>
                        <a:pt x="53310" y="87249"/>
                        <a:pt x="53596" y="87249"/>
                        <a:pt x="54072" y="81915"/>
                      </a:cubicBezTo>
                      <a:cubicBezTo>
                        <a:pt x="54549" y="76676"/>
                        <a:pt x="55311" y="76676"/>
                        <a:pt x="55787" y="71342"/>
                      </a:cubicBezTo>
                      <a:cubicBezTo>
                        <a:pt x="56263" y="66103"/>
                        <a:pt x="55501" y="66103"/>
                        <a:pt x="56073" y="60770"/>
                      </a:cubicBezTo>
                      <a:cubicBezTo>
                        <a:pt x="56549" y="55531"/>
                        <a:pt x="57025" y="55531"/>
                        <a:pt x="57597" y="50197"/>
                      </a:cubicBezTo>
                      <a:cubicBezTo>
                        <a:pt x="58073" y="44958"/>
                        <a:pt x="57882" y="44958"/>
                        <a:pt x="58359" y="39624"/>
                      </a:cubicBezTo>
                      <a:cubicBezTo>
                        <a:pt x="58835" y="34290"/>
                        <a:pt x="58359" y="34385"/>
                        <a:pt x="58835" y="29051"/>
                      </a:cubicBezTo>
                      <a:cubicBezTo>
                        <a:pt x="59311" y="23813"/>
                        <a:pt x="60073" y="23813"/>
                        <a:pt x="60549" y="18478"/>
                      </a:cubicBezTo>
                      <a:cubicBezTo>
                        <a:pt x="61026" y="13145"/>
                        <a:pt x="60835" y="13240"/>
                        <a:pt x="61311" y="790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7" name="Freeform: Shape 376">
                  <a:extLst>
                    <a:ext uri="{FF2B5EF4-FFF2-40B4-BE49-F238E27FC236}">
                      <a16:creationId xmlns:a16="http://schemas.microsoft.com/office/drawing/2014/main" id="{3F843035-9A68-C9C4-EBBC-0DFD0E0130AA}"/>
                    </a:ext>
                  </a:extLst>
                </p:cNvPr>
                <p:cNvSpPr/>
                <p:nvPr/>
              </p:nvSpPr>
              <p:spPr>
                <a:xfrm>
                  <a:off x="5678804" y="3183159"/>
                  <a:ext cx="2476" cy="79533"/>
                </a:xfrm>
                <a:custGeom>
                  <a:avLst/>
                  <a:gdLst>
                    <a:gd name="connsiteX0" fmla="*/ 0 w 2476"/>
                    <a:gd name="connsiteY0" fmla="*/ 0 h 79533"/>
                    <a:gd name="connsiteX1" fmla="*/ 0 w 2476"/>
                    <a:gd name="connsiteY1" fmla="*/ 0 h 79533"/>
                    <a:gd name="connsiteX2" fmla="*/ 953 w 2476"/>
                    <a:gd name="connsiteY2" fmla="*/ 11335 h 79533"/>
                    <a:gd name="connsiteX3" fmla="*/ 476 w 2476"/>
                    <a:gd name="connsiteY3" fmla="*/ 22670 h 79533"/>
                    <a:gd name="connsiteX4" fmla="*/ 1715 w 2476"/>
                    <a:gd name="connsiteY4" fmla="*/ 34004 h 79533"/>
                    <a:gd name="connsiteX5" fmla="*/ 762 w 2476"/>
                    <a:gd name="connsiteY5" fmla="*/ 45339 h 79533"/>
                    <a:gd name="connsiteX6" fmla="*/ 1238 w 2476"/>
                    <a:gd name="connsiteY6" fmla="*/ 56674 h 79533"/>
                    <a:gd name="connsiteX7" fmla="*/ 1524 w 2476"/>
                    <a:gd name="connsiteY7" fmla="*/ 68199 h 79533"/>
                    <a:gd name="connsiteX8" fmla="*/ 2477 w 2476"/>
                    <a:gd name="connsiteY8" fmla="*/ 79534 h 79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476" h="79533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0" y="5810"/>
                        <a:pt x="762" y="5810"/>
                        <a:pt x="953" y="11335"/>
                      </a:cubicBezTo>
                      <a:cubicBezTo>
                        <a:pt x="953" y="17145"/>
                        <a:pt x="476" y="17145"/>
                        <a:pt x="476" y="22670"/>
                      </a:cubicBezTo>
                      <a:cubicBezTo>
                        <a:pt x="762" y="28480"/>
                        <a:pt x="1715" y="28480"/>
                        <a:pt x="1715" y="34004"/>
                      </a:cubicBezTo>
                      <a:cubicBezTo>
                        <a:pt x="2000" y="39815"/>
                        <a:pt x="476" y="39815"/>
                        <a:pt x="762" y="45339"/>
                      </a:cubicBezTo>
                      <a:cubicBezTo>
                        <a:pt x="762" y="51149"/>
                        <a:pt x="1238" y="51149"/>
                        <a:pt x="1238" y="56674"/>
                      </a:cubicBezTo>
                      <a:cubicBezTo>
                        <a:pt x="1524" y="62484"/>
                        <a:pt x="1238" y="62484"/>
                        <a:pt x="1524" y="68199"/>
                      </a:cubicBezTo>
                      <a:cubicBezTo>
                        <a:pt x="1524" y="73724"/>
                        <a:pt x="2286" y="73724"/>
                        <a:pt x="2477" y="79534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8" name="Freeform: Shape 377">
                  <a:extLst>
                    <a:ext uri="{FF2B5EF4-FFF2-40B4-BE49-F238E27FC236}">
                      <a16:creationId xmlns:a16="http://schemas.microsoft.com/office/drawing/2014/main" id="{5B1A58EC-B7F8-F7FE-D658-62C08DB94E7E}"/>
                    </a:ext>
                  </a:extLst>
                </p:cNvPr>
                <p:cNvSpPr/>
                <p:nvPr/>
              </p:nvSpPr>
              <p:spPr>
                <a:xfrm>
                  <a:off x="5656992" y="2894171"/>
                  <a:ext cx="4667" cy="14287"/>
                </a:xfrm>
                <a:custGeom>
                  <a:avLst/>
                  <a:gdLst>
                    <a:gd name="connsiteX0" fmla="*/ 4667 w 4667"/>
                    <a:gd name="connsiteY0" fmla="*/ 0 h 14287"/>
                    <a:gd name="connsiteX1" fmla="*/ 4667 w 4667"/>
                    <a:gd name="connsiteY1" fmla="*/ 0 h 14287"/>
                    <a:gd name="connsiteX2" fmla="*/ 0 w 4667"/>
                    <a:gd name="connsiteY2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667" h="14287">
                      <a:moveTo>
                        <a:pt x="4667" y="0"/>
                      </a:moveTo>
                      <a:lnTo>
                        <a:pt x="4667" y="0"/>
                      </a:lnTo>
                      <a:cubicBezTo>
                        <a:pt x="2667" y="7239"/>
                        <a:pt x="1905" y="7048"/>
                        <a:pt x="0" y="14288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79" name="Freeform: Shape 378">
                  <a:extLst>
                    <a:ext uri="{FF2B5EF4-FFF2-40B4-BE49-F238E27FC236}">
                      <a16:creationId xmlns:a16="http://schemas.microsoft.com/office/drawing/2014/main" id="{E4601773-475F-CB13-E92D-E0CD1BAC54C3}"/>
                    </a:ext>
                  </a:extLst>
                </p:cNvPr>
                <p:cNvSpPr/>
                <p:nvPr/>
              </p:nvSpPr>
              <p:spPr>
                <a:xfrm>
                  <a:off x="5676518" y="2899219"/>
                  <a:ext cx="4953" cy="14287"/>
                </a:xfrm>
                <a:custGeom>
                  <a:avLst/>
                  <a:gdLst>
                    <a:gd name="connsiteX0" fmla="*/ 4953 w 4953"/>
                    <a:gd name="connsiteY0" fmla="*/ 0 h 14287"/>
                    <a:gd name="connsiteX1" fmla="*/ 4953 w 4953"/>
                    <a:gd name="connsiteY1" fmla="*/ 0 h 14287"/>
                    <a:gd name="connsiteX2" fmla="*/ 0 w 4953"/>
                    <a:gd name="connsiteY2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53" h="14287">
                      <a:moveTo>
                        <a:pt x="4953" y="0"/>
                      </a:moveTo>
                      <a:lnTo>
                        <a:pt x="4953" y="0"/>
                      </a:lnTo>
                      <a:cubicBezTo>
                        <a:pt x="2762" y="7239"/>
                        <a:pt x="2000" y="7048"/>
                        <a:pt x="0" y="14288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0" name="Freeform: Shape 379">
                  <a:extLst>
                    <a:ext uri="{FF2B5EF4-FFF2-40B4-BE49-F238E27FC236}">
                      <a16:creationId xmlns:a16="http://schemas.microsoft.com/office/drawing/2014/main" id="{16C3437D-9A71-6123-8FA0-BC758AE02BBB}"/>
                    </a:ext>
                  </a:extLst>
                </p:cNvPr>
                <p:cNvSpPr/>
                <p:nvPr/>
              </p:nvSpPr>
              <p:spPr>
                <a:xfrm>
                  <a:off x="5669089" y="2858261"/>
                  <a:ext cx="83820" cy="74866"/>
                </a:xfrm>
                <a:custGeom>
                  <a:avLst/>
                  <a:gdLst>
                    <a:gd name="connsiteX0" fmla="*/ 0 w 83820"/>
                    <a:gd name="connsiteY0" fmla="*/ 0 h 74866"/>
                    <a:gd name="connsiteX1" fmla="*/ 0 w 83820"/>
                    <a:gd name="connsiteY1" fmla="*/ 0 h 74866"/>
                    <a:gd name="connsiteX2" fmla="*/ 6953 w 83820"/>
                    <a:gd name="connsiteY2" fmla="*/ 7811 h 74866"/>
                    <a:gd name="connsiteX3" fmla="*/ 13430 w 83820"/>
                    <a:gd name="connsiteY3" fmla="*/ 15811 h 74866"/>
                    <a:gd name="connsiteX4" fmla="*/ 20574 w 83820"/>
                    <a:gd name="connsiteY4" fmla="*/ 23622 h 74866"/>
                    <a:gd name="connsiteX5" fmla="*/ 26765 w 83820"/>
                    <a:gd name="connsiteY5" fmla="*/ 31909 h 74866"/>
                    <a:gd name="connsiteX6" fmla="*/ 34481 w 83820"/>
                    <a:gd name="connsiteY6" fmla="*/ 38957 h 74866"/>
                    <a:gd name="connsiteX7" fmla="*/ 41148 w 83820"/>
                    <a:gd name="connsiteY7" fmla="*/ 47244 h 74866"/>
                    <a:gd name="connsiteX8" fmla="*/ 48863 w 83820"/>
                    <a:gd name="connsiteY8" fmla="*/ 54007 h 74866"/>
                    <a:gd name="connsiteX9" fmla="*/ 56293 w 83820"/>
                    <a:gd name="connsiteY9" fmla="*/ 61246 h 74866"/>
                    <a:gd name="connsiteX10" fmla="*/ 64960 w 83820"/>
                    <a:gd name="connsiteY10" fmla="*/ 67532 h 74866"/>
                    <a:gd name="connsiteX11" fmla="*/ 74390 w 83820"/>
                    <a:gd name="connsiteY11" fmla="*/ 71819 h 74866"/>
                    <a:gd name="connsiteX12" fmla="*/ 83820 w 83820"/>
                    <a:gd name="connsiteY12" fmla="*/ 74867 h 74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3820" h="74866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3238" y="4001"/>
                        <a:pt x="2762" y="2762"/>
                        <a:pt x="6953" y="7811"/>
                      </a:cubicBezTo>
                      <a:cubicBezTo>
                        <a:pt x="8668" y="10097"/>
                        <a:pt x="10954" y="12859"/>
                        <a:pt x="13430" y="15811"/>
                      </a:cubicBezTo>
                      <a:cubicBezTo>
                        <a:pt x="15621" y="18288"/>
                        <a:pt x="18098" y="20860"/>
                        <a:pt x="20574" y="23622"/>
                      </a:cubicBezTo>
                      <a:cubicBezTo>
                        <a:pt x="22765" y="26098"/>
                        <a:pt x="24289" y="29432"/>
                        <a:pt x="26765" y="31909"/>
                      </a:cubicBezTo>
                      <a:cubicBezTo>
                        <a:pt x="28956" y="34385"/>
                        <a:pt x="32004" y="36385"/>
                        <a:pt x="34481" y="38957"/>
                      </a:cubicBezTo>
                      <a:cubicBezTo>
                        <a:pt x="36957" y="41434"/>
                        <a:pt x="38671" y="44768"/>
                        <a:pt x="41148" y="47244"/>
                      </a:cubicBezTo>
                      <a:cubicBezTo>
                        <a:pt x="43625" y="49530"/>
                        <a:pt x="46387" y="51721"/>
                        <a:pt x="48863" y="54007"/>
                      </a:cubicBezTo>
                      <a:cubicBezTo>
                        <a:pt x="51625" y="56483"/>
                        <a:pt x="53816" y="59246"/>
                        <a:pt x="56293" y="61246"/>
                      </a:cubicBezTo>
                      <a:cubicBezTo>
                        <a:pt x="59246" y="63722"/>
                        <a:pt x="62198" y="65532"/>
                        <a:pt x="64960" y="67532"/>
                      </a:cubicBezTo>
                      <a:cubicBezTo>
                        <a:pt x="67913" y="69533"/>
                        <a:pt x="71438" y="70295"/>
                        <a:pt x="74390" y="71819"/>
                      </a:cubicBezTo>
                      <a:cubicBezTo>
                        <a:pt x="77819" y="73533"/>
                        <a:pt x="80867" y="74867"/>
                        <a:pt x="83820" y="74867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1" name="Freeform: Shape 380">
                  <a:extLst>
                    <a:ext uri="{FF2B5EF4-FFF2-40B4-BE49-F238E27FC236}">
                      <a16:creationId xmlns:a16="http://schemas.microsoft.com/office/drawing/2014/main" id="{3BDF6FF6-9EF0-ABD7-6DC7-CDE663C972A5}"/>
                    </a:ext>
                  </a:extLst>
                </p:cNvPr>
                <p:cNvSpPr/>
                <p:nvPr/>
              </p:nvSpPr>
              <p:spPr>
                <a:xfrm>
                  <a:off x="5751290" y="2913792"/>
                  <a:ext cx="76835" cy="149038"/>
                </a:xfrm>
                <a:custGeom>
                  <a:avLst/>
                  <a:gdLst>
                    <a:gd name="connsiteX0" fmla="*/ 95 w 76835"/>
                    <a:gd name="connsiteY0" fmla="*/ 0 h 149038"/>
                    <a:gd name="connsiteX1" fmla="*/ 95 w 76835"/>
                    <a:gd name="connsiteY1" fmla="*/ 0 h 149038"/>
                    <a:gd name="connsiteX2" fmla="*/ 5334 w 76835"/>
                    <a:gd name="connsiteY2" fmla="*/ 8763 h 149038"/>
                    <a:gd name="connsiteX3" fmla="*/ 10001 w 76835"/>
                    <a:gd name="connsiteY3" fmla="*/ 18098 h 149038"/>
                    <a:gd name="connsiteX4" fmla="*/ 12478 w 76835"/>
                    <a:gd name="connsiteY4" fmla="*/ 28385 h 149038"/>
                    <a:gd name="connsiteX5" fmla="*/ 15240 w 76835"/>
                    <a:gd name="connsiteY5" fmla="*/ 38386 h 149038"/>
                    <a:gd name="connsiteX6" fmla="*/ 15526 w 76835"/>
                    <a:gd name="connsiteY6" fmla="*/ 48673 h 149038"/>
                    <a:gd name="connsiteX7" fmla="*/ 16002 w 76835"/>
                    <a:gd name="connsiteY7" fmla="*/ 59245 h 149038"/>
                    <a:gd name="connsiteX8" fmla="*/ 16764 w 76835"/>
                    <a:gd name="connsiteY8" fmla="*/ 69818 h 149038"/>
                    <a:gd name="connsiteX9" fmla="*/ 20765 w 76835"/>
                    <a:gd name="connsiteY9" fmla="*/ 80105 h 149038"/>
                    <a:gd name="connsiteX10" fmla="*/ 26194 w 76835"/>
                    <a:gd name="connsiteY10" fmla="*/ 89630 h 149038"/>
                    <a:gd name="connsiteX11" fmla="*/ 33338 w 76835"/>
                    <a:gd name="connsiteY11" fmla="*/ 97631 h 149038"/>
                    <a:gd name="connsiteX12" fmla="*/ 41529 w 76835"/>
                    <a:gd name="connsiteY12" fmla="*/ 104870 h 149038"/>
                    <a:gd name="connsiteX13" fmla="*/ 50959 w 76835"/>
                    <a:gd name="connsiteY13" fmla="*/ 110395 h 149038"/>
                    <a:gd name="connsiteX14" fmla="*/ 61817 w 76835"/>
                    <a:gd name="connsiteY14" fmla="*/ 110395 h 149038"/>
                    <a:gd name="connsiteX15" fmla="*/ 70771 w 76835"/>
                    <a:gd name="connsiteY15" fmla="*/ 104584 h 149038"/>
                    <a:gd name="connsiteX16" fmla="*/ 75248 w 76835"/>
                    <a:gd name="connsiteY16" fmla="*/ 94583 h 149038"/>
                    <a:gd name="connsiteX17" fmla="*/ 76772 w 76835"/>
                    <a:gd name="connsiteY17" fmla="*/ 83820 h 149038"/>
                    <a:gd name="connsiteX18" fmla="*/ 76295 w 76835"/>
                    <a:gd name="connsiteY18" fmla="*/ 94583 h 149038"/>
                    <a:gd name="connsiteX19" fmla="*/ 76295 w 76835"/>
                    <a:gd name="connsiteY19" fmla="*/ 105346 h 149038"/>
                    <a:gd name="connsiteX20" fmla="*/ 73533 w 76835"/>
                    <a:gd name="connsiteY20" fmla="*/ 115919 h 149038"/>
                    <a:gd name="connsiteX21" fmla="*/ 70580 w 76835"/>
                    <a:gd name="connsiteY21" fmla="*/ 126492 h 149038"/>
                    <a:gd name="connsiteX22" fmla="*/ 65627 w 76835"/>
                    <a:gd name="connsiteY22" fmla="*/ 136017 h 149038"/>
                    <a:gd name="connsiteX23" fmla="*/ 58483 w 76835"/>
                    <a:gd name="connsiteY23" fmla="*/ 144304 h 149038"/>
                    <a:gd name="connsiteX24" fmla="*/ 48292 w 76835"/>
                    <a:gd name="connsiteY24" fmla="*/ 148114 h 149038"/>
                    <a:gd name="connsiteX25" fmla="*/ 37910 w 76835"/>
                    <a:gd name="connsiteY25" fmla="*/ 148876 h 149038"/>
                    <a:gd name="connsiteX26" fmla="*/ 27242 w 76835"/>
                    <a:gd name="connsiteY26" fmla="*/ 147352 h 149038"/>
                    <a:gd name="connsiteX27" fmla="*/ 17335 w 76835"/>
                    <a:gd name="connsiteY27" fmla="*/ 142875 h 149038"/>
                    <a:gd name="connsiteX28" fmla="*/ 8954 w 76835"/>
                    <a:gd name="connsiteY28" fmla="*/ 136112 h 149038"/>
                    <a:gd name="connsiteX29" fmla="*/ 0 w 76835"/>
                    <a:gd name="connsiteY29" fmla="*/ 129826 h 1490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6835" h="149038">
                      <a:moveTo>
                        <a:pt x="95" y="0"/>
                      </a:moveTo>
                      <a:lnTo>
                        <a:pt x="95" y="0"/>
                      </a:lnTo>
                      <a:cubicBezTo>
                        <a:pt x="2858" y="4286"/>
                        <a:pt x="2858" y="3048"/>
                        <a:pt x="5334" y="8763"/>
                      </a:cubicBezTo>
                      <a:cubicBezTo>
                        <a:pt x="6858" y="11525"/>
                        <a:pt x="8763" y="14573"/>
                        <a:pt x="10001" y="18098"/>
                      </a:cubicBezTo>
                      <a:cubicBezTo>
                        <a:pt x="11240" y="21146"/>
                        <a:pt x="11525" y="24860"/>
                        <a:pt x="12478" y="28385"/>
                      </a:cubicBezTo>
                      <a:cubicBezTo>
                        <a:pt x="13430" y="31432"/>
                        <a:pt x="14478" y="34957"/>
                        <a:pt x="15240" y="38386"/>
                      </a:cubicBezTo>
                      <a:cubicBezTo>
                        <a:pt x="15716" y="41624"/>
                        <a:pt x="15240" y="45148"/>
                        <a:pt x="15526" y="48673"/>
                      </a:cubicBezTo>
                      <a:cubicBezTo>
                        <a:pt x="15526" y="52197"/>
                        <a:pt x="16478" y="55721"/>
                        <a:pt x="16002" y="59245"/>
                      </a:cubicBezTo>
                      <a:cubicBezTo>
                        <a:pt x="15526" y="62484"/>
                        <a:pt x="15526" y="66008"/>
                        <a:pt x="16764" y="69818"/>
                      </a:cubicBezTo>
                      <a:cubicBezTo>
                        <a:pt x="17526" y="73343"/>
                        <a:pt x="18955" y="76581"/>
                        <a:pt x="20765" y="80105"/>
                      </a:cubicBezTo>
                      <a:cubicBezTo>
                        <a:pt x="22289" y="83153"/>
                        <a:pt x="24003" y="86678"/>
                        <a:pt x="26194" y="89630"/>
                      </a:cubicBezTo>
                      <a:cubicBezTo>
                        <a:pt x="28385" y="92393"/>
                        <a:pt x="30861" y="95155"/>
                        <a:pt x="33338" y="97631"/>
                      </a:cubicBezTo>
                      <a:cubicBezTo>
                        <a:pt x="36100" y="100394"/>
                        <a:pt x="38767" y="102870"/>
                        <a:pt x="41529" y="104870"/>
                      </a:cubicBezTo>
                      <a:cubicBezTo>
                        <a:pt x="44768" y="107156"/>
                        <a:pt x="48006" y="109347"/>
                        <a:pt x="50959" y="110395"/>
                      </a:cubicBezTo>
                      <a:cubicBezTo>
                        <a:pt x="54674" y="111633"/>
                        <a:pt x="58674" y="111157"/>
                        <a:pt x="61817" y="110395"/>
                      </a:cubicBezTo>
                      <a:cubicBezTo>
                        <a:pt x="65056" y="109347"/>
                        <a:pt x="68294" y="108109"/>
                        <a:pt x="70771" y="104584"/>
                      </a:cubicBezTo>
                      <a:cubicBezTo>
                        <a:pt x="72485" y="102108"/>
                        <a:pt x="74200" y="98584"/>
                        <a:pt x="75248" y="94583"/>
                      </a:cubicBezTo>
                      <a:cubicBezTo>
                        <a:pt x="76200" y="91345"/>
                        <a:pt x="76486" y="87820"/>
                        <a:pt x="76772" y="83820"/>
                      </a:cubicBezTo>
                      <a:cubicBezTo>
                        <a:pt x="77057" y="87058"/>
                        <a:pt x="76295" y="90583"/>
                        <a:pt x="76295" y="94583"/>
                      </a:cubicBezTo>
                      <a:cubicBezTo>
                        <a:pt x="76010" y="98107"/>
                        <a:pt x="76772" y="101822"/>
                        <a:pt x="76295" y="105346"/>
                      </a:cubicBezTo>
                      <a:cubicBezTo>
                        <a:pt x="75819" y="108871"/>
                        <a:pt x="74581" y="112395"/>
                        <a:pt x="73533" y="115919"/>
                      </a:cubicBezTo>
                      <a:cubicBezTo>
                        <a:pt x="72771" y="119444"/>
                        <a:pt x="71819" y="123158"/>
                        <a:pt x="70580" y="126492"/>
                      </a:cubicBezTo>
                      <a:cubicBezTo>
                        <a:pt x="69056" y="129731"/>
                        <a:pt x="67628" y="133255"/>
                        <a:pt x="65627" y="136017"/>
                      </a:cubicBezTo>
                      <a:cubicBezTo>
                        <a:pt x="63627" y="139256"/>
                        <a:pt x="61151" y="142018"/>
                        <a:pt x="58483" y="144304"/>
                      </a:cubicBezTo>
                      <a:cubicBezTo>
                        <a:pt x="55531" y="146590"/>
                        <a:pt x="52006" y="147066"/>
                        <a:pt x="48292" y="148114"/>
                      </a:cubicBezTo>
                      <a:cubicBezTo>
                        <a:pt x="45053" y="149162"/>
                        <a:pt x="41815" y="149162"/>
                        <a:pt x="37910" y="148876"/>
                      </a:cubicBezTo>
                      <a:cubicBezTo>
                        <a:pt x="34671" y="148400"/>
                        <a:pt x="30956" y="148590"/>
                        <a:pt x="27242" y="147352"/>
                      </a:cubicBezTo>
                      <a:cubicBezTo>
                        <a:pt x="24289" y="146114"/>
                        <a:pt x="20765" y="144875"/>
                        <a:pt x="17335" y="142875"/>
                      </a:cubicBezTo>
                      <a:cubicBezTo>
                        <a:pt x="14573" y="141161"/>
                        <a:pt x="12097" y="138398"/>
                        <a:pt x="8954" y="136112"/>
                      </a:cubicBezTo>
                      <a:cubicBezTo>
                        <a:pt x="6191" y="134112"/>
                        <a:pt x="3048" y="132302"/>
                        <a:pt x="0" y="12982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2" name="Freeform: Shape 381">
                  <a:extLst>
                    <a:ext uri="{FF2B5EF4-FFF2-40B4-BE49-F238E27FC236}">
                      <a16:creationId xmlns:a16="http://schemas.microsoft.com/office/drawing/2014/main" id="{D941750B-3814-464E-7EFE-07EFB856736C}"/>
                    </a:ext>
                  </a:extLst>
                </p:cNvPr>
                <p:cNvSpPr/>
                <p:nvPr/>
              </p:nvSpPr>
              <p:spPr>
                <a:xfrm>
                  <a:off x="5673756" y="3032759"/>
                  <a:ext cx="13906" cy="37433"/>
                </a:xfrm>
                <a:custGeom>
                  <a:avLst/>
                  <a:gdLst>
                    <a:gd name="connsiteX0" fmla="*/ 13906 w 13906"/>
                    <a:gd name="connsiteY0" fmla="*/ 0 h 37433"/>
                    <a:gd name="connsiteX1" fmla="*/ 13906 w 13906"/>
                    <a:gd name="connsiteY1" fmla="*/ 0 h 37433"/>
                    <a:gd name="connsiteX2" fmla="*/ 8192 w 13906"/>
                    <a:gd name="connsiteY2" fmla="*/ 8763 h 37433"/>
                    <a:gd name="connsiteX3" fmla="*/ 1715 w 13906"/>
                    <a:gd name="connsiteY3" fmla="*/ 17335 h 37433"/>
                    <a:gd name="connsiteX4" fmla="*/ 0 w 13906"/>
                    <a:gd name="connsiteY4" fmla="*/ 27908 h 37433"/>
                    <a:gd name="connsiteX5" fmla="*/ 3715 w 13906"/>
                    <a:gd name="connsiteY5" fmla="*/ 37433 h 374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906" h="37433">
                      <a:moveTo>
                        <a:pt x="13906" y="0"/>
                      </a:moveTo>
                      <a:lnTo>
                        <a:pt x="13906" y="0"/>
                      </a:lnTo>
                      <a:cubicBezTo>
                        <a:pt x="10477" y="4001"/>
                        <a:pt x="11430" y="4001"/>
                        <a:pt x="8192" y="8763"/>
                      </a:cubicBezTo>
                      <a:cubicBezTo>
                        <a:pt x="6191" y="11525"/>
                        <a:pt x="3239" y="14002"/>
                        <a:pt x="1715" y="17335"/>
                      </a:cubicBezTo>
                      <a:cubicBezTo>
                        <a:pt x="191" y="20860"/>
                        <a:pt x="0" y="24575"/>
                        <a:pt x="0" y="27908"/>
                      </a:cubicBezTo>
                      <a:cubicBezTo>
                        <a:pt x="0" y="31433"/>
                        <a:pt x="476" y="34957"/>
                        <a:pt x="3715" y="37433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3" name="Freeform: Shape 382">
                  <a:extLst>
                    <a:ext uri="{FF2B5EF4-FFF2-40B4-BE49-F238E27FC236}">
                      <a16:creationId xmlns:a16="http://schemas.microsoft.com/office/drawing/2014/main" id="{41EFE846-15C8-12E0-46F5-73CDDFEEC194}"/>
                    </a:ext>
                  </a:extLst>
                </p:cNvPr>
                <p:cNvSpPr/>
                <p:nvPr/>
              </p:nvSpPr>
              <p:spPr>
                <a:xfrm>
                  <a:off x="5568410" y="2940748"/>
                  <a:ext cx="82391" cy="112891"/>
                </a:xfrm>
                <a:custGeom>
                  <a:avLst/>
                  <a:gdLst>
                    <a:gd name="connsiteX0" fmla="*/ 82391 w 82391"/>
                    <a:gd name="connsiteY0" fmla="*/ 74962 h 112891"/>
                    <a:gd name="connsiteX1" fmla="*/ 82391 w 82391"/>
                    <a:gd name="connsiteY1" fmla="*/ 74962 h 112891"/>
                    <a:gd name="connsiteX2" fmla="*/ 71533 w 82391"/>
                    <a:gd name="connsiteY2" fmla="*/ 76962 h 112891"/>
                    <a:gd name="connsiteX3" fmla="*/ 60865 w 82391"/>
                    <a:gd name="connsiteY3" fmla="*/ 80010 h 112891"/>
                    <a:gd name="connsiteX4" fmla="*/ 50197 w 82391"/>
                    <a:gd name="connsiteY4" fmla="*/ 83534 h 112891"/>
                    <a:gd name="connsiteX5" fmla="*/ 39529 w 82391"/>
                    <a:gd name="connsiteY5" fmla="*/ 86773 h 112891"/>
                    <a:gd name="connsiteX6" fmla="*/ 33814 w 82391"/>
                    <a:gd name="connsiteY6" fmla="*/ 78772 h 112891"/>
                    <a:gd name="connsiteX7" fmla="*/ 29623 w 82391"/>
                    <a:gd name="connsiteY7" fmla="*/ 68961 h 112891"/>
                    <a:gd name="connsiteX8" fmla="*/ 25622 w 82391"/>
                    <a:gd name="connsiteY8" fmla="*/ 58960 h 112891"/>
                    <a:gd name="connsiteX9" fmla="*/ 21146 w 82391"/>
                    <a:gd name="connsiteY9" fmla="*/ 49435 h 112891"/>
                    <a:gd name="connsiteX10" fmla="*/ 17717 w 82391"/>
                    <a:gd name="connsiteY10" fmla="*/ 39148 h 112891"/>
                    <a:gd name="connsiteX11" fmla="*/ 14764 w 82391"/>
                    <a:gd name="connsiteY11" fmla="*/ 28861 h 112891"/>
                    <a:gd name="connsiteX12" fmla="*/ 9811 w 82391"/>
                    <a:gd name="connsiteY12" fmla="*/ 19336 h 112891"/>
                    <a:gd name="connsiteX13" fmla="*/ 6382 w 82391"/>
                    <a:gd name="connsiteY13" fmla="*/ 9525 h 112891"/>
                    <a:gd name="connsiteX14" fmla="*/ 2191 w 82391"/>
                    <a:gd name="connsiteY14" fmla="*/ 0 h 112891"/>
                    <a:gd name="connsiteX15" fmla="*/ 0 w 82391"/>
                    <a:gd name="connsiteY15" fmla="*/ 10763 h 112891"/>
                    <a:gd name="connsiteX16" fmla="*/ 476 w 82391"/>
                    <a:gd name="connsiteY16" fmla="*/ 22098 h 112891"/>
                    <a:gd name="connsiteX17" fmla="*/ 2191 w 82391"/>
                    <a:gd name="connsiteY17" fmla="*/ 33147 h 112891"/>
                    <a:gd name="connsiteX18" fmla="*/ 4191 w 82391"/>
                    <a:gd name="connsiteY18" fmla="*/ 44196 h 112891"/>
                    <a:gd name="connsiteX19" fmla="*/ 5144 w 82391"/>
                    <a:gd name="connsiteY19" fmla="*/ 55531 h 112891"/>
                    <a:gd name="connsiteX20" fmla="*/ 8096 w 82391"/>
                    <a:gd name="connsiteY20" fmla="*/ 66294 h 112891"/>
                    <a:gd name="connsiteX21" fmla="*/ 11049 w 82391"/>
                    <a:gd name="connsiteY21" fmla="*/ 77057 h 112891"/>
                    <a:gd name="connsiteX22" fmla="*/ 14288 w 82391"/>
                    <a:gd name="connsiteY22" fmla="*/ 87820 h 112891"/>
                    <a:gd name="connsiteX23" fmla="*/ 17526 w 82391"/>
                    <a:gd name="connsiteY23" fmla="*/ 98584 h 112891"/>
                    <a:gd name="connsiteX24" fmla="*/ 22765 w 82391"/>
                    <a:gd name="connsiteY24" fmla="*/ 108585 h 112891"/>
                    <a:gd name="connsiteX25" fmla="*/ 33433 w 82391"/>
                    <a:gd name="connsiteY25" fmla="*/ 111347 h 112891"/>
                    <a:gd name="connsiteX26" fmla="*/ 44101 w 82391"/>
                    <a:gd name="connsiteY26" fmla="*/ 112871 h 112891"/>
                    <a:gd name="connsiteX27" fmla="*/ 54959 w 82391"/>
                    <a:gd name="connsiteY27" fmla="*/ 111824 h 112891"/>
                    <a:gd name="connsiteX28" fmla="*/ 65818 w 82391"/>
                    <a:gd name="connsiteY28" fmla="*/ 109823 h 112891"/>
                    <a:gd name="connsiteX29" fmla="*/ 76486 w 82391"/>
                    <a:gd name="connsiteY29" fmla="*/ 107537 h 112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82391" h="112891">
                      <a:moveTo>
                        <a:pt x="82391" y="74962"/>
                      </a:moveTo>
                      <a:lnTo>
                        <a:pt x="82391" y="74962"/>
                      </a:lnTo>
                      <a:cubicBezTo>
                        <a:pt x="76962" y="76200"/>
                        <a:pt x="77724" y="75724"/>
                        <a:pt x="71533" y="76962"/>
                      </a:cubicBezTo>
                      <a:cubicBezTo>
                        <a:pt x="68294" y="77724"/>
                        <a:pt x="64579" y="78962"/>
                        <a:pt x="60865" y="80010"/>
                      </a:cubicBezTo>
                      <a:cubicBezTo>
                        <a:pt x="57150" y="80772"/>
                        <a:pt x="53721" y="82487"/>
                        <a:pt x="50197" y="83534"/>
                      </a:cubicBezTo>
                      <a:cubicBezTo>
                        <a:pt x="45244" y="85058"/>
                        <a:pt x="40767" y="85534"/>
                        <a:pt x="39529" y="86773"/>
                      </a:cubicBezTo>
                      <a:cubicBezTo>
                        <a:pt x="38767" y="87535"/>
                        <a:pt x="36576" y="84487"/>
                        <a:pt x="33814" y="78772"/>
                      </a:cubicBezTo>
                      <a:cubicBezTo>
                        <a:pt x="32575" y="76009"/>
                        <a:pt x="31052" y="72485"/>
                        <a:pt x="29623" y="68961"/>
                      </a:cubicBezTo>
                      <a:cubicBezTo>
                        <a:pt x="28384" y="65723"/>
                        <a:pt x="27146" y="62389"/>
                        <a:pt x="25622" y="58960"/>
                      </a:cubicBezTo>
                      <a:cubicBezTo>
                        <a:pt x="24384" y="55912"/>
                        <a:pt x="22384" y="52673"/>
                        <a:pt x="21146" y="49435"/>
                      </a:cubicBezTo>
                      <a:cubicBezTo>
                        <a:pt x="19621" y="46196"/>
                        <a:pt x="18955" y="42672"/>
                        <a:pt x="17717" y="39148"/>
                      </a:cubicBezTo>
                      <a:cubicBezTo>
                        <a:pt x="16478" y="35909"/>
                        <a:pt x="16002" y="32099"/>
                        <a:pt x="14764" y="28861"/>
                      </a:cubicBezTo>
                      <a:cubicBezTo>
                        <a:pt x="13525" y="25336"/>
                        <a:pt x="11049" y="22574"/>
                        <a:pt x="9811" y="19336"/>
                      </a:cubicBezTo>
                      <a:cubicBezTo>
                        <a:pt x="8287" y="15811"/>
                        <a:pt x="7334" y="12287"/>
                        <a:pt x="6382" y="9525"/>
                      </a:cubicBezTo>
                      <a:cubicBezTo>
                        <a:pt x="3905" y="3715"/>
                        <a:pt x="2667" y="191"/>
                        <a:pt x="2191" y="0"/>
                      </a:cubicBezTo>
                      <a:cubicBezTo>
                        <a:pt x="952" y="1524"/>
                        <a:pt x="0" y="5239"/>
                        <a:pt x="0" y="10763"/>
                      </a:cubicBezTo>
                      <a:cubicBezTo>
                        <a:pt x="0" y="14002"/>
                        <a:pt x="0" y="17812"/>
                        <a:pt x="476" y="22098"/>
                      </a:cubicBezTo>
                      <a:cubicBezTo>
                        <a:pt x="762" y="25622"/>
                        <a:pt x="1715" y="29146"/>
                        <a:pt x="2191" y="33147"/>
                      </a:cubicBezTo>
                      <a:cubicBezTo>
                        <a:pt x="2667" y="36671"/>
                        <a:pt x="3429" y="40386"/>
                        <a:pt x="4191" y="44196"/>
                      </a:cubicBezTo>
                      <a:cubicBezTo>
                        <a:pt x="4667" y="48006"/>
                        <a:pt x="4477" y="51721"/>
                        <a:pt x="5144" y="55531"/>
                      </a:cubicBezTo>
                      <a:cubicBezTo>
                        <a:pt x="5620" y="59341"/>
                        <a:pt x="7334" y="62770"/>
                        <a:pt x="8096" y="66294"/>
                      </a:cubicBezTo>
                      <a:cubicBezTo>
                        <a:pt x="8858" y="70104"/>
                        <a:pt x="10287" y="73533"/>
                        <a:pt x="11049" y="77057"/>
                      </a:cubicBezTo>
                      <a:cubicBezTo>
                        <a:pt x="12002" y="80867"/>
                        <a:pt x="13049" y="84582"/>
                        <a:pt x="14288" y="87820"/>
                      </a:cubicBezTo>
                      <a:cubicBezTo>
                        <a:pt x="15526" y="91821"/>
                        <a:pt x="16288" y="95631"/>
                        <a:pt x="17526" y="98584"/>
                      </a:cubicBezTo>
                      <a:cubicBezTo>
                        <a:pt x="19526" y="103061"/>
                        <a:pt x="20765" y="106870"/>
                        <a:pt x="22765" y="108585"/>
                      </a:cubicBezTo>
                      <a:cubicBezTo>
                        <a:pt x="25241" y="110871"/>
                        <a:pt x="29242" y="110585"/>
                        <a:pt x="33433" y="111347"/>
                      </a:cubicBezTo>
                      <a:cubicBezTo>
                        <a:pt x="36671" y="111824"/>
                        <a:pt x="40386" y="113062"/>
                        <a:pt x="44101" y="112871"/>
                      </a:cubicBezTo>
                      <a:cubicBezTo>
                        <a:pt x="47815" y="112871"/>
                        <a:pt x="51530" y="112109"/>
                        <a:pt x="54959" y="111824"/>
                      </a:cubicBezTo>
                      <a:cubicBezTo>
                        <a:pt x="58960" y="111347"/>
                        <a:pt x="62675" y="110300"/>
                        <a:pt x="65818" y="109823"/>
                      </a:cubicBezTo>
                      <a:cubicBezTo>
                        <a:pt x="72009" y="108585"/>
                        <a:pt x="71247" y="109061"/>
                        <a:pt x="76486" y="107537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4" name="Freeform: Shape 383">
                  <a:extLst>
                    <a:ext uri="{FF2B5EF4-FFF2-40B4-BE49-F238E27FC236}">
                      <a16:creationId xmlns:a16="http://schemas.microsoft.com/office/drawing/2014/main" id="{FE1701F4-3F9A-176F-0459-32402D7A7544}"/>
                    </a:ext>
                  </a:extLst>
                </p:cNvPr>
                <p:cNvSpPr/>
                <p:nvPr/>
              </p:nvSpPr>
              <p:spPr>
                <a:xfrm>
                  <a:off x="5717666" y="3019425"/>
                  <a:ext cx="76962" cy="169925"/>
                </a:xfrm>
                <a:custGeom>
                  <a:avLst/>
                  <a:gdLst>
                    <a:gd name="connsiteX0" fmla="*/ 8668 w 76962"/>
                    <a:gd name="connsiteY0" fmla="*/ 0 h 169925"/>
                    <a:gd name="connsiteX1" fmla="*/ 8668 w 76962"/>
                    <a:gd name="connsiteY1" fmla="*/ 0 h 169925"/>
                    <a:gd name="connsiteX2" fmla="*/ 15335 w 76962"/>
                    <a:gd name="connsiteY2" fmla="*/ 8001 h 169925"/>
                    <a:gd name="connsiteX3" fmla="*/ 22003 w 76962"/>
                    <a:gd name="connsiteY3" fmla="*/ 16002 h 169925"/>
                    <a:gd name="connsiteX4" fmla="*/ 28670 w 76962"/>
                    <a:gd name="connsiteY4" fmla="*/ 24003 h 169925"/>
                    <a:gd name="connsiteX5" fmla="*/ 34100 w 76962"/>
                    <a:gd name="connsiteY5" fmla="*/ 32766 h 169925"/>
                    <a:gd name="connsiteX6" fmla="*/ 40767 w 76962"/>
                    <a:gd name="connsiteY6" fmla="*/ 40767 h 169925"/>
                    <a:gd name="connsiteX7" fmla="*/ 47720 w 76962"/>
                    <a:gd name="connsiteY7" fmla="*/ 48578 h 169925"/>
                    <a:gd name="connsiteX8" fmla="*/ 53435 w 76962"/>
                    <a:gd name="connsiteY8" fmla="*/ 57626 h 169925"/>
                    <a:gd name="connsiteX9" fmla="*/ 59912 w 76962"/>
                    <a:gd name="connsiteY9" fmla="*/ 65627 h 169925"/>
                    <a:gd name="connsiteX10" fmla="*/ 66104 w 76962"/>
                    <a:gd name="connsiteY10" fmla="*/ 74200 h 169925"/>
                    <a:gd name="connsiteX11" fmla="*/ 71533 w 76962"/>
                    <a:gd name="connsiteY11" fmla="*/ 82963 h 169925"/>
                    <a:gd name="connsiteX12" fmla="*/ 76962 w 76962"/>
                    <a:gd name="connsiteY12" fmla="*/ 91726 h 169925"/>
                    <a:gd name="connsiteX13" fmla="*/ 72485 w 76962"/>
                    <a:gd name="connsiteY13" fmla="*/ 102299 h 169925"/>
                    <a:gd name="connsiteX14" fmla="*/ 67056 w 76962"/>
                    <a:gd name="connsiteY14" fmla="*/ 112586 h 169925"/>
                    <a:gd name="connsiteX15" fmla="*/ 61341 w 76962"/>
                    <a:gd name="connsiteY15" fmla="*/ 122587 h 169925"/>
                    <a:gd name="connsiteX16" fmla="*/ 55912 w 76962"/>
                    <a:gd name="connsiteY16" fmla="*/ 132588 h 169925"/>
                    <a:gd name="connsiteX17" fmla="*/ 50197 w 76962"/>
                    <a:gd name="connsiteY17" fmla="*/ 142589 h 169925"/>
                    <a:gd name="connsiteX18" fmla="*/ 43720 w 76962"/>
                    <a:gd name="connsiteY18" fmla="*/ 152400 h 169925"/>
                    <a:gd name="connsiteX19" fmla="*/ 37052 w 76962"/>
                    <a:gd name="connsiteY19" fmla="*/ 161735 h 169925"/>
                    <a:gd name="connsiteX20" fmla="*/ 29623 w 76962"/>
                    <a:gd name="connsiteY20" fmla="*/ 169736 h 169925"/>
                    <a:gd name="connsiteX21" fmla="*/ 30575 w 76962"/>
                    <a:gd name="connsiteY21" fmla="*/ 160687 h 169925"/>
                    <a:gd name="connsiteX22" fmla="*/ 32290 w 76962"/>
                    <a:gd name="connsiteY22" fmla="*/ 150114 h 169925"/>
                    <a:gd name="connsiteX23" fmla="*/ 35243 w 76962"/>
                    <a:gd name="connsiteY23" fmla="*/ 139541 h 169925"/>
                    <a:gd name="connsiteX24" fmla="*/ 36767 w 76962"/>
                    <a:gd name="connsiteY24" fmla="*/ 128492 h 169925"/>
                    <a:gd name="connsiteX25" fmla="*/ 40958 w 76962"/>
                    <a:gd name="connsiteY25" fmla="*/ 118491 h 169925"/>
                    <a:gd name="connsiteX26" fmla="*/ 43720 w 76962"/>
                    <a:gd name="connsiteY26" fmla="*/ 107918 h 169925"/>
                    <a:gd name="connsiteX27" fmla="*/ 46958 w 76962"/>
                    <a:gd name="connsiteY27" fmla="*/ 97346 h 169925"/>
                    <a:gd name="connsiteX28" fmla="*/ 49435 w 76962"/>
                    <a:gd name="connsiteY28" fmla="*/ 86773 h 169925"/>
                    <a:gd name="connsiteX29" fmla="*/ 42767 w 76962"/>
                    <a:gd name="connsiteY29" fmla="*/ 78962 h 169925"/>
                    <a:gd name="connsiteX30" fmla="*/ 36100 w 76962"/>
                    <a:gd name="connsiteY30" fmla="*/ 71152 h 169925"/>
                    <a:gd name="connsiteX31" fmla="*/ 28670 w 76962"/>
                    <a:gd name="connsiteY31" fmla="*/ 63913 h 169925"/>
                    <a:gd name="connsiteX32" fmla="*/ 21527 w 76962"/>
                    <a:gd name="connsiteY32" fmla="*/ 56674 h 169925"/>
                    <a:gd name="connsiteX33" fmla="*/ 13621 w 76962"/>
                    <a:gd name="connsiteY33" fmla="*/ 49911 h 169925"/>
                    <a:gd name="connsiteX34" fmla="*/ 7715 w 76962"/>
                    <a:gd name="connsiteY34" fmla="*/ 41339 h 169925"/>
                    <a:gd name="connsiteX35" fmla="*/ 0 w 76962"/>
                    <a:gd name="connsiteY35" fmla="*/ 34576 h 169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76962" h="169925">
                      <a:moveTo>
                        <a:pt x="8668" y="0"/>
                      </a:moveTo>
                      <a:lnTo>
                        <a:pt x="8668" y="0"/>
                      </a:lnTo>
                      <a:cubicBezTo>
                        <a:pt x="11906" y="4286"/>
                        <a:pt x="11430" y="3048"/>
                        <a:pt x="15335" y="8001"/>
                      </a:cubicBezTo>
                      <a:cubicBezTo>
                        <a:pt x="17050" y="10287"/>
                        <a:pt x="19526" y="13049"/>
                        <a:pt x="22003" y="16002"/>
                      </a:cubicBezTo>
                      <a:cubicBezTo>
                        <a:pt x="24003" y="18479"/>
                        <a:pt x="26194" y="21050"/>
                        <a:pt x="28670" y="24003"/>
                      </a:cubicBezTo>
                      <a:cubicBezTo>
                        <a:pt x="30671" y="26480"/>
                        <a:pt x="31909" y="30004"/>
                        <a:pt x="34100" y="32766"/>
                      </a:cubicBezTo>
                      <a:cubicBezTo>
                        <a:pt x="36100" y="35528"/>
                        <a:pt x="38576" y="38005"/>
                        <a:pt x="40767" y="40767"/>
                      </a:cubicBezTo>
                      <a:cubicBezTo>
                        <a:pt x="42767" y="43529"/>
                        <a:pt x="45720" y="45815"/>
                        <a:pt x="47720" y="48578"/>
                      </a:cubicBezTo>
                      <a:cubicBezTo>
                        <a:pt x="49911" y="51340"/>
                        <a:pt x="51149" y="54864"/>
                        <a:pt x="53435" y="57626"/>
                      </a:cubicBezTo>
                      <a:cubicBezTo>
                        <a:pt x="55435" y="60389"/>
                        <a:pt x="57912" y="63151"/>
                        <a:pt x="59912" y="65627"/>
                      </a:cubicBezTo>
                      <a:cubicBezTo>
                        <a:pt x="61913" y="68675"/>
                        <a:pt x="64103" y="71438"/>
                        <a:pt x="66104" y="74200"/>
                      </a:cubicBezTo>
                      <a:cubicBezTo>
                        <a:pt x="68294" y="77438"/>
                        <a:pt x="69818" y="80486"/>
                        <a:pt x="71533" y="82963"/>
                      </a:cubicBezTo>
                      <a:cubicBezTo>
                        <a:pt x="74771" y="87725"/>
                        <a:pt x="76962" y="90773"/>
                        <a:pt x="76962" y="91726"/>
                      </a:cubicBezTo>
                      <a:cubicBezTo>
                        <a:pt x="76962" y="92774"/>
                        <a:pt x="75248" y="96774"/>
                        <a:pt x="72485" y="102299"/>
                      </a:cubicBezTo>
                      <a:cubicBezTo>
                        <a:pt x="70961" y="105347"/>
                        <a:pt x="69056" y="108871"/>
                        <a:pt x="67056" y="112586"/>
                      </a:cubicBezTo>
                      <a:cubicBezTo>
                        <a:pt x="65342" y="115633"/>
                        <a:pt x="63341" y="119158"/>
                        <a:pt x="61341" y="122587"/>
                      </a:cubicBezTo>
                      <a:cubicBezTo>
                        <a:pt x="59627" y="125825"/>
                        <a:pt x="57912" y="129350"/>
                        <a:pt x="55912" y="132588"/>
                      </a:cubicBezTo>
                      <a:cubicBezTo>
                        <a:pt x="53912" y="136112"/>
                        <a:pt x="52197" y="139351"/>
                        <a:pt x="50197" y="142589"/>
                      </a:cubicBezTo>
                      <a:cubicBezTo>
                        <a:pt x="48006" y="146114"/>
                        <a:pt x="45720" y="149162"/>
                        <a:pt x="43720" y="152400"/>
                      </a:cubicBezTo>
                      <a:cubicBezTo>
                        <a:pt x="41529" y="155924"/>
                        <a:pt x="39052" y="158972"/>
                        <a:pt x="37052" y="161735"/>
                      </a:cubicBezTo>
                      <a:cubicBezTo>
                        <a:pt x="33623" y="166497"/>
                        <a:pt x="30861" y="169259"/>
                        <a:pt x="29623" y="169736"/>
                      </a:cubicBezTo>
                      <a:cubicBezTo>
                        <a:pt x="27908" y="170783"/>
                        <a:pt x="29337" y="167450"/>
                        <a:pt x="30575" y="160687"/>
                      </a:cubicBezTo>
                      <a:cubicBezTo>
                        <a:pt x="31052" y="157639"/>
                        <a:pt x="31528" y="153924"/>
                        <a:pt x="32290" y="150114"/>
                      </a:cubicBezTo>
                      <a:cubicBezTo>
                        <a:pt x="33242" y="146590"/>
                        <a:pt x="34290" y="143066"/>
                        <a:pt x="35243" y="139541"/>
                      </a:cubicBezTo>
                      <a:cubicBezTo>
                        <a:pt x="36004" y="136017"/>
                        <a:pt x="36004" y="132302"/>
                        <a:pt x="36767" y="128492"/>
                      </a:cubicBezTo>
                      <a:cubicBezTo>
                        <a:pt x="37719" y="124968"/>
                        <a:pt x="40005" y="121920"/>
                        <a:pt x="40958" y="118491"/>
                      </a:cubicBezTo>
                      <a:cubicBezTo>
                        <a:pt x="41910" y="114681"/>
                        <a:pt x="42672" y="111252"/>
                        <a:pt x="43720" y="107918"/>
                      </a:cubicBezTo>
                      <a:cubicBezTo>
                        <a:pt x="44672" y="103918"/>
                        <a:pt x="46196" y="100394"/>
                        <a:pt x="46958" y="97346"/>
                      </a:cubicBezTo>
                      <a:cubicBezTo>
                        <a:pt x="48958" y="91059"/>
                        <a:pt x="51911" y="91821"/>
                        <a:pt x="49435" y="86773"/>
                      </a:cubicBezTo>
                      <a:cubicBezTo>
                        <a:pt x="47244" y="82296"/>
                        <a:pt x="46196" y="82772"/>
                        <a:pt x="42767" y="78962"/>
                      </a:cubicBezTo>
                      <a:cubicBezTo>
                        <a:pt x="39338" y="75152"/>
                        <a:pt x="39529" y="74962"/>
                        <a:pt x="36100" y="71152"/>
                      </a:cubicBezTo>
                      <a:cubicBezTo>
                        <a:pt x="32385" y="67342"/>
                        <a:pt x="32385" y="67628"/>
                        <a:pt x="28670" y="63913"/>
                      </a:cubicBezTo>
                      <a:cubicBezTo>
                        <a:pt x="25241" y="60103"/>
                        <a:pt x="24956" y="60389"/>
                        <a:pt x="21527" y="56674"/>
                      </a:cubicBezTo>
                      <a:cubicBezTo>
                        <a:pt x="18098" y="52864"/>
                        <a:pt x="17335" y="53626"/>
                        <a:pt x="13621" y="49911"/>
                      </a:cubicBezTo>
                      <a:cubicBezTo>
                        <a:pt x="10192" y="46101"/>
                        <a:pt x="11430" y="45148"/>
                        <a:pt x="7715" y="41339"/>
                      </a:cubicBezTo>
                      <a:cubicBezTo>
                        <a:pt x="4286" y="37529"/>
                        <a:pt x="3524" y="38291"/>
                        <a:pt x="0" y="3457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5" name="Freeform: Shape 384">
                  <a:extLst>
                    <a:ext uri="{FF2B5EF4-FFF2-40B4-BE49-F238E27FC236}">
                      <a16:creationId xmlns:a16="http://schemas.microsoft.com/office/drawing/2014/main" id="{6D396398-053F-9BDB-8AD9-E9B988B5E1BD}"/>
                    </a:ext>
                  </a:extLst>
                </p:cNvPr>
                <p:cNvSpPr/>
                <p:nvPr/>
              </p:nvSpPr>
              <p:spPr>
                <a:xfrm>
                  <a:off x="5632189" y="2852279"/>
                  <a:ext cx="120645" cy="163483"/>
                </a:xfrm>
                <a:custGeom>
                  <a:avLst/>
                  <a:gdLst>
                    <a:gd name="connsiteX0" fmla="*/ 120434 w 120645"/>
                    <a:gd name="connsiteY0" fmla="*/ 81611 h 163483"/>
                    <a:gd name="connsiteX1" fmla="*/ 120434 w 120645"/>
                    <a:gd name="connsiteY1" fmla="*/ 81611 h 163483"/>
                    <a:gd name="connsiteX2" fmla="*/ 119958 w 120645"/>
                    <a:gd name="connsiteY2" fmla="*/ 92946 h 163483"/>
                    <a:gd name="connsiteX3" fmla="*/ 118720 w 120645"/>
                    <a:gd name="connsiteY3" fmla="*/ 104281 h 163483"/>
                    <a:gd name="connsiteX4" fmla="*/ 115957 w 120645"/>
                    <a:gd name="connsiteY4" fmla="*/ 115044 h 163483"/>
                    <a:gd name="connsiteX5" fmla="*/ 110719 w 120645"/>
                    <a:gd name="connsiteY5" fmla="*/ 125045 h 163483"/>
                    <a:gd name="connsiteX6" fmla="*/ 105289 w 120645"/>
                    <a:gd name="connsiteY6" fmla="*/ 134856 h 163483"/>
                    <a:gd name="connsiteX7" fmla="*/ 99384 w 120645"/>
                    <a:gd name="connsiteY7" fmla="*/ 144381 h 163483"/>
                    <a:gd name="connsiteX8" fmla="*/ 90716 w 120645"/>
                    <a:gd name="connsiteY8" fmla="*/ 151620 h 163483"/>
                    <a:gd name="connsiteX9" fmla="*/ 81572 w 120645"/>
                    <a:gd name="connsiteY9" fmla="*/ 157906 h 163483"/>
                    <a:gd name="connsiteX10" fmla="*/ 71666 w 120645"/>
                    <a:gd name="connsiteY10" fmla="*/ 162955 h 163483"/>
                    <a:gd name="connsiteX11" fmla="*/ 60236 w 120645"/>
                    <a:gd name="connsiteY11" fmla="*/ 163431 h 163483"/>
                    <a:gd name="connsiteX12" fmla="*/ 49378 w 120645"/>
                    <a:gd name="connsiteY12" fmla="*/ 161431 h 163483"/>
                    <a:gd name="connsiteX13" fmla="*/ 39186 w 120645"/>
                    <a:gd name="connsiteY13" fmla="*/ 157430 h 163483"/>
                    <a:gd name="connsiteX14" fmla="*/ 29566 w 120645"/>
                    <a:gd name="connsiteY14" fmla="*/ 152191 h 163483"/>
                    <a:gd name="connsiteX15" fmla="*/ 22136 w 120645"/>
                    <a:gd name="connsiteY15" fmla="*/ 143905 h 163483"/>
                    <a:gd name="connsiteX16" fmla="*/ 14707 w 120645"/>
                    <a:gd name="connsiteY16" fmla="*/ 135332 h 163483"/>
                    <a:gd name="connsiteX17" fmla="*/ 8992 w 120645"/>
                    <a:gd name="connsiteY17" fmla="*/ 125521 h 163483"/>
                    <a:gd name="connsiteX18" fmla="*/ 5277 w 120645"/>
                    <a:gd name="connsiteY18" fmla="*/ 114949 h 163483"/>
                    <a:gd name="connsiteX19" fmla="*/ 2324 w 120645"/>
                    <a:gd name="connsiteY19" fmla="*/ 103900 h 163483"/>
                    <a:gd name="connsiteX20" fmla="*/ 133 w 120645"/>
                    <a:gd name="connsiteY20" fmla="*/ 92851 h 163483"/>
                    <a:gd name="connsiteX21" fmla="*/ 610 w 120645"/>
                    <a:gd name="connsiteY21" fmla="*/ 81516 h 163483"/>
                    <a:gd name="connsiteX22" fmla="*/ 133 w 120645"/>
                    <a:gd name="connsiteY22" fmla="*/ 70181 h 163483"/>
                    <a:gd name="connsiteX23" fmla="*/ 1848 w 120645"/>
                    <a:gd name="connsiteY23" fmla="*/ 58846 h 163483"/>
                    <a:gd name="connsiteX24" fmla="*/ 5563 w 120645"/>
                    <a:gd name="connsiteY24" fmla="*/ 48274 h 163483"/>
                    <a:gd name="connsiteX25" fmla="*/ 9563 w 120645"/>
                    <a:gd name="connsiteY25" fmla="*/ 37701 h 163483"/>
                    <a:gd name="connsiteX26" fmla="*/ 15278 w 120645"/>
                    <a:gd name="connsiteY26" fmla="*/ 27890 h 163483"/>
                    <a:gd name="connsiteX27" fmla="*/ 21946 w 120645"/>
                    <a:gd name="connsiteY27" fmla="*/ 18841 h 163483"/>
                    <a:gd name="connsiteX28" fmla="*/ 29851 w 120645"/>
                    <a:gd name="connsiteY28" fmla="*/ 11317 h 163483"/>
                    <a:gd name="connsiteX29" fmla="*/ 38805 w 120645"/>
                    <a:gd name="connsiteY29" fmla="*/ 4554 h 163483"/>
                    <a:gd name="connsiteX30" fmla="*/ 49473 w 120645"/>
                    <a:gd name="connsiteY30" fmla="*/ 1506 h 163483"/>
                    <a:gd name="connsiteX31" fmla="*/ 60331 w 120645"/>
                    <a:gd name="connsiteY31" fmla="*/ 268 h 163483"/>
                    <a:gd name="connsiteX32" fmla="*/ 71476 w 120645"/>
                    <a:gd name="connsiteY32" fmla="*/ 553 h 163483"/>
                    <a:gd name="connsiteX33" fmla="*/ 81858 w 120645"/>
                    <a:gd name="connsiteY33" fmla="*/ 4840 h 163483"/>
                    <a:gd name="connsiteX34" fmla="*/ 91288 w 120645"/>
                    <a:gd name="connsiteY34" fmla="*/ 10840 h 163483"/>
                    <a:gd name="connsiteX35" fmla="*/ 99193 w 120645"/>
                    <a:gd name="connsiteY35" fmla="*/ 18841 h 163483"/>
                    <a:gd name="connsiteX36" fmla="*/ 106623 w 120645"/>
                    <a:gd name="connsiteY36" fmla="*/ 27414 h 163483"/>
                    <a:gd name="connsiteX37" fmla="*/ 111290 w 120645"/>
                    <a:gd name="connsiteY37" fmla="*/ 37701 h 163483"/>
                    <a:gd name="connsiteX38" fmla="*/ 115481 w 120645"/>
                    <a:gd name="connsiteY38" fmla="*/ 47988 h 163483"/>
                    <a:gd name="connsiteX39" fmla="*/ 118910 w 120645"/>
                    <a:gd name="connsiteY39" fmla="*/ 58751 h 163483"/>
                    <a:gd name="connsiteX40" fmla="*/ 120434 w 120645"/>
                    <a:gd name="connsiteY40" fmla="*/ 70086 h 163483"/>
                    <a:gd name="connsiteX41" fmla="*/ 120434 w 120645"/>
                    <a:gd name="connsiteY41" fmla="*/ 81611 h 163483"/>
                    <a:gd name="connsiteX42" fmla="*/ 120434 w 120645"/>
                    <a:gd name="connsiteY42" fmla="*/ 81611 h 163483"/>
                    <a:gd name="connsiteX43" fmla="*/ 120434 w 120645"/>
                    <a:gd name="connsiteY43" fmla="*/ 81611 h 163483"/>
                    <a:gd name="connsiteX44" fmla="*/ 120434 w 120645"/>
                    <a:gd name="connsiteY44" fmla="*/ 81611 h 163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120645" h="163483">
                      <a:moveTo>
                        <a:pt x="120434" y="81611"/>
                      </a:moveTo>
                      <a:lnTo>
                        <a:pt x="120434" y="81611"/>
                      </a:lnTo>
                      <a:cubicBezTo>
                        <a:pt x="120434" y="85421"/>
                        <a:pt x="120434" y="89136"/>
                        <a:pt x="119958" y="92946"/>
                      </a:cubicBezTo>
                      <a:cubicBezTo>
                        <a:pt x="119672" y="96756"/>
                        <a:pt x="119482" y="100471"/>
                        <a:pt x="118720" y="104281"/>
                      </a:cubicBezTo>
                      <a:cubicBezTo>
                        <a:pt x="117958" y="108091"/>
                        <a:pt x="117005" y="111520"/>
                        <a:pt x="115957" y="115044"/>
                      </a:cubicBezTo>
                      <a:cubicBezTo>
                        <a:pt x="114719" y="118854"/>
                        <a:pt x="112243" y="121807"/>
                        <a:pt x="110719" y="125045"/>
                      </a:cubicBezTo>
                      <a:cubicBezTo>
                        <a:pt x="109004" y="128569"/>
                        <a:pt x="107290" y="131808"/>
                        <a:pt x="105289" y="134856"/>
                      </a:cubicBezTo>
                      <a:cubicBezTo>
                        <a:pt x="103099" y="138094"/>
                        <a:pt x="101860" y="141619"/>
                        <a:pt x="99384" y="144381"/>
                      </a:cubicBezTo>
                      <a:cubicBezTo>
                        <a:pt x="96907" y="147429"/>
                        <a:pt x="93669" y="149429"/>
                        <a:pt x="90716" y="151620"/>
                      </a:cubicBezTo>
                      <a:cubicBezTo>
                        <a:pt x="87763" y="153906"/>
                        <a:pt x="84811" y="156097"/>
                        <a:pt x="81572" y="157906"/>
                      </a:cubicBezTo>
                      <a:cubicBezTo>
                        <a:pt x="78334" y="159621"/>
                        <a:pt x="75095" y="161907"/>
                        <a:pt x="71666" y="162955"/>
                      </a:cubicBezTo>
                      <a:cubicBezTo>
                        <a:pt x="67951" y="163717"/>
                        <a:pt x="64237" y="163431"/>
                        <a:pt x="60236" y="163431"/>
                      </a:cubicBezTo>
                      <a:cubicBezTo>
                        <a:pt x="56521" y="163431"/>
                        <a:pt x="53092" y="162383"/>
                        <a:pt x="49378" y="161431"/>
                      </a:cubicBezTo>
                      <a:cubicBezTo>
                        <a:pt x="45949" y="160669"/>
                        <a:pt x="42424" y="159145"/>
                        <a:pt x="39186" y="157430"/>
                      </a:cubicBezTo>
                      <a:cubicBezTo>
                        <a:pt x="35947" y="155906"/>
                        <a:pt x="32518" y="154382"/>
                        <a:pt x="29566" y="152191"/>
                      </a:cubicBezTo>
                      <a:cubicBezTo>
                        <a:pt x="26613" y="149905"/>
                        <a:pt x="24613" y="146667"/>
                        <a:pt x="22136" y="143905"/>
                      </a:cubicBezTo>
                      <a:cubicBezTo>
                        <a:pt x="19660" y="141142"/>
                        <a:pt x="16897" y="138380"/>
                        <a:pt x="14707" y="135332"/>
                      </a:cubicBezTo>
                      <a:cubicBezTo>
                        <a:pt x="12706" y="132094"/>
                        <a:pt x="10706" y="129046"/>
                        <a:pt x="8992" y="125521"/>
                      </a:cubicBezTo>
                      <a:cubicBezTo>
                        <a:pt x="7468" y="122283"/>
                        <a:pt x="6515" y="118473"/>
                        <a:pt x="5277" y="114949"/>
                      </a:cubicBezTo>
                      <a:cubicBezTo>
                        <a:pt x="4039" y="111424"/>
                        <a:pt x="3086" y="107710"/>
                        <a:pt x="2324" y="103900"/>
                      </a:cubicBezTo>
                      <a:cubicBezTo>
                        <a:pt x="1562" y="100375"/>
                        <a:pt x="610" y="96661"/>
                        <a:pt x="133" y="92851"/>
                      </a:cubicBezTo>
                      <a:cubicBezTo>
                        <a:pt x="-152" y="89041"/>
                        <a:pt x="610" y="85326"/>
                        <a:pt x="610" y="81516"/>
                      </a:cubicBezTo>
                      <a:cubicBezTo>
                        <a:pt x="610" y="77706"/>
                        <a:pt x="-343" y="73705"/>
                        <a:pt x="133" y="70181"/>
                      </a:cubicBezTo>
                      <a:cubicBezTo>
                        <a:pt x="419" y="66371"/>
                        <a:pt x="1086" y="62656"/>
                        <a:pt x="1848" y="58846"/>
                      </a:cubicBezTo>
                      <a:cubicBezTo>
                        <a:pt x="2610" y="55036"/>
                        <a:pt x="4610" y="51798"/>
                        <a:pt x="5563" y="48274"/>
                      </a:cubicBezTo>
                      <a:cubicBezTo>
                        <a:pt x="6801" y="44464"/>
                        <a:pt x="8039" y="41035"/>
                        <a:pt x="9563" y="37701"/>
                      </a:cubicBezTo>
                      <a:cubicBezTo>
                        <a:pt x="11278" y="34177"/>
                        <a:pt x="13278" y="31129"/>
                        <a:pt x="15278" y="27890"/>
                      </a:cubicBezTo>
                      <a:cubicBezTo>
                        <a:pt x="17278" y="24842"/>
                        <a:pt x="19469" y="21604"/>
                        <a:pt x="21946" y="18841"/>
                      </a:cubicBezTo>
                      <a:cubicBezTo>
                        <a:pt x="24422" y="16079"/>
                        <a:pt x="26899" y="13603"/>
                        <a:pt x="29851" y="11317"/>
                      </a:cubicBezTo>
                      <a:cubicBezTo>
                        <a:pt x="32804" y="8840"/>
                        <a:pt x="35566" y="6268"/>
                        <a:pt x="38805" y="4554"/>
                      </a:cubicBezTo>
                      <a:cubicBezTo>
                        <a:pt x="42234" y="3030"/>
                        <a:pt x="45949" y="2268"/>
                        <a:pt x="49473" y="1506"/>
                      </a:cubicBezTo>
                      <a:cubicBezTo>
                        <a:pt x="53188" y="458"/>
                        <a:pt x="56617" y="268"/>
                        <a:pt x="60331" y="268"/>
                      </a:cubicBezTo>
                      <a:cubicBezTo>
                        <a:pt x="64332" y="268"/>
                        <a:pt x="68047" y="-494"/>
                        <a:pt x="71476" y="553"/>
                      </a:cubicBezTo>
                      <a:cubicBezTo>
                        <a:pt x="75190" y="1315"/>
                        <a:pt x="78429" y="3030"/>
                        <a:pt x="81858" y="4840"/>
                      </a:cubicBezTo>
                      <a:cubicBezTo>
                        <a:pt x="85096" y="6554"/>
                        <a:pt x="88335" y="8650"/>
                        <a:pt x="91288" y="10840"/>
                      </a:cubicBezTo>
                      <a:cubicBezTo>
                        <a:pt x="94050" y="13126"/>
                        <a:pt x="96717" y="15889"/>
                        <a:pt x="99193" y="18841"/>
                      </a:cubicBezTo>
                      <a:cubicBezTo>
                        <a:pt x="101670" y="21318"/>
                        <a:pt x="104432" y="24080"/>
                        <a:pt x="106623" y="27414"/>
                      </a:cubicBezTo>
                      <a:cubicBezTo>
                        <a:pt x="108623" y="30462"/>
                        <a:pt x="109576" y="34177"/>
                        <a:pt x="111290" y="37701"/>
                      </a:cubicBezTo>
                      <a:cubicBezTo>
                        <a:pt x="112814" y="40939"/>
                        <a:pt x="114243" y="44464"/>
                        <a:pt x="115481" y="47988"/>
                      </a:cubicBezTo>
                      <a:cubicBezTo>
                        <a:pt x="116719" y="51512"/>
                        <a:pt x="117958" y="55036"/>
                        <a:pt x="118910" y="58751"/>
                      </a:cubicBezTo>
                      <a:cubicBezTo>
                        <a:pt x="119672" y="62561"/>
                        <a:pt x="120148" y="66276"/>
                        <a:pt x="120434" y="70086"/>
                      </a:cubicBezTo>
                      <a:cubicBezTo>
                        <a:pt x="120910" y="74086"/>
                        <a:pt x="120434" y="77801"/>
                        <a:pt x="120434" y="81611"/>
                      </a:cubicBezTo>
                      <a:lnTo>
                        <a:pt x="120434" y="81611"/>
                      </a:lnTo>
                      <a:lnTo>
                        <a:pt x="120434" y="81611"/>
                      </a:lnTo>
                      <a:lnTo>
                        <a:pt x="120434" y="81611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6" name="Freeform: Shape 385">
                  <a:extLst>
                    <a:ext uri="{FF2B5EF4-FFF2-40B4-BE49-F238E27FC236}">
                      <a16:creationId xmlns:a16="http://schemas.microsoft.com/office/drawing/2014/main" id="{844FD3F0-29F5-D25A-4FA1-030F1585074A}"/>
                    </a:ext>
                  </a:extLst>
                </p:cNvPr>
                <p:cNvSpPr/>
                <p:nvPr/>
              </p:nvSpPr>
              <p:spPr>
                <a:xfrm>
                  <a:off x="5252370" y="2942177"/>
                  <a:ext cx="153866" cy="166236"/>
                </a:xfrm>
                <a:custGeom>
                  <a:avLst/>
                  <a:gdLst>
                    <a:gd name="connsiteX0" fmla="*/ 45529 w 153866"/>
                    <a:gd name="connsiteY0" fmla="*/ 0 h 166236"/>
                    <a:gd name="connsiteX1" fmla="*/ 45529 w 153866"/>
                    <a:gd name="connsiteY1" fmla="*/ 0 h 166236"/>
                    <a:gd name="connsiteX2" fmla="*/ 41529 w 153866"/>
                    <a:gd name="connsiteY2" fmla="*/ 9811 h 166236"/>
                    <a:gd name="connsiteX3" fmla="*/ 36290 w 153866"/>
                    <a:gd name="connsiteY3" fmla="*/ 19145 h 166236"/>
                    <a:gd name="connsiteX4" fmla="*/ 31623 w 153866"/>
                    <a:gd name="connsiteY4" fmla="*/ 28480 h 166236"/>
                    <a:gd name="connsiteX5" fmla="*/ 27432 w 153866"/>
                    <a:gd name="connsiteY5" fmla="*/ 38290 h 166236"/>
                    <a:gd name="connsiteX6" fmla="*/ 23241 w 153866"/>
                    <a:gd name="connsiteY6" fmla="*/ 47815 h 166236"/>
                    <a:gd name="connsiteX7" fmla="*/ 19526 w 153866"/>
                    <a:gd name="connsiteY7" fmla="*/ 57626 h 166236"/>
                    <a:gd name="connsiteX8" fmla="*/ 15335 w 153866"/>
                    <a:gd name="connsiteY8" fmla="*/ 67437 h 166236"/>
                    <a:gd name="connsiteX9" fmla="*/ 11335 w 153866"/>
                    <a:gd name="connsiteY9" fmla="*/ 77248 h 166236"/>
                    <a:gd name="connsiteX10" fmla="*/ 7906 w 153866"/>
                    <a:gd name="connsiteY10" fmla="*/ 87249 h 166236"/>
                    <a:gd name="connsiteX11" fmla="*/ 4667 w 153866"/>
                    <a:gd name="connsiteY11" fmla="*/ 97250 h 166236"/>
                    <a:gd name="connsiteX12" fmla="*/ 2191 w 153866"/>
                    <a:gd name="connsiteY12" fmla="*/ 107537 h 166236"/>
                    <a:gd name="connsiteX13" fmla="*/ 0 w 153866"/>
                    <a:gd name="connsiteY13" fmla="*/ 117824 h 166236"/>
                    <a:gd name="connsiteX14" fmla="*/ 3239 w 153866"/>
                    <a:gd name="connsiteY14" fmla="*/ 128111 h 166236"/>
                    <a:gd name="connsiteX15" fmla="*/ 12192 w 153866"/>
                    <a:gd name="connsiteY15" fmla="*/ 133350 h 166236"/>
                    <a:gd name="connsiteX16" fmla="*/ 21336 w 153866"/>
                    <a:gd name="connsiteY16" fmla="*/ 138589 h 166236"/>
                    <a:gd name="connsiteX17" fmla="*/ 31528 w 153866"/>
                    <a:gd name="connsiteY17" fmla="*/ 141351 h 166236"/>
                    <a:gd name="connsiteX18" fmla="*/ 40957 w 153866"/>
                    <a:gd name="connsiteY18" fmla="*/ 146114 h 166236"/>
                    <a:gd name="connsiteX19" fmla="*/ 51340 w 153866"/>
                    <a:gd name="connsiteY19" fmla="*/ 147828 h 166236"/>
                    <a:gd name="connsiteX20" fmla="*/ 60960 w 153866"/>
                    <a:gd name="connsiteY20" fmla="*/ 152114 h 166236"/>
                    <a:gd name="connsiteX21" fmla="*/ 71342 w 153866"/>
                    <a:gd name="connsiteY21" fmla="*/ 153829 h 166236"/>
                    <a:gd name="connsiteX22" fmla="*/ 81248 w 153866"/>
                    <a:gd name="connsiteY22" fmla="*/ 156877 h 166236"/>
                    <a:gd name="connsiteX23" fmla="*/ 91630 w 153866"/>
                    <a:gd name="connsiteY23" fmla="*/ 158877 h 166236"/>
                    <a:gd name="connsiteX24" fmla="*/ 101822 w 153866"/>
                    <a:gd name="connsiteY24" fmla="*/ 161639 h 166236"/>
                    <a:gd name="connsiteX25" fmla="*/ 112014 w 153866"/>
                    <a:gd name="connsiteY25" fmla="*/ 163925 h 166236"/>
                    <a:gd name="connsiteX26" fmla="*/ 122396 w 153866"/>
                    <a:gd name="connsiteY26" fmla="*/ 165449 h 166236"/>
                    <a:gd name="connsiteX27" fmla="*/ 133064 w 153866"/>
                    <a:gd name="connsiteY27" fmla="*/ 165735 h 166236"/>
                    <a:gd name="connsiteX28" fmla="*/ 143447 w 153866"/>
                    <a:gd name="connsiteY28" fmla="*/ 166211 h 166236"/>
                    <a:gd name="connsiteX29" fmla="*/ 153352 w 153866"/>
                    <a:gd name="connsiteY29" fmla="*/ 165164 h 166236"/>
                    <a:gd name="connsiteX30" fmla="*/ 146685 w 153866"/>
                    <a:gd name="connsiteY30" fmla="*/ 157925 h 166236"/>
                    <a:gd name="connsiteX31" fmla="*/ 137065 w 153866"/>
                    <a:gd name="connsiteY31" fmla="*/ 152876 h 166236"/>
                    <a:gd name="connsiteX32" fmla="*/ 126873 w 153866"/>
                    <a:gd name="connsiteY32" fmla="*/ 148590 h 166236"/>
                    <a:gd name="connsiteX33" fmla="*/ 116967 w 153866"/>
                    <a:gd name="connsiteY33" fmla="*/ 143828 h 166236"/>
                    <a:gd name="connsiteX34" fmla="*/ 106775 w 153866"/>
                    <a:gd name="connsiteY34" fmla="*/ 139351 h 166236"/>
                    <a:gd name="connsiteX35" fmla="*/ 96393 w 153866"/>
                    <a:gd name="connsiteY35" fmla="*/ 136112 h 166236"/>
                    <a:gd name="connsiteX36" fmla="*/ 86011 w 153866"/>
                    <a:gd name="connsiteY36" fmla="*/ 132588 h 166236"/>
                    <a:gd name="connsiteX37" fmla="*/ 75628 w 153866"/>
                    <a:gd name="connsiteY37" fmla="*/ 129064 h 166236"/>
                    <a:gd name="connsiteX38" fmla="*/ 65246 w 153866"/>
                    <a:gd name="connsiteY38" fmla="*/ 125254 h 166236"/>
                    <a:gd name="connsiteX39" fmla="*/ 54864 w 153866"/>
                    <a:gd name="connsiteY39" fmla="*/ 121444 h 166236"/>
                    <a:gd name="connsiteX40" fmla="*/ 44672 w 153866"/>
                    <a:gd name="connsiteY40" fmla="*/ 117443 h 166236"/>
                    <a:gd name="connsiteX41" fmla="*/ 34480 w 153866"/>
                    <a:gd name="connsiteY41" fmla="*/ 114395 h 166236"/>
                    <a:gd name="connsiteX42" fmla="*/ 38481 w 153866"/>
                    <a:gd name="connsiteY42" fmla="*/ 104585 h 166236"/>
                    <a:gd name="connsiteX43" fmla="*/ 42196 w 153866"/>
                    <a:gd name="connsiteY43" fmla="*/ 94583 h 166236"/>
                    <a:gd name="connsiteX44" fmla="*/ 45148 w 153866"/>
                    <a:gd name="connsiteY44" fmla="*/ 84296 h 166236"/>
                    <a:gd name="connsiteX45" fmla="*/ 48387 w 153866"/>
                    <a:gd name="connsiteY45" fmla="*/ 74009 h 166236"/>
                    <a:gd name="connsiteX46" fmla="*/ 53340 w 153866"/>
                    <a:gd name="connsiteY46" fmla="*/ 64484 h 166236"/>
                    <a:gd name="connsiteX47" fmla="*/ 55817 w 153866"/>
                    <a:gd name="connsiteY47" fmla="*/ 53911 h 166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153866" h="166236">
                      <a:moveTo>
                        <a:pt x="45529" y="0"/>
                      </a:moveTo>
                      <a:lnTo>
                        <a:pt x="45529" y="0"/>
                      </a:lnTo>
                      <a:cubicBezTo>
                        <a:pt x="44005" y="2476"/>
                        <a:pt x="43339" y="6286"/>
                        <a:pt x="41529" y="9811"/>
                      </a:cubicBezTo>
                      <a:cubicBezTo>
                        <a:pt x="40005" y="12573"/>
                        <a:pt x="38100" y="15621"/>
                        <a:pt x="36290" y="19145"/>
                      </a:cubicBezTo>
                      <a:cubicBezTo>
                        <a:pt x="34766" y="22193"/>
                        <a:pt x="33338" y="25146"/>
                        <a:pt x="31623" y="28480"/>
                      </a:cubicBezTo>
                      <a:cubicBezTo>
                        <a:pt x="30099" y="31528"/>
                        <a:pt x="28861" y="35052"/>
                        <a:pt x="27432" y="38290"/>
                      </a:cubicBezTo>
                      <a:cubicBezTo>
                        <a:pt x="25908" y="41338"/>
                        <a:pt x="24479" y="44577"/>
                        <a:pt x="23241" y="47815"/>
                      </a:cubicBezTo>
                      <a:cubicBezTo>
                        <a:pt x="21717" y="51054"/>
                        <a:pt x="20765" y="54388"/>
                        <a:pt x="19526" y="57626"/>
                      </a:cubicBezTo>
                      <a:cubicBezTo>
                        <a:pt x="18002" y="60865"/>
                        <a:pt x="16573" y="64198"/>
                        <a:pt x="15335" y="67437"/>
                      </a:cubicBezTo>
                      <a:cubicBezTo>
                        <a:pt x="13811" y="70675"/>
                        <a:pt x="12573" y="74009"/>
                        <a:pt x="11335" y="77248"/>
                      </a:cubicBezTo>
                      <a:cubicBezTo>
                        <a:pt x="10096" y="80772"/>
                        <a:pt x="8858" y="84010"/>
                        <a:pt x="7906" y="87249"/>
                      </a:cubicBezTo>
                      <a:cubicBezTo>
                        <a:pt x="6667" y="90773"/>
                        <a:pt x="5429" y="94012"/>
                        <a:pt x="4667" y="97250"/>
                      </a:cubicBezTo>
                      <a:cubicBezTo>
                        <a:pt x="3715" y="100774"/>
                        <a:pt x="2667" y="104299"/>
                        <a:pt x="2191" y="107537"/>
                      </a:cubicBezTo>
                      <a:cubicBezTo>
                        <a:pt x="1238" y="111347"/>
                        <a:pt x="191" y="114776"/>
                        <a:pt x="0" y="117824"/>
                      </a:cubicBezTo>
                      <a:cubicBezTo>
                        <a:pt x="0" y="122301"/>
                        <a:pt x="1238" y="125825"/>
                        <a:pt x="3239" y="128111"/>
                      </a:cubicBezTo>
                      <a:cubicBezTo>
                        <a:pt x="4953" y="129826"/>
                        <a:pt x="8192" y="131159"/>
                        <a:pt x="12192" y="133350"/>
                      </a:cubicBezTo>
                      <a:cubicBezTo>
                        <a:pt x="14954" y="134588"/>
                        <a:pt x="17621" y="137160"/>
                        <a:pt x="21336" y="138589"/>
                      </a:cubicBezTo>
                      <a:cubicBezTo>
                        <a:pt x="24289" y="139827"/>
                        <a:pt x="27813" y="140113"/>
                        <a:pt x="31528" y="141351"/>
                      </a:cubicBezTo>
                      <a:cubicBezTo>
                        <a:pt x="34480" y="142589"/>
                        <a:pt x="37433" y="145161"/>
                        <a:pt x="40957" y="146114"/>
                      </a:cubicBezTo>
                      <a:cubicBezTo>
                        <a:pt x="44196" y="147161"/>
                        <a:pt x="47911" y="146875"/>
                        <a:pt x="51340" y="147828"/>
                      </a:cubicBezTo>
                      <a:cubicBezTo>
                        <a:pt x="54578" y="148876"/>
                        <a:pt x="57531" y="151067"/>
                        <a:pt x="60960" y="152114"/>
                      </a:cubicBezTo>
                      <a:cubicBezTo>
                        <a:pt x="64198" y="152876"/>
                        <a:pt x="67913" y="153162"/>
                        <a:pt x="71342" y="153829"/>
                      </a:cubicBezTo>
                      <a:cubicBezTo>
                        <a:pt x="74581" y="154877"/>
                        <a:pt x="77819" y="156115"/>
                        <a:pt x="81248" y="156877"/>
                      </a:cubicBezTo>
                      <a:cubicBezTo>
                        <a:pt x="84677" y="157925"/>
                        <a:pt x="88201" y="158115"/>
                        <a:pt x="91630" y="158877"/>
                      </a:cubicBezTo>
                      <a:cubicBezTo>
                        <a:pt x="95059" y="159639"/>
                        <a:pt x="98298" y="161163"/>
                        <a:pt x="101822" y="161639"/>
                      </a:cubicBezTo>
                      <a:cubicBezTo>
                        <a:pt x="105251" y="162401"/>
                        <a:pt x="108775" y="163354"/>
                        <a:pt x="112014" y="163925"/>
                      </a:cubicBezTo>
                      <a:cubicBezTo>
                        <a:pt x="115729" y="164402"/>
                        <a:pt x="119158" y="164973"/>
                        <a:pt x="122396" y="165449"/>
                      </a:cubicBezTo>
                      <a:cubicBezTo>
                        <a:pt x="126111" y="165926"/>
                        <a:pt x="129826" y="165449"/>
                        <a:pt x="133064" y="165735"/>
                      </a:cubicBezTo>
                      <a:cubicBezTo>
                        <a:pt x="136779" y="166211"/>
                        <a:pt x="140208" y="166211"/>
                        <a:pt x="143447" y="166211"/>
                      </a:cubicBezTo>
                      <a:cubicBezTo>
                        <a:pt x="148685" y="166211"/>
                        <a:pt x="152114" y="166497"/>
                        <a:pt x="153352" y="165164"/>
                      </a:cubicBezTo>
                      <a:cubicBezTo>
                        <a:pt x="155067" y="163640"/>
                        <a:pt x="152400" y="161163"/>
                        <a:pt x="146685" y="157925"/>
                      </a:cubicBezTo>
                      <a:cubicBezTo>
                        <a:pt x="143923" y="156401"/>
                        <a:pt x="140779" y="154686"/>
                        <a:pt x="137065" y="152876"/>
                      </a:cubicBezTo>
                      <a:cubicBezTo>
                        <a:pt x="133826" y="151352"/>
                        <a:pt x="130588" y="150114"/>
                        <a:pt x="126873" y="148590"/>
                      </a:cubicBezTo>
                      <a:cubicBezTo>
                        <a:pt x="123634" y="147066"/>
                        <a:pt x="120396" y="145352"/>
                        <a:pt x="116967" y="143828"/>
                      </a:cubicBezTo>
                      <a:cubicBezTo>
                        <a:pt x="113538" y="142589"/>
                        <a:pt x="110299" y="140589"/>
                        <a:pt x="106775" y="139351"/>
                      </a:cubicBezTo>
                      <a:cubicBezTo>
                        <a:pt x="103537" y="138112"/>
                        <a:pt x="99822" y="137350"/>
                        <a:pt x="96393" y="136112"/>
                      </a:cubicBezTo>
                      <a:cubicBezTo>
                        <a:pt x="92964" y="134874"/>
                        <a:pt x="89440" y="133826"/>
                        <a:pt x="86011" y="132588"/>
                      </a:cubicBezTo>
                      <a:cubicBezTo>
                        <a:pt x="82582" y="131350"/>
                        <a:pt x="79057" y="130302"/>
                        <a:pt x="75628" y="129064"/>
                      </a:cubicBezTo>
                      <a:cubicBezTo>
                        <a:pt x="71914" y="127825"/>
                        <a:pt x="68675" y="126587"/>
                        <a:pt x="65246" y="125254"/>
                      </a:cubicBezTo>
                      <a:cubicBezTo>
                        <a:pt x="61531" y="124015"/>
                        <a:pt x="58102" y="122492"/>
                        <a:pt x="54864" y="121444"/>
                      </a:cubicBezTo>
                      <a:cubicBezTo>
                        <a:pt x="51149" y="120206"/>
                        <a:pt x="47720" y="118396"/>
                        <a:pt x="44672" y="117443"/>
                      </a:cubicBezTo>
                      <a:cubicBezTo>
                        <a:pt x="38195" y="115157"/>
                        <a:pt x="34480" y="120206"/>
                        <a:pt x="34480" y="114395"/>
                      </a:cubicBezTo>
                      <a:cubicBezTo>
                        <a:pt x="34195" y="109157"/>
                        <a:pt x="36481" y="109633"/>
                        <a:pt x="38481" y="104585"/>
                      </a:cubicBezTo>
                      <a:cubicBezTo>
                        <a:pt x="40196" y="99536"/>
                        <a:pt x="40196" y="99536"/>
                        <a:pt x="42196" y="94583"/>
                      </a:cubicBezTo>
                      <a:cubicBezTo>
                        <a:pt x="43910" y="89535"/>
                        <a:pt x="43434" y="89345"/>
                        <a:pt x="45148" y="84296"/>
                      </a:cubicBezTo>
                      <a:cubicBezTo>
                        <a:pt x="47149" y="79248"/>
                        <a:pt x="46387" y="79058"/>
                        <a:pt x="48387" y="74009"/>
                      </a:cubicBezTo>
                      <a:cubicBezTo>
                        <a:pt x="50101" y="68961"/>
                        <a:pt x="51625" y="69533"/>
                        <a:pt x="53340" y="64484"/>
                      </a:cubicBezTo>
                      <a:cubicBezTo>
                        <a:pt x="55340" y="59436"/>
                        <a:pt x="54102" y="58960"/>
                        <a:pt x="55817" y="53911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7" name="Freeform: Shape 386">
                  <a:extLst>
                    <a:ext uri="{FF2B5EF4-FFF2-40B4-BE49-F238E27FC236}">
                      <a16:creationId xmlns:a16="http://schemas.microsoft.com/office/drawing/2014/main" id="{BCF562B0-F7D8-7C35-BF06-1370F61CA53F}"/>
                    </a:ext>
                  </a:extLst>
                </p:cNvPr>
                <p:cNvSpPr/>
                <p:nvPr/>
              </p:nvSpPr>
              <p:spPr>
                <a:xfrm>
                  <a:off x="5275365" y="3081623"/>
                  <a:ext cx="103989" cy="258226"/>
                </a:xfrm>
                <a:custGeom>
                  <a:avLst/>
                  <a:gdLst>
                    <a:gd name="connsiteX0" fmla="*/ 2247 w 103989"/>
                    <a:gd name="connsiteY0" fmla="*/ 55340 h 258226"/>
                    <a:gd name="connsiteX1" fmla="*/ 2247 w 103989"/>
                    <a:gd name="connsiteY1" fmla="*/ 55340 h 258226"/>
                    <a:gd name="connsiteX2" fmla="*/ 3961 w 103989"/>
                    <a:gd name="connsiteY2" fmla="*/ 66104 h 258226"/>
                    <a:gd name="connsiteX3" fmla="*/ 7200 w 103989"/>
                    <a:gd name="connsiteY3" fmla="*/ 76390 h 258226"/>
                    <a:gd name="connsiteX4" fmla="*/ 9200 w 103989"/>
                    <a:gd name="connsiteY4" fmla="*/ 87154 h 258226"/>
                    <a:gd name="connsiteX5" fmla="*/ 11391 w 103989"/>
                    <a:gd name="connsiteY5" fmla="*/ 97727 h 258226"/>
                    <a:gd name="connsiteX6" fmla="*/ 13582 w 103989"/>
                    <a:gd name="connsiteY6" fmla="*/ 108490 h 258226"/>
                    <a:gd name="connsiteX7" fmla="*/ 16344 w 103989"/>
                    <a:gd name="connsiteY7" fmla="*/ 118777 h 258226"/>
                    <a:gd name="connsiteX8" fmla="*/ 17868 w 103989"/>
                    <a:gd name="connsiteY8" fmla="*/ 129540 h 258226"/>
                    <a:gd name="connsiteX9" fmla="*/ 20344 w 103989"/>
                    <a:gd name="connsiteY9" fmla="*/ 140303 h 258226"/>
                    <a:gd name="connsiteX10" fmla="*/ 24059 w 103989"/>
                    <a:gd name="connsiteY10" fmla="*/ 150590 h 258226"/>
                    <a:gd name="connsiteX11" fmla="*/ 26536 w 103989"/>
                    <a:gd name="connsiteY11" fmla="*/ 161163 h 258226"/>
                    <a:gd name="connsiteX12" fmla="*/ 29012 w 103989"/>
                    <a:gd name="connsiteY12" fmla="*/ 171736 h 258226"/>
                    <a:gd name="connsiteX13" fmla="*/ 30727 w 103989"/>
                    <a:gd name="connsiteY13" fmla="*/ 182499 h 258226"/>
                    <a:gd name="connsiteX14" fmla="*/ 33203 w 103989"/>
                    <a:gd name="connsiteY14" fmla="*/ 193072 h 258226"/>
                    <a:gd name="connsiteX15" fmla="*/ 35680 w 103989"/>
                    <a:gd name="connsiteY15" fmla="*/ 203644 h 258226"/>
                    <a:gd name="connsiteX16" fmla="*/ 37680 w 103989"/>
                    <a:gd name="connsiteY16" fmla="*/ 214408 h 258226"/>
                    <a:gd name="connsiteX17" fmla="*/ 40918 w 103989"/>
                    <a:gd name="connsiteY17" fmla="*/ 224695 h 258226"/>
                    <a:gd name="connsiteX18" fmla="*/ 42633 w 103989"/>
                    <a:gd name="connsiteY18" fmla="*/ 235458 h 258226"/>
                    <a:gd name="connsiteX19" fmla="*/ 45871 w 103989"/>
                    <a:gd name="connsiteY19" fmla="*/ 246031 h 258226"/>
                    <a:gd name="connsiteX20" fmla="*/ 47872 w 103989"/>
                    <a:gd name="connsiteY20" fmla="*/ 256794 h 258226"/>
                    <a:gd name="connsiteX21" fmla="*/ 56825 w 103989"/>
                    <a:gd name="connsiteY21" fmla="*/ 257080 h 258226"/>
                    <a:gd name="connsiteX22" fmla="*/ 65493 w 103989"/>
                    <a:gd name="connsiteY22" fmla="*/ 256318 h 258226"/>
                    <a:gd name="connsiteX23" fmla="*/ 67207 w 103989"/>
                    <a:gd name="connsiteY23" fmla="*/ 246031 h 258226"/>
                    <a:gd name="connsiteX24" fmla="*/ 69684 w 103989"/>
                    <a:gd name="connsiteY24" fmla="*/ 235458 h 258226"/>
                    <a:gd name="connsiteX25" fmla="*/ 71684 w 103989"/>
                    <a:gd name="connsiteY25" fmla="*/ 224695 h 258226"/>
                    <a:gd name="connsiteX26" fmla="*/ 73684 w 103989"/>
                    <a:gd name="connsiteY26" fmla="*/ 214122 h 258226"/>
                    <a:gd name="connsiteX27" fmla="*/ 76637 w 103989"/>
                    <a:gd name="connsiteY27" fmla="*/ 203549 h 258226"/>
                    <a:gd name="connsiteX28" fmla="*/ 79114 w 103989"/>
                    <a:gd name="connsiteY28" fmla="*/ 192977 h 258226"/>
                    <a:gd name="connsiteX29" fmla="*/ 80828 w 103989"/>
                    <a:gd name="connsiteY29" fmla="*/ 182404 h 258226"/>
                    <a:gd name="connsiteX30" fmla="*/ 83019 w 103989"/>
                    <a:gd name="connsiteY30" fmla="*/ 171831 h 258226"/>
                    <a:gd name="connsiteX31" fmla="*/ 85210 w 103989"/>
                    <a:gd name="connsiteY31" fmla="*/ 161068 h 258226"/>
                    <a:gd name="connsiteX32" fmla="*/ 86734 w 103989"/>
                    <a:gd name="connsiteY32" fmla="*/ 150305 h 258226"/>
                    <a:gd name="connsiteX33" fmla="*/ 88924 w 103989"/>
                    <a:gd name="connsiteY33" fmla="*/ 139732 h 258226"/>
                    <a:gd name="connsiteX34" fmla="*/ 90639 w 103989"/>
                    <a:gd name="connsiteY34" fmla="*/ 129159 h 258226"/>
                    <a:gd name="connsiteX35" fmla="*/ 92639 w 103989"/>
                    <a:gd name="connsiteY35" fmla="*/ 118396 h 258226"/>
                    <a:gd name="connsiteX36" fmla="*/ 95401 w 103989"/>
                    <a:gd name="connsiteY36" fmla="*/ 107823 h 258226"/>
                    <a:gd name="connsiteX37" fmla="*/ 97402 w 103989"/>
                    <a:gd name="connsiteY37" fmla="*/ 97250 h 258226"/>
                    <a:gd name="connsiteX38" fmla="*/ 99402 w 103989"/>
                    <a:gd name="connsiteY38" fmla="*/ 86487 h 258226"/>
                    <a:gd name="connsiteX39" fmla="*/ 100640 w 103989"/>
                    <a:gd name="connsiteY39" fmla="*/ 75724 h 258226"/>
                    <a:gd name="connsiteX40" fmla="*/ 102831 w 103989"/>
                    <a:gd name="connsiteY40" fmla="*/ 65723 h 258226"/>
                    <a:gd name="connsiteX41" fmla="*/ 92163 w 103989"/>
                    <a:gd name="connsiteY41" fmla="*/ 64198 h 258226"/>
                    <a:gd name="connsiteX42" fmla="*/ 80733 w 103989"/>
                    <a:gd name="connsiteY42" fmla="*/ 62675 h 258226"/>
                    <a:gd name="connsiteX43" fmla="*/ 69303 w 103989"/>
                    <a:gd name="connsiteY43" fmla="*/ 62389 h 258226"/>
                    <a:gd name="connsiteX44" fmla="*/ 58159 w 103989"/>
                    <a:gd name="connsiteY44" fmla="*/ 61341 h 258226"/>
                    <a:gd name="connsiteX45" fmla="*/ 47014 w 103989"/>
                    <a:gd name="connsiteY45" fmla="*/ 59341 h 258226"/>
                    <a:gd name="connsiteX46" fmla="*/ 35584 w 103989"/>
                    <a:gd name="connsiteY46" fmla="*/ 58579 h 258226"/>
                    <a:gd name="connsiteX47" fmla="*/ 24154 w 103989"/>
                    <a:gd name="connsiteY47" fmla="*/ 58293 h 258226"/>
                    <a:gd name="connsiteX48" fmla="*/ 13010 w 103989"/>
                    <a:gd name="connsiteY48" fmla="*/ 56293 h 258226"/>
                    <a:gd name="connsiteX49" fmla="*/ 1580 w 103989"/>
                    <a:gd name="connsiteY49" fmla="*/ 55245 h 258226"/>
                    <a:gd name="connsiteX50" fmla="*/ 1866 w 103989"/>
                    <a:gd name="connsiteY50" fmla="*/ 44196 h 258226"/>
                    <a:gd name="connsiteX51" fmla="*/ 1580 w 103989"/>
                    <a:gd name="connsiteY51" fmla="*/ 33147 h 258226"/>
                    <a:gd name="connsiteX52" fmla="*/ 1866 w 103989"/>
                    <a:gd name="connsiteY52" fmla="*/ 22098 h 258226"/>
                    <a:gd name="connsiteX53" fmla="*/ 1866 w 103989"/>
                    <a:gd name="connsiteY53" fmla="*/ 11049 h 258226"/>
                    <a:gd name="connsiteX54" fmla="*/ 1866 w 103989"/>
                    <a:gd name="connsiteY54" fmla="*/ 0 h 258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103989" h="258226">
                      <a:moveTo>
                        <a:pt x="2247" y="55340"/>
                      </a:moveTo>
                      <a:lnTo>
                        <a:pt x="2247" y="55340"/>
                      </a:lnTo>
                      <a:cubicBezTo>
                        <a:pt x="3485" y="60579"/>
                        <a:pt x="3009" y="60865"/>
                        <a:pt x="3961" y="66104"/>
                      </a:cubicBezTo>
                      <a:cubicBezTo>
                        <a:pt x="5200" y="71342"/>
                        <a:pt x="5962" y="71152"/>
                        <a:pt x="7200" y="76390"/>
                      </a:cubicBezTo>
                      <a:cubicBezTo>
                        <a:pt x="8438" y="81629"/>
                        <a:pt x="7962" y="81915"/>
                        <a:pt x="9200" y="87154"/>
                      </a:cubicBezTo>
                      <a:cubicBezTo>
                        <a:pt x="10438" y="92392"/>
                        <a:pt x="10153" y="92392"/>
                        <a:pt x="11391" y="97727"/>
                      </a:cubicBezTo>
                      <a:cubicBezTo>
                        <a:pt x="12629" y="102965"/>
                        <a:pt x="12343" y="103251"/>
                        <a:pt x="13582" y="108490"/>
                      </a:cubicBezTo>
                      <a:cubicBezTo>
                        <a:pt x="14534" y="113729"/>
                        <a:pt x="15106" y="113538"/>
                        <a:pt x="16344" y="118777"/>
                      </a:cubicBezTo>
                      <a:cubicBezTo>
                        <a:pt x="17582" y="124015"/>
                        <a:pt x="16630" y="124301"/>
                        <a:pt x="17868" y="129540"/>
                      </a:cubicBezTo>
                      <a:cubicBezTo>
                        <a:pt x="19106" y="134779"/>
                        <a:pt x="19106" y="134779"/>
                        <a:pt x="20344" y="140303"/>
                      </a:cubicBezTo>
                      <a:cubicBezTo>
                        <a:pt x="21583" y="145542"/>
                        <a:pt x="22821" y="145352"/>
                        <a:pt x="24059" y="150590"/>
                      </a:cubicBezTo>
                      <a:cubicBezTo>
                        <a:pt x="25297" y="155829"/>
                        <a:pt x="25297" y="155829"/>
                        <a:pt x="26536" y="161163"/>
                      </a:cubicBezTo>
                      <a:cubicBezTo>
                        <a:pt x="27774" y="166402"/>
                        <a:pt x="27774" y="166402"/>
                        <a:pt x="29012" y="171736"/>
                      </a:cubicBezTo>
                      <a:cubicBezTo>
                        <a:pt x="30250" y="176975"/>
                        <a:pt x="29488" y="177260"/>
                        <a:pt x="30727" y="182499"/>
                      </a:cubicBezTo>
                      <a:cubicBezTo>
                        <a:pt x="31965" y="187738"/>
                        <a:pt x="31965" y="187738"/>
                        <a:pt x="33203" y="193072"/>
                      </a:cubicBezTo>
                      <a:cubicBezTo>
                        <a:pt x="34441" y="198310"/>
                        <a:pt x="34441" y="198310"/>
                        <a:pt x="35680" y="203644"/>
                      </a:cubicBezTo>
                      <a:cubicBezTo>
                        <a:pt x="36918" y="208883"/>
                        <a:pt x="36442" y="209169"/>
                        <a:pt x="37680" y="214408"/>
                      </a:cubicBezTo>
                      <a:cubicBezTo>
                        <a:pt x="38918" y="219647"/>
                        <a:pt x="39680" y="219456"/>
                        <a:pt x="40918" y="224695"/>
                      </a:cubicBezTo>
                      <a:cubicBezTo>
                        <a:pt x="42157" y="229933"/>
                        <a:pt x="41395" y="230219"/>
                        <a:pt x="42633" y="235458"/>
                      </a:cubicBezTo>
                      <a:cubicBezTo>
                        <a:pt x="43871" y="240697"/>
                        <a:pt x="44633" y="240697"/>
                        <a:pt x="45871" y="246031"/>
                      </a:cubicBezTo>
                      <a:cubicBezTo>
                        <a:pt x="47110" y="251269"/>
                        <a:pt x="43871" y="253079"/>
                        <a:pt x="47872" y="256794"/>
                      </a:cubicBezTo>
                      <a:cubicBezTo>
                        <a:pt x="51110" y="259842"/>
                        <a:pt x="52348" y="257080"/>
                        <a:pt x="56825" y="257080"/>
                      </a:cubicBezTo>
                      <a:cubicBezTo>
                        <a:pt x="61302" y="257080"/>
                        <a:pt x="62254" y="259366"/>
                        <a:pt x="65493" y="256318"/>
                      </a:cubicBezTo>
                      <a:cubicBezTo>
                        <a:pt x="69493" y="252508"/>
                        <a:pt x="66255" y="251269"/>
                        <a:pt x="67207" y="246031"/>
                      </a:cubicBezTo>
                      <a:cubicBezTo>
                        <a:pt x="68160" y="240506"/>
                        <a:pt x="68446" y="240792"/>
                        <a:pt x="69684" y="235458"/>
                      </a:cubicBezTo>
                      <a:cubicBezTo>
                        <a:pt x="70636" y="229933"/>
                        <a:pt x="70636" y="229933"/>
                        <a:pt x="71684" y="224695"/>
                      </a:cubicBezTo>
                      <a:cubicBezTo>
                        <a:pt x="72637" y="219456"/>
                        <a:pt x="72446" y="219456"/>
                        <a:pt x="73684" y="214122"/>
                      </a:cubicBezTo>
                      <a:cubicBezTo>
                        <a:pt x="74637" y="208883"/>
                        <a:pt x="75685" y="208883"/>
                        <a:pt x="76637" y="203549"/>
                      </a:cubicBezTo>
                      <a:cubicBezTo>
                        <a:pt x="77875" y="198310"/>
                        <a:pt x="78161" y="198310"/>
                        <a:pt x="79114" y="192977"/>
                      </a:cubicBezTo>
                      <a:cubicBezTo>
                        <a:pt x="80066" y="187738"/>
                        <a:pt x="79876" y="187738"/>
                        <a:pt x="80828" y="182404"/>
                      </a:cubicBezTo>
                      <a:cubicBezTo>
                        <a:pt x="81781" y="177165"/>
                        <a:pt x="82066" y="177165"/>
                        <a:pt x="83019" y="171831"/>
                      </a:cubicBezTo>
                      <a:cubicBezTo>
                        <a:pt x="84257" y="166307"/>
                        <a:pt x="84257" y="166307"/>
                        <a:pt x="85210" y="161068"/>
                      </a:cubicBezTo>
                      <a:cubicBezTo>
                        <a:pt x="86448" y="155829"/>
                        <a:pt x="85495" y="155829"/>
                        <a:pt x="86734" y="150305"/>
                      </a:cubicBezTo>
                      <a:cubicBezTo>
                        <a:pt x="87686" y="145066"/>
                        <a:pt x="87972" y="145066"/>
                        <a:pt x="88924" y="139732"/>
                      </a:cubicBezTo>
                      <a:cubicBezTo>
                        <a:pt x="89877" y="134493"/>
                        <a:pt x="89686" y="134493"/>
                        <a:pt x="90639" y="129159"/>
                      </a:cubicBezTo>
                      <a:cubicBezTo>
                        <a:pt x="91591" y="123634"/>
                        <a:pt x="91591" y="123634"/>
                        <a:pt x="92639" y="118396"/>
                      </a:cubicBezTo>
                      <a:cubicBezTo>
                        <a:pt x="93592" y="113157"/>
                        <a:pt x="94354" y="113348"/>
                        <a:pt x="95401" y="107823"/>
                      </a:cubicBezTo>
                      <a:cubicBezTo>
                        <a:pt x="96354" y="102584"/>
                        <a:pt x="96354" y="102584"/>
                        <a:pt x="97402" y="97250"/>
                      </a:cubicBezTo>
                      <a:cubicBezTo>
                        <a:pt x="98354" y="92011"/>
                        <a:pt x="98354" y="92011"/>
                        <a:pt x="99402" y="86487"/>
                      </a:cubicBezTo>
                      <a:cubicBezTo>
                        <a:pt x="100354" y="81248"/>
                        <a:pt x="99688" y="81248"/>
                        <a:pt x="100640" y="75724"/>
                      </a:cubicBezTo>
                      <a:cubicBezTo>
                        <a:pt x="101593" y="70485"/>
                        <a:pt x="106069" y="69913"/>
                        <a:pt x="102831" y="65723"/>
                      </a:cubicBezTo>
                      <a:cubicBezTo>
                        <a:pt x="99402" y="61246"/>
                        <a:pt x="97592" y="64960"/>
                        <a:pt x="92163" y="64198"/>
                      </a:cubicBezTo>
                      <a:cubicBezTo>
                        <a:pt x="86448" y="63722"/>
                        <a:pt x="86448" y="63151"/>
                        <a:pt x="80733" y="62675"/>
                      </a:cubicBezTo>
                      <a:cubicBezTo>
                        <a:pt x="75018" y="61912"/>
                        <a:pt x="75018" y="62960"/>
                        <a:pt x="69303" y="62389"/>
                      </a:cubicBezTo>
                      <a:cubicBezTo>
                        <a:pt x="63874" y="61912"/>
                        <a:pt x="63588" y="62103"/>
                        <a:pt x="58159" y="61341"/>
                      </a:cubicBezTo>
                      <a:cubicBezTo>
                        <a:pt x="52444" y="60865"/>
                        <a:pt x="52444" y="59817"/>
                        <a:pt x="47014" y="59341"/>
                      </a:cubicBezTo>
                      <a:cubicBezTo>
                        <a:pt x="41299" y="58579"/>
                        <a:pt x="41299" y="59341"/>
                        <a:pt x="35584" y="58579"/>
                      </a:cubicBezTo>
                      <a:cubicBezTo>
                        <a:pt x="29869" y="58103"/>
                        <a:pt x="29869" y="58864"/>
                        <a:pt x="24154" y="58293"/>
                      </a:cubicBezTo>
                      <a:cubicBezTo>
                        <a:pt x="18439" y="57531"/>
                        <a:pt x="18439" y="56769"/>
                        <a:pt x="13010" y="56293"/>
                      </a:cubicBezTo>
                      <a:cubicBezTo>
                        <a:pt x="7295" y="55816"/>
                        <a:pt x="5295" y="59341"/>
                        <a:pt x="1580" y="55245"/>
                      </a:cubicBezTo>
                      <a:cubicBezTo>
                        <a:pt x="-2135" y="51244"/>
                        <a:pt x="1866" y="49720"/>
                        <a:pt x="1866" y="44196"/>
                      </a:cubicBezTo>
                      <a:cubicBezTo>
                        <a:pt x="1866" y="38671"/>
                        <a:pt x="1580" y="38671"/>
                        <a:pt x="1580" y="33147"/>
                      </a:cubicBezTo>
                      <a:cubicBezTo>
                        <a:pt x="1580" y="27622"/>
                        <a:pt x="1866" y="27622"/>
                        <a:pt x="1866" y="22098"/>
                      </a:cubicBezTo>
                      <a:cubicBezTo>
                        <a:pt x="1866" y="16573"/>
                        <a:pt x="1866" y="16573"/>
                        <a:pt x="1866" y="11049"/>
                      </a:cubicBezTo>
                      <a:cubicBezTo>
                        <a:pt x="1866" y="5524"/>
                        <a:pt x="1866" y="5524"/>
                        <a:pt x="1866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8" name="Freeform: Shape 387">
                  <a:extLst>
                    <a:ext uri="{FF2B5EF4-FFF2-40B4-BE49-F238E27FC236}">
                      <a16:creationId xmlns:a16="http://schemas.microsoft.com/office/drawing/2014/main" id="{0D744AF7-F11C-AA52-7635-BA64B63C9104}"/>
                    </a:ext>
                  </a:extLst>
                </p:cNvPr>
                <p:cNvSpPr/>
                <p:nvPr/>
              </p:nvSpPr>
              <p:spPr>
                <a:xfrm>
                  <a:off x="5328951" y="3142202"/>
                  <a:ext cx="1238" cy="169735"/>
                </a:xfrm>
                <a:custGeom>
                  <a:avLst/>
                  <a:gdLst>
                    <a:gd name="connsiteX0" fmla="*/ 381 w 1238"/>
                    <a:gd name="connsiteY0" fmla="*/ 0 h 169735"/>
                    <a:gd name="connsiteX1" fmla="*/ 381 w 1238"/>
                    <a:gd name="connsiteY1" fmla="*/ 0 h 169735"/>
                    <a:gd name="connsiteX2" fmla="*/ 667 w 1238"/>
                    <a:gd name="connsiteY2" fmla="*/ 11335 h 169735"/>
                    <a:gd name="connsiteX3" fmla="*/ 952 w 1238"/>
                    <a:gd name="connsiteY3" fmla="*/ 22670 h 169735"/>
                    <a:gd name="connsiteX4" fmla="*/ 1238 w 1238"/>
                    <a:gd name="connsiteY4" fmla="*/ 34004 h 169735"/>
                    <a:gd name="connsiteX5" fmla="*/ 762 w 1238"/>
                    <a:gd name="connsiteY5" fmla="*/ 45339 h 169735"/>
                    <a:gd name="connsiteX6" fmla="*/ 0 w 1238"/>
                    <a:gd name="connsiteY6" fmla="*/ 56388 h 169735"/>
                    <a:gd name="connsiteX7" fmla="*/ 952 w 1238"/>
                    <a:gd name="connsiteY7" fmla="*/ 67723 h 169735"/>
                    <a:gd name="connsiteX8" fmla="*/ 952 w 1238"/>
                    <a:gd name="connsiteY8" fmla="*/ 79057 h 169735"/>
                    <a:gd name="connsiteX9" fmla="*/ 952 w 1238"/>
                    <a:gd name="connsiteY9" fmla="*/ 90392 h 169735"/>
                    <a:gd name="connsiteX10" fmla="*/ 1238 w 1238"/>
                    <a:gd name="connsiteY10" fmla="*/ 101727 h 169735"/>
                    <a:gd name="connsiteX11" fmla="*/ 1238 w 1238"/>
                    <a:gd name="connsiteY11" fmla="*/ 113062 h 169735"/>
                    <a:gd name="connsiteX12" fmla="*/ 762 w 1238"/>
                    <a:gd name="connsiteY12" fmla="*/ 124397 h 169735"/>
                    <a:gd name="connsiteX13" fmla="*/ 0 w 1238"/>
                    <a:gd name="connsiteY13" fmla="*/ 135731 h 169735"/>
                    <a:gd name="connsiteX14" fmla="*/ 286 w 1238"/>
                    <a:gd name="connsiteY14" fmla="*/ 147066 h 169735"/>
                    <a:gd name="connsiteX15" fmla="*/ 1048 w 1238"/>
                    <a:gd name="connsiteY15" fmla="*/ 158401 h 169735"/>
                    <a:gd name="connsiteX16" fmla="*/ 762 w 1238"/>
                    <a:gd name="connsiteY16" fmla="*/ 169736 h 16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38" h="169735">
                      <a:moveTo>
                        <a:pt x="381" y="0"/>
                      </a:moveTo>
                      <a:lnTo>
                        <a:pt x="381" y="0"/>
                      </a:lnTo>
                      <a:cubicBezTo>
                        <a:pt x="381" y="5810"/>
                        <a:pt x="667" y="5810"/>
                        <a:pt x="667" y="11335"/>
                      </a:cubicBezTo>
                      <a:cubicBezTo>
                        <a:pt x="667" y="16859"/>
                        <a:pt x="952" y="16859"/>
                        <a:pt x="952" y="22670"/>
                      </a:cubicBezTo>
                      <a:cubicBezTo>
                        <a:pt x="952" y="28194"/>
                        <a:pt x="1238" y="28194"/>
                        <a:pt x="1238" y="34004"/>
                      </a:cubicBezTo>
                      <a:cubicBezTo>
                        <a:pt x="1238" y="39529"/>
                        <a:pt x="762" y="39529"/>
                        <a:pt x="762" y="45339"/>
                      </a:cubicBezTo>
                      <a:cubicBezTo>
                        <a:pt x="762" y="50864"/>
                        <a:pt x="0" y="50864"/>
                        <a:pt x="0" y="56388"/>
                      </a:cubicBezTo>
                      <a:cubicBezTo>
                        <a:pt x="0" y="62198"/>
                        <a:pt x="952" y="62198"/>
                        <a:pt x="952" y="67723"/>
                      </a:cubicBezTo>
                      <a:cubicBezTo>
                        <a:pt x="952" y="73533"/>
                        <a:pt x="952" y="73533"/>
                        <a:pt x="952" y="79057"/>
                      </a:cubicBezTo>
                      <a:cubicBezTo>
                        <a:pt x="952" y="84868"/>
                        <a:pt x="952" y="84868"/>
                        <a:pt x="952" y="90392"/>
                      </a:cubicBezTo>
                      <a:cubicBezTo>
                        <a:pt x="952" y="96203"/>
                        <a:pt x="1238" y="96203"/>
                        <a:pt x="1238" y="101727"/>
                      </a:cubicBezTo>
                      <a:cubicBezTo>
                        <a:pt x="1238" y="107252"/>
                        <a:pt x="1238" y="107252"/>
                        <a:pt x="1238" y="113062"/>
                      </a:cubicBezTo>
                      <a:cubicBezTo>
                        <a:pt x="1238" y="118586"/>
                        <a:pt x="762" y="118586"/>
                        <a:pt x="762" y="124397"/>
                      </a:cubicBezTo>
                      <a:cubicBezTo>
                        <a:pt x="762" y="129921"/>
                        <a:pt x="0" y="129921"/>
                        <a:pt x="0" y="135731"/>
                      </a:cubicBezTo>
                      <a:cubicBezTo>
                        <a:pt x="0" y="141256"/>
                        <a:pt x="286" y="141256"/>
                        <a:pt x="286" y="147066"/>
                      </a:cubicBezTo>
                      <a:cubicBezTo>
                        <a:pt x="286" y="152591"/>
                        <a:pt x="1048" y="152591"/>
                        <a:pt x="1048" y="158401"/>
                      </a:cubicBezTo>
                      <a:cubicBezTo>
                        <a:pt x="1048" y="163925"/>
                        <a:pt x="762" y="163925"/>
                        <a:pt x="762" y="169736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89" name="Freeform: Shape 388">
                  <a:extLst>
                    <a:ext uri="{FF2B5EF4-FFF2-40B4-BE49-F238E27FC236}">
                      <a16:creationId xmlns:a16="http://schemas.microsoft.com/office/drawing/2014/main" id="{3A61DD87-026C-BCF0-78A6-16F68480AF00}"/>
                    </a:ext>
                  </a:extLst>
                </p:cNvPr>
                <p:cNvSpPr/>
                <p:nvPr/>
              </p:nvSpPr>
              <p:spPr>
                <a:xfrm>
                  <a:off x="5233416" y="3326511"/>
                  <a:ext cx="89534" cy="50563"/>
                </a:xfrm>
                <a:custGeom>
                  <a:avLst/>
                  <a:gdLst>
                    <a:gd name="connsiteX0" fmla="*/ 89535 w 89534"/>
                    <a:gd name="connsiteY0" fmla="*/ 26289 h 50563"/>
                    <a:gd name="connsiteX1" fmla="*/ 89535 w 89534"/>
                    <a:gd name="connsiteY1" fmla="*/ 26289 h 50563"/>
                    <a:gd name="connsiteX2" fmla="*/ 87820 w 89534"/>
                    <a:gd name="connsiteY2" fmla="*/ 37052 h 50563"/>
                    <a:gd name="connsiteX3" fmla="*/ 87059 w 89534"/>
                    <a:gd name="connsiteY3" fmla="*/ 48577 h 50563"/>
                    <a:gd name="connsiteX4" fmla="*/ 76200 w 89534"/>
                    <a:gd name="connsiteY4" fmla="*/ 48101 h 50563"/>
                    <a:gd name="connsiteX5" fmla="*/ 71533 w 89534"/>
                    <a:gd name="connsiteY5" fmla="*/ 40862 h 50563"/>
                    <a:gd name="connsiteX6" fmla="*/ 66104 w 89534"/>
                    <a:gd name="connsiteY6" fmla="*/ 34099 h 50563"/>
                    <a:gd name="connsiteX7" fmla="*/ 57721 w 89534"/>
                    <a:gd name="connsiteY7" fmla="*/ 47625 h 50563"/>
                    <a:gd name="connsiteX8" fmla="*/ 46577 w 89534"/>
                    <a:gd name="connsiteY8" fmla="*/ 48863 h 50563"/>
                    <a:gd name="connsiteX9" fmla="*/ 34671 w 89534"/>
                    <a:gd name="connsiteY9" fmla="*/ 48577 h 50563"/>
                    <a:gd name="connsiteX10" fmla="*/ 22765 w 89534"/>
                    <a:gd name="connsiteY10" fmla="*/ 47339 h 50563"/>
                    <a:gd name="connsiteX11" fmla="*/ 10858 w 89534"/>
                    <a:gd name="connsiteY11" fmla="*/ 46863 h 50563"/>
                    <a:gd name="connsiteX12" fmla="*/ 0 w 89534"/>
                    <a:gd name="connsiteY12" fmla="*/ 41339 h 50563"/>
                    <a:gd name="connsiteX13" fmla="*/ 7906 w 89534"/>
                    <a:gd name="connsiteY13" fmla="*/ 33338 h 50563"/>
                    <a:gd name="connsiteX14" fmla="*/ 17335 w 89534"/>
                    <a:gd name="connsiteY14" fmla="*/ 27813 h 50563"/>
                    <a:gd name="connsiteX15" fmla="*/ 26956 w 89534"/>
                    <a:gd name="connsiteY15" fmla="*/ 22765 h 50563"/>
                    <a:gd name="connsiteX16" fmla="*/ 36576 w 89534"/>
                    <a:gd name="connsiteY16" fmla="*/ 17526 h 50563"/>
                    <a:gd name="connsiteX17" fmla="*/ 46768 w 89534"/>
                    <a:gd name="connsiteY17" fmla="*/ 13716 h 50563"/>
                    <a:gd name="connsiteX18" fmla="*/ 56674 w 89534"/>
                    <a:gd name="connsiteY18" fmla="*/ 8953 h 50563"/>
                    <a:gd name="connsiteX19" fmla="*/ 66580 w 89534"/>
                    <a:gd name="connsiteY19" fmla="*/ 4477 h 50563"/>
                    <a:gd name="connsiteX20" fmla="*/ 76486 w 89534"/>
                    <a:gd name="connsiteY20" fmla="*/ 0 h 50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9534" h="50563">
                      <a:moveTo>
                        <a:pt x="89535" y="26289"/>
                      </a:moveTo>
                      <a:lnTo>
                        <a:pt x="89535" y="26289"/>
                      </a:lnTo>
                      <a:cubicBezTo>
                        <a:pt x="88773" y="31814"/>
                        <a:pt x="88583" y="31528"/>
                        <a:pt x="87820" y="37052"/>
                      </a:cubicBezTo>
                      <a:cubicBezTo>
                        <a:pt x="87059" y="42577"/>
                        <a:pt x="91250" y="44863"/>
                        <a:pt x="87059" y="48577"/>
                      </a:cubicBezTo>
                      <a:cubicBezTo>
                        <a:pt x="83058" y="52102"/>
                        <a:pt x="81153" y="50292"/>
                        <a:pt x="76200" y="48101"/>
                      </a:cubicBezTo>
                      <a:cubicBezTo>
                        <a:pt x="72009" y="46387"/>
                        <a:pt x="74009" y="44291"/>
                        <a:pt x="71533" y="40862"/>
                      </a:cubicBezTo>
                      <a:cubicBezTo>
                        <a:pt x="69056" y="37052"/>
                        <a:pt x="70009" y="32099"/>
                        <a:pt x="66104" y="34099"/>
                      </a:cubicBezTo>
                      <a:cubicBezTo>
                        <a:pt x="59150" y="37909"/>
                        <a:pt x="63151" y="41624"/>
                        <a:pt x="57721" y="47625"/>
                      </a:cubicBezTo>
                      <a:cubicBezTo>
                        <a:pt x="53721" y="52102"/>
                        <a:pt x="53531" y="48863"/>
                        <a:pt x="46577" y="48863"/>
                      </a:cubicBezTo>
                      <a:cubicBezTo>
                        <a:pt x="42862" y="49149"/>
                        <a:pt x="38862" y="48577"/>
                        <a:pt x="34671" y="48577"/>
                      </a:cubicBezTo>
                      <a:cubicBezTo>
                        <a:pt x="30670" y="48292"/>
                        <a:pt x="26765" y="47530"/>
                        <a:pt x="22765" y="47339"/>
                      </a:cubicBezTo>
                      <a:cubicBezTo>
                        <a:pt x="18574" y="47053"/>
                        <a:pt x="14383" y="47339"/>
                        <a:pt x="10858" y="46863"/>
                      </a:cubicBezTo>
                      <a:cubicBezTo>
                        <a:pt x="4667" y="45815"/>
                        <a:pt x="0" y="43624"/>
                        <a:pt x="0" y="41339"/>
                      </a:cubicBezTo>
                      <a:cubicBezTo>
                        <a:pt x="0" y="39814"/>
                        <a:pt x="3239" y="36290"/>
                        <a:pt x="7906" y="33338"/>
                      </a:cubicBezTo>
                      <a:cubicBezTo>
                        <a:pt x="10668" y="31623"/>
                        <a:pt x="13811" y="29813"/>
                        <a:pt x="17335" y="27813"/>
                      </a:cubicBezTo>
                      <a:cubicBezTo>
                        <a:pt x="20288" y="26098"/>
                        <a:pt x="23813" y="24574"/>
                        <a:pt x="26956" y="22765"/>
                      </a:cubicBezTo>
                      <a:cubicBezTo>
                        <a:pt x="30194" y="21050"/>
                        <a:pt x="33433" y="19240"/>
                        <a:pt x="36576" y="17526"/>
                      </a:cubicBezTo>
                      <a:cubicBezTo>
                        <a:pt x="39814" y="16002"/>
                        <a:pt x="43529" y="15240"/>
                        <a:pt x="46768" y="13716"/>
                      </a:cubicBezTo>
                      <a:cubicBezTo>
                        <a:pt x="50197" y="12001"/>
                        <a:pt x="53435" y="10192"/>
                        <a:pt x="56674" y="8953"/>
                      </a:cubicBezTo>
                      <a:cubicBezTo>
                        <a:pt x="60103" y="7239"/>
                        <a:pt x="63627" y="5715"/>
                        <a:pt x="66580" y="4477"/>
                      </a:cubicBezTo>
                      <a:cubicBezTo>
                        <a:pt x="72485" y="1714"/>
                        <a:pt x="71247" y="2000"/>
                        <a:pt x="76486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0" name="Freeform: Shape 389">
                  <a:extLst>
                    <a:ext uri="{FF2B5EF4-FFF2-40B4-BE49-F238E27FC236}">
                      <a16:creationId xmlns:a16="http://schemas.microsoft.com/office/drawing/2014/main" id="{7830F61E-55D2-80F8-44A4-8D9EEFF18F98}"/>
                    </a:ext>
                  </a:extLst>
                </p:cNvPr>
                <p:cNvSpPr/>
                <p:nvPr/>
              </p:nvSpPr>
              <p:spPr>
                <a:xfrm>
                  <a:off x="5341238" y="3322986"/>
                  <a:ext cx="88677" cy="51995"/>
                </a:xfrm>
                <a:custGeom>
                  <a:avLst/>
                  <a:gdLst>
                    <a:gd name="connsiteX0" fmla="*/ 14097 w 88677"/>
                    <a:gd name="connsiteY0" fmla="*/ 0 h 51995"/>
                    <a:gd name="connsiteX1" fmla="*/ 14097 w 88677"/>
                    <a:gd name="connsiteY1" fmla="*/ 0 h 51995"/>
                    <a:gd name="connsiteX2" fmla="*/ 24003 w 88677"/>
                    <a:gd name="connsiteY2" fmla="*/ 4477 h 51995"/>
                    <a:gd name="connsiteX3" fmla="*/ 33433 w 88677"/>
                    <a:gd name="connsiteY3" fmla="*/ 10001 h 51995"/>
                    <a:gd name="connsiteX4" fmla="*/ 43625 w 88677"/>
                    <a:gd name="connsiteY4" fmla="*/ 14288 h 51995"/>
                    <a:gd name="connsiteX5" fmla="*/ 53531 w 88677"/>
                    <a:gd name="connsiteY5" fmla="*/ 18764 h 51995"/>
                    <a:gd name="connsiteX6" fmla="*/ 62675 w 88677"/>
                    <a:gd name="connsiteY6" fmla="*/ 24575 h 51995"/>
                    <a:gd name="connsiteX7" fmla="*/ 72581 w 88677"/>
                    <a:gd name="connsiteY7" fmla="*/ 29337 h 51995"/>
                    <a:gd name="connsiteX8" fmla="*/ 82010 w 88677"/>
                    <a:gd name="connsiteY8" fmla="*/ 34862 h 51995"/>
                    <a:gd name="connsiteX9" fmla="*/ 88678 w 88677"/>
                    <a:gd name="connsiteY9" fmla="*/ 42672 h 51995"/>
                    <a:gd name="connsiteX10" fmla="*/ 79058 w 88677"/>
                    <a:gd name="connsiteY10" fmla="*/ 46673 h 51995"/>
                    <a:gd name="connsiteX11" fmla="*/ 67437 w 88677"/>
                    <a:gd name="connsiteY11" fmla="*/ 48387 h 51995"/>
                    <a:gd name="connsiteX12" fmla="*/ 55531 w 88677"/>
                    <a:gd name="connsiteY12" fmla="*/ 49911 h 51995"/>
                    <a:gd name="connsiteX13" fmla="*/ 43625 w 88677"/>
                    <a:gd name="connsiteY13" fmla="*/ 49911 h 51995"/>
                    <a:gd name="connsiteX14" fmla="*/ 31718 w 88677"/>
                    <a:gd name="connsiteY14" fmla="*/ 49435 h 51995"/>
                    <a:gd name="connsiteX15" fmla="*/ 24003 w 88677"/>
                    <a:gd name="connsiteY15" fmla="*/ 35147 h 51995"/>
                    <a:gd name="connsiteX16" fmla="*/ 19050 w 88677"/>
                    <a:gd name="connsiteY16" fmla="*/ 42386 h 51995"/>
                    <a:gd name="connsiteX17" fmla="*/ 14097 w 88677"/>
                    <a:gd name="connsiteY17" fmla="*/ 50197 h 51995"/>
                    <a:gd name="connsiteX18" fmla="*/ 3239 w 88677"/>
                    <a:gd name="connsiteY18" fmla="*/ 49435 h 51995"/>
                    <a:gd name="connsiteX19" fmla="*/ 1715 w 88677"/>
                    <a:gd name="connsiteY19" fmla="*/ 38672 h 51995"/>
                    <a:gd name="connsiteX20" fmla="*/ 0 w 88677"/>
                    <a:gd name="connsiteY20" fmla="*/ 27623 h 519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8677" h="51995">
                      <a:moveTo>
                        <a:pt x="14097" y="0"/>
                      </a:moveTo>
                      <a:lnTo>
                        <a:pt x="14097" y="0"/>
                      </a:lnTo>
                      <a:cubicBezTo>
                        <a:pt x="19050" y="2286"/>
                        <a:pt x="18098" y="1715"/>
                        <a:pt x="24003" y="4477"/>
                      </a:cubicBezTo>
                      <a:cubicBezTo>
                        <a:pt x="26956" y="6001"/>
                        <a:pt x="29909" y="8287"/>
                        <a:pt x="33433" y="10001"/>
                      </a:cubicBezTo>
                      <a:cubicBezTo>
                        <a:pt x="36671" y="11525"/>
                        <a:pt x="40100" y="12764"/>
                        <a:pt x="43625" y="14288"/>
                      </a:cubicBezTo>
                      <a:cubicBezTo>
                        <a:pt x="46863" y="16002"/>
                        <a:pt x="50292" y="17050"/>
                        <a:pt x="53531" y="18764"/>
                      </a:cubicBezTo>
                      <a:cubicBezTo>
                        <a:pt x="56769" y="20288"/>
                        <a:pt x="59722" y="22765"/>
                        <a:pt x="62675" y="24575"/>
                      </a:cubicBezTo>
                      <a:cubicBezTo>
                        <a:pt x="66104" y="26289"/>
                        <a:pt x="69628" y="27623"/>
                        <a:pt x="72581" y="29337"/>
                      </a:cubicBezTo>
                      <a:cubicBezTo>
                        <a:pt x="76010" y="31337"/>
                        <a:pt x="79534" y="33147"/>
                        <a:pt x="82010" y="34862"/>
                      </a:cubicBezTo>
                      <a:cubicBezTo>
                        <a:pt x="86678" y="37909"/>
                        <a:pt x="88678" y="41148"/>
                        <a:pt x="88678" y="42672"/>
                      </a:cubicBezTo>
                      <a:cubicBezTo>
                        <a:pt x="88678" y="44958"/>
                        <a:pt x="85249" y="45720"/>
                        <a:pt x="79058" y="46673"/>
                      </a:cubicBezTo>
                      <a:cubicBezTo>
                        <a:pt x="75629" y="47434"/>
                        <a:pt x="71628" y="48197"/>
                        <a:pt x="67437" y="48387"/>
                      </a:cubicBezTo>
                      <a:cubicBezTo>
                        <a:pt x="63437" y="48673"/>
                        <a:pt x="59531" y="49625"/>
                        <a:pt x="55531" y="49911"/>
                      </a:cubicBezTo>
                      <a:cubicBezTo>
                        <a:pt x="51340" y="49911"/>
                        <a:pt x="47339" y="49911"/>
                        <a:pt x="43625" y="49911"/>
                      </a:cubicBezTo>
                      <a:cubicBezTo>
                        <a:pt x="36671" y="49911"/>
                        <a:pt x="35719" y="53912"/>
                        <a:pt x="31718" y="49435"/>
                      </a:cubicBezTo>
                      <a:cubicBezTo>
                        <a:pt x="26289" y="43434"/>
                        <a:pt x="31242" y="38862"/>
                        <a:pt x="24003" y="35147"/>
                      </a:cubicBezTo>
                      <a:cubicBezTo>
                        <a:pt x="20288" y="33147"/>
                        <a:pt x="21527" y="38957"/>
                        <a:pt x="19050" y="42386"/>
                      </a:cubicBezTo>
                      <a:cubicBezTo>
                        <a:pt x="16574" y="45910"/>
                        <a:pt x="18288" y="48387"/>
                        <a:pt x="14097" y="50197"/>
                      </a:cubicBezTo>
                      <a:cubicBezTo>
                        <a:pt x="9144" y="52483"/>
                        <a:pt x="7144" y="52959"/>
                        <a:pt x="3239" y="49435"/>
                      </a:cubicBezTo>
                      <a:cubicBezTo>
                        <a:pt x="-952" y="45910"/>
                        <a:pt x="2477" y="43910"/>
                        <a:pt x="1715" y="38672"/>
                      </a:cubicBezTo>
                      <a:cubicBezTo>
                        <a:pt x="762" y="33147"/>
                        <a:pt x="762" y="33147"/>
                        <a:pt x="0" y="27623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1" name="Freeform: Shape 390">
                  <a:extLst>
                    <a:ext uri="{FF2B5EF4-FFF2-40B4-BE49-F238E27FC236}">
                      <a16:creationId xmlns:a16="http://schemas.microsoft.com/office/drawing/2014/main" id="{8FA2AE1D-BE36-3624-B0E5-24C850D20344}"/>
                    </a:ext>
                  </a:extLst>
                </p:cNvPr>
                <p:cNvSpPr/>
                <p:nvPr/>
              </p:nvSpPr>
              <p:spPr>
                <a:xfrm>
                  <a:off x="5376671" y="2940939"/>
                  <a:ext cx="27717" cy="20669"/>
                </a:xfrm>
                <a:custGeom>
                  <a:avLst/>
                  <a:gdLst>
                    <a:gd name="connsiteX0" fmla="*/ 0 w 27717"/>
                    <a:gd name="connsiteY0" fmla="*/ 0 h 20669"/>
                    <a:gd name="connsiteX1" fmla="*/ 0 w 27717"/>
                    <a:gd name="connsiteY1" fmla="*/ 0 h 20669"/>
                    <a:gd name="connsiteX2" fmla="*/ 8668 w 27717"/>
                    <a:gd name="connsiteY2" fmla="*/ 7810 h 20669"/>
                    <a:gd name="connsiteX3" fmla="*/ 17812 w 27717"/>
                    <a:gd name="connsiteY3" fmla="*/ 14383 h 20669"/>
                    <a:gd name="connsiteX4" fmla="*/ 27718 w 27717"/>
                    <a:gd name="connsiteY4" fmla="*/ 20669 h 20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717" h="20669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4477" y="3524"/>
                        <a:pt x="4001" y="4286"/>
                        <a:pt x="8668" y="7810"/>
                      </a:cubicBezTo>
                      <a:cubicBezTo>
                        <a:pt x="13145" y="11049"/>
                        <a:pt x="13145" y="11049"/>
                        <a:pt x="17812" y="14383"/>
                      </a:cubicBezTo>
                      <a:cubicBezTo>
                        <a:pt x="22479" y="17907"/>
                        <a:pt x="23051" y="17145"/>
                        <a:pt x="27718" y="20669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2" name="Freeform: Shape 391">
                  <a:extLst>
                    <a:ext uri="{FF2B5EF4-FFF2-40B4-BE49-F238E27FC236}">
                      <a16:creationId xmlns:a16="http://schemas.microsoft.com/office/drawing/2014/main" id="{7F35C43C-18A9-C39A-8C20-96B58691505B}"/>
                    </a:ext>
                  </a:extLst>
                </p:cNvPr>
                <p:cNvSpPr/>
                <p:nvPr/>
              </p:nvSpPr>
              <p:spPr>
                <a:xfrm>
                  <a:off x="5342953" y="2836926"/>
                  <a:ext cx="1047" cy="14382"/>
                </a:xfrm>
                <a:custGeom>
                  <a:avLst/>
                  <a:gdLst>
                    <a:gd name="connsiteX0" fmla="*/ 0 w 1047"/>
                    <a:gd name="connsiteY0" fmla="*/ 0 h 14382"/>
                    <a:gd name="connsiteX1" fmla="*/ 0 w 1047"/>
                    <a:gd name="connsiteY1" fmla="*/ 0 h 14382"/>
                    <a:gd name="connsiteX2" fmla="*/ 1048 w 1047"/>
                    <a:gd name="connsiteY2" fmla="*/ 14383 h 143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47" h="14382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572" y="7048"/>
                        <a:pt x="572" y="7048"/>
                        <a:pt x="1048" y="14383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3" name="Freeform: Shape 392">
                  <a:extLst>
                    <a:ext uri="{FF2B5EF4-FFF2-40B4-BE49-F238E27FC236}">
                      <a16:creationId xmlns:a16="http://schemas.microsoft.com/office/drawing/2014/main" id="{D5A1EA22-7A6A-C808-30CF-A3627FA820A2}"/>
                    </a:ext>
                  </a:extLst>
                </p:cNvPr>
                <p:cNvSpPr/>
                <p:nvPr/>
              </p:nvSpPr>
              <p:spPr>
                <a:xfrm>
                  <a:off x="5361028" y="2835211"/>
                  <a:ext cx="308" cy="14287"/>
                </a:xfrm>
                <a:custGeom>
                  <a:avLst/>
                  <a:gdLst>
                    <a:gd name="connsiteX0" fmla="*/ 22 w 308"/>
                    <a:gd name="connsiteY0" fmla="*/ 0 h 14287"/>
                    <a:gd name="connsiteX1" fmla="*/ 22 w 308"/>
                    <a:gd name="connsiteY1" fmla="*/ 0 h 14287"/>
                    <a:gd name="connsiteX2" fmla="*/ 308 w 308"/>
                    <a:gd name="connsiteY2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08" h="14287">
                      <a:moveTo>
                        <a:pt x="22" y="0"/>
                      </a:moveTo>
                      <a:lnTo>
                        <a:pt x="22" y="0"/>
                      </a:lnTo>
                      <a:cubicBezTo>
                        <a:pt x="499" y="7049"/>
                        <a:pt x="-454" y="7239"/>
                        <a:pt x="308" y="14288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4" name="Freeform: Shape 393">
                  <a:extLst>
                    <a:ext uri="{FF2B5EF4-FFF2-40B4-BE49-F238E27FC236}">
                      <a16:creationId xmlns:a16="http://schemas.microsoft.com/office/drawing/2014/main" id="{B2BEF713-4A36-7900-9ABC-D1A7A3031CAC}"/>
                    </a:ext>
                  </a:extLst>
                </p:cNvPr>
                <p:cNvSpPr/>
                <p:nvPr/>
              </p:nvSpPr>
              <p:spPr>
                <a:xfrm>
                  <a:off x="5280279" y="2791431"/>
                  <a:ext cx="120867" cy="163395"/>
                </a:xfrm>
                <a:custGeom>
                  <a:avLst/>
                  <a:gdLst>
                    <a:gd name="connsiteX0" fmla="*/ 120682 w 120867"/>
                    <a:gd name="connsiteY0" fmla="*/ 81404 h 163395"/>
                    <a:gd name="connsiteX1" fmla="*/ 120682 w 120867"/>
                    <a:gd name="connsiteY1" fmla="*/ 81404 h 163395"/>
                    <a:gd name="connsiteX2" fmla="*/ 120205 w 120867"/>
                    <a:gd name="connsiteY2" fmla="*/ 92453 h 163395"/>
                    <a:gd name="connsiteX3" fmla="*/ 118491 w 120867"/>
                    <a:gd name="connsiteY3" fmla="*/ 103788 h 163395"/>
                    <a:gd name="connsiteX4" fmla="*/ 115729 w 120867"/>
                    <a:gd name="connsiteY4" fmla="*/ 114551 h 163395"/>
                    <a:gd name="connsiteX5" fmla="*/ 112490 w 120867"/>
                    <a:gd name="connsiteY5" fmla="*/ 125314 h 163395"/>
                    <a:gd name="connsiteX6" fmla="*/ 107251 w 120867"/>
                    <a:gd name="connsiteY6" fmla="*/ 135315 h 163395"/>
                    <a:gd name="connsiteX7" fmla="*/ 100774 w 120867"/>
                    <a:gd name="connsiteY7" fmla="*/ 144364 h 163395"/>
                    <a:gd name="connsiteX8" fmla="*/ 92869 w 120867"/>
                    <a:gd name="connsiteY8" fmla="*/ 152651 h 163395"/>
                    <a:gd name="connsiteX9" fmla="*/ 82963 w 120867"/>
                    <a:gd name="connsiteY9" fmla="*/ 157890 h 163395"/>
                    <a:gd name="connsiteX10" fmla="*/ 73057 w 120867"/>
                    <a:gd name="connsiteY10" fmla="*/ 162652 h 163395"/>
                    <a:gd name="connsiteX11" fmla="*/ 61913 w 120867"/>
                    <a:gd name="connsiteY11" fmla="*/ 163128 h 163395"/>
                    <a:gd name="connsiteX12" fmla="*/ 50768 w 120867"/>
                    <a:gd name="connsiteY12" fmla="*/ 162843 h 163395"/>
                    <a:gd name="connsiteX13" fmla="*/ 40576 w 120867"/>
                    <a:gd name="connsiteY13" fmla="*/ 158366 h 163395"/>
                    <a:gd name="connsiteX14" fmla="*/ 31147 w 120867"/>
                    <a:gd name="connsiteY14" fmla="*/ 152556 h 163395"/>
                    <a:gd name="connsiteX15" fmla="*/ 22479 w 120867"/>
                    <a:gd name="connsiteY15" fmla="*/ 145507 h 163395"/>
                    <a:gd name="connsiteX16" fmla="*/ 15526 w 120867"/>
                    <a:gd name="connsiteY16" fmla="*/ 136458 h 163395"/>
                    <a:gd name="connsiteX17" fmla="*/ 10096 w 120867"/>
                    <a:gd name="connsiteY17" fmla="*/ 126648 h 163395"/>
                    <a:gd name="connsiteX18" fmla="*/ 5429 w 120867"/>
                    <a:gd name="connsiteY18" fmla="*/ 116075 h 163395"/>
                    <a:gd name="connsiteX19" fmla="*/ 3429 w 120867"/>
                    <a:gd name="connsiteY19" fmla="*/ 105026 h 163395"/>
                    <a:gd name="connsiteX20" fmla="*/ 952 w 120867"/>
                    <a:gd name="connsiteY20" fmla="*/ 93977 h 163395"/>
                    <a:gd name="connsiteX21" fmla="*/ 0 w 120867"/>
                    <a:gd name="connsiteY21" fmla="*/ 82642 h 163395"/>
                    <a:gd name="connsiteX22" fmla="*/ 762 w 120867"/>
                    <a:gd name="connsiteY22" fmla="*/ 71307 h 163395"/>
                    <a:gd name="connsiteX23" fmla="*/ 2476 w 120867"/>
                    <a:gd name="connsiteY23" fmla="*/ 60258 h 163395"/>
                    <a:gd name="connsiteX24" fmla="*/ 4953 w 120867"/>
                    <a:gd name="connsiteY24" fmla="*/ 49209 h 163395"/>
                    <a:gd name="connsiteX25" fmla="*/ 9144 w 120867"/>
                    <a:gd name="connsiteY25" fmla="*/ 38637 h 163395"/>
                    <a:gd name="connsiteX26" fmla="*/ 14573 w 120867"/>
                    <a:gd name="connsiteY26" fmla="*/ 28826 h 163395"/>
                    <a:gd name="connsiteX27" fmla="*/ 21050 w 120867"/>
                    <a:gd name="connsiteY27" fmla="*/ 19491 h 163395"/>
                    <a:gd name="connsiteX28" fmla="*/ 29718 w 120867"/>
                    <a:gd name="connsiteY28" fmla="*/ 12443 h 163395"/>
                    <a:gd name="connsiteX29" fmla="*/ 38671 w 120867"/>
                    <a:gd name="connsiteY29" fmla="*/ 5871 h 163395"/>
                    <a:gd name="connsiteX30" fmla="*/ 48577 w 120867"/>
                    <a:gd name="connsiteY30" fmla="*/ 632 h 163395"/>
                    <a:gd name="connsiteX31" fmla="*/ 59722 w 120867"/>
                    <a:gd name="connsiteY31" fmla="*/ 156 h 163395"/>
                    <a:gd name="connsiteX32" fmla="*/ 70866 w 120867"/>
                    <a:gd name="connsiteY32" fmla="*/ 1394 h 163395"/>
                    <a:gd name="connsiteX33" fmla="*/ 81248 w 120867"/>
                    <a:gd name="connsiteY33" fmla="*/ 4918 h 163395"/>
                    <a:gd name="connsiteX34" fmla="*/ 90392 w 120867"/>
                    <a:gd name="connsiteY34" fmla="*/ 11205 h 163395"/>
                    <a:gd name="connsiteX35" fmla="*/ 98774 w 120867"/>
                    <a:gd name="connsiteY35" fmla="*/ 18729 h 163395"/>
                    <a:gd name="connsiteX36" fmla="*/ 106204 w 120867"/>
                    <a:gd name="connsiteY36" fmla="*/ 27016 h 163395"/>
                    <a:gd name="connsiteX37" fmla="*/ 110871 w 120867"/>
                    <a:gd name="connsiteY37" fmla="*/ 37589 h 163395"/>
                    <a:gd name="connsiteX38" fmla="*/ 114871 w 120867"/>
                    <a:gd name="connsiteY38" fmla="*/ 47876 h 163395"/>
                    <a:gd name="connsiteX39" fmla="*/ 118872 w 120867"/>
                    <a:gd name="connsiteY39" fmla="*/ 58449 h 163395"/>
                    <a:gd name="connsiteX40" fmla="*/ 120587 w 120867"/>
                    <a:gd name="connsiteY40" fmla="*/ 69783 h 163395"/>
                    <a:gd name="connsiteX41" fmla="*/ 120682 w 120867"/>
                    <a:gd name="connsiteY41" fmla="*/ 81404 h 163395"/>
                    <a:gd name="connsiteX42" fmla="*/ 120682 w 120867"/>
                    <a:gd name="connsiteY42" fmla="*/ 81404 h 163395"/>
                    <a:gd name="connsiteX43" fmla="*/ 120682 w 120867"/>
                    <a:gd name="connsiteY43" fmla="*/ 81404 h 163395"/>
                    <a:gd name="connsiteX44" fmla="*/ 120682 w 120867"/>
                    <a:gd name="connsiteY44" fmla="*/ 81404 h 163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120867" h="163395">
                      <a:moveTo>
                        <a:pt x="120682" y="81404"/>
                      </a:moveTo>
                      <a:lnTo>
                        <a:pt x="120682" y="81404"/>
                      </a:lnTo>
                      <a:cubicBezTo>
                        <a:pt x="120968" y="85214"/>
                        <a:pt x="120396" y="88929"/>
                        <a:pt x="120205" y="92453"/>
                      </a:cubicBezTo>
                      <a:cubicBezTo>
                        <a:pt x="119920" y="96453"/>
                        <a:pt x="119253" y="99978"/>
                        <a:pt x="118491" y="103788"/>
                      </a:cubicBezTo>
                      <a:cubicBezTo>
                        <a:pt x="117729" y="107598"/>
                        <a:pt x="116967" y="111027"/>
                        <a:pt x="115729" y="114551"/>
                      </a:cubicBezTo>
                      <a:cubicBezTo>
                        <a:pt x="114776" y="118075"/>
                        <a:pt x="114205" y="122076"/>
                        <a:pt x="112490" y="125314"/>
                      </a:cubicBezTo>
                      <a:cubicBezTo>
                        <a:pt x="110966" y="128838"/>
                        <a:pt x="109252" y="132077"/>
                        <a:pt x="107251" y="135315"/>
                      </a:cubicBezTo>
                      <a:cubicBezTo>
                        <a:pt x="105251" y="138554"/>
                        <a:pt x="103061" y="141602"/>
                        <a:pt x="100774" y="144364"/>
                      </a:cubicBezTo>
                      <a:cubicBezTo>
                        <a:pt x="98298" y="147412"/>
                        <a:pt x="95821" y="150174"/>
                        <a:pt x="92869" y="152651"/>
                      </a:cubicBezTo>
                      <a:cubicBezTo>
                        <a:pt x="89916" y="154937"/>
                        <a:pt x="86201" y="156175"/>
                        <a:pt x="82963" y="157890"/>
                      </a:cubicBezTo>
                      <a:cubicBezTo>
                        <a:pt x="79724" y="159604"/>
                        <a:pt x="76486" y="161700"/>
                        <a:pt x="73057" y="162652"/>
                      </a:cubicBezTo>
                      <a:cubicBezTo>
                        <a:pt x="69342" y="163700"/>
                        <a:pt x="65627" y="162938"/>
                        <a:pt x="61913" y="163128"/>
                      </a:cubicBezTo>
                      <a:cubicBezTo>
                        <a:pt x="58198" y="163128"/>
                        <a:pt x="54197" y="163890"/>
                        <a:pt x="50768" y="162843"/>
                      </a:cubicBezTo>
                      <a:cubicBezTo>
                        <a:pt x="47053" y="162081"/>
                        <a:pt x="43815" y="160080"/>
                        <a:pt x="40576" y="158366"/>
                      </a:cubicBezTo>
                      <a:cubicBezTo>
                        <a:pt x="37338" y="156842"/>
                        <a:pt x="34099" y="155127"/>
                        <a:pt x="31147" y="152556"/>
                      </a:cubicBezTo>
                      <a:cubicBezTo>
                        <a:pt x="28194" y="150270"/>
                        <a:pt x="24955" y="148269"/>
                        <a:pt x="22479" y="145507"/>
                      </a:cubicBezTo>
                      <a:cubicBezTo>
                        <a:pt x="20002" y="142745"/>
                        <a:pt x="17812" y="139506"/>
                        <a:pt x="15526" y="136458"/>
                      </a:cubicBezTo>
                      <a:cubicBezTo>
                        <a:pt x="13525" y="133220"/>
                        <a:pt x="11811" y="129886"/>
                        <a:pt x="10096" y="126648"/>
                      </a:cubicBezTo>
                      <a:cubicBezTo>
                        <a:pt x="8382" y="123123"/>
                        <a:pt x="6668" y="119885"/>
                        <a:pt x="5429" y="116075"/>
                      </a:cubicBezTo>
                      <a:cubicBezTo>
                        <a:pt x="4191" y="112836"/>
                        <a:pt x="4477" y="108836"/>
                        <a:pt x="3429" y="105026"/>
                      </a:cubicBezTo>
                      <a:cubicBezTo>
                        <a:pt x="2667" y="101502"/>
                        <a:pt x="1429" y="97787"/>
                        <a:pt x="952" y="93977"/>
                      </a:cubicBezTo>
                      <a:cubicBezTo>
                        <a:pt x="667" y="90167"/>
                        <a:pt x="0" y="86452"/>
                        <a:pt x="0" y="82642"/>
                      </a:cubicBezTo>
                      <a:cubicBezTo>
                        <a:pt x="0" y="78832"/>
                        <a:pt x="286" y="75117"/>
                        <a:pt x="762" y="71307"/>
                      </a:cubicBezTo>
                      <a:cubicBezTo>
                        <a:pt x="1048" y="67497"/>
                        <a:pt x="1715" y="63783"/>
                        <a:pt x="2476" y="60258"/>
                      </a:cubicBezTo>
                      <a:cubicBezTo>
                        <a:pt x="3239" y="56448"/>
                        <a:pt x="4000" y="52734"/>
                        <a:pt x="4953" y="49209"/>
                      </a:cubicBezTo>
                      <a:cubicBezTo>
                        <a:pt x="6191" y="45399"/>
                        <a:pt x="7715" y="42161"/>
                        <a:pt x="9144" y="38637"/>
                      </a:cubicBezTo>
                      <a:cubicBezTo>
                        <a:pt x="10858" y="35112"/>
                        <a:pt x="12859" y="31874"/>
                        <a:pt x="14573" y="28826"/>
                      </a:cubicBezTo>
                      <a:cubicBezTo>
                        <a:pt x="16764" y="25587"/>
                        <a:pt x="18574" y="22254"/>
                        <a:pt x="21050" y="19491"/>
                      </a:cubicBezTo>
                      <a:cubicBezTo>
                        <a:pt x="23527" y="16443"/>
                        <a:pt x="26765" y="14729"/>
                        <a:pt x="29718" y="12443"/>
                      </a:cubicBezTo>
                      <a:cubicBezTo>
                        <a:pt x="32671" y="9966"/>
                        <a:pt x="35433" y="7680"/>
                        <a:pt x="38671" y="5871"/>
                      </a:cubicBezTo>
                      <a:cubicBezTo>
                        <a:pt x="42100" y="4156"/>
                        <a:pt x="45148" y="1584"/>
                        <a:pt x="48577" y="632"/>
                      </a:cubicBezTo>
                      <a:cubicBezTo>
                        <a:pt x="52292" y="-416"/>
                        <a:pt x="56007" y="156"/>
                        <a:pt x="59722" y="156"/>
                      </a:cubicBezTo>
                      <a:cubicBezTo>
                        <a:pt x="63722" y="156"/>
                        <a:pt x="67151" y="441"/>
                        <a:pt x="70866" y="1394"/>
                      </a:cubicBezTo>
                      <a:cubicBezTo>
                        <a:pt x="74295" y="2156"/>
                        <a:pt x="78010" y="3108"/>
                        <a:pt x="81248" y="4918"/>
                      </a:cubicBezTo>
                      <a:cubicBezTo>
                        <a:pt x="84677" y="6442"/>
                        <a:pt x="87440" y="8919"/>
                        <a:pt x="90392" y="11205"/>
                      </a:cubicBezTo>
                      <a:cubicBezTo>
                        <a:pt x="93345" y="13491"/>
                        <a:pt x="96298" y="15681"/>
                        <a:pt x="98774" y="18729"/>
                      </a:cubicBezTo>
                      <a:cubicBezTo>
                        <a:pt x="101251" y="21206"/>
                        <a:pt x="104013" y="23968"/>
                        <a:pt x="106204" y="27016"/>
                      </a:cubicBezTo>
                      <a:cubicBezTo>
                        <a:pt x="108204" y="30255"/>
                        <a:pt x="109156" y="34065"/>
                        <a:pt x="110871" y="37589"/>
                      </a:cubicBezTo>
                      <a:cubicBezTo>
                        <a:pt x="112395" y="40827"/>
                        <a:pt x="113633" y="44352"/>
                        <a:pt x="114871" y="47876"/>
                      </a:cubicBezTo>
                      <a:cubicBezTo>
                        <a:pt x="116110" y="51400"/>
                        <a:pt x="118110" y="54639"/>
                        <a:pt x="118872" y="58449"/>
                      </a:cubicBezTo>
                      <a:cubicBezTo>
                        <a:pt x="119634" y="62259"/>
                        <a:pt x="120110" y="65973"/>
                        <a:pt x="120587" y="69783"/>
                      </a:cubicBezTo>
                      <a:cubicBezTo>
                        <a:pt x="121158" y="73689"/>
                        <a:pt x="120682" y="77689"/>
                        <a:pt x="120682" y="81404"/>
                      </a:cubicBezTo>
                      <a:lnTo>
                        <a:pt x="120682" y="81404"/>
                      </a:lnTo>
                      <a:lnTo>
                        <a:pt x="120682" y="81404"/>
                      </a:lnTo>
                      <a:lnTo>
                        <a:pt x="120682" y="81404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5" name="Freeform: Shape 394">
                  <a:extLst>
                    <a:ext uri="{FF2B5EF4-FFF2-40B4-BE49-F238E27FC236}">
                      <a16:creationId xmlns:a16="http://schemas.microsoft.com/office/drawing/2014/main" id="{DD6360BA-B48C-F8E1-6A9C-924DE5365237}"/>
                    </a:ext>
                  </a:extLst>
                </p:cNvPr>
                <p:cNvSpPr/>
                <p:nvPr/>
              </p:nvSpPr>
              <p:spPr>
                <a:xfrm>
                  <a:off x="5320188" y="2875407"/>
                  <a:ext cx="70049" cy="59633"/>
                </a:xfrm>
                <a:custGeom>
                  <a:avLst/>
                  <a:gdLst>
                    <a:gd name="connsiteX0" fmla="*/ 0 w 70049"/>
                    <a:gd name="connsiteY0" fmla="*/ 10763 h 59633"/>
                    <a:gd name="connsiteX1" fmla="*/ 0 w 70049"/>
                    <a:gd name="connsiteY1" fmla="*/ 10763 h 59633"/>
                    <a:gd name="connsiteX2" fmla="*/ 10192 w 70049"/>
                    <a:gd name="connsiteY2" fmla="*/ 13526 h 59633"/>
                    <a:gd name="connsiteX3" fmla="*/ 20574 w 70049"/>
                    <a:gd name="connsiteY3" fmla="*/ 14288 h 59633"/>
                    <a:gd name="connsiteX4" fmla="*/ 30766 w 70049"/>
                    <a:gd name="connsiteY4" fmla="*/ 14764 h 59633"/>
                    <a:gd name="connsiteX5" fmla="*/ 40957 w 70049"/>
                    <a:gd name="connsiteY5" fmla="*/ 12287 h 59633"/>
                    <a:gd name="connsiteX6" fmla="*/ 51149 w 70049"/>
                    <a:gd name="connsiteY6" fmla="*/ 10763 h 59633"/>
                    <a:gd name="connsiteX7" fmla="*/ 60579 w 70049"/>
                    <a:gd name="connsiteY7" fmla="*/ 6286 h 59633"/>
                    <a:gd name="connsiteX8" fmla="*/ 68485 w 70049"/>
                    <a:gd name="connsiteY8" fmla="*/ 0 h 59633"/>
                    <a:gd name="connsiteX9" fmla="*/ 70009 w 70049"/>
                    <a:gd name="connsiteY9" fmla="*/ 10287 h 59633"/>
                    <a:gd name="connsiteX10" fmla="*/ 67532 w 70049"/>
                    <a:gd name="connsiteY10" fmla="*/ 20860 h 59633"/>
                    <a:gd name="connsiteX11" fmla="*/ 63532 w 70049"/>
                    <a:gd name="connsiteY11" fmla="*/ 30861 h 59633"/>
                    <a:gd name="connsiteX12" fmla="*/ 59817 w 70049"/>
                    <a:gd name="connsiteY12" fmla="*/ 41148 h 59633"/>
                    <a:gd name="connsiteX13" fmla="*/ 53150 w 70049"/>
                    <a:gd name="connsiteY13" fmla="*/ 49721 h 59633"/>
                    <a:gd name="connsiteX14" fmla="*/ 45244 w 70049"/>
                    <a:gd name="connsiteY14" fmla="*/ 56769 h 59633"/>
                    <a:gd name="connsiteX15" fmla="*/ 35624 w 70049"/>
                    <a:gd name="connsiteY15" fmla="*/ 59531 h 59633"/>
                    <a:gd name="connsiteX16" fmla="*/ 26194 w 70049"/>
                    <a:gd name="connsiteY16" fmla="*/ 55245 h 59633"/>
                    <a:gd name="connsiteX17" fmla="*/ 18288 w 70049"/>
                    <a:gd name="connsiteY17" fmla="*/ 48482 h 59633"/>
                    <a:gd name="connsiteX18" fmla="*/ 11621 w 70049"/>
                    <a:gd name="connsiteY18" fmla="*/ 40481 h 59633"/>
                    <a:gd name="connsiteX19" fmla="*/ 6191 w 70049"/>
                    <a:gd name="connsiteY19" fmla="*/ 31433 h 59633"/>
                    <a:gd name="connsiteX20" fmla="*/ 1715 w 70049"/>
                    <a:gd name="connsiteY20" fmla="*/ 21908 h 59633"/>
                    <a:gd name="connsiteX21" fmla="*/ 0 w 70049"/>
                    <a:gd name="connsiteY21" fmla="*/ 10763 h 59633"/>
                    <a:gd name="connsiteX22" fmla="*/ 0 w 70049"/>
                    <a:gd name="connsiteY22" fmla="*/ 10763 h 59633"/>
                    <a:gd name="connsiteX23" fmla="*/ 0 w 70049"/>
                    <a:gd name="connsiteY23" fmla="*/ 10763 h 59633"/>
                    <a:gd name="connsiteX24" fmla="*/ 0 w 70049"/>
                    <a:gd name="connsiteY24" fmla="*/ 10763 h 596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70049" h="59633">
                      <a:moveTo>
                        <a:pt x="0" y="10763"/>
                      </a:moveTo>
                      <a:lnTo>
                        <a:pt x="0" y="10763"/>
                      </a:lnTo>
                      <a:cubicBezTo>
                        <a:pt x="4191" y="8001"/>
                        <a:pt x="4001" y="12478"/>
                        <a:pt x="10192" y="13526"/>
                      </a:cubicBezTo>
                      <a:cubicBezTo>
                        <a:pt x="13145" y="13811"/>
                        <a:pt x="16669" y="14002"/>
                        <a:pt x="20574" y="14288"/>
                      </a:cubicBezTo>
                      <a:cubicBezTo>
                        <a:pt x="23813" y="14288"/>
                        <a:pt x="27242" y="15049"/>
                        <a:pt x="30766" y="14764"/>
                      </a:cubicBezTo>
                      <a:cubicBezTo>
                        <a:pt x="34195" y="14478"/>
                        <a:pt x="37433" y="13049"/>
                        <a:pt x="40957" y="12287"/>
                      </a:cubicBezTo>
                      <a:cubicBezTo>
                        <a:pt x="44196" y="11811"/>
                        <a:pt x="47911" y="12002"/>
                        <a:pt x="51149" y="10763"/>
                      </a:cubicBezTo>
                      <a:cubicBezTo>
                        <a:pt x="54388" y="9715"/>
                        <a:pt x="57626" y="8001"/>
                        <a:pt x="60579" y="6286"/>
                      </a:cubicBezTo>
                      <a:cubicBezTo>
                        <a:pt x="63532" y="4572"/>
                        <a:pt x="66008" y="2477"/>
                        <a:pt x="68485" y="0"/>
                      </a:cubicBezTo>
                      <a:cubicBezTo>
                        <a:pt x="69723" y="2762"/>
                        <a:pt x="70199" y="6001"/>
                        <a:pt x="70009" y="10287"/>
                      </a:cubicBezTo>
                      <a:cubicBezTo>
                        <a:pt x="69723" y="13526"/>
                        <a:pt x="68485" y="17050"/>
                        <a:pt x="67532" y="20860"/>
                      </a:cubicBezTo>
                      <a:cubicBezTo>
                        <a:pt x="66580" y="24384"/>
                        <a:pt x="65056" y="27622"/>
                        <a:pt x="63532" y="30861"/>
                      </a:cubicBezTo>
                      <a:cubicBezTo>
                        <a:pt x="62294" y="34385"/>
                        <a:pt x="61531" y="38100"/>
                        <a:pt x="59817" y="41148"/>
                      </a:cubicBezTo>
                      <a:cubicBezTo>
                        <a:pt x="58103" y="44387"/>
                        <a:pt x="55340" y="46958"/>
                        <a:pt x="53150" y="49721"/>
                      </a:cubicBezTo>
                      <a:cubicBezTo>
                        <a:pt x="50673" y="52769"/>
                        <a:pt x="48197" y="54769"/>
                        <a:pt x="45244" y="56769"/>
                      </a:cubicBezTo>
                      <a:cubicBezTo>
                        <a:pt x="42291" y="58769"/>
                        <a:pt x="39338" y="60008"/>
                        <a:pt x="35624" y="59531"/>
                      </a:cubicBezTo>
                      <a:cubicBezTo>
                        <a:pt x="32671" y="59055"/>
                        <a:pt x="29432" y="57245"/>
                        <a:pt x="26194" y="55245"/>
                      </a:cubicBezTo>
                      <a:cubicBezTo>
                        <a:pt x="23431" y="53531"/>
                        <a:pt x="20955" y="50959"/>
                        <a:pt x="18288" y="48482"/>
                      </a:cubicBezTo>
                      <a:cubicBezTo>
                        <a:pt x="16097" y="46006"/>
                        <a:pt x="13811" y="43434"/>
                        <a:pt x="11621" y="40481"/>
                      </a:cubicBezTo>
                      <a:cubicBezTo>
                        <a:pt x="9620" y="37719"/>
                        <a:pt x="7620" y="34671"/>
                        <a:pt x="6191" y="31433"/>
                      </a:cubicBezTo>
                      <a:cubicBezTo>
                        <a:pt x="4667" y="28384"/>
                        <a:pt x="2762" y="25146"/>
                        <a:pt x="1715" y="21908"/>
                      </a:cubicBezTo>
                      <a:cubicBezTo>
                        <a:pt x="476" y="18288"/>
                        <a:pt x="286" y="14288"/>
                        <a:pt x="0" y="10763"/>
                      </a:cubicBezTo>
                      <a:lnTo>
                        <a:pt x="0" y="10763"/>
                      </a:lnTo>
                      <a:lnTo>
                        <a:pt x="0" y="10763"/>
                      </a:lnTo>
                      <a:lnTo>
                        <a:pt x="0" y="10763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6" name="Freeform: Shape 395">
                  <a:extLst>
                    <a:ext uri="{FF2B5EF4-FFF2-40B4-BE49-F238E27FC236}">
                      <a16:creationId xmlns:a16="http://schemas.microsoft.com/office/drawing/2014/main" id="{98BE3FAE-65B7-C252-5F37-0B7CAA57FB3E}"/>
                    </a:ext>
                  </a:extLst>
                </p:cNvPr>
                <p:cNvSpPr/>
                <p:nvPr/>
              </p:nvSpPr>
              <p:spPr>
                <a:xfrm>
                  <a:off x="4964810" y="3359427"/>
                  <a:ext cx="675513" cy="17272"/>
                </a:xfrm>
                <a:custGeom>
                  <a:avLst/>
                  <a:gdLst>
                    <a:gd name="connsiteX0" fmla="*/ 675513 w 675513"/>
                    <a:gd name="connsiteY0" fmla="*/ 15280 h 17272"/>
                    <a:gd name="connsiteX1" fmla="*/ 675513 w 675513"/>
                    <a:gd name="connsiteY1" fmla="*/ 15280 h 17272"/>
                    <a:gd name="connsiteX2" fmla="*/ 664845 w 675513"/>
                    <a:gd name="connsiteY2" fmla="*/ 15566 h 17272"/>
                    <a:gd name="connsiteX3" fmla="*/ 653987 w 675513"/>
                    <a:gd name="connsiteY3" fmla="*/ 14804 h 17272"/>
                    <a:gd name="connsiteX4" fmla="*/ 643128 w 675513"/>
                    <a:gd name="connsiteY4" fmla="*/ 15852 h 17272"/>
                    <a:gd name="connsiteX5" fmla="*/ 632460 w 675513"/>
                    <a:gd name="connsiteY5" fmla="*/ 15375 h 17272"/>
                    <a:gd name="connsiteX6" fmla="*/ 621602 w 675513"/>
                    <a:gd name="connsiteY6" fmla="*/ 15090 h 17272"/>
                    <a:gd name="connsiteX7" fmla="*/ 610743 w 675513"/>
                    <a:gd name="connsiteY7" fmla="*/ 14804 h 17272"/>
                    <a:gd name="connsiteX8" fmla="*/ 600075 w 675513"/>
                    <a:gd name="connsiteY8" fmla="*/ 16328 h 17272"/>
                    <a:gd name="connsiteX9" fmla="*/ 589217 w 675513"/>
                    <a:gd name="connsiteY9" fmla="*/ 15280 h 17272"/>
                    <a:gd name="connsiteX10" fmla="*/ 578549 w 675513"/>
                    <a:gd name="connsiteY10" fmla="*/ 15566 h 17272"/>
                    <a:gd name="connsiteX11" fmla="*/ 567690 w 675513"/>
                    <a:gd name="connsiteY11" fmla="*/ 15566 h 17272"/>
                    <a:gd name="connsiteX12" fmla="*/ 556832 w 675513"/>
                    <a:gd name="connsiteY12" fmla="*/ 15280 h 17272"/>
                    <a:gd name="connsiteX13" fmla="*/ 546164 w 675513"/>
                    <a:gd name="connsiteY13" fmla="*/ 15280 h 17272"/>
                    <a:gd name="connsiteX14" fmla="*/ 535305 w 675513"/>
                    <a:gd name="connsiteY14" fmla="*/ 15566 h 17272"/>
                    <a:gd name="connsiteX15" fmla="*/ 524637 w 675513"/>
                    <a:gd name="connsiteY15" fmla="*/ 15090 h 17272"/>
                    <a:gd name="connsiteX16" fmla="*/ 513779 w 675513"/>
                    <a:gd name="connsiteY16" fmla="*/ 16137 h 17272"/>
                    <a:gd name="connsiteX17" fmla="*/ 502920 w 675513"/>
                    <a:gd name="connsiteY17" fmla="*/ 14899 h 17272"/>
                    <a:gd name="connsiteX18" fmla="*/ 492062 w 675513"/>
                    <a:gd name="connsiteY18" fmla="*/ 15185 h 17272"/>
                    <a:gd name="connsiteX19" fmla="*/ 481394 w 675513"/>
                    <a:gd name="connsiteY19" fmla="*/ 15947 h 17272"/>
                    <a:gd name="connsiteX20" fmla="*/ 470535 w 675513"/>
                    <a:gd name="connsiteY20" fmla="*/ 16423 h 17272"/>
                    <a:gd name="connsiteX21" fmla="*/ 459677 w 675513"/>
                    <a:gd name="connsiteY21" fmla="*/ 14899 h 17272"/>
                    <a:gd name="connsiteX22" fmla="*/ 449009 w 675513"/>
                    <a:gd name="connsiteY22" fmla="*/ 15375 h 17272"/>
                    <a:gd name="connsiteX23" fmla="*/ 438150 w 675513"/>
                    <a:gd name="connsiteY23" fmla="*/ 16423 h 17272"/>
                    <a:gd name="connsiteX24" fmla="*/ 427292 w 675513"/>
                    <a:gd name="connsiteY24" fmla="*/ 14899 h 17272"/>
                    <a:gd name="connsiteX25" fmla="*/ 416624 w 675513"/>
                    <a:gd name="connsiteY25" fmla="*/ 15375 h 17272"/>
                    <a:gd name="connsiteX26" fmla="*/ 405765 w 675513"/>
                    <a:gd name="connsiteY26" fmla="*/ 15661 h 17272"/>
                    <a:gd name="connsiteX27" fmla="*/ 394907 w 675513"/>
                    <a:gd name="connsiteY27" fmla="*/ 15375 h 17272"/>
                    <a:gd name="connsiteX28" fmla="*/ 384239 w 675513"/>
                    <a:gd name="connsiteY28" fmla="*/ 15852 h 17272"/>
                    <a:gd name="connsiteX29" fmla="*/ 373380 w 675513"/>
                    <a:gd name="connsiteY29" fmla="*/ 15375 h 17272"/>
                    <a:gd name="connsiteX30" fmla="*/ 362522 w 675513"/>
                    <a:gd name="connsiteY30" fmla="*/ 15661 h 17272"/>
                    <a:gd name="connsiteX31" fmla="*/ 351663 w 675513"/>
                    <a:gd name="connsiteY31" fmla="*/ 15185 h 17272"/>
                    <a:gd name="connsiteX32" fmla="*/ 340995 w 675513"/>
                    <a:gd name="connsiteY32" fmla="*/ 15661 h 17272"/>
                    <a:gd name="connsiteX33" fmla="*/ 330137 w 675513"/>
                    <a:gd name="connsiteY33" fmla="*/ 16137 h 17272"/>
                    <a:gd name="connsiteX34" fmla="*/ 319278 w 675513"/>
                    <a:gd name="connsiteY34" fmla="*/ 16423 h 17272"/>
                    <a:gd name="connsiteX35" fmla="*/ 308610 w 675513"/>
                    <a:gd name="connsiteY35" fmla="*/ 16137 h 17272"/>
                    <a:gd name="connsiteX36" fmla="*/ 297752 w 675513"/>
                    <a:gd name="connsiteY36" fmla="*/ 15375 h 17272"/>
                    <a:gd name="connsiteX37" fmla="*/ 286893 w 675513"/>
                    <a:gd name="connsiteY37" fmla="*/ 15852 h 17272"/>
                    <a:gd name="connsiteX38" fmla="*/ 276225 w 675513"/>
                    <a:gd name="connsiteY38" fmla="*/ 15852 h 17272"/>
                    <a:gd name="connsiteX39" fmla="*/ 265367 w 675513"/>
                    <a:gd name="connsiteY39" fmla="*/ 15852 h 17272"/>
                    <a:gd name="connsiteX40" fmla="*/ 254508 w 675513"/>
                    <a:gd name="connsiteY40" fmla="*/ 15090 h 17272"/>
                    <a:gd name="connsiteX41" fmla="*/ 243840 w 675513"/>
                    <a:gd name="connsiteY41" fmla="*/ 14804 h 17272"/>
                    <a:gd name="connsiteX42" fmla="*/ 232982 w 675513"/>
                    <a:gd name="connsiteY42" fmla="*/ 16042 h 17272"/>
                    <a:gd name="connsiteX43" fmla="*/ 222314 w 675513"/>
                    <a:gd name="connsiteY43" fmla="*/ 15280 h 17272"/>
                    <a:gd name="connsiteX44" fmla="*/ 211455 w 675513"/>
                    <a:gd name="connsiteY44" fmla="*/ 16042 h 17272"/>
                    <a:gd name="connsiteX45" fmla="*/ 202787 w 675513"/>
                    <a:gd name="connsiteY45" fmla="*/ 11756 h 17272"/>
                    <a:gd name="connsiteX46" fmla="*/ 193834 w 675513"/>
                    <a:gd name="connsiteY46" fmla="*/ 8232 h 17272"/>
                    <a:gd name="connsiteX47" fmla="*/ 185166 w 675513"/>
                    <a:gd name="connsiteY47" fmla="*/ 4422 h 17272"/>
                    <a:gd name="connsiteX48" fmla="*/ 176784 w 675513"/>
                    <a:gd name="connsiteY48" fmla="*/ 1183 h 17272"/>
                    <a:gd name="connsiteX49" fmla="*/ 181451 w 675513"/>
                    <a:gd name="connsiteY49" fmla="*/ 7755 h 17272"/>
                    <a:gd name="connsiteX50" fmla="*/ 185166 w 675513"/>
                    <a:gd name="connsiteY50" fmla="*/ 15756 h 17272"/>
                    <a:gd name="connsiteX51" fmla="*/ 174784 w 675513"/>
                    <a:gd name="connsiteY51" fmla="*/ 10518 h 17272"/>
                    <a:gd name="connsiteX52" fmla="*/ 164592 w 675513"/>
                    <a:gd name="connsiteY52" fmla="*/ 5279 h 17272"/>
                    <a:gd name="connsiteX53" fmla="*/ 153924 w 675513"/>
                    <a:gd name="connsiteY53" fmla="*/ 516 h 17272"/>
                    <a:gd name="connsiteX54" fmla="*/ 158115 w 675513"/>
                    <a:gd name="connsiteY54" fmla="*/ 8041 h 17272"/>
                    <a:gd name="connsiteX55" fmla="*/ 161544 w 675513"/>
                    <a:gd name="connsiteY55" fmla="*/ 15566 h 17272"/>
                    <a:gd name="connsiteX56" fmla="*/ 150686 w 675513"/>
                    <a:gd name="connsiteY56" fmla="*/ 15280 h 17272"/>
                    <a:gd name="connsiteX57" fmla="*/ 140018 w 675513"/>
                    <a:gd name="connsiteY57" fmla="*/ 14804 h 17272"/>
                    <a:gd name="connsiteX58" fmla="*/ 129159 w 675513"/>
                    <a:gd name="connsiteY58" fmla="*/ 15566 h 17272"/>
                    <a:gd name="connsiteX59" fmla="*/ 118491 w 675513"/>
                    <a:gd name="connsiteY59" fmla="*/ 14804 h 17272"/>
                    <a:gd name="connsiteX60" fmla="*/ 107633 w 675513"/>
                    <a:gd name="connsiteY60" fmla="*/ 15566 h 17272"/>
                    <a:gd name="connsiteX61" fmla="*/ 96965 w 675513"/>
                    <a:gd name="connsiteY61" fmla="*/ 15852 h 17272"/>
                    <a:gd name="connsiteX62" fmla="*/ 86106 w 675513"/>
                    <a:gd name="connsiteY62" fmla="*/ 15090 h 17272"/>
                    <a:gd name="connsiteX63" fmla="*/ 75438 w 675513"/>
                    <a:gd name="connsiteY63" fmla="*/ 15375 h 17272"/>
                    <a:gd name="connsiteX64" fmla="*/ 64580 w 675513"/>
                    <a:gd name="connsiteY64" fmla="*/ 15661 h 17272"/>
                    <a:gd name="connsiteX65" fmla="*/ 53912 w 675513"/>
                    <a:gd name="connsiteY65" fmla="*/ 15947 h 17272"/>
                    <a:gd name="connsiteX66" fmla="*/ 43053 w 675513"/>
                    <a:gd name="connsiteY66" fmla="*/ 15947 h 17272"/>
                    <a:gd name="connsiteX67" fmla="*/ 32385 w 675513"/>
                    <a:gd name="connsiteY67" fmla="*/ 15661 h 17272"/>
                    <a:gd name="connsiteX68" fmla="*/ 21527 w 675513"/>
                    <a:gd name="connsiteY68" fmla="*/ 15661 h 17272"/>
                    <a:gd name="connsiteX69" fmla="*/ 10859 w 675513"/>
                    <a:gd name="connsiteY69" fmla="*/ 15375 h 17272"/>
                    <a:gd name="connsiteX70" fmla="*/ 0 w 675513"/>
                    <a:gd name="connsiteY70" fmla="*/ 15090 h 17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75513" h="17272">
                      <a:moveTo>
                        <a:pt x="675513" y="15280"/>
                      </a:moveTo>
                      <a:lnTo>
                        <a:pt x="675513" y="15280"/>
                      </a:lnTo>
                      <a:cubicBezTo>
                        <a:pt x="672084" y="15280"/>
                        <a:pt x="668369" y="15566"/>
                        <a:pt x="664845" y="15566"/>
                      </a:cubicBezTo>
                      <a:cubicBezTo>
                        <a:pt x="661130" y="15566"/>
                        <a:pt x="657701" y="14804"/>
                        <a:pt x="653987" y="14804"/>
                      </a:cubicBezTo>
                      <a:cubicBezTo>
                        <a:pt x="650558" y="14804"/>
                        <a:pt x="646843" y="15852"/>
                        <a:pt x="643128" y="15852"/>
                      </a:cubicBezTo>
                      <a:cubicBezTo>
                        <a:pt x="639699" y="15852"/>
                        <a:pt x="635984" y="15375"/>
                        <a:pt x="632460" y="15375"/>
                      </a:cubicBezTo>
                      <a:cubicBezTo>
                        <a:pt x="628745" y="15375"/>
                        <a:pt x="625316" y="15090"/>
                        <a:pt x="621602" y="15090"/>
                      </a:cubicBezTo>
                      <a:cubicBezTo>
                        <a:pt x="618173" y="15090"/>
                        <a:pt x="614458" y="14804"/>
                        <a:pt x="610743" y="14804"/>
                      </a:cubicBezTo>
                      <a:cubicBezTo>
                        <a:pt x="607314" y="14804"/>
                        <a:pt x="603599" y="16328"/>
                        <a:pt x="600075" y="16328"/>
                      </a:cubicBezTo>
                      <a:cubicBezTo>
                        <a:pt x="596360" y="16328"/>
                        <a:pt x="592931" y="15280"/>
                        <a:pt x="589217" y="15280"/>
                      </a:cubicBezTo>
                      <a:cubicBezTo>
                        <a:pt x="585788" y="15280"/>
                        <a:pt x="582073" y="15566"/>
                        <a:pt x="578549" y="15566"/>
                      </a:cubicBezTo>
                      <a:cubicBezTo>
                        <a:pt x="574834" y="15566"/>
                        <a:pt x="571405" y="15566"/>
                        <a:pt x="567690" y="15566"/>
                      </a:cubicBezTo>
                      <a:cubicBezTo>
                        <a:pt x="564261" y="15566"/>
                        <a:pt x="560546" y="15280"/>
                        <a:pt x="556832" y="15280"/>
                      </a:cubicBezTo>
                      <a:cubicBezTo>
                        <a:pt x="553403" y="15280"/>
                        <a:pt x="549688" y="15280"/>
                        <a:pt x="546164" y="15280"/>
                      </a:cubicBezTo>
                      <a:cubicBezTo>
                        <a:pt x="542449" y="15280"/>
                        <a:pt x="539020" y="15566"/>
                        <a:pt x="535305" y="15566"/>
                      </a:cubicBezTo>
                      <a:cubicBezTo>
                        <a:pt x="531876" y="15566"/>
                        <a:pt x="528161" y="15090"/>
                        <a:pt x="524637" y="15090"/>
                      </a:cubicBezTo>
                      <a:cubicBezTo>
                        <a:pt x="520922" y="15090"/>
                        <a:pt x="517208" y="16137"/>
                        <a:pt x="513779" y="16137"/>
                      </a:cubicBezTo>
                      <a:cubicBezTo>
                        <a:pt x="510064" y="16137"/>
                        <a:pt x="506635" y="14899"/>
                        <a:pt x="502920" y="14899"/>
                      </a:cubicBezTo>
                      <a:cubicBezTo>
                        <a:pt x="499491" y="14899"/>
                        <a:pt x="495776" y="15185"/>
                        <a:pt x="492062" y="15185"/>
                      </a:cubicBezTo>
                      <a:cubicBezTo>
                        <a:pt x="488633" y="15185"/>
                        <a:pt x="484918" y="15947"/>
                        <a:pt x="481394" y="15947"/>
                      </a:cubicBezTo>
                      <a:cubicBezTo>
                        <a:pt x="477679" y="15947"/>
                        <a:pt x="474250" y="16423"/>
                        <a:pt x="470535" y="16423"/>
                      </a:cubicBezTo>
                      <a:cubicBezTo>
                        <a:pt x="466820" y="16423"/>
                        <a:pt x="463391" y="14899"/>
                        <a:pt x="459677" y="14899"/>
                      </a:cubicBezTo>
                      <a:cubicBezTo>
                        <a:pt x="456248" y="14899"/>
                        <a:pt x="452533" y="15375"/>
                        <a:pt x="449009" y="15375"/>
                      </a:cubicBezTo>
                      <a:cubicBezTo>
                        <a:pt x="445294" y="15375"/>
                        <a:pt x="441579" y="16423"/>
                        <a:pt x="438150" y="16423"/>
                      </a:cubicBezTo>
                      <a:cubicBezTo>
                        <a:pt x="434435" y="16423"/>
                        <a:pt x="431006" y="14899"/>
                        <a:pt x="427292" y="14899"/>
                      </a:cubicBezTo>
                      <a:cubicBezTo>
                        <a:pt x="423863" y="14899"/>
                        <a:pt x="420148" y="15375"/>
                        <a:pt x="416624" y="15375"/>
                      </a:cubicBezTo>
                      <a:cubicBezTo>
                        <a:pt x="412909" y="15375"/>
                        <a:pt x="409194" y="15661"/>
                        <a:pt x="405765" y="15661"/>
                      </a:cubicBezTo>
                      <a:cubicBezTo>
                        <a:pt x="402050" y="15661"/>
                        <a:pt x="398621" y="15375"/>
                        <a:pt x="394907" y="15375"/>
                      </a:cubicBezTo>
                      <a:cubicBezTo>
                        <a:pt x="391478" y="15375"/>
                        <a:pt x="387763" y="15852"/>
                        <a:pt x="384239" y="15852"/>
                      </a:cubicBezTo>
                      <a:cubicBezTo>
                        <a:pt x="380524" y="15852"/>
                        <a:pt x="376809" y="15375"/>
                        <a:pt x="373380" y="15375"/>
                      </a:cubicBezTo>
                      <a:cubicBezTo>
                        <a:pt x="369665" y="15375"/>
                        <a:pt x="366236" y="15661"/>
                        <a:pt x="362522" y="15661"/>
                      </a:cubicBezTo>
                      <a:cubicBezTo>
                        <a:pt x="358807" y="15661"/>
                        <a:pt x="355378" y="15185"/>
                        <a:pt x="351663" y="15185"/>
                      </a:cubicBezTo>
                      <a:cubicBezTo>
                        <a:pt x="348234" y="15185"/>
                        <a:pt x="344519" y="15661"/>
                        <a:pt x="340995" y="15661"/>
                      </a:cubicBezTo>
                      <a:cubicBezTo>
                        <a:pt x="337280" y="15661"/>
                        <a:pt x="333565" y="16137"/>
                        <a:pt x="330137" y="16137"/>
                      </a:cubicBezTo>
                      <a:cubicBezTo>
                        <a:pt x="326422" y="16137"/>
                        <a:pt x="322993" y="16423"/>
                        <a:pt x="319278" y="16423"/>
                      </a:cubicBezTo>
                      <a:cubicBezTo>
                        <a:pt x="315563" y="16423"/>
                        <a:pt x="312134" y="16137"/>
                        <a:pt x="308610" y="16137"/>
                      </a:cubicBezTo>
                      <a:cubicBezTo>
                        <a:pt x="304895" y="16137"/>
                        <a:pt x="301181" y="15375"/>
                        <a:pt x="297752" y="15375"/>
                      </a:cubicBezTo>
                      <a:cubicBezTo>
                        <a:pt x="294037" y="15375"/>
                        <a:pt x="290608" y="15852"/>
                        <a:pt x="286893" y="15852"/>
                      </a:cubicBezTo>
                      <a:cubicBezTo>
                        <a:pt x="283178" y="15852"/>
                        <a:pt x="279749" y="15852"/>
                        <a:pt x="276225" y="15852"/>
                      </a:cubicBezTo>
                      <a:cubicBezTo>
                        <a:pt x="272510" y="15852"/>
                        <a:pt x="268796" y="15852"/>
                        <a:pt x="265367" y="15852"/>
                      </a:cubicBezTo>
                      <a:cubicBezTo>
                        <a:pt x="261652" y="15852"/>
                        <a:pt x="257937" y="15090"/>
                        <a:pt x="254508" y="15090"/>
                      </a:cubicBezTo>
                      <a:cubicBezTo>
                        <a:pt x="250793" y="15090"/>
                        <a:pt x="247079" y="14804"/>
                        <a:pt x="243840" y="14804"/>
                      </a:cubicBezTo>
                      <a:cubicBezTo>
                        <a:pt x="239840" y="14804"/>
                        <a:pt x="236125" y="16042"/>
                        <a:pt x="232982" y="16042"/>
                      </a:cubicBezTo>
                      <a:cubicBezTo>
                        <a:pt x="228791" y="16042"/>
                        <a:pt x="225266" y="15280"/>
                        <a:pt x="222314" y="15280"/>
                      </a:cubicBezTo>
                      <a:cubicBezTo>
                        <a:pt x="215170" y="15280"/>
                        <a:pt x="216408" y="17566"/>
                        <a:pt x="211455" y="16042"/>
                      </a:cubicBezTo>
                      <a:cubicBezTo>
                        <a:pt x="206788" y="14518"/>
                        <a:pt x="207264" y="13566"/>
                        <a:pt x="202787" y="11756"/>
                      </a:cubicBezTo>
                      <a:cubicBezTo>
                        <a:pt x="198311" y="9756"/>
                        <a:pt x="198311" y="10232"/>
                        <a:pt x="193834" y="8232"/>
                      </a:cubicBezTo>
                      <a:cubicBezTo>
                        <a:pt x="189357" y="6517"/>
                        <a:pt x="189643" y="6231"/>
                        <a:pt x="185166" y="4422"/>
                      </a:cubicBezTo>
                      <a:cubicBezTo>
                        <a:pt x="180689" y="2707"/>
                        <a:pt x="180499" y="-2151"/>
                        <a:pt x="176784" y="1183"/>
                      </a:cubicBezTo>
                      <a:cubicBezTo>
                        <a:pt x="173545" y="3945"/>
                        <a:pt x="179261" y="3945"/>
                        <a:pt x="181451" y="7755"/>
                      </a:cubicBezTo>
                      <a:cubicBezTo>
                        <a:pt x="183452" y="11565"/>
                        <a:pt x="189167" y="14042"/>
                        <a:pt x="185166" y="15756"/>
                      </a:cubicBezTo>
                      <a:cubicBezTo>
                        <a:pt x="179927" y="18042"/>
                        <a:pt x="179927" y="12994"/>
                        <a:pt x="174784" y="10518"/>
                      </a:cubicBezTo>
                      <a:cubicBezTo>
                        <a:pt x="169545" y="8041"/>
                        <a:pt x="169831" y="7755"/>
                        <a:pt x="164592" y="5279"/>
                      </a:cubicBezTo>
                      <a:cubicBezTo>
                        <a:pt x="159353" y="2802"/>
                        <a:pt x="159353" y="-1484"/>
                        <a:pt x="153924" y="516"/>
                      </a:cubicBezTo>
                      <a:cubicBezTo>
                        <a:pt x="150209" y="2040"/>
                        <a:pt x="156115" y="4326"/>
                        <a:pt x="158115" y="8041"/>
                      </a:cubicBezTo>
                      <a:cubicBezTo>
                        <a:pt x="159830" y="11565"/>
                        <a:pt x="164306" y="12518"/>
                        <a:pt x="161544" y="15566"/>
                      </a:cubicBezTo>
                      <a:cubicBezTo>
                        <a:pt x="157829" y="19566"/>
                        <a:pt x="156115" y="15280"/>
                        <a:pt x="150686" y="15280"/>
                      </a:cubicBezTo>
                      <a:cubicBezTo>
                        <a:pt x="145256" y="15280"/>
                        <a:pt x="145256" y="14804"/>
                        <a:pt x="140018" y="14804"/>
                      </a:cubicBezTo>
                      <a:cubicBezTo>
                        <a:pt x="134588" y="14804"/>
                        <a:pt x="134588" y="15566"/>
                        <a:pt x="129159" y="15566"/>
                      </a:cubicBezTo>
                      <a:cubicBezTo>
                        <a:pt x="123730" y="15566"/>
                        <a:pt x="123730" y="14804"/>
                        <a:pt x="118491" y="14804"/>
                      </a:cubicBezTo>
                      <a:cubicBezTo>
                        <a:pt x="113062" y="14804"/>
                        <a:pt x="113062" y="15566"/>
                        <a:pt x="107633" y="15566"/>
                      </a:cubicBezTo>
                      <a:cubicBezTo>
                        <a:pt x="102203" y="15566"/>
                        <a:pt x="102203" y="15852"/>
                        <a:pt x="96965" y="15852"/>
                      </a:cubicBezTo>
                      <a:cubicBezTo>
                        <a:pt x="91535" y="15852"/>
                        <a:pt x="91535" y="15090"/>
                        <a:pt x="86106" y="15090"/>
                      </a:cubicBezTo>
                      <a:cubicBezTo>
                        <a:pt x="80677" y="15090"/>
                        <a:pt x="80677" y="15375"/>
                        <a:pt x="75438" y="15375"/>
                      </a:cubicBezTo>
                      <a:cubicBezTo>
                        <a:pt x="70009" y="15375"/>
                        <a:pt x="70009" y="15661"/>
                        <a:pt x="64580" y="15661"/>
                      </a:cubicBezTo>
                      <a:cubicBezTo>
                        <a:pt x="59150" y="15661"/>
                        <a:pt x="59150" y="15947"/>
                        <a:pt x="53912" y="15947"/>
                      </a:cubicBezTo>
                      <a:cubicBezTo>
                        <a:pt x="48482" y="15947"/>
                        <a:pt x="48482" y="15947"/>
                        <a:pt x="43053" y="15947"/>
                      </a:cubicBezTo>
                      <a:cubicBezTo>
                        <a:pt x="37624" y="15947"/>
                        <a:pt x="37624" y="15661"/>
                        <a:pt x="32385" y="15661"/>
                      </a:cubicBezTo>
                      <a:cubicBezTo>
                        <a:pt x="26956" y="15661"/>
                        <a:pt x="26956" y="15661"/>
                        <a:pt x="21527" y="15661"/>
                      </a:cubicBezTo>
                      <a:cubicBezTo>
                        <a:pt x="16097" y="15661"/>
                        <a:pt x="16097" y="15375"/>
                        <a:pt x="10859" y="15375"/>
                      </a:cubicBezTo>
                      <a:cubicBezTo>
                        <a:pt x="5429" y="15375"/>
                        <a:pt x="5429" y="15090"/>
                        <a:pt x="0" y="1509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7" name="Freeform: Shape 396">
                  <a:extLst>
                    <a:ext uri="{FF2B5EF4-FFF2-40B4-BE49-F238E27FC236}">
                      <a16:creationId xmlns:a16="http://schemas.microsoft.com/office/drawing/2014/main" id="{62464D99-5415-3AE6-97EE-5F3543278103}"/>
                    </a:ext>
                  </a:extLst>
                </p:cNvPr>
                <p:cNvSpPr/>
                <p:nvPr/>
              </p:nvSpPr>
              <p:spPr>
                <a:xfrm>
                  <a:off x="5680233" y="3374326"/>
                  <a:ext cx="389382" cy="1238"/>
                </a:xfrm>
                <a:custGeom>
                  <a:avLst/>
                  <a:gdLst>
                    <a:gd name="connsiteX0" fmla="*/ 389382 w 389382"/>
                    <a:gd name="connsiteY0" fmla="*/ 857 h 1238"/>
                    <a:gd name="connsiteX1" fmla="*/ 389382 w 389382"/>
                    <a:gd name="connsiteY1" fmla="*/ 857 h 1238"/>
                    <a:gd name="connsiteX2" fmla="*/ 379190 w 389382"/>
                    <a:gd name="connsiteY2" fmla="*/ 381 h 1238"/>
                    <a:gd name="connsiteX3" fmla="*/ 83058 w 389382"/>
                    <a:gd name="connsiteY3" fmla="*/ 667 h 1238"/>
                    <a:gd name="connsiteX4" fmla="*/ 72676 w 389382"/>
                    <a:gd name="connsiteY4" fmla="*/ 953 h 1238"/>
                    <a:gd name="connsiteX5" fmla="*/ 62294 w 389382"/>
                    <a:gd name="connsiteY5" fmla="*/ 476 h 1238"/>
                    <a:gd name="connsiteX6" fmla="*/ 51911 w 389382"/>
                    <a:gd name="connsiteY6" fmla="*/ 476 h 1238"/>
                    <a:gd name="connsiteX7" fmla="*/ 41529 w 389382"/>
                    <a:gd name="connsiteY7" fmla="*/ 0 h 1238"/>
                    <a:gd name="connsiteX8" fmla="*/ 31147 w 389382"/>
                    <a:gd name="connsiteY8" fmla="*/ 1238 h 1238"/>
                    <a:gd name="connsiteX9" fmla="*/ 20765 w 389382"/>
                    <a:gd name="connsiteY9" fmla="*/ 953 h 1238"/>
                    <a:gd name="connsiteX10" fmla="*/ 10382 w 389382"/>
                    <a:gd name="connsiteY10" fmla="*/ 1238 h 1238"/>
                    <a:gd name="connsiteX11" fmla="*/ 0 w 389382"/>
                    <a:gd name="connsiteY11" fmla="*/ 0 h 1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89382" h="1238">
                      <a:moveTo>
                        <a:pt x="389382" y="857"/>
                      </a:moveTo>
                      <a:lnTo>
                        <a:pt x="389382" y="857"/>
                      </a:lnTo>
                      <a:cubicBezTo>
                        <a:pt x="388620" y="857"/>
                        <a:pt x="384905" y="381"/>
                        <a:pt x="379190" y="381"/>
                      </a:cubicBezTo>
                      <a:cubicBezTo>
                        <a:pt x="376238" y="381"/>
                        <a:pt x="86963" y="667"/>
                        <a:pt x="83058" y="667"/>
                      </a:cubicBezTo>
                      <a:cubicBezTo>
                        <a:pt x="79820" y="667"/>
                        <a:pt x="76391" y="953"/>
                        <a:pt x="72676" y="953"/>
                      </a:cubicBezTo>
                      <a:cubicBezTo>
                        <a:pt x="69437" y="953"/>
                        <a:pt x="66008" y="476"/>
                        <a:pt x="62294" y="476"/>
                      </a:cubicBezTo>
                      <a:cubicBezTo>
                        <a:pt x="59055" y="476"/>
                        <a:pt x="55626" y="476"/>
                        <a:pt x="51911" y="476"/>
                      </a:cubicBezTo>
                      <a:cubicBezTo>
                        <a:pt x="48482" y="476"/>
                        <a:pt x="45244" y="0"/>
                        <a:pt x="41529" y="0"/>
                      </a:cubicBezTo>
                      <a:cubicBezTo>
                        <a:pt x="38100" y="0"/>
                        <a:pt x="34576" y="1238"/>
                        <a:pt x="31147" y="1238"/>
                      </a:cubicBezTo>
                      <a:cubicBezTo>
                        <a:pt x="27718" y="1238"/>
                        <a:pt x="24194" y="953"/>
                        <a:pt x="20765" y="953"/>
                      </a:cubicBezTo>
                      <a:cubicBezTo>
                        <a:pt x="17335" y="953"/>
                        <a:pt x="13811" y="1238"/>
                        <a:pt x="10382" y="1238"/>
                      </a:cubicBezTo>
                      <a:cubicBezTo>
                        <a:pt x="6953" y="1238"/>
                        <a:pt x="3429" y="0"/>
                        <a:pt x="0" y="0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399" name="Freeform: Shape 398">
                  <a:extLst>
                    <a:ext uri="{FF2B5EF4-FFF2-40B4-BE49-F238E27FC236}">
                      <a16:creationId xmlns:a16="http://schemas.microsoft.com/office/drawing/2014/main" id="{00C44916-4FA2-FC1A-2DA6-85FDB3A7831C}"/>
                    </a:ext>
                  </a:extLst>
                </p:cNvPr>
                <p:cNvSpPr/>
                <p:nvPr/>
              </p:nvSpPr>
              <p:spPr>
                <a:xfrm>
                  <a:off x="5827823" y="2869730"/>
                  <a:ext cx="87217" cy="77700"/>
                </a:xfrm>
                <a:custGeom>
                  <a:avLst/>
                  <a:gdLst>
                    <a:gd name="connsiteX0" fmla="*/ 1000 w 87217"/>
                    <a:gd name="connsiteY0" fmla="*/ 9677 h 77700"/>
                    <a:gd name="connsiteX1" fmla="*/ 50816 w 87217"/>
                    <a:gd name="connsiteY1" fmla="*/ 2152 h 77700"/>
                    <a:gd name="connsiteX2" fmla="*/ 49482 w 87217"/>
                    <a:gd name="connsiteY2" fmla="*/ 818 h 77700"/>
                    <a:gd name="connsiteX3" fmla="*/ 85392 w 87217"/>
                    <a:gd name="connsiteY3" fmla="*/ 77399 h 77700"/>
                    <a:gd name="connsiteX4" fmla="*/ 86916 w 87217"/>
                    <a:gd name="connsiteY4" fmla="*/ 75875 h 77700"/>
                    <a:gd name="connsiteX5" fmla="*/ 51578 w 87217"/>
                    <a:gd name="connsiteY5" fmla="*/ 1390 h 77700"/>
                    <a:gd name="connsiteX6" fmla="*/ 50244 w 87217"/>
                    <a:gd name="connsiteY6" fmla="*/ 56 h 77700"/>
                    <a:gd name="connsiteX7" fmla="*/ 1000 w 87217"/>
                    <a:gd name="connsiteY7" fmla="*/ 7486 h 77700"/>
                    <a:gd name="connsiteX8" fmla="*/ 1000 w 87217"/>
                    <a:gd name="connsiteY8" fmla="*/ 9677 h 77700"/>
                    <a:gd name="connsiteX9" fmla="*/ 1000 w 87217"/>
                    <a:gd name="connsiteY9" fmla="*/ 9677 h 77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7217" h="77700">
                      <a:moveTo>
                        <a:pt x="1000" y="9677"/>
                      </a:moveTo>
                      <a:cubicBezTo>
                        <a:pt x="18050" y="11105"/>
                        <a:pt x="35004" y="8534"/>
                        <a:pt x="50816" y="2152"/>
                      </a:cubicBezTo>
                      <a:cubicBezTo>
                        <a:pt x="50340" y="1676"/>
                        <a:pt x="49959" y="1295"/>
                        <a:pt x="49482" y="818"/>
                      </a:cubicBezTo>
                      <a:cubicBezTo>
                        <a:pt x="42148" y="31870"/>
                        <a:pt x="64913" y="57397"/>
                        <a:pt x="85392" y="77399"/>
                      </a:cubicBezTo>
                      <a:cubicBezTo>
                        <a:pt x="86344" y="78352"/>
                        <a:pt x="87868" y="76828"/>
                        <a:pt x="86916" y="75875"/>
                      </a:cubicBezTo>
                      <a:cubicBezTo>
                        <a:pt x="67104" y="56540"/>
                        <a:pt x="44434" y="31584"/>
                        <a:pt x="51578" y="1390"/>
                      </a:cubicBezTo>
                      <a:cubicBezTo>
                        <a:pt x="51768" y="628"/>
                        <a:pt x="51102" y="-229"/>
                        <a:pt x="50244" y="56"/>
                      </a:cubicBezTo>
                      <a:cubicBezTo>
                        <a:pt x="34528" y="6438"/>
                        <a:pt x="17859" y="8915"/>
                        <a:pt x="1000" y="7486"/>
                      </a:cubicBezTo>
                      <a:cubicBezTo>
                        <a:pt x="-333" y="7391"/>
                        <a:pt x="-333" y="9581"/>
                        <a:pt x="1000" y="9677"/>
                      </a:cubicBezTo>
                      <a:lnTo>
                        <a:pt x="1000" y="9677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rgbClr val="005950">
                      <a:alpha val="38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00" name="Freeform: Shape 399">
                  <a:extLst>
                    <a:ext uri="{FF2B5EF4-FFF2-40B4-BE49-F238E27FC236}">
                      <a16:creationId xmlns:a16="http://schemas.microsoft.com/office/drawing/2014/main" id="{C6884966-175B-46D5-FFBC-2995DE8433E1}"/>
                    </a:ext>
                  </a:extLst>
                </p:cNvPr>
                <p:cNvSpPr/>
                <p:nvPr/>
              </p:nvSpPr>
              <p:spPr>
                <a:xfrm>
                  <a:off x="5401944" y="3113532"/>
                  <a:ext cx="133445" cy="26447"/>
                </a:xfrm>
                <a:custGeom>
                  <a:avLst/>
                  <a:gdLst>
                    <a:gd name="connsiteX0" fmla="*/ 131985 w 133445"/>
                    <a:gd name="connsiteY0" fmla="*/ 0 h 26447"/>
                    <a:gd name="connsiteX1" fmla="*/ 131985 w 133445"/>
                    <a:gd name="connsiteY1" fmla="*/ 0 h 26447"/>
                    <a:gd name="connsiteX2" fmla="*/ 131223 w 133445"/>
                    <a:gd name="connsiteY2" fmla="*/ 12097 h 26447"/>
                    <a:gd name="connsiteX3" fmla="*/ 131699 w 133445"/>
                    <a:gd name="connsiteY3" fmla="*/ 24670 h 26447"/>
                    <a:gd name="connsiteX4" fmla="*/ 120555 w 133445"/>
                    <a:gd name="connsiteY4" fmla="*/ 24670 h 26447"/>
                    <a:gd name="connsiteX5" fmla="*/ 109696 w 133445"/>
                    <a:gd name="connsiteY5" fmla="*/ 23431 h 26447"/>
                    <a:gd name="connsiteX6" fmla="*/ 99028 w 133445"/>
                    <a:gd name="connsiteY6" fmla="*/ 24670 h 26447"/>
                    <a:gd name="connsiteX7" fmla="*/ 88170 w 133445"/>
                    <a:gd name="connsiteY7" fmla="*/ 24670 h 26447"/>
                    <a:gd name="connsiteX8" fmla="*/ 77502 w 133445"/>
                    <a:gd name="connsiteY8" fmla="*/ 24955 h 26447"/>
                    <a:gd name="connsiteX9" fmla="*/ 66643 w 133445"/>
                    <a:gd name="connsiteY9" fmla="*/ 23908 h 26447"/>
                    <a:gd name="connsiteX10" fmla="*/ 55785 w 133445"/>
                    <a:gd name="connsiteY10" fmla="*/ 24384 h 26447"/>
                    <a:gd name="connsiteX11" fmla="*/ 45117 w 133445"/>
                    <a:gd name="connsiteY11" fmla="*/ 23622 h 26447"/>
                    <a:gd name="connsiteX12" fmla="*/ 34258 w 133445"/>
                    <a:gd name="connsiteY12" fmla="*/ 23336 h 26447"/>
                    <a:gd name="connsiteX13" fmla="*/ 23590 w 133445"/>
                    <a:gd name="connsiteY13" fmla="*/ 23813 h 26447"/>
                    <a:gd name="connsiteX14" fmla="*/ 12732 w 133445"/>
                    <a:gd name="connsiteY14" fmla="*/ 24860 h 26447"/>
                    <a:gd name="connsiteX15" fmla="*/ 1873 w 133445"/>
                    <a:gd name="connsiteY15" fmla="*/ 24098 h 26447"/>
                    <a:gd name="connsiteX16" fmla="*/ 2350 w 133445"/>
                    <a:gd name="connsiteY16" fmla="*/ 8287 h 264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33445" h="26447">
                      <a:moveTo>
                        <a:pt x="131985" y="0"/>
                      </a:moveTo>
                      <a:lnTo>
                        <a:pt x="131985" y="0"/>
                      </a:lnTo>
                      <a:cubicBezTo>
                        <a:pt x="131985" y="6001"/>
                        <a:pt x="131223" y="6001"/>
                        <a:pt x="131223" y="12097"/>
                      </a:cubicBezTo>
                      <a:cubicBezTo>
                        <a:pt x="131223" y="18097"/>
                        <a:pt x="135890" y="20098"/>
                        <a:pt x="131699" y="24670"/>
                      </a:cubicBezTo>
                      <a:cubicBezTo>
                        <a:pt x="128270" y="28670"/>
                        <a:pt x="125984" y="24670"/>
                        <a:pt x="120555" y="24670"/>
                      </a:cubicBezTo>
                      <a:cubicBezTo>
                        <a:pt x="115126" y="24670"/>
                        <a:pt x="115126" y="23431"/>
                        <a:pt x="109696" y="23431"/>
                      </a:cubicBezTo>
                      <a:cubicBezTo>
                        <a:pt x="104458" y="23431"/>
                        <a:pt x="104458" y="24670"/>
                        <a:pt x="99028" y="24670"/>
                      </a:cubicBezTo>
                      <a:cubicBezTo>
                        <a:pt x="93599" y="24670"/>
                        <a:pt x="93599" y="24670"/>
                        <a:pt x="88170" y="24670"/>
                      </a:cubicBezTo>
                      <a:cubicBezTo>
                        <a:pt x="82741" y="24670"/>
                        <a:pt x="82741" y="24955"/>
                        <a:pt x="77502" y="24955"/>
                      </a:cubicBezTo>
                      <a:cubicBezTo>
                        <a:pt x="72073" y="24955"/>
                        <a:pt x="72073" y="23908"/>
                        <a:pt x="66643" y="23908"/>
                      </a:cubicBezTo>
                      <a:cubicBezTo>
                        <a:pt x="61214" y="23908"/>
                        <a:pt x="61214" y="24384"/>
                        <a:pt x="55785" y="24384"/>
                      </a:cubicBezTo>
                      <a:cubicBezTo>
                        <a:pt x="50546" y="24384"/>
                        <a:pt x="50546" y="23622"/>
                        <a:pt x="45117" y="23622"/>
                      </a:cubicBezTo>
                      <a:cubicBezTo>
                        <a:pt x="39688" y="23622"/>
                        <a:pt x="39688" y="23336"/>
                        <a:pt x="34258" y="23336"/>
                      </a:cubicBezTo>
                      <a:cubicBezTo>
                        <a:pt x="28829" y="23336"/>
                        <a:pt x="28829" y="23813"/>
                        <a:pt x="23590" y="23813"/>
                      </a:cubicBezTo>
                      <a:cubicBezTo>
                        <a:pt x="18161" y="23813"/>
                        <a:pt x="18161" y="24860"/>
                        <a:pt x="12732" y="24860"/>
                      </a:cubicBezTo>
                      <a:cubicBezTo>
                        <a:pt x="7303" y="24860"/>
                        <a:pt x="4826" y="28670"/>
                        <a:pt x="1873" y="24098"/>
                      </a:cubicBezTo>
                      <a:cubicBezTo>
                        <a:pt x="-2603" y="17526"/>
                        <a:pt x="2350" y="16097"/>
                        <a:pt x="2350" y="8287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01" name="Freeform: Shape 400">
                  <a:extLst>
                    <a:ext uri="{FF2B5EF4-FFF2-40B4-BE49-F238E27FC236}">
                      <a16:creationId xmlns:a16="http://schemas.microsoft.com/office/drawing/2014/main" id="{2E6BCB8B-268C-B346-02EC-1C3B18BEC1DA}"/>
                    </a:ext>
                  </a:extLst>
                </p:cNvPr>
                <p:cNvSpPr/>
                <p:nvPr/>
              </p:nvSpPr>
              <p:spPr>
                <a:xfrm>
                  <a:off x="5402060" y="2916924"/>
                  <a:ext cx="132410" cy="177462"/>
                </a:xfrm>
                <a:custGeom>
                  <a:avLst/>
                  <a:gdLst>
                    <a:gd name="connsiteX0" fmla="*/ 710 w 132410"/>
                    <a:gd name="connsiteY0" fmla="*/ 177462 h 177462"/>
                    <a:gd name="connsiteX1" fmla="*/ 710 w 132410"/>
                    <a:gd name="connsiteY1" fmla="*/ 177462 h 177462"/>
                    <a:gd name="connsiteX2" fmla="*/ 1948 w 132410"/>
                    <a:gd name="connsiteY2" fmla="*/ 165937 h 177462"/>
                    <a:gd name="connsiteX3" fmla="*/ 1186 w 132410"/>
                    <a:gd name="connsiteY3" fmla="*/ 154412 h 177462"/>
                    <a:gd name="connsiteX4" fmla="*/ 1186 w 132410"/>
                    <a:gd name="connsiteY4" fmla="*/ 143077 h 177462"/>
                    <a:gd name="connsiteX5" fmla="*/ 900 w 132410"/>
                    <a:gd name="connsiteY5" fmla="*/ 131552 h 177462"/>
                    <a:gd name="connsiteX6" fmla="*/ 2139 w 132410"/>
                    <a:gd name="connsiteY6" fmla="*/ 120026 h 177462"/>
                    <a:gd name="connsiteX7" fmla="*/ 2139 w 132410"/>
                    <a:gd name="connsiteY7" fmla="*/ 13442 h 177462"/>
                    <a:gd name="connsiteX8" fmla="*/ 1662 w 132410"/>
                    <a:gd name="connsiteY8" fmla="*/ 1916 h 177462"/>
                    <a:gd name="connsiteX9" fmla="*/ 12330 w 132410"/>
                    <a:gd name="connsiteY9" fmla="*/ 1154 h 177462"/>
                    <a:gd name="connsiteX10" fmla="*/ 22998 w 132410"/>
                    <a:gd name="connsiteY10" fmla="*/ 2202 h 177462"/>
                    <a:gd name="connsiteX11" fmla="*/ 33857 w 132410"/>
                    <a:gd name="connsiteY11" fmla="*/ 1440 h 177462"/>
                    <a:gd name="connsiteX12" fmla="*/ 44715 w 132410"/>
                    <a:gd name="connsiteY12" fmla="*/ 2202 h 177462"/>
                    <a:gd name="connsiteX13" fmla="*/ 55383 w 132410"/>
                    <a:gd name="connsiteY13" fmla="*/ 2202 h 177462"/>
                    <a:gd name="connsiteX14" fmla="*/ 66242 w 132410"/>
                    <a:gd name="connsiteY14" fmla="*/ 2488 h 177462"/>
                    <a:gd name="connsiteX15" fmla="*/ 76910 w 132410"/>
                    <a:gd name="connsiteY15" fmla="*/ 2202 h 177462"/>
                    <a:gd name="connsiteX16" fmla="*/ 87768 w 132410"/>
                    <a:gd name="connsiteY16" fmla="*/ 1154 h 177462"/>
                    <a:gd name="connsiteX17" fmla="*/ 98436 w 132410"/>
                    <a:gd name="connsiteY17" fmla="*/ 2202 h 177462"/>
                    <a:gd name="connsiteX18" fmla="*/ 109295 w 132410"/>
                    <a:gd name="connsiteY18" fmla="*/ 1154 h 177462"/>
                    <a:gd name="connsiteX19" fmla="*/ 120153 w 132410"/>
                    <a:gd name="connsiteY19" fmla="*/ 1916 h 177462"/>
                    <a:gd name="connsiteX20" fmla="*/ 130536 w 132410"/>
                    <a:gd name="connsiteY20" fmla="*/ 2393 h 177462"/>
                    <a:gd name="connsiteX21" fmla="*/ 131298 w 132410"/>
                    <a:gd name="connsiteY21" fmla="*/ 12203 h 177462"/>
                    <a:gd name="connsiteX22" fmla="*/ 131012 w 132410"/>
                    <a:gd name="connsiteY22" fmla="*/ 118026 h 177462"/>
                    <a:gd name="connsiteX23" fmla="*/ 130726 w 132410"/>
                    <a:gd name="connsiteY23" fmla="*/ 128599 h 177462"/>
                    <a:gd name="connsiteX24" fmla="*/ 131488 w 132410"/>
                    <a:gd name="connsiteY24" fmla="*/ 139172 h 177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32410" h="177462">
                      <a:moveTo>
                        <a:pt x="710" y="177462"/>
                      </a:moveTo>
                      <a:lnTo>
                        <a:pt x="710" y="177462"/>
                      </a:lnTo>
                      <a:cubicBezTo>
                        <a:pt x="710" y="171652"/>
                        <a:pt x="1948" y="171652"/>
                        <a:pt x="1948" y="165937"/>
                      </a:cubicBezTo>
                      <a:cubicBezTo>
                        <a:pt x="1948" y="160222"/>
                        <a:pt x="1186" y="160127"/>
                        <a:pt x="1186" y="154412"/>
                      </a:cubicBezTo>
                      <a:cubicBezTo>
                        <a:pt x="1186" y="148887"/>
                        <a:pt x="1186" y="148887"/>
                        <a:pt x="1186" y="143077"/>
                      </a:cubicBezTo>
                      <a:cubicBezTo>
                        <a:pt x="1186" y="137267"/>
                        <a:pt x="900" y="137267"/>
                        <a:pt x="900" y="131552"/>
                      </a:cubicBezTo>
                      <a:cubicBezTo>
                        <a:pt x="900" y="125741"/>
                        <a:pt x="2139" y="125741"/>
                        <a:pt x="2139" y="120026"/>
                      </a:cubicBezTo>
                      <a:cubicBezTo>
                        <a:pt x="2139" y="114216"/>
                        <a:pt x="2139" y="18966"/>
                        <a:pt x="2139" y="13442"/>
                      </a:cubicBezTo>
                      <a:cubicBezTo>
                        <a:pt x="2139" y="7631"/>
                        <a:pt x="-2338" y="6203"/>
                        <a:pt x="1662" y="1916"/>
                      </a:cubicBezTo>
                      <a:cubicBezTo>
                        <a:pt x="5377" y="-1894"/>
                        <a:pt x="6901" y="1154"/>
                        <a:pt x="12330" y="1154"/>
                      </a:cubicBezTo>
                      <a:cubicBezTo>
                        <a:pt x="17760" y="1154"/>
                        <a:pt x="17760" y="2202"/>
                        <a:pt x="22998" y="2202"/>
                      </a:cubicBezTo>
                      <a:cubicBezTo>
                        <a:pt x="28428" y="2202"/>
                        <a:pt x="28428" y="1440"/>
                        <a:pt x="33857" y="1440"/>
                      </a:cubicBezTo>
                      <a:cubicBezTo>
                        <a:pt x="39286" y="1440"/>
                        <a:pt x="39286" y="2202"/>
                        <a:pt x="44715" y="2202"/>
                      </a:cubicBezTo>
                      <a:cubicBezTo>
                        <a:pt x="49954" y="2202"/>
                        <a:pt x="49954" y="2202"/>
                        <a:pt x="55383" y="2202"/>
                      </a:cubicBezTo>
                      <a:cubicBezTo>
                        <a:pt x="60813" y="2202"/>
                        <a:pt x="60813" y="2488"/>
                        <a:pt x="66242" y="2488"/>
                      </a:cubicBezTo>
                      <a:cubicBezTo>
                        <a:pt x="71481" y="2488"/>
                        <a:pt x="71481" y="2202"/>
                        <a:pt x="76910" y="2202"/>
                      </a:cubicBezTo>
                      <a:cubicBezTo>
                        <a:pt x="82339" y="2202"/>
                        <a:pt x="82339" y="1154"/>
                        <a:pt x="87768" y="1154"/>
                      </a:cubicBezTo>
                      <a:cubicBezTo>
                        <a:pt x="93198" y="1154"/>
                        <a:pt x="93198" y="2202"/>
                        <a:pt x="98436" y="2202"/>
                      </a:cubicBezTo>
                      <a:cubicBezTo>
                        <a:pt x="103866" y="2202"/>
                        <a:pt x="103866" y="1154"/>
                        <a:pt x="109295" y="1154"/>
                      </a:cubicBezTo>
                      <a:cubicBezTo>
                        <a:pt x="114724" y="1154"/>
                        <a:pt x="114724" y="1916"/>
                        <a:pt x="120153" y="1916"/>
                      </a:cubicBezTo>
                      <a:cubicBezTo>
                        <a:pt x="125583" y="1916"/>
                        <a:pt x="126630" y="-1322"/>
                        <a:pt x="130536" y="2393"/>
                      </a:cubicBezTo>
                      <a:cubicBezTo>
                        <a:pt x="134250" y="5917"/>
                        <a:pt x="131298" y="7155"/>
                        <a:pt x="131298" y="12203"/>
                      </a:cubicBezTo>
                      <a:cubicBezTo>
                        <a:pt x="131298" y="17442"/>
                        <a:pt x="131012" y="112692"/>
                        <a:pt x="131012" y="118026"/>
                      </a:cubicBezTo>
                      <a:cubicBezTo>
                        <a:pt x="131012" y="123265"/>
                        <a:pt x="130726" y="123265"/>
                        <a:pt x="130726" y="128599"/>
                      </a:cubicBezTo>
                      <a:cubicBezTo>
                        <a:pt x="130726" y="133838"/>
                        <a:pt x="131488" y="133838"/>
                        <a:pt x="131488" y="139172"/>
                      </a:cubicBezTo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02" name="Freeform: Shape 401">
                  <a:extLst>
                    <a:ext uri="{FF2B5EF4-FFF2-40B4-BE49-F238E27FC236}">
                      <a16:creationId xmlns:a16="http://schemas.microsoft.com/office/drawing/2014/main" id="{FF4E6464-C3C4-F581-FD1E-5AAA51999CDA}"/>
                    </a:ext>
                  </a:extLst>
                </p:cNvPr>
                <p:cNvSpPr/>
                <p:nvPr/>
              </p:nvSpPr>
              <p:spPr>
                <a:xfrm>
                  <a:off x="5517546" y="3055810"/>
                  <a:ext cx="28302" cy="49625"/>
                </a:xfrm>
                <a:custGeom>
                  <a:avLst/>
                  <a:gdLst>
                    <a:gd name="connsiteX0" fmla="*/ 28289 w 28302"/>
                    <a:gd name="connsiteY0" fmla="*/ 24289 h 49625"/>
                    <a:gd name="connsiteX1" fmla="*/ 28289 w 28302"/>
                    <a:gd name="connsiteY1" fmla="*/ 24289 h 49625"/>
                    <a:gd name="connsiteX2" fmla="*/ 27051 w 28302"/>
                    <a:gd name="connsiteY2" fmla="*/ 34576 h 49625"/>
                    <a:gd name="connsiteX3" fmla="*/ 22860 w 28302"/>
                    <a:gd name="connsiteY3" fmla="*/ 43625 h 49625"/>
                    <a:gd name="connsiteX4" fmla="*/ 14669 w 28302"/>
                    <a:gd name="connsiteY4" fmla="*/ 49625 h 49625"/>
                    <a:gd name="connsiteX5" fmla="*/ 5715 w 28302"/>
                    <a:gd name="connsiteY5" fmla="*/ 44101 h 49625"/>
                    <a:gd name="connsiteX6" fmla="*/ 2000 w 28302"/>
                    <a:gd name="connsiteY6" fmla="*/ 34576 h 49625"/>
                    <a:gd name="connsiteX7" fmla="*/ 0 w 28302"/>
                    <a:gd name="connsiteY7" fmla="*/ 24289 h 49625"/>
                    <a:gd name="connsiteX8" fmla="*/ 952 w 28302"/>
                    <a:gd name="connsiteY8" fmla="*/ 14002 h 49625"/>
                    <a:gd name="connsiteX9" fmla="*/ 5429 w 28302"/>
                    <a:gd name="connsiteY9" fmla="*/ 4477 h 49625"/>
                    <a:gd name="connsiteX10" fmla="*/ 14573 w 28302"/>
                    <a:gd name="connsiteY10" fmla="*/ 0 h 49625"/>
                    <a:gd name="connsiteX11" fmla="*/ 23241 w 28302"/>
                    <a:gd name="connsiteY11" fmla="*/ 4763 h 49625"/>
                    <a:gd name="connsiteX12" fmla="*/ 27432 w 28302"/>
                    <a:gd name="connsiteY12" fmla="*/ 14097 h 49625"/>
                    <a:gd name="connsiteX13" fmla="*/ 28289 w 28302"/>
                    <a:gd name="connsiteY13" fmla="*/ 24289 h 49625"/>
                    <a:gd name="connsiteX14" fmla="*/ 28289 w 28302"/>
                    <a:gd name="connsiteY14" fmla="*/ 24289 h 49625"/>
                    <a:gd name="connsiteX15" fmla="*/ 28289 w 28302"/>
                    <a:gd name="connsiteY15" fmla="*/ 24289 h 49625"/>
                    <a:gd name="connsiteX16" fmla="*/ 28289 w 28302"/>
                    <a:gd name="connsiteY16" fmla="*/ 24289 h 49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8302" h="49625">
                      <a:moveTo>
                        <a:pt x="28289" y="24289"/>
                      </a:moveTo>
                      <a:lnTo>
                        <a:pt x="28289" y="24289"/>
                      </a:lnTo>
                      <a:cubicBezTo>
                        <a:pt x="28289" y="28099"/>
                        <a:pt x="27813" y="31337"/>
                        <a:pt x="27051" y="34576"/>
                      </a:cubicBezTo>
                      <a:cubicBezTo>
                        <a:pt x="26098" y="38100"/>
                        <a:pt x="24860" y="41339"/>
                        <a:pt x="22860" y="43625"/>
                      </a:cubicBezTo>
                      <a:cubicBezTo>
                        <a:pt x="20383" y="46863"/>
                        <a:pt x="17907" y="49625"/>
                        <a:pt x="14669" y="49625"/>
                      </a:cubicBezTo>
                      <a:cubicBezTo>
                        <a:pt x="11240" y="49625"/>
                        <a:pt x="8192" y="47339"/>
                        <a:pt x="5715" y="44101"/>
                      </a:cubicBezTo>
                      <a:cubicBezTo>
                        <a:pt x="3715" y="41624"/>
                        <a:pt x="2953" y="38291"/>
                        <a:pt x="2000" y="34576"/>
                      </a:cubicBezTo>
                      <a:cubicBezTo>
                        <a:pt x="1048" y="31528"/>
                        <a:pt x="0" y="28004"/>
                        <a:pt x="0" y="24289"/>
                      </a:cubicBezTo>
                      <a:cubicBezTo>
                        <a:pt x="0" y="20765"/>
                        <a:pt x="0" y="17050"/>
                        <a:pt x="952" y="14002"/>
                      </a:cubicBezTo>
                      <a:cubicBezTo>
                        <a:pt x="1905" y="10192"/>
                        <a:pt x="3429" y="6763"/>
                        <a:pt x="5429" y="4477"/>
                      </a:cubicBezTo>
                      <a:cubicBezTo>
                        <a:pt x="7906" y="1238"/>
                        <a:pt x="11144" y="0"/>
                        <a:pt x="14573" y="0"/>
                      </a:cubicBezTo>
                      <a:cubicBezTo>
                        <a:pt x="17812" y="0"/>
                        <a:pt x="20765" y="1524"/>
                        <a:pt x="23241" y="4763"/>
                      </a:cubicBezTo>
                      <a:cubicBezTo>
                        <a:pt x="25241" y="7048"/>
                        <a:pt x="26479" y="10287"/>
                        <a:pt x="27432" y="14097"/>
                      </a:cubicBezTo>
                      <a:cubicBezTo>
                        <a:pt x="28480" y="17240"/>
                        <a:pt x="28289" y="20765"/>
                        <a:pt x="28289" y="24289"/>
                      </a:cubicBezTo>
                      <a:lnTo>
                        <a:pt x="28289" y="24289"/>
                      </a:lnTo>
                      <a:lnTo>
                        <a:pt x="28289" y="24289"/>
                      </a:lnTo>
                      <a:lnTo>
                        <a:pt x="28289" y="24289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  <p:sp>
            <p:nvSpPr>
              <p:cNvPr id="429" name="Freeform: Shape 428">
                <a:extLst>
                  <a:ext uri="{FF2B5EF4-FFF2-40B4-BE49-F238E27FC236}">
                    <a16:creationId xmlns:a16="http://schemas.microsoft.com/office/drawing/2014/main" id="{F8541EAA-DCA4-A88E-DCFB-9324EDC72712}"/>
                  </a:ext>
                </a:extLst>
              </p:cNvPr>
              <p:cNvSpPr/>
              <p:nvPr/>
            </p:nvSpPr>
            <p:spPr>
              <a:xfrm>
                <a:off x="892620" y="3365217"/>
                <a:ext cx="98289" cy="100294"/>
              </a:xfrm>
              <a:custGeom>
                <a:avLst/>
                <a:gdLst>
                  <a:gd name="connsiteX0" fmla="*/ 84337 w 132842"/>
                  <a:gd name="connsiteY0" fmla="*/ 2147 h 135553"/>
                  <a:gd name="connsiteX1" fmla="*/ 81503 w 132842"/>
                  <a:gd name="connsiteY1" fmla="*/ 12732 h 135553"/>
                  <a:gd name="connsiteX2" fmla="*/ 67084 w 132842"/>
                  <a:gd name="connsiteY2" fmla="*/ 66780 h 135553"/>
                  <a:gd name="connsiteX3" fmla="*/ 68376 w 132842"/>
                  <a:gd name="connsiteY3" fmla="*/ 69031 h 135553"/>
                  <a:gd name="connsiteX4" fmla="*/ 131842 w 132842"/>
                  <a:gd name="connsiteY4" fmla="*/ 85991 h 135553"/>
                  <a:gd name="connsiteX5" fmla="*/ 132843 w 132842"/>
                  <a:gd name="connsiteY5" fmla="*/ 86283 h 135553"/>
                  <a:gd name="connsiteX6" fmla="*/ 86545 w 132842"/>
                  <a:gd name="connsiteY6" fmla="*/ 132872 h 135553"/>
                  <a:gd name="connsiteX7" fmla="*/ 11828 w 132842"/>
                  <a:gd name="connsiteY7" fmla="*/ 105910 h 135553"/>
                  <a:gd name="connsiteX8" fmla="*/ 14119 w 132842"/>
                  <a:gd name="connsiteY8" fmla="*/ 26400 h 135553"/>
                  <a:gd name="connsiteX9" fmla="*/ 84337 w 132842"/>
                  <a:gd name="connsiteY9" fmla="*/ 2147 h 135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842" h="135553">
                    <a:moveTo>
                      <a:pt x="84337" y="2147"/>
                    </a:moveTo>
                    <a:cubicBezTo>
                      <a:pt x="83378" y="5731"/>
                      <a:pt x="82461" y="9232"/>
                      <a:pt x="81503" y="12732"/>
                    </a:cubicBezTo>
                    <a:cubicBezTo>
                      <a:pt x="76711" y="30734"/>
                      <a:pt x="71877" y="48778"/>
                      <a:pt x="67084" y="66780"/>
                    </a:cubicBezTo>
                    <a:cubicBezTo>
                      <a:pt x="66668" y="68406"/>
                      <a:pt x="66793" y="68614"/>
                      <a:pt x="68376" y="69031"/>
                    </a:cubicBezTo>
                    <a:cubicBezTo>
                      <a:pt x="89546" y="74698"/>
                      <a:pt x="110673" y="80324"/>
                      <a:pt x="131842" y="85991"/>
                    </a:cubicBezTo>
                    <a:cubicBezTo>
                      <a:pt x="132176" y="86075"/>
                      <a:pt x="132509" y="86200"/>
                      <a:pt x="132843" y="86283"/>
                    </a:cubicBezTo>
                    <a:cubicBezTo>
                      <a:pt x="128634" y="103577"/>
                      <a:pt x="113132" y="125121"/>
                      <a:pt x="86545" y="132872"/>
                    </a:cubicBezTo>
                    <a:cubicBezTo>
                      <a:pt x="58583" y="141040"/>
                      <a:pt x="28246" y="130122"/>
                      <a:pt x="11828" y="105910"/>
                    </a:cubicBezTo>
                    <a:cubicBezTo>
                      <a:pt x="-5258" y="80782"/>
                      <a:pt x="-3258" y="48945"/>
                      <a:pt x="14119" y="26400"/>
                    </a:cubicBezTo>
                    <a:cubicBezTo>
                      <a:pt x="32038" y="3231"/>
                      <a:pt x="60959" y="-4145"/>
                      <a:pt x="84337" y="2147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30" name="Freeform: Shape 429">
                <a:extLst>
                  <a:ext uri="{FF2B5EF4-FFF2-40B4-BE49-F238E27FC236}">
                    <a16:creationId xmlns:a16="http://schemas.microsoft.com/office/drawing/2014/main" id="{C883E582-9C19-6BCB-BD1A-731373B8D25F}"/>
                  </a:ext>
                </a:extLst>
              </p:cNvPr>
              <p:cNvSpPr/>
              <p:nvPr/>
            </p:nvSpPr>
            <p:spPr>
              <a:xfrm>
                <a:off x="950857" y="3362951"/>
                <a:ext cx="49268" cy="60493"/>
              </a:xfrm>
              <a:custGeom>
                <a:avLst/>
                <a:gdLst>
                  <a:gd name="connsiteX0" fmla="*/ 0 w 66588"/>
                  <a:gd name="connsiteY0" fmla="*/ 64466 h 81760"/>
                  <a:gd name="connsiteX1" fmla="*/ 17335 w 66588"/>
                  <a:gd name="connsiteY1" fmla="*/ 0 h 81760"/>
                  <a:gd name="connsiteX2" fmla="*/ 57549 w 66588"/>
                  <a:gd name="connsiteY2" fmla="*/ 31587 h 81760"/>
                  <a:gd name="connsiteX3" fmla="*/ 64550 w 66588"/>
                  <a:gd name="connsiteY3" fmla="*/ 81760 h 81760"/>
                  <a:gd name="connsiteX4" fmla="*/ 0 w 66588"/>
                  <a:gd name="connsiteY4" fmla="*/ 64466 h 81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88" h="81760">
                    <a:moveTo>
                      <a:pt x="0" y="64466"/>
                    </a:moveTo>
                    <a:cubicBezTo>
                      <a:pt x="5792" y="42922"/>
                      <a:pt x="11543" y="21544"/>
                      <a:pt x="17335" y="0"/>
                    </a:cubicBezTo>
                    <a:cubicBezTo>
                      <a:pt x="34921" y="5334"/>
                      <a:pt x="48464" y="15710"/>
                      <a:pt x="57549" y="31587"/>
                    </a:cubicBezTo>
                    <a:cubicBezTo>
                      <a:pt x="66550" y="47298"/>
                      <a:pt x="68717" y="64050"/>
                      <a:pt x="64550" y="81760"/>
                    </a:cubicBezTo>
                    <a:cubicBezTo>
                      <a:pt x="42964" y="76010"/>
                      <a:pt x="21544" y="70259"/>
                      <a:pt x="0" y="64466"/>
                    </a:cubicBezTo>
                    <a:close/>
                  </a:path>
                </a:pathLst>
              </a:custGeom>
              <a:solidFill>
                <a:srgbClr val="FBCCD0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E23F0F78-D89C-C47F-8145-090FC69AC426}"/>
                  </a:ext>
                </a:extLst>
              </p:cNvPr>
              <p:cNvSpPr/>
              <p:nvPr/>
            </p:nvSpPr>
            <p:spPr>
              <a:xfrm>
                <a:off x="923390" y="3545025"/>
                <a:ext cx="56131" cy="9167"/>
              </a:xfrm>
              <a:custGeom>
                <a:avLst/>
                <a:gdLst>
                  <a:gd name="connsiteX0" fmla="*/ 28212 w 56131"/>
                  <a:gd name="connsiteY0" fmla="*/ 0 h 9167"/>
                  <a:gd name="connsiteX1" fmla="*/ 54132 w 56131"/>
                  <a:gd name="connsiteY1" fmla="*/ 0 h 9167"/>
                  <a:gd name="connsiteX2" fmla="*/ 56132 w 56131"/>
                  <a:gd name="connsiteY2" fmla="*/ 1959 h 9167"/>
                  <a:gd name="connsiteX3" fmla="*/ 56132 w 56131"/>
                  <a:gd name="connsiteY3" fmla="*/ 7709 h 9167"/>
                  <a:gd name="connsiteX4" fmla="*/ 54673 w 56131"/>
                  <a:gd name="connsiteY4" fmla="*/ 9168 h 9167"/>
                  <a:gd name="connsiteX5" fmla="*/ 1459 w 56131"/>
                  <a:gd name="connsiteY5" fmla="*/ 9168 h 9167"/>
                  <a:gd name="connsiteX6" fmla="*/ 0 w 56131"/>
                  <a:gd name="connsiteY6" fmla="*/ 7668 h 9167"/>
                  <a:gd name="connsiteX7" fmla="*/ 0 w 56131"/>
                  <a:gd name="connsiteY7" fmla="*/ 1625 h 9167"/>
                  <a:gd name="connsiteX8" fmla="*/ 1584 w 56131"/>
                  <a:gd name="connsiteY8" fmla="*/ 42 h 9167"/>
                  <a:gd name="connsiteX9" fmla="*/ 28212 w 56131"/>
                  <a:gd name="connsiteY9" fmla="*/ 0 h 9167"/>
                  <a:gd name="connsiteX10" fmla="*/ 2084 w 56131"/>
                  <a:gd name="connsiteY10" fmla="*/ 7043 h 9167"/>
                  <a:gd name="connsiteX11" fmla="*/ 54007 w 56131"/>
                  <a:gd name="connsiteY11" fmla="*/ 7043 h 9167"/>
                  <a:gd name="connsiteX12" fmla="*/ 54007 w 56131"/>
                  <a:gd name="connsiteY12" fmla="*/ 2125 h 9167"/>
                  <a:gd name="connsiteX13" fmla="*/ 2084 w 56131"/>
                  <a:gd name="connsiteY13" fmla="*/ 2125 h 9167"/>
                  <a:gd name="connsiteX14" fmla="*/ 2084 w 56131"/>
                  <a:gd name="connsiteY14" fmla="*/ 7043 h 9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6131" h="9167">
                    <a:moveTo>
                      <a:pt x="28212" y="0"/>
                    </a:moveTo>
                    <a:cubicBezTo>
                      <a:pt x="36838" y="0"/>
                      <a:pt x="45506" y="0"/>
                      <a:pt x="54132" y="0"/>
                    </a:cubicBezTo>
                    <a:cubicBezTo>
                      <a:pt x="56007" y="0"/>
                      <a:pt x="56132" y="125"/>
                      <a:pt x="56132" y="1959"/>
                    </a:cubicBezTo>
                    <a:cubicBezTo>
                      <a:pt x="56132" y="3875"/>
                      <a:pt x="56132" y="5792"/>
                      <a:pt x="56132" y="7709"/>
                    </a:cubicBezTo>
                    <a:cubicBezTo>
                      <a:pt x="56132" y="8834"/>
                      <a:pt x="55799" y="9168"/>
                      <a:pt x="54673" y="9168"/>
                    </a:cubicBezTo>
                    <a:cubicBezTo>
                      <a:pt x="36921" y="9168"/>
                      <a:pt x="19169" y="9168"/>
                      <a:pt x="1459" y="9168"/>
                    </a:cubicBezTo>
                    <a:cubicBezTo>
                      <a:pt x="250" y="9168"/>
                      <a:pt x="0" y="8876"/>
                      <a:pt x="0" y="7668"/>
                    </a:cubicBezTo>
                    <a:cubicBezTo>
                      <a:pt x="0" y="5667"/>
                      <a:pt x="0" y="3625"/>
                      <a:pt x="0" y="1625"/>
                    </a:cubicBezTo>
                    <a:cubicBezTo>
                      <a:pt x="0" y="292"/>
                      <a:pt x="250" y="42"/>
                      <a:pt x="1584" y="42"/>
                    </a:cubicBezTo>
                    <a:cubicBezTo>
                      <a:pt x="10460" y="0"/>
                      <a:pt x="19336" y="0"/>
                      <a:pt x="28212" y="0"/>
                    </a:cubicBezTo>
                    <a:close/>
                    <a:moveTo>
                      <a:pt x="2084" y="7043"/>
                    </a:moveTo>
                    <a:cubicBezTo>
                      <a:pt x="19461" y="7043"/>
                      <a:pt x="36713" y="7043"/>
                      <a:pt x="54007" y="7043"/>
                    </a:cubicBezTo>
                    <a:cubicBezTo>
                      <a:pt x="54007" y="5376"/>
                      <a:pt x="54007" y="3750"/>
                      <a:pt x="54007" y="2125"/>
                    </a:cubicBezTo>
                    <a:cubicBezTo>
                      <a:pt x="36671" y="2125"/>
                      <a:pt x="19377" y="2125"/>
                      <a:pt x="2084" y="2125"/>
                    </a:cubicBezTo>
                    <a:cubicBezTo>
                      <a:pt x="2084" y="3792"/>
                      <a:pt x="2084" y="5334"/>
                      <a:pt x="2084" y="7043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3E4E8745-C6B7-B53C-705F-F1791FFAEAA9}"/>
                  </a:ext>
                </a:extLst>
              </p:cNvPr>
              <p:cNvSpPr/>
              <p:nvPr/>
            </p:nvSpPr>
            <p:spPr>
              <a:xfrm>
                <a:off x="923390" y="3504270"/>
                <a:ext cx="56131" cy="9084"/>
              </a:xfrm>
              <a:custGeom>
                <a:avLst/>
                <a:gdLst>
                  <a:gd name="connsiteX0" fmla="*/ 28003 w 56131"/>
                  <a:gd name="connsiteY0" fmla="*/ 9084 h 9084"/>
                  <a:gd name="connsiteX1" fmla="*/ 1667 w 56131"/>
                  <a:gd name="connsiteY1" fmla="*/ 9084 h 9084"/>
                  <a:gd name="connsiteX2" fmla="*/ 0 w 56131"/>
                  <a:gd name="connsiteY2" fmla="*/ 7459 h 9084"/>
                  <a:gd name="connsiteX3" fmla="*/ 0 w 56131"/>
                  <a:gd name="connsiteY3" fmla="*/ 1625 h 9084"/>
                  <a:gd name="connsiteX4" fmla="*/ 1667 w 56131"/>
                  <a:gd name="connsiteY4" fmla="*/ 0 h 9084"/>
                  <a:gd name="connsiteX5" fmla="*/ 46797 w 56131"/>
                  <a:gd name="connsiteY5" fmla="*/ 0 h 9084"/>
                  <a:gd name="connsiteX6" fmla="*/ 54590 w 56131"/>
                  <a:gd name="connsiteY6" fmla="*/ 0 h 9084"/>
                  <a:gd name="connsiteX7" fmla="*/ 56132 w 56131"/>
                  <a:gd name="connsiteY7" fmla="*/ 1584 h 9084"/>
                  <a:gd name="connsiteX8" fmla="*/ 56132 w 56131"/>
                  <a:gd name="connsiteY8" fmla="*/ 7334 h 9084"/>
                  <a:gd name="connsiteX9" fmla="*/ 54382 w 56131"/>
                  <a:gd name="connsiteY9" fmla="*/ 9084 h 9084"/>
                  <a:gd name="connsiteX10" fmla="*/ 28003 w 56131"/>
                  <a:gd name="connsiteY10" fmla="*/ 9084 h 9084"/>
                  <a:gd name="connsiteX11" fmla="*/ 54048 w 56131"/>
                  <a:gd name="connsiteY11" fmla="*/ 2167 h 9084"/>
                  <a:gd name="connsiteX12" fmla="*/ 2125 w 56131"/>
                  <a:gd name="connsiteY12" fmla="*/ 2167 h 9084"/>
                  <a:gd name="connsiteX13" fmla="*/ 2125 w 56131"/>
                  <a:gd name="connsiteY13" fmla="*/ 7001 h 9084"/>
                  <a:gd name="connsiteX14" fmla="*/ 54048 w 56131"/>
                  <a:gd name="connsiteY14" fmla="*/ 7001 h 9084"/>
                  <a:gd name="connsiteX15" fmla="*/ 54048 w 56131"/>
                  <a:gd name="connsiteY15" fmla="*/ 2167 h 9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6131" h="9084">
                    <a:moveTo>
                      <a:pt x="28003" y="9084"/>
                    </a:moveTo>
                    <a:cubicBezTo>
                      <a:pt x="19211" y="9084"/>
                      <a:pt x="10460" y="9084"/>
                      <a:pt x="1667" y="9084"/>
                    </a:cubicBezTo>
                    <a:cubicBezTo>
                      <a:pt x="250" y="9084"/>
                      <a:pt x="0" y="8834"/>
                      <a:pt x="0" y="7459"/>
                    </a:cubicBezTo>
                    <a:cubicBezTo>
                      <a:pt x="0" y="5501"/>
                      <a:pt x="0" y="3542"/>
                      <a:pt x="0" y="1625"/>
                    </a:cubicBezTo>
                    <a:cubicBezTo>
                      <a:pt x="0" y="250"/>
                      <a:pt x="250" y="0"/>
                      <a:pt x="1667" y="0"/>
                    </a:cubicBezTo>
                    <a:cubicBezTo>
                      <a:pt x="16710" y="0"/>
                      <a:pt x="31754" y="0"/>
                      <a:pt x="46797" y="0"/>
                    </a:cubicBezTo>
                    <a:cubicBezTo>
                      <a:pt x="49381" y="0"/>
                      <a:pt x="52006" y="0"/>
                      <a:pt x="54590" y="0"/>
                    </a:cubicBezTo>
                    <a:cubicBezTo>
                      <a:pt x="55840" y="0"/>
                      <a:pt x="56132" y="292"/>
                      <a:pt x="56132" y="1584"/>
                    </a:cubicBezTo>
                    <a:cubicBezTo>
                      <a:pt x="56132" y="3500"/>
                      <a:pt x="56132" y="5417"/>
                      <a:pt x="56132" y="7334"/>
                    </a:cubicBezTo>
                    <a:cubicBezTo>
                      <a:pt x="56132" y="8876"/>
                      <a:pt x="55924" y="9084"/>
                      <a:pt x="54382" y="9084"/>
                    </a:cubicBezTo>
                    <a:cubicBezTo>
                      <a:pt x="45631" y="9084"/>
                      <a:pt x="36796" y="9084"/>
                      <a:pt x="28003" y="9084"/>
                    </a:cubicBezTo>
                    <a:close/>
                    <a:moveTo>
                      <a:pt x="54048" y="2167"/>
                    </a:moveTo>
                    <a:cubicBezTo>
                      <a:pt x="36671" y="2167"/>
                      <a:pt x="19377" y="2167"/>
                      <a:pt x="2125" y="2167"/>
                    </a:cubicBezTo>
                    <a:cubicBezTo>
                      <a:pt x="2125" y="3834"/>
                      <a:pt x="2125" y="5376"/>
                      <a:pt x="2125" y="7001"/>
                    </a:cubicBezTo>
                    <a:cubicBezTo>
                      <a:pt x="19461" y="7001"/>
                      <a:pt x="36755" y="7001"/>
                      <a:pt x="54048" y="7001"/>
                    </a:cubicBezTo>
                    <a:cubicBezTo>
                      <a:pt x="54048" y="5334"/>
                      <a:pt x="54048" y="3792"/>
                      <a:pt x="54048" y="2167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ECDAD066-96EB-DF1E-877B-ABD54EDE66A0}"/>
                  </a:ext>
                </a:extLst>
              </p:cNvPr>
              <p:cNvSpPr/>
              <p:nvPr/>
            </p:nvSpPr>
            <p:spPr>
              <a:xfrm>
                <a:off x="923390" y="3483892"/>
                <a:ext cx="56131" cy="9167"/>
              </a:xfrm>
              <a:custGeom>
                <a:avLst/>
                <a:gdLst>
                  <a:gd name="connsiteX0" fmla="*/ 28087 w 56131"/>
                  <a:gd name="connsiteY0" fmla="*/ 0 h 9167"/>
                  <a:gd name="connsiteX1" fmla="*/ 54423 w 56131"/>
                  <a:gd name="connsiteY1" fmla="*/ 0 h 9167"/>
                  <a:gd name="connsiteX2" fmla="*/ 56132 w 56131"/>
                  <a:gd name="connsiteY2" fmla="*/ 1750 h 9167"/>
                  <a:gd name="connsiteX3" fmla="*/ 56132 w 56131"/>
                  <a:gd name="connsiteY3" fmla="*/ 7709 h 9167"/>
                  <a:gd name="connsiteX4" fmla="*/ 54673 w 56131"/>
                  <a:gd name="connsiteY4" fmla="*/ 9168 h 9167"/>
                  <a:gd name="connsiteX5" fmla="*/ 1459 w 56131"/>
                  <a:gd name="connsiteY5" fmla="*/ 9168 h 9167"/>
                  <a:gd name="connsiteX6" fmla="*/ 0 w 56131"/>
                  <a:gd name="connsiteY6" fmla="*/ 7626 h 9167"/>
                  <a:gd name="connsiteX7" fmla="*/ 0 w 56131"/>
                  <a:gd name="connsiteY7" fmla="*/ 1500 h 9167"/>
                  <a:gd name="connsiteX8" fmla="*/ 1500 w 56131"/>
                  <a:gd name="connsiteY8" fmla="*/ 42 h 9167"/>
                  <a:gd name="connsiteX9" fmla="*/ 28087 w 56131"/>
                  <a:gd name="connsiteY9" fmla="*/ 0 h 9167"/>
                  <a:gd name="connsiteX10" fmla="*/ 2084 w 56131"/>
                  <a:gd name="connsiteY10" fmla="*/ 7043 h 9167"/>
                  <a:gd name="connsiteX11" fmla="*/ 54007 w 56131"/>
                  <a:gd name="connsiteY11" fmla="*/ 7043 h 9167"/>
                  <a:gd name="connsiteX12" fmla="*/ 54007 w 56131"/>
                  <a:gd name="connsiteY12" fmla="*/ 2084 h 9167"/>
                  <a:gd name="connsiteX13" fmla="*/ 2084 w 56131"/>
                  <a:gd name="connsiteY13" fmla="*/ 2084 h 9167"/>
                  <a:gd name="connsiteX14" fmla="*/ 2084 w 56131"/>
                  <a:gd name="connsiteY14" fmla="*/ 7043 h 9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6131" h="9167">
                    <a:moveTo>
                      <a:pt x="28087" y="0"/>
                    </a:moveTo>
                    <a:cubicBezTo>
                      <a:pt x="36880" y="0"/>
                      <a:pt x="45631" y="0"/>
                      <a:pt x="54423" y="0"/>
                    </a:cubicBezTo>
                    <a:cubicBezTo>
                      <a:pt x="55965" y="0"/>
                      <a:pt x="56132" y="208"/>
                      <a:pt x="56132" y="1750"/>
                    </a:cubicBezTo>
                    <a:cubicBezTo>
                      <a:pt x="56132" y="3750"/>
                      <a:pt x="56132" y="5709"/>
                      <a:pt x="56132" y="7709"/>
                    </a:cubicBezTo>
                    <a:cubicBezTo>
                      <a:pt x="56132" y="8834"/>
                      <a:pt x="55799" y="9168"/>
                      <a:pt x="54673" y="9168"/>
                    </a:cubicBezTo>
                    <a:cubicBezTo>
                      <a:pt x="36921" y="9168"/>
                      <a:pt x="19211" y="9168"/>
                      <a:pt x="1459" y="9168"/>
                    </a:cubicBezTo>
                    <a:cubicBezTo>
                      <a:pt x="292" y="9168"/>
                      <a:pt x="0" y="8876"/>
                      <a:pt x="0" y="7626"/>
                    </a:cubicBezTo>
                    <a:cubicBezTo>
                      <a:pt x="0" y="5584"/>
                      <a:pt x="0" y="3542"/>
                      <a:pt x="0" y="1500"/>
                    </a:cubicBezTo>
                    <a:cubicBezTo>
                      <a:pt x="0" y="292"/>
                      <a:pt x="250" y="42"/>
                      <a:pt x="1500" y="42"/>
                    </a:cubicBezTo>
                    <a:cubicBezTo>
                      <a:pt x="10376" y="0"/>
                      <a:pt x="19252" y="0"/>
                      <a:pt x="28087" y="0"/>
                    </a:cubicBezTo>
                    <a:close/>
                    <a:moveTo>
                      <a:pt x="2084" y="7043"/>
                    </a:moveTo>
                    <a:cubicBezTo>
                      <a:pt x="19419" y="7043"/>
                      <a:pt x="36713" y="7043"/>
                      <a:pt x="54007" y="7043"/>
                    </a:cubicBezTo>
                    <a:cubicBezTo>
                      <a:pt x="54007" y="5376"/>
                      <a:pt x="54007" y="3750"/>
                      <a:pt x="54007" y="2084"/>
                    </a:cubicBezTo>
                    <a:cubicBezTo>
                      <a:pt x="36671" y="2084"/>
                      <a:pt x="19419" y="2084"/>
                      <a:pt x="2084" y="2084"/>
                    </a:cubicBezTo>
                    <a:cubicBezTo>
                      <a:pt x="2084" y="3750"/>
                      <a:pt x="2084" y="5334"/>
                      <a:pt x="2084" y="7043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687E4425-1194-B565-197F-CBF6F85724FD}"/>
                  </a:ext>
                </a:extLst>
              </p:cNvPr>
              <p:cNvSpPr/>
              <p:nvPr/>
            </p:nvSpPr>
            <p:spPr>
              <a:xfrm>
                <a:off x="923390" y="3524689"/>
                <a:ext cx="56173" cy="9084"/>
              </a:xfrm>
              <a:custGeom>
                <a:avLst/>
                <a:gdLst>
                  <a:gd name="connsiteX0" fmla="*/ 28212 w 56173"/>
                  <a:gd name="connsiteY0" fmla="*/ 0 h 9084"/>
                  <a:gd name="connsiteX1" fmla="*/ 54340 w 56173"/>
                  <a:gd name="connsiteY1" fmla="*/ 0 h 9084"/>
                  <a:gd name="connsiteX2" fmla="*/ 56174 w 56173"/>
                  <a:gd name="connsiteY2" fmla="*/ 1875 h 9084"/>
                  <a:gd name="connsiteX3" fmla="*/ 56174 w 56173"/>
                  <a:gd name="connsiteY3" fmla="*/ 7626 h 9084"/>
                  <a:gd name="connsiteX4" fmla="*/ 54715 w 56173"/>
                  <a:gd name="connsiteY4" fmla="*/ 9084 h 9084"/>
                  <a:gd name="connsiteX5" fmla="*/ 1459 w 56173"/>
                  <a:gd name="connsiteY5" fmla="*/ 9084 h 9084"/>
                  <a:gd name="connsiteX6" fmla="*/ 0 w 56173"/>
                  <a:gd name="connsiteY6" fmla="*/ 7584 h 9084"/>
                  <a:gd name="connsiteX7" fmla="*/ 0 w 56173"/>
                  <a:gd name="connsiteY7" fmla="*/ 1625 h 9084"/>
                  <a:gd name="connsiteX8" fmla="*/ 1584 w 56173"/>
                  <a:gd name="connsiteY8" fmla="*/ 42 h 9084"/>
                  <a:gd name="connsiteX9" fmla="*/ 28212 w 56173"/>
                  <a:gd name="connsiteY9" fmla="*/ 0 h 9084"/>
                  <a:gd name="connsiteX10" fmla="*/ 54048 w 56173"/>
                  <a:gd name="connsiteY10" fmla="*/ 2042 h 9084"/>
                  <a:gd name="connsiteX11" fmla="*/ 52882 w 56173"/>
                  <a:gd name="connsiteY11" fmla="*/ 2042 h 9084"/>
                  <a:gd name="connsiteX12" fmla="*/ 3375 w 56173"/>
                  <a:gd name="connsiteY12" fmla="*/ 2042 h 9084"/>
                  <a:gd name="connsiteX13" fmla="*/ 2500 w 56173"/>
                  <a:gd name="connsiteY13" fmla="*/ 2084 h 9084"/>
                  <a:gd name="connsiteX14" fmla="*/ 2084 w 56173"/>
                  <a:gd name="connsiteY14" fmla="*/ 2500 h 9084"/>
                  <a:gd name="connsiteX15" fmla="*/ 2084 w 56173"/>
                  <a:gd name="connsiteY15" fmla="*/ 7001 h 9084"/>
                  <a:gd name="connsiteX16" fmla="*/ 54090 w 56173"/>
                  <a:gd name="connsiteY16" fmla="*/ 7001 h 9084"/>
                  <a:gd name="connsiteX17" fmla="*/ 54048 w 56173"/>
                  <a:gd name="connsiteY17" fmla="*/ 2042 h 9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6173" h="9084">
                    <a:moveTo>
                      <a:pt x="28212" y="0"/>
                    </a:moveTo>
                    <a:cubicBezTo>
                      <a:pt x="36921" y="0"/>
                      <a:pt x="45631" y="0"/>
                      <a:pt x="54340" y="0"/>
                    </a:cubicBezTo>
                    <a:cubicBezTo>
                      <a:pt x="56007" y="0"/>
                      <a:pt x="56174" y="167"/>
                      <a:pt x="56174" y="1875"/>
                    </a:cubicBezTo>
                    <a:cubicBezTo>
                      <a:pt x="56174" y="3792"/>
                      <a:pt x="56174" y="5709"/>
                      <a:pt x="56174" y="7626"/>
                    </a:cubicBezTo>
                    <a:cubicBezTo>
                      <a:pt x="56174" y="8793"/>
                      <a:pt x="55882" y="9084"/>
                      <a:pt x="54715" y="9084"/>
                    </a:cubicBezTo>
                    <a:cubicBezTo>
                      <a:pt x="36963" y="9084"/>
                      <a:pt x="19211" y="9084"/>
                      <a:pt x="1459" y="9084"/>
                    </a:cubicBezTo>
                    <a:cubicBezTo>
                      <a:pt x="250" y="9084"/>
                      <a:pt x="0" y="8834"/>
                      <a:pt x="0" y="7584"/>
                    </a:cubicBezTo>
                    <a:cubicBezTo>
                      <a:pt x="0" y="5584"/>
                      <a:pt x="0" y="3625"/>
                      <a:pt x="0" y="1625"/>
                    </a:cubicBezTo>
                    <a:cubicBezTo>
                      <a:pt x="0" y="250"/>
                      <a:pt x="250" y="42"/>
                      <a:pt x="1584" y="42"/>
                    </a:cubicBezTo>
                    <a:cubicBezTo>
                      <a:pt x="10460" y="0"/>
                      <a:pt x="19336" y="0"/>
                      <a:pt x="28212" y="0"/>
                    </a:cubicBezTo>
                    <a:close/>
                    <a:moveTo>
                      <a:pt x="54048" y="2042"/>
                    </a:moveTo>
                    <a:cubicBezTo>
                      <a:pt x="53632" y="2042"/>
                      <a:pt x="53257" y="2042"/>
                      <a:pt x="52882" y="2042"/>
                    </a:cubicBezTo>
                    <a:cubicBezTo>
                      <a:pt x="36380" y="2042"/>
                      <a:pt x="19877" y="2042"/>
                      <a:pt x="3375" y="2042"/>
                    </a:cubicBezTo>
                    <a:cubicBezTo>
                      <a:pt x="3084" y="2042"/>
                      <a:pt x="2792" y="2000"/>
                      <a:pt x="2500" y="2084"/>
                    </a:cubicBezTo>
                    <a:cubicBezTo>
                      <a:pt x="2334" y="2125"/>
                      <a:pt x="2084" y="2334"/>
                      <a:pt x="2084" y="2500"/>
                    </a:cubicBezTo>
                    <a:cubicBezTo>
                      <a:pt x="2042" y="4000"/>
                      <a:pt x="2084" y="5459"/>
                      <a:pt x="2084" y="7001"/>
                    </a:cubicBezTo>
                    <a:cubicBezTo>
                      <a:pt x="19502" y="7001"/>
                      <a:pt x="36755" y="7001"/>
                      <a:pt x="54090" y="7001"/>
                    </a:cubicBezTo>
                    <a:cubicBezTo>
                      <a:pt x="54048" y="5334"/>
                      <a:pt x="54048" y="3750"/>
                      <a:pt x="54048" y="2042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F6296604-65C9-AA5F-E9BC-15AC7D6AEF23}"/>
                  </a:ext>
                </a:extLst>
              </p:cNvPr>
              <p:cNvSpPr/>
              <p:nvPr/>
            </p:nvSpPr>
            <p:spPr>
              <a:xfrm>
                <a:off x="898679" y="3541858"/>
                <a:ext cx="15376" cy="15460"/>
              </a:xfrm>
              <a:custGeom>
                <a:avLst/>
                <a:gdLst>
                  <a:gd name="connsiteX0" fmla="*/ 15335 w 15376"/>
                  <a:gd name="connsiteY0" fmla="*/ 7751 h 15460"/>
                  <a:gd name="connsiteX1" fmla="*/ 15335 w 15376"/>
                  <a:gd name="connsiteY1" fmla="*/ 14002 h 15460"/>
                  <a:gd name="connsiteX2" fmla="*/ 13918 w 15376"/>
                  <a:gd name="connsiteY2" fmla="*/ 15460 h 15460"/>
                  <a:gd name="connsiteX3" fmla="*/ 1459 w 15376"/>
                  <a:gd name="connsiteY3" fmla="*/ 15460 h 15460"/>
                  <a:gd name="connsiteX4" fmla="*/ 0 w 15376"/>
                  <a:gd name="connsiteY4" fmla="*/ 14002 h 15460"/>
                  <a:gd name="connsiteX5" fmla="*/ 0 w 15376"/>
                  <a:gd name="connsiteY5" fmla="*/ 1417 h 15460"/>
                  <a:gd name="connsiteX6" fmla="*/ 1417 w 15376"/>
                  <a:gd name="connsiteY6" fmla="*/ 0 h 15460"/>
                  <a:gd name="connsiteX7" fmla="*/ 14002 w 15376"/>
                  <a:gd name="connsiteY7" fmla="*/ 0 h 15460"/>
                  <a:gd name="connsiteX8" fmla="*/ 15377 w 15376"/>
                  <a:gd name="connsiteY8" fmla="*/ 1375 h 15460"/>
                  <a:gd name="connsiteX9" fmla="*/ 15335 w 15376"/>
                  <a:gd name="connsiteY9" fmla="*/ 7751 h 15460"/>
                  <a:gd name="connsiteX10" fmla="*/ 2125 w 15376"/>
                  <a:gd name="connsiteY10" fmla="*/ 2125 h 15460"/>
                  <a:gd name="connsiteX11" fmla="*/ 2125 w 15376"/>
                  <a:gd name="connsiteY11" fmla="*/ 13293 h 15460"/>
                  <a:gd name="connsiteX12" fmla="*/ 13210 w 15376"/>
                  <a:gd name="connsiteY12" fmla="*/ 13293 h 15460"/>
                  <a:gd name="connsiteX13" fmla="*/ 13210 w 15376"/>
                  <a:gd name="connsiteY13" fmla="*/ 2125 h 15460"/>
                  <a:gd name="connsiteX14" fmla="*/ 2125 w 15376"/>
                  <a:gd name="connsiteY14" fmla="*/ 2125 h 1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376" h="15460">
                    <a:moveTo>
                      <a:pt x="15335" y="7751"/>
                    </a:moveTo>
                    <a:cubicBezTo>
                      <a:pt x="15335" y="9835"/>
                      <a:pt x="15335" y="11918"/>
                      <a:pt x="15335" y="14002"/>
                    </a:cubicBezTo>
                    <a:cubicBezTo>
                      <a:pt x="15335" y="15169"/>
                      <a:pt x="15044" y="15460"/>
                      <a:pt x="13918" y="15460"/>
                    </a:cubicBezTo>
                    <a:cubicBezTo>
                      <a:pt x="9751" y="15460"/>
                      <a:pt x="5584" y="15460"/>
                      <a:pt x="1459" y="15460"/>
                    </a:cubicBezTo>
                    <a:cubicBezTo>
                      <a:pt x="333" y="15460"/>
                      <a:pt x="0" y="15169"/>
                      <a:pt x="0" y="14002"/>
                    </a:cubicBezTo>
                    <a:cubicBezTo>
                      <a:pt x="0" y="9793"/>
                      <a:pt x="0" y="5626"/>
                      <a:pt x="0" y="1417"/>
                    </a:cubicBezTo>
                    <a:cubicBezTo>
                      <a:pt x="0" y="333"/>
                      <a:pt x="333" y="0"/>
                      <a:pt x="1417" y="0"/>
                    </a:cubicBezTo>
                    <a:cubicBezTo>
                      <a:pt x="5626" y="0"/>
                      <a:pt x="9793" y="0"/>
                      <a:pt x="14002" y="0"/>
                    </a:cubicBezTo>
                    <a:cubicBezTo>
                      <a:pt x="15085" y="0"/>
                      <a:pt x="15377" y="292"/>
                      <a:pt x="15377" y="1375"/>
                    </a:cubicBezTo>
                    <a:cubicBezTo>
                      <a:pt x="15377" y="3542"/>
                      <a:pt x="15335" y="5667"/>
                      <a:pt x="15335" y="7751"/>
                    </a:cubicBezTo>
                    <a:close/>
                    <a:moveTo>
                      <a:pt x="2125" y="2125"/>
                    </a:moveTo>
                    <a:cubicBezTo>
                      <a:pt x="2125" y="5876"/>
                      <a:pt x="2125" y="9585"/>
                      <a:pt x="2125" y="13293"/>
                    </a:cubicBezTo>
                    <a:cubicBezTo>
                      <a:pt x="5876" y="13293"/>
                      <a:pt x="9543" y="13293"/>
                      <a:pt x="13210" y="13293"/>
                    </a:cubicBezTo>
                    <a:cubicBezTo>
                      <a:pt x="13210" y="9501"/>
                      <a:pt x="13210" y="5834"/>
                      <a:pt x="13210" y="2125"/>
                    </a:cubicBezTo>
                    <a:cubicBezTo>
                      <a:pt x="9460" y="2125"/>
                      <a:pt x="5792" y="2125"/>
                      <a:pt x="2125" y="2125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E6BAEAE8-8CF6-1E43-45E8-620F4458E142}"/>
                  </a:ext>
                </a:extLst>
              </p:cNvPr>
              <p:cNvSpPr/>
              <p:nvPr/>
            </p:nvSpPr>
            <p:spPr>
              <a:xfrm>
                <a:off x="898637" y="3480725"/>
                <a:ext cx="15387" cy="15460"/>
              </a:xfrm>
              <a:custGeom>
                <a:avLst/>
                <a:gdLst>
                  <a:gd name="connsiteX0" fmla="*/ 15377 w 15387"/>
                  <a:gd name="connsiteY0" fmla="*/ 7709 h 15460"/>
                  <a:gd name="connsiteX1" fmla="*/ 15377 w 15387"/>
                  <a:gd name="connsiteY1" fmla="*/ 14043 h 15460"/>
                  <a:gd name="connsiteX2" fmla="*/ 14002 w 15387"/>
                  <a:gd name="connsiteY2" fmla="*/ 15460 h 15460"/>
                  <a:gd name="connsiteX3" fmla="*/ 1417 w 15387"/>
                  <a:gd name="connsiteY3" fmla="*/ 15460 h 15460"/>
                  <a:gd name="connsiteX4" fmla="*/ 0 w 15387"/>
                  <a:gd name="connsiteY4" fmla="*/ 14043 h 15460"/>
                  <a:gd name="connsiteX5" fmla="*/ 0 w 15387"/>
                  <a:gd name="connsiteY5" fmla="*/ 1375 h 15460"/>
                  <a:gd name="connsiteX6" fmla="*/ 1334 w 15387"/>
                  <a:gd name="connsiteY6" fmla="*/ 0 h 15460"/>
                  <a:gd name="connsiteX7" fmla="*/ 14002 w 15387"/>
                  <a:gd name="connsiteY7" fmla="*/ 0 h 15460"/>
                  <a:gd name="connsiteX8" fmla="*/ 15335 w 15387"/>
                  <a:gd name="connsiteY8" fmla="*/ 1333 h 15460"/>
                  <a:gd name="connsiteX9" fmla="*/ 15377 w 15387"/>
                  <a:gd name="connsiteY9" fmla="*/ 7709 h 15460"/>
                  <a:gd name="connsiteX10" fmla="*/ 13252 w 15387"/>
                  <a:gd name="connsiteY10" fmla="*/ 2167 h 15460"/>
                  <a:gd name="connsiteX11" fmla="*/ 2167 w 15387"/>
                  <a:gd name="connsiteY11" fmla="*/ 2167 h 15460"/>
                  <a:gd name="connsiteX12" fmla="*/ 2167 w 15387"/>
                  <a:gd name="connsiteY12" fmla="*/ 13335 h 15460"/>
                  <a:gd name="connsiteX13" fmla="*/ 13252 w 15387"/>
                  <a:gd name="connsiteY13" fmla="*/ 13335 h 15460"/>
                  <a:gd name="connsiteX14" fmla="*/ 13252 w 15387"/>
                  <a:gd name="connsiteY14" fmla="*/ 2167 h 1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387" h="15460">
                    <a:moveTo>
                      <a:pt x="15377" y="7709"/>
                    </a:moveTo>
                    <a:cubicBezTo>
                      <a:pt x="15377" y="9835"/>
                      <a:pt x="15377" y="11918"/>
                      <a:pt x="15377" y="14043"/>
                    </a:cubicBezTo>
                    <a:cubicBezTo>
                      <a:pt x="15377" y="15127"/>
                      <a:pt x="15044" y="15460"/>
                      <a:pt x="14002" y="15460"/>
                    </a:cubicBezTo>
                    <a:cubicBezTo>
                      <a:pt x="9793" y="15460"/>
                      <a:pt x="5626" y="15460"/>
                      <a:pt x="1417" y="15460"/>
                    </a:cubicBezTo>
                    <a:cubicBezTo>
                      <a:pt x="375" y="15460"/>
                      <a:pt x="0" y="15085"/>
                      <a:pt x="0" y="14043"/>
                    </a:cubicBezTo>
                    <a:cubicBezTo>
                      <a:pt x="0" y="9835"/>
                      <a:pt x="0" y="5584"/>
                      <a:pt x="0" y="1375"/>
                    </a:cubicBezTo>
                    <a:cubicBezTo>
                      <a:pt x="0" y="375"/>
                      <a:pt x="333" y="0"/>
                      <a:pt x="1334" y="0"/>
                    </a:cubicBezTo>
                    <a:cubicBezTo>
                      <a:pt x="5542" y="0"/>
                      <a:pt x="9793" y="0"/>
                      <a:pt x="14002" y="0"/>
                    </a:cubicBezTo>
                    <a:cubicBezTo>
                      <a:pt x="15044" y="0"/>
                      <a:pt x="15335" y="333"/>
                      <a:pt x="15335" y="1333"/>
                    </a:cubicBezTo>
                    <a:cubicBezTo>
                      <a:pt x="15419" y="3500"/>
                      <a:pt x="15377" y="5584"/>
                      <a:pt x="15377" y="7709"/>
                    </a:cubicBezTo>
                    <a:close/>
                    <a:moveTo>
                      <a:pt x="13252" y="2167"/>
                    </a:moveTo>
                    <a:cubicBezTo>
                      <a:pt x="9501" y="2167"/>
                      <a:pt x="5834" y="2167"/>
                      <a:pt x="2167" y="2167"/>
                    </a:cubicBezTo>
                    <a:cubicBezTo>
                      <a:pt x="2167" y="5917"/>
                      <a:pt x="2167" y="9626"/>
                      <a:pt x="2167" y="13335"/>
                    </a:cubicBezTo>
                    <a:cubicBezTo>
                      <a:pt x="5917" y="13335"/>
                      <a:pt x="9585" y="13335"/>
                      <a:pt x="13252" y="13335"/>
                    </a:cubicBezTo>
                    <a:cubicBezTo>
                      <a:pt x="13252" y="9585"/>
                      <a:pt x="13252" y="5876"/>
                      <a:pt x="13252" y="2167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D36BA890-76EB-6AB6-CCEF-F2C9A58C526A}"/>
                  </a:ext>
                </a:extLst>
              </p:cNvPr>
              <p:cNvSpPr/>
              <p:nvPr/>
            </p:nvSpPr>
            <p:spPr>
              <a:xfrm>
                <a:off x="898637" y="3501144"/>
                <a:ext cx="15376" cy="15460"/>
              </a:xfrm>
              <a:custGeom>
                <a:avLst/>
                <a:gdLst>
                  <a:gd name="connsiteX0" fmla="*/ 15377 w 15376"/>
                  <a:gd name="connsiteY0" fmla="*/ 7709 h 15460"/>
                  <a:gd name="connsiteX1" fmla="*/ 15377 w 15376"/>
                  <a:gd name="connsiteY1" fmla="*/ 13960 h 15460"/>
                  <a:gd name="connsiteX2" fmla="*/ 13960 w 15376"/>
                  <a:gd name="connsiteY2" fmla="*/ 15460 h 15460"/>
                  <a:gd name="connsiteX3" fmla="*/ 1375 w 15376"/>
                  <a:gd name="connsiteY3" fmla="*/ 15460 h 15460"/>
                  <a:gd name="connsiteX4" fmla="*/ 0 w 15376"/>
                  <a:gd name="connsiteY4" fmla="*/ 14043 h 15460"/>
                  <a:gd name="connsiteX5" fmla="*/ 0 w 15376"/>
                  <a:gd name="connsiteY5" fmla="*/ 1459 h 15460"/>
                  <a:gd name="connsiteX6" fmla="*/ 1459 w 15376"/>
                  <a:gd name="connsiteY6" fmla="*/ 0 h 15460"/>
                  <a:gd name="connsiteX7" fmla="*/ 13835 w 15376"/>
                  <a:gd name="connsiteY7" fmla="*/ 0 h 15460"/>
                  <a:gd name="connsiteX8" fmla="*/ 15377 w 15376"/>
                  <a:gd name="connsiteY8" fmla="*/ 1584 h 15460"/>
                  <a:gd name="connsiteX9" fmla="*/ 15377 w 15376"/>
                  <a:gd name="connsiteY9" fmla="*/ 7709 h 15460"/>
                  <a:gd name="connsiteX10" fmla="*/ 2167 w 15376"/>
                  <a:gd name="connsiteY10" fmla="*/ 2125 h 15460"/>
                  <a:gd name="connsiteX11" fmla="*/ 2167 w 15376"/>
                  <a:gd name="connsiteY11" fmla="*/ 13335 h 15460"/>
                  <a:gd name="connsiteX12" fmla="*/ 13252 w 15376"/>
                  <a:gd name="connsiteY12" fmla="*/ 13335 h 15460"/>
                  <a:gd name="connsiteX13" fmla="*/ 13252 w 15376"/>
                  <a:gd name="connsiteY13" fmla="*/ 2125 h 15460"/>
                  <a:gd name="connsiteX14" fmla="*/ 2167 w 15376"/>
                  <a:gd name="connsiteY14" fmla="*/ 2125 h 1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376" h="15460">
                    <a:moveTo>
                      <a:pt x="15377" y="7709"/>
                    </a:moveTo>
                    <a:cubicBezTo>
                      <a:pt x="15377" y="9793"/>
                      <a:pt x="15377" y="11876"/>
                      <a:pt x="15377" y="13960"/>
                    </a:cubicBezTo>
                    <a:cubicBezTo>
                      <a:pt x="15377" y="15127"/>
                      <a:pt x="15085" y="15460"/>
                      <a:pt x="13960" y="15460"/>
                    </a:cubicBezTo>
                    <a:cubicBezTo>
                      <a:pt x="9751" y="15460"/>
                      <a:pt x="5584" y="15460"/>
                      <a:pt x="1375" y="15460"/>
                    </a:cubicBezTo>
                    <a:cubicBezTo>
                      <a:pt x="292" y="15460"/>
                      <a:pt x="0" y="15127"/>
                      <a:pt x="0" y="14043"/>
                    </a:cubicBezTo>
                    <a:cubicBezTo>
                      <a:pt x="0" y="9835"/>
                      <a:pt x="0" y="5667"/>
                      <a:pt x="0" y="1459"/>
                    </a:cubicBezTo>
                    <a:cubicBezTo>
                      <a:pt x="0" y="333"/>
                      <a:pt x="333" y="0"/>
                      <a:pt x="1459" y="0"/>
                    </a:cubicBezTo>
                    <a:cubicBezTo>
                      <a:pt x="5584" y="0"/>
                      <a:pt x="9710" y="0"/>
                      <a:pt x="13835" y="0"/>
                    </a:cubicBezTo>
                    <a:cubicBezTo>
                      <a:pt x="15085" y="0"/>
                      <a:pt x="15335" y="292"/>
                      <a:pt x="15377" y="1584"/>
                    </a:cubicBezTo>
                    <a:cubicBezTo>
                      <a:pt x="15377" y="3625"/>
                      <a:pt x="15377" y="5667"/>
                      <a:pt x="15377" y="7709"/>
                    </a:cubicBezTo>
                    <a:close/>
                    <a:moveTo>
                      <a:pt x="2167" y="2125"/>
                    </a:moveTo>
                    <a:cubicBezTo>
                      <a:pt x="2167" y="5917"/>
                      <a:pt x="2167" y="9626"/>
                      <a:pt x="2167" y="13335"/>
                    </a:cubicBezTo>
                    <a:cubicBezTo>
                      <a:pt x="5876" y="13335"/>
                      <a:pt x="9543" y="13335"/>
                      <a:pt x="13252" y="13335"/>
                    </a:cubicBezTo>
                    <a:cubicBezTo>
                      <a:pt x="13252" y="9585"/>
                      <a:pt x="13252" y="5834"/>
                      <a:pt x="13252" y="2125"/>
                    </a:cubicBezTo>
                    <a:cubicBezTo>
                      <a:pt x="9543" y="2125"/>
                      <a:pt x="5876" y="2125"/>
                      <a:pt x="2167" y="2125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27" name="Freeform: Shape 426">
                <a:extLst>
                  <a:ext uri="{FF2B5EF4-FFF2-40B4-BE49-F238E27FC236}">
                    <a16:creationId xmlns:a16="http://schemas.microsoft.com/office/drawing/2014/main" id="{76EDAA55-09D9-53A7-3BDA-6E18C41DA1F7}"/>
                  </a:ext>
                </a:extLst>
              </p:cNvPr>
              <p:cNvSpPr/>
              <p:nvPr/>
            </p:nvSpPr>
            <p:spPr>
              <a:xfrm>
                <a:off x="898637" y="3521522"/>
                <a:ext cx="15376" cy="15376"/>
              </a:xfrm>
              <a:custGeom>
                <a:avLst/>
                <a:gdLst>
                  <a:gd name="connsiteX0" fmla="*/ 7709 w 15376"/>
                  <a:gd name="connsiteY0" fmla="*/ 42 h 15376"/>
                  <a:gd name="connsiteX1" fmla="*/ 13835 w 15376"/>
                  <a:gd name="connsiteY1" fmla="*/ 42 h 15376"/>
                  <a:gd name="connsiteX2" fmla="*/ 15377 w 15376"/>
                  <a:gd name="connsiteY2" fmla="*/ 1500 h 15376"/>
                  <a:gd name="connsiteX3" fmla="*/ 15377 w 15376"/>
                  <a:gd name="connsiteY3" fmla="*/ 13877 h 15376"/>
                  <a:gd name="connsiteX4" fmla="*/ 13877 w 15376"/>
                  <a:gd name="connsiteY4" fmla="*/ 15377 h 15376"/>
                  <a:gd name="connsiteX5" fmla="*/ 1500 w 15376"/>
                  <a:gd name="connsiteY5" fmla="*/ 15377 h 15376"/>
                  <a:gd name="connsiteX6" fmla="*/ 0 w 15376"/>
                  <a:gd name="connsiteY6" fmla="*/ 13835 h 15376"/>
                  <a:gd name="connsiteX7" fmla="*/ 0 w 15376"/>
                  <a:gd name="connsiteY7" fmla="*/ 1542 h 15376"/>
                  <a:gd name="connsiteX8" fmla="*/ 1542 w 15376"/>
                  <a:gd name="connsiteY8" fmla="*/ 0 h 15376"/>
                  <a:gd name="connsiteX9" fmla="*/ 7709 w 15376"/>
                  <a:gd name="connsiteY9" fmla="*/ 42 h 15376"/>
                  <a:gd name="connsiteX10" fmla="*/ 2167 w 15376"/>
                  <a:gd name="connsiteY10" fmla="*/ 13293 h 15376"/>
                  <a:gd name="connsiteX11" fmla="*/ 13252 w 15376"/>
                  <a:gd name="connsiteY11" fmla="*/ 13293 h 15376"/>
                  <a:gd name="connsiteX12" fmla="*/ 13335 w 15376"/>
                  <a:gd name="connsiteY12" fmla="*/ 12502 h 15376"/>
                  <a:gd name="connsiteX13" fmla="*/ 13377 w 15376"/>
                  <a:gd name="connsiteY13" fmla="*/ 3042 h 15376"/>
                  <a:gd name="connsiteX14" fmla="*/ 12335 w 15376"/>
                  <a:gd name="connsiteY14" fmla="*/ 2084 h 15376"/>
                  <a:gd name="connsiteX15" fmla="*/ 3750 w 15376"/>
                  <a:gd name="connsiteY15" fmla="*/ 2084 h 15376"/>
                  <a:gd name="connsiteX16" fmla="*/ 2167 w 15376"/>
                  <a:gd name="connsiteY16" fmla="*/ 2084 h 15376"/>
                  <a:gd name="connsiteX17" fmla="*/ 2167 w 15376"/>
                  <a:gd name="connsiteY17" fmla="*/ 13293 h 15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376" h="15376">
                    <a:moveTo>
                      <a:pt x="7709" y="42"/>
                    </a:moveTo>
                    <a:cubicBezTo>
                      <a:pt x="9751" y="42"/>
                      <a:pt x="11793" y="42"/>
                      <a:pt x="13835" y="42"/>
                    </a:cubicBezTo>
                    <a:cubicBezTo>
                      <a:pt x="15085" y="42"/>
                      <a:pt x="15335" y="292"/>
                      <a:pt x="15377" y="1500"/>
                    </a:cubicBezTo>
                    <a:cubicBezTo>
                      <a:pt x="15377" y="5626"/>
                      <a:pt x="15377" y="9751"/>
                      <a:pt x="15377" y="13877"/>
                    </a:cubicBezTo>
                    <a:cubicBezTo>
                      <a:pt x="15377" y="15085"/>
                      <a:pt x="15085" y="15377"/>
                      <a:pt x="13877" y="15377"/>
                    </a:cubicBezTo>
                    <a:cubicBezTo>
                      <a:pt x="9751" y="15377"/>
                      <a:pt x="5626" y="15377"/>
                      <a:pt x="1500" y="15377"/>
                    </a:cubicBezTo>
                    <a:cubicBezTo>
                      <a:pt x="333" y="15377"/>
                      <a:pt x="0" y="15044"/>
                      <a:pt x="0" y="13835"/>
                    </a:cubicBezTo>
                    <a:cubicBezTo>
                      <a:pt x="0" y="9751"/>
                      <a:pt x="0" y="5626"/>
                      <a:pt x="0" y="1542"/>
                    </a:cubicBezTo>
                    <a:cubicBezTo>
                      <a:pt x="0" y="292"/>
                      <a:pt x="292" y="0"/>
                      <a:pt x="1542" y="0"/>
                    </a:cubicBezTo>
                    <a:cubicBezTo>
                      <a:pt x="3625" y="42"/>
                      <a:pt x="5667" y="42"/>
                      <a:pt x="7709" y="42"/>
                    </a:cubicBezTo>
                    <a:close/>
                    <a:moveTo>
                      <a:pt x="2167" y="13293"/>
                    </a:moveTo>
                    <a:cubicBezTo>
                      <a:pt x="5917" y="13293"/>
                      <a:pt x="9543" y="13293"/>
                      <a:pt x="13252" y="13293"/>
                    </a:cubicBezTo>
                    <a:cubicBezTo>
                      <a:pt x="13293" y="13002"/>
                      <a:pt x="13335" y="12752"/>
                      <a:pt x="13335" y="12502"/>
                    </a:cubicBezTo>
                    <a:cubicBezTo>
                      <a:pt x="13335" y="9334"/>
                      <a:pt x="13293" y="6209"/>
                      <a:pt x="13377" y="3042"/>
                    </a:cubicBezTo>
                    <a:cubicBezTo>
                      <a:pt x="13377" y="2209"/>
                      <a:pt x="13085" y="2084"/>
                      <a:pt x="12335" y="2084"/>
                    </a:cubicBezTo>
                    <a:cubicBezTo>
                      <a:pt x="9460" y="2125"/>
                      <a:pt x="6626" y="2084"/>
                      <a:pt x="3750" y="2084"/>
                    </a:cubicBezTo>
                    <a:cubicBezTo>
                      <a:pt x="3250" y="2084"/>
                      <a:pt x="2750" y="2084"/>
                      <a:pt x="2167" y="2084"/>
                    </a:cubicBezTo>
                    <a:cubicBezTo>
                      <a:pt x="2167" y="5876"/>
                      <a:pt x="2167" y="9543"/>
                      <a:pt x="2167" y="13293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31" name="Freeform: Shape 430">
                <a:extLst>
                  <a:ext uri="{FF2B5EF4-FFF2-40B4-BE49-F238E27FC236}">
                    <a16:creationId xmlns:a16="http://schemas.microsoft.com/office/drawing/2014/main" id="{9D2813BB-B11D-09D2-ADF0-D2CE371C9355}"/>
                  </a:ext>
                </a:extLst>
              </p:cNvPr>
              <p:cNvSpPr/>
              <p:nvPr/>
            </p:nvSpPr>
            <p:spPr>
              <a:xfrm>
                <a:off x="925474" y="3547150"/>
                <a:ext cx="51923" cy="4917"/>
              </a:xfrm>
              <a:custGeom>
                <a:avLst/>
                <a:gdLst>
                  <a:gd name="connsiteX0" fmla="*/ 0 w 51923"/>
                  <a:gd name="connsiteY0" fmla="*/ 4917 h 4917"/>
                  <a:gd name="connsiteX1" fmla="*/ 0 w 51923"/>
                  <a:gd name="connsiteY1" fmla="*/ 0 h 4917"/>
                  <a:gd name="connsiteX2" fmla="*/ 51923 w 51923"/>
                  <a:gd name="connsiteY2" fmla="*/ 0 h 4917"/>
                  <a:gd name="connsiteX3" fmla="*/ 51923 w 51923"/>
                  <a:gd name="connsiteY3" fmla="*/ 4917 h 4917"/>
                  <a:gd name="connsiteX4" fmla="*/ 0 w 51923"/>
                  <a:gd name="connsiteY4" fmla="*/ 4917 h 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923" h="4917">
                    <a:moveTo>
                      <a:pt x="0" y="4917"/>
                    </a:moveTo>
                    <a:cubicBezTo>
                      <a:pt x="0" y="3250"/>
                      <a:pt x="0" y="1667"/>
                      <a:pt x="0" y="0"/>
                    </a:cubicBezTo>
                    <a:cubicBezTo>
                      <a:pt x="17335" y="0"/>
                      <a:pt x="34588" y="0"/>
                      <a:pt x="51923" y="0"/>
                    </a:cubicBezTo>
                    <a:cubicBezTo>
                      <a:pt x="51923" y="1625"/>
                      <a:pt x="51923" y="3250"/>
                      <a:pt x="51923" y="4917"/>
                    </a:cubicBezTo>
                    <a:cubicBezTo>
                      <a:pt x="34629" y="4917"/>
                      <a:pt x="17377" y="4917"/>
                      <a:pt x="0" y="4917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32" name="Freeform: Shape 431">
                <a:extLst>
                  <a:ext uri="{FF2B5EF4-FFF2-40B4-BE49-F238E27FC236}">
                    <a16:creationId xmlns:a16="http://schemas.microsoft.com/office/drawing/2014/main" id="{2B9B230C-9165-FEA5-CC65-EDBC5E8753EF}"/>
                  </a:ext>
                </a:extLst>
              </p:cNvPr>
              <p:cNvSpPr/>
              <p:nvPr/>
            </p:nvSpPr>
            <p:spPr>
              <a:xfrm>
                <a:off x="925516" y="3506437"/>
                <a:ext cx="51923" cy="4833"/>
              </a:xfrm>
              <a:custGeom>
                <a:avLst/>
                <a:gdLst>
                  <a:gd name="connsiteX0" fmla="*/ 51923 w 51923"/>
                  <a:gd name="connsiteY0" fmla="*/ 0 h 4833"/>
                  <a:gd name="connsiteX1" fmla="*/ 51923 w 51923"/>
                  <a:gd name="connsiteY1" fmla="*/ 4834 h 4833"/>
                  <a:gd name="connsiteX2" fmla="*/ 0 w 51923"/>
                  <a:gd name="connsiteY2" fmla="*/ 4834 h 4833"/>
                  <a:gd name="connsiteX3" fmla="*/ 0 w 51923"/>
                  <a:gd name="connsiteY3" fmla="*/ 0 h 4833"/>
                  <a:gd name="connsiteX4" fmla="*/ 51923 w 51923"/>
                  <a:gd name="connsiteY4" fmla="*/ 0 h 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923" h="4833">
                    <a:moveTo>
                      <a:pt x="51923" y="0"/>
                    </a:moveTo>
                    <a:cubicBezTo>
                      <a:pt x="51923" y="1625"/>
                      <a:pt x="51923" y="3209"/>
                      <a:pt x="51923" y="4834"/>
                    </a:cubicBezTo>
                    <a:cubicBezTo>
                      <a:pt x="34588" y="4834"/>
                      <a:pt x="17335" y="4834"/>
                      <a:pt x="0" y="4834"/>
                    </a:cubicBezTo>
                    <a:cubicBezTo>
                      <a:pt x="0" y="3250"/>
                      <a:pt x="0" y="1667"/>
                      <a:pt x="0" y="0"/>
                    </a:cubicBezTo>
                    <a:cubicBezTo>
                      <a:pt x="17252" y="0"/>
                      <a:pt x="34504" y="0"/>
                      <a:pt x="51923" y="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EF52BC2D-079B-5DCD-431B-5C3832CC2C88}"/>
                  </a:ext>
                </a:extLst>
              </p:cNvPr>
              <p:cNvSpPr/>
              <p:nvPr/>
            </p:nvSpPr>
            <p:spPr>
              <a:xfrm>
                <a:off x="925474" y="3485976"/>
                <a:ext cx="51923" cy="4958"/>
              </a:xfrm>
              <a:custGeom>
                <a:avLst/>
                <a:gdLst>
                  <a:gd name="connsiteX0" fmla="*/ 0 w 51923"/>
                  <a:gd name="connsiteY0" fmla="*/ 4959 h 4958"/>
                  <a:gd name="connsiteX1" fmla="*/ 0 w 51923"/>
                  <a:gd name="connsiteY1" fmla="*/ 0 h 4958"/>
                  <a:gd name="connsiteX2" fmla="*/ 51923 w 51923"/>
                  <a:gd name="connsiteY2" fmla="*/ 0 h 4958"/>
                  <a:gd name="connsiteX3" fmla="*/ 51923 w 51923"/>
                  <a:gd name="connsiteY3" fmla="*/ 4959 h 4958"/>
                  <a:gd name="connsiteX4" fmla="*/ 0 w 51923"/>
                  <a:gd name="connsiteY4" fmla="*/ 4959 h 4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923" h="4958">
                    <a:moveTo>
                      <a:pt x="0" y="4959"/>
                    </a:moveTo>
                    <a:cubicBezTo>
                      <a:pt x="0" y="3250"/>
                      <a:pt x="0" y="1667"/>
                      <a:pt x="0" y="0"/>
                    </a:cubicBezTo>
                    <a:cubicBezTo>
                      <a:pt x="17335" y="0"/>
                      <a:pt x="34629" y="0"/>
                      <a:pt x="51923" y="0"/>
                    </a:cubicBezTo>
                    <a:cubicBezTo>
                      <a:pt x="51923" y="1667"/>
                      <a:pt x="51923" y="3292"/>
                      <a:pt x="51923" y="4959"/>
                    </a:cubicBezTo>
                    <a:cubicBezTo>
                      <a:pt x="34629" y="4959"/>
                      <a:pt x="17377" y="4959"/>
                      <a:pt x="0" y="4959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39" name="Freeform: Shape 438">
                <a:extLst>
                  <a:ext uri="{FF2B5EF4-FFF2-40B4-BE49-F238E27FC236}">
                    <a16:creationId xmlns:a16="http://schemas.microsoft.com/office/drawing/2014/main" id="{3C8F2DB9-CFF8-0CCC-CD2F-AB1BB4BDA87C}"/>
                  </a:ext>
                </a:extLst>
              </p:cNvPr>
              <p:cNvSpPr/>
              <p:nvPr/>
            </p:nvSpPr>
            <p:spPr>
              <a:xfrm>
                <a:off x="925432" y="3526679"/>
                <a:ext cx="52006" cy="4969"/>
              </a:xfrm>
              <a:custGeom>
                <a:avLst/>
                <a:gdLst>
                  <a:gd name="connsiteX0" fmla="*/ 52006 w 52006"/>
                  <a:gd name="connsiteY0" fmla="*/ 52 h 4969"/>
                  <a:gd name="connsiteX1" fmla="*/ 52006 w 52006"/>
                  <a:gd name="connsiteY1" fmla="*/ 4969 h 4969"/>
                  <a:gd name="connsiteX2" fmla="*/ 0 w 52006"/>
                  <a:gd name="connsiteY2" fmla="*/ 4969 h 4969"/>
                  <a:gd name="connsiteX3" fmla="*/ 0 w 52006"/>
                  <a:gd name="connsiteY3" fmla="*/ 469 h 4969"/>
                  <a:gd name="connsiteX4" fmla="*/ 417 w 52006"/>
                  <a:gd name="connsiteY4" fmla="*/ 52 h 4969"/>
                  <a:gd name="connsiteX5" fmla="*/ 1292 w 52006"/>
                  <a:gd name="connsiteY5" fmla="*/ 10 h 4969"/>
                  <a:gd name="connsiteX6" fmla="*/ 50798 w 52006"/>
                  <a:gd name="connsiteY6" fmla="*/ 10 h 4969"/>
                  <a:gd name="connsiteX7" fmla="*/ 52006 w 52006"/>
                  <a:gd name="connsiteY7" fmla="*/ 52 h 4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006" h="4969">
                    <a:moveTo>
                      <a:pt x="52006" y="52"/>
                    </a:moveTo>
                    <a:cubicBezTo>
                      <a:pt x="52006" y="1761"/>
                      <a:pt x="52006" y="3344"/>
                      <a:pt x="52006" y="4969"/>
                    </a:cubicBezTo>
                    <a:cubicBezTo>
                      <a:pt x="34671" y="4969"/>
                      <a:pt x="17419" y="4969"/>
                      <a:pt x="0" y="4969"/>
                    </a:cubicBezTo>
                    <a:cubicBezTo>
                      <a:pt x="0" y="3428"/>
                      <a:pt x="0" y="1969"/>
                      <a:pt x="0" y="469"/>
                    </a:cubicBezTo>
                    <a:cubicBezTo>
                      <a:pt x="0" y="344"/>
                      <a:pt x="250" y="94"/>
                      <a:pt x="417" y="52"/>
                    </a:cubicBezTo>
                    <a:cubicBezTo>
                      <a:pt x="708" y="-31"/>
                      <a:pt x="1000" y="10"/>
                      <a:pt x="1292" y="10"/>
                    </a:cubicBezTo>
                    <a:cubicBezTo>
                      <a:pt x="17794" y="10"/>
                      <a:pt x="34296" y="10"/>
                      <a:pt x="50798" y="10"/>
                    </a:cubicBezTo>
                    <a:cubicBezTo>
                      <a:pt x="51215" y="52"/>
                      <a:pt x="51590" y="52"/>
                      <a:pt x="52006" y="52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40" name="Freeform: Shape 439">
                <a:extLst>
                  <a:ext uri="{FF2B5EF4-FFF2-40B4-BE49-F238E27FC236}">
                    <a16:creationId xmlns:a16="http://schemas.microsoft.com/office/drawing/2014/main" id="{66525D13-75D8-79B9-5778-CC8F5066F0CB}"/>
                  </a:ext>
                </a:extLst>
              </p:cNvPr>
              <p:cNvSpPr/>
              <p:nvPr/>
            </p:nvSpPr>
            <p:spPr>
              <a:xfrm>
                <a:off x="900804" y="3543983"/>
                <a:ext cx="11084" cy="11168"/>
              </a:xfrm>
              <a:custGeom>
                <a:avLst/>
                <a:gdLst>
                  <a:gd name="connsiteX0" fmla="*/ 0 w 11084"/>
                  <a:gd name="connsiteY0" fmla="*/ 0 h 11168"/>
                  <a:gd name="connsiteX1" fmla="*/ 11085 w 11084"/>
                  <a:gd name="connsiteY1" fmla="*/ 0 h 11168"/>
                  <a:gd name="connsiteX2" fmla="*/ 11085 w 11084"/>
                  <a:gd name="connsiteY2" fmla="*/ 11168 h 11168"/>
                  <a:gd name="connsiteX3" fmla="*/ 0 w 11084"/>
                  <a:gd name="connsiteY3" fmla="*/ 11168 h 11168"/>
                  <a:gd name="connsiteX4" fmla="*/ 0 w 11084"/>
                  <a:gd name="connsiteY4" fmla="*/ 0 h 11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4" h="11168">
                    <a:moveTo>
                      <a:pt x="0" y="0"/>
                    </a:moveTo>
                    <a:cubicBezTo>
                      <a:pt x="3667" y="0"/>
                      <a:pt x="7334" y="0"/>
                      <a:pt x="11085" y="0"/>
                    </a:cubicBezTo>
                    <a:cubicBezTo>
                      <a:pt x="11085" y="3709"/>
                      <a:pt x="11085" y="7376"/>
                      <a:pt x="11085" y="11168"/>
                    </a:cubicBezTo>
                    <a:cubicBezTo>
                      <a:pt x="7418" y="11168"/>
                      <a:pt x="3750" y="11168"/>
                      <a:pt x="0" y="11168"/>
                    </a:cubicBezTo>
                    <a:cubicBezTo>
                      <a:pt x="0" y="7459"/>
                      <a:pt x="0" y="3750"/>
                      <a:pt x="0" y="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41" name="Freeform: Shape 440">
                <a:extLst>
                  <a:ext uri="{FF2B5EF4-FFF2-40B4-BE49-F238E27FC236}">
                    <a16:creationId xmlns:a16="http://schemas.microsoft.com/office/drawing/2014/main" id="{261C3D61-CEB6-7BF8-8299-DBE0AB11E6FA}"/>
                  </a:ext>
                </a:extLst>
              </p:cNvPr>
              <p:cNvSpPr/>
              <p:nvPr/>
            </p:nvSpPr>
            <p:spPr>
              <a:xfrm>
                <a:off x="900804" y="3482892"/>
                <a:ext cx="11084" cy="11168"/>
              </a:xfrm>
              <a:custGeom>
                <a:avLst/>
                <a:gdLst>
                  <a:gd name="connsiteX0" fmla="*/ 11085 w 11084"/>
                  <a:gd name="connsiteY0" fmla="*/ 0 h 11168"/>
                  <a:gd name="connsiteX1" fmla="*/ 11085 w 11084"/>
                  <a:gd name="connsiteY1" fmla="*/ 11168 h 11168"/>
                  <a:gd name="connsiteX2" fmla="*/ 0 w 11084"/>
                  <a:gd name="connsiteY2" fmla="*/ 11168 h 11168"/>
                  <a:gd name="connsiteX3" fmla="*/ 0 w 11084"/>
                  <a:gd name="connsiteY3" fmla="*/ 0 h 11168"/>
                  <a:gd name="connsiteX4" fmla="*/ 11085 w 11084"/>
                  <a:gd name="connsiteY4" fmla="*/ 0 h 11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4" h="11168">
                    <a:moveTo>
                      <a:pt x="11085" y="0"/>
                    </a:moveTo>
                    <a:cubicBezTo>
                      <a:pt x="11085" y="3750"/>
                      <a:pt x="11085" y="7418"/>
                      <a:pt x="11085" y="11168"/>
                    </a:cubicBezTo>
                    <a:cubicBezTo>
                      <a:pt x="7376" y="11168"/>
                      <a:pt x="3709" y="11168"/>
                      <a:pt x="0" y="11168"/>
                    </a:cubicBezTo>
                    <a:cubicBezTo>
                      <a:pt x="0" y="7459"/>
                      <a:pt x="0" y="3750"/>
                      <a:pt x="0" y="0"/>
                    </a:cubicBezTo>
                    <a:cubicBezTo>
                      <a:pt x="3667" y="0"/>
                      <a:pt x="7376" y="0"/>
                      <a:pt x="11085" y="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42" name="Freeform: Shape 441">
                <a:extLst>
                  <a:ext uri="{FF2B5EF4-FFF2-40B4-BE49-F238E27FC236}">
                    <a16:creationId xmlns:a16="http://schemas.microsoft.com/office/drawing/2014/main" id="{2735AA4E-1F2B-1F74-461F-CDD7406D5B98}"/>
                  </a:ext>
                </a:extLst>
              </p:cNvPr>
              <p:cNvSpPr/>
              <p:nvPr/>
            </p:nvSpPr>
            <p:spPr>
              <a:xfrm>
                <a:off x="900804" y="3503270"/>
                <a:ext cx="11084" cy="11209"/>
              </a:xfrm>
              <a:custGeom>
                <a:avLst/>
                <a:gdLst>
                  <a:gd name="connsiteX0" fmla="*/ 0 w 11084"/>
                  <a:gd name="connsiteY0" fmla="*/ 0 h 11209"/>
                  <a:gd name="connsiteX1" fmla="*/ 11085 w 11084"/>
                  <a:gd name="connsiteY1" fmla="*/ 0 h 11209"/>
                  <a:gd name="connsiteX2" fmla="*/ 11085 w 11084"/>
                  <a:gd name="connsiteY2" fmla="*/ 11210 h 11209"/>
                  <a:gd name="connsiteX3" fmla="*/ 0 w 11084"/>
                  <a:gd name="connsiteY3" fmla="*/ 11210 h 11209"/>
                  <a:gd name="connsiteX4" fmla="*/ 0 w 11084"/>
                  <a:gd name="connsiteY4" fmla="*/ 0 h 1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84" h="11209">
                    <a:moveTo>
                      <a:pt x="0" y="0"/>
                    </a:moveTo>
                    <a:cubicBezTo>
                      <a:pt x="3709" y="0"/>
                      <a:pt x="7376" y="0"/>
                      <a:pt x="11085" y="0"/>
                    </a:cubicBezTo>
                    <a:cubicBezTo>
                      <a:pt x="11085" y="3750"/>
                      <a:pt x="11085" y="7459"/>
                      <a:pt x="11085" y="11210"/>
                    </a:cubicBezTo>
                    <a:cubicBezTo>
                      <a:pt x="7376" y="11210"/>
                      <a:pt x="3709" y="11210"/>
                      <a:pt x="0" y="11210"/>
                    </a:cubicBezTo>
                    <a:cubicBezTo>
                      <a:pt x="0" y="7459"/>
                      <a:pt x="0" y="3792"/>
                      <a:pt x="0" y="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447" name="Freeform: Shape 446">
                <a:extLst>
                  <a:ext uri="{FF2B5EF4-FFF2-40B4-BE49-F238E27FC236}">
                    <a16:creationId xmlns:a16="http://schemas.microsoft.com/office/drawing/2014/main" id="{40EE42D8-6CD8-7816-76A4-1BDF0917DF44}"/>
                  </a:ext>
                </a:extLst>
              </p:cNvPr>
              <p:cNvSpPr/>
              <p:nvPr/>
            </p:nvSpPr>
            <p:spPr>
              <a:xfrm>
                <a:off x="900804" y="3523606"/>
                <a:ext cx="11209" cy="11209"/>
              </a:xfrm>
              <a:custGeom>
                <a:avLst/>
                <a:gdLst>
                  <a:gd name="connsiteX0" fmla="*/ 0 w 11209"/>
                  <a:gd name="connsiteY0" fmla="*/ 11210 h 11209"/>
                  <a:gd name="connsiteX1" fmla="*/ 0 w 11209"/>
                  <a:gd name="connsiteY1" fmla="*/ 0 h 11209"/>
                  <a:gd name="connsiteX2" fmla="*/ 1584 w 11209"/>
                  <a:gd name="connsiteY2" fmla="*/ 0 h 11209"/>
                  <a:gd name="connsiteX3" fmla="*/ 10168 w 11209"/>
                  <a:gd name="connsiteY3" fmla="*/ 0 h 11209"/>
                  <a:gd name="connsiteX4" fmla="*/ 11210 w 11209"/>
                  <a:gd name="connsiteY4" fmla="*/ 958 h 11209"/>
                  <a:gd name="connsiteX5" fmla="*/ 11168 w 11209"/>
                  <a:gd name="connsiteY5" fmla="*/ 10418 h 11209"/>
                  <a:gd name="connsiteX6" fmla="*/ 11085 w 11209"/>
                  <a:gd name="connsiteY6" fmla="*/ 11210 h 11209"/>
                  <a:gd name="connsiteX7" fmla="*/ 0 w 11209"/>
                  <a:gd name="connsiteY7" fmla="*/ 11210 h 1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09" h="11209">
                    <a:moveTo>
                      <a:pt x="0" y="11210"/>
                    </a:moveTo>
                    <a:cubicBezTo>
                      <a:pt x="0" y="7459"/>
                      <a:pt x="0" y="3792"/>
                      <a:pt x="0" y="0"/>
                    </a:cubicBezTo>
                    <a:cubicBezTo>
                      <a:pt x="583" y="0"/>
                      <a:pt x="1083" y="0"/>
                      <a:pt x="1584" y="0"/>
                    </a:cubicBezTo>
                    <a:cubicBezTo>
                      <a:pt x="4459" y="0"/>
                      <a:pt x="7293" y="0"/>
                      <a:pt x="10168" y="0"/>
                    </a:cubicBezTo>
                    <a:cubicBezTo>
                      <a:pt x="10876" y="0"/>
                      <a:pt x="11210" y="125"/>
                      <a:pt x="11210" y="958"/>
                    </a:cubicBezTo>
                    <a:cubicBezTo>
                      <a:pt x="11168" y="4126"/>
                      <a:pt x="11210" y="7251"/>
                      <a:pt x="11168" y="10418"/>
                    </a:cubicBezTo>
                    <a:cubicBezTo>
                      <a:pt x="11168" y="10668"/>
                      <a:pt x="11126" y="10918"/>
                      <a:pt x="11085" y="11210"/>
                    </a:cubicBezTo>
                    <a:cubicBezTo>
                      <a:pt x="7376" y="11210"/>
                      <a:pt x="3750" y="11210"/>
                      <a:pt x="0" y="11210"/>
                    </a:cubicBezTo>
                    <a:close/>
                  </a:path>
                </a:pathLst>
              </a:custGeom>
              <a:solidFill>
                <a:srgbClr val="88BCAD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latin typeface="Verdana" panose="020B0604030504040204" pitchFamily="34" charset="0"/>
                </a:endParaRPr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10D7BA43-0D18-6229-A4BC-774CB116AD02}"/>
              </a:ext>
            </a:extLst>
          </p:cNvPr>
          <p:cNvGrpSpPr/>
          <p:nvPr/>
        </p:nvGrpSpPr>
        <p:grpSpPr>
          <a:xfrm>
            <a:off x="4202346" y="4431207"/>
            <a:ext cx="1245040" cy="1084376"/>
            <a:chOff x="352422" y="3992383"/>
            <a:chExt cx="1263943" cy="1066277"/>
          </a:xfrm>
        </p:grpSpPr>
        <p:grpSp>
          <p:nvGrpSpPr>
            <p:cNvPr id="341" name="Group 340">
              <a:extLst>
                <a:ext uri="{FF2B5EF4-FFF2-40B4-BE49-F238E27FC236}">
                  <a16:creationId xmlns:a16="http://schemas.microsoft.com/office/drawing/2014/main" id="{229CC87D-CA73-3F14-7EEB-EEE592770345}"/>
                </a:ext>
              </a:extLst>
            </p:cNvPr>
            <p:cNvGrpSpPr/>
            <p:nvPr/>
          </p:nvGrpSpPr>
          <p:grpSpPr>
            <a:xfrm>
              <a:off x="352422" y="3992383"/>
              <a:ext cx="862165" cy="648676"/>
              <a:chOff x="4627939" y="2589736"/>
              <a:chExt cx="3010567" cy="2265082"/>
            </a:xfrm>
          </p:grpSpPr>
          <p:sp>
            <p:nvSpPr>
              <p:cNvPr id="342" name="Freeform: Shape 341">
                <a:extLst>
                  <a:ext uri="{FF2B5EF4-FFF2-40B4-BE49-F238E27FC236}">
                    <a16:creationId xmlns:a16="http://schemas.microsoft.com/office/drawing/2014/main" id="{1DF0389E-C859-B3AC-C486-8BCF839E1224}"/>
                  </a:ext>
                </a:extLst>
              </p:cNvPr>
              <p:cNvSpPr/>
              <p:nvPr/>
            </p:nvSpPr>
            <p:spPr>
              <a:xfrm>
                <a:off x="7122628" y="3355809"/>
                <a:ext cx="515878" cy="907052"/>
              </a:xfrm>
              <a:custGeom>
                <a:avLst/>
                <a:gdLst>
                  <a:gd name="connsiteX0" fmla="*/ 515879 w 515878"/>
                  <a:gd name="connsiteY0" fmla="*/ 448624 h 907052"/>
                  <a:gd name="connsiteX1" fmla="*/ 329998 w 515878"/>
                  <a:gd name="connsiteY1" fmla="*/ 705289 h 907052"/>
                  <a:gd name="connsiteX2" fmla="*/ 196273 w 515878"/>
                  <a:gd name="connsiteY2" fmla="*/ 874700 h 907052"/>
                  <a:gd name="connsiteX3" fmla="*/ 196273 w 515878"/>
                  <a:gd name="connsiteY3" fmla="*/ 874896 h 907052"/>
                  <a:gd name="connsiteX4" fmla="*/ 111960 w 515878"/>
                  <a:gd name="connsiteY4" fmla="*/ 903327 h 907052"/>
                  <a:gd name="connsiteX5" fmla="*/ 67843 w 515878"/>
                  <a:gd name="connsiteY5" fmla="*/ 907053 h 907052"/>
                  <a:gd name="connsiteX6" fmla="*/ 0 w 515878"/>
                  <a:gd name="connsiteY6" fmla="*/ 898033 h 907052"/>
                  <a:gd name="connsiteX7" fmla="*/ 0 w 515878"/>
                  <a:gd name="connsiteY7" fmla="*/ 13921 h 907052"/>
                  <a:gd name="connsiteX8" fmla="*/ 71764 w 515878"/>
                  <a:gd name="connsiteY8" fmla="*/ 0 h 907052"/>
                  <a:gd name="connsiteX9" fmla="*/ 263920 w 515878"/>
                  <a:gd name="connsiteY9" fmla="*/ 179018 h 907052"/>
                  <a:gd name="connsiteX10" fmla="*/ 515879 w 515878"/>
                  <a:gd name="connsiteY10" fmla="*/ 448624 h 907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15878" h="907052">
                    <a:moveTo>
                      <a:pt x="515879" y="448624"/>
                    </a:moveTo>
                    <a:cubicBezTo>
                      <a:pt x="515879" y="568427"/>
                      <a:pt x="437840" y="669799"/>
                      <a:pt x="329998" y="705289"/>
                    </a:cubicBezTo>
                    <a:cubicBezTo>
                      <a:pt x="310390" y="778426"/>
                      <a:pt x="261371" y="839602"/>
                      <a:pt x="196273" y="874700"/>
                    </a:cubicBezTo>
                    <a:lnTo>
                      <a:pt x="196273" y="874896"/>
                    </a:lnTo>
                    <a:cubicBezTo>
                      <a:pt x="170391" y="888818"/>
                      <a:pt x="141960" y="898621"/>
                      <a:pt x="111960" y="903327"/>
                    </a:cubicBezTo>
                    <a:cubicBezTo>
                      <a:pt x="97647" y="905876"/>
                      <a:pt x="82941" y="907053"/>
                      <a:pt x="67843" y="907053"/>
                    </a:cubicBezTo>
                    <a:cubicBezTo>
                      <a:pt x="44510" y="907053"/>
                      <a:pt x="21765" y="903719"/>
                      <a:pt x="0" y="898033"/>
                    </a:cubicBezTo>
                    <a:lnTo>
                      <a:pt x="0" y="13921"/>
                    </a:lnTo>
                    <a:cubicBezTo>
                      <a:pt x="22157" y="4902"/>
                      <a:pt x="46274" y="0"/>
                      <a:pt x="71764" y="0"/>
                    </a:cubicBezTo>
                    <a:cubicBezTo>
                      <a:pt x="173724" y="0"/>
                      <a:pt x="256861" y="79019"/>
                      <a:pt x="263920" y="179018"/>
                    </a:cubicBezTo>
                    <a:cubicBezTo>
                      <a:pt x="404507" y="188626"/>
                      <a:pt x="515879" y="305488"/>
                      <a:pt x="515879" y="448624"/>
                    </a:cubicBez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2B12D7D7-5B88-86FE-7E96-6AAFD92BEBE6}"/>
                  </a:ext>
                </a:extLst>
              </p:cNvPr>
              <p:cNvSpPr/>
              <p:nvPr/>
            </p:nvSpPr>
            <p:spPr>
              <a:xfrm>
                <a:off x="4627939" y="3355809"/>
                <a:ext cx="515879" cy="907052"/>
              </a:xfrm>
              <a:custGeom>
                <a:avLst/>
                <a:gdLst>
                  <a:gd name="connsiteX0" fmla="*/ 512938 w 515878"/>
                  <a:gd name="connsiteY0" fmla="*/ 474114 h 907052"/>
                  <a:gd name="connsiteX1" fmla="*/ 512938 w 515878"/>
                  <a:gd name="connsiteY1" fmla="*/ 578427 h 907052"/>
                  <a:gd name="connsiteX2" fmla="*/ 515879 w 515878"/>
                  <a:gd name="connsiteY2" fmla="*/ 578427 h 907052"/>
                  <a:gd name="connsiteX3" fmla="*/ 515879 w 515878"/>
                  <a:gd name="connsiteY3" fmla="*/ 898033 h 907052"/>
                  <a:gd name="connsiteX4" fmla="*/ 448036 w 515878"/>
                  <a:gd name="connsiteY4" fmla="*/ 907053 h 907052"/>
                  <a:gd name="connsiteX5" fmla="*/ 403919 w 515878"/>
                  <a:gd name="connsiteY5" fmla="*/ 903327 h 907052"/>
                  <a:gd name="connsiteX6" fmla="*/ 319606 w 515878"/>
                  <a:gd name="connsiteY6" fmla="*/ 874896 h 907052"/>
                  <a:gd name="connsiteX7" fmla="*/ 319606 w 515878"/>
                  <a:gd name="connsiteY7" fmla="*/ 874700 h 907052"/>
                  <a:gd name="connsiteX8" fmla="*/ 185881 w 515878"/>
                  <a:gd name="connsiteY8" fmla="*/ 705289 h 907052"/>
                  <a:gd name="connsiteX9" fmla="*/ 0 w 515878"/>
                  <a:gd name="connsiteY9" fmla="*/ 448624 h 907052"/>
                  <a:gd name="connsiteX10" fmla="*/ 251959 w 515878"/>
                  <a:gd name="connsiteY10" fmla="*/ 179018 h 907052"/>
                  <a:gd name="connsiteX11" fmla="*/ 444115 w 515878"/>
                  <a:gd name="connsiteY11" fmla="*/ 0 h 907052"/>
                  <a:gd name="connsiteX12" fmla="*/ 515879 w 515878"/>
                  <a:gd name="connsiteY12" fmla="*/ 13921 h 907052"/>
                  <a:gd name="connsiteX13" fmla="*/ 515879 w 515878"/>
                  <a:gd name="connsiteY13" fmla="*/ 474114 h 907052"/>
                  <a:gd name="connsiteX14" fmla="*/ 512938 w 515878"/>
                  <a:gd name="connsiteY14" fmla="*/ 474114 h 907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15878" h="907052">
                    <a:moveTo>
                      <a:pt x="512938" y="474114"/>
                    </a:moveTo>
                    <a:lnTo>
                      <a:pt x="512938" y="578427"/>
                    </a:lnTo>
                    <a:lnTo>
                      <a:pt x="515879" y="578427"/>
                    </a:lnTo>
                    <a:lnTo>
                      <a:pt x="515879" y="898033"/>
                    </a:lnTo>
                    <a:cubicBezTo>
                      <a:pt x="494114" y="903719"/>
                      <a:pt x="471369" y="907053"/>
                      <a:pt x="448036" y="907053"/>
                    </a:cubicBezTo>
                    <a:cubicBezTo>
                      <a:pt x="432938" y="907053"/>
                      <a:pt x="418233" y="905876"/>
                      <a:pt x="403919" y="903327"/>
                    </a:cubicBezTo>
                    <a:cubicBezTo>
                      <a:pt x="373919" y="898621"/>
                      <a:pt x="345488" y="888818"/>
                      <a:pt x="319606" y="874896"/>
                    </a:cubicBezTo>
                    <a:lnTo>
                      <a:pt x="319606" y="874700"/>
                    </a:lnTo>
                    <a:cubicBezTo>
                      <a:pt x="254508" y="839602"/>
                      <a:pt x="205489" y="778426"/>
                      <a:pt x="185881" y="705289"/>
                    </a:cubicBezTo>
                    <a:cubicBezTo>
                      <a:pt x="78039" y="669799"/>
                      <a:pt x="0" y="568427"/>
                      <a:pt x="0" y="448624"/>
                    </a:cubicBezTo>
                    <a:cubicBezTo>
                      <a:pt x="0" y="305488"/>
                      <a:pt x="111372" y="188626"/>
                      <a:pt x="251959" y="179018"/>
                    </a:cubicBezTo>
                    <a:cubicBezTo>
                      <a:pt x="259018" y="79019"/>
                      <a:pt x="342155" y="0"/>
                      <a:pt x="444115" y="0"/>
                    </a:cubicBezTo>
                    <a:cubicBezTo>
                      <a:pt x="469605" y="0"/>
                      <a:pt x="493722" y="4902"/>
                      <a:pt x="515879" y="13921"/>
                    </a:cubicBezTo>
                    <a:lnTo>
                      <a:pt x="515879" y="474114"/>
                    </a:lnTo>
                    <a:lnTo>
                      <a:pt x="512938" y="474114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3" name="Freeform: Shape 402">
                <a:extLst>
                  <a:ext uri="{FF2B5EF4-FFF2-40B4-BE49-F238E27FC236}">
                    <a16:creationId xmlns:a16="http://schemas.microsoft.com/office/drawing/2014/main" id="{DE7B8D43-9BE6-8447-EFF8-51A646D4AA1F}"/>
                  </a:ext>
                </a:extLst>
              </p:cNvPr>
              <p:cNvSpPr/>
              <p:nvPr/>
            </p:nvSpPr>
            <p:spPr>
              <a:xfrm>
                <a:off x="5302444" y="2796598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4" name="Freeform: Shape 403">
                <a:extLst>
                  <a:ext uri="{FF2B5EF4-FFF2-40B4-BE49-F238E27FC236}">
                    <a16:creationId xmlns:a16="http://schemas.microsoft.com/office/drawing/2014/main" id="{897EECFB-BA09-8BA7-1BD2-F1B728EB5950}"/>
                  </a:ext>
                </a:extLst>
              </p:cNvPr>
              <p:cNvSpPr/>
              <p:nvPr/>
            </p:nvSpPr>
            <p:spPr>
              <a:xfrm>
                <a:off x="5143818" y="2693265"/>
                <a:ext cx="1978810" cy="1560577"/>
              </a:xfrm>
              <a:custGeom>
                <a:avLst/>
                <a:gdLst>
                  <a:gd name="connsiteX0" fmla="*/ 1972928 w 1978810"/>
                  <a:gd name="connsiteY0" fmla="*/ 678819 h 1560577"/>
                  <a:gd name="connsiteX1" fmla="*/ 1972928 w 1978810"/>
                  <a:gd name="connsiteY1" fmla="*/ 1559205 h 1560577"/>
                  <a:gd name="connsiteX2" fmla="*/ 1978810 w 1978810"/>
                  <a:gd name="connsiteY2" fmla="*/ 1560578 h 1560577"/>
                  <a:gd name="connsiteX3" fmla="*/ 1978810 w 1978810"/>
                  <a:gd name="connsiteY3" fmla="*/ 676466 h 1560577"/>
                  <a:gd name="connsiteX4" fmla="*/ 1972928 w 1978810"/>
                  <a:gd name="connsiteY4" fmla="*/ 678819 h 1560577"/>
                  <a:gd name="connsiteX5" fmla="*/ 0 w 1978810"/>
                  <a:gd name="connsiteY5" fmla="*/ 676466 h 1560577"/>
                  <a:gd name="connsiteX6" fmla="*/ 0 w 1978810"/>
                  <a:gd name="connsiteY6" fmla="*/ 1560578 h 1560577"/>
                  <a:gd name="connsiteX7" fmla="*/ 5882 w 1978810"/>
                  <a:gd name="connsiteY7" fmla="*/ 1559205 h 1560577"/>
                  <a:gd name="connsiteX8" fmla="*/ 5882 w 1978810"/>
                  <a:gd name="connsiteY8" fmla="*/ 678819 h 1560577"/>
                  <a:gd name="connsiteX9" fmla="*/ 0 w 1978810"/>
                  <a:gd name="connsiteY9" fmla="*/ 676466 h 1560577"/>
                  <a:gd name="connsiteX10" fmla="*/ 0 w 1978810"/>
                  <a:gd name="connsiteY10" fmla="*/ 0 h 1560577"/>
                  <a:gd name="connsiteX11" fmla="*/ 0 w 1978810"/>
                  <a:gd name="connsiteY11" fmla="*/ 784 h 1560577"/>
                  <a:gd name="connsiteX12" fmla="*/ 1978810 w 1978810"/>
                  <a:gd name="connsiteY12" fmla="*/ 784 h 1560577"/>
                  <a:gd name="connsiteX13" fmla="*/ 1978810 w 1978810"/>
                  <a:gd name="connsiteY13" fmla="*/ 0 h 1560577"/>
                  <a:gd name="connsiteX14" fmla="*/ 0 w 1978810"/>
                  <a:gd name="connsiteY14" fmla="*/ 0 h 1560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78810" h="1560577">
                    <a:moveTo>
                      <a:pt x="1972928" y="678819"/>
                    </a:moveTo>
                    <a:lnTo>
                      <a:pt x="1972928" y="1559205"/>
                    </a:lnTo>
                    <a:cubicBezTo>
                      <a:pt x="1974889" y="1559793"/>
                      <a:pt x="1976850" y="1560185"/>
                      <a:pt x="1978810" y="1560578"/>
                    </a:cubicBezTo>
                    <a:lnTo>
                      <a:pt x="1978810" y="676466"/>
                    </a:lnTo>
                    <a:cubicBezTo>
                      <a:pt x="1976850" y="677250"/>
                      <a:pt x="1974889" y="678035"/>
                      <a:pt x="1972928" y="678819"/>
                    </a:cubicBezTo>
                    <a:close/>
                    <a:moveTo>
                      <a:pt x="0" y="676466"/>
                    </a:moveTo>
                    <a:lnTo>
                      <a:pt x="0" y="1560578"/>
                    </a:lnTo>
                    <a:cubicBezTo>
                      <a:pt x="1961" y="1560185"/>
                      <a:pt x="3922" y="1559793"/>
                      <a:pt x="5882" y="1559205"/>
                    </a:cubicBezTo>
                    <a:lnTo>
                      <a:pt x="5882" y="678819"/>
                    </a:lnTo>
                    <a:cubicBezTo>
                      <a:pt x="3922" y="678035"/>
                      <a:pt x="1961" y="677250"/>
                      <a:pt x="0" y="676466"/>
                    </a:cubicBezTo>
                    <a:close/>
                    <a:moveTo>
                      <a:pt x="0" y="0"/>
                    </a:moveTo>
                    <a:lnTo>
                      <a:pt x="0" y="784"/>
                    </a:lnTo>
                    <a:lnTo>
                      <a:pt x="1978810" y="784"/>
                    </a:lnTo>
                    <a:lnTo>
                      <a:pt x="19788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5" name="Freeform: Shape 404">
                <a:extLst>
                  <a:ext uri="{FF2B5EF4-FFF2-40B4-BE49-F238E27FC236}">
                    <a16:creationId xmlns:a16="http://schemas.microsoft.com/office/drawing/2014/main" id="{44A5B771-B25B-6299-FD77-B0B95102460C}"/>
                  </a:ext>
                </a:extLst>
              </p:cNvPr>
              <p:cNvSpPr/>
              <p:nvPr/>
            </p:nvSpPr>
            <p:spPr>
              <a:xfrm>
                <a:off x="5953617" y="4105216"/>
                <a:ext cx="359213" cy="550388"/>
              </a:xfrm>
              <a:custGeom>
                <a:avLst/>
                <a:gdLst>
                  <a:gd name="connsiteX0" fmla="*/ 0 w 359213"/>
                  <a:gd name="connsiteY0" fmla="*/ 0 h 550388"/>
                  <a:gd name="connsiteX1" fmla="*/ 359213 w 359213"/>
                  <a:gd name="connsiteY1" fmla="*/ 0 h 550388"/>
                  <a:gd name="connsiteX2" fmla="*/ 359213 w 359213"/>
                  <a:gd name="connsiteY2" fmla="*/ 550388 h 550388"/>
                  <a:gd name="connsiteX3" fmla="*/ 0 w 359213"/>
                  <a:gd name="connsiteY3" fmla="*/ 550388 h 550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9213" h="550388">
                    <a:moveTo>
                      <a:pt x="0" y="0"/>
                    </a:moveTo>
                    <a:lnTo>
                      <a:pt x="359213" y="0"/>
                    </a:lnTo>
                    <a:lnTo>
                      <a:pt x="359213" y="550388"/>
                    </a:lnTo>
                    <a:lnTo>
                      <a:pt x="0" y="550388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id="{86C959E5-94FA-194A-AA90-B85518572182}"/>
                  </a:ext>
                </a:extLst>
              </p:cNvPr>
              <p:cNvSpPr/>
              <p:nvPr/>
            </p:nvSpPr>
            <p:spPr>
              <a:xfrm>
                <a:off x="5953617" y="4655604"/>
                <a:ext cx="359213" cy="89803"/>
              </a:xfrm>
              <a:custGeom>
                <a:avLst/>
                <a:gdLst>
                  <a:gd name="connsiteX0" fmla="*/ 0 w 359213"/>
                  <a:gd name="connsiteY0" fmla="*/ 0 h 89803"/>
                  <a:gd name="connsiteX1" fmla="*/ 359213 w 359213"/>
                  <a:gd name="connsiteY1" fmla="*/ 0 h 89803"/>
                  <a:gd name="connsiteX2" fmla="*/ 359213 w 359213"/>
                  <a:gd name="connsiteY2" fmla="*/ 89803 h 89803"/>
                  <a:gd name="connsiteX3" fmla="*/ 0 w 359213"/>
                  <a:gd name="connsiteY3" fmla="*/ 89803 h 89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9213" h="89803">
                    <a:moveTo>
                      <a:pt x="0" y="0"/>
                    </a:moveTo>
                    <a:lnTo>
                      <a:pt x="359213" y="0"/>
                    </a:lnTo>
                    <a:lnTo>
                      <a:pt x="359213" y="89803"/>
                    </a:lnTo>
                    <a:lnTo>
                      <a:pt x="0" y="89803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id="{F8596B13-2196-414F-8363-F1188B640E9F}"/>
                  </a:ext>
                </a:extLst>
              </p:cNvPr>
              <p:cNvSpPr/>
              <p:nvPr/>
            </p:nvSpPr>
            <p:spPr>
              <a:xfrm>
                <a:off x="5143818" y="3316986"/>
                <a:ext cx="1978810" cy="512937"/>
              </a:xfrm>
              <a:custGeom>
                <a:avLst/>
                <a:gdLst>
                  <a:gd name="connsiteX0" fmla="*/ 0 w 1978810"/>
                  <a:gd name="connsiteY0" fmla="*/ 0 h 512937"/>
                  <a:gd name="connsiteX1" fmla="*/ 0 w 1978810"/>
                  <a:gd name="connsiteY1" fmla="*/ 52745 h 512937"/>
                  <a:gd name="connsiteX2" fmla="*/ 5882 w 1978810"/>
                  <a:gd name="connsiteY2" fmla="*/ 55098 h 512937"/>
                  <a:gd name="connsiteX3" fmla="*/ 5882 w 1978810"/>
                  <a:gd name="connsiteY3" fmla="*/ 512938 h 512937"/>
                  <a:gd name="connsiteX4" fmla="*/ 1972928 w 1978810"/>
                  <a:gd name="connsiteY4" fmla="*/ 512938 h 512937"/>
                  <a:gd name="connsiteX5" fmla="*/ 1972928 w 1978810"/>
                  <a:gd name="connsiteY5" fmla="*/ 55098 h 512937"/>
                  <a:gd name="connsiteX6" fmla="*/ 1978810 w 1978810"/>
                  <a:gd name="connsiteY6" fmla="*/ 52745 h 512937"/>
                  <a:gd name="connsiteX7" fmla="*/ 1978810 w 1978810"/>
                  <a:gd name="connsiteY7" fmla="*/ 0 h 512937"/>
                  <a:gd name="connsiteX8" fmla="*/ 0 w 1978810"/>
                  <a:gd name="connsiteY8" fmla="*/ 0 h 512937"/>
                  <a:gd name="connsiteX9" fmla="*/ 406272 w 1978810"/>
                  <a:gd name="connsiteY9" fmla="*/ 400978 h 512937"/>
                  <a:gd name="connsiteX10" fmla="*/ 158626 w 1978810"/>
                  <a:gd name="connsiteY10" fmla="*/ 400978 h 512937"/>
                  <a:gd name="connsiteX11" fmla="*/ 158626 w 1978810"/>
                  <a:gd name="connsiteY11" fmla="*/ 102548 h 512937"/>
                  <a:gd name="connsiteX12" fmla="*/ 406272 w 1978810"/>
                  <a:gd name="connsiteY12" fmla="*/ 102548 h 512937"/>
                  <a:gd name="connsiteX13" fmla="*/ 406272 w 1978810"/>
                  <a:gd name="connsiteY13" fmla="*/ 400978 h 512937"/>
                  <a:gd name="connsiteX14" fmla="*/ 876661 w 1978810"/>
                  <a:gd name="connsiteY14" fmla="*/ 400978 h 512937"/>
                  <a:gd name="connsiteX15" fmla="*/ 629015 w 1978810"/>
                  <a:gd name="connsiteY15" fmla="*/ 400978 h 512937"/>
                  <a:gd name="connsiteX16" fmla="*/ 629015 w 1978810"/>
                  <a:gd name="connsiteY16" fmla="*/ 102548 h 512937"/>
                  <a:gd name="connsiteX17" fmla="*/ 876661 w 1978810"/>
                  <a:gd name="connsiteY17" fmla="*/ 102548 h 512937"/>
                  <a:gd name="connsiteX18" fmla="*/ 876661 w 1978810"/>
                  <a:gd name="connsiteY18" fmla="*/ 400978 h 512937"/>
                  <a:gd name="connsiteX19" fmla="*/ 1347050 w 1978810"/>
                  <a:gd name="connsiteY19" fmla="*/ 400978 h 512937"/>
                  <a:gd name="connsiteX20" fmla="*/ 1099208 w 1978810"/>
                  <a:gd name="connsiteY20" fmla="*/ 400978 h 512937"/>
                  <a:gd name="connsiteX21" fmla="*/ 1099208 w 1978810"/>
                  <a:gd name="connsiteY21" fmla="*/ 102548 h 512937"/>
                  <a:gd name="connsiteX22" fmla="*/ 1347050 w 1978810"/>
                  <a:gd name="connsiteY22" fmla="*/ 102548 h 512937"/>
                  <a:gd name="connsiteX23" fmla="*/ 1347050 w 1978810"/>
                  <a:gd name="connsiteY23" fmla="*/ 400978 h 512937"/>
                  <a:gd name="connsiteX24" fmla="*/ 1817243 w 1978810"/>
                  <a:gd name="connsiteY24" fmla="*/ 400978 h 512937"/>
                  <a:gd name="connsiteX25" fmla="*/ 1569597 w 1978810"/>
                  <a:gd name="connsiteY25" fmla="*/ 400978 h 512937"/>
                  <a:gd name="connsiteX26" fmla="*/ 1569597 w 1978810"/>
                  <a:gd name="connsiteY26" fmla="*/ 102548 h 512937"/>
                  <a:gd name="connsiteX27" fmla="*/ 1817243 w 1978810"/>
                  <a:gd name="connsiteY27" fmla="*/ 102548 h 512937"/>
                  <a:gd name="connsiteX28" fmla="*/ 1817243 w 1978810"/>
                  <a:gd name="connsiteY28" fmla="*/ 400978 h 512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978810" h="512937">
                    <a:moveTo>
                      <a:pt x="0" y="0"/>
                    </a:moveTo>
                    <a:lnTo>
                      <a:pt x="0" y="52745"/>
                    </a:lnTo>
                    <a:cubicBezTo>
                      <a:pt x="1961" y="53529"/>
                      <a:pt x="3922" y="54313"/>
                      <a:pt x="5882" y="55098"/>
                    </a:cubicBezTo>
                    <a:lnTo>
                      <a:pt x="5882" y="512938"/>
                    </a:lnTo>
                    <a:lnTo>
                      <a:pt x="1972928" y="512938"/>
                    </a:lnTo>
                    <a:lnTo>
                      <a:pt x="1972928" y="55098"/>
                    </a:lnTo>
                    <a:cubicBezTo>
                      <a:pt x="1974889" y="54313"/>
                      <a:pt x="1976850" y="53529"/>
                      <a:pt x="1978810" y="52745"/>
                    </a:cubicBezTo>
                    <a:lnTo>
                      <a:pt x="1978810" y="0"/>
                    </a:lnTo>
                    <a:lnTo>
                      <a:pt x="0" y="0"/>
                    </a:lnTo>
                    <a:close/>
                    <a:moveTo>
                      <a:pt x="406272" y="400978"/>
                    </a:moveTo>
                    <a:lnTo>
                      <a:pt x="158626" y="400978"/>
                    </a:lnTo>
                    <a:lnTo>
                      <a:pt x="158626" y="102548"/>
                    </a:lnTo>
                    <a:lnTo>
                      <a:pt x="406272" y="102548"/>
                    </a:lnTo>
                    <a:lnTo>
                      <a:pt x="406272" y="400978"/>
                    </a:lnTo>
                    <a:close/>
                    <a:moveTo>
                      <a:pt x="876661" y="400978"/>
                    </a:moveTo>
                    <a:lnTo>
                      <a:pt x="629015" y="400978"/>
                    </a:lnTo>
                    <a:lnTo>
                      <a:pt x="629015" y="102548"/>
                    </a:lnTo>
                    <a:lnTo>
                      <a:pt x="876661" y="102548"/>
                    </a:lnTo>
                    <a:lnTo>
                      <a:pt x="876661" y="400978"/>
                    </a:lnTo>
                    <a:close/>
                    <a:moveTo>
                      <a:pt x="1347050" y="400978"/>
                    </a:moveTo>
                    <a:lnTo>
                      <a:pt x="1099208" y="400978"/>
                    </a:lnTo>
                    <a:lnTo>
                      <a:pt x="1099208" y="102548"/>
                    </a:lnTo>
                    <a:lnTo>
                      <a:pt x="1347050" y="102548"/>
                    </a:lnTo>
                    <a:lnTo>
                      <a:pt x="1347050" y="400978"/>
                    </a:lnTo>
                    <a:close/>
                    <a:moveTo>
                      <a:pt x="1817243" y="400978"/>
                    </a:moveTo>
                    <a:lnTo>
                      <a:pt x="1569597" y="400978"/>
                    </a:lnTo>
                    <a:lnTo>
                      <a:pt x="1569597" y="102548"/>
                    </a:lnTo>
                    <a:lnTo>
                      <a:pt x="1817243" y="102548"/>
                    </a:lnTo>
                    <a:lnTo>
                      <a:pt x="1817243" y="400978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8" name="Freeform: Shape 407">
                <a:extLst>
                  <a:ext uri="{FF2B5EF4-FFF2-40B4-BE49-F238E27FC236}">
                    <a16:creationId xmlns:a16="http://schemas.microsoft.com/office/drawing/2014/main" id="{FD616F45-A0BA-D6C3-60AD-B9DD3E6091D7}"/>
                  </a:ext>
                </a:extLst>
              </p:cNvPr>
              <p:cNvSpPr/>
              <p:nvPr/>
            </p:nvSpPr>
            <p:spPr>
              <a:xfrm>
                <a:off x="6713415" y="3419534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id="{C5EA91F2-0D32-E1BB-FC62-3F066011F866}"/>
                  </a:ext>
                </a:extLst>
              </p:cNvPr>
              <p:cNvSpPr/>
              <p:nvPr/>
            </p:nvSpPr>
            <p:spPr>
              <a:xfrm>
                <a:off x="6243026" y="3419534"/>
                <a:ext cx="247841" cy="298429"/>
              </a:xfrm>
              <a:custGeom>
                <a:avLst/>
                <a:gdLst>
                  <a:gd name="connsiteX0" fmla="*/ 0 w 247841"/>
                  <a:gd name="connsiteY0" fmla="*/ 0 h 298429"/>
                  <a:gd name="connsiteX1" fmla="*/ 247842 w 247841"/>
                  <a:gd name="connsiteY1" fmla="*/ 0 h 298429"/>
                  <a:gd name="connsiteX2" fmla="*/ 247842 w 247841"/>
                  <a:gd name="connsiteY2" fmla="*/ 298429 h 298429"/>
                  <a:gd name="connsiteX3" fmla="*/ 0 w 247841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841" h="298429">
                    <a:moveTo>
                      <a:pt x="0" y="0"/>
                    </a:moveTo>
                    <a:lnTo>
                      <a:pt x="247842" y="0"/>
                    </a:lnTo>
                    <a:lnTo>
                      <a:pt x="247842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10" name="Freeform: Shape 409">
                <a:extLst>
                  <a:ext uri="{FF2B5EF4-FFF2-40B4-BE49-F238E27FC236}">
                    <a16:creationId xmlns:a16="http://schemas.microsoft.com/office/drawing/2014/main" id="{6E1BB1F2-6790-ABE6-1750-7B5125EBA6DC}"/>
                  </a:ext>
                </a:extLst>
              </p:cNvPr>
              <p:cNvSpPr/>
              <p:nvPr/>
            </p:nvSpPr>
            <p:spPr>
              <a:xfrm>
                <a:off x="5772833" y="3419534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63DDBAA2-32D9-0FE0-0210-E41B8A5A90D6}"/>
                  </a:ext>
                </a:extLst>
              </p:cNvPr>
              <p:cNvSpPr/>
              <p:nvPr/>
            </p:nvSpPr>
            <p:spPr>
              <a:xfrm>
                <a:off x="5302444" y="3419534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9A0B4BFE-E64E-81E1-EC37-EF22782493AF}"/>
                  </a:ext>
                </a:extLst>
              </p:cNvPr>
              <p:cNvSpPr/>
              <p:nvPr/>
            </p:nvSpPr>
            <p:spPr>
              <a:xfrm>
                <a:off x="5143818" y="2694049"/>
                <a:ext cx="1978810" cy="518623"/>
              </a:xfrm>
              <a:custGeom>
                <a:avLst/>
                <a:gdLst>
                  <a:gd name="connsiteX0" fmla="*/ 0 w 1978810"/>
                  <a:gd name="connsiteY0" fmla="*/ 0 h 518623"/>
                  <a:gd name="connsiteX1" fmla="*/ 0 w 1978810"/>
                  <a:gd name="connsiteY1" fmla="*/ 518624 h 518623"/>
                  <a:gd name="connsiteX2" fmla="*/ 1978810 w 1978810"/>
                  <a:gd name="connsiteY2" fmla="*/ 518624 h 518623"/>
                  <a:gd name="connsiteX3" fmla="*/ 1978810 w 1978810"/>
                  <a:gd name="connsiteY3" fmla="*/ 0 h 518623"/>
                  <a:gd name="connsiteX4" fmla="*/ 0 w 1978810"/>
                  <a:gd name="connsiteY4" fmla="*/ 0 h 518623"/>
                  <a:gd name="connsiteX5" fmla="*/ 406272 w 1978810"/>
                  <a:gd name="connsiteY5" fmla="*/ 400978 h 518623"/>
                  <a:gd name="connsiteX6" fmla="*/ 158626 w 1978810"/>
                  <a:gd name="connsiteY6" fmla="*/ 400978 h 518623"/>
                  <a:gd name="connsiteX7" fmla="*/ 158626 w 1978810"/>
                  <a:gd name="connsiteY7" fmla="*/ 102548 h 518623"/>
                  <a:gd name="connsiteX8" fmla="*/ 406272 w 1978810"/>
                  <a:gd name="connsiteY8" fmla="*/ 102548 h 518623"/>
                  <a:gd name="connsiteX9" fmla="*/ 406272 w 1978810"/>
                  <a:gd name="connsiteY9" fmla="*/ 400978 h 518623"/>
                  <a:gd name="connsiteX10" fmla="*/ 876661 w 1978810"/>
                  <a:gd name="connsiteY10" fmla="*/ 400978 h 518623"/>
                  <a:gd name="connsiteX11" fmla="*/ 629015 w 1978810"/>
                  <a:gd name="connsiteY11" fmla="*/ 400978 h 518623"/>
                  <a:gd name="connsiteX12" fmla="*/ 629015 w 1978810"/>
                  <a:gd name="connsiteY12" fmla="*/ 102548 h 518623"/>
                  <a:gd name="connsiteX13" fmla="*/ 876661 w 1978810"/>
                  <a:gd name="connsiteY13" fmla="*/ 102548 h 518623"/>
                  <a:gd name="connsiteX14" fmla="*/ 876661 w 1978810"/>
                  <a:gd name="connsiteY14" fmla="*/ 400978 h 518623"/>
                  <a:gd name="connsiteX15" fmla="*/ 1347050 w 1978810"/>
                  <a:gd name="connsiteY15" fmla="*/ 400978 h 518623"/>
                  <a:gd name="connsiteX16" fmla="*/ 1099208 w 1978810"/>
                  <a:gd name="connsiteY16" fmla="*/ 400978 h 518623"/>
                  <a:gd name="connsiteX17" fmla="*/ 1099208 w 1978810"/>
                  <a:gd name="connsiteY17" fmla="*/ 102548 h 518623"/>
                  <a:gd name="connsiteX18" fmla="*/ 1347050 w 1978810"/>
                  <a:gd name="connsiteY18" fmla="*/ 102548 h 518623"/>
                  <a:gd name="connsiteX19" fmla="*/ 1347050 w 1978810"/>
                  <a:gd name="connsiteY19" fmla="*/ 400978 h 518623"/>
                  <a:gd name="connsiteX20" fmla="*/ 1817243 w 1978810"/>
                  <a:gd name="connsiteY20" fmla="*/ 400978 h 518623"/>
                  <a:gd name="connsiteX21" fmla="*/ 1569597 w 1978810"/>
                  <a:gd name="connsiteY21" fmla="*/ 400978 h 518623"/>
                  <a:gd name="connsiteX22" fmla="*/ 1569597 w 1978810"/>
                  <a:gd name="connsiteY22" fmla="*/ 102548 h 518623"/>
                  <a:gd name="connsiteX23" fmla="*/ 1817243 w 1978810"/>
                  <a:gd name="connsiteY23" fmla="*/ 102548 h 518623"/>
                  <a:gd name="connsiteX24" fmla="*/ 1817243 w 1978810"/>
                  <a:gd name="connsiteY24" fmla="*/ 400978 h 51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978810" h="518623">
                    <a:moveTo>
                      <a:pt x="0" y="0"/>
                    </a:moveTo>
                    <a:lnTo>
                      <a:pt x="0" y="518624"/>
                    </a:lnTo>
                    <a:lnTo>
                      <a:pt x="1978810" y="518624"/>
                    </a:lnTo>
                    <a:lnTo>
                      <a:pt x="1978810" y="0"/>
                    </a:lnTo>
                    <a:lnTo>
                      <a:pt x="0" y="0"/>
                    </a:lnTo>
                    <a:close/>
                    <a:moveTo>
                      <a:pt x="406272" y="400978"/>
                    </a:moveTo>
                    <a:lnTo>
                      <a:pt x="158626" y="400978"/>
                    </a:lnTo>
                    <a:lnTo>
                      <a:pt x="158626" y="102548"/>
                    </a:lnTo>
                    <a:lnTo>
                      <a:pt x="406272" y="102548"/>
                    </a:lnTo>
                    <a:lnTo>
                      <a:pt x="406272" y="400978"/>
                    </a:lnTo>
                    <a:close/>
                    <a:moveTo>
                      <a:pt x="876661" y="400978"/>
                    </a:moveTo>
                    <a:lnTo>
                      <a:pt x="629015" y="400978"/>
                    </a:lnTo>
                    <a:lnTo>
                      <a:pt x="629015" y="102548"/>
                    </a:lnTo>
                    <a:lnTo>
                      <a:pt x="876661" y="102548"/>
                    </a:lnTo>
                    <a:lnTo>
                      <a:pt x="876661" y="400978"/>
                    </a:lnTo>
                    <a:close/>
                    <a:moveTo>
                      <a:pt x="1347050" y="400978"/>
                    </a:moveTo>
                    <a:lnTo>
                      <a:pt x="1099208" y="400978"/>
                    </a:lnTo>
                    <a:lnTo>
                      <a:pt x="1099208" y="102548"/>
                    </a:lnTo>
                    <a:lnTo>
                      <a:pt x="1347050" y="102548"/>
                    </a:lnTo>
                    <a:lnTo>
                      <a:pt x="1347050" y="400978"/>
                    </a:lnTo>
                    <a:close/>
                    <a:moveTo>
                      <a:pt x="1817243" y="400978"/>
                    </a:moveTo>
                    <a:lnTo>
                      <a:pt x="1569597" y="400978"/>
                    </a:lnTo>
                    <a:lnTo>
                      <a:pt x="1569597" y="102548"/>
                    </a:lnTo>
                    <a:lnTo>
                      <a:pt x="1817243" y="102548"/>
                    </a:lnTo>
                    <a:lnTo>
                      <a:pt x="1817243" y="400978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3CB14838-A929-3522-B5D3-21B5C8F97DAD}"/>
                  </a:ext>
                </a:extLst>
              </p:cNvPr>
              <p:cNvSpPr/>
              <p:nvPr/>
            </p:nvSpPr>
            <p:spPr>
              <a:xfrm>
                <a:off x="6713415" y="2796598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245DBC9B-B0AE-D99F-4F1C-A63CF2C967EF}"/>
                  </a:ext>
                </a:extLst>
              </p:cNvPr>
              <p:cNvSpPr/>
              <p:nvPr/>
            </p:nvSpPr>
            <p:spPr>
              <a:xfrm>
                <a:off x="6243026" y="2796598"/>
                <a:ext cx="247841" cy="298429"/>
              </a:xfrm>
              <a:custGeom>
                <a:avLst/>
                <a:gdLst>
                  <a:gd name="connsiteX0" fmla="*/ 0 w 247841"/>
                  <a:gd name="connsiteY0" fmla="*/ 0 h 298429"/>
                  <a:gd name="connsiteX1" fmla="*/ 247842 w 247841"/>
                  <a:gd name="connsiteY1" fmla="*/ 0 h 298429"/>
                  <a:gd name="connsiteX2" fmla="*/ 247842 w 247841"/>
                  <a:gd name="connsiteY2" fmla="*/ 298429 h 298429"/>
                  <a:gd name="connsiteX3" fmla="*/ 0 w 247841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841" h="298429">
                    <a:moveTo>
                      <a:pt x="0" y="0"/>
                    </a:moveTo>
                    <a:lnTo>
                      <a:pt x="247842" y="0"/>
                    </a:lnTo>
                    <a:lnTo>
                      <a:pt x="247842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E12685B6-3AD9-1BA4-004D-19B52C16C77B}"/>
                  </a:ext>
                </a:extLst>
              </p:cNvPr>
              <p:cNvSpPr/>
              <p:nvPr/>
            </p:nvSpPr>
            <p:spPr>
              <a:xfrm>
                <a:off x="5772833" y="2796598"/>
                <a:ext cx="247645" cy="298429"/>
              </a:xfrm>
              <a:custGeom>
                <a:avLst/>
                <a:gdLst>
                  <a:gd name="connsiteX0" fmla="*/ 0 w 247645"/>
                  <a:gd name="connsiteY0" fmla="*/ 0 h 298429"/>
                  <a:gd name="connsiteX1" fmla="*/ 247645 w 247645"/>
                  <a:gd name="connsiteY1" fmla="*/ 0 h 298429"/>
                  <a:gd name="connsiteX2" fmla="*/ 247645 w 247645"/>
                  <a:gd name="connsiteY2" fmla="*/ 298429 h 298429"/>
                  <a:gd name="connsiteX3" fmla="*/ 0 w 247645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5" h="298429">
                    <a:moveTo>
                      <a:pt x="0" y="0"/>
                    </a:moveTo>
                    <a:lnTo>
                      <a:pt x="247645" y="0"/>
                    </a:lnTo>
                    <a:lnTo>
                      <a:pt x="247645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B6C1D6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3EFBF042-2F45-8D5B-1851-5263F09FE647}"/>
                  </a:ext>
                </a:extLst>
              </p:cNvPr>
              <p:cNvSpPr/>
              <p:nvPr/>
            </p:nvSpPr>
            <p:spPr>
              <a:xfrm>
                <a:off x="5143818" y="3829924"/>
                <a:ext cx="1978810" cy="104313"/>
              </a:xfrm>
              <a:custGeom>
                <a:avLst/>
                <a:gdLst>
                  <a:gd name="connsiteX0" fmla="*/ 0 w 1967045"/>
                  <a:gd name="connsiteY0" fmla="*/ 0 h 104313"/>
                  <a:gd name="connsiteX1" fmla="*/ 1967046 w 1967045"/>
                  <a:gd name="connsiteY1" fmla="*/ 0 h 104313"/>
                  <a:gd name="connsiteX2" fmla="*/ 1967046 w 1967045"/>
                  <a:gd name="connsiteY2" fmla="*/ 104313 h 104313"/>
                  <a:gd name="connsiteX3" fmla="*/ 0 w 1967045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67045" h="104313">
                    <a:moveTo>
                      <a:pt x="0" y="0"/>
                    </a:moveTo>
                    <a:lnTo>
                      <a:pt x="1967046" y="0"/>
                    </a:lnTo>
                    <a:lnTo>
                      <a:pt x="1967046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D0F3E053-69B2-FA8A-FE0C-6E0BEC940FAD}"/>
                  </a:ext>
                </a:extLst>
              </p:cNvPr>
              <p:cNvSpPr/>
              <p:nvPr/>
            </p:nvSpPr>
            <p:spPr>
              <a:xfrm>
                <a:off x="5140877" y="3829924"/>
                <a:ext cx="8823" cy="104313"/>
              </a:xfrm>
              <a:custGeom>
                <a:avLst/>
                <a:gdLst>
                  <a:gd name="connsiteX0" fmla="*/ 0 w 8823"/>
                  <a:gd name="connsiteY0" fmla="*/ 0 h 104313"/>
                  <a:gd name="connsiteX1" fmla="*/ 8823 w 8823"/>
                  <a:gd name="connsiteY1" fmla="*/ 0 h 104313"/>
                  <a:gd name="connsiteX2" fmla="*/ 8823 w 8823"/>
                  <a:gd name="connsiteY2" fmla="*/ 104313 h 104313"/>
                  <a:gd name="connsiteX3" fmla="*/ 0 w 8823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23" h="104313">
                    <a:moveTo>
                      <a:pt x="0" y="0"/>
                    </a:moveTo>
                    <a:lnTo>
                      <a:pt x="8823" y="0"/>
                    </a:lnTo>
                    <a:lnTo>
                      <a:pt x="8823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25" name="Freeform: Shape 424">
                <a:extLst>
                  <a:ext uri="{FF2B5EF4-FFF2-40B4-BE49-F238E27FC236}">
                    <a16:creationId xmlns:a16="http://schemas.microsoft.com/office/drawing/2014/main" id="{F1271015-EC50-974B-B1B5-80E65942E8F1}"/>
                  </a:ext>
                </a:extLst>
              </p:cNvPr>
              <p:cNvSpPr/>
              <p:nvPr/>
            </p:nvSpPr>
            <p:spPr>
              <a:xfrm>
                <a:off x="7116746" y="3829924"/>
                <a:ext cx="5882" cy="104313"/>
              </a:xfrm>
              <a:custGeom>
                <a:avLst/>
                <a:gdLst>
                  <a:gd name="connsiteX0" fmla="*/ 0 w 5882"/>
                  <a:gd name="connsiteY0" fmla="*/ 0 h 104313"/>
                  <a:gd name="connsiteX1" fmla="*/ 5882 w 5882"/>
                  <a:gd name="connsiteY1" fmla="*/ 0 h 104313"/>
                  <a:gd name="connsiteX2" fmla="*/ 5882 w 5882"/>
                  <a:gd name="connsiteY2" fmla="*/ 104313 h 104313"/>
                  <a:gd name="connsiteX3" fmla="*/ 0 w 5882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82" h="104313">
                    <a:moveTo>
                      <a:pt x="0" y="0"/>
                    </a:moveTo>
                    <a:lnTo>
                      <a:pt x="5882" y="0"/>
                    </a:lnTo>
                    <a:lnTo>
                      <a:pt x="5882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26" name="Freeform: Shape 425">
                <a:extLst>
                  <a:ext uri="{FF2B5EF4-FFF2-40B4-BE49-F238E27FC236}">
                    <a16:creationId xmlns:a16="http://schemas.microsoft.com/office/drawing/2014/main" id="{FDDE94C7-3454-CDE1-EA3D-8A9BC9C311AB}"/>
                  </a:ext>
                </a:extLst>
              </p:cNvPr>
              <p:cNvSpPr/>
              <p:nvPr/>
            </p:nvSpPr>
            <p:spPr>
              <a:xfrm>
                <a:off x="5143818" y="3212673"/>
                <a:ext cx="1978810" cy="104313"/>
              </a:xfrm>
              <a:custGeom>
                <a:avLst/>
                <a:gdLst>
                  <a:gd name="connsiteX0" fmla="*/ 0 w 1978810"/>
                  <a:gd name="connsiteY0" fmla="*/ 0 h 104313"/>
                  <a:gd name="connsiteX1" fmla="*/ 1978810 w 1978810"/>
                  <a:gd name="connsiteY1" fmla="*/ 0 h 104313"/>
                  <a:gd name="connsiteX2" fmla="*/ 1978810 w 1978810"/>
                  <a:gd name="connsiteY2" fmla="*/ 104313 h 104313"/>
                  <a:gd name="connsiteX3" fmla="*/ 0 w 1978810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8810" h="104313">
                    <a:moveTo>
                      <a:pt x="0" y="0"/>
                    </a:moveTo>
                    <a:lnTo>
                      <a:pt x="1978810" y="0"/>
                    </a:lnTo>
                    <a:lnTo>
                      <a:pt x="1978810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28" name="Freeform: Shape 427">
                <a:extLst>
                  <a:ext uri="{FF2B5EF4-FFF2-40B4-BE49-F238E27FC236}">
                    <a16:creationId xmlns:a16="http://schemas.microsoft.com/office/drawing/2014/main" id="{4CB84DA8-2357-C810-3BF3-C0E1853C413F}"/>
                  </a:ext>
                </a:extLst>
              </p:cNvPr>
              <p:cNvSpPr/>
              <p:nvPr/>
            </p:nvSpPr>
            <p:spPr>
              <a:xfrm>
                <a:off x="5140877" y="3212673"/>
                <a:ext cx="2941" cy="104313"/>
              </a:xfrm>
              <a:custGeom>
                <a:avLst/>
                <a:gdLst>
                  <a:gd name="connsiteX0" fmla="*/ 0 w 2941"/>
                  <a:gd name="connsiteY0" fmla="*/ 0 h 104313"/>
                  <a:gd name="connsiteX1" fmla="*/ 2941 w 2941"/>
                  <a:gd name="connsiteY1" fmla="*/ 0 h 104313"/>
                  <a:gd name="connsiteX2" fmla="*/ 2941 w 2941"/>
                  <a:gd name="connsiteY2" fmla="*/ 104313 h 104313"/>
                  <a:gd name="connsiteX3" fmla="*/ 0 w 2941"/>
                  <a:gd name="connsiteY3" fmla="*/ 104313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41" h="104313">
                    <a:moveTo>
                      <a:pt x="0" y="0"/>
                    </a:moveTo>
                    <a:lnTo>
                      <a:pt x="2941" y="0"/>
                    </a:lnTo>
                    <a:lnTo>
                      <a:pt x="2941" y="104313"/>
                    </a:lnTo>
                    <a:lnTo>
                      <a:pt x="0" y="10431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34" name="Freeform: Shape 433">
                <a:extLst>
                  <a:ext uri="{FF2B5EF4-FFF2-40B4-BE49-F238E27FC236}">
                    <a16:creationId xmlns:a16="http://schemas.microsoft.com/office/drawing/2014/main" id="{835C376E-5E24-9D7C-B87C-8A0DE628F535}"/>
                  </a:ext>
                </a:extLst>
              </p:cNvPr>
              <p:cNvSpPr/>
              <p:nvPr/>
            </p:nvSpPr>
            <p:spPr>
              <a:xfrm>
                <a:off x="5016368" y="2589736"/>
                <a:ext cx="2230965" cy="104313"/>
              </a:xfrm>
              <a:custGeom>
                <a:avLst/>
                <a:gdLst>
                  <a:gd name="connsiteX0" fmla="*/ 2230965 w 2230965"/>
                  <a:gd name="connsiteY0" fmla="*/ 0 h 104313"/>
                  <a:gd name="connsiteX1" fmla="*/ 2230965 w 2230965"/>
                  <a:gd name="connsiteY1" fmla="*/ 104313 h 104313"/>
                  <a:gd name="connsiteX2" fmla="*/ 2106260 w 2230965"/>
                  <a:gd name="connsiteY2" fmla="*/ 104313 h 104313"/>
                  <a:gd name="connsiteX3" fmla="*/ 2106260 w 2230965"/>
                  <a:gd name="connsiteY3" fmla="*/ 103529 h 104313"/>
                  <a:gd name="connsiteX4" fmla="*/ 127450 w 2230965"/>
                  <a:gd name="connsiteY4" fmla="*/ 103529 h 104313"/>
                  <a:gd name="connsiteX5" fmla="*/ 127450 w 2230965"/>
                  <a:gd name="connsiteY5" fmla="*/ 104313 h 104313"/>
                  <a:gd name="connsiteX6" fmla="*/ 0 w 2230965"/>
                  <a:gd name="connsiteY6" fmla="*/ 104313 h 104313"/>
                  <a:gd name="connsiteX7" fmla="*/ 0 w 2230965"/>
                  <a:gd name="connsiteY7" fmla="*/ 0 h 1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30965" h="104313">
                    <a:moveTo>
                      <a:pt x="2230965" y="0"/>
                    </a:moveTo>
                    <a:lnTo>
                      <a:pt x="2230965" y="104313"/>
                    </a:lnTo>
                    <a:lnTo>
                      <a:pt x="2106260" y="104313"/>
                    </a:lnTo>
                    <a:lnTo>
                      <a:pt x="2106260" y="103529"/>
                    </a:lnTo>
                    <a:lnTo>
                      <a:pt x="127450" y="103529"/>
                    </a:lnTo>
                    <a:lnTo>
                      <a:pt x="127450" y="104313"/>
                    </a:lnTo>
                    <a:lnTo>
                      <a:pt x="0" y="1043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35" name="Freeform: Shape 434">
                <a:extLst>
                  <a:ext uri="{FF2B5EF4-FFF2-40B4-BE49-F238E27FC236}">
                    <a16:creationId xmlns:a16="http://schemas.microsoft.com/office/drawing/2014/main" id="{4B194469-C713-B18A-2E26-3F2126B88D85}"/>
                  </a:ext>
                </a:extLst>
              </p:cNvPr>
              <p:cNvSpPr/>
              <p:nvPr/>
            </p:nvSpPr>
            <p:spPr>
              <a:xfrm>
                <a:off x="5143818" y="2693265"/>
                <a:ext cx="1978810" cy="784"/>
              </a:xfrm>
              <a:custGeom>
                <a:avLst/>
                <a:gdLst>
                  <a:gd name="connsiteX0" fmla="*/ 0 w 1978810"/>
                  <a:gd name="connsiteY0" fmla="*/ 0 h 784"/>
                  <a:gd name="connsiteX1" fmla="*/ 1978810 w 1978810"/>
                  <a:gd name="connsiteY1" fmla="*/ 0 h 784"/>
                  <a:gd name="connsiteX2" fmla="*/ 1978810 w 1978810"/>
                  <a:gd name="connsiteY2" fmla="*/ 784 h 784"/>
                  <a:gd name="connsiteX3" fmla="*/ 0 w 1978810"/>
                  <a:gd name="connsiteY3" fmla="*/ 784 h 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8810" h="784">
                    <a:moveTo>
                      <a:pt x="0" y="0"/>
                    </a:moveTo>
                    <a:lnTo>
                      <a:pt x="1978810" y="0"/>
                    </a:lnTo>
                    <a:lnTo>
                      <a:pt x="1978810" y="784"/>
                    </a:lnTo>
                    <a:lnTo>
                      <a:pt x="0" y="784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36" name="Freeform: Shape 435">
                <a:extLst>
                  <a:ext uri="{FF2B5EF4-FFF2-40B4-BE49-F238E27FC236}">
                    <a16:creationId xmlns:a16="http://schemas.microsoft.com/office/drawing/2014/main" id="{00C830D5-A2B2-9476-F4EA-D471D784E872}"/>
                  </a:ext>
                </a:extLst>
              </p:cNvPr>
              <p:cNvSpPr/>
              <p:nvPr/>
            </p:nvSpPr>
            <p:spPr>
              <a:xfrm>
                <a:off x="5140877" y="3369731"/>
                <a:ext cx="8823" cy="884111"/>
              </a:xfrm>
              <a:custGeom>
                <a:avLst/>
                <a:gdLst>
                  <a:gd name="connsiteX0" fmla="*/ 8823 w 8823"/>
                  <a:gd name="connsiteY0" fmla="*/ 2353 h 884111"/>
                  <a:gd name="connsiteX1" fmla="*/ 8823 w 8823"/>
                  <a:gd name="connsiteY1" fmla="*/ 882739 h 884111"/>
                  <a:gd name="connsiteX2" fmla="*/ 2941 w 8823"/>
                  <a:gd name="connsiteY2" fmla="*/ 884112 h 884111"/>
                  <a:gd name="connsiteX3" fmla="*/ 2941 w 8823"/>
                  <a:gd name="connsiteY3" fmla="*/ 564506 h 884111"/>
                  <a:gd name="connsiteX4" fmla="*/ 0 w 8823"/>
                  <a:gd name="connsiteY4" fmla="*/ 564506 h 884111"/>
                  <a:gd name="connsiteX5" fmla="*/ 0 w 8823"/>
                  <a:gd name="connsiteY5" fmla="*/ 460193 h 884111"/>
                  <a:gd name="connsiteX6" fmla="*/ 2941 w 8823"/>
                  <a:gd name="connsiteY6" fmla="*/ 460193 h 884111"/>
                  <a:gd name="connsiteX7" fmla="*/ 2941 w 8823"/>
                  <a:gd name="connsiteY7" fmla="*/ 0 h 884111"/>
                  <a:gd name="connsiteX8" fmla="*/ 8823 w 8823"/>
                  <a:gd name="connsiteY8" fmla="*/ 2353 h 884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23" h="884111">
                    <a:moveTo>
                      <a:pt x="8823" y="2353"/>
                    </a:moveTo>
                    <a:lnTo>
                      <a:pt x="8823" y="882739"/>
                    </a:lnTo>
                    <a:cubicBezTo>
                      <a:pt x="6863" y="883327"/>
                      <a:pt x="4902" y="883719"/>
                      <a:pt x="2941" y="884112"/>
                    </a:cubicBezTo>
                    <a:lnTo>
                      <a:pt x="2941" y="564506"/>
                    </a:lnTo>
                    <a:lnTo>
                      <a:pt x="0" y="564506"/>
                    </a:lnTo>
                    <a:lnTo>
                      <a:pt x="0" y="460193"/>
                    </a:lnTo>
                    <a:lnTo>
                      <a:pt x="2941" y="460193"/>
                    </a:lnTo>
                    <a:lnTo>
                      <a:pt x="2941" y="0"/>
                    </a:lnTo>
                    <a:cubicBezTo>
                      <a:pt x="4902" y="784"/>
                      <a:pt x="6863" y="1569"/>
                      <a:pt x="8823" y="235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37" name="Freeform: Shape 436">
                <a:extLst>
                  <a:ext uri="{FF2B5EF4-FFF2-40B4-BE49-F238E27FC236}">
                    <a16:creationId xmlns:a16="http://schemas.microsoft.com/office/drawing/2014/main" id="{FF42F225-3095-34D1-6AB6-1BA2D06177DF}"/>
                  </a:ext>
                </a:extLst>
              </p:cNvPr>
              <p:cNvSpPr/>
              <p:nvPr/>
            </p:nvSpPr>
            <p:spPr>
              <a:xfrm>
                <a:off x="5143818" y="3934237"/>
                <a:ext cx="1978810" cy="900974"/>
              </a:xfrm>
              <a:custGeom>
                <a:avLst/>
                <a:gdLst>
                  <a:gd name="connsiteX0" fmla="*/ 1972928 w 1978810"/>
                  <a:gd name="connsiteY0" fmla="*/ 318233 h 900974"/>
                  <a:gd name="connsiteX1" fmla="*/ 1972928 w 1978810"/>
                  <a:gd name="connsiteY1" fmla="*/ 0 h 900974"/>
                  <a:gd name="connsiteX2" fmla="*/ 5882 w 1978810"/>
                  <a:gd name="connsiteY2" fmla="*/ 0 h 900974"/>
                  <a:gd name="connsiteX3" fmla="*/ 5882 w 1978810"/>
                  <a:gd name="connsiteY3" fmla="*/ 318233 h 900974"/>
                  <a:gd name="connsiteX4" fmla="*/ 0 w 1978810"/>
                  <a:gd name="connsiteY4" fmla="*/ 319606 h 900974"/>
                  <a:gd name="connsiteX5" fmla="*/ 0 w 1978810"/>
                  <a:gd name="connsiteY5" fmla="*/ 900974 h 900974"/>
                  <a:gd name="connsiteX6" fmla="*/ 15882 w 1978810"/>
                  <a:gd name="connsiteY6" fmla="*/ 900974 h 900974"/>
                  <a:gd name="connsiteX7" fmla="*/ 15882 w 1978810"/>
                  <a:gd name="connsiteY7" fmla="*/ 515683 h 900974"/>
                  <a:gd name="connsiteX8" fmla="*/ 809799 w 1978810"/>
                  <a:gd name="connsiteY8" fmla="*/ 515683 h 900974"/>
                  <a:gd name="connsiteX9" fmla="*/ 809799 w 1978810"/>
                  <a:gd name="connsiteY9" fmla="*/ 170979 h 900974"/>
                  <a:gd name="connsiteX10" fmla="*/ 1169012 w 1978810"/>
                  <a:gd name="connsiteY10" fmla="*/ 170979 h 900974"/>
                  <a:gd name="connsiteX11" fmla="*/ 1169012 w 1978810"/>
                  <a:gd name="connsiteY11" fmla="*/ 515683 h 900974"/>
                  <a:gd name="connsiteX12" fmla="*/ 1962928 w 1978810"/>
                  <a:gd name="connsiteY12" fmla="*/ 515683 h 900974"/>
                  <a:gd name="connsiteX13" fmla="*/ 1962928 w 1978810"/>
                  <a:gd name="connsiteY13" fmla="*/ 900974 h 900974"/>
                  <a:gd name="connsiteX14" fmla="*/ 1978810 w 1978810"/>
                  <a:gd name="connsiteY14" fmla="*/ 900974 h 900974"/>
                  <a:gd name="connsiteX15" fmla="*/ 1978810 w 1978810"/>
                  <a:gd name="connsiteY15" fmla="*/ 319606 h 900974"/>
                  <a:gd name="connsiteX16" fmla="*/ 1972928 w 1978810"/>
                  <a:gd name="connsiteY16" fmla="*/ 318233 h 900974"/>
                  <a:gd name="connsiteX17" fmla="*/ 664113 w 1978810"/>
                  <a:gd name="connsiteY17" fmla="*/ 405487 h 900974"/>
                  <a:gd name="connsiteX18" fmla="*/ 157058 w 1978810"/>
                  <a:gd name="connsiteY18" fmla="*/ 405487 h 900974"/>
                  <a:gd name="connsiteX19" fmla="*/ 157058 w 1978810"/>
                  <a:gd name="connsiteY19" fmla="*/ 107058 h 900974"/>
                  <a:gd name="connsiteX20" fmla="*/ 664113 w 1978810"/>
                  <a:gd name="connsiteY20" fmla="*/ 107058 h 900974"/>
                  <a:gd name="connsiteX21" fmla="*/ 664113 w 1978810"/>
                  <a:gd name="connsiteY21" fmla="*/ 405487 h 900974"/>
                  <a:gd name="connsiteX22" fmla="*/ 1821753 w 1978810"/>
                  <a:gd name="connsiteY22" fmla="*/ 405487 h 900974"/>
                  <a:gd name="connsiteX23" fmla="*/ 1314697 w 1978810"/>
                  <a:gd name="connsiteY23" fmla="*/ 405487 h 900974"/>
                  <a:gd name="connsiteX24" fmla="*/ 1314697 w 1978810"/>
                  <a:gd name="connsiteY24" fmla="*/ 107058 h 900974"/>
                  <a:gd name="connsiteX25" fmla="*/ 1821753 w 1978810"/>
                  <a:gd name="connsiteY25" fmla="*/ 107058 h 900974"/>
                  <a:gd name="connsiteX26" fmla="*/ 1821753 w 1978810"/>
                  <a:gd name="connsiteY26" fmla="*/ 405487 h 90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78810" h="900974">
                    <a:moveTo>
                      <a:pt x="1972928" y="318233"/>
                    </a:moveTo>
                    <a:lnTo>
                      <a:pt x="1972928" y="0"/>
                    </a:lnTo>
                    <a:lnTo>
                      <a:pt x="5882" y="0"/>
                    </a:lnTo>
                    <a:lnTo>
                      <a:pt x="5882" y="318233"/>
                    </a:lnTo>
                    <a:cubicBezTo>
                      <a:pt x="3922" y="318821"/>
                      <a:pt x="1961" y="319214"/>
                      <a:pt x="0" y="319606"/>
                    </a:cubicBezTo>
                    <a:lnTo>
                      <a:pt x="0" y="900974"/>
                    </a:lnTo>
                    <a:lnTo>
                      <a:pt x="15882" y="900974"/>
                    </a:lnTo>
                    <a:lnTo>
                      <a:pt x="15882" y="515683"/>
                    </a:lnTo>
                    <a:lnTo>
                      <a:pt x="809799" y="515683"/>
                    </a:lnTo>
                    <a:lnTo>
                      <a:pt x="809799" y="170979"/>
                    </a:lnTo>
                    <a:lnTo>
                      <a:pt x="1169012" y="170979"/>
                    </a:lnTo>
                    <a:lnTo>
                      <a:pt x="1169012" y="515683"/>
                    </a:lnTo>
                    <a:lnTo>
                      <a:pt x="1962928" y="515683"/>
                    </a:lnTo>
                    <a:lnTo>
                      <a:pt x="1962928" y="900974"/>
                    </a:lnTo>
                    <a:lnTo>
                      <a:pt x="1978810" y="900974"/>
                    </a:lnTo>
                    <a:lnTo>
                      <a:pt x="1978810" y="319606"/>
                    </a:lnTo>
                    <a:cubicBezTo>
                      <a:pt x="1976850" y="319214"/>
                      <a:pt x="1974889" y="318821"/>
                      <a:pt x="1972928" y="318233"/>
                    </a:cubicBezTo>
                    <a:close/>
                    <a:moveTo>
                      <a:pt x="664113" y="405487"/>
                    </a:moveTo>
                    <a:lnTo>
                      <a:pt x="157058" y="405487"/>
                    </a:lnTo>
                    <a:lnTo>
                      <a:pt x="157058" y="107058"/>
                    </a:lnTo>
                    <a:lnTo>
                      <a:pt x="664113" y="107058"/>
                    </a:lnTo>
                    <a:lnTo>
                      <a:pt x="664113" y="405487"/>
                    </a:lnTo>
                    <a:close/>
                    <a:moveTo>
                      <a:pt x="1821753" y="405487"/>
                    </a:moveTo>
                    <a:lnTo>
                      <a:pt x="1314697" y="405487"/>
                    </a:lnTo>
                    <a:lnTo>
                      <a:pt x="1314697" y="107058"/>
                    </a:lnTo>
                    <a:lnTo>
                      <a:pt x="1821753" y="107058"/>
                    </a:lnTo>
                    <a:lnTo>
                      <a:pt x="1821753" y="405487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38" name="Freeform: Shape 437">
                <a:extLst>
                  <a:ext uri="{FF2B5EF4-FFF2-40B4-BE49-F238E27FC236}">
                    <a16:creationId xmlns:a16="http://schemas.microsoft.com/office/drawing/2014/main" id="{4E58F21F-7E17-5BC7-63A4-47266BDAEF4C}"/>
                  </a:ext>
                </a:extLst>
              </p:cNvPr>
              <p:cNvSpPr/>
              <p:nvPr/>
            </p:nvSpPr>
            <p:spPr>
              <a:xfrm>
                <a:off x="6458515" y="4041295"/>
                <a:ext cx="253527" cy="298429"/>
              </a:xfrm>
              <a:custGeom>
                <a:avLst/>
                <a:gdLst>
                  <a:gd name="connsiteX0" fmla="*/ 0 w 253527"/>
                  <a:gd name="connsiteY0" fmla="*/ 0 h 298429"/>
                  <a:gd name="connsiteX1" fmla="*/ 253528 w 253527"/>
                  <a:gd name="connsiteY1" fmla="*/ 0 h 298429"/>
                  <a:gd name="connsiteX2" fmla="*/ 253528 w 253527"/>
                  <a:gd name="connsiteY2" fmla="*/ 298429 h 298429"/>
                  <a:gd name="connsiteX3" fmla="*/ 0 w 253527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27" h="298429">
                    <a:moveTo>
                      <a:pt x="0" y="0"/>
                    </a:moveTo>
                    <a:lnTo>
                      <a:pt x="253528" y="0"/>
                    </a:lnTo>
                    <a:lnTo>
                      <a:pt x="253528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43" name="Freeform: Shape 442">
                <a:extLst>
                  <a:ext uri="{FF2B5EF4-FFF2-40B4-BE49-F238E27FC236}">
                    <a16:creationId xmlns:a16="http://schemas.microsoft.com/office/drawing/2014/main" id="{CEC42077-BFEF-8A71-7CC3-E827AF16FB37}"/>
                  </a:ext>
                </a:extLst>
              </p:cNvPr>
              <p:cNvSpPr/>
              <p:nvPr/>
            </p:nvSpPr>
            <p:spPr>
              <a:xfrm>
                <a:off x="6712043" y="4041295"/>
                <a:ext cx="253527" cy="298429"/>
              </a:xfrm>
              <a:custGeom>
                <a:avLst/>
                <a:gdLst>
                  <a:gd name="connsiteX0" fmla="*/ 0 w 253527"/>
                  <a:gd name="connsiteY0" fmla="*/ 0 h 298429"/>
                  <a:gd name="connsiteX1" fmla="*/ 253528 w 253527"/>
                  <a:gd name="connsiteY1" fmla="*/ 0 h 298429"/>
                  <a:gd name="connsiteX2" fmla="*/ 253528 w 253527"/>
                  <a:gd name="connsiteY2" fmla="*/ 298429 h 298429"/>
                  <a:gd name="connsiteX3" fmla="*/ 0 w 253527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27" h="298429">
                    <a:moveTo>
                      <a:pt x="0" y="0"/>
                    </a:moveTo>
                    <a:lnTo>
                      <a:pt x="253528" y="0"/>
                    </a:lnTo>
                    <a:lnTo>
                      <a:pt x="253528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44" name="Freeform: Shape 443">
                <a:extLst>
                  <a:ext uri="{FF2B5EF4-FFF2-40B4-BE49-F238E27FC236}">
                    <a16:creationId xmlns:a16="http://schemas.microsoft.com/office/drawing/2014/main" id="{2D84ACD0-2A6F-9AFC-9A73-FDFB3D51F707}"/>
                  </a:ext>
                </a:extLst>
              </p:cNvPr>
              <p:cNvSpPr/>
              <p:nvPr/>
            </p:nvSpPr>
            <p:spPr>
              <a:xfrm>
                <a:off x="5300876" y="4041295"/>
                <a:ext cx="253527" cy="298429"/>
              </a:xfrm>
              <a:custGeom>
                <a:avLst/>
                <a:gdLst>
                  <a:gd name="connsiteX0" fmla="*/ 0 w 253527"/>
                  <a:gd name="connsiteY0" fmla="*/ 0 h 298429"/>
                  <a:gd name="connsiteX1" fmla="*/ 253528 w 253527"/>
                  <a:gd name="connsiteY1" fmla="*/ 0 h 298429"/>
                  <a:gd name="connsiteX2" fmla="*/ 253528 w 253527"/>
                  <a:gd name="connsiteY2" fmla="*/ 298429 h 298429"/>
                  <a:gd name="connsiteX3" fmla="*/ 0 w 253527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27" h="298429">
                    <a:moveTo>
                      <a:pt x="0" y="0"/>
                    </a:moveTo>
                    <a:lnTo>
                      <a:pt x="253528" y="0"/>
                    </a:lnTo>
                    <a:lnTo>
                      <a:pt x="253528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45" name="Freeform: Shape 444">
                <a:extLst>
                  <a:ext uri="{FF2B5EF4-FFF2-40B4-BE49-F238E27FC236}">
                    <a16:creationId xmlns:a16="http://schemas.microsoft.com/office/drawing/2014/main" id="{B62BC7FC-BD9F-F16E-210C-E797F8E51AA8}"/>
                  </a:ext>
                </a:extLst>
              </p:cNvPr>
              <p:cNvSpPr/>
              <p:nvPr/>
            </p:nvSpPr>
            <p:spPr>
              <a:xfrm>
                <a:off x="5554404" y="4041295"/>
                <a:ext cx="253527" cy="298429"/>
              </a:xfrm>
              <a:custGeom>
                <a:avLst/>
                <a:gdLst>
                  <a:gd name="connsiteX0" fmla="*/ 0 w 253527"/>
                  <a:gd name="connsiteY0" fmla="*/ 0 h 298429"/>
                  <a:gd name="connsiteX1" fmla="*/ 253528 w 253527"/>
                  <a:gd name="connsiteY1" fmla="*/ 0 h 298429"/>
                  <a:gd name="connsiteX2" fmla="*/ 253528 w 253527"/>
                  <a:gd name="connsiteY2" fmla="*/ 298429 h 298429"/>
                  <a:gd name="connsiteX3" fmla="*/ 0 w 253527"/>
                  <a:gd name="connsiteY3" fmla="*/ 298429 h 29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527" h="298429">
                    <a:moveTo>
                      <a:pt x="0" y="0"/>
                    </a:moveTo>
                    <a:lnTo>
                      <a:pt x="253528" y="0"/>
                    </a:lnTo>
                    <a:lnTo>
                      <a:pt x="253528" y="298429"/>
                    </a:lnTo>
                    <a:lnTo>
                      <a:pt x="0" y="298429"/>
                    </a:lnTo>
                    <a:close/>
                  </a:path>
                </a:pathLst>
              </a:custGeom>
              <a:solidFill>
                <a:srgbClr val="88BCAD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46" name="Freeform: Shape 445">
                <a:extLst>
                  <a:ext uri="{FF2B5EF4-FFF2-40B4-BE49-F238E27FC236}">
                    <a16:creationId xmlns:a16="http://schemas.microsoft.com/office/drawing/2014/main" id="{42A7B6B2-577E-E9EB-534B-3E6B8F722202}"/>
                  </a:ext>
                </a:extLst>
              </p:cNvPr>
              <p:cNvSpPr/>
              <p:nvPr/>
            </p:nvSpPr>
            <p:spPr>
              <a:xfrm>
                <a:off x="4947545" y="4230705"/>
                <a:ext cx="84313" cy="604505"/>
              </a:xfrm>
              <a:custGeom>
                <a:avLst/>
                <a:gdLst>
                  <a:gd name="connsiteX0" fmla="*/ 84313 w 84313"/>
                  <a:gd name="connsiteY0" fmla="*/ 28431 h 604505"/>
                  <a:gd name="connsiteX1" fmla="*/ 84313 w 84313"/>
                  <a:gd name="connsiteY1" fmla="*/ 604506 h 604505"/>
                  <a:gd name="connsiteX2" fmla="*/ 0 w 84313"/>
                  <a:gd name="connsiteY2" fmla="*/ 604506 h 604505"/>
                  <a:gd name="connsiteX3" fmla="*/ 0 w 84313"/>
                  <a:gd name="connsiteY3" fmla="*/ 0 h 604505"/>
                  <a:gd name="connsiteX4" fmla="*/ 84313 w 84313"/>
                  <a:gd name="connsiteY4" fmla="*/ 28431 h 60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313" h="604505">
                    <a:moveTo>
                      <a:pt x="84313" y="28431"/>
                    </a:moveTo>
                    <a:lnTo>
                      <a:pt x="84313" y="604506"/>
                    </a:lnTo>
                    <a:lnTo>
                      <a:pt x="0" y="604506"/>
                    </a:lnTo>
                    <a:lnTo>
                      <a:pt x="0" y="0"/>
                    </a:lnTo>
                    <a:cubicBezTo>
                      <a:pt x="25882" y="13921"/>
                      <a:pt x="54313" y="23725"/>
                      <a:pt x="84313" y="28431"/>
                    </a:cubicBez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48" name="Freeform: Shape 447">
                <a:extLst>
                  <a:ext uri="{FF2B5EF4-FFF2-40B4-BE49-F238E27FC236}">
                    <a16:creationId xmlns:a16="http://schemas.microsoft.com/office/drawing/2014/main" id="{8E074475-308E-1BA1-1F25-394E5970E511}"/>
                  </a:ext>
                </a:extLst>
              </p:cNvPr>
              <p:cNvSpPr/>
              <p:nvPr/>
            </p:nvSpPr>
            <p:spPr>
              <a:xfrm>
                <a:off x="7116746" y="3369731"/>
                <a:ext cx="5882" cy="884111"/>
              </a:xfrm>
              <a:custGeom>
                <a:avLst/>
                <a:gdLst>
                  <a:gd name="connsiteX0" fmla="*/ 5882 w 5882"/>
                  <a:gd name="connsiteY0" fmla="*/ 0 h 884111"/>
                  <a:gd name="connsiteX1" fmla="*/ 5882 w 5882"/>
                  <a:gd name="connsiteY1" fmla="*/ 884112 h 884111"/>
                  <a:gd name="connsiteX2" fmla="*/ 0 w 5882"/>
                  <a:gd name="connsiteY2" fmla="*/ 882739 h 884111"/>
                  <a:gd name="connsiteX3" fmla="*/ 0 w 5882"/>
                  <a:gd name="connsiteY3" fmla="*/ 2353 h 884111"/>
                  <a:gd name="connsiteX4" fmla="*/ 5882 w 5882"/>
                  <a:gd name="connsiteY4" fmla="*/ 0 h 884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82" h="884111">
                    <a:moveTo>
                      <a:pt x="5882" y="0"/>
                    </a:moveTo>
                    <a:lnTo>
                      <a:pt x="5882" y="884112"/>
                    </a:lnTo>
                    <a:cubicBezTo>
                      <a:pt x="3922" y="883719"/>
                      <a:pt x="1961" y="883327"/>
                      <a:pt x="0" y="882739"/>
                    </a:cubicBezTo>
                    <a:lnTo>
                      <a:pt x="0" y="2353"/>
                    </a:lnTo>
                    <a:cubicBezTo>
                      <a:pt x="1961" y="1569"/>
                      <a:pt x="3922" y="784"/>
                      <a:pt x="5882" y="0"/>
                    </a:cubicBez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1" name="Freeform: Shape 450">
                <a:extLst>
                  <a:ext uri="{FF2B5EF4-FFF2-40B4-BE49-F238E27FC236}">
                    <a16:creationId xmlns:a16="http://schemas.microsoft.com/office/drawing/2014/main" id="{2E29932D-DA13-4E5E-DD14-EF53B4F1302B}"/>
                  </a:ext>
                </a:extLst>
              </p:cNvPr>
              <p:cNvSpPr/>
              <p:nvPr/>
            </p:nvSpPr>
            <p:spPr>
              <a:xfrm>
                <a:off x="7234588" y="4230705"/>
                <a:ext cx="84313" cy="604505"/>
              </a:xfrm>
              <a:custGeom>
                <a:avLst/>
                <a:gdLst>
                  <a:gd name="connsiteX0" fmla="*/ 84313 w 84313"/>
                  <a:gd name="connsiteY0" fmla="*/ 0 h 604505"/>
                  <a:gd name="connsiteX1" fmla="*/ 84313 w 84313"/>
                  <a:gd name="connsiteY1" fmla="*/ 604506 h 604505"/>
                  <a:gd name="connsiteX2" fmla="*/ 0 w 84313"/>
                  <a:gd name="connsiteY2" fmla="*/ 604506 h 604505"/>
                  <a:gd name="connsiteX3" fmla="*/ 0 w 84313"/>
                  <a:gd name="connsiteY3" fmla="*/ 28431 h 604505"/>
                  <a:gd name="connsiteX4" fmla="*/ 84313 w 84313"/>
                  <a:gd name="connsiteY4" fmla="*/ 0 h 60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313" h="604505">
                    <a:moveTo>
                      <a:pt x="84313" y="0"/>
                    </a:moveTo>
                    <a:lnTo>
                      <a:pt x="84313" y="604506"/>
                    </a:lnTo>
                    <a:lnTo>
                      <a:pt x="0" y="604506"/>
                    </a:lnTo>
                    <a:lnTo>
                      <a:pt x="0" y="28431"/>
                    </a:lnTo>
                    <a:cubicBezTo>
                      <a:pt x="30000" y="23725"/>
                      <a:pt x="58431" y="13921"/>
                      <a:pt x="84313" y="0"/>
                    </a:cubicBez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2" name="Freeform: Shape 451">
                <a:extLst>
                  <a:ext uri="{FF2B5EF4-FFF2-40B4-BE49-F238E27FC236}">
                    <a16:creationId xmlns:a16="http://schemas.microsoft.com/office/drawing/2014/main" id="{8E871D3E-C7F8-F3BA-4DCF-B768AF97595D}"/>
                  </a:ext>
                </a:extLst>
              </p:cNvPr>
              <p:cNvSpPr/>
              <p:nvPr/>
            </p:nvSpPr>
            <p:spPr>
              <a:xfrm>
                <a:off x="7122628" y="4835211"/>
                <a:ext cx="111960" cy="19607"/>
              </a:xfrm>
              <a:custGeom>
                <a:avLst/>
                <a:gdLst>
                  <a:gd name="connsiteX0" fmla="*/ 111960 w 111960"/>
                  <a:gd name="connsiteY0" fmla="*/ 0 h 19607"/>
                  <a:gd name="connsiteX1" fmla="*/ 0 w 111960"/>
                  <a:gd name="connsiteY1" fmla="*/ 0 h 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960" h="19607">
                    <a:moveTo>
                      <a:pt x="111960" y="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3" name="Freeform: Shape 452">
                <a:extLst>
                  <a:ext uri="{FF2B5EF4-FFF2-40B4-BE49-F238E27FC236}">
                    <a16:creationId xmlns:a16="http://schemas.microsoft.com/office/drawing/2014/main" id="{EDDD44B6-EA37-894E-08DC-73EF8148C5AD}"/>
                  </a:ext>
                </a:extLst>
              </p:cNvPr>
              <p:cNvSpPr/>
              <p:nvPr/>
            </p:nvSpPr>
            <p:spPr>
              <a:xfrm>
                <a:off x="7318902" y="4835211"/>
                <a:ext cx="168038" cy="19607"/>
              </a:xfrm>
              <a:custGeom>
                <a:avLst/>
                <a:gdLst>
                  <a:gd name="connsiteX0" fmla="*/ 168038 w 168038"/>
                  <a:gd name="connsiteY0" fmla="*/ 0 h 19607"/>
                  <a:gd name="connsiteX1" fmla="*/ 0 w 168038"/>
                  <a:gd name="connsiteY1" fmla="*/ 0 h 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038" h="19607">
                    <a:moveTo>
                      <a:pt x="168038" y="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4" name="Freeform: Shape 453">
                <a:extLst>
                  <a:ext uri="{FF2B5EF4-FFF2-40B4-BE49-F238E27FC236}">
                    <a16:creationId xmlns:a16="http://schemas.microsoft.com/office/drawing/2014/main" id="{27E76C3A-6910-6C9E-B1BC-91F51B1451EF}"/>
                  </a:ext>
                </a:extLst>
              </p:cNvPr>
              <p:cNvSpPr/>
              <p:nvPr/>
            </p:nvSpPr>
            <p:spPr>
              <a:xfrm>
                <a:off x="6312830" y="4449920"/>
                <a:ext cx="809798" cy="385291"/>
              </a:xfrm>
              <a:custGeom>
                <a:avLst/>
                <a:gdLst>
                  <a:gd name="connsiteX0" fmla="*/ 0 w 793916"/>
                  <a:gd name="connsiteY0" fmla="*/ 0 h 385291"/>
                  <a:gd name="connsiteX1" fmla="*/ 793916 w 793916"/>
                  <a:gd name="connsiteY1" fmla="*/ 0 h 385291"/>
                  <a:gd name="connsiteX2" fmla="*/ 793916 w 793916"/>
                  <a:gd name="connsiteY2" fmla="*/ 385292 h 385291"/>
                  <a:gd name="connsiteX3" fmla="*/ 0 w 793916"/>
                  <a:gd name="connsiteY3" fmla="*/ 385292 h 385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3916" h="385291">
                    <a:moveTo>
                      <a:pt x="0" y="0"/>
                    </a:moveTo>
                    <a:lnTo>
                      <a:pt x="793916" y="0"/>
                    </a:lnTo>
                    <a:lnTo>
                      <a:pt x="793916" y="385292"/>
                    </a:lnTo>
                    <a:lnTo>
                      <a:pt x="0" y="385292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5" name="Freeform: Shape 454">
                <a:extLst>
                  <a:ext uri="{FF2B5EF4-FFF2-40B4-BE49-F238E27FC236}">
                    <a16:creationId xmlns:a16="http://schemas.microsoft.com/office/drawing/2014/main" id="{859CB9BE-B484-C367-A92A-8BB7363AB7EE}"/>
                  </a:ext>
                </a:extLst>
              </p:cNvPr>
              <p:cNvSpPr/>
              <p:nvPr/>
            </p:nvSpPr>
            <p:spPr>
              <a:xfrm>
                <a:off x="5953617" y="4745408"/>
                <a:ext cx="359213" cy="89803"/>
              </a:xfrm>
              <a:custGeom>
                <a:avLst/>
                <a:gdLst>
                  <a:gd name="connsiteX0" fmla="*/ 0 w 359213"/>
                  <a:gd name="connsiteY0" fmla="*/ 0 h 89803"/>
                  <a:gd name="connsiteX1" fmla="*/ 359213 w 359213"/>
                  <a:gd name="connsiteY1" fmla="*/ 0 h 89803"/>
                  <a:gd name="connsiteX2" fmla="*/ 359213 w 359213"/>
                  <a:gd name="connsiteY2" fmla="*/ 89803 h 89803"/>
                  <a:gd name="connsiteX3" fmla="*/ 0 w 359213"/>
                  <a:gd name="connsiteY3" fmla="*/ 89803 h 89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9213" h="89803">
                    <a:moveTo>
                      <a:pt x="0" y="0"/>
                    </a:moveTo>
                    <a:lnTo>
                      <a:pt x="359213" y="0"/>
                    </a:lnTo>
                    <a:lnTo>
                      <a:pt x="359213" y="89803"/>
                    </a:lnTo>
                    <a:lnTo>
                      <a:pt x="0" y="89803"/>
                    </a:lnTo>
                    <a:close/>
                  </a:path>
                </a:pathLst>
              </a:custGeom>
              <a:solidFill>
                <a:srgbClr val="E1EBE5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6" name="Freeform: Shape 455">
                <a:extLst>
                  <a:ext uri="{FF2B5EF4-FFF2-40B4-BE49-F238E27FC236}">
                    <a16:creationId xmlns:a16="http://schemas.microsoft.com/office/drawing/2014/main" id="{E2274235-7919-0284-30EA-2F9460906C0A}"/>
                  </a:ext>
                </a:extLst>
              </p:cNvPr>
              <p:cNvSpPr/>
              <p:nvPr/>
            </p:nvSpPr>
            <p:spPr>
              <a:xfrm>
                <a:off x="5143818" y="4449920"/>
                <a:ext cx="809798" cy="385291"/>
              </a:xfrm>
              <a:custGeom>
                <a:avLst/>
                <a:gdLst>
                  <a:gd name="connsiteX0" fmla="*/ 0 w 793916"/>
                  <a:gd name="connsiteY0" fmla="*/ 0 h 385291"/>
                  <a:gd name="connsiteX1" fmla="*/ 793916 w 793916"/>
                  <a:gd name="connsiteY1" fmla="*/ 0 h 385291"/>
                  <a:gd name="connsiteX2" fmla="*/ 793916 w 793916"/>
                  <a:gd name="connsiteY2" fmla="*/ 385292 h 385291"/>
                  <a:gd name="connsiteX3" fmla="*/ 0 w 793916"/>
                  <a:gd name="connsiteY3" fmla="*/ 385292 h 385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3916" h="385291">
                    <a:moveTo>
                      <a:pt x="0" y="0"/>
                    </a:moveTo>
                    <a:lnTo>
                      <a:pt x="793916" y="0"/>
                    </a:lnTo>
                    <a:lnTo>
                      <a:pt x="793916" y="385292"/>
                    </a:lnTo>
                    <a:lnTo>
                      <a:pt x="0" y="385292"/>
                    </a:lnTo>
                    <a:close/>
                  </a:path>
                </a:pathLst>
              </a:custGeom>
              <a:solidFill>
                <a:srgbClr val="FBCCD0"/>
              </a:solidFill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7" name="Freeform: Shape 456">
                <a:extLst>
                  <a:ext uri="{FF2B5EF4-FFF2-40B4-BE49-F238E27FC236}">
                    <a16:creationId xmlns:a16="http://schemas.microsoft.com/office/drawing/2014/main" id="{E0A4FE10-F1C7-DA29-0CFD-F40BE4654C32}"/>
                  </a:ext>
                </a:extLst>
              </p:cNvPr>
              <p:cNvSpPr/>
              <p:nvPr/>
            </p:nvSpPr>
            <p:spPr>
              <a:xfrm>
                <a:off x="4779507" y="4835211"/>
                <a:ext cx="168038" cy="19607"/>
              </a:xfrm>
              <a:custGeom>
                <a:avLst/>
                <a:gdLst>
                  <a:gd name="connsiteX0" fmla="*/ 168038 w 168038"/>
                  <a:gd name="connsiteY0" fmla="*/ 0 h 19607"/>
                  <a:gd name="connsiteX1" fmla="*/ 0 w 168038"/>
                  <a:gd name="connsiteY1" fmla="*/ 0 h 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8038" h="19607">
                    <a:moveTo>
                      <a:pt x="168038" y="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458" name="Freeform: Shape 457">
                <a:extLst>
                  <a:ext uri="{FF2B5EF4-FFF2-40B4-BE49-F238E27FC236}">
                    <a16:creationId xmlns:a16="http://schemas.microsoft.com/office/drawing/2014/main" id="{4D4EF8DC-B25C-A5B3-FB97-F3D1B2088895}"/>
                  </a:ext>
                </a:extLst>
              </p:cNvPr>
              <p:cNvSpPr/>
              <p:nvPr/>
            </p:nvSpPr>
            <p:spPr>
              <a:xfrm>
                <a:off x="5031858" y="4835211"/>
                <a:ext cx="111960" cy="19607"/>
              </a:xfrm>
              <a:custGeom>
                <a:avLst/>
                <a:gdLst>
                  <a:gd name="connsiteX0" fmla="*/ 111960 w 111960"/>
                  <a:gd name="connsiteY0" fmla="*/ 0 h 19607"/>
                  <a:gd name="connsiteX1" fmla="*/ 0 w 111960"/>
                  <a:gd name="connsiteY1" fmla="*/ 0 h 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1960" h="19607">
                    <a:moveTo>
                      <a:pt x="111960" y="0"/>
                    </a:moveTo>
                    <a:lnTo>
                      <a:pt x="0" y="0"/>
                    </a:lnTo>
                  </a:path>
                </a:pathLst>
              </a:custGeom>
              <a:ln w="3175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47B754F5-78BA-D51E-E8B1-EAE49C92856B}"/>
                </a:ext>
              </a:extLst>
            </p:cNvPr>
            <p:cNvGrpSpPr/>
            <p:nvPr/>
          </p:nvGrpSpPr>
          <p:grpSpPr>
            <a:xfrm>
              <a:off x="352422" y="4038599"/>
              <a:ext cx="1263943" cy="1020061"/>
              <a:chOff x="352422" y="4038599"/>
              <a:chExt cx="1263943" cy="1020061"/>
            </a:xfrm>
          </p:grpSpPr>
          <p:grpSp>
            <p:nvGrpSpPr>
              <p:cNvPr id="449" name="Group 448">
                <a:extLst>
                  <a:ext uri="{FF2B5EF4-FFF2-40B4-BE49-F238E27FC236}">
                    <a16:creationId xmlns:a16="http://schemas.microsoft.com/office/drawing/2014/main" id="{F3E106C0-3EC1-AFFF-4842-7BEC2F331CEC}"/>
                  </a:ext>
                </a:extLst>
              </p:cNvPr>
              <p:cNvGrpSpPr/>
              <p:nvPr/>
            </p:nvGrpSpPr>
            <p:grpSpPr>
              <a:xfrm>
                <a:off x="352422" y="4326732"/>
                <a:ext cx="1263943" cy="731928"/>
                <a:chOff x="3752859" y="4939544"/>
                <a:chExt cx="2024462" cy="1172331"/>
              </a:xfrm>
            </p:grpSpPr>
            <p:sp>
              <p:nvSpPr>
                <p:cNvPr id="450" name="Freeform: Shape 449">
                  <a:extLst>
                    <a:ext uri="{FF2B5EF4-FFF2-40B4-BE49-F238E27FC236}">
                      <a16:creationId xmlns:a16="http://schemas.microsoft.com/office/drawing/2014/main" id="{8034E1C1-D4F1-4215-C91C-861D4B3BBB06}"/>
                    </a:ext>
                  </a:extLst>
                </p:cNvPr>
                <p:cNvSpPr/>
                <p:nvPr/>
              </p:nvSpPr>
              <p:spPr>
                <a:xfrm>
                  <a:off x="4104605" y="4939544"/>
                  <a:ext cx="585917" cy="1167783"/>
                </a:xfrm>
                <a:custGeom>
                  <a:avLst/>
                  <a:gdLst>
                    <a:gd name="connsiteX0" fmla="*/ 832230 w 1469794"/>
                    <a:gd name="connsiteY0" fmla="*/ 1057385 h 2929424"/>
                    <a:gd name="connsiteX1" fmla="*/ 1258868 w 1469794"/>
                    <a:gd name="connsiteY1" fmla="*/ 1297967 h 2929424"/>
                    <a:gd name="connsiteX2" fmla="*/ 1345439 w 1469794"/>
                    <a:gd name="connsiteY2" fmla="*/ 1345796 h 2929424"/>
                    <a:gd name="connsiteX3" fmla="*/ 1428183 w 1469794"/>
                    <a:gd name="connsiteY3" fmla="*/ 1369710 h 2929424"/>
                    <a:gd name="connsiteX4" fmla="*/ 1469795 w 1469794"/>
                    <a:gd name="connsiteY4" fmla="*/ 1357275 h 2929424"/>
                    <a:gd name="connsiteX5" fmla="*/ 1459272 w 1469794"/>
                    <a:gd name="connsiteY5" fmla="*/ 1302271 h 2929424"/>
                    <a:gd name="connsiteX6" fmla="*/ 1404747 w 1469794"/>
                    <a:gd name="connsiteY6" fmla="*/ 1253964 h 2929424"/>
                    <a:gd name="connsiteX7" fmla="*/ 1348308 w 1469794"/>
                    <a:gd name="connsiteY7" fmla="*/ 1204221 h 2929424"/>
                    <a:gd name="connsiteX8" fmla="*/ 893930 w 1469794"/>
                    <a:gd name="connsiteY8" fmla="*/ 887591 h 2929424"/>
                    <a:gd name="connsiteX9" fmla="*/ 714570 w 1469794"/>
                    <a:gd name="connsiteY9" fmla="*/ 747451 h 2929424"/>
                    <a:gd name="connsiteX10" fmla="*/ 691134 w 1469794"/>
                    <a:gd name="connsiteY10" fmla="*/ 56796 h 2929424"/>
                    <a:gd name="connsiteX11" fmla="*/ 340066 w 1469794"/>
                    <a:gd name="connsiteY11" fmla="*/ 719710 h 2929424"/>
                    <a:gd name="connsiteX12" fmla="*/ 247756 w 1469794"/>
                    <a:gd name="connsiteY12" fmla="*/ 904810 h 2929424"/>
                    <a:gd name="connsiteX13" fmla="*/ 100920 w 1469794"/>
                    <a:gd name="connsiteY13" fmla="*/ 1384059 h 2929424"/>
                    <a:gd name="connsiteX14" fmla="*/ 216667 w 1469794"/>
                    <a:gd name="connsiteY14" fmla="*/ 1458195 h 2929424"/>
                    <a:gd name="connsiteX15" fmla="*/ 216667 w 1469794"/>
                    <a:gd name="connsiteY15" fmla="*/ 1736561 h 2929424"/>
                    <a:gd name="connsiteX16" fmla="*/ 428072 w 1469794"/>
                    <a:gd name="connsiteY16" fmla="*/ 2664450 h 2929424"/>
                    <a:gd name="connsiteX17" fmla="*/ 428072 w 1469794"/>
                    <a:gd name="connsiteY17" fmla="*/ 2664450 h 2929424"/>
                    <a:gd name="connsiteX18" fmla="*/ 428072 w 1469794"/>
                    <a:gd name="connsiteY18" fmla="*/ 2664450 h 2929424"/>
                    <a:gd name="connsiteX19" fmla="*/ 428072 w 1469794"/>
                    <a:gd name="connsiteY19" fmla="*/ 2664450 h 2929424"/>
                    <a:gd name="connsiteX20" fmla="*/ 0 w 1469794"/>
                    <a:gd name="connsiteY20" fmla="*/ 2891161 h 2929424"/>
                    <a:gd name="connsiteX21" fmla="*/ 289846 w 1469794"/>
                    <a:gd name="connsiteY21" fmla="*/ 2926554 h 2929424"/>
                    <a:gd name="connsiteX22" fmla="*/ 329544 w 1469794"/>
                    <a:gd name="connsiteY22" fmla="*/ 2862463 h 2929424"/>
                    <a:gd name="connsiteX23" fmla="*/ 376895 w 1469794"/>
                    <a:gd name="connsiteY23" fmla="*/ 2929424 h 2929424"/>
                    <a:gd name="connsiteX24" fmla="*/ 428072 w 1469794"/>
                    <a:gd name="connsiteY24" fmla="*/ 2929424 h 2929424"/>
                    <a:gd name="connsiteX25" fmla="*/ 450552 w 1469794"/>
                    <a:gd name="connsiteY25" fmla="*/ 2818938 h 2929424"/>
                    <a:gd name="connsiteX26" fmla="*/ 537601 w 1469794"/>
                    <a:gd name="connsiteY26" fmla="*/ 2807459 h 2929424"/>
                    <a:gd name="connsiteX27" fmla="*/ 558646 w 1469794"/>
                    <a:gd name="connsiteY27" fmla="*/ 2928468 h 2929424"/>
                    <a:gd name="connsiteX28" fmla="*/ 609824 w 1469794"/>
                    <a:gd name="connsiteY28" fmla="*/ 2916989 h 2929424"/>
                    <a:gd name="connsiteX29" fmla="*/ 661958 w 1469794"/>
                    <a:gd name="connsiteY29" fmla="*/ 2843810 h 2929424"/>
                    <a:gd name="connsiteX30" fmla="*/ 699265 w 1469794"/>
                    <a:gd name="connsiteY30" fmla="*/ 2916989 h 2929424"/>
                    <a:gd name="connsiteX31" fmla="*/ 986719 w 1469794"/>
                    <a:gd name="connsiteY31" fmla="*/ 2883986 h 2929424"/>
                    <a:gd name="connsiteX32" fmla="*/ 557211 w 1469794"/>
                    <a:gd name="connsiteY32" fmla="*/ 2652014 h 2929424"/>
                    <a:gd name="connsiteX33" fmla="*/ 737528 w 1469794"/>
                    <a:gd name="connsiteY33" fmla="*/ 1695428 h 2929424"/>
                    <a:gd name="connsiteX34" fmla="*/ 760008 w 1469794"/>
                    <a:gd name="connsiteY34" fmla="*/ 1582073 h 2929424"/>
                    <a:gd name="connsiteX35" fmla="*/ 827447 w 1469794"/>
                    <a:gd name="connsiteY35" fmla="*/ 1591160 h 2929424"/>
                    <a:gd name="connsiteX36" fmla="*/ 864754 w 1469794"/>
                    <a:gd name="connsiteY36" fmla="*/ 1581594 h 2929424"/>
                    <a:gd name="connsiteX37" fmla="*/ 780096 w 1469794"/>
                    <a:gd name="connsiteY37" fmla="*/ 1524677 h 2929424"/>
                    <a:gd name="connsiteX38" fmla="*/ 832230 w 1469794"/>
                    <a:gd name="connsiteY38" fmla="*/ 1057385 h 2929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1469794" h="2929424">
                      <a:moveTo>
                        <a:pt x="832230" y="1057385"/>
                      </a:moveTo>
                      <a:lnTo>
                        <a:pt x="1258868" y="1297967"/>
                      </a:lnTo>
                      <a:lnTo>
                        <a:pt x="1345439" y="1345796"/>
                      </a:lnTo>
                      <a:lnTo>
                        <a:pt x="1428183" y="1369710"/>
                      </a:lnTo>
                      <a:lnTo>
                        <a:pt x="1469795" y="1357275"/>
                      </a:lnTo>
                      <a:lnTo>
                        <a:pt x="1459272" y="1302271"/>
                      </a:lnTo>
                      <a:lnTo>
                        <a:pt x="1404747" y="1253964"/>
                      </a:lnTo>
                      <a:lnTo>
                        <a:pt x="1348308" y="1204221"/>
                      </a:lnTo>
                      <a:lnTo>
                        <a:pt x="893930" y="887591"/>
                      </a:lnTo>
                      <a:lnTo>
                        <a:pt x="714570" y="747451"/>
                      </a:lnTo>
                      <a:cubicBezTo>
                        <a:pt x="769095" y="719710"/>
                        <a:pt x="991980" y="346642"/>
                        <a:pt x="691134" y="56796"/>
                      </a:cubicBezTo>
                      <a:cubicBezTo>
                        <a:pt x="331457" y="-192873"/>
                        <a:pt x="82745" y="445170"/>
                        <a:pt x="340066" y="719710"/>
                      </a:cubicBezTo>
                      <a:cubicBezTo>
                        <a:pt x="301325" y="811542"/>
                        <a:pt x="247756" y="904810"/>
                        <a:pt x="247756" y="904810"/>
                      </a:cubicBezTo>
                      <a:cubicBezTo>
                        <a:pt x="247756" y="904810"/>
                        <a:pt x="52612" y="1315663"/>
                        <a:pt x="100920" y="1384059"/>
                      </a:cubicBezTo>
                      <a:cubicBezTo>
                        <a:pt x="149227" y="1453412"/>
                        <a:pt x="216667" y="1458195"/>
                        <a:pt x="216667" y="1458195"/>
                      </a:cubicBezTo>
                      <a:lnTo>
                        <a:pt x="216667" y="1736561"/>
                      </a:lnTo>
                      <a:lnTo>
                        <a:pt x="428072" y="2664450"/>
                      </a:lnTo>
                      <a:lnTo>
                        <a:pt x="428072" y="2664450"/>
                      </a:lnTo>
                      <a:lnTo>
                        <a:pt x="428072" y="2664450"/>
                      </a:lnTo>
                      <a:lnTo>
                        <a:pt x="428072" y="2664450"/>
                      </a:lnTo>
                      <a:cubicBezTo>
                        <a:pt x="428072" y="2664450"/>
                        <a:pt x="64570" y="2811764"/>
                        <a:pt x="0" y="2891161"/>
                      </a:cubicBezTo>
                      <a:cubicBezTo>
                        <a:pt x="17219" y="2928946"/>
                        <a:pt x="153054" y="2931337"/>
                        <a:pt x="289846" y="2926554"/>
                      </a:cubicBezTo>
                      <a:lnTo>
                        <a:pt x="329544" y="2862463"/>
                      </a:lnTo>
                      <a:lnTo>
                        <a:pt x="376895" y="2929424"/>
                      </a:lnTo>
                      <a:lnTo>
                        <a:pt x="428072" y="2929424"/>
                      </a:lnTo>
                      <a:lnTo>
                        <a:pt x="450552" y="2818938"/>
                      </a:lnTo>
                      <a:lnTo>
                        <a:pt x="537601" y="2807459"/>
                      </a:lnTo>
                      <a:lnTo>
                        <a:pt x="558646" y="2928468"/>
                      </a:lnTo>
                      <a:lnTo>
                        <a:pt x="609824" y="2916989"/>
                      </a:lnTo>
                      <a:lnTo>
                        <a:pt x="661958" y="2843810"/>
                      </a:lnTo>
                      <a:lnTo>
                        <a:pt x="699265" y="2916989"/>
                      </a:lnTo>
                      <a:cubicBezTo>
                        <a:pt x="699265" y="2916989"/>
                        <a:pt x="953238" y="2928468"/>
                        <a:pt x="986719" y="2883986"/>
                      </a:cubicBezTo>
                      <a:cubicBezTo>
                        <a:pt x="1020199" y="2840940"/>
                        <a:pt x="557211" y="2652014"/>
                        <a:pt x="557211" y="2652014"/>
                      </a:cubicBezTo>
                      <a:lnTo>
                        <a:pt x="737528" y="1695428"/>
                      </a:lnTo>
                      <a:lnTo>
                        <a:pt x="760008" y="1582073"/>
                      </a:lnTo>
                      <a:lnTo>
                        <a:pt x="827447" y="1591160"/>
                      </a:lnTo>
                      <a:lnTo>
                        <a:pt x="864754" y="1581594"/>
                      </a:lnTo>
                      <a:lnTo>
                        <a:pt x="780096" y="1524677"/>
                      </a:lnTo>
                      <a:lnTo>
                        <a:pt x="832230" y="105738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59" name="Freeform: Shape 458">
                  <a:extLst>
                    <a:ext uri="{FF2B5EF4-FFF2-40B4-BE49-F238E27FC236}">
                      <a16:creationId xmlns:a16="http://schemas.microsoft.com/office/drawing/2014/main" id="{EEB0A103-3834-F50A-3D2D-EDCD9B5968BF}"/>
                    </a:ext>
                  </a:extLst>
                </p:cNvPr>
                <p:cNvSpPr/>
                <p:nvPr/>
              </p:nvSpPr>
              <p:spPr>
                <a:xfrm>
                  <a:off x="4190977" y="5632187"/>
                  <a:ext cx="205347" cy="403640"/>
                </a:xfrm>
                <a:custGeom>
                  <a:avLst/>
                  <a:gdLst>
                    <a:gd name="connsiteX0" fmla="*/ 0 w 515121"/>
                    <a:gd name="connsiteY0" fmla="*/ 0 h 1012546"/>
                    <a:gd name="connsiteX1" fmla="*/ 0 w 515121"/>
                    <a:gd name="connsiteY1" fmla="*/ 0 h 1012546"/>
                    <a:gd name="connsiteX2" fmla="*/ 226233 w 515121"/>
                    <a:gd name="connsiteY2" fmla="*/ 991023 h 1012546"/>
                    <a:gd name="connsiteX3" fmla="*/ 233885 w 515121"/>
                    <a:gd name="connsiteY3" fmla="*/ 1012547 h 1012546"/>
                    <a:gd name="connsiteX4" fmla="*/ 323326 w 515121"/>
                    <a:gd name="connsiteY4" fmla="*/ 1006329 h 1012546"/>
                    <a:gd name="connsiteX5" fmla="*/ 515122 w 515121"/>
                    <a:gd name="connsiteY5" fmla="*/ 59787 h 1012546"/>
                    <a:gd name="connsiteX6" fmla="*/ 487859 w 515121"/>
                    <a:gd name="connsiteY6" fmla="*/ 40655 h 1012546"/>
                    <a:gd name="connsiteX7" fmla="*/ 0 w 515121"/>
                    <a:gd name="connsiteY7" fmla="*/ 0 h 1012546"/>
                    <a:gd name="connsiteX8" fmla="*/ 0 w 515121"/>
                    <a:gd name="connsiteY8" fmla="*/ 0 h 101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15121" h="101254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26233" y="991023"/>
                      </a:lnTo>
                      <a:lnTo>
                        <a:pt x="233885" y="1012547"/>
                      </a:lnTo>
                      <a:lnTo>
                        <a:pt x="323326" y="1006329"/>
                      </a:lnTo>
                      <a:lnTo>
                        <a:pt x="515122" y="59787"/>
                      </a:lnTo>
                      <a:cubicBezTo>
                        <a:pt x="515122" y="59787"/>
                        <a:pt x="500295" y="42090"/>
                        <a:pt x="487859" y="40655"/>
                      </a:cubicBezTo>
                      <a:cubicBezTo>
                        <a:pt x="475423" y="37785"/>
                        <a:pt x="0" y="0"/>
                        <a:pt x="0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ACCCF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0" name="Freeform: Shape 459">
                  <a:extLst>
                    <a:ext uri="{FF2B5EF4-FFF2-40B4-BE49-F238E27FC236}">
                      <a16:creationId xmlns:a16="http://schemas.microsoft.com/office/drawing/2014/main" id="{55C2AC63-B9A3-D8FE-EE5D-FED468B256C0}"/>
                    </a:ext>
                  </a:extLst>
                </p:cNvPr>
                <p:cNvSpPr/>
                <p:nvPr/>
              </p:nvSpPr>
              <p:spPr>
                <a:xfrm>
                  <a:off x="4141594" y="5241130"/>
                  <a:ext cx="308001" cy="332764"/>
                </a:xfrm>
                <a:custGeom>
                  <a:avLst/>
                  <a:gdLst>
                    <a:gd name="connsiteX0" fmla="*/ 228624 w 772631"/>
                    <a:gd name="connsiteY0" fmla="*/ 0 h 834750"/>
                    <a:gd name="connsiteX1" fmla="*/ 228624 w 772631"/>
                    <a:gd name="connsiteY1" fmla="*/ 0 h 834750"/>
                    <a:gd name="connsiteX2" fmla="*/ 208536 w 772631"/>
                    <a:gd name="connsiteY2" fmla="*/ 49264 h 834750"/>
                    <a:gd name="connsiteX3" fmla="*/ 182230 w 772631"/>
                    <a:gd name="connsiteY3" fmla="*/ 96137 h 834750"/>
                    <a:gd name="connsiteX4" fmla="*/ 158793 w 772631"/>
                    <a:gd name="connsiteY4" fmla="*/ 143010 h 834750"/>
                    <a:gd name="connsiteX5" fmla="*/ 137748 w 772631"/>
                    <a:gd name="connsiteY5" fmla="*/ 192274 h 834750"/>
                    <a:gd name="connsiteX6" fmla="*/ 116703 w 772631"/>
                    <a:gd name="connsiteY6" fmla="*/ 240103 h 834750"/>
                    <a:gd name="connsiteX7" fmla="*/ 98050 w 772631"/>
                    <a:gd name="connsiteY7" fmla="*/ 289367 h 834750"/>
                    <a:gd name="connsiteX8" fmla="*/ 77005 w 772631"/>
                    <a:gd name="connsiteY8" fmla="*/ 338631 h 834750"/>
                    <a:gd name="connsiteX9" fmla="*/ 56917 w 772631"/>
                    <a:gd name="connsiteY9" fmla="*/ 387896 h 834750"/>
                    <a:gd name="connsiteX10" fmla="*/ 39698 w 772631"/>
                    <a:gd name="connsiteY10" fmla="*/ 438117 h 834750"/>
                    <a:gd name="connsiteX11" fmla="*/ 23436 w 772631"/>
                    <a:gd name="connsiteY11" fmla="*/ 488337 h 834750"/>
                    <a:gd name="connsiteX12" fmla="*/ 11001 w 772631"/>
                    <a:gd name="connsiteY12" fmla="*/ 539993 h 834750"/>
                    <a:gd name="connsiteX13" fmla="*/ 0 w 772631"/>
                    <a:gd name="connsiteY13" fmla="*/ 591649 h 834750"/>
                    <a:gd name="connsiteX14" fmla="*/ 16262 w 772631"/>
                    <a:gd name="connsiteY14" fmla="*/ 643304 h 834750"/>
                    <a:gd name="connsiteX15" fmla="*/ 61221 w 772631"/>
                    <a:gd name="connsiteY15" fmla="*/ 669610 h 834750"/>
                    <a:gd name="connsiteX16" fmla="*/ 107138 w 772631"/>
                    <a:gd name="connsiteY16" fmla="*/ 695916 h 834750"/>
                    <a:gd name="connsiteX17" fmla="*/ 158315 w 772631"/>
                    <a:gd name="connsiteY17" fmla="*/ 709787 h 834750"/>
                    <a:gd name="connsiteX18" fmla="*/ 205666 w 772631"/>
                    <a:gd name="connsiteY18" fmla="*/ 733702 h 834750"/>
                    <a:gd name="connsiteX19" fmla="*/ 257800 w 772631"/>
                    <a:gd name="connsiteY19" fmla="*/ 742311 h 834750"/>
                    <a:gd name="connsiteX20" fmla="*/ 306108 w 772631"/>
                    <a:gd name="connsiteY20" fmla="*/ 763834 h 834750"/>
                    <a:gd name="connsiteX21" fmla="*/ 358241 w 772631"/>
                    <a:gd name="connsiteY21" fmla="*/ 772443 h 834750"/>
                    <a:gd name="connsiteX22" fmla="*/ 407984 w 772631"/>
                    <a:gd name="connsiteY22" fmla="*/ 787749 h 834750"/>
                    <a:gd name="connsiteX23" fmla="*/ 460118 w 772631"/>
                    <a:gd name="connsiteY23" fmla="*/ 797793 h 834750"/>
                    <a:gd name="connsiteX24" fmla="*/ 511295 w 772631"/>
                    <a:gd name="connsiteY24" fmla="*/ 811663 h 834750"/>
                    <a:gd name="connsiteX25" fmla="*/ 562473 w 772631"/>
                    <a:gd name="connsiteY25" fmla="*/ 823142 h 834750"/>
                    <a:gd name="connsiteX26" fmla="*/ 614607 w 772631"/>
                    <a:gd name="connsiteY26" fmla="*/ 830795 h 834750"/>
                    <a:gd name="connsiteX27" fmla="*/ 668176 w 772631"/>
                    <a:gd name="connsiteY27" fmla="*/ 832230 h 834750"/>
                    <a:gd name="connsiteX28" fmla="*/ 720310 w 772631"/>
                    <a:gd name="connsiteY28" fmla="*/ 834622 h 834750"/>
                    <a:gd name="connsiteX29" fmla="*/ 770052 w 772631"/>
                    <a:gd name="connsiteY29" fmla="*/ 829360 h 834750"/>
                    <a:gd name="connsiteX30" fmla="*/ 736571 w 772631"/>
                    <a:gd name="connsiteY30" fmla="*/ 793010 h 834750"/>
                    <a:gd name="connsiteX31" fmla="*/ 688264 w 772631"/>
                    <a:gd name="connsiteY31" fmla="*/ 767660 h 834750"/>
                    <a:gd name="connsiteX32" fmla="*/ 637086 w 772631"/>
                    <a:gd name="connsiteY32" fmla="*/ 746137 h 834750"/>
                    <a:gd name="connsiteX33" fmla="*/ 587344 w 772631"/>
                    <a:gd name="connsiteY33" fmla="*/ 722223 h 834750"/>
                    <a:gd name="connsiteX34" fmla="*/ 536167 w 772631"/>
                    <a:gd name="connsiteY34" fmla="*/ 699743 h 834750"/>
                    <a:gd name="connsiteX35" fmla="*/ 484033 w 772631"/>
                    <a:gd name="connsiteY35" fmla="*/ 683481 h 834750"/>
                    <a:gd name="connsiteX36" fmla="*/ 431899 w 772631"/>
                    <a:gd name="connsiteY36" fmla="*/ 665784 h 834750"/>
                    <a:gd name="connsiteX37" fmla="*/ 379765 w 772631"/>
                    <a:gd name="connsiteY37" fmla="*/ 648087 h 834750"/>
                    <a:gd name="connsiteX38" fmla="*/ 327631 w 772631"/>
                    <a:gd name="connsiteY38" fmla="*/ 628955 h 834750"/>
                    <a:gd name="connsiteX39" fmla="*/ 275497 w 772631"/>
                    <a:gd name="connsiteY39" fmla="*/ 609824 h 834750"/>
                    <a:gd name="connsiteX40" fmla="*/ 224319 w 772631"/>
                    <a:gd name="connsiteY40" fmla="*/ 589735 h 834750"/>
                    <a:gd name="connsiteX41" fmla="*/ 173142 w 772631"/>
                    <a:gd name="connsiteY41" fmla="*/ 574430 h 834750"/>
                    <a:gd name="connsiteX42" fmla="*/ 193230 w 772631"/>
                    <a:gd name="connsiteY42" fmla="*/ 525166 h 834750"/>
                    <a:gd name="connsiteX43" fmla="*/ 211884 w 772631"/>
                    <a:gd name="connsiteY43" fmla="*/ 474945 h 834750"/>
                    <a:gd name="connsiteX44" fmla="*/ 226711 w 772631"/>
                    <a:gd name="connsiteY44" fmla="*/ 423289 h 834750"/>
                    <a:gd name="connsiteX45" fmla="*/ 242973 w 772631"/>
                    <a:gd name="connsiteY45" fmla="*/ 371634 h 834750"/>
                    <a:gd name="connsiteX46" fmla="*/ 267844 w 772631"/>
                    <a:gd name="connsiteY46" fmla="*/ 323804 h 834750"/>
                    <a:gd name="connsiteX47" fmla="*/ 280280 w 772631"/>
                    <a:gd name="connsiteY47" fmla="*/ 270714 h 834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772631" h="834750">
                      <a:moveTo>
                        <a:pt x="228624" y="0"/>
                      </a:moveTo>
                      <a:lnTo>
                        <a:pt x="228624" y="0"/>
                      </a:lnTo>
                      <a:cubicBezTo>
                        <a:pt x="220971" y="12436"/>
                        <a:pt x="217623" y="31567"/>
                        <a:pt x="208536" y="49264"/>
                      </a:cubicBezTo>
                      <a:cubicBezTo>
                        <a:pt x="200883" y="63135"/>
                        <a:pt x="191317" y="78440"/>
                        <a:pt x="182230" y="96137"/>
                      </a:cubicBezTo>
                      <a:cubicBezTo>
                        <a:pt x="174577" y="111442"/>
                        <a:pt x="167403" y="126269"/>
                        <a:pt x="158793" y="143010"/>
                      </a:cubicBezTo>
                      <a:cubicBezTo>
                        <a:pt x="151141" y="158315"/>
                        <a:pt x="144923" y="176012"/>
                        <a:pt x="137748" y="192274"/>
                      </a:cubicBezTo>
                      <a:cubicBezTo>
                        <a:pt x="130096" y="207579"/>
                        <a:pt x="122921" y="223841"/>
                        <a:pt x="116703" y="240103"/>
                      </a:cubicBezTo>
                      <a:cubicBezTo>
                        <a:pt x="109051" y="256365"/>
                        <a:pt x="104268" y="273105"/>
                        <a:pt x="98050" y="289367"/>
                      </a:cubicBezTo>
                      <a:cubicBezTo>
                        <a:pt x="90397" y="305629"/>
                        <a:pt x="83223" y="322370"/>
                        <a:pt x="77005" y="338631"/>
                      </a:cubicBezTo>
                      <a:cubicBezTo>
                        <a:pt x="69352" y="354893"/>
                        <a:pt x="63135" y="371634"/>
                        <a:pt x="56917" y="387896"/>
                      </a:cubicBezTo>
                      <a:cubicBezTo>
                        <a:pt x="50699" y="405593"/>
                        <a:pt x="44481" y="421855"/>
                        <a:pt x="39698" y="438117"/>
                      </a:cubicBezTo>
                      <a:cubicBezTo>
                        <a:pt x="33480" y="455813"/>
                        <a:pt x="27263" y="472075"/>
                        <a:pt x="23436" y="488337"/>
                      </a:cubicBezTo>
                      <a:cubicBezTo>
                        <a:pt x="18653" y="506034"/>
                        <a:pt x="13392" y="523731"/>
                        <a:pt x="11001" y="539993"/>
                      </a:cubicBezTo>
                      <a:cubicBezTo>
                        <a:pt x="6218" y="559125"/>
                        <a:pt x="957" y="576343"/>
                        <a:pt x="0" y="591649"/>
                      </a:cubicBezTo>
                      <a:cubicBezTo>
                        <a:pt x="0" y="614128"/>
                        <a:pt x="6218" y="631825"/>
                        <a:pt x="16262" y="643304"/>
                      </a:cubicBezTo>
                      <a:cubicBezTo>
                        <a:pt x="24871" y="651913"/>
                        <a:pt x="41133" y="658610"/>
                        <a:pt x="61221" y="669610"/>
                      </a:cubicBezTo>
                      <a:cubicBezTo>
                        <a:pt x="75092" y="675828"/>
                        <a:pt x="88484" y="688742"/>
                        <a:pt x="107138" y="695916"/>
                      </a:cubicBezTo>
                      <a:cubicBezTo>
                        <a:pt x="121965" y="702134"/>
                        <a:pt x="139662" y="703569"/>
                        <a:pt x="158315" y="709787"/>
                      </a:cubicBezTo>
                      <a:cubicBezTo>
                        <a:pt x="173142" y="716005"/>
                        <a:pt x="187969" y="728919"/>
                        <a:pt x="205666" y="733702"/>
                      </a:cubicBezTo>
                      <a:cubicBezTo>
                        <a:pt x="221928" y="738963"/>
                        <a:pt x="240581" y="737528"/>
                        <a:pt x="257800" y="742311"/>
                      </a:cubicBezTo>
                      <a:cubicBezTo>
                        <a:pt x="274062" y="747572"/>
                        <a:pt x="288889" y="758573"/>
                        <a:pt x="306108" y="763834"/>
                      </a:cubicBezTo>
                      <a:cubicBezTo>
                        <a:pt x="322369" y="767660"/>
                        <a:pt x="341023" y="769095"/>
                        <a:pt x="358241" y="772443"/>
                      </a:cubicBezTo>
                      <a:cubicBezTo>
                        <a:pt x="374503" y="777705"/>
                        <a:pt x="390765" y="783922"/>
                        <a:pt x="407984" y="787749"/>
                      </a:cubicBezTo>
                      <a:cubicBezTo>
                        <a:pt x="425203" y="793010"/>
                        <a:pt x="442899" y="793966"/>
                        <a:pt x="460118" y="797793"/>
                      </a:cubicBezTo>
                      <a:cubicBezTo>
                        <a:pt x="477337" y="801619"/>
                        <a:pt x="493598" y="809272"/>
                        <a:pt x="511295" y="811663"/>
                      </a:cubicBezTo>
                      <a:cubicBezTo>
                        <a:pt x="528514" y="815490"/>
                        <a:pt x="546211" y="820273"/>
                        <a:pt x="562473" y="823142"/>
                      </a:cubicBezTo>
                      <a:cubicBezTo>
                        <a:pt x="581126" y="825534"/>
                        <a:pt x="598345" y="828404"/>
                        <a:pt x="614607" y="830795"/>
                      </a:cubicBezTo>
                      <a:cubicBezTo>
                        <a:pt x="633260" y="833187"/>
                        <a:pt x="651914" y="830795"/>
                        <a:pt x="668176" y="832230"/>
                      </a:cubicBezTo>
                      <a:cubicBezTo>
                        <a:pt x="686829" y="834622"/>
                        <a:pt x="704048" y="834622"/>
                        <a:pt x="720310" y="834622"/>
                      </a:cubicBezTo>
                      <a:cubicBezTo>
                        <a:pt x="746616" y="834622"/>
                        <a:pt x="763834" y="836056"/>
                        <a:pt x="770052" y="829360"/>
                      </a:cubicBezTo>
                      <a:cubicBezTo>
                        <a:pt x="778661" y="821708"/>
                        <a:pt x="765269" y="809272"/>
                        <a:pt x="736571" y="793010"/>
                      </a:cubicBezTo>
                      <a:cubicBezTo>
                        <a:pt x="722701" y="785357"/>
                        <a:pt x="706917" y="776748"/>
                        <a:pt x="688264" y="767660"/>
                      </a:cubicBezTo>
                      <a:cubicBezTo>
                        <a:pt x="672002" y="760008"/>
                        <a:pt x="655740" y="753790"/>
                        <a:pt x="637086" y="746137"/>
                      </a:cubicBezTo>
                      <a:cubicBezTo>
                        <a:pt x="620824" y="738485"/>
                        <a:pt x="604562" y="729875"/>
                        <a:pt x="587344" y="722223"/>
                      </a:cubicBezTo>
                      <a:cubicBezTo>
                        <a:pt x="570125" y="716005"/>
                        <a:pt x="553863" y="705961"/>
                        <a:pt x="536167" y="699743"/>
                      </a:cubicBezTo>
                      <a:cubicBezTo>
                        <a:pt x="519905" y="693525"/>
                        <a:pt x="501251" y="689699"/>
                        <a:pt x="484033" y="683481"/>
                      </a:cubicBezTo>
                      <a:cubicBezTo>
                        <a:pt x="466814" y="677263"/>
                        <a:pt x="449117" y="672002"/>
                        <a:pt x="431899" y="665784"/>
                      </a:cubicBezTo>
                      <a:cubicBezTo>
                        <a:pt x="414680" y="659566"/>
                        <a:pt x="396983" y="654305"/>
                        <a:pt x="379765" y="648087"/>
                      </a:cubicBezTo>
                      <a:cubicBezTo>
                        <a:pt x="361111" y="641869"/>
                        <a:pt x="344849" y="635652"/>
                        <a:pt x="327631" y="628955"/>
                      </a:cubicBezTo>
                      <a:cubicBezTo>
                        <a:pt x="308977" y="622738"/>
                        <a:pt x="291759" y="615085"/>
                        <a:pt x="275497" y="609824"/>
                      </a:cubicBezTo>
                      <a:cubicBezTo>
                        <a:pt x="256843" y="603606"/>
                        <a:pt x="239625" y="594518"/>
                        <a:pt x="224319" y="589735"/>
                      </a:cubicBezTo>
                      <a:cubicBezTo>
                        <a:pt x="191795" y="578256"/>
                        <a:pt x="173142" y="603606"/>
                        <a:pt x="173142" y="574430"/>
                      </a:cubicBezTo>
                      <a:cubicBezTo>
                        <a:pt x="171707" y="548124"/>
                        <a:pt x="183186" y="550515"/>
                        <a:pt x="193230" y="525166"/>
                      </a:cubicBezTo>
                      <a:cubicBezTo>
                        <a:pt x="201840" y="499816"/>
                        <a:pt x="201840" y="499816"/>
                        <a:pt x="211884" y="474945"/>
                      </a:cubicBezTo>
                      <a:cubicBezTo>
                        <a:pt x="220493" y="449596"/>
                        <a:pt x="218102" y="448639"/>
                        <a:pt x="226711" y="423289"/>
                      </a:cubicBezTo>
                      <a:cubicBezTo>
                        <a:pt x="236755" y="397940"/>
                        <a:pt x="232929" y="396983"/>
                        <a:pt x="242973" y="371634"/>
                      </a:cubicBezTo>
                      <a:cubicBezTo>
                        <a:pt x="251582" y="346284"/>
                        <a:pt x="259235" y="349154"/>
                        <a:pt x="267844" y="323804"/>
                      </a:cubicBezTo>
                      <a:cubicBezTo>
                        <a:pt x="277888" y="298455"/>
                        <a:pt x="271671" y="296063"/>
                        <a:pt x="280280" y="27071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1" name="Freeform: Shape 460">
                  <a:extLst>
                    <a:ext uri="{FF2B5EF4-FFF2-40B4-BE49-F238E27FC236}">
                      <a16:creationId xmlns:a16="http://schemas.microsoft.com/office/drawing/2014/main" id="{D3B53821-0BF1-50DA-DC79-895ADBD502F0}"/>
                    </a:ext>
                  </a:extLst>
                </p:cNvPr>
                <p:cNvSpPr/>
                <p:nvPr/>
              </p:nvSpPr>
              <p:spPr>
                <a:xfrm>
                  <a:off x="4187433" y="5520456"/>
                  <a:ext cx="208161" cy="516905"/>
                </a:xfrm>
                <a:custGeom>
                  <a:avLst/>
                  <a:gdLst>
                    <a:gd name="connsiteX0" fmla="*/ 11282 w 522179"/>
                    <a:gd name="connsiteY0" fmla="*/ 277888 h 1296673"/>
                    <a:gd name="connsiteX1" fmla="*/ 11282 w 522179"/>
                    <a:gd name="connsiteY1" fmla="*/ 277888 h 1296673"/>
                    <a:gd name="connsiteX2" fmla="*/ 19891 w 522179"/>
                    <a:gd name="connsiteY2" fmla="*/ 331935 h 1296673"/>
                    <a:gd name="connsiteX3" fmla="*/ 36153 w 522179"/>
                    <a:gd name="connsiteY3" fmla="*/ 383591 h 1296673"/>
                    <a:gd name="connsiteX4" fmla="*/ 46198 w 522179"/>
                    <a:gd name="connsiteY4" fmla="*/ 437638 h 1296673"/>
                    <a:gd name="connsiteX5" fmla="*/ 57198 w 522179"/>
                    <a:gd name="connsiteY5" fmla="*/ 490729 h 1296673"/>
                    <a:gd name="connsiteX6" fmla="*/ 68199 w 522179"/>
                    <a:gd name="connsiteY6" fmla="*/ 544776 h 1296673"/>
                    <a:gd name="connsiteX7" fmla="*/ 82069 w 522179"/>
                    <a:gd name="connsiteY7" fmla="*/ 596431 h 1296673"/>
                    <a:gd name="connsiteX8" fmla="*/ 89722 w 522179"/>
                    <a:gd name="connsiteY8" fmla="*/ 650479 h 1296673"/>
                    <a:gd name="connsiteX9" fmla="*/ 102158 w 522179"/>
                    <a:gd name="connsiteY9" fmla="*/ 704526 h 1296673"/>
                    <a:gd name="connsiteX10" fmla="*/ 120811 w 522179"/>
                    <a:gd name="connsiteY10" fmla="*/ 756181 h 1296673"/>
                    <a:gd name="connsiteX11" fmla="*/ 133247 w 522179"/>
                    <a:gd name="connsiteY11" fmla="*/ 809272 h 1296673"/>
                    <a:gd name="connsiteX12" fmla="*/ 145683 w 522179"/>
                    <a:gd name="connsiteY12" fmla="*/ 862362 h 1296673"/>
                    <a:gd name="connsiteX13" fmla="*/ 154292 w 522179"/>
                    <a:gd name="connsiteY13" fmla="*/ 916409 h 1296673"/>
                    <a:gd name="connsiteX14" fmla="*/ 166727 w 522179"/>
                    <a:gd name="connsiteY14" fmla="*/ 969500 h 1296673"/>
                    <a:gd name="connsiteX15" fmla="*/ 179163 w 522179"/>
                    <a:gd name="connsiteY15" fmla="*/ 1022591 h 1296673"/>
                    <a:gd name="connsiteX16" fmla="*/ 189207 w 522179"/>
                    <a:gd name="connsiteY16" fmla="*/ 1076638 h 1296673"/>
                    <a:gd name="connsiteX17" fmla="*/ 205469 w 522179"/>
                    <a:gd name="connsiteY17" fmla="*/ 1128293 h 1296673"/>
                    <a:gd name="connsiteX18" fmla="*/ 214078 w 522179"/>
                    <a:gd name="connsiteY18" fmla="*/ 1182340 h 1296673"/>
                    <a:gd name="connsiteX19" fmla="*/ 230340 w 522179"/>
                    <a:gd name="connsiteY19" fmla="*/ 1235431 h 1296673"/>
                    <a:gd name="connsiteX20" fmla="*/ 240385 w 522179"/>
                    <a:gd name="connsiteY20" fmla="*/ 1289478 h 1296673"/>
                    <a:gd name="connsiteX21" fmla="*/ 285344 w 522179"/>
                    <a:gd name="connsiteY21" fmla="*/ 1290913 h 1296673"/>
                    <a:gd name="connsiteX22" fmla="*/ 328869 w 522179"/>
                    <a:gd name="connsiteY22" fmla="*/ 1287087 h 1296673"/>
                    <a:gd name="connsiteX23" fmla="*/ 337478 w 522179"/>
                    <a:gd name="connsiteY23" fmla="*/ 1235431 h 1296673"/>
                    <a:gd name="connsiteX24" fmla="*/ 349914 w 522179"/>
                    <a:gd name="connsiteY24" fmla="*/ 1182340 h 1296673"/>
                    <a:gd name="connsiteX25" fmla="*/ 359958 w 522179"/>
                    <a:gd name="connsiteY25" fmla="*/ 1128293 h 1296673"/>
                    <a:gd name="connsiteX26" fmla="*/ 370002 w 522179"/>
                    <a:gd name="connsiteY26" fmla="*/ 1075203 h 1296673"/>
                    <a:gd name="connsiteX27" fmla="*/ 384829 w 522179"/>
                    <a:gd name="connsiteY27" fmla="*/ 1022112 h 1296673"/>
                    <a:gd name="connsiteX28" fmla="*/ 397265 w 522179"/>
                    <a:gd name="connsiteY28" fmla="*/ 969022 h 1296673"/>
                    <a:gd name="connsiteX29" fmla="*/ 405874 w 522179"/>
                    <a:gd name="connsiteY29" fmla="*/ 915931 h 1296673"/>
                    <a:gd name="connsiteX30" fmla="*/ 416875 w 522179"/>
                    <a:gd name="connsiteY30" fmla="*/ 862841 h 1296673"/>
                    <a:gd name="connsiteX31" fmla="*/ 427875 w 522179"/>
                    <a:gd name="connsiteY31" fmla="*/ 808794 h 1296673"/>
                    <a:gd name="connsiteX32" fmla="*/ 435528 w 522179"/>
                    <a:gd name="connsiteY32" fmla="*/ 754747 h 1296673"/>
                    <a:gd name="connsiteX33" fmla="*/ 446529 w 522179"/>
                    <a:gd name="connsiteY33" fmla="*/ 701656 h 1296673"/>
                    <a:gd name="connsiteX34" fmla="*/ 455138 w 522179"/>
                    <a:gd name="connsiteY34" fmla="*/ 648565 h 1296673"/>
                    <a:gd name="connsiteX35" fmla="*/ 465182 w 522179"/>
                    <a:gd name="connsiteY35" fmla="*/ 594518 h 1296673"/>
                    <a:gd name="connsiteX36" fmla="*/ 479053 w 522179"/>
                    <a:gd name="connsiteY36" fmla="*/ 541428 h 1296673"/>
                    <a:gd name="connsiteX37" fmla="*/ 489097 w 522179"/>
                    <a:gd name="connsiteY37" fmla="*/ 488337 h 1296673"/>
                    <a:gd name="connsiteX38" fmla="*/ 499141 w 522179"/>
                    <a:gd name="connsiteY38" fmla="*/ 434290 h 1296673"/>
                    <a:gd name="connsiteX39" fmla="*/ 505359 w 522179"/>
                    <a:gd name="connsiteY39" fmla="*/ 380243 h 1296673"/>
                    <a:gd name="connsiteX40" fmla="*/ 516360 w 522179"/>
                    <a:gd name="connsiteY40" fmla="*/ 330022 h 1296673"/>
                    <a:gd name="connsiteX41" fmla="*/ 462791 w 522179"/>
                    <a:gd name="connsiteY41" fmla="*/ 322370 h 1296673"/>
                    <a:gd name="connsiteX42" fmla="*/ 405396 w 522179"/>
                    <a:gd name="connsiteY42" fmla="*/ 314717 h 1296673"/>
                    <a:gd name="connsiteX43" fmla="*/ 348001 w 522179"/>
                    <a:gd name="connsiteY43" fmla="*/ 313282 h 1296673"/>
                    <a:gd name="connsiteX44" fmla="*/ 292040 w 522179"/>
                    <a:gd name="connsiteY44" fmla="*/ 308021 h 1296673"/>
                    <a:gd name="connsiteX45" fmla="*/ 236080 w 522179"/>
                    <a:gd name="connsiteY45" fmla="*/ 297976 h 1296673"/>
                    <a:gd name="connsiteX46" fmla="*/ 178685 w 522179"/>
                    <a:gd name="connsiteY46" fmla="*/ 294150 h 1296673"/>
                    <a:gd name="connsiteX47" fmla="*/ 121290 w 522179"/>
                    <a:gd name="connsiteY47" fmla="*/ 292715 h 1296673"/>
                    <a:gd name="connsiteX48" fmla="*/ 65329 w 522179"/>
                    <a:gd name="connsiteY48" fmla="*/ 282671 h 1296673"/>
                    <a:gd name="connsiteX49" fmla="*/ 7934 w 522179"/>
                    <a:gd name="connsiteY49" fmla="*/ 277410 h 1296673"/>
                    <a:gd name="connsiteX50" fmla="*/ 9369 w 522179"/>
                    <a:gd name="connsiteY50" fmla="*/ 221928 h 1296673"/>
                    <a:gd name="connsiteX51" fmla="*/ 7934 w 522179"/>
                    <a:gd name="connsiteY51" fmla="*/ 166446 h 1296673"/>
                    <a:gd name="connsiteX52" fmla="*/ 9369 w 522179"/>
                    <a:gd name="connsiteY52" fmla="*/ 110964 h 1296673"/>
                    <a:gd name="connsiteX53" fmla="*/ 9369 w 522179"/>
                    <a:gd name="connsiteY53" fmla="*/ 55482 h 1296673"/>
                    <a:gd name="connsiteX54" fmla="*/ 9369 w 522179"/>
                    <a:gd name="connsiteY54" fmla="*/ 0 h 1296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522179" h="1296673">
                      <a:moveTo>
                        <a:pt x="11282" y="277888"/>
                      </a:moveTo>
                      <a:lnTo>
                        <a:pt x="11282" y="277888"/>
                      </a:lnTo>
                      <a:cubicBezTo>
                        <a:pt x="17500" y="304194"/>
                        <a:pt x="15109" y="305629"/>
                        <a:pt x="19891" y="331935"/>
                      </a:cubicBezTo>
                      <a:cubicBezTo>
                        <a:pt x="26109" y="358242"/>
                        <a:pt x="29936" y="357285"/>
                        <a:pt x="36153" y="383591"/>
                      </a:cubicBezTo>
                      <a:cubicBezTo>
                        <a:pt x="42371" y="409897"/>
                        <a:pt x="39980" y="411332"/>
                        <a:pt x="46198" y="437638"/>
                      </a:cubicBezTo>
                      <a:cubicBezTo>
                        <a:pt x="52415" y="463944"/>
                        <a:pt x="50981" y="463944"/>
                        <a:pt x="57198" y="490729"/>
                      </a:cubicBezTo>
                      <a:cubicBezTo>
                        <a:pt x="63416" y="517035"/>
                        <a:pt x="61981" y="518470"/>
                        <a:pt x="68199" y="544776"/>
                      </a:cubicBezTo>
                      <a:cubicBezTo>
                        <a:pt x="72982" y="571082"/>
                        <a:pt x="75852" y="570125"/>
                        <a:pt x="82069" y="596431"/>
                      </a:cubicBezTo>
                      <a:cubicBezTo>
                        <a:pt x="88287" y="622738"/>
                        <a:pt x="83504" y="624173"/>
                        <a:pt x="89722" y="650479"/>
                      </a:cubicBezTo>
                      <a:cubicBezTo>
                        <a:pt x="95940" y="676785"/>
                        <a:pt x="95940" y="676785"/>
                        <a:pt x="102158" y="704526"/>
                      </a:cubicBezTo>
                      <a:cubicBezTo>
                        <a:pt x="108376" y="730832"/>
                        <a:pt x="114593" y="729875"/>
                        <a:pt x="120811" y="756181"/>
                      </a:cubicBezTo>
                      <a:cubicBezTo>
                        <a:pt x="127029" y="782487"/>
                        <a:pt x="127029" y="782487"/>
                        <a:pt x="133247" y="809272"/>
                      </a:cubicBezTo>
                      <a:cubicBezTo>
                        <a:pt x="139465" y="835578"/>
                        <a:pt x="139465" y="835578"/>
                        <a:pt x="145683" y="862362"/>
                      </a:cubicBezTo>
                      <a:cubicBezTo>
                        <a:pt x="151900" y="888669"/>
                        <a:pt x="148074" y="890103"/>
                        <a:pt x="154292" y="916409"/>
                      </a:cubicBezTo>
                      <a:cubicBezTo>
                        <a:pt x="160510" y="942716"/>
                        <a:pt x="160510" y="942716"/>
                        <a:pt x="166727" y="969500"/>
                      </a:cubicBezTo>
                      <a:cubicBezTo>
                        <a:pt x="172945" y="995806"/>
                        <a:pt x="172945" y="995806"/>
                        <a:pt x="179163" y="1022591"/>
                      </a:cubicBezTo>
                      <a:cubicBezTo>
                        <a:pt x="185381" y="1048897"/>
                        <a:pt x="182989" y="1050332"/>
                        <a:pt x="189207" y="1076638"/>
                      </a:cubicBezTo>
                      <a:cubicBezTo>
                        <a:pt x="195425" y="1102944"/>
                        <a:pt x="199251" y="1101987"/>
                        <a:pt x="205469" y="1128293"/>
                      </a:cubicBezTo>
                      <a:cubicBezTo>
                        <a:pt x="211687" y="1154599"/>
                        <a:pt x="207861" y="1156034"/>
                        <a:pt x="214078" y="1182340"/>
                      </a:cubicBezTo>
                      <a:cubicBezTo>
                        <a:pt x="220296" y="1208647"/>
                        <a:pt x="224123" y="1208647"/>
                        <a:pt x="230340" y="1235431"/>
                      </a:cubicBezTo>
                      <a:cubicBezTo>
                        <a:pt x="236558" y="1261737"/>
                        <a:pt x="220296" y="1270825"/>
                        <a:pt x="240385" y="1289478"/>
                      </a:cubicBezTo>
                      <a:cubicBezTo>
                        <a:pt x="256647" y="1304784"/>
                        <a:pt x="262864" y="1290913"/>
                        <a:pt x="285344" y="1290913"/>
                      </a:cubicBezTo>
                      <a:cubicBezTo>
                        <a:pt x="307824" y="1290913"/>
                        <a:pt x="312607" y="1302392"/>
                        <a:pt x="328869" y="1287087"/>
                      </a:cubicBezTo>
                      <a:cubicBezTo>
                        <a:pt x="348957" y="1267955"/>
                        <a:pt x="332695" y="1261737"/>
                        <a:pt x="337478" y="1235431"/>
                      </a:cubicBezTo>
                      <a:cubicBezTo>
                        <a:pt x="342261" y="1207690"/>
                        <a:pt x="343696" y="1209125"/>
                        <a:pt x="349914" y="1182340"/>
                      </a:cubicBezTo>
                      <a:cubicBezTo>
                        <a:pt x="354697" y="1154599"/>
                        <a:pt x="354697" y="1154599"/>
                        <a:pt x="359958" y="1128293"/>
                      </a:cubicBezTo>
                      <a:cubicBezTo>
                        <a:pt x="364741" y="1101987"/>
                        <a:pt x="363784" y="1101987"/>
                        <a:pt x="370002" y="1075203"/>
                      </a:cubicBezTo>
                      <a:cubicBezTo>
                        <a:pt x="374785" y="1048897"/>
                        <a:pt x="380046" y="1048897"/>
                        <a:pt x="384829" y="1022112"/>
                      </a:cubicBezTo>
                      <a:cubicBezTo>
                        <a:pt x="391047" y="995806"/>
                        <a:pt x="392482" y="995806"/>
                        <a:pt x="397265" y="969022"/>
                      </a:cubicBezTo>
                      <a:cubicBezTo>
                        <a:pt x="402048" y="942716"/>
                        <a:pt x="401091" y="942716"/>
                        <a:pt x="405874" y="915931"/>
                      </a:cubicBezTo>
                      <a:cubicBezTo>
                        <a:pt x="410657" y="889625"/>
                        <a:pt x="412092" y="889625"/>
                        <a:pt x="416875" y="862841"/>
                      </a:cubicBezTo>
                      <a:cubicBezTo>
                        <a:pt x="423093" y="835100"/>
                        <a:pt x="423093" y="835100"/>
                        <a:pt x="427875" y="808794"/>
                      </a:cubicBezTo>
                      <a:cubicBezTo>
                        <a:pt x="434093" y="782487"/>
                        <a:pt x="429310" y="782487"/>
                        <a:pt x="435528" y="754747"/>
                      </a:cubicBezTo>
                      <a:cubicBezTo>
                        <a:pt x="440311" y="728440"/>
                        <a:pt x="441746" y="728440"/>
                        <a:pt x="446529" y="701656"/>
                      </a:cubicBezTo>
                      <a:cubicBezTo>
                        <a:pt x="451312" y="675350"/>
                        <a:pt x="450355" y="675350"/>
                        <a:pt x="455138" y="648565"/>
                      </a:cubicBezTo>
                      <a:cubicBezTo>
                        <a:pt x="459921" y="620824"/>
                        <a:pt x="459921" y="620824"/>
                        <a:pt x="465182" y="594518"/>
                      </a:cubicBezTo>
                      <a:cubicBezTo>
                        <a:pt x="469965" y="568212"/>
                        <a:pt x="473792" y="569169"/>
                        <a:pt x="479053" y="541428"/>
                      </a:cubicBezTo>
                      <a:cubicBezTo>
                        <a:pt x="483836" y="515122"/>
                        <a:pt x="483836" y="515122"/>
                        <a:pt x="489097" y="488337"/>
                      </a:cubicBezTo>
                      <a:cubicBezTo>
                        <a:pt x="493880" y="462031"/>
                        <a:pt x="493880" y="462031"/>
                        <a:pt x="499141" y="434290"/>
                      </a:cubicBezTo>
                      <a:cubicBezTo>
                        <a:pt x="503924" y="407984"/>
                        <a:pt x="500576" y="407984"/>
                        <a:pt x="505359" y="380243"/>
                      </a:cubicBezTo>
                      <a:cubicBezTo>
                        <a:pt x="510142" y="353937"/>
                        <a:pt x="532622" y="351067"/>
                        <a:pt x="516360" y="330022"/>
                      </a:cubicBezTo>
                      <a:cubicBezTo>
                        <a:pt x="499141" y="307542"/>
                        <a:pt x="490054" y="326196"/>
                        <a:pt x="462791" y="322370"/>
                      </a:cubicBezTo>
                      <a:cubicBezTo>
                        <a:pt x="434093" y="319978"/>
                        <a:pt x="434093" y="317108"/>
                        <a:pt x="405396" y="314717"/>
                      </a:cubicBezTo>
                      <a:cubicBezTo>
                        <a:pt x="376698" y="310890"/>
                        <a:pt x="376698" y="316152"/>
                        <a:pt x="348001" y="313282"/>
                      </a:cubicBezTo>
                      <a:cubicBezTo>
                        <a:pt x="320738" y="310890"/>
                        <a:pt x="319303" y="311847"/>
                        <a:pt x="292040" y="308021"/>
                      </a:cubicBezTo>
                      <a:cubicBezTo>
                        <a:pt x="263343" y="305629"/>
                        <a:pt x="263343" y="300368"/>
                        <a:pt x="236080" y="297976"/>
                      </a:cubicBezTo>
                      <a:cubicBezTo>
                        <a:pt x="207382" y="294150"/>
                        <a:pt x="207382" y="297976"/>
                        <a:pt x="178685" y="294150"/>
                      </a:cubicBezTo>
                      <a:cubicBezTo>
                        <a:pt x="149987" y="291759"/>
                        <a:pt x="149987" y="295585"/>
                        <a:pt x="121290" y="292715"/>
                      </a:cubicBezTo>
                      <a:cubicBezTo>
                        <a:pt x="92592" y="288889"/>
                        <a:pt x="92592" y="285063"/>
                        <a:pt x="65329" y="282671"/>
                      </a:cubicBezTo>
                      <a:cubicBezTo>
                        <a:pt x="36632" y="280280"/>
                        <a:pt x="26587" y="297976"/>
                        <a:pt x="7934" y="277410"/>
                      </a:cubicBezTo>
                      <a:cubicBezTo>
                        <a:pt x="-10719" y="257322"/>
                        <a:pt x="9369" y="249669"/>
                        <a:pt x="9369" y="221928"/>
                      </a:cubicBezTo>
                      <a:cubicBezTo>
                        <a:pt x="9369" y="194187"/>
                        <a:pt x="7934" y="194187"/>
                        <a:pt x="7934" y="166446"/>
                      </a:cubicBezTo>
                      <a:cubicBezTo>
                        <a:pt x="7934" y="138705"/>
                        <a:pt x="9369" y="138705"/>
                        <a:pt x="9369" y="110964"/>
                      </a:cubicBezTo>
                      <a:cubicBezTo>
                        <a:pt x="9369" y="83223"/>
                        <a:pt x="9369" y="83223"/>
                        <a:pt x="9369" y="55482"/>
                      </a:cubicBezTo>
                      <a:cubicBezTo>
                        <a:pt x="9369" y="27741"/>
                        <a:pt x="9369" y="27741"/>
                        <a:pt x="9369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2" name="Freeform: Shape 461">
                  <a:extLst>
                    <a:ext uri="{FF2B5EF4-FFF2-40B4-BE49-F238E27FC236}">
                      <a16:creationId xmlns:a16="http://schemas.microsoft.com/office/drawing/2014/main" id="{92F20EFD-AEE1-0476-862D-C5B6315261FD}"/>
                    </a:ext>
                  </a:extLst>
                </p:cNvPr>
                <p:cNvSpPr/>
                <p:nvPr/>
              </p:nvSpPr>
              <p:spPr>
                <a:xfrm>
                  <a:off x="4294890" y="5641720"/>
                  <a:ext cx="2478" cy="339767"/>
                </a:xfrm>
                <a:custGeom>
                  <a:avLst/>
                  <a:gdLst>
                    <a:gd name="connsiteX0" fmla="*/ 1913 w 6217"/>
                    <a:gd name="connsiteY0" fmla="*/ 0 h 852318"/>
                    <a:gd name="connsiteX1" fmla="*/ 1913 w 6217"/>
                    <a:gd name="connsiteY1" fmla="*/ 0 h 852318"/>
                    <a:gd name="connsiteX2" fmla="*/ 3348 w 6217"/>
                    <a:gd name="connsiteY2" fmla="*/ 56917 h 852318"/>
                    <a:gd name="connsiteX3" fmla="*/ 4783 w 6217"/>
                    <a:gd name="connsiteY3" fmla="*/ 113834 h 852318"/>
                    <a:gd name="connsiteX4" fmla="*/ 6218 w 6217"/>
                    <a:gd name="connsiteY4" fmla="*/ 170751 h 852318"/>
                    <a:gd name="connsiteX5" fmla="*/ 3826 w 6217"/>
                    <a:gd name="connsiteY5" fmla="*/ 227668 h 852318"/>
                    <a:gd name="connsiteX6" fmla="*/ 0 w 6217"/>
                    <a:gd name="connsiteY6" fmla="*/ 283150 h 852318"/>
                    <a:gd name="connsiteX7" fmla="*/ 4783 w 6217"/>
                    <a:gd name="connsiteY7" fmla="*/ 340066 h 852318"/>
                    <a:gd name="connsiteX8" fmla="*/ 4783 w 6217"/>
                    <a:gd name="connsiteY8" fmla="*/ 396983 h 852318"/>
                    <a:gd name="connsiteX9" fmla="*/ 4783 w 6217"/>
                    <a:gd name="connsiteY9" fmla="*/ 453900 h 852318"/>
                    <a:gd name="connsiteX10" fmla="*/ 6218 w 6217"/>
                    <a:gd name="connsiteY10" fmla="*/ 510817 h 852318"/>
                    <a:gd name="connsiteX11" fmla="*/ 6218 w 6217"/>
                    <a:gd name="connsiteY11" fmla="*/ 567734 h 852318"/>
                    <a:gd name="connsiteX12" fmla="*/ 3826 w 6217"/>
                    <a:gd name="connsiteY12" fmla="*/ 624651 h 852318"/>
                    <a:gd name="connsiteX13" fmla="*/ 0 w 6217"/>
                    <a:gd name="connsiteY13" fmla="*/ 681568 h 852318"/>
                    <a:gd name="connsiteX14" fmla="*/ 1435 w 6217"/>
                    <a:gd name="connsiteY14" fmla="*/ 738485 h 852318"/>
                    <a:gd name="connsiteX15" fmla="*/ 5261 w 6217"/>
                    <a:gd name="connsiteY15" fmla="*/ 795401 h 852318"/>
                    <a:gd name="connsiteX16" fmla="*/ 3826 w 6217"/>
                    <a:gd name="connsiteY16" fmla="*/ 852318 h 852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217" h="852318">
                      <a:moveTo>
                        <a:pt x="1913" y="0"/>
                      </a:moveTo>
                      <a:lnTo>
                        <a:pt x="1913" y="0"/>
                      </a:lnTo>
                      <a:cubicBezTo>
                        <a:pt x="1913" y="29176"/>
                        <a:pt x="3348" y="29176"/>
                        <a:pt x="3348" y="56917"/>
                      </a:cubicBezTo>
                      <a:cubicBezTo>
                        <a:pt x="3348" y="84658"/>
                        <a:pt x="4783" y="84658"/>
                        <a:pt x="4783" y="113834"/>
                      </a:cubicBezTo>
                      <a:cubicBezTo>
                        <a:pt x="4783" y="141575"/>
                        <a:pt x="6218" y="141575"/>
                        <a:pt x="6218" y="170751"/>
                      </a:cubicBezTo>
                      <a:cubicBezTo>
                        <a:pt x="6218" y="198492"/>
                        <a:pt x="3826" y="198492"/>
                        <a:pt x="3826" y="227668"/>
                      </a:cubicBezTo>
                      <a:cubicBezTo>
                        <a:pt x="3826" y="255409"/>
                        <a:pt x="0" y="255409"/>
                        <a:pt x="0" y="283150"/>
                      </a:cubicBezTo>
                      <a:cubicBezTo>
                        <a:pt x="0" y="312325"/>
                        <a:pt x="4783" y="312325"/>
                        <a:pt x="4783" y="340066"/>
                      </a:cubicBezTo>
                      <a:cubicBezTo>
                        <a:pt x="4783" y="369242"/>
                        <a:pt x="4783" y="369242"/>
                        <a:pt x="4783" y="396983"/>
                      </a:cubicBezTo>
                      <a:cubicBezTo>
                        <a:pt x="4783" y="426159"/>
                        <a:pt x="4783" y="426159"/>
                        <a:pt x="4783" y="453900"/>
                      </a:cubicBezTo>
                      <a:cubicBezTo>
                        <a:pt x="4783" y="483076"/>
                        <a:pt x="6218" y="483076"/>
                        <a:pt x="6218" y="510817"/>
                      </a:cubicBezTo>
                      <a:cubicBezTo>
                        <a:pt x="6218" y="538558"/>
                        <a:pt x="6218" y="538558"/>
                        <a:pt x="6218" y="567734"/>
                      </a:cubicBezTo>
                      <a:cubicBezTo>
                        <a:pt x="6218" y="595475"/>
                        <a:pt x="3826" y="595475"/>
                        <a:pt x="3826" y="624651"/>
                      </a:cubicBezTo>
                      <a:cubicBezTo>
                        <a:pt x="3826" y="652392"/>
                        <a:pt x="0" y="652392"/>
                        <a:pt x="0" y="681568"/>
                      </a:cubicBezTo>
                      <a:cubicBezTo>
                        <a:pt x="0" y="709309"/>
                        <a:pt x="1435" y="709309"/>
                        <a:pt x="1435" y="738485"/>
                      </a:cubicBezTo>
                      <a:cubicBezTo>
                        <a:pt x="1435" y="766226"/>
                        <a:pt x="5261" y="766226"/>
                        <a:pt x="5261" y="795401"/>
                      </a:cubicBezTo>
                      <a:cubicBezTo>
                        <a:pt x="5261" y="823142"/>
                        <a:pt x="3826" y="823142"/>
                        <a:pt x="3826" y="852318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3" name="Freeform: Shape 462">
                  <a:extLst>
                    <a:ext uri="{FF2B5EF4-FFF2-40B4-BE49-F238E27FC236}">
                      <a16:creationId xmlns:a16="http://schemas.microsoft.com/office/drawing/2014/main" id="{213B3719-FD2F-3BD9-1665-E179B66D0E07}"/>
                    </a:ext>
                  </a:extLst>
                </p:cNvPr>
                <p:cNvSpPr/>
                <p:nvPr/>
              </p:nvSpPr>
              <p:spPr>
                <a:xfrm>
                  <a:off x="4103461" y="6010659"/>
                  <a:ext cx="179226" cy="101216"/>
                </a:xfrm>
                <a:custGeom>
                  <a:avLst/>
                  <a:gdLst>
                    <a:gd name="connsiteX0" fmla="*/ 449596 w 449595"/>
                    <a:gd name="connsiteY0" fmla="*/ 132009 h 253903"/>
                    <a:gd name="connsiteX1" fmla="*/ 449596 w 449595"/>
                    <a:gd name="connsiteY1" fmla="*/ 132009 h 253903"/>
                    <a:gd name="connsiteX2" fmla="*/ 440986 w 449595"/>
                    <a:gd name="connsiteY2" fmla="*/ 186056 h 253903"/>
                    <a:gd name="connsiteX3" fmla="*/ 437160 w 449595"/>
                    <a:gd name="connsiteY3" fmla="*/ 243929 h 253903"/>
                    <a:gd name="connsiteX4" fmla="*/ 382634 w 449595"/>
                    <a:gd name="connsiteY4" fmla="*/ 241538 h 253903"/>
                    <a:gd name="connsiteX5" fmla="*/ 359198 w 449595"/>
                    <a:gd name="connsiteY5" fmla="*/ 205188 h 253903"/>
                    <a:gd name="connsiteX6" fmla="*/ 331935 w 449595"/>
                    <a:gd name="connsiteY6" fmla="*/ 171229 h 253903"/>
                    <a:gd name="connsiteX7" fmla="*/ 289846 w 449595"/>
                    <a:gd name="connsiteY7" fmla="*/ 239147 h 253903"/>
                    <a:gd name="connsiteX8" fmla="*/ 233885 w 449595"/>
                    <a:gd name="connsiteY8" fmla="*/ 245364 h 253903"/>
                    <a:gd name="connsiteX9" fmla="*/ 174099 w 449595"/>
                    <a:gd name="connsiteY9" fmla="*/ 243929 h 253903"/>
                    <a:gd name="connsiteX10" fmla="*/ 114312 w 449595"/>
                    <a:gd name="connsiteY10" fmla="*/ 237712 h 253903"/>
                    <a:gd name="connsiteX11" fmla="*/ 54525 w 449595"/>
                    <a:gd name="connsiteY11" fmla="*/ 235320 h 253903"/>
                    <a:gd name="connsiteX12" fmla="*/ 0 w 449595"/>
                    <a:gd name="connsiteY12" fmla="*/ 207579 h 253903"/>
                    <a:gd name="connsiteX13" fmla="*/ 39698 w 449595"/>
                    <a:gd name="connsiteY13" fmla="*/ 167403 h 253903"/>
                    <a:gd name="connsiteX14" fmla="*/ 87049 w 449595"/>
                    <a:gd name="connsiteY14" fmla="*/ 139661 h 253903"/>
                    <a:gd name="connsiteX15" fmla="*/ 135357 w 449595"/>
                    <a:gd name="connsiteY15" fmla="*/ 114312 h 253903"/>
                    <a:gd name="connsiteX16" fmla="*/ 183665 w 449595"/>
                    <a:gd name="connsiteY16" fmla="*/ 88006 h 253903"/>
                    <a:gd name="connsiteX17" fmla="*/ 234842 w 449595"/>
                    <a:gd name="connsiteY17" fmla="*/ 68874 h 253903"/>
                    <a:gd name="connsiteX18" fmla="*/ 284584 w 449595"/>
                    <a:gd name="connsiteY18" fmla="*/ 44959 h 253903"/>
                    <a:gd name="connsiteX19" fmla="*/ 334327 w 449595"/>
                    <a:gd name="connsiteY19" fmla="*/ 22480 h 253903"/>
                    <a:gd name="connsiteX20" fmla="*/ 384069 w 449595"/>
                    <a:gd name="connsiteY20" fmla="*/ 0 h 253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9595" h="253903">
                      <a:moveTo>
                        <a:pt x="449596" y="132009"/>
                      </a:moveTo>
                      <a:lnTo>
                        <a:pt x="449596" y="132009"/>
                      </a:lnTo>
                      <a:cubicBezTo>
                        <a:pt x="445769" y="159750"/>
                        <a:pt x="444813" y="158315"/>
                        <a:pt x="440986" y="186056"/>
                      </a:cubicBezTo>
                      <a:cubicBezTo>
                        <a:pt x="437160" y="213797"/>
                        <a:pt x="458205" y="225276"/>
                        <a:pt x="437160" y="243929"/>
                      </a:cubicBezTo>
                      <a:cubicBezTo>
                        <a:pt x="417072" y="261626"/>
                        <a:pt x="407506" y="252539"/>
                        <a:pt x="382634" y="241538"/>
                      </a:cubicBezTo>
                      <a:cubicBezTo>
                        <a:pt x="361590" y="232929"/>
                        <a:pt x="371634" y="222406"/>
                        <a:pt x="359198" y="205188"/>
                      </a:cubicBezTo>
                      <a:cubicBezTo>
                        <a:pt x="346763" y="186056"/>
                        <a:pt x="351545" y="161185"/>
                        <a:pt x="331935" y="171229"/>
                      </a:cubicBezTo>
                      <a:cubicBezTo>
                        <a:pt x="297020" y="190361"/>
                        <a:pt x="317108" y="209014"/>
                        <a:pt x="289846" y="239147"/>
                      </a:cubicBezTo>
                      <a:cubicBezTo>
                        <a:pt x="269757" y="261626"/>
                        <a:pt x="268801" y="245364"/>
                        <a:pt x="233885" y="245364"/>
                      </a:cubicBezTo>
                      <a:cubicBezTo>
                        <a:pt x="215232" y="246799"/>
                        <a:pt x="195143" y="243929"/>
                        <a:pt x="174099" y="243929"/>
                      </a:cubicBezTo>
                      <a:cubicBezTo>
                        <a:pt x="154010" y="242495"/>
                        <a:pt x="134400" y="238668"/>
                        <a:pt x="114312" y="237712"/>
                      </a:cubicBezTo>
                      <a:cubicBezTo>
                        <a:pt x="93267" y="236277"/>
                        <a:pt x="72222" y="237712"/>
                        <a:pt x="54525" y="235320"/>
                      </a:cubicBezTo>
                      <a:cubicBezTo>
                        <a:pt x="23436" y="230059"/>
                        <a:pt x="0" y="219058"/>
                        <a:pt x="0" y="207579"/>
                      </a:cubicBezTo>
                      <a:cubicBezTo>
                        <a:pt x="0" y="199926"/>
                        <a:pt x="16262" y="182230"/>
                        <a:pt x="39698" y="167403"/>
                      </a:cubicBezTo>
                      <a:cubicBezTo>
                        <a:pt x="53569" y="158793"/>
                        <a:pt x="69352" y="149706"/>
                        <a:pt x="87049" y="139661"/>
                      </a:cubicBezTo>
                      <a:cubicBezTo>
                        <a:pt x="101876" y="131052"/>
                        <a:pt x="119573" y="123400"/>
                        <a:pt x="135357" y="114312"/>
                      </a:cubicBezTo>
                      <a:cubicBezTo>
                        <a:pt x="151619" y="105703"/>
                        <a:pt x="167881" y="96615"/>
                        <a:pt x="183665" y="88006"/>
                      </a:cubicBezTo>
                      <a:cubicBezTo>
                        <a:pt x="199927" y="80353"/>
                        <a:pt x="218580" y="76527"/>
                        <a:pt x="234842" y="68874"/>
                      </a:cubicBezTo>
                      <a:cubicBezTo>
                        <a:pt x="252060" y="60265"/>
                        <a:pt x="268322" y="51177"/>
                        <a:pt x="284584" y="44959"/>
                      </a:cubicBezTo>
                      <a:cubicBezTo>
                        <a:pt x="301803" y="36350"/>
                        <a:pt x="319500" y="28698"/>
                        <a:pt x="334327" y="22480"/>
                      </a:cubicBezTo>
                      <a:cubicBezTo>
                        <a:pt x="363981" y="8609"/>
                        <a:pt x="357763" y="10044"/>
                        <a:pt x="384069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4" name="Freeform: Shape 463">
                  <a:extLst>
                    <a:ext uri="{FF2B5EF4-FFF2-40B4-BE49-F238E27FC236}">
                      <a16:creationId xmlns:a16="http://schemas.microsoft.com/office/drawing/2014/main" id="{203BDBC8-045C-685D-7D00-CA78008EA966}"/>
                    </a:ext>
                  </a:extLst>
                </p:cNvPr>
                <p:cNvSpPr/>
                <p:nvPr/>
              </p:nvSpPr>
              <p:spPr>
                <a:xfrm>
                  <a:off x="4319486" y="6003414"/>
                  <a:ext cx="177510" cy="104082"/>
                </a:xfrm>
                <a:custGeom>
                  <a:avLst/>
                  <a:gdLst>
                    <a:gd name="connsiteX0" fmla="*/ 70788 w 445290"/>
                    <a:gd name="connsiteY0" fmla="*/ 0 h 261094"/>
                    <a:gd name="connsiteX1" fmla="*/ 70788 w 445290"/>
                    <a:gd name="connsiteY1" fmla="*/ 0 h 261094"/>
                    <a:gd name="connsiteX2" fmla="*/ 120530 w 445290"/>
                    <a:gd name="connsiteY2" fmla="*/ 22480 h 261094"/>
                    <a:gd name="connsiteX3" fmla="*/ 167881 w 445290"/>
                    <a:gd name="connsiteY3" fmla="*/ 50221 h 261094"/>
                    <a:gd name="connsiteX4" fmla="*/ 219058 w 445290"/>
                    <a:gd name="connsiteY4" fmla="*/ 71744 h 261094"/>
                    <a:gd name="connsiteX5" fmla="*/ 268801 w 445290"/>
                    <a:gd name="connsiteY5" fmla="*/ 94224 h 261094"/>
                    <a:gd name="connsiteX6" fmla="*/ 314717 w 445290"/>
                    <a:gd name="connsiteY6" fmla="*/ 123400 h 261094"/>
                    <a:gd name="connsiteX7" fmla="*/ 364459 w 445290"/>
                    <a:gd name="connsiteY7" fmla="*/ 147314 h 261094"/>
                    <a:gd name="connsiteX8" fmla="*/ 411810 w 445290"/>
                    <a:gd name="connsiteY8" fmla="*/ 175055 h 261094"/>
                    <a:gd name="connsiteX9" fmla="*/ 445291 w 445290"/>
                    <a:gd name="connsiteY9" fmla="*/ 214275 h 261094"/>
                    <a:gd name="connsiteX10" fmla="*/ 396983 w 445290"/>
                    <a:gd name="connsiteY10" fmla="*/ 234363 h 261094"/>
                    <a:gd name="connsiteX11" fmla="*/ 338632 w 445290"/>
                    <a:gd name="connsiteY11" fmla="*/ 242973 h 261094"/>
                    <a:gd name="connsiteX12" fmla="*/ 278845 w 445290"/>
                    <a:gd name="connsiteY12" fmla="*/ 250625 h 261094"/>
                    <a:gd name="connsiteX13" fmla="*/ 219058 w 445290"/>
                    <a:gd name="connsiteY13" fmla="*/ 250625 h 261094"/>
                    <a:gd name="connsiteX14" fmla="*/ 159272 w 445290"/>
                    <a:gd name="connsiteY14" fmla="*/ 248234 h 261094"/>
                    <a:gd name="connsiteX15" fmla="*/ 120530 w 445290"/>
                    <a:gd name="connsiteY15" fmla="*/ 176490 h 261094"/>
                    <a:gd name="connsiteX16" fmla="*/ 95659 w 445290"/>
                    <a:gd name="connsiteY16" fmla="*/ 212840 h 261094"/>
                    <a:gd name="connsiteX17" fmla="*/ 70788 w 445290"/>
                    <a:gd name="connsiteY17" fmla="*/ 252060 h 261094"/>
                    <a:gd name="connsiteX18" fmla="*/ 16262 w 445290"/>
                    <a:gd name="connsiteY18" fmla="*/ 248234 h 261094"/>
                    <a:gd name="connsiteX19" fmla="*/ 8609 w 445290"/>
                    <a:gd name="connsiteY19" fmla="*/ 194187 h 261094"/>
                    <a:gd name="connsiteX20" fmla="*/ 0 w 445290"/>
                    <a:gd name="connsiteY20" fmla="*/ 138705 h 261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5290" h="261094">
                      <a:moveTo>
                        <a:pt x="70788" y="0"/>
                      </a:moveTo>
                      <a:lnTo>
                        <a:pt x="70788" y="0"/>
                      </a:lnTo>
                      <a:cubicBezTo>
                        <a:pt x="95659" y="11479"/>
                        <a:pt x="90876" y="8609"/>
                        <a:pt x="120530" y="22480"/>
                      </a:cubicBezTo>
                      <a:cubicBezTo>
                        <a:pt x="135357" y="30133"/>
                        <a:pt x="150184" y="41611"/>
                        <a:pt x="167881" y="50221"/>
                      </a:cubicBezTo>
                      <a:cubicBezTo>
                        <a:pt x="184143" y="57873"/>
                        <a:pt x="201362" y="64091"/>
                        <a:pt x="219058" y="71744"/>
                      </a:cubicBezTo>
                      <a:cubicBezTo>
                        <a:pt x="235320" y="80353"/>
                        <a:pt x="252539" y="85615"/>
                        <a:pt x="268801" y="94224"/>
                      </a:cubicBezTo>
                      <a:cubicBezTo>
                        <a:pt x="285063" y="101876"/>
                        <a:pt x="299890" y="114312"/>
                        <a:pt x="314717" y="123400"/>
                      </a:cubicBezTo>
                      <a:cubicBezTo>
                        <a:pt x="331936" y="132009"/>
                        <a:pt x="349632" y="138705"/>
                        <a:pt x="364459" y="147314"/>
                      </a:cubicBezTo>
                      <a:cubicBezTo>
                        <a:pt x="381678" y="157358"/>
                        <a:pt x="399375" y="166446"/>
                        <a:pt x="411810" y="175055"/>
                      </a:cubicBezTo>
                      <a:cubicBezTo>
                        <a:pt x="435247" y="190361"/>
                        <a:pt x="445291" y="206623"/>
                        <a:pt x="445291" y="214275"/>
                      </a:cubicBezTo>
                      <a:cubicBezTo>
                        <a:pt x="445291" y="225754"/>
                        <a:pt x="428072" y="229581"/>
                        <a:pt x="396983" y="234363"/>
                      </a:cubicBezTo>
                      <a:cubicBezTo>
                        <a:pt x="379765" y="238190"/>
                        <a:pt x="359676" y="242016"/>
                        <a:pt x="338632" y="242973"/>
                      </a:cubicBezTo>
                      <a:cubicBezTo>
                        <a:pt x="318543" y="244408"/>
                        <a:pt x="298933" y="249191"/>
                        <a:pt x="278845" y="250625"/>
                      </a:cubicBezTo>
                      <a:cubicBezTo>
                        <a:pt x="257800" y="250625"/>
                        <a:pt x="237712" y="250625"/>
                        <a:pt x="219058" y="250625"/>
                      </a:cubicBezTo>
                      <a:cubicBezTo>
                        <a:pt x="184143" y="250625"/>
                        <a:pt x="179360" y="270714"/>
                        <a:pt x="159272" y="248234"/>
                      </a:cubicBezTo>
                      <a:cubicBezTo>
                        <a:pt x="132009" y="218102"/>
                        <a:pt x="156880" y="195143"/>
                        <a:pt x="120530" y="176490"/>
                      </a:cubicBezTo>
                      <a:cubicBezTo>
                        <a:pt x="101876" y="166446"/>
                        <a:pt x="108094" y="195622"/>
                        <a:pt x="95659" y="212840"/>
                      </a:cubicBezTo>
                      <a:cubicBezTo>
                        <a:pt x="83223" y="230537"/>
                        <a:pt x="91832" y="242973"/>
                        <a:pt x="70788" y="252060"/>
                      </a:cubicBezTo>
                      <a:cubicBezTo>
                        <a:pt x="45916" y="263539"/>
                        <a:pt x="35872" y="265931"/>
                        <a:pt x="16262" y="248234"/>
                      </a:cubicBezTo>
                      <a:cubicBezTo>
                        <a:pt x="-4783" y="230537"/>
                        <a:pt x="12436" y="220493"/>
                        <a:pt x="8609" y="194187"/>
                      </a:cubicBezTo>
                      <a:cubicBezTo>
                        <a:pt x="3826" y="166446"/>
                        <a:pt x="3826" y="166446"/>
                        <a:pt x="0" y="138705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5" name="Freeform: Shape 464">
                  <a:extLst>
                    <a:ext uri="{FF2B5EF4-FFF2-40B4-BE49-F238E27FC236}">
                      <a16:creationId xmlns:a16="http://schemas.microsoft.com/office/drawing/2014/main" id="{C5B1C227-75B6-ACAE-44F2-E5C9CA500499}"/>
                    </a:ext>
                  </a:extLst>
                </p:cNvPr>
                <p:cNvSpPr/>
                <p:nvPr/>
              </p:nvSpPr>
              <p:spPr>
                <a:xfrm>
                  <a:off x="4390414" y="5238651"/>
                  <a:ext cx="55484" cy="41374"/>
                </a:xfrm>
                <a:custGeom>
                  <a:avLst/>
                  <a:gdLst>
                    <a:gd name="connsiteX0" fmla="*/ 0 w 139183"/>
                    <a:gd name="connsiteY0" fmla="*/ 0 h 103789"/>
                    <a:gd name="connsiteX1" fmla="*/ 0 w 139183"/>
                    <a:gd name="connsiteY1" fmla="*/ 0 h 103789"/>
                    <a:gd name="connsiteX2" fmla="*/ 43525 w 139183"/>
                    <a:gd name="connsiteY2" fmla="*/ 39220 h 103789"/>
                    <a:gd name="connsiteX3" fmla="*/ 89441 w 139183"/>
                    <a:gd name="connsiteY3" fmla="*/ 72222 h 103789"/>
                    <a:gd name="connsiteX4" fmla="*/ 139183 w 139183"/>
                    <a:gd name="connsiteY4" fmla="*/ 103790 h 103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183" h="103789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2480" y="17697"/>
                        <a:pt x="20088" y="21523"/>
                        <a:pt x="43525" y="39220"/>
                      </a:cubicBezTo>
                      <a:cubicBezTo>
                        <a:pt x="66005" y="55482"/>
                        <a:pt x="66005" y="55482"/>
                        <a:pt x="89441" y="72222"/>
                      </a:cubicBezTo>
                      <a:cubicBezTo>
                        <a:pt x="112877" y="89919"/>
                        <a:pt x="115747" y="86093"/>
                        <a:pt x="139183" y="10379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6" name="Freeform: Shape 465">
                  <a:extLst>
                    <a:ext uri="{FF2B5EF4-FFF2-40B4-BE49-F238E27FC236}">
                      <a16:creationId xmlns:a16="http://schemas.microsoft.com/office/drawing/2014/main" id="{C85E349B-CB8B-B8DF-BEDA-CCB7D97D519C}"/>
                    </a:ext>
                  </a:extLst>
                </p:cNvPr>
                <p:cNvSpPr/>
                <p:nvPr/>
              </p:nvSpPr>
              <p:spPr>
                <a:xfrm>
                  <a:off x="4322918" y="5030634"/>
                  <a:ext cx="1907" cy="28600"/>
                </a:xfrm>
                <a:custGeom>
                  <a:avLst/>
                  <a:gdLst>
                    <a:gd name="connsiteX0" fmla="*/ 0 w 4783"/>
                    <a:gd name="connsiteY0" fmla="*/ 0 h 71743"/>
                    <a:gd name="connsiteX1" fmla="*/ 0 w 4783"/>
                    <a:gd name="connsiteY1" fmla="*/ 0 h 71743"/>
                    <a:gd name="connsiteX2" fmla="*/ 4783 w 4783"/>
                    <a:gd name="connsiteY2" fmla="*/ 71744 h 7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83" h="71743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2392" y="35394"/>
                        <a:pt x="2392" y="35394"/>
                        <a:pt x="4783" y="7174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7" name="Freeform: Shape 466">
                  <a:extLst>
                    <a:ext uri="{FF2B5EF4-FFF2-40B4-BE49-F238E27FC236}">
                      <a16:creationId xmlns:a16="http://schemas.microsoft.com/office/drawing/2014/main" id="{7D296C0F-3414-8F07-7651-9EABF1717004}"/>
                    </a:ext>
                  </a:extLst>
                </p:cNvPr>
                <p:cNvSpPr/>
                <p:nvPr/>
              </p:nvSpPr>
              <p:spPr>
                <a:xfrm>
                  <a:off x="4359100" y="5027202"/>
                  <a:ext cx="616" cy="28600"/>
                </a:xfrm>
                <a:custGeom>
                  <a:avLst/>
                  <a:gdLst>
                    <a:gd name="connsiteX0" fmla="*/ 112 w 1546"/>
                    <a:gd name="connsiteY0" fmla="*/ 0 h 71743"/>
                    <a:gd name="connsiteX1" fmla="*/ 112 w 1546"/>
                    <a:gd name="connsiteY1" fmla="*/ 0 h 71743"/>
                    <a:gd name="connsiteX2" fmla="*/ 1547 w 1546"/>
                    <a:gd name="connsiteY2" fmla="*/ 71744 h 7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46" h="71743">
                      <a:moveTo>
                        <a:pt x="112" y="0"/>
                      </a:moveTo>
                      <a:lnTo>
                        <a:pt x="112" y="0"/>
                      </a:lnTo>
                      <a:cubicBezTo>
                        <a:pt x="2503" y="35394"/>
                        <a:pt x="-2280" y="36350"/>
                        <a:pt x="1547" y="7174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8" name="Freeform: Shape 467">
                  <a:extLst>
                    <a:ext uri="{FF2B5EF4-FFF2-40B4-BE49-F238E27FC236}">
                      <a16:creationId xmlns:a16="http://schemas.microsoft.com/office/drawing/2014/main" id="{00E47AD9-AD4B-E6DD-3000-CC4E84CD78DE}"/>
                    </a:ext>
                  </a:extLst>
                </p:cNvPr>
                <p:cNvSpPr/>
                <p:nvPr/>
              </p:nvSpPr>
              <p:spPr>
                <a:xfrm>
                  <a:off x="4197460" y="4939566"/>
                  <a:ext cx="241946" cy="327077"/>
                </a:xfrm>
                <a:custGeom>
                  <a:avLst/>
                  <a:gdLst>
                    <a:gd name="connsiteX0" fmla="*/ 605997 w 606931"/>
                    <a:gd name="connsiteY0" fmla="*/ 408765 h 820484"/>
                    <a:gd name="connsiteX1" fmla="*/ 605997 w 606931"/>
                    <a:gd name="connsiteY1" fmla="*/ 408765 h 820484"/>
                    <a:gd name="connsiteX2" fmla="*/ 603606 w 606931"/>
                    <a:gd name="connsiteY2" fmla="*/ 464247 h 820484"/>
                    <a:gd name="connsiteX3" fmla="*/ 594997 w 606931"/>
                    <a:gd name="connsiteY3" fmla="*/ 521164 h 820484"/>
                    <a:gd name="connsiteX4" fmla="*/ 581126 w 606931"/>
                    <a:gd name="connsiteY4" fmla="*/ 575211 h 820484"/>
                    <a:gd name="connsiteX5" fmla="*/ 564864 w 606931"/>
                    <a:gd name="connsiteY5" fmla="*/ 629258 h 820484"/>
                    <a:gd name="connsiteX6" fmla="*/ 538558 w 606931"/>
                    <a:gd name="connsiteY6" fmla="*/ 679479 h 820484"/>
                    <a:gd name="connsiteX7" fmla="*/ 506034 w 606931"/>
                    <a:gd name="connsiteY7" fmla="*/ 724917 h 820484"/>
                    <a:gd name="connsiteX8" fmla="*/ 466336 w 606931"/>
                    <a:gd name="connsiteY8" fmla="*/ 766528 h 820484"/>
                    <a:gd name="connsiteX9" fmla="*/ 416593 w 606931"/>
                    <a:gd name="connsiteY9" fmla="*/ 792834 h 820484"/>
                    <a:gd name="connsiteX10" fmla="*/ 366851 w 606931"/>
                    <a:gd name="connsiteY10" fmla="*/ 816749 h 820484"/>
                    <a:gd name="connsiteX11" fmla="*/ 310891 w 606931"/>
                    <a:gd name="connsiteY11" fmla="*/ 819141 h 820484"/>
                    <a:gd name="connsiteX12" fmla="*/ 254930 w 606931"/>
                    <a:gd name="connsiteY12" fmla="*/ 817706 h 820484"/>
                    <a:gd name="connsiteX13" fmla="*/ 203753 w 606931"/>
                    <a:gd name="connsiteY13" fmla="*/ 795226 h 820484"/>
                    <a:gd name="connsiteX14" fmla="*/ 156402 w 606931"/>
                    <a:gd name="connsiteY14" fmla="*/ 766050 h 820484"/>
                    <a:gd name="connsiteX15" fmla="*/ 112877 w 606931"/>
                    <a:gd name="connsiteY15" fmla="*/ 730656 h 820484"/>
                    <a:gd name="connsiteX16" fmla="*/ 77962 w 606931"/>
                    <a:gd name="connsiteY16" fmla="*/ 685219 h 820484"/>
                    <a:gd name="connsiteX17" fmla="*/ 50699 w 606931"/>
                    <a:gd name="connsiteY17" fmla="*/ 635954 h 820484"/>
                    <a:gd name="connsiteX18" fmla="*/ 27263 w 606931"/>
                    <a:gd name="connsiteY18" fmla="*/ 582864 h 820484"/>
                    <a:gd name="connsiteX19" fmla="*/ 17219 w 606931"/>
                    <a:gd name="connsiteY19" fmla="*/ 527382 h 820484"/>
                    <a:gd name="connsiteX20" fmla="*/ 4783 w 606931"/>
                    <a:gd name="connsiteY20" fmla="*/ 471900 h 820484"/>
                    <a:gd name="connsiteX21" fmla="*/ 0 w 606931"/>
                    <a:gd name="connsiteY21" fmla="*/ 414983 h 820484"/>
                    <a:gd name="connsiteX22" fmla="*/ 3826 w 606931"/>
                    <a:gd name="connsiteY22" fmla="*/ 358066 h 820484"/>
                    <a:gd name="connsiteX23" fmla="*/ 12436 w 606931"/>
                    <a:gd name="connsiteY23" fmla="*/ 302584 h 820484"/>
                    <a:gd name="connsiteX24" fmla="*/ 24871 w 606931"/>
                    <a:gd name="connsiteY24" fmla="*/ 247102 h 820484"/>
                    <a:gd name="connsiteX25" fmla="*/ 45916 w 606931"/>
                    <a:gd name="connsiteY25" fmla="*/ 194012 h 820484"/>
                    <a:gd name="connsiteX26" fmla="*/ 73179 w 606931"/>
                    <a:gd name="connsiteY26" fmla="*/ 144747 h 820484"/>
                    <a:gd name="connsiteX27" fmla="*/ 105703 w 606931"/>
                    <a:gd name="connsiteY27" fmla="*/ 97875 h 820484"/>
                    <a:gd name="connsiteX28" fmla="*/ 149227 w 606931"/>
                    <a:gd name="connsiteY28" fmla="*/ 62481 h 820484"/>
                    <a:gd name="connsiteX29" fmla="*/ 194187 w 606931"/>
                    <a:gd name="connsiteY29" fmla="*/ 29479 h 820484"/>
                    <a:gd name="connsiteX30" fmla="*/ 243929 w 606931"/>
                    <a:gd name="connsiteY30" fmla="*/ 3173 h 820484"/>
                    <a:gd name="connsiteX31" fmla="*/ 299890 w 606931"/>
                    <a:gd name="connsiteY31" fmla="*/ 781 h 820484"/>
                    <a:gd name="connsiteX32" fmla="*/ 355850 w 606931"/>
                    <a:gd name="connsiteY32" fmla="*/ 6999 h 820484"/>
                    <a:gd name="connsiteX33" fmla="*/ 407984 w 606931"/>
                    <a:gd name="connsiteY33" fmla="*/ 24696 h 820484"/>
                    <a:gd name="connsiteX34" fmla="*/ 453900 w 606931"/>
                    <a:gd name="connsiteY34" fmla="*/ 56263 h 820484"/>
                    <a:gd name="connsiteX35" fmla="*/ 495990 w 606931"/>
                    <a:gd name="connsiteY35" fmla="*/ 94048 h 820484"/>
                    <a:gd name="connsiteX36" fmla="*/ 533297 w 606931"/>
                    <a:gd name="connsiteY36" fmla="*/ 135660 h 820484"/>
                    <a:gd name="connsiteX37" fmla="*/ 556733 w 606931"/>
                    <a:gd name="connsiteY37" fmla="*/ 188750 h 820484"/>
                    <a:gd name="connsiteX38" fmla="*/ 576821 w 606931"/>
                    <a:gd name="connsiteY38" fmla="*/ 240406 h 820484"/>
                    <a:gd name="connsiteX39" fmla="*/ 596910 w 606931"/>
                    <a:gd name="connsiteY39" fmla="*/ 293497 h 820484"/>
                    <a:gd name="connsiteX40" fmla="*/ 605519 w 606931"/>
                    <a:gd name="connsiteY40" fmla="*/ 350413 h 820484"/>
                    <a:gd name="connsiteX41" fmla="*/ 605997 w 606931"/>
                    <a:gd name="connsiteY41" fmla="*/ 408765 h 820484"/>
                    <a:gd name="connsiteX42" fmla="*/ 605997 w 606931"/>
                    <a:gd name="connsiteY42" fmla="*/ 408765 h 820484"/>
                    <a:gd name="connsiteX43" fmla="*/ 605997 w 606931"/>
                    <a:gd name="connsiteY43" fmla="*/ 408765 h 820484"/>
                    <a:gd name="connsiteX44" fmla="*/ 605997 w 606931"/>
                    <a:gd name="connsiteY44" fmla="*/ 408765 h 820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606931" h="820484">
                      <a:moveTo>
                        <a:pt x="605997" y="408765"/>
                      </a:moveTo>
                      <a:lnTo>
                        <a:pt x="605997" y="408765"/>
                      </a:lnTo>
                      <a:cubicBezTo>
                        <a:pt x="606954" y="427419"/>
                        <a:pt x="604562" y="446550"/>
                        <a:pt x="603606" y="464247"/>
                      </a:cubicBezTo>
                      <a:cubicBezTo>
                        <a:pt x="602171" y="484335"/>
                        <a:pt x="598823" y="502032"/>
                        <a:pt x="594997" y="521164"/>
                      </a:cubicBezTo>
                      <a:cubicBezTo>
                        <a:pt x="591170" y="540296"/>
                        <a:pt x="587344" y="557514"/>
                        <a:pt x="581126" y="575211"/>
                      </a:cubicBezTo>
                      <a:cubicBezTo>
                        <a:pt x="576343" y="592908"/>
                        <a:pt x="573473" y="612996"/>
                        <a:pt x="564864" y="629258"/>
                      </a:cubicBezTo>
                      <a:cubicBezTo>
                        <a:pt x="557211" y="646955"/>
                        <a:pt x="548602" y="663217"/>
                        <a:pt x="538558" y="679479"/>
                      </a:cubicBezTo>
                      <a:cubicBezTo>
                        <a:pt x="528514" y="695741"/>
                        <a:pt x="517513" y="711046"/>
                        <a:pt x="506034" y="724917"/>
                      </a:cubicBezTo>
                      <a:cubicBezTo>
                        <a:pt x="493598" y="740222"/>
                        <a:pt x="481163" y="754093"/>
                        <a:pt x="466336" y="766528"/>
                      </a:cubicBezTo>
                      <a:cubicBezTo>
                        <a:pt x="451509" y="778007"/>
                        <a:pt x="432855" y="784225"/>
                        <a:pt x="416593" y="792834"/>
                      </a:cubicBezTo>
                      <a:cubicBezTo>
                        <a:pt x="400331" y="801444"/>
                        <a:pt x="384069" y="811966"/>
                        <a:pt x="366851" y="816749"/>
                      </a:cubicBezTo>
                      <a:cubicBezTo>
                        <a:pt x="348197" y="822010"/>
                        <a:pt x="329544" y="818184"/>
                        <a:pt x="310891" y="819141"/>
                      </a:cubicBezTo>
                      <a:cubicBezTo>
                        <a:pt x="292237" y="819141"/>
                        <a:pt x="272149" y="822967"/>
                        <a:pt x="254930" y="817706"/>
                      </a:cubicBezTo>
                      <a:cubicBezTo>
                        <a:pt x="236277" y="813879"/>
                        <a:pt x="220015" y="803835"/>
                        <a:pt x="203753" y="795226"/>
                      </a:cubicBezTo>
                      <a:cubicBezTo>
                        <a:pt x="187491" y="787573"/>
                        <a:pt x="171229" y="778964"/>
                        <a:pt x="156402" y="766050"/>
                      </a:cubicBezTo>
                      <a:cubicBezTo>
                        <a:pt x="141575" y="754571"/>
                        <a:pt x="125313" y="744527"/>
                        <a:pt x="112877" y="730656"/>
                      </a:cubicBezTo>
                      <a:cubicBezTo>
                        <a:pt x="100441" y="716786"/>
                        <a:pt x="89441" y="700524"/>
                        <a:pt x="77962" y="685219"/>
                      </a:cubicBezTo>
                      <a:cubicBezTo>
                        <a:pt x="67918" y="668957"/>
                        <a:pt x="59308" y="652216"/>
                        <a:pt x="50699" y="635954"/>
                      </a:cubicBezTo>
                      <a:cubicBezTo>
                        <a:pt x="42090" y="618258"/>
                        <a:pt x="33481" y="601996"/>
                        <a:pt x="27263" y="582864"/>
                      </a:cubicBezTo>
                      <a:cubicBezTo>
                        <a:pt x="21045" y="566602"/>
                        <a:pt x="22480" y="546514"/>
                        <a:pt x="17219" y="527382"/>
                      </a:cubicBezTo>
                      <a:cubicBezTo>
                        <a:pt x="13392" y="509685"/>
                        <a:pt x="7174" y="491032"/>
                        <a:pt x="4783" y="471900"/>
                      </a:cubicBezTo>
                      <a:cubicBezTo>
                        <a:pt x="3348" y="452768"/>
                        <a:pt x="0" y="434115"/>
                        <a:pt x="0" y="414983"/>
                      </a:cubicBezTo>
                      <a:cubicBezTo>
                        <a:pt x="0" y="395851"/>
                        <a:pt x="1435" y="377198"/>
                        <a:pt x="3826" y="358066"/>
                      </a:cubicBezTo>
                      <a:cubicBezTo>
                        <a:pt x="5261" y="338934"/>
                        <a:pt x="8609" y="320281"/>
                        <a:pt x="12436" y="302584"/>
                      </a:cubicBezTo>
                      <a:cubicBezTo>
                        <a:pt x="16262" y="283452"/>
                        <a:pt x="20088" y="264799"/>
                        <a:pt x="24871" y="247102"/>
                      </a:cubicBezTo>
                      <a:cubicBezTo>
                        <a:pt x="31089" y="227970"/>
                        <a:pt x="38742" y="211708"/>
                        <a:pt x="45916" y="194012"/>
                      </a:cubicBezTo>
                      <a:cubicBezTo>
                        <a:pt x="54525" y="176315"/>
                        <a:pt x="64569" y="160053"/>
                        <a:pt x="73179" y="144747"/>
                      </a:cubicBezTo>
                      <a:cubicBezTo>
                        <a:pt x="84180" y="128485"/>
                        <a:pt x="93267" y="111745"/>
                        <a:pt x="105703" y="97875"/>
                      </a:cubicBezTo>
                      <a:cubicBezTo>
                        <a:pt x="118138" y="82569"/>
                        <a:pt x="134400" y="73960"/>
                        <a:pt x="149227" y="62481"/>
                      </a:cubicBezTo>
                      <a:cubicBezTo>
                        <a:pt x="164055" y="50045"/>
                        <a:pt x="177925" y="38566"/>
                        <a:pt x="194187" y="29479"/>
                      </a:cubicBezTo>
                      <a:cubicBezTo>
                        <a:pt x="211405" y="20869"/>
                        <a:pt x="226711" y="7956"/>
                        <a:pt x="243929" y="3173"/>
                      </a:cubicBezTo>
                      <a:cubicBezTo>
                        <a:pt x="262583" y="-2089"/>
                        <a:pt x="281236" y="781"/>
                        <a:pt x="299890" y="781"/>
                      </a:cubicBezTo>
                      <a:cubicBezTo>
                        <a:pt x="319978" y="781"/>
                        <a:pt x="337197" y="2216"/>
                        <a:pt x="355850" y="6999"/>
                      </a:cubicBezTo>
                      <a:cubicBezTo>
                        <a:pt x="373069" y="10825"/>
                        <a:pt x="391722" y="15608"/>
                        <a:pt x="407984" y="24696"/>
                      </a:cubicBezTo>
                      <a:cubicBezTo>
                        <a:pt x="425203" y="32349"/>
                        <a:pt x="439073" y="44784"/>
                        <a:pt x="453900" y="56263"/>
                      </a:cubicBezTo>
                      <a:cubicBezTo>
                        <a:pt x="468727" y="67742"/>
                        <a:pt x="483554" y="78743"/>
                        <a:pt x="495990" y="94048"/>
                      </a:cubicBezTo>
                      <a:cubicBezTo>
                        <a:pt x="508426" y="106484"/>
                        <a:pt x="522296" y="120354"/>
                        <a:pt x="533297" y="135660"/>
                      </a:cubicBezTo>
                      <a:cubicBezTo>
                        <a:pt x="543341" y="151922"/>
                        <a:pt x="548124" y="171054"/>
                        <a:pt x="556733" y="188750"/>
                      </a:cubicBezTo>
                      <a:cubicBezTo>
                        <a:pt x="564386" y="205012"/>
                        <a:pt x="570604" y="222709"/>
                        <a:pt x="576821" y="240406"/>
                      </a:cubicBezTo>
                      <a:cubicBezTo>
                        <a:pt x="583039" y="258103"/>
                        <a:pt x="593083" y="274365"/>
                        <a:pt x="596910" y="293497"/>
                      </a:cubicBezTo>
                      <a:cubicBezTo>
                        <a:pt x="600736" y="312628"/>
                        <a:pt x="603128" y="331282"/>
                        <a:pt x="605519" y="350413"/>
                      </a:cubicBezTo>
                      <a:cubicBezTo>
                        <a:pt x="608389" y="369545"/>
                        <a:pt x="605997" y="389633"/>
                        <a:pt x="605997" y="408765"/>
                      </a:cubicBezTo>
                      <a:lnTo>
                        <a:pt x="605997" y="408765"/>
                      </a:lnTo>
                      <a:lnTo>
                        <a:pt x="605997" y="408765"/>
                      </a:lnTo>
                      <a:lnTo>
                        <a:pt x="605997" y="408765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69" name="Freeform: Shape 468">
                  <a:extLst>
                    <a:ext uri="{FF2B5EF4-FFF2-40B4-BE49-F238E27FC236}">
                      <a16:creationId xmlns:a16="http://schemas.microsoft.com/office/drawing/2014/main" id="{6C9F3A0A-5BDF-BAC2-746B-1DB5D09E05BF}"/>
                    </a:ext>
                  </a:extLst>
                </p:cNvPr>
                <p:cNvSpPr/>
                <p:nvPr/>
              </p:nvSpPr>
              <p:spPr>
                <a:xfrm>
                  <a:off x="4277349" y="5107664"/>
                  <a:ext cx="140221" cy="119370"/>
                </a:xfrm>
                <a:custGeom>
                  <a:avLst/>
                  <a:gdLst>
                    <a:gd name="connsiteX0" fmla="*/ 0 w 351749"/>
                    <a:gd name="connsiteY0" fmla="*/ 54047 h 299445"/>
                    <a:gd name="connsiteX1" fmla="*/ 0 w 351749"/>
                    <a:gd name="connsiteY1" fmla="*/ 54047 h 299445"/>
                    <a:gd name="connsiteX2" fmla="*/ 51177 w 351749"/>
                    <a:gd name="connsiteY2" fmla="*/ 67918 h 299445"/>
                    <a:gd name="connsiteX3" fmla="*/ 103311 w 351749"/>
                    <a:gd name="connsiteY3" fmla="*/ 71744 h 299445"/>
                    <a:gd name="connsiteX4" fmla="*/ 154489 w 351749"/>
                    <a:gd name="connsiteY4" fmla="*/ 74135 h 299445"/>
                    <a:gd name="connsiteX5" fmla="*/ 205666 w 351749"/>
                    <a:gd name="connsiteY5" fmla="*/ 61700 h 299445"/>
                    <a:gd name="connsiteX6" fmla="*/ 256843 w 351749"/>
                    <a:gd name="connsiteY6" fmla="*/ 54047 h 299445"/>
                    <a:gd name="connsiteX7" fmla="*/ 304194 w 351749"/>
                    <a:gd name="connsiteY7" fmla="*/ 31567 h 299445"/>
                    <a:gd name="connsiteX8" fmla="*/ 343893 w 351749"/>
                    <a:gd name="connsiteY8" fmla="*/ 0 h 299445"/>
                    <a:gd name="connsiteX9" fmla="*/ 351546 w 351749"/>
                    <a:gd name="connsiteY9" fmla="*/ 51656 h 299445"/>
                    <a:gd name="connsiteX10" fmla="*/ 339110 w 351749"/>
                    <a:gd name="connsiteY10" fmla="*/ 104746 h 299445"/>
                    <a:gd name="connsiteX11" fmla="*/ 319022 w 351749"/>
                    <a:gd name="connsiteY11" fmla="*/ 154967 h 299445"/>
                    <a:gd name="connsiteX12" fmla="*/ 300368 w 351749"/>
                    <a:gd name="connsiteY12" fmla="*/ 206623 h 299445"/>
                    <a:gd name="connsiteX13" fmla="*/ 266888 w 351749"/>
                    <a:gd name="connsiteY13" fmla="*/ 249669 h 299445"/>
                    <a:gd name="connsiteX14" fmla="*/ 227189 w 351749"/>
                    <a:gd name="connsiteY14" fmla="*/ 285063 h 299445"/>
                    <a:gd name="connsiteX15" fmla="*/ 178882 w 351749"/>
                    <a:gd name="connsiteY15" fmla="*/ 298933 h 299445"/>
                    <a:gd name="connsiteX16" fmla="*/ 131531 w 351749"/>
                    <a:gd name="connsiteY16" fmla="*/ 277410 h 299445"/>
                    <a:gd name="connsiteX17" fmla="*/ 91832 w 351749"/>
                    <a:gd name="connsiteY17" fmla="*/ 243451 h 299445"/>
                    <a:gd name="connsiteX18" fmla="*/ 58352 w 351749"/>
                    <a:gd name="connsiteY18" fmla="*/ 203275 h 299445"/>
                    <a:gd name="connsiteX19" fmla="*/ 31089 w 351749"/>
                    <a:gd name="connsiteY19" fmla="*/ 157837 h 299445"/>
                    <a:gd name="connsiteX20" fmla="*/ 8609 w 351749"/>
                    <a:gd name="connsiteY20" fmla="*/ 110007 h 299445"/>
                    <a:gd name="connsiteX21" fmla="*/ 0 w 351749"/>
                    <a:gd name="connsiteY21" fmla="*/ 54047 h 299445"/>
                    <a:gd name="connsiteX22" fmla="*/ 0 w 351749"/>
                    <a:gd name="connsiteY22" fmla="*/ 54047 h 299445"/>
                    <a:gd name="connsiteX23" fmla="*/ 0 w 351749"/>
                    <a:gd name="connsiteY23" fmla="*/ 54047 h 299445"/>
                    <a:gd name="connsiteX24" fmla="*/ 0 w 351749"/>
                    <a:gd name="connsiteY24" fmla="*/ 54047 h 299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51749" h="299445">
                      <a:moveTo>
                        <a:pt x="0" y="54047"/>
                      </a:moveTo>
                      <a:lnTo>
                        <a:pt x="0" y="54047"/>
                      </a:lnTo>
                      <a:cubicBezTo>
                        <a:pt x="21045" y="40177"/>
                        <a:pt x="20088" y="62656"/>
                        <a:pt x="51177" y="67918"/>
                      </a:cubicBezTo>
                      <a:cubicBezTo>
                        <a:pt x="66005" y="69352"/>
                        <a:pt x="83701" y="70309"/>
                        <a:pt x="103311" y="71744"/>
                      </a:cubicBezTo>
                      <a:cubicBezTo>
                        <a:pt x="119573" y="71744"/>
                        <a:pt x="136792" y="75570"/>
                        <a:pt x="154489" y="74135"/>
                      </a:cubicBezTo>
                      <a:cubicBezTo>
                        <a:pt x="171707" y="72701"/>
                        <a:pt x="187969" y="65526"/>
                        <a:pt x="205666" y="61700"/>
                      </a:cubicBezTo>
                      <a:cubicBezTo>
                        <a:pt x="221928" y="59308"/>
                        <a:pt x="240582" y="60265"/>
                        <a:pt x="256843" y="54047"/>
                      </a:cubicBezTo>
                      <a:cubicBezTo>
                        <a:pt x="273105" y="48786"/>
                        <a:pt x="289367" y="40177"/>
                        <a:pt x="304194" y="31567"/>
                      </a:cubicBezTo>
                      <a:cubicBezTo>
                        <a:pt x="319022" y="22958"/>
                        <a:pt x="331457" y="12436"/>
                        <a:pt x="343893" y="0"/>
                      </a:cubicBezTo>
                      <a:cubicBezTo>
                        <a:pt x="350111" y="13870"/>
                        <a:pt x="352502" y="30132"/>
                        <a:pt x="351546" y="51656"/>
                      </a:cubicBezTo>
                      <a:cubicBezTo>
                        <a:pt x="350111" y="67918"/>
                        <a:pt x="343893" y="85614"/>
                        <a:pt x="339110" y="104746"/>
                      </a:cubicBezTo>
                      <a:cubicBezTo>
                        <a:pt x="334327" y="122443"/>
                        <a:pt x="326674" y="138705"/>
                        <a:pt x="319022" y="154967"/>
                      </a:cubicBezTo>
                      <a:cubicBezTo>
                        <a:pt x="312804" y="172664"/>
                        <a:pt x="308977" y="191317"/>
                        <a:pt x="300368" y="206623"/>
                      </a:cubicBezTo>
                      <a:cubicBezTo>
                        <a:pt x="291759" y="222885"/>
                        <a:pt x="277888" y="235799"/>
                        <a:pt x="266888" y="249669"/>
                      </a:cubicBezTo>
                      <a:cubicBezTo>
                        <a:pt x="254452" y="264974"/>
                        <a:pt x="242016" y="275019"/>
                        <a:pt x="227189" y="285063"/>
                      </a:cubicBezTo>
                      <a:cubicBezTo>
                        <a:pt x="212362" y="295107"/>
                        <a:pt x="197535" y="301325"/>
                        <a:pt x="178882" y="298933"/>
                      </a:cubicBezTo>
                      <a:cubicBezTo>
                        <a:pt x="164055" y="296542"/>
                        <a:pt x="147793" y="287454"/>
                        <a:pt x="131531" y="277410"/>
                      </a:cubicBezTo>
                      <a:cubicBezTo>
                        <a:pt x="117660" y="268801"/>
                        <a:pt x="105225" y="255887"/>
                        <a:pt x="91832" y="243451"/>
                      </a:cubicBezTo>
                      <a:cubicBezTo>
                        <a:pt x="80832" y="231016"/>
                        <a:pt x="69353" y="218102"/>
                        <a:pt x="58352" y="203275"/>
                      </a:cubicBezTo>
                      <a:cubicBezTo>
                        <a:pt x="48308" y="189404"/>
                        <a:pt x="38263" y="174099"/>
                        <a:pt x="31089" y="157837"/>
                      </a:cubicBezTo>
                      <a:cubicBezTo>
                        <a:pt x="23436" y="142531"/>
                        <a:pt x="13871" y="126269"/>
                        <a:pt x="8609" y="110007"/>
                      </a:cubicBezTo>
                      <a:cubicBezTo>
                        <a:pt x="2391" y="91832"/>
                        <a:pt x="957" y="71744"/>
                        <a:pt x="0" y="54047"/>
                      </a:cubicBezTo>
                      <a:lnTo>
                        <a:pt x="0" y="54047"/>
                      </a:lnTo>
                      <a:lnTo>
                        <a:pt x="0" y="54047"/>
                      </a:lnTo>
                      <a:lnTo>
                        <a:pt x="0" y="54047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0" name="Freeform: Shape 469">
                  <a:extLst>
                    <a:ext uri="{FF2B5EF4-FFF2-40B4-BE49-F238E27FC236}">
                      <a16:creationId xmlns:a16="http://schemas.microsoft.com/office/drawing/2014/main" id="{6F6F8384-2F6E-D8A6-5184-44806ED0A11A}"/>
                    </a:ext>
                  </a:extLst>
                </p:cNvPr>
                <p:cNvSpPr/>
                <p:nvPr/>
              </p:nvSpPr>
              <p:spPr>
                <a:xfrm>
                  <a:off x="3752859" y="6037705"/>
                  <a:ext cx="1069964" cy="73228"/>
                </a:xfrm>
                <a:custGeom>
                  <a:avLst/>
                  <a:gdLst>
                    <a:gd name="connsiteX0" fmla="*/ 3392055 w 3392054"/>
                    <a:gd name="connsiteY0" fmla="*/ 76728 h 86733"/>
                    <a:gd name="connsiteX1" fmla="*/ 3392055 w 3392054"/>
                    <a:gd name="connsiteY1" fmla="*/ 76728 h 86733"/>
                    <a:gd name="connsiteX2" fmla="*/ 3338486 w 3392054"/>
                    <a:gd name="connsiteY2" fmla="*/ 78163 h 86733"/>
                    <a:gd name="connsiteX3" fmla="*/ 3283961 w 3392054"/>
                    <a:gd name="connsiteY3" fmla="*/ 74337 h 86733"/>
                    <a:gd name="connsiteX4" fmla="*/ 3229435 w 3392054"/>
                    <a:gd name="connsiteY4" fmla="*/ 79598 h 86733"/>
                    <a:gd name="connsiteX5" fmla="*/ 3175866 w 3392054"/>
                    <a:gd name="connsiteY5" fmla="*/ 77206 h 86733"/>
                    <a:gd name="connsiteX6" fmla="*/ 3121341 w 3392054"/>
                    <a:gd name="connsiteY6" fmla="*/ 75771 h 86733"/>
                    <a:gd name="connsiteX7" fmla="*/ 3066816 w 3392054"/>
                    <a:gd name="connsiteY7" fmla="*/ 74337 h 86733"/>
                    <a:gd name="connsiteX8" fmla="*/ 3013247 w 3392054"/>
                    <a:gd name="connsiteY8" fmla="*/ 81989 h 86733"/>
                    <a:gd name="connsiteX9" fmla="*/ 2958721 w 3392054"/>
                    <a:gd name="connsiteY9" fmla="*/ 76728 h 86733"/>
                    <a:gd name="connsiteX10" fmla="*/ 2905152 w 3392054"/>
                    <a:gd name="connsiteY10" fmla="*/ 78163 h 86733"/>
                    <a:gd name="connsiteX11" fmla="*/ 2850627 w 3392054"/>
                    <a:gd name="connsiteY11" fmla="*/ 78163 h 86733"/>
                    <a:gd name="connsiteX12" fmla="*/ 2796102 w 3392054"/>
                    <a:gd name="connsiteY12" fmla="*/ 76728 h 86733"/>
                    <a:gd name="connsiteX13" fmla="*/ 2742533 w 3392054"/>
                    <a:gd name="connsiteY13" fmla="*/ 76728 h 86733"/>
                    <a:gd name="connsiteX14" fmla="*/ 2688007 w 3392054"/>
                    <a:gd name="connsiteY14" fmla="*/ 78163 h 86733"/>
                    <a:gd name="connsiteX15" fmla="*/ 2634439 w 3392054"/>
                    <a:gd name="connsiteY15" fmla="*/ 75771 h 86733"/>
                    <a:gd name="connsiteX16" fmla="*/ 2579913 w 3392054"/>
                    <a:gd name="connsiteY16" fmla="*/ 81033 h 86733"/>
                    <a:gd name="connsiteX17" fmla="*/ 2525388 w 3392054"/>
                    <a:gd name="connsiteY17" fmla="*/ 74815 h 86733"/>
                    <a:gd name="connsiteX18" fmla="*/ 2470862 w 3392054"/>
                    <a:gd name="connsiteY18" fmla="*/ 76250 h 86733"/>
                    <a:gd name="connsiteX19" fmla="*/ 2417293 w 3392054"/>
                    <a:gd name="connsiteY19" fmla="*/ 80076 h 86733"/>
                    <a:gd name="connsiteX20" fmla="*/ 2362768 w 3392054"/>
                    <a:gd name="connsiteY20" fmla="*/ 82468 h 86733"/>
                    <a:gd name="connsiteX21" fmla="*/ 2308243 w 3392054"/>
                    <a:gd name="connsiteY21" fmla="*/ 74815 h 86733"/>
                    <a:gd name="connsiteX22" fmla="*/ 2254674 w 3392054"/>
                    <a:gd name="connsiteY22" fmla="*/ 77206 h 86733"/>
                    <a:gd name="connsiteX23" fmla="*/ 2200148 w 3392054"/>
                    <a:gd name="connsiteY23" fmla="*/ 82468 h 86733"/>
                    <a:gd name="connsiteX24" fmla="*/ 2145623 w 3392054"/>
                    <a:gd name="connsiteY24" fmla="*/ 74815 h 86733"/>
                    <a:gd name="connsiteX25" fmla="*/ 2092054 w 3392054"/>
                    <a:gd name="connsiteY25" fmla="*/ 77206 h 86733"/>
                    <a:gd name="connsiteX26" fmla="*/ 2037529 w 3392054"/>
                    <a:gd name="connsiteY26" fmla="*/ 78641 h 86733"/>
                    <a:gd name="connsiteX27" fmla="*/ 1983003 w 3392054"/>
                    <a:gd name="connsiteY27" fmla="*/ 77206 h 86733"/>
                    <a:gd name="connsiteX28" fmla="*/ 1929435 w 3392054"/>
                    <a:gd name="connsiteY28" fmla="*/ 79598 h 86733"/>
                    <a:gd name="connsiteX29" fmla="*/ 1874909 w 3392054"/>
                    <a:gd name="connsiteY29" fmla="*/ 77206 h 86733"/>
                    <a:gd name="connsiteX30" fmla="*/ 1820384 w 3392054"/>
                    <a:gd name="connsiteY30" fmla="*/ 78641 h 86733"/>
                    <a:gd name="connsiteX31" fmla="*/ 1765858 w 3392054"/>
                    <a:gd name="connsiteY31" fmla="*/ 76250 h 86733"/>
                    <a:gd name="connsiteX32" fmla="*/ 1712289 w 3392054"/>
                    <a:gd name="connsiteY32" fmla="*/ 78641 h 86733"/>
                    <a:gd name="connsiteX33" fmla="*/ 1657764 w 3392054"/>
                    <a:gd name="connsiteY33" fmla="*/ 81033 h 86733"/>
                    <a:gd name="connsiteX34" fmla="*/ 1603238 w 3392054"/>
                    <a:gd name="connsiteY34" fmla="*/ 82468 h 86733"/>
                    <a:gd name="connsiteX35" fmla="*/ 1549670 w 3392054"/>
                    <a:gd name="connsiteY35" fmla="*/ 81033 h 86733"/>
                    <a:gd name="connsiteX36" fmla="*/ 1495144 w 3392054"/>
                    <a:gd name="connsiteY36" fmla="*/ 77206 h 86733"/>
                    <a:gd name="connsiteX37" fmla="*/ 1440619 w 3392054"/>
                    <a:gd name="connsiteY37" fmla="*/ 79598 h 86733"/>
                    <a:gd name="connsiteX38" fmla="*/ 1387050 w 3392054"/>
                    <a:gd name="connsiteY38" fmla="*/ 79598 h 86733"/>
                    <a:gd name="connsiteX39" fmla="*/ 1332525 w 3392054"/>
                    <a:gd name="connsiteY39" fmla="*/ 79598 h 86733"/>
                    <a:gd name="connsiteX40" fmla="*/ 1277999 w 3392054"/>
                    <a:gd name="connsiteY40" fmla="*/ 75771 h 86733"/>
                    <a:gd name="connsiteX41" fmla="*/ 1224430 w 3392054"/>
                    <a:gd name="connsiteY41" fmla="*/ 74337 h 86733"/>
                    <a:gd name="connsiteX42" fmla="*/ 1169905 w 3392054"/>
                    <a:gd name="connsiteY42" fmla="*/ 80554 h 86733"/>
                    <a:gd name="connsiteX43" fmla="*/ 1116336 w 3392054"/>
                    <a:gd name="connsiteY43" fmla="*/ 76728 h 86733"/>
                    <a:gd name="connsiteX44" fmla="*/ 1061811 w 3392054"/>
                    <a:gd name="connsiteY44" fmla="*/ 80554 h 86733"/>
                    <a:gd name="connsiteX45" fmla="*/ 1018286 w 3392054"/>
                    <a:gd name="connsiteY45" fmla="*/ 59031 h 86733"/>
                    <a:gd name="connsiteX46" fmla="*/ 973327 w 3392054"/>
                    <a:gd name="connsiteY46" fmla="*/ 41334 h 86733"/>
                    <a:gd name="connsiteX47" fmla="*/ 929802 w 3392054"/>
                    <a:gd name="connsiteY47" fmla="*/ 22203 h 86733"/>
                    <a:gd name="connsiteX48" fmla="*/ 887712 w 3392054"/>
                    <a:gd name="connsiteY48" fmla="*/ 5941 h 86733"/>
                    <a:gd name="connsiteX49" fmla="*/ 911148 w 3392054"/>
                    <a:gd name="connsiteY49" fmla="*/ 38943 h 86733"/>
                    <a:gd name="connsiteX50" fmla="*/ 929802 w 3392054"/>
                    <a:gd name="connsiteY50" fmla="*/ 79119 h 86733"/>
                    <a:gd name="connsiteX51" fmla="*/ 877668 w 3392054"/>
                    <a:gd name="connsiteY51" fmla="*/ 52813 h 86733"/>
                    <a:gd name="connsiteX52" fmla="*/ 826491 w 3392054"/>
                    <a:gd name="connsiteY52" fmla="*/ 26507 h 86733"/>
                    <a:gd name="connsiteX53" fmla="*/ 772922 w 3392054"/>
                    <a:gd name="connsiteY53" fmla="*/ 2593 h 86733"/>
                    <a:gd name="connsiteX54" fmla="*/ 793967 w 3392054"/>
                    <a:gd name="connsiteY54" fmla="*/ 40378 h 86733"/>
                    <a:gd name="connsiteX55" fmla="*/ 811185 w 3392054"/>
                    <a:gd name="connsiteY55" fmla="*/ 78163 h 86733"/>
                    <a:gd name="connsiteX56" fmla="*/ 756660 w 3392054"/>
                    <a:gd name="connsiteY56" fmla="*/ 76728 h 86733"/>
                    <a:gd name="connsiteX57" fmla="*/ 703091 w 3392054"/>
                    <a:gd name="connsiteY57" fmla="*/ 74337 h 86733"/>
                    <a:gd name="connsiteX58" fmla="*/ 648565 w 3392054"/>
                    <a:gd name="connsiteY58" fmla="*/ 78163 h 86733"/>
                    <a:gd name="connsiteX59" fmla="*/ 594997 w 3392054"/>
                    <a:gd name="connsiteY59" fmla="*/ 74337 h 86733"/>
                    <a:gd name="connsiteX60" fmla="*/ 540471 w 3392054"/>
                    <a:gd name="connsiteY60" fmla="*/ 78163 h 86733"/>
                    <a:gd name="connsiteX61" fmla="*/ 486902 w 3392054"/>
                    <a:gd name="connsiteY61" fmla="*/ 79598 h 86733"/>
                    <a:gd name="connsiteX62" fmla="*/ 432377 w 3392054"/>
                    <a:gd name="connsiteY62" fmla="*/ 75771 h 86733"/>
                    <a:gd name="connsiteX63" fmla="*/ 378808 w 3392054"/>
                    <a:gd name="connsiteY63" fmla="*/ 77206 h 86733"/>
                    <a:gd name="connsiteX64" fmla="*/ 324283 w 3392054"/>
                    <a:gd name="connsiteY64" fmla="*/ 78641 h 86733"/>
                    <a:gd name="connsiteX65" fmla="*/ 270714 w 3392054"/>
                    <a:gd name="connsiteY65" fmla="*/ 80076 h 86733"/>
                    <a:gd name="connsiteX66" fmla="*/ 216189 w 3392054"/>
                    <a:gd name="connsiteY66" fmla="*/ 80076 h 86733"/>
                    <a:gd name="connsiteX67" fmla="*/ 162620 w 3392054"/>
                    <a:gd name="connsiteY67" fmla="*/ 78641 h 86733"/>
                    <a:gd name="connsiteX68" fmla="*/ 108094 w 3392054"/>
                    <a:gd name="connsiteY68" fmla="*/ 78641 h 86733"/>
                    <a:gd name="connsiteX69" fmla="*/ 54525 w 3392054"/>
                    <a:gd name="connsiteY69" fmla="*/ 77206 h 86733"/>
                    <a:gd name="connsiteX70" fmla="*/ 0 w 3392054"/>
                    <a:gd name="connsiteY70" fmla="*/ 75771 h 86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3392054" h="86733">
                      <a:moveTo>
                        <a:pt x="3392055" y="76728"/>
                      </a:moveTo>
                      <a:lnTo>
                        <a:pt x="3392055" y="76728"/>
                      </a:lnTo>
                      <a:cubicBezTo>
                        <a:pt x="3374836" y="76728"/>
                        <a:pt x="3356183" y="78163"/>
                        <a:pt x="3338486" y="78163"/>
                      </a:cubicBezTo>
                      <a:cubicBezTo>
                        <a:pt x="3319833" y="78163"/>
                        <a:pt x="3302614" y="74337"/>
                        <a:pt x="3283961" y="74337"/>
                      </a:cubicBezTo>
                      <a:cubicBezTo>
                        <a:pt x="3266742" y="74337"/>
                        <a:pt x="3248089" y="79598"/>
                        <a:pt x="3229435" y="79598"/>
                      </a:cubicBezTo>
                      <a:cubicBezTo>
                        <a:pt x="3212217" y="79598"/>
                        <a:pt x="3193563" y="77206"/>
                        <a:pt x="3175866" y="77206"/>
                      </a:cubicBezTo>
                      <a:cubicBezTo>
                        <a:pt x="3157213" y="77206"/>
                        <a:pt x="3139994" y="75771"/>
                        <a:pt x="3121341" y="75771"/>
                      </a:cubicBezTo>
                      <a:cubicBezTo>
                        <a:pt x="3104122" y="75771"/>
                        <a:pt x="3085469" y="74337"/>
                        <a:pt x="3066816" y="74337"/>
                      </a:cubicBezTo>
                      <a:cubicBezTo>
                        <a:pt x="3049597" y="74337"/>
                        <a:pt x="3030944" y="81989"/>
                        <a:pt x="3013247" y="81989"/>
                      </a:cubicBezTo>
                      <a:cubicBezTo>
                        <a:pt x="2994593" y="81989"/>
                        <a:pt x="2977375" y="76728"/>
                        <a:pt x="2958721" y="76728"/>
                      </a:cubicBezTo>
                      <a:cubicBezTo>
                        <a:pt x="2941503" y="76728"/>
                        <a:pt x="2922849" y="78163"/>
                        <a:pt x="2905152" y="78163"/>
                      </a:cubicBezTo>
                      <a:cubicBezTo>
                        <a:pt x="2886499" y="78163"/>
                        <a:pt x="2869280" y="78163"/>
                        <a:pt x="2850627" y="78163"/>
                      </a:cubicBezTo>
                      <a:cubicBezTo>
                        <a:pt x="2833408" y="78163"/>
                        <a:pt x="2814755" y="76728"/>
                        <a:pt x="2796102" y="76728"/>
                      </a:cubicBezTo>
                      <a:cubicBezTo>
                        <a:pt x="2778883" y="76728"/>
                        <a:pt x="2760230" y="76728"/>
                        <a:pt x="2742533" y="76728"/>
                      </a:cubicBezTo>
                      <a:cubicBezTo>
                        <a:pt x="2723879" y="76728"/>
                        <a:pt x="2706661" y="78163"/>
                        <a:pt x="2688007" y="78163"/>
                      </a:cubicBezTo>
                      <a:cubicBezTo>
                        <a:pt x="2670789" y="78163"/>
                        <a:pt x="2652135" y="75771"/>
                        <a:pt x="2634439" y="75771"/>
                      </a:cubicBezTo>
                      <a:cubicBezTo>
                        <a:pt x="2615785" y="75771"/>
                        <a:pt x="2597132" y="81033"/>
                        <a:pt x="2579913" y="81033"/>
                      </a:cubicBezTo>
                      <a:cubicBezTo>
                        <a:pt x="2561260" y="81033"/>
                        <a:pt x="2544041" y="74815"/>
                        <a:pt x="2525388" y="74815"/>
                      </a:cubicBezTo>
                      <a:cubicBezTo>
                        <a:pt x="2508169" y="74815"/>
                        <a:pt x="2489516" y="76250"/>
                        <a:pt x="2470862" y="76250"/>
                      </a:cubicBezTo>
                      <a:cubicBezTo>
                        <a:pt x="2453644" y="76250"/>
                        <a:pt x="2434990" y="80076"/>
                        <a:pt x="2417293" y="80076"/>
                      </a:cubicBezTo>
                      <a:cubicBezTo>
                        <a:pt x="2398640" y="80076"/>
                        <a:pt x="2381421" y="82468"/>
                        <a:pt x="2362768" y="82468"/>
                      </a:cubicBezTo>
                      <a:cubicBezTo>
                        <a:pt x="2344115" y="82468"/>
                        <a:pt x="2326896" y="74815"/>
                        <a:pt x="2308243" y="74815"/>
                      </a:cubicBezTo>
                      <a:cubicBezTo>
                        <a:pt x="2291024" y="74815"/>
                        <a:pt x="2272371" y="77206"/>
                        <a:pt x="2254674" y="77206"/>
                      </a:cubicBezTo>
                      <a:cubicBezTo>
                        <a:pt x="2236020" y="77206"/>
                        <a:pt x="2217367" y="82468"/>
                        <a:pt x="2200148" y="82468"/>
                      </a:cubicBezTo>
                      <a:cubicBezTo>
                        <a:pt x="2181495" y="82468"/>
                        <a:pt x="2164276" y="74815"/>
                        <a:pt x="2145623" y="74815"/>
                      </a:cubicBezTo>
                      <a:cubicBezTo>
                        <a:pt x="2128405" y="74815"/>
                        <a:pt x="2109751" y="77206"/>
                        <a:pt x="2092054" y="77206"/>
                      </a:cubicBezTo>
                      <a:cubicBezTo>
                        <a:pt x="2073401" y="77206"/>
                        <a:pt x="2054747" y="78641"/>
                        <a:pt x="2037529" y="78641"/>
                      </a:cubicBezTo>
                      <a:cubicBezTo>
                        <a:pt x="2018875" y="78641"/>
                        <a:pt x="2001657" y="77206"/>
                        <a:pt x="1983003" y="77206"/>
                      </a:cubicBezTo>
                      <a:cubicBezTo>
                        <a:pt x="1965785" y="77206"/>
                        <a:pt x="1947131" y="79598"/>
                        <a:pt x="1929435" y="79598"/>
                      </a:cubicBezTo>
                      <a:cubicBezTo>
                        <a:pt x="1910781" y="79598"/>
                        <a:pt x="1892128" y="77206"/>
                        <a:pt x="1874909" y="77206"/>
                      </a:cubicBezTo>
                      <a:cubicBezTo>
                        <a:pt x="1856256" y="77206"/>
                        <a:pt x="1839037" y="78641"/>
                        <a:pt x="1820384" y="78641"/>
                      </a:cubicBezTo>
                      <a:cubicBezTo>
                        <a:pt x="1801730" y="78641"/>
                        <a:pt x="1784512" y="76250"/>
                        <a:pt x="1765858" y="76250"/>
                      </a:cubicBezTo>
                      <a:cubicBezTo>
                        <a:pt x="1748640" y="76250"/>
                        <a:pt x="1729986" y="78641"/>
                        <a:pt x="1712289" y="78641"/>
                      </a:cubicBezTo>
                      <a:cubicBezTo>
                        <a:pt x="1693636" y="78641"/>
                        <a:pt x="1674982" y="81033"/>
                        <a:pt x="1657764" y="81033"/>
                      </a:cubicBezTo>
                      <a:cubicBezTo>
                        <a:pt x="1639110" y="81033"/>
                        <a:pt x="1621892" y="82468"/>
                        <a:pt x="1603238" y="82468"/>
                      </a:cubicBezTo>
                      <a:cubicBezTo>
                        <a:pt x="1584585" y="82468"/>
                        <a:pt x="1567366" y="81033"/>
                        <a:pt x="1549670" y="81033"/>
                      </a:cubicBezTo>
                      <a:cubicBezTo>
                        <a:pt x="1531016" y="81033"/>
                        <a:pt x="1512363" y="77206"/>
                        <a:pt x="1495144" y="77206"/>
                      </a:cubicBezTo>
                      <a:cubicBezTo>
                        <a:pt x="1476491" y="77206"/>
                        <a:pt x="1459272" y="79598"/>
                        <a:pt x="1440619" y="79598"/>
                      </a:cubicBezTo>
                      <a:cubicBezTo>
                        <a:pt x="1421965" y="79598"/>
                        <a:pt x="1404747" y="79598"/>
                        <a:pt x="1387050" y="79598"/>
                      </a:cubicBezTo>
                      <a:cubicBezTo>
                        <a:pt x="1368397" y="79598"/>
                        <a:pt x="1349743" y="79598"/>
                        <a:pt x="1332525" y="79598"/>
                      </a:cubicBezTo>
                      <a:cubicBezTo>
                        <a:pt x="1313871" y="79598"/>
                        <a:pt x="1295218" y="75771"/>
                        <a:pt x="1277999" y="75771"/>
                      </a:cubicBezTo>
                      <a:cubicBezTo>
                        <a:pt x="1259346" y="75771"/>
                        <a:pt x="1240692" y="74337"/>
                        <a:pt x="1224430" y="74337"/>
                      </a:cubicBezTo>
                      <a:cubicBezTo>
                        <a:pt x="1204342" y="74337"/>
                        <a:pt x="1185689" y="80554"/>
                        <a:pt x="1169905" y="80554"/>
                      </a:cubicBezTo>
                      <a:cubicBezTo>
                        <a:pt x="1148860" y="80554"/>
                        <a:pt x="1131163" y="76728"/>
                        <a:pt x="1116336" y="76728"/>
                      </a:cubicBezTo>
                      <a:cubicBezTo>
                        <a:pt x="1080464" y="76728"/>
                        <a:pt x="1086682" y="88207"/>
                        <a:pt x="1061811" y="80554"/>
                      </a:cubicBezTo>
                      <a:cubicBezTo>
                        <a:pt x="1038374" y="72902"/>
                        <a:pt x="1040766" y="68119"/>
                        <a:pt x="1018286" y="59031"/>
                      </a:cubicBezTo>
                      <a:cubicBezTo>
                        <a:pt x="995806" y="48987"/>
                        <a:pt x="995806" y="51378"/>
                        <a:pt x="973327" y="41334"/>
                      </a:cubicBezTo>
                      <a:cubicBezTo>
                        <a:pt x="950847" y="32725"/>
                        <a:pt x="952282" y="31290"/>
                        <a:pt x="929802" y="22203"/>
                      </a:cubicBezTo>
                      <a:cubicBezTo>
                        <a:pt x="907322" y="13593"/>
                        <a:pt x="906365" y="-10800"/>
                        <a:pt x="887712" y="5941"/>
                      </a:cubicBezTo>
                      <a:cubicBezTo>
                        <a:pt x="871450" y="19811"/>
                        <a:pt x="900148" y="19811"/>
                        <a:pt x="911148" y="38943"/>
                      </a:cubicBezTo>
                      <a:cubicBezTo>
                        <a:pt x="921193" y="58075"/>
                        <a:pt x="949890" y="70510"/>
                        <a:pt x="929802" y="79119"/>
                      </a:cubicBezTo>
                      <a:cubicBezTo>
                        <a:pt x="903496" y="90599"/>
                        <a:pt x="903496" y="65249"/>
                        <a:pt x="877668" y="52813"/>
                      </a:cubicBezTo>
                      <a:cubicBezTo>
                        <a:pt x="851362" y="40378"/>
                        <a:pt x="852797" y="38943"/>
                        <a:pt x="826491" y="26507"/>
                      </a:cubicBezTo>
                      <a:cubicBezTo>
                        <a:pt x="800184" y="14072"/>
                        <a:pt x="800184" y="-7452"/>
                        <a:pt x="772922" y="2593"/>
                      </a:cubicBezTo>
                      <a:cubicBezTo>
                        <a:pt x="754268" y="10245"/>
                        <a:pt x="783922" y="21724"/>
                        <a:pt x="793967" y="40378"/>
                      </a:cubicBezTo>
                      <a:cubicBezTo>
                        <a:pt x="802576" y="58075"/>
                        <a:pt x="825056" y="62858"/>
                        <a:pt x="811185" y="78163"/>
                      </a:cubicBezTo>
                      <a:cubicBezTo>
                        <a:pt x="792532" y="98251"/>
                        <a:pt x="783922" y="76728"/>
                        <a:pt x="756660" y="76728"/>
                      </a:cubicBezTo>
                      <a:cubicBezTo>
                        <a:pt x="729397" y="76728"/>
                        <a:pt x="729397" y="74337"/>
                        <a:pt x="703091" y="74337"/>
                      </a:cubicBezTo>
                      <a:cubicBezTo>
                        <a:pt x="675828" y="74337"/>
                        <a:pt x="675828" y="78163"/>
                        <a:pt x="648565" y="78163"/>
                      </a:cubicBezTo>
                      <a:cubicBezTo>
                        <a:pt x="621303" y="78163"/>
                        <a:pt x="621303" y="74337"/>
                        <a:pt x="594997" y="74337"/>
                      </a:cubicBezTo>
                      <a:cubicBezTo>
                        <a:pt x="567734" y="74337"/>
                        <a:pt x="567734" y="78163"/>
                        <a:pt x="540471" y="78163"/>
                      </a:cubicBezTo>
                      <a:cubicBezTo>
                        <a:pt x="513209" y="78163"/>
                        <a:pt x="513209" y="79598"/>
                        <a:pt x="486902" y="79598"/>
                      </a:cubicBezTo>
                      <a:cubicBezTo>
                        <a:pt x="459640" y="79598"/>
                        <a:pt x="459640" y="75771"/>
                        <a:pt x="432377" y="75771"/>
                      </a:cubicBezTo>
                      <a:cubicBezTo>
                        <a:pt x="405114" y="75771"/>
                        <a:pt x="405114" y="77206"/>
                        <a:pt x="378808" y="77206"/>
                      </a:cubicBezTo>
                      <a:cubicBezTo>
                        <a:pt x="351545" y="77206"/>
                        <a:pt x="351545" y="78641"/>
                        <a:pt x="324283" y="78641"/>
                      </a:cubicBezTo>
                      <a:cubicBezTo>
                        <a:pt x="297020" y="78641"/>
                        <a:pt x="297020" y="80076"/>
                        <a:pt x="270714" y="80076"/>
                      </a:cubicBezTo>
                      <a:cubicBezTo>
                        <a:pt x="243451" y="80076"/>
                        <a:pt x="243451" y="80076"/>
                        <a:pt x="216189" y="80076"/>
                      </a:cubicBezTo>
                      <a:cubicBezTo>
                        <a:pt x="188926" y="80076"/>
                        <a:pt x="188926" y="78641"/>
                        <a:pt x="162620" y="78641"/>
                      </a:cubicBezTo>
                      <a:cubicBezTo>
                        <a:pt x="135357" y="78641"/>
                        <a:pt x="135357" y="78641"/>
                        <a:pt x="108094" y="78641"/>
                      </a:cubicBezTo>
                      <a:cubicBezTo>
                        <a:pt x="80832" y="78641"/>
                        <a:pt x="80832" y="77206"/>
                        <a:pt x="54525" y="77206"/>
                      </a:cubicBezTo>
                      <a:cubicBezTo>
                        <a:pt x="27263" y="77206"/>
                        <a:pt x="27263" y="75771"/>
                        <a:pt x="0" y="75771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1" name="Freeform: Shape 470">
                  <a:extLst>
                    <a:ext uri="{FF2B5EF4-FFF2-40B4-BE49-F238E27FC236}">
                      <a16:creationId xmlns:a16="http://schemas.microsoft.com/office/drawing/2014/main" id="{3361ABED-0887-082A-78D2-DE5A48DAF32F}"/>
                    </a:ext>
                  </a:extLst>
                </p:cNvPr>
                <p:cNvSpPr/>
                <p:nvPr/>
              </p:nvSpPr>
              <p:spPr>
                <a:xfrm>
                  <a:off x="4997877" y="6106374"/>
                  <a:ext cx="779444" cy="2478"/>
                </a:xfrm>
                <a:custGeom>
                  <a:avLst/>
                  <a:gdLst>
                    <a:gd name="connsiteX0" fmla="*/ 1955263 w 1955262"/>
                    <a:gd name="connsiteY0" fmla="*/ 4305 h 6217"/>
                    <a:gd name="connsiteX1" fmla="*/ 1955263 w 1955262"/>
                    <a:gd name="connsiteY1" fmla="*/ 4305 h 6217"/>
                    <a:gd name="connsiteX2" fmla="*/ 1904085 w 1955262"/>
                    <a:gd name="connsiteY2" fmla="*/ 1913 h 6217"/>
                    <a:gd name="connsiteX3" fmla="*/ 417072 w 1955262"/>
                    <a:gd name="connsiteY3" fmla="*/ 3348 h 6217"/>
                    <a:gd name="connsiteX4" fmla="*/ 364938 w 1955262"/>
                    <a:gd name="connsiteY4" fmla="*/ 4783 h 6217"/>
                    <a:gd name="connsiteX5" fmla="*/ 312804 w 1955262"/>
                    <a:gd name="connsiteY5" fmla="*/ 2392 h 6217"/>
                    <a:gd name="connsiteX6" fmla="*/ 260670 w 1955262"/>
                    <a:gd name="connsiteY6" fmla="*/ 2392 h 6217"/>
                    <a:gd name="connsiteX7" fmla="*/ 208536 w 1955262"/>
                    <a:gd name="connsiteY7" fmla="*/ 0 h 6217"/>
                    <a:gd name="connsiteX8" fmla="*/ 156402 w 1955262"/>
                    <a:gd name="connsiteY8" fmla="*/ 6218 h 6217"/>
                    <a:gd name="connsiteX9" fmla="*/ 104268 w 1955262"/>
                    <a:gd name="connsiteY9" fmla="*/ 4783 h 6217"/>
                    <a:gd name="connsiteX10" fmla="*/ 52134 w 1955262"/>
                    <a:gd name="connsiteY10" fmla="*/ 6218 h 6217"/>
                    <a:gd name="connsiteX11" fmla="*/ 0 w 1955262"/>
                    <a:gd name="connsiteY11" fmla="*/ 0 h 6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55262" h="6217">
                      <a:moveTo>
                        <a:pt x="1955263" y="4305"/>
                      </a:moveTo>
                      <a:lnTo>
                        <a:pt x="1955263" y="4305"/>
                      </a:lnTo>
                      <a:cubicBezTo>
                        <a:pt x="1951436" y="4305"/>
                        <a:pt x="1932783" y="1913"/>
                        <a:pt x="1904085" y="1913"/>
                      </a:cubicBezTo>
                      <a:cubicBezTo>
                        <a:pt x="1889258" y="1913"/>
                        <a:pt x="436682" y="3348"/>
                        <a:pt x="417072" y="3348"/>
                      </a:cubicBezTo>
                      <a:cubicBezTo>
                        <a:pt x="400810" y="3348"/>
                        <a:pt x="383591" y="4783"/>
                        <a:pt x="364938" y="4783"/>
                      </a:cubicBezTo>
                      <a:cubicBezTo>
                        <a:pt x="348676" y="4783"/>
                        <a:pt x="331457" y="2392"/>
                        <a:pt x="312804" y="2392"/>
                      </a:cubicBezTo>
                      <a:cubicBezTo>
                        <a:pt x="296542" y="2392"/>
                        <a:pt x="279323" y="2392"/>
                        <a:pt x="260670" y="2392"/>
                      </a:cubicBezTo>
                      <a:cubicBezTo>
                        <a:pt x="243451" y="2392"/>
                        <a:pt x="227189" y="0"/>
                        <a:pt x="208536" y="0"/>
                      </a:cubicBezTo>
                      <a:cubicBezTo>
                        <a:pt x="191317" y="0"/>
                        <a:pt x="173621" y="6218"/>
                        <a:pt x="156402" y="6218"/>
                      </a:cubicBezTo>
                      <a:cubicBezTo>
                        <a:pt x="139183" y="6218"/>
                        <a:pt x="121486" y="4783"/>
                        <a:pt x="104268" y="4783"/>
                      </a:cubicBezTo>
                      <a:cubicBezTo>
                        <a:pt x="87050" y="4783"/>
                        <a:pt x="69353" y="6218"/>
                        <a:pt x="52134" y="6218"/>
                      </a:cubicBezTo>
                      <a:cubicBezTo>
                        <a:pt x="34916" y="6218"/>
                        <a:pt x="17219" y="0"/>
                        <a:pt x="0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2" name="Freeform: Shape 471">
                  <a:extLst>
                    <a:ext uri="{FF2B5EF4-FFF2-40B4-BE49-F238E27FC236}">
                      <a16:creationId xmlns:a16="http://schemas.microsoft.com/office/drawing/2014/main" id="{70CC973D-4D93-82C1-32E8-BB33F2217A32}"/>
                    </a:ext>
                  </a:extLst>
                </p:cNvPr>
                <p:cNvSpPr/>
                <p:nvPr/>
              </p:nvSpPr>
              <p:spPr>
                <a:xfrm>
                  <a:off x="4429656" y="5278402"/>
                  <a:ext cx="265244" cy="208149"/>
                </a:xfrm>
                <a:custGeom>
                  <a:avLst/>
                  <a:gdLst>
                    <a:gd name="connsiteX0" fmla="*/ 41700 w 665374"/>
                    <a:gd name="connsiteY0" fmla="*/ 10293 h 522150"/>
                    <a:gd name="connsiteX1" fmla="*/ 292326 w 665374"/>
                    <a:gd name="connsiteY1" fmla="*/ 197305 h 522150"/>
                    <a:gd name="connsiteX2" fmla="*/ 536255 w 665374"/>
                    <a:gd name="connsiteY2" fmla="*/ 362795 h 522150"/>
                    <a:gd name="connsiteX3" fmla="*/ 642436 w 665374"/>
                    <a:gd name="connsiteY3" fmla="*/ 465628 h 522150"/>
                    <a:gd name="connsiteX4" fmla="*/ 638610 w 665374"/>
                    <a:gd name="connsiteY4" fmla="*/ 492412 h 522150"/>
                    <a:gd name="connsiteX5" fmla="*/ 618522 w 665374"/>
                    <a:gd name="connsiteY5" fmla="*/ 509152 h 522150"/>
                    <a:gd name="connsiteX6" fmla="*/ 582650 w 665374"/>
                    <a:gd name="connsiteY6" fmla="*/ 506283 h 522150"/>
                    <a:gd name="connsiteX7" fmla="*/ 507558 w 665374"/>
                    <a:gd name="connsiteY7" fmla="*/ 479020 h 522150"/>
                    <a:gd name="connsiteX8" fmla="*/ 278934 w 665374"/>
                    <a:gd name="connsiteY8" fmla="*/ 346533 h 522150"/>
                    <a:gd name="connsiteX9" fmla="*/ 7741 w 665374"/>
                    <a:gd name="connsiteY9" fmla="*/ 195392 h 522150"/>
                    <a:gd name="connsiteX10" fmla="*/ 2480 w 665374"/>
                    <a:gd name="connsiteY10" fmla="*/ 204480 h 522150"/>
                    <a:gd name="connsiteX11" fmla="*/ 282760 w 665374"/>
                    <a:gd name="connsiteY11" fmla="*/ 360403 h 522150"/>
                    <a:gd name="connsiteX12" fmla="*/ 413334 w 665374"/>
                    <a:gd name="connsiteY12" fmla="*/ 434539 h 522150"/>
                    <a:gd name="connsiteX13" fmla="*/ 543908 w 665374"/>
                    <a:gd name="connsiteY13" fmla="*/ 506283 h 522150"/>
                    <a:gd name="connsiteX14" fmla="*/ 658220 w 665374"/>
                    <a:gd name="connsiteY14" fmla="*/ 510109 h 522150"/>
                    <a:gd name="connsiteX15" fmla="*/ 629522 w 665374"/>
                    <a:gd name="connsiteY15" fmla="*/ 432147 h 522150"/>
                    <a:gd name="connsiteX16" fmla="*/ 376505 w 665374"/>
                    <a:gd name="connsiteY16" fmla="*/ 243222 h 522150"/>
                    <a:gd name="connsiteX17" fmla="*/ 46483 w 665374"/>
                    <a:gd name="connsiteY17" fmla="*/ 727 h 522150"/>
                    <a:gd name="connsiteX18" fmla="*/ 41700 w 665374"/>
                    <a:gd name="connsiteY18" fmla="*/ 10293 h 522150"/>
                    <a:gd name="connsiteX19" fmla="*/ 41700 w 665374"/>
                    <a:gd name="connsiteY19" fmla="*/ 10293 h 52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665374" h="522150">
                      <a:moveTo>
                        <a:pt x="41700" y="10293"/>
                      </a:moveTo>
                      <a:cubicBezTo>
                        <a:pt x="124445" y="73906"/>
                        <a:pt x="207190" y="137041"/>
                        <a:pt x="292326" y="197305"/>
                      </a:cubicBezTo>
                      <a:cubicBezTo>
                        <a:pt x="372201" y="254222"/>
                        <a:pt x="457337" y="304443"/>
                        <a:pt x="536255" y="362795"/>
                      </a:cubicBezTo>
                      <a:cubicBezTo>
                        <a:pt x="575954" y="391971"/>
                        <a:pt x="614217" y="424973"/>
                        <a:pt x="642436" y="465628"/>
                      </a:cubicBezTo>
                      <a:cubicBezTo>
                        <a:pt x="651524" y="479020"/>
                        <a:pt x="650089" y="474237"/>
                        <a:pt x="638610" y="492412"/>
                      </a:cubicBezTo>
                      <a:cubicBezTo>
                        <a:pt x="625218" y="513935"/>
                        <a:pt x="633827" y="506761"/>
                        <a:pt x="618522" y="509152"/>
                      </a:cubicBezTo>
                      <a:cubicBezTo>
                        <a:pt x="607521" y="511066"/>
                        <a:pt x="593172" y="508196"/>
                        <a:pt x="582650" y="506283"/>
                      </a:cubicBezTo>
                      <a:cubicBezTo>
                        <a:pt x="556343" y="501500"/>
                        <a:pt x="531472" y="490977"/>
                        <a:pt x="507558" y="479020"/>
                      </a:cubicBezTo>
                      <a:cubicBezTo>
                        <a:pt x="429596" y="438843"/>
                        <a:pt x="356417" y="388623"/>
                        <a:pt x="278934" y="346533"/>
                      </a:cubicBezTo>
                      <a:cubicBezTo>
                        <a:pt x="188058" y="297269"/>
                        <a:pt x="95269" y="249918"/>
                        <a:pt x="7741" y="195392"/>
                      </a:cubicBezTo>
                      <a:cubicBezTo>
                        <a:pt x="2002" y="191566"/>
                        <a:pt x="-3259" y="200653"/>
                        <a:pt x="2480" y="204480"/>
                      </a:cubicBezTo>
                      <a:cubicBezTo>
                        <a:pt x="93356" y="261397"/>
                        <a:pt x="188536" y="309704"/>
                        <a:pt x="282760" y="360403"/>
                      </a:cubicBezTo>
                      <a:cubicBezTo>
                        <a:pt x="326763" y="384318"/>
                        <a:pt x="370766" y="408233"/>
                        <a:pt x="413334" y="434539"/>
                      </a:cubicBezTo>
                      <a:cubicBezTo>
                        <a:pt x="455424" y="460367"/>
                        <a:pt x="497035" y="489064"/>
                        <a:pt x="543908" y="506283"/>
                      </a:cubicBezTo>
                      <a:cubicBezTo>
                        <a:pt x="570214" y="515849"/>
                        <a:pt x="634784" y="534502"/>
                        <a:pt x="658220" y="510109"/>
                      </a:cubicBezTo>
                      <a:cubicBezTo>
                        <a:pt x="680700" y="486673"/>
                        <a:pt x="644349" y="449366"/>
                        <a:pt x="629522" y="432147"/>
                      </a:cubicBezTo>
                      <a:cubicBezTo>
                        <a:pt x="560648" y="352272"/>
                        <a:pt x="462598" y="301573"/>
                        <a:pt x="376505" y="243222"/>
                      </a:cubicBezTo>
                      <a:cubicBezTo>
                        <a:pt x="263628" y="166216"/>
                        <a:pt x="154577" y="83950"/>
                        <a:pt x="46483" y="727"/>
                      </a:cubicBezTo>
                      <a:cubicBezTo>
                        <a:pt x="41700" y="-2621"/>
                        <a:pt x="36439" y="6466"/>
                        <a:pt x="41700" y="10293"/>
                      </a:cubicBezTo>
                      <a:lnTo>
                        <a:pt x="41700" y="10293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52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3" name="Freeform: Shape 472">
                  <a:extLst>
                    <a:ext uri="{FF2B5EF4-FFF2-40B4-BE49-F238E27FC236}">
                      <a16:creationId xmlns:a16="http://schemas.microsoft.com/office/drawing/2014/main" id="{E1AB8F5D-9CB9-FD43-6BF4-065F711DEF62}"/>
                    </a:ext>
                  </a:extLst>
                </p:cNvPr>
                <p:cNvSpPr/>
                <p:nvPr/>
              </p:nvSpPr>
              <p:spPr>
                <a:xfrm>
                  <a:off x="4385783" y="5582565"/>
                  <a:ext cx="25172" cy="71311"/>
                </a:xfrm>
                <a:custGeom>
                  <a:avLst/>
                  <a:gdLst>
                    <a:gd name="connsiteX0" fmla="*/ 11617 w 63146"/>
                    <a:gd name="connsiteY0" fmla="*/ 172306 h 178886"/>
                    <a:gd name="connsiteX1" fmla="*/ 18792 w 63146"/>
                    <a:gd name="connsiteY1" fmla="*/ 132129 h 178886"/>
                    <a:gd name="connsiteX2" fmla="*/ 33619 w 63146"/>
                    <a:gd name="connsiteY2" fmla="*/ 89561 h 178886"/>
                    <a:gd name="connsiteX3" fmla="*/ 62795 w 63146"/>
                    <a:gd name="connsiteY3" fmla="*/ 6338 h 178886"/>
                    <a:gd name="connsiteX4" fmla="*/ 52751 w 63146"/>
                    <a:gd name="connsiteY4" fmla="*/ 3469 h 178886"/>
                    <a:gd name="connsiteX5" fmla="*/ 21183 w 63146"/>
                    <a:gd name="connsiteY5" fmla="*/ 93388 h 178886"/>
                    <a:gd name="connsiteX6" fmla="*/ 5878 w 63146"/>
                    <a:gd name="connsiteY6" fmla="*/ 137391 h 178886"/>
                    <a:gd name="connsiteX7" fmla="*/ 1573 w 63146"/>
                    <a:gd name="connsiteY7" fmla="*/ 175654 h 178886"/>
                    <a:gd name="connsiteX8" fmla="*/ 11617 w 63146"/>
                    <a:gd name="connsiteY8" fmla="*/ 172306 h 178886"/>
                    <a:gd name="connsiteX9" fmla="*/ 11617 w 63146"/>
                    <a:gd name="connsiteY9" fmla="*/ 172306 h 178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3146" h="178886">
                      <a:moveTo>
                        <a:pt x="11617" y="172306"/>
                      </a:moveTo>
                      <a:cubicBezTo>
                        <a:pt x="7313" y="158436"/>
                        <a:pt x="14009" y="144565"/>
                        <a:pt x="18792" y="132129"/>
                      </a:cubicBezTo>
                      <a:cubicBezTo>
                        <a:pt x="23575" y="117781"/>
                        <a:pt x="28836" y="103910"/>
                        <a:pt x="33619" y="89561"/>
                      </a:cubicBezTo>
                      <a:cubicBezTo>
                        <a:pt x="43185" y="61820"/>
                        <a:pt x="53229" y="34079"/>
                        <a:pt x="62795" y="6338"/>
                      </a:cubicBezTo>
                      <a:cubicBezTo>
                        <a:pt x="65186" y="121"/>
                        <a:pt x="54664" y="-2749"/>
                        <a:pt x="52751" y="3469"/>
                      </a:cubicBezTo>
                      <a:cubicBezTo>
                        <a:pt x="42228" y="33601"/>
                        <a:pt x="31706" y="63255"/>
                        <a:pt x="21183" y="93388"/>
                      </a:cubicBezTo>
                      <a:cubicBezTo>
                        <a:pt x="15922" y="108215"/>
                        <a:pt x="10661" y="122564"/>
                        <a:pt x="5878" y="137391"/>
                      </a:cubicBezTo>
                      <a:cubicBezTo>
                        <a:pt x="1573" y="149826"/>
                        <a:pt x="-2253" y="162262"/>
                        <a:pt x="1573" y="175654"/>
                      </a:cubicBezTo>
                      <a:cubicBezTo>
                        <a:pt x="3486" y="181394"/>
                        <a:pt x="13530" y="179002"/>
                        <a:pt x="11617" y="172306"/>
                      </a:cubicBezTo>
                      <a:lnTo>
                        <a:pt x="11617" y="172306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6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4" name="Freeform: Shape 473">
                  <a:extLst>
                    <a:ext uri="{FF2B5EF4-FFF2-40B4-BE49-F238E27FC236}">
                      <a16:creationId xmlns:a16="http://schemas.microsoft.com/office/drawing/2014/main" id="{95BA79A6-1B7B-0A12-5C78-50AB01B635B0}"/>
                    </a:ext>
                  </a:extLst>
                </p:cNvPr>
                <p:cNvSpPr/>
                <p:nvPr/>
              </p:nvSpPr>
              <p:spPr>
                <a:xfrm>
                  <a:off x="4415176" y="5369836"/>
                  <a:ext cx="23311" cy="169949"/>
                </a:xfrm>
                <a:custGeom>
                  <a:avLst/>
                  <a:gdLst>
                    <a:gd name="connsiteX0" fmla="*/ 10106 w 58477"/>
                    <a:gd name="connsiteY0" fmla="*/ 421361 h 426324"/>
                    <a:gd name="connsiteX1" fmla="*/ 58413 w 58477"/>
                    <a:gd name="connsiteY1" fmla="*/ 6681 h 426324"/>
                    <a:gd name="connsiteX2" fmla="*/ 48369 w 58477"/>
                    <a:gd name="connsiteY2" fmla="*/ 3811 h 426324"/>
                    <a:gd name="connsiteX3" fmla="*/ 61 w 58477"/>
                    <a:gd name="connsiteY3" fmla="*/ 420883 h 426324"/>
                    <a:gd name="connsiteX4" fmla="*/ 10106 w 58477"/>
                    <a:gd name="connsiteY4" fmla="*/ 421361 h 426324"/>
                    <a:gd name="connsiteX5" fmla="*/ 10106 w 58477"/>
                    <a:gd name="connsiteY5" fmla="*/ 421361 h 4263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8477" h="426324">
                      <a:moveTo>
                        <a:pt x="10106" y="421361"/>
                      </a:moveTo>
                      <a:cubicBezTo>
                        <a:pt x="22541" y="282656"/>
                        <a:pt x="38325" y="144429"/>
                        <a:pt x="58413" y="6681"/>
                      </a:cubicBezTo>
                      <a:cubicBezTo>
                        <a:pt x="59370" y="-15"/>
                        <a:pt x="49326" y="-2885"/>
                        <a:pt x="48369" y="3811"/>
                      </a:cubicBezTo>
                      <a:cubicBezTo>
                        <a:pt x="28281" y="142516"/>
                        <a:pt x="12497" y="281700"/>
                        <a:pt x="61" y="420883"/>
                      </a:cubicBezTo>
                      <a:cubicBezTo>
                        <a:pt x="-895" y="428057"/>
                        <a:pt x="9627" y="428057"/>
                        <a:pt x="10106" y="421361"/>
                      </a:cubicBezTo>
                      <a:lnTo>
                        <a:pt x="10106" y="421361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52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5" name="Freeform: Shape 474">
                  <a:extLst>
                    <a:ext uri="{FF2B5EF4-FFF2-40B4-BE49-F238E27FC236}">
                      <a16:creationId xmlns:a16="http://schemas.microsoft.com/office/drawing/2014/main" id="{8CDE5309-29FE-E9C3-D216-0328FC2DB58D}"/>
                    </a:ext>
                  </a:extLst>
                </p:cNvPr>
                <p:cNvSpPr/>
                <p:nvPr/>
              </p:nvSpPr>
              <p:spPr>
                <a:xfrm>
                  <a:off x="4785665" y="4939735"/>
                  <a:ext cx="585917" cy="1167783"/>
                </a:xfrm>
                <a:custGeom>
                  <a:avLst/>
                  <a:gdLst>
                    <a:gd name="connsiteX0" fmla="*/ 637565 w 1469794"/>
                    <a:gd name="connsiteY0" fmla="*/ 1056907 h 2929424"/>
                    <a:gd name="connsiteX1" fmla="*/ 210927 w 1469794"/>
                    <a:gd name="connsiteY1" fmla="*/ 1297488 h 2929424"/>
                    <a:gd name="connsiteX2" fmla="*/ 124356 w 1469794"/>
                    <a:gd name="connsiteY2" fmla="*/ 1345318 h 2929424"/>
                    <a:gd name="connsiteX3" fmla="*/ 41612 w 1469794"/>
                    <a:gd name="connsiteY3" fmla="*/ 1369232 h 2929424"/>
                    <a:gd name="connsiteX4" fmla="*/ 0 w 1469794"/>
                    <a:gd name="connsiteY4" fmla="*/ 1356797 h 2929424"/>
                    <a:gd name="connsiteX5" fmla="*/ 10523 w 1469794"/>
                    <a:gd name="connsiteY5" fmla="*/ 1301793 h 2929424"/>
                    <a:gd name="connsiteX6" fmla="*/ 65048 w 1469794"/>
                    <a:gd name="connsiteY6" fmla="*/ 1253485 h 2929424"/>
                    <a:gd name="connsiteX7" fmla="*/ 121486 w 1469794"/>
                    <a:gd name="connsiteY7" fmla="*/ 1203743 h 2929424"/>
                    <a:gd name="connsiteX8" fmla="*/ 575865 w 1469794"/>
                    <a:gd name="connsiteY8" fmla="*/ 887113 h 2929424"/>
                    <a:gd name="connsiteX9" fmla="*/ 755225 w 1469794"/>
                    <a:gd name="connsiteY9" fmla="*/ 747451 h 2929424"/>
                    <a:gd name="connsiteX10" fmla="*/ 778661 w 1469794"/>
                    <a:gd name="connsiteY10" fmla="*/ 56796 h 2929424"/>
                    <a:gd name="connsiteX11" fmla="*/ 1129729 w 1469794"/>
                    <a:gd name="connsiteY11" fmla="*/ 719710 h 2929424"/>
                    <a:gd name="connsiteX12" fmla="*/ 1222039 w 1469794"/>
                    <a:gd name="connsiteY12" fmla="*/ 904810 h 2929424"/>
                    <a:gd name="connsiteX13" fmla="*/ 1368875 w 1469794"/>
                    <a:gd name="connsiteY13" fmla="*/ 1384059 h 2929424"/>
                    <a:gd name="connsiteX14" fmla="*/ 1253128 w 1469794"/>
                    <a:gd name="connsiteY14" fmla="*/ 1458195 h 2929424"/>
                    <a:gd name="connsiteX15" fmla="*/ 1253128 w 1469794"/>
                    <a:gd name="connsiteY15" fmla="*/ 1736561 h 2929424"/>
                    <a:gd name="connsiteX16" fmla="*/ 1041722 w 1469794"/>
                    <a:gd name="connsiteY16" fmla="*/ 2664450 h 2929424"/>
                    <a:gd name="connsiteX17" fmla="*/ 1041722 w 1469794"/>
                    <a:gd name="connsiteY17" fmla="*/ 2664450 h 2929424"/>
                    <a:gd name="connsiteX18" fmla="*/ 1041722 w 1469794"/>
                    <a:gd name="connsiteY18" fmla="*/ 2664450 h 2929424"/>
                    <a:gd name="connsiteX19" fmla="*/ 1041722 w 1469794"/>
                    <a:gd name="connsiteY19" fmla="*/ 2664450 h 2929424"/>
                    <a:gd name="connsiteX20" fmla="*/ 1469795 w 1469794"/>
                    <a:gd name="connsiteY20" fmla="*/ 2891161 h 2929424"/>
                    <a:gd name="connsiteX21" fmla="*/ 1179949 w 1469794"/>
                    <a:gd name="connsiteY21" fmla="*/ 2926554 h 2929424"/>
                    <a:gd name="connsiteX22" fmla="*/ 1140251 w 1469794"/>
                    <a:gd name="connsiteY22" fmla="*/ 2862463 h 2929424"/>
                    <a:gd name="connsiteX23" fmla="*/ 1092900 w 1469794"/>
                    <a:gd name="connsiteY23" fmla="*/ 2929424 h 2929424"/>
                    <a:gd name="connsiteX24" fmla="*/ 1041722 w 1469794"/>
                    <a:gd name="connsiteY24" fmla="*/ 2929424 h 2929424"/>
                    <a:gd name="connsiteX25" fmla="*/ 1018764 w 1469794"/>
                    <a:gd name="connsiteY25" fmla="*/ 2818460 h 2929424"/>
                    <a:gd name="connsiteX26" fmla="*/ 931715 w 1469794"/>
                    <a:gd name="connsiteY26" fmla="*/ 2806981 h 2929424"/>
                    <a:gd name="connsiteX27" fmla="*/ 910670 w 1469794"/>
                    <a:gd name="connsiteY27" fmla="*/ 2927989 h 2929424"/>
                    <a:gd name="connsiteX28" fmla="*/ 859493 w 1469794"/>
                    <a:gd name="connsiteY28" fmla="*/ 2916510 h 2929424"/>
                    <a:gd name="connsiteX29" fmla="*/ 807359 w 1469794"/>
                    <a:gd name="connsiteY29" fmla="*/ 2843331 h 2929424"/>
                    <a:gd name="connsiteX30" fmla="*/ 770052 w 1469794"/>
                    <a:gd name="connsiteY30" fmla="*/ 2916510 h 2929424"/>
                    <a:gd name="connsiteX31" fmla="*/ 482598 w 1469794"/>
                    <a:gd name="connsiteY31" fmla="*/ 2883508 h 2929424"/>
                    <a:gd name="connsiteX32" fmla="*/ 912105 w 1469794"/>
                    <a:gd name="connsiteY32" fmla="*/ 2651536 h 2929424"/>
                    <a:gd name="connsiteX33" fmla="*/ 729397 w 1469794"/>
                    <a:gd name="connsiteY33" fmla="*/ 1723647 h 2929424"/>
                    <a:gd name="connsiteX34" fmla="*/ 706917 w 1469794"/>
                    <a:gd name="connsiteY34" fmla="*/ 1610292 h 2929424"/>
                    <a:gd name="connsiteX35" fmla="*/ 637565 w 1469794"/>
                    <a:gd name="connsiteY35" fmla="*/ 1056907 h 2929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1469794" h="2929424">
                      <a:moveTo>
                        <a:pt x="637565" y="1056907"/>
                      </a:moveTo>
                      <a:lnTo>
                        <a:pt x="210927" y="1297488"/>
                      </a:lnTo>
                      <a:lnTo>
                        <a:pt x="124356" y="1345318"/>
                      </a:lnTo>
                      <a:lnTo>
                        <a:pt x="41612" y="1369232"/>
                      </a:lnTo>
                      <a:lnTo>
                        <a:pt x="0" y="1356797"/>
                      </a:lnTo>
                      <a:lnTo>
                        <a:pt x="10523" y="1301793"/>
                      </a:lnTo>
                      <a:lnTo>
                        <a:pt x="65048" y="1253485"/>
                      </a:lnTo>
                      <a:lnTo>
                        <a:pt x="121486" y="1203743"/>
                      </a:lnTo>
                      <a:lnTo>
                        <a:pt x="575865" y="887113"/>
                      </a:lnTo>
                      <a:lnTo>
                        <a:pt x="755225" y="747451"/>
                      </a:lnTo>
                      <a:cubicBezTo>
                        <a:pt x="700700" y="719710"/>
                        <a:pt x="477815" y="346642"/>
                        <a:pt x="778661" y="56796"/>
                      </a:cubicBezTo>
                      <a:cubicBezTo>
                        <a:pt x="1138338" y="-192873"/>
                        <a:pt x="1387050" y="445170"/>
                        <a:pt x="1129729" y="719710"/>
                      </a:cubicBezTo>
                      <a:cubicBezTo>
                        <a:pt x="1168470" y="811542"/>
                        <a:pt x="1222039" y="904810"/>
                        <a:pt x="1222039" y="904810"/>
                      </a:cubicBezTo>
                      <a:cubicBezTo>
                        <a:pt x="1222039" y="904810"/>
                        <a:pt x="1417182" y="1315663"/>
                        <a:pt x="1368875" y="1384059"/>
                      </a:cubicBezTo>
                      <a:cubicBezTo>
                        <a:pt x="1320567" y="1453412"/>
                        <a:pt x="1253128" y="1458195"/>
                        <a:pt x="1253128" y="1458195"/>
                      </a:cubicBezTo>
                      <a:lnTo>
                        <a:pt x="1253128" y="1736561"/>
                      </a:lnTo>
                      <a:lnTo>
                        <a:pt x="1041722" y="2664450"/>
                      </a:lnTo>
                      <a:lnTo>
                        <a:pt x="1041722" y="2664450"/>
                      </a:lnTo>
                      <a:lnTo>
                        <a:pt x="1041722" y="2664450"/>
                      </a:lnTo>
                      <a:lnTo>
                        <a:pt x="1041722" y="2664450"/>
                      </a:lnTo>
                      <a:cubicBezTo>
                        <a:pt x="1041722" y="2664450"/>
                        <a:pt x="1405225" y="2811764"/>
                        <a:pt x="1469795" y="2891161"/>
                      </a:cubicBezTo>
                      <a:cubicBezTo>
                        <a:pt x="1452576" y="2928946"/>
                        <a:pt x="1316741" y="2931337"/>
                        <a:pt x="1179949" y="2926554"/>
                      </a:cubicBezTo>
                      <a:lnTo>
                        <a:pt x="1140251" y="2862463"/>
                      </a:lnTo>
                      <a:lnTo>
                        <a:pt x="1092900" y="2929424"/>
                      </a:lnTo>
                      <a:lnTo>
                        <a:pt x="1041722" y="2929424"/>
                      </a:lnTo>
                      <a:lnTo>
                        <a:pt x="1018764" y="2818460"/>
                      </a:lnTo>
                      <a:lnTo>
                        <a:pt x="931715" y="2806981"/>
                      </a:lnTo>
                      <a:lnTo>
                        <a:pt x="910670" y="2927989"/>
                      </a:lnTo>
                      <a:lnTo>
                        <a:pt x="859493" y="2916510"/>
                      </a:lnTo>
                      <a:lnTo>
                        <a:pt x="807359" y="2843331"/>
                      </a:lnTo>
                      <a:lnTo>
                        <a:pt x="770052" y="2916510"/>
                      </a:lnTo>
                      <a:cubicBezTo>
                        <a:pt x="770052" y="2916510"/>
                        <a:pt x="516078" y="2927989"/>
                        <a:pt x="482598" y="2883508"/>
                      </a:cubicBezTo>
                      <a:cubicBezTo>
                        <a:pt x="449117" y="2840462"/>
                        <a:pt x="912105" y="2651536"/>
                        <a:pt x="912105" y="2651536"/>
                      </a:cubicBezTo>
                      <a:lnTo>
                        <a:pt x="729397" y="1723647"/>
                      </a:lnTo>
                      <a:lnTo>
                        <a:pt x="706917" y="1610292"/>
                      </a:lnTo>
                      <a:lnTo>
                        <a:pt x="637565" y="1056907"/>
                      </a:lnTo>
                      <a:close/>
                    </a:path>
                  </a:pathLst>
                </a:custGeom>
                <a:solidFill>
                  <a:srgbClr val="E1EBE5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6" name="Freeform: Shape 475">
                  <a:extLst>
                    <a:ext uri="{FF2B5EF4-FFF2-40B4-BE49-F238E27FC236}">
                      <a16:creationId xmlns:a16="http://schemas.microsoft.com/office/drawing/2014/main" id="{4CC00E63-F487-4CA6-1EA5-D69F74B2164F}"/>
                    </a:ext>
                  </a:extLst>
                </p:cNvPr>
                <p:cNvSpPr/>
                <p:nvPr/>
              </p:nvSpPr>
              <p:spPr>
                <a:xfrm>
                  <a:off x="5079673" y="5632187"/>
                  <a:ext cx="205347" cy="403450"/>
                </a:xfrm>
                <a:custGeom>
                  <a:avLst/>
                  <a:gdLst>
                    <a:gd name="connsiteX0" fmla="*/ 515122 w 515121"/>
                    <a:gd name="connsiteY0" fmla="*/ 0 h 1012068"/>
                    <a:gd name="connsiteX1" fmla="*/ 515122 w 515121"/>
                    <a:gd name="connsiteY1" fmla="*/ 0 h 1012068"/>
                    <a:gd name="connsiteX2" fmla="*/ 288889 w 515121"/>
                    <a:gd name="connsiteY2" fmla="*/ 990545 h 1012068"/>
                    <a:gd name="connsiteX3" fmla="*/ 281237 w 515121"/>
                    <a:gd name="connsiteY3" fmla="*/ 1012068 h 1012068"/>
                    <a:gd name="connsiteX4" fmla="*/ 191796 w 515121"/>
                    <a:gd name="connsiteY4" fmla="*/ 1005850 h 1012068"/>
                    <a:gd name="connsiteX5" fmla="*/ 0 w 515121"/>
                    <a:gd name="connsiteY5" fmla="*/ 59308 h 1012068"/>
                    <a:gd name="connsiteX6" fmla="*/ 27263 w 515121"/>
                    <a:gd name="connsiteY6" fmla="*/ 40177 h 1012068"/>
                    <a:gd name="connsiteX7" fmla="*/ 515122 w 515121"/>
                    <a:gd name="connsiteY7" fmla="*/ 0 h 1012068"/>
                    <a:gd name="connsiteX8" fmla="*/ 515122 w 515121"/>
                    <a:gd name="connsiteY8" fmla="*/ 0 h 101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15121" h="1012068">
                      <a:moveTo>
                        <a:pt x="515122" y="0"/>
                      </a:moveTo>
                      <a:lnTo>
                        <a:pt x="515122" y="0"/>
                      </a:lnTo>
                      <a:lnTo>
                        <a:pt x="288889" y="990545"/>
                      </a:lnTo>
                      <a:lnTo>
                        <a:pt x="281237" y="1012068"/>
                      </a:lnTo>
                      <a:lnTo>
                        <a:pt x="191796" y="1005850"/>
                      </a:lnTo>
                      <a:lnTo>
                        <a:pt x="0" y="59308"/>
                      </a:lnTo>
                      <a:cubicBezTo>
                        <a:pt x="0" y="59308"/>
                        <a:pt x="14827" y="41611"/>
                        <a:pt x="27263" y="40177"/>
                      </a:cubicBezTo>
                      <a:cubicBezTo>
                        <a:pt x="39698" y="37785"/>
                        <a:pt x="515122" y="0"/>
                        <a:pt x="515122" y="0"/>
                      </a:cubicBezTo>
                      <a:lnTo>
                        <a:pt x="515122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7" name="Freeform: Shape 476">
                  <a:extLst>
                    <a:ext uri="{FF2B5EF4-FFF2-40B4-BE49-F238E27FC236}">
                      <a16:creationId xmlns:a16="http://schemas.microsoft.com/office/drawing/2014/main" id="{EBF4F4D9-A5AA-67BE-FB1E-B8C45470E36D}"/>
                    </a:ext>
                  </a:extLst>
                </p:cNvPr>
                <p:cNvSpPr/>
                <p:nvPr/>
              </p:nvSpPr>
              <p:spPr>
                <a:xfrm>
                  <a:off x="5080403" y="5520456"/>
                  <a:ext cx="208161" cy="516905"/>
                </a:xfrm>
                <a:custGeom>
                  <a:avLst/>
                  <a:gdLst>
                    <a:gd name="connsiteX0" fmla="*/ 510897 w 522179"/>
                    <a:gd name="connsiteY0" fmla="*/ 277888 h 1296673"/>
                    <a:gd name="connsiteX1" fmla="*/ 510897 w 522179"/>
                    <a:gd name="connsiteY1" fmla="*/ 277888 h 1296673"/>
                    <a:gd name="connsiteX2" fmla="*/ 502288 w 522179"/>
                    <a:gd name="connsiteY2" fmla="*/ 331935 h 1296673"/>
                    <a:gd name="connsiteX3" fmla="*/ 486026 w 522179"/>
                    <a:gd name="connsiteY3" fmla="*/ 383591 h 1296673"/>
                    <a:gd name="connsiteX4" fmla="*/ 475982 w 522179"/>
                    <a:gd name="connsiteY4" fmla="*/ 437638 h 1296673"/>
                    <a:gd name="connsiteX5" fmla="*/ 464981 w 522179"/>
                    <a:gd name="connsiteY5" fmla="*/ 490729 h 1296673"/>
                    <a:gd name="connsiteX6" fmla="*/ 453981 w 522179"/>
                    <a:gd name="connsiteY6" fmla="*/ 544776 h 1296673"/>
                    <a:gd name="connsiteX7" fmla="*/ 440110 w 522179"/>
                    <a:gd name="connsiteY7" fmla="*/ 596431 h 1296673"/>
                    <a:gd name="connsiteX8" fmla="*/ 432457 w 522179"/>
                    <a:gd name="connsiteY8" fmla="*/ 650479 h 1296673"/>
                    <a:gd name="connsiteX9" fmla="*/ 420021 w 522179"/>
                    <a:gd name="connsiteY9" fmla="*/ 704526 h 1296673"/>
                    <a:gd name="connsiteX10" fmla="*/ 401368 w 522179"/>
                    <a:gd name="connsiteY10" fmla="*/ 756181 h 1296673"/>
                    <a:gd name="connsiteX11" fmla="*/ 388933 w 522179"/>
                    <a:gd name="connsiteY11" fmla="*/ 809272 h 1296673"/>
                    <a:gd name="connsiteX12" fmla="*/ 376497 w 522179"/>
                    <a:gd name="connsiteY12" fmla="*/ 862362 h 1296673"/>
                    <a:gd name="connsiteX13" fmla="*/ 367888 w 522179"/>
                    <a:gd name="connsiteY13" fmla="*/ 916409 h 1296673"/>
                    <a:gd name="connsiteX14" fmla="*/ 355452 w 522179"/>
                    <a:gd name="connsiteY14" fmla="*/ 969500 h 1296673"/>
                    <a:gd name="connsiteX15" fmla="*/ 343016 w 522179"/>
                    <a:gd name="connsiteY15" fmla="*/ 1022591 h 1296673"/>
                    <a:gd name="connsiteX16" fmla="*/ 332972 w 522179"/>
                    <a:gd name="connsiteY16" fmla="*/ 1076638 h 1296673"/>
                    <a:gd name="connsiteX17" fmla="*/ 316710 w 522179"/>
                    <a:gd name="connsiteY17" fmla="*/ 1128293 h 1296673"/>
                    <a:gd name="connsiteX18" fmla="*/ 308101 w 522179"/>
                    <a:gd name="connsiteY18" fmla="*/ 1182340 h 1296673"/>
                    <a:gd name="connsiteX19" fmla="*/ 291839 w 522179"/>
                    <a:gd name="connsiteY19" fmla="*/ 1235431 h 1296673"/>
                    <a:gd name="connsiteX20" fmla="*/ 281795 w 522179"/>
                    <a:gd name="connsiteY20" fmla="*/ 1289478 h 1296673"/>
                    <a:gd name="connsiteX21" fmla="*/ 236835 w 522179"/>
                    <a:gd name="connsiteY21" fmla="*/ 1290913 h 1296673"/>
                    <a:gd name="connsiteX22" fmla="*/ 193311 w 522179"/>
                    <a:gd name="connsiteY22" fmla="*/ 1287087 h 1296673"/>
                    <a:gd name="connsiteX23" fmla="*/ 184701 w 522179"/>
                    <a:gd name="connsiteY23" fmla="*/ 1235431 h 1296673"/>
                    <a:gd name="connsiteX24" fmla="*/ 172266 w 522179"/>
                    <a:gd name="connsiteY24" fmla="*/ 1182340 h 1296673"/>
                    <a:gd name="connsiteX25" fmla="*/ 162221 w 522179"/>
                    <a:gd name="connsiteY25" fmla="*/ 1128293 h 1296673"/>
                    <a:gd name="connsiteX26" fmla="*/ 152177 w 522179"/>
                    <a:gd name="connsiteY26" fmla="*/ 1075203 h 1296673"/>
                    <a:gd name="connsiteX27" fmla="*/ 137350 w 522179"/>
                    <a:gd name="connsiteY27" fmla="*/ 1022112 h 1296673"/>
                    <a:gd name="connsiteX28" fmla="*/ 124915 w 522179"/>
                    <a:gd name="connsiteY28" fmla="*/ 969022 h 1296673"/>
                    <a:gd name="connsiteX29" fmla="*/ 116305 w 522179"/>
                    <a:gd name="connsiteY29" fmla="*/ 915931 h 1296673"/>
                    <a:gd name="connsiteX30" fmla="*/ 105305 w 522179"/>
                    <a:gd name="connsiteY30" fmla="*/ 862841 h 1296673"/>
                    <a:gd name="connsiteX31" fmla="*/ 94304 w 522179"/>
                    <a:gd name="connsiteY31" fmla="*/ 808794 h 1296673"/>
                    <a:gd name="connsiteX32" fmla="*/ 86651 w 522179"/>
                    <a:gd name="connsiteY32" fmla="*/ 754747 h 1296673"/>
                    <a:gd name="connsiteX33" fmla="*/ 75650 w 522179"/>
                    <a:gd name="connsiteY33" fmla="*/ 701656 h 1296673"/>
                    <a:gd name="connsiteX34" fmla="*/ 67041 w 522179"/>
                    <a:gd name="connsiteY34" fmla="*/ 648565 h 1296673"/>
                    <a:gd name="connsiteX35" fmla="*/ 56997 w 522179"/>
                    <a:gd name="connsiteY35" fmla="*/ 594518 h 1296673"/>
                    <a:gd name="connsiteX36" fmla="*/ 43127 w 522179"/>
                    <a:gd name="connsiteY36" fmla="*/ 541428 h 1296673"/>
                    <a:gd name="connsiteX37" fmla="*/ 33082 w 522179"/>
                    <a:gd name="connsiteY37" fmla="*/ 488337 h 1296673"/>
                    <a:gd name="connsiteX38" fmla="*/ 23038 w 522179"/>
                    <a:gd name="connsiteY38" fmla="*/ 434290 h 1296673"/>
                    <a:gd name="connsiteX39" fmla="*/ 16820 w 522179"/>
                    <a:gd name="connsiteY39" fmla="*/ 380243 h 1296673"/>
                    <a:gd name="connsiteX40" fmla="*/ 5820 w 522179"/>
                    <a:gd name="connsiteY40" fmla="*/ 330022 h 1296673"/>
                    <a:gd name="connsiteX41" fmla="*/ 59389 w 522179"/>
                    <a:gd name="connsiteY41" fmla="*/ 322370 h 1296673"/>
                    <a:gd name="connsiteX42" fmla="*/ 116784 w 522179"/>
                    <a:gd name="connsiteY42" fmla="*/ 314717 h 1296673"/>
                    <a:gd name="connsiteX43" fmla="*/ 174179 w 522179"/>
                    <a:gd name="connsiteY43" fmla="*/ 313282 h 1296673"/>
                    <a:gd name="connsiteX44" fmla="*/ 230139 w 522179"/>
                    <a:gd name="connsiteY44" fmla="*/ 308021 h 1296673"/>
                    <a:gd name="connsiteX45" fmla="*/ 286100 w 522179"/>
                    <a:gd name="connsiteY45" fmla="*/ 297976 h 1296673"/>
                    <a:gd name="connsiteX46" fmla="*/ 343495 w 522179"/>
                    <a:gd name="connsiteY46" fmla="*/ 294150 h 1296673"/>
                    <a:gd name="connsiteX47" fmla="*/ 400890 w 522179"/>
                    <a:gd name="connsiteY47" fmla="*/ 292715 h 1296673"/>
                    <a:gd name="connsiteX48" fmla="*/ 456850 w 522179"/>
                    <a:gd name="connsiteY48" fmla="*/ 282671 h 1296673"/>
                    <a:gd name="connsiteX49" fmla="*/ 514245 w 522179"/>
                    <a:gd name="connsiteY49" fmla="*/ 277410 h 1296673"/>
                    <a:gd name="connsiteX50" fmla="*/ 512810 w 522179"/>
                    <a:gd name="connsiteY50" fmla="*/ 221928 h 1296673"/>
                    <a:gd name="connsiteX51" fmla="*/ 514245 w 522179"/>
                    <a:gd name="connsiteY51" fmla="*/ 166446 h 1296673"/>
                    <a:gd name="connsiteX52" fmla="*/ 512810 w 522179"/>
                    <a:gd name="connsiteY52" fmla="*/ 110964 h 1296673"/>
                    <a:gd name="connsiteX53" fmla="*/ 512810 w 522179"/>
                    <a:gd name="connsiteY53" fmla="*/ 55482 h 1296673"/>
                    <a:gd name="connsiteX54" fmla="*/ 512810 w 522179"/>
                    <a:gd name="connsiteY54" fmla="*/ 0 h 1296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522179" h="1296673">
                      <a:moveTo>
                        <a:pt x="510897" y="277888"/>
                      </a:moveTo>
                      <a:lnTo>
                        <a:pt x="510897" y="277888"/>
                      </a:lnTo>
                      <a:cubicBezTo>
                        <a:pt x="504679" y="304194"/>
                        <a:pt x="507071" y="305629"/>
                        <a:pt x="502288" y="331935"/>
                      </a:cubicBezTo>
                      <a:cubicBezTo>
                        <a:pt x="496070" y="358242"/>
                        <a:pt x="492244" y="357285"/>
                        <a:pt x="486026" y="383591"/>
                      </a:cubicBezTo>
                      <a:cubicBezTo>
                        <a:pt x="479808" y="409897"/>
                        <a:pt x="482200" y="411332"/>
                        <a:pt x="475982" y="437638"/>
                      </a:cubicBezTo>
                      <a:cubicBezTo>
                        <a:pt x="469764" y="463944"/>
                        <a:pt x="471199" y="463944"/>
                        <a:pt x="464981" y="490729"/>
                      </a:cubicBezTo>
                      <a:cubicBezTo>
                        <a:pt x="458763" y="517035"/>
                        <a:pt x="460198" y="518470"/>
                        <a:pt x="453981" y="544776"/>
                      </a:cubicBezTo>
                      <a:cubicBezTo>
                        <a:pt x="449197" y="571082"/>
                        <a:pt x="446328" y="570125"/>
                        <a:pt x="440110" y="596431"/>
                      </a:cubicBezTo>
                      <a:cubicBezTo>
                        <a:pt x="433892" y="622738"/>
                        <a:pt x="438675" y="624173"/>
                        <a:pt x="432457" y="650479"/>
                      </a:cubicBezTo>
                      <a:cubicBezTo>
                        <a:pt x="426239" y="676785"/>
                        <a:pt x="426239" y="676785"/>
                        <a:pt x="420021" y="704526"/>
                      </a:cubicBezTo>
                      <a:cubicBezTo>
                        <a:pt x="413804" y="730832"/>
                        <a:pt x="407586" y="729875"/>
                        <a:pt x="401368" y="756181"/>
                      </a:cubicBezTo>
                      <a:cubicBezTo>
                        <a:pt x="395150" y="782487"/>
                        <a:pt x="395150" y="782487"/>
                        <a:pt x="388933" y="809272"/>
                      </a:cubicBezTo>
                      <a:cubicBezTo>
                        <a:pt x="382715" y="835578"/>
                        <a:pt x="382715" y="835578"/>
                        <a:pt x="376497" y="862362"/>
                      </a:cubicBezTo>
                      <a:cubicBezTo>
                        <a:pt x="370279" y="888669"/>
                        <a:pt x="374105" y="890103"/>
                        <a:pt x="367888" y="916409"/>
                      </a:cubicBezTo>
                      <a:cubicBezTo>
                        <a:pt x="361670" y="942716"/>
                        <a:pt x="361670" y="942716"/>
                        <a:pt x="355452" y="969500"/>
                      </a:cubicBezTo>
                      <a:cubicBezTo>
                        <a:pt x="349234" y="995806"/>
                        <a:pt x="349234" y="995806"/>
                        <a:pt x="343016" y="1022591"/>
                      </a:cubicBezTo>
                      <a:cubicBezTo>
                        <a:pt x="336798" y="1048897"/>
                        <a:pt x="339190" y="1050332"/>
                        <a:pt x="332972" y="1076638"/>
                      </a:cubicBezTo>
                      <a:cubicBezTo>
                        <a:pt x="326754" y="1102944"/>
                        <a:pt x="322928" y="1101987"/>
                        <a:pt x="316710" y="1128293"/>
                      </a:cubicBezTo>
                      <a:cubicBezTo>
                        <a:pt x="310493" y="1154599"/>
                        <a:pt x="314319" y="1156034"/>
                        <a:pt x="308101" y="1182340"/>
                      </a:cubicBezTo>
                      <a:cubicBezTo>
                        <a:pt x="301883" y="1208647"/>
                        <a:pt x="298057" y="1208647"/>
                        <a:pt x="291839" y="1235431"/>
                      </a:cubicBezTo>
                      <a:cubicBezTo>
                        <a:pt x="285621" y="1261737"/>
                        <a:pt x="301883" y="1270825"/>
                        <a:pt x="281795" y="1289478"/>
                      </a:cubicBezTo>
                      <a:cubicBezTo>
                        <a:pt x="265533" y="1304784"/>
                        <a:pt x="259315" y="1290913"/>
                        <a:pt x="236835" y="1290913"/>
                      </a:cubicBezTo>
                      <a:cubicBezTo>
                        <a:pt x="214356" y="1290913"/>
                        <a:pt x="209573" y="1302392"/>
                        <a:pt x="193311" y="1287087"/>
                      </a:cubicBezTo>
                      <a:cubicBezTo>
                        <a:pt x="173222" y="1267955"/>
                        <a:pt x="189484" y="1261737"/>
                        <a:pt x="184701" y="1235431"/>
                      </a:cubicBezTo>
                      <a:cubicBezTo>
                        <a:pt x="179918" y="1207690"/>
                        <a:pt x="178484" y="1209125"/>
                        <a:pt x="172266" y="1182340"/>
                      </a:cubicBezTo>
                      <a:cubicBezTo>
                        <a:pt x="167483" y="1154599"/>
                        <a:pt x="167483" y="1154599"/>
                        <a:pt x="162221" y="1128293"/>
                      </a:cubicBezTo>
                      <a:cubicBezTo>
                        <a:pt x="157439" y="1101987"/>
                        <a:pt x="158395" y="1101987"/>
                        <a:pt x="152177" y="1075203"/>
                      </a:cubicBezTo>
                      <a:cubicBezTo>
                        <a:pt x="147394" y="1048897"/>
                        <a:pt x="142133" y="1048897"/>
                        <a:pt x="137350" y="1022112"/>
                      </a:cubicBezTo>
                      <a:cubicBezTo>
                        <a:pt x="131133" y="995806"/>
                        <a:pt x="129697" y="995806"/>
                        <a:pt x="124915" y="969022"/>
                      </a:cubicBezTo>
                      <a:cubicBezTo>
                        <a:pt x="120132" y="942716"/>
                        <a:pt x="121088" y="942716"/>
                        <a:pt x="116305" y="915931"/>
                      </a:cubicBezTo>
                      <a:cubicBezTo>
                        <a:pt x="111522" y="889625"/>
                        <a:pt x="110088" y="889625"/>
                        <a:pt x="105305" y="862841"/>
                      </a:cubicBezTo>
                      <a:cubicBezTo>
                        <a:pt x="99087" y="835100"/>
                        <a:pt x="99087" y="835100"/>
                        <a:pt x="94304" y="808794"/>
                      </a:cubicBezTo>
                      <a:cubicBezTo>
                        <a:pt x="88086" y="782487"/>
                        <a:pt x="92869" y="782487"/>
                        <a:pt x="86651" y="754747"/>
                      </a:cubicBezTo>
                      <a:cubicBezTo>
                        <a:pt x="81868" y="728440"/>
                        <a:pt x="80433" y="728440"/>
                        <a:pt x="75650" y="701656"/>
                      </a:cubicBezTo>
                      <a:cubicBezTo>
                        <a:pt x="70868" y="675350"/>
                        <a:pt x="71824" y="675350"/>
                        <a:pt x="67041" y="648565"/>
                      </a:cubicBezTo>
                      <a:cubicBezTo>
                        <a:pt x="62258" y="620824"/>
                        <a:pt x="62258" y="620824"/>
                        <a:pt x="56997" y="594518"/>
                      </a:cubicBezTo>
                      <a:cubicBezTo>
                        <a:pt x="52214" y="568212"/>
                        <a:pt x="48388" y="569169"/>
                        <a:pt x="43127" y="541428"/>
                      </a:cubicBezTo>
                      <a:cubicBezTo>
                        <a:pt x="38344" y="515122"/>
                        <a:pt x="38344" y="515122"/>
                        <a:pt x="33082" y="488337"/>
                      </a:cubicBezTo>
                      <a:cubicBezTo>
                        <a:pt x="28300" y="462031"/>
                        <a:pt x="28300" y="462031"/>
                        <a:pt x="23038" y="434290"/>
                      </a:cubicBezTo>
                      <a:cubicBezTo>
                        <a:pt x="18255" y="407984"/>
                        <a:pt x="21603" y="407984"/>
                        <a:pt x="16820" y="380243"/>
                      </a:cubicBezTo>
                      <a:cubicBezTo>
                        <a:pt x="12037" y="353937"/>
                        <a:pt x="-10442" y="351067"/>
                        <a:pt x="5820" y="330022"/>
                      </a:cubicBezTo>
                      <a:cubicBezTo>
                        <a:pt x="23038" y="307542"/>
                        <a:pt x="32126" y="326196"/>
                        <a:pt x="59389" y="322370"/>
                      </a:cubicBezTo>
                      <a:cubicBezTo>
                        <a:pt x="88086" y="319978"/>
                        <a:pt x="88086" y="317108"/>
                        <a:pt x="116784" y="314717"/>
                      </a:cubicBezTo>
                      <a:cubicBezTo>
                        <a:pt x="145481" y="310890"/>
                        <a:pt x="145481" y="316152"/>
                        <a:pt x="174179" y="313282"/>
                      </a:cubicBezTo>
                      <a:cubicBezTo>
                        <a:pt x="201441" y="310890"/>
                        <a:pt x="202877" y="311847"/>
                        <a:pt x="230139" y="308021"/>
                      </a:cubicBezTo>
                      <a:cubicBezTo>
                        <a:pt x="258837" y="305629"/>
                        <a:pt x="258837" y="300368"/>
                        <a:pt x="286100" y="297976"/>
                      </a:cubicBezTo>
                      <a:cubicBezTo>
                        <a:pt x="314797" y="294150"/>
                        <a:pt x="314797" y="297976"/>
                        <a:pt x="343495" y="294150"/>
                      </a:cubicBezTo>
                      <a:cubicBezTo>
                        <a:pt x="372192" y="291759"/>
                        <a:pt x="372192" y="295585"/>
                        <a:pt x="400890" y="292715"/>
                      </a:cubicBezTo>
                      <a:cubicBezTo>
                        <a:pt x="429587" y="288889"/>
                        <a:pt x="429587" y="285063"/>
                        <a:pt x="456850" y="282671"/>
                      </a:cubicBezTo>
                      <a:cubicBezTo>
                        <a:pt x="485548" y="280280"/>
                        <a:pt x="495592" y="297976"/>
                        <a:pt x="514245" y="277410"/>
                      </a:cubicBezTo>
                      <a:cubicBezTo>
                        <a:pt x="532899" y="257322"/>
                        <a:pt x="512810" y="249669"/>
                        <a:pt x="512810" y="221928"/>
                      </a:cubicBezTo>
                      <a:cubicBezTo>
                        <a:pt x="512810" y="194187"/>
                        <a:pt x="514245" y="194187"/>
                        <a:pt x="514245" y="166446"/>
                      </a:cubicBezTo>
                      <a:cubicBezTo>
                        <a:pt x="514245" y="138705"/>
                        <a:pt x="512810" y="138705"/>
                        <a:pt x="512810" y="110964"/>
                      </a:cubicBezTo>
                      <a:cubicBezTo>
                        <a:pt x="512810" y="83223"/>
                        <a:pt x="512810" y="83223"/>
                        <a:pt x="512810" y="55482"/>
                      </a:cubicBezTo>
                      <a:cubicBezTo>
                        <a:pt x="512810" y="27741"/>
                        <a:pt x="512810" y="27741"/>
                        <a:pt x="512810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8" name="Freeform: Shape 477">
                  <a:extLst>
                    <a:ext uri="{FF2B5EF4-FFF2-40B4-BE49-F238E27FC236}">
                      <a16:creationId xmlns:a16="http://schemas.microsoft.com/office/drawing/2014/main" id="{F522D29A-AE4F-8EF7-321D-A3B66D98F159}"/>
                    </a:ext>
                  </a:extLst>
                </p:cNvPr>
                <p:cNvSpPr/>
                <p:nvPr/>
              </p:nvSpPr>
              <p:spPr>
                <a:xfrm>
                  <a:off x="5178629" y="5641720"/>
                  <a:ext cx="2478" cy="339767"/>
                </a:xfrm>
                <a:custGeom>
                  <a:avLst/>
                  <a:gdLst>
                    <a:gd name="connsiteX0" fmla="*/ 4305 w 6217"/>
                    <a:gd name="connsiteY0" fmla="*/ 0 h 852318"/>
                    <a:gd name="connsiteX1" fmla="*/ 4305 w 6217"/>
                    <a:gd name="connsiteY1" fmla="*/ 0 h 852318"/>
                    <a:gd name="connsiteX2" fmla="*/ 2870 w 6217"/>
                    <a:gd name="connsiteY2" fmla="*/ 56917 h 852318"/>
                    <a:gd name="connsiteX3" fmla="*/ 1435 w 6217"/>
                    <a:gd name="connsiteY3" fmla="*/ 113834 h 852318"/>
                    <a:gd name="connsiteX4" fmla="*/ 0 w 6217"/>
                    <a:gd name="connsiteY4" fmla="*/ 170751 h 852318"/>
                    <a:gd name="connsiteX5" fmla="*/ 2392 w 6217"/>
                    <a:gd name="connsiteY5" fmla="*/ 227668 h 852318"/>
                    <a:gd name="connsiteX6" fmla="*/ 6218 w 6217"/>
                    <a:gd name="connsiteY6" fmla="*/ 283150 h 852318"/>
                    <a:gd name="connsiteX7" fmla="*/ 1435 w 6217"/>
                    <a:gd name="connsiteY7" fmla="*/ 340066 h 852318"/>
                    <a:gd name="connsiteX8" fmla="*/ 1435 w 6217"/>
                    <a:gd name="connsiteY8" fmla="*/ 396983 h 852318"/>
                    <a:gd name="connsiteX9" fmla="*/ 1435 w 6217"/>
                    <a:gd name="connsiteY9" fmla="*/ 453900 h 852318"/>
                    <a:gd name="connsiteX10" fmla="*/ 0 w 6217"/>
                    <a:gd name="connsiteY10" fmla="*/ 510817 h 852318"/>
                    <a:gd name="connsiteX11" fmla="*/ 0 w 6217"/>
                    <a:gd name="connsiteY11" fmla="*/ 567734 h 852318"/>
                    <a:gd name="connsiteX12" fmla="*/ 2392 w 6217"/>
                    <a:gd name="connsiteY12" fmla="*/ 624651 h 852318"/>
                    <a:gd name="connsiteX13" fmla="*/ 6218 w 6217"/>
                    <a:gd name="connsiteY13" fmla="*/ 681568 h 852318"/>
                    <a:gd name="connsiteX14" fmla="*/ 4783 w 6217"/>
                    <a:gd name="connsiteY14" fmla="*/ 738485 h 852318"/>
                    <a:gd name="connsiteX15" fmla="*/ 956 w 6217"/>
                    <a:gd name="connsiteY15" fmla="*/ 795401 h 852318"/>
                    <a:gd name="connsiteX16" fmla="*/ 2392 w 6217"/>
                    <a:gd name="connsiteY16" fmla="*/ 852318 h 852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217" h="852318">
                      <a:moveTo>
                        <a:pt x="4305" y="0"/>
                      </a:moveTo>
                      <a:lnTo>
                        <a:pt x="4305" y="0"/>
                      </a:lnTo>
                      <a:cubicBezTo>
                        <a:pt x="4305" y="29176"/>
                        <a:pt x="2870" y="29176"/>
                        <a:pt x="2870" y="56917"/>
                      </a:cubicBezTo>
                      <a:cubicBezTo>
                        <a:pt x="2870" y="84658"/>
                        <a:pt x="1435" y="84658"/>
                        <a:pt x="1435" y="113834"/>
                      </a:cubicBezTo>
                      <a:cubicBezTo>
                        <a:pt x="1435" y="141575"/>
                        <a:pt x="0" y="141575"/>
                        <a:pt x="0" y="170751"/>
                      </a:cubicBezTo>
                      <a:cubicBezTo>
                        <a:pt x="0" y="198492"/>
                        <a:pt x="2392" y="198492"/>
                        <a:pt x="2392" y="227668"/>
                      </a:cubicBezTo>
                      <a:cubicBezTo>
                        <a:pt x="2392" y="255409"/>
                        <a:pt x="6218" y="255409"/>
                        <a:pt x="6218" y="283150"/>
                      </a:cubicBezTo>
                      <a:cubicBezTo>
                        <a:pt x="6218" y="312325"/>
                        <a:pt x="1435" y="312325"/>
                        <a:pt x="1435" y="340066"/>
                      </a:cubicBezTo>
                      <a:cubicBezTo>
                        <a:pt x="1435" y="369242"/>
                        <a:pt x="1435" y="369242"/>
                        <a:pt x="1435" y="396983"/>
                      </a:cubicBezTo>
                      <a:cubicBezTo>
                        <a:pt x="1435" y="426159"/>
                        <a:pt x="1435" y="426159"/>
                        <a:pt x="1435" y="453900"/>
                      </a:cubicBezTo>
                      <a:cubicBezTo>
                        <a:pt x="1435" y="483076"/>
                        <a:pt x="0" y="483076"/>
                        <a:pt x="0" y="510817"/>
                      </a:cubicBezTo>
                      <a:cubicBezTo>
                        <a:pt x="0" y="538558"/>
                        <a:pt x="0" y="538558"/>
                        <a:pt x="0" y="567734"/>
                      </a:cubicBezTo>
                      <a:cubicBezTo>
                        <a:pt x="0" y="595475"/>
                        <a:pt x="2392" y="595475"/>
                        <a:pt x="2392" y="624651"/>
                      </a:cubicBezTo>
                      <a:cubicBezTo>
                        <a:pt x="2392" y="652392"/>
                        <a:pt x="6218" y="652392"/>
                        <a:pt x="6218" y="681568"/>
                      </a:cubicBezTo>
                      <a:cubicBezTo>
                        <a:pt x="6218" y="709309"/>
                        <a:pt x="4783" y="709309"/>
                        <a:pt x="4783" y="738485"/>
                      </a:cubicBezTo>
                      <a:cubicBezTo>
                        <a:pt x="4783" y="766226"/>
                        <a:pt x="956" y="766226"/>
                        <a:pt x="956" y="795401"/>
                      </a:cubicBezTo>
                      <a:cubicBezTo>
                        <a:pt x="956" y="823142"/>
                        <a:pt x="2392" y="823142"/>
                        <a:pt x="2392" y="852318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79" name="Freeform: Shape 478">
                  <a:extLst>
                    <a:ext uri="{FF2B5EF4-FFF2-40B4-BE49-F238E27FC236}">
                      <a16:creationId xmlns:a16="http://schemas.microsoft.com/office/drawing/2014/main" id="{7B82AB20-3868-64AD-5FBC-863AD6E7C49A}"/>
                    </a:ext>
                  </a:extLst>
                </p:cNvPr>
                <p:cNvSpPr/>
                <p:nvPr/>
              </p:nvSpPr>
              <p:spPr>
                <a:xfrm>
                  <a:off x="5193310" y="6010659"/>
                  <a:ext cx="179226" cy="101216"/>
                </a:xfrm>
                <a:custGeom>
                  <a:avLst/>
                  <a:gdLst>
                    <a:gd name="connsiteX0" fmla="*/ 0 w 449595"/>
                    <a:gd name="connsiteY0" fmla="*/ 132009 h 253903"/>
                    <a:gd name="connsiteX1" fmla="*/ 0 w 449595"/>
                    <a:gd name="connsiteY1" fmla="*/ 132009 h 253903"/>
                    <a:gd name="connsiteX2" fmla="*/ 8609 w 449595"/>
                    <a:gd name="connsiteY2" fmla="*/ 186056 h 253903"/>
                    <a:gd name="connsiteX3" fmla="*/ 12436 w 449595"/>
                    <a:gd name="connsiteY3" fmla="*/ 243929 h 253903"/>
                    <a:gd name="connsiteX4" fmla="*/ 66961 w 449595"/>
                    <a:gd name="connsiteY4" fmla="*/ 241538 h 253903"/>
                    <a:gd name="connsiteX5" fmla="*/ 90398 w 449595"/>
                    <a:gd name="connsiteY5" fmla="*/ 205188 h 253903"/>
                    <a:gd name="connsiteX6" fmla="*/ 117660 w 449595"/>
                    <a:gd name="connsiteY6" fmla="*/ 171229 h 253903"/>
                    <a:gd name="connsiteX7" fmla="*/ 159750 w 449595"/>
                    <a:gd name="connsiteY7" fmla="*/ 239147 h 253903"/>
                    <a:gd name="connsiteX8" fmla="*/ 215710 w 449595"/>
                    <a:gd name="connsiteY8" fmla="*/ 245364 h 253903"/>
                    <a:gd name="connsiteX9" fmla="*/ 275497 w 449595"/>
                    <a:gd name="connsiteY9" fmla="*/ 243929 h 253903"/>
                    <a:gd name="connsiteX10" fmla="*/ 335284 w 449595"/>
                    <a:gd name="connsiteY10" fmla="*/ 237712 h 253903"/>
                    <a:gd name="connsiteX11" fmla="*/ 395070 w 449595"/>
                    <a:gd name="connsiteY11" fmla="*/ 235320 h 253903"/>
                    <a:gd name="connsiteX12" fmla="*/ 449596 w 449595"/>
                    <a:gd name="connsiteY12" fmla="*/ 207579 h 253903"/>
                    <a:gd name="connsiteX13" fmla="*/ 409898 w 449595"/>
                    <a:gd name="connsiteY13" fmla="*/ 167403 h 253903"/>
                    <a:gd name="connsiteX14" fmla="*/ 362546 w 449595"/>
                    <a:gd name="connsiteY14" fmla="*/ 139661 h 253903"/>
                    <a:gd name="connsiteX15" fmla="*/ 314239 w 449595"/>
                    <a:gd name="connsiteY15" fmla="*/ 114312 h 253903"/>
                    <a:gd name="connsiteX16" fmla="*/ 265931 w 449595"/>
                    <a:gd name="connsiteY16" fmla="*/ 88006 h 253903"/>
                    <a:gd name="connsiteX17" fmla="*/ 214754 w 449595"/>
                    <a:gd name="connsiteY17" fmla="*/ 68874 h 253903"/>
                    <a:gd name="connsiteX18" fmla="*/ 165011 w 449595"/>
                    <a:gd name="connsiteY18" fmla="*/ 44959 h 253903"/>
                    <a:gd name="connsiteX19" fmla="*/ 115269 w 449595"/>
                    <a:gd name="connsiteY19" fmla="*/ 22480 h 253903"/>
                    <a:gd name="connsiteX20" fmla="*/ 65526 w 449595"/>
                    <a:gd name="connsiteY20" fmla="*/ 0 h 253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9595" h="253903">
                      <a:moveTo>
                        <a:pt x="0" y="132009"/>
                      </a:moveTo>
                      <a:lnTo>
                        <a:pt x="0" y="132009"/>
                      </a:lnTo>
                      <a:cubicBezTo>
                        <a:pt x="3826" y="159750"/>
                        <a:pt x="4783" y="158315"/>
                        <a:pt x="8609" y="186056"/>
                      </a:cubicBezTo>
                      <a:cubicBezTo>
                        <a:pt x="12436" y="213797"/>
                        <a:pt x="-8609" y="225276"/>
                        <a:pt x="12436" y="243929"/>
                      </a:cubicBezTo>
                      <a:cubicBezTo>
                        <a:pt x="32524" y="261626"/>
                        <a:pt x="42090" y="252539"/>
                        <a:pt x="66961" y="241538"/>
                      </a:cubicBezTo>
                      <a:cubicBezTo>
                        <a:pt x="88006" y="232929"/>
                        <a:pt x="77962" y="222406"/>
                        <a:pt x="90398" y="205188"/>
                      </a:cubicBezTo>
                      <a:cubicBezTo>
                        <a:pt x="102833" y="186056"/>
                        <a:pt x="98050" y="161185"/>
                        <a:pt x="117660" y="171229"/>
                      </a:cubicBezTo>
                      <a:cubicBezTo>
                        <a:pt x="152576" y="190361"/>
                        <a:pt x="132487" y="209014"/>
                        <a:pt x="159750" y="239147"/>
                      </a:cubicBezTo>
                      <a:cubicBezTo>
                        <a:pt x="179838" y="261626"/>
                        <a:pt x="180795" y="245364"/>
                        <a:pt x="215710" y="245364"/>
                      </a:cubicBezTo>
                      <a:cubicBezTo>
                        <a:pt x="234364" y="246799"/>
                        <a:pt x="254452" y="243929"/>
                        <a:pt x="275497" y="243929"/>
                      </a:cubicBezTo>
                      <a:cubicBezTo>
                        <a:pt x="295585" y="242495"/>
                        <a:pt x="315195" y="238668"/>
                        <a:pt x="335284" y="237712"/>
                      </a:cubicBezTo>
                      <a:cubicBezTo>
                        <a:pt x="356329" y="236277"/>
                        <a:pt x="377374" y="237712"/>
                        <a:pt x="395070" y="235320"/>
                      </a:cubicBezTo>
                      <a:cubicBezTo>
                        <a:pt x="426159" y="230059"/>
                        <a:pt x="449596" y="219058"/>
                        <a:pt x="449596" y="207579"/>
                      </a:cubicBezTo>
                      <a:cubicBezTo>
                        <a:pt x="449596" y="199926"/>
                        <a:pt x="433334" y="182230"/>
                        <a:pt x="409898" y="167403"/>
                      </a:cubicBezTo>
                      <a:cubicBezTo>
                        <a:pt x="396027" y="158793"/>
                        <a:pt x="380243" y="149706"/>
                        <a:pt x="362546" y="139661"/>
                      </a:cubicBezTo>
                      <a:cubicBezTo>
                        <a:pt x="347719" y="131052"/>
                        <a:pt x="330022" y="123400"/>
                        <a:pt x="314239" y="114312"/>
                      </a:cubicBezTo>
                      <a:cubicBezTo>
                        <a:pt x="297977" y="105703"/>
                        <a:pt x="281715" y="96615"/>
                        <a:pt x="265931" y="88006"/>
                      </a:cubicBezTo>
                      <a:cubicBezTo>
                        <a:pt x="249669" y="80353"/>
                        <a:pt x="231016" y="76527"/>
                        <a:pt x="214754" y="68874"/>
                      </a:cubicBezTo>
                      <a:cubicBezTo>
                        <a:pt x="197535" y="60265"/>
                        <a:pt x="181273" y="51177"/>
                        <a:pt x="165011" y="44959"/>
                      </a:cubicBezTo>
                      <a:cubicBezTo>
                        <a:pt x="147793" y="36350"/>
                        <a:pt x="130096" y="28698"/>
                        <a:pt x="115269" y="22480"/>
                      </a:cubicBezTo>
                      <a:cubicBezTo>
                        <a:pt x="85615" y="8609"/>
                        <a:pt x="91833" y="10044"/>
                        <a:pt x="65526" y="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0" name="Freeform: Shape 479">
                  <a:extLst>
                    <a:ext uri="{FF2B5EF4-FFF2-40B4-BE49-F238E27FC236}">
                      <a16:creationId xmlns:a16="http://schemas.microsoft.com/office/drawing/2014/main" id="{B245FA68-B003-725B-CD2D-C1A41F99DEE6}"/>
                    </a:ext>
                  </a:extLst>
                </p:cNvPr>
                <p:cNvSpPr/>
                <p:nvPr/>
              </p:nvSpPr>
              <p:spPr>
                <a:xfrm>
                  <a:off x="4979001" y="6003414"/>
                  <a:ext cx="177510" cy="104082"/>
                </a:xfrm>
                <a:custGeom>
                  <a:avLst/>
                  <a:gdLst>
                    <a:gd name="connsiteX0" fmla="*/ 374504 w 445291"/>
                    <a:gd name="connsiteY0" fmla="*/ 0 h 261094"/>
                    <a:gd name="connsiteX1" fmla="*/ 374504 w 445291"/>
                    <a:gd name="connsiteY1" fmla="*/ 0 h 261094"/>
                    <a:gd name="connsiteX2" fmla="*/ 324761 w 445291"/>
                    <a:gd name="connsiteY2" fmla="*/ 22480 h 261094"/>
                    <a:gd name="connsiteX3" fmla="*/ 277410 w 445291"/>
                    <a:gd name="connsiteY3" fmla="*/ 50221 h 261094"/>
                    <a:gd name="connsiteX4" fmla="*/ 226233 w 445291"/>
                    <a:gd name="connsiteY4" fmla="*/ 71744 h 261094"/>
                    <a:gd name="connsiteX5" fmla="*/ 176490 w 445291"/>
                    <a:gd name="connsiteY5" fmla="*/ 94224 h 261094"/>
                    <a:gd name="connsiteX6" fmla="*/ 130574 w 445291"/>
                    <a:gd name="connsiteY6" fmla="*/ 123400 h 261094"/>
                    <a:gd name="connsiteX7" fmla="*/ 80832 w 445291"/>
                    <a:gd name="connsiteY7" fmla="*/ 147314 h 261094"/>
                    <a:gd name="connsiteX8" fmla="*/ 33481 w 445291"/>
                    <a:gd name="connsiteY8" fmla="*/ 175055 h 261094"/>
                    <a:gd name="connsiteX9" fmla="*/ 0 w 445291"/>
                    <a:gd name="connsiteY9" fmla="*/ 214275 h 261094"/>
                    <a:gd name="connsiteX10" fmla="*/ 48308 w 445291"/>
                    <a:gd name="connsiteY10" fmla="*/ 234363 h 261094"/>
                    <a:gd name="connsiteX11" fmla="*/ 106660 w 445291"/>
                    <a:gd name="connsiteY11" fmla="*/ 242973 h 261094"/>
                    <a:gd name="connsiteX12" fmla="*/ 166446 w 445291"/>
                    <a:gd name="connsiteY12" fmla="*/ 250625 h 261094"/>
                    <a:gd name="connsiteX13" fmla="*/ 226233 w 445291"/>
                    <a:gd name="connsiteY13" fmla="*/ 250625 h 261094"/>
                    <a:gd name="connsiteX14" fmla="*/ 286019 w 445291"/>
                    <a:gd name="connsiteY14" fmla="*/ 248234 h 261094"/>
                    <a:gd name="connsiteX15" fmla="*/ 324761 w 445291"/>
                    <a:gd name="connsiteY15" fmla="*/ 176490 h 261094"/>
                    <a:gd name="connsiteX16" fmla="*/ 349633 w 445291"/>
                    <a:gd name="connsiteY16" fmla="*/ 212840 h 261094"/>
                    <a:gd name="connsiteX17" fmla="*/ 374504 w 445291"/>
                    <a:gd name="connsiteY17" fmla="*/ 252060 h 261094"/>
                    <a:gd name="connsiteX18" fmla="*/ 429029 w 445291"/>
                    <a:gd name="connsiteY18" fmla="*/ 248234 h 261094"/>
                    <a:gd name="connsiteX19" fmla="*/ 436682 w 445291"/>
                    <a:gd name="connsiteY19" fmla="*/ 194187 h 261094"/>
                    <a:gd name="connsiteX20" fmla="*/ 445291 w 445291"/>
                    <a:gd name="connsiteY20" fmla="*/ 138705 h 261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5291" h="261094">
                      <a:moveTo>
                        <a:pt x="374504" y="0"/>
                      </a:moveTo>
                      <a:lnTo>
                        <a:pt x="374504" y="0"/>
                      </a:lnTo>
                      <a:cubicBezTo>
                        <a:pt x="349633" y="11479"/>
                        <a:pt x="354415" y="8609"/>
                        <a:pt x="324761" y="22480"/>
                      </a:cubicBezTo>
                      <a:cubicBezTo>
                        <a:pt x="309934" y="30133"/>
                        <a:pt x="295107" y="41611"/>
                        <a:pt x="277410" y="50221"/>
                      </a:cubicBezTo>
                      <a:cubicBezTo>
                        <a:pt x="261148" y="57873"/>
                        <a:pt x="243929" y="64091"/>
                        <a:pt x="226233" y="71744"/>
                      </a:cubicBezTo>
                      <a:cubicBezTo>
                        <a:pt x="209971" y="80353"/>
                        <a:pt x="192752" y="85615"/>
                        <a:pt x="176490" y="94224"/>
                      </a:cubicBezTo>
                      <a:cubicBezTo>
                        <a:pt x="160228" y="101876"/>
                        <a:pt x="145401" y="114312"/>
                        <a:pt x="130574" y="123400"/>
                      </a:cubicBezTo>
                      <a:cubicBezTo>
                        <a:pt x="113356" y="132009"/>
                        <a:pt x="95659" y="138705"/>
                        <a:pt x="80832" y="147314"/>
                      </a:cubicBezTo>
                      <a:cubicBezTo>
                        <a:pt x="63613" y="157358"/>
                        <a:pt x="45916" y="166446"/>
                        <a:pt x="33481" y="175055"/>
                      </a:cubicBezTo>
                      <a:cubicBezTo>
                        <a:pt x="10044" y="190361"/>
                        <a:pt x="0" y="206623"/>
                        <a:pt x="0" y="214275"/>
                      </a:cubicBezTo>
                      <a:cubicBezTo>
                        <a:pt x="0" y="225754"/>
                        <a:pt x="17219" y="229581"/>
                        <a:pt x="48308" y="234363"/>
                      </a:cubicBezTo>
                      <a:cubicBezTo>
                        <a:pt x="65526" y="238190"/>
                        <a:pt x="85615" y="242016"/>
                        <a:pt x="106660" y="242973"/>
                      </a:cubicBezTo>
                      <a:cubicBezTo>
                        <a:pt x="126748" y="244408"/>
                        <a:pt x="146358" y="249191"/>
                        <a:pt x="166446" y="250625"/>
                      </a:cubicBezTo>
                      <a:cubicBezTo>
                        <a:pt x="187491" y="250625"/>
                        <a:pt x="207579" y="250625"/>
                        <a:pt x="226233" y="250625"/>
                      </a:cubicBezTo>
                      <a:cubicBezTo>
                        <a:pt x="261148" y="250625"/>
                        <a:pt x="265931" y="270714"/>
                        <a:pt x="286019" y="248234"/>
                      </a:cubicBezTo>
                      <a:cubicBezTo>
                        <a:pt x="313282" y="218102"/>
                        <a:pt x="288411" y="195143"/>
                        <a:pt x="324761" y="176490"/>
                      </a:cubicBezTo>
                      <a:cubicBezTo>
                        <a:pt x="343414" y="166446"/>
                        <a:pt x="337197" y="195622"/>
                        <a:pt x="349633" y="212840"/>
                      </a:cubicBezTo>
                      <a:cubicBezTo>
                        <a:pt x="362068" y="230537"/>
                        <a:pt x="353459" y="242973"/>
                        <a:pt x="374504" y="252060"/>
                      </a:cubicBezTo>
                      <a:cubicBezTo>
                        <a:pt x="399375" y="263539"/>
                        <a:pt x="409419" y="265931"/>
                        <a:pt x="429029" y="248234"/>
                      </a:cubicBezTo>
                      <a:cubicBezTo>
                        <a:pt x="450074" y="230537"/>
                        <a:pt x="432855" y="220493"/>
                        <a:pt x="436682" y="194187"/>
                      </a:cubicBezTo>
                      <a:cubicBezTo>
                        <a:pt x="441465" y="166446"/>
                        <a:pt x="441465" y="166446"/>
                        <a:pt x="445291" y="138705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1" name="Freeform: Shape 480">
                  <a:extLst>
                    <a:ext uri="{FF2B5EF4-FFF2-40B4-BE49-F238E27FC236}">
                      <a16:creationId xmlns:a16="http://schemas.microsoft.com/office/drawing/2014/main" id="{5AFE01FF-EFF7-FF2E-10CD-6BD9E002D515}"/>
                    </a:ext>
                  </a:extLst>
                </p:cNvPr>
                <p:cNvSpPr/>
                <p:nvPr/>
              </p:nvSpPr>
              <p:spPr>
                <a:xfrm>
                  <a:off x="5030099" y="5238651"/>
                  <a:ext cx="55484" cy="41374"/>
                </a:xfrm>
                <a:custGeom>
                  <a:avLst/>
                  <a:gdLst>
                    <a:gd name="connsiteX0" fmla="*/ 139183 w 139183"/>
                    <a:gd name="connsiteY0" fmla="*/ 0 h 103789"/>
                    <a:gd name="connsiteX1" fmla="*/ 139183 w 139183"/>
                    <a:gd name="connsiteY1" fmla="*/ 0 h 103789"/>
                    <a:gd name="connsiteX2" fmla="*/ 95659 w 139183"/>
                    <a:gd name="connsiteY2" fmla="*/ 39220 h 103789"/>
                    <a:gd name="connsiteX3" fmla="*/ 49743 w 139183"/>
                    <a:gd name="connsiteY3" fmla="*/ 72222 h 103789"/>
                    <a:gd name="connsiteX4" fmla="*/ 0 w 139183"/>
                    <a:gd name="connsiteY4" fmla="*/ 103790 h 103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183" h="103789">
                      <a:moveTo>
                        <a:pt x="139183" y="0"/>
                      </a:moveTo>
                      <a:lnTo>
                        <a:pt x="139183" y="0"/>
                      </a:lnTo>
                      <a:cubicBezTo>
                        <a:pt x="116704" y="17697"/>
                        <a:pt x="119095" y="21523"/>
                        <a:pt x="95659" y="39220"/>
                      </a:cubicBezTo>
                      <a:cubicBezTo>
                        <a:pt x="73179" y="55482"/>
                        <a:pt x="73179" y="55482"/>
                        <a:pt x="49743" y="72222"/>
                      </a:cubicBezTo>
                      <a:cubicBezTo>
                        <a:pt x="26306" y="89919"/>
                        <a:pt x="23436" y="86093"/>
                        <a:pt x="0" y="103790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2" name="Freeform: Shape 481">
                  <a:extLst>
                    <a:ext uri="{FF2B5EF4-FFF2-40B4-BE49-F238E27FC236}">
                      <a16:creationId xmlns:a16="http://schemas.microsoft.com/office/drawing/2014/main" id="{E1364178-F319-1BB1-FFC8-28CE4A535E77}"/>
                    </a:ext>
                  </a:extLst>
                </p:cNvPr>
                <p:cNvSpPr/>
                <p:nvPr/>
              </p:nvSpPr>
              <p:spPr>
                <a:xfrm>
                  <a:off x="5151173" y="5030634"/>
                  <a:ext cx="1907" cy="28600"/>
                </a:xfrm>
                <a:custGeom>
                  <a:avLst/>
                  <a:gdLst>
                    <a:gd name="connsiteX0" fmla="*/ 4783 w 4783"/>
                    <a:gd name="connsiteY0" fmla="*/ 0 h 71743"/>
                    <a:gd name="connsiteX1" fmla="*/ 4783 w 4783"/>
                    <a:gd name="connsiteY1" fmla="*/ 0 h 71743"/>
                    <a:gd name="connsiteX2" fmla="*/ 0 w 4783"/>
                    <a:gd name="connsiteY2" fmla="*/ 71744 h 7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83" h="71743">
                      <a:moveTo>
                        <a:pt x="4783" y="0"/>
                      </a:moveTo>
                      <a:lnTo>
                        <a:pt x="4783" y="0"/>
                      </a:lnTo>
                      <a:cubicBezTo>
                        <a:pt x="2392" y="35394"/>
                        <a:pt x="2392" y="35394"/>
                        <a:pt x="0" y="7174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3" name="Freeform: Shape 482">
                  <a:extLst>
                    <a:ext uri="{FF2B5EF4-FFF2-40B4-BE49-F238E27FC236}">
                      <a16:creationId xmlns:a16="http://schemas.microsoft.com/office/drawing/2014/main" id="{B391599D-D7A2-3CE8-86AE-595C5D4D5A16}"/>
                    </a:ext>
                  </a:extLst>
                </p:cNvPr>
                <p:cNvSpPr/>
                <p:nvPr/>
              </p:nvSpPr>
              <p:spPr>
                <a:xfrm>
                  <a:off x="5116281" y="5027202"/>
                  <a:ext cx="616" cy="28600"/>
                </a:xfrm>
                <a:custGeom>
                  <a:avLst/>
                  <a:gdLst>
                    <a:gd name="connsiteX0" fmla="*/ 1435 w 1546"/>
                    <a:gd name="connsiteY0" fmla="*/ 0 h 71743"/>
                    <a:gd name="connsiteX1" fmla="*/ 1435 w 1546"/>
                    <a:gd name="connsiteY1" fmla="*/ 0 h 71743"/>
                    <a:gd name="connsiteX2" fmla="*/ 0 w 1546"/>
                    <a:gd name="connsiteY2" fmla="*/ 71744 h 7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46" h="71743">
                      <a:moveTo>
                        <a:pt x="1435" y="0"/>
                      </a:moveTo>
                      <a:lnTo>
                        <a:pt x="1435" y="0"/>
                      </a:lnTo>
                      <a:cubicBezTo>
                        <a:pt x="-957" y="35394"/>
                        <a:pt x="3826" y="36350"/>
                        <a:pt x="0" y="71744"/>
                      </a:cubicBezTo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4" name="Freeform: Shape 483">
                  <a:extLst>
                    <a:ext uri="{FF2B5EF4-FFF2-40B4-BE49-F238E27FC236}">
                      <a16:creationId xmlns:a16="http://schemas.microsoft.com/office/drawing/2014/main" id="{9B7E8FE0-6456-2E4B-07DB-AE81CE40A6D1}"/>
                    </a:ext>
                  </a:extLst>
                </p:cNvPr>
                <p:cNvSpPr/>
                <p:nvPr/>
              </p:nvSpPr>
              <p:spPr>
                <a:xfrm>
                  <a:off x="5036698" y="4939566"/>
                  <a:ext cx="242031" cy="327077"/>
                </a:xfrm>
                <a:custGeom>
                  <a:avLst/>
                  <a:gdLst>
                    <a:gd name="connsiteX0" fmla="*/ 1145 w 607142"/>
                    <a:gd name="connsiteY0" fmla="*/ 408765 h 820484"/>
                    <a:gd name="connsiteX1" fmla="*/ 1145 w 607142"/>
                    <a:gd name="connsiteY1" fmla="*/ 408765 h 820484"/>
                    <a:gd name="connsiteX2" fmla="*/ 3536 w 607142"/>
                    <a:gd name="connsiteY2" fmla="*/ 464247 h 820484"/>
                    <a:gd name="connsiteX3" fmla="*/ 12145 w 607142"/>
                    <a:gd name="connsiteY3" fmla="*/ 521164 h 820484"/>
                    <a:gd name="connsiteX4" fmla="*/ 26016 w 607142"/>
                    <a:gd name="connsiteY4" fmla="*/ 575211 h 820484"/>
                    <a:gd name="connsiteX5" fmla="*/ 42278 w 607142"/>
                    <a:gd name="connsiteY5" fmla="*/ 629258 h 820484"/>
                    <a:gd name="connsiteX6" fmla="*/ 68584 w 607142"/>
                    <a:gd name="connsiteY6" fmla="*/ 679479 h 820484"/>
                    <a:gd name="connsiteX7" fmla="*/ 101108 w 607142"/>
                    <a:gd name="connsiteY7" fmla="*/ 724917 h 820484"/>
                    <a:gd name="connsiteX8" fmla="*/ 140806 w 607142"/>
                    <a:gd name="connsiteY8" fmla="*/ 766528 h 820484"/>
                    <a:gd name="connsiteX9" fmla="*/ 190549 w 607142"/>
                    <a:gd name="connsiteY9" fmla="*/ 792834 h 820484"/>
                    <a:gd name="connsiteX10" fmla="*/ 240291 w 607142"/>
                    <a:gd name="connsiteY10" fmla="*/ 816749 h 820484"/>
                    <a:gd name="connsiteX11" fmla="*/ 296252 w 607142"/>
                    <a:gd name="connsiteY11" fmla="*/ 819141 h 820484"/>
                    <a:gd name="connsiteX12" fmla="*/ 352212 w 607142"/>
                    <a:gd name="connsiteY12" fmla="*/ 817706 h 820484"/>
                    <a:gd name="connsiteX13" fmla="*/ 403389 w 607142"/>
                    <a:gd name="connsiteY13" fmla="*/ 795226 h 820484"/>
                    <a:gd name="connsiteX14" fmla="*/ 450740 w 607142"/>
                    <a:gd name="connsiteY14" fmla="*/ 766050 h 820484"/>
                    <a:gd name="connsiteX15" fmla="*/ 494265 w 607142"/>
                    <a:gd name="connsiteY15" fmla="*/ 730656 h 820484"/>
                    <a:gd name="connsiteX16" fmla="*/ 529180 w 607142"/>
                    <a:gd name="connsiteY16" fmla="*/ 685219 h 820484"/>
                    <a:gd name="connsiteX17" fmla="*/ 556443 w 607142"/>
                    <a:gd name="connsiteY17" fmla="*/ 635954 h 820484"/>
                    <a:gd name="connsiteX18" fmla="*/ 579879 w 607142"/>
                    <a:gd name="connsiteY18" fmla="*/ 582864 h 820484"/>
                    <a:gd name="connsiteX19" fmla="*/ 589924 w 607142"/>
                    <a:gd name="connsiteY19" fmla="*/ 527382 h 820484"/>
                    <a:gd name="connsiteX20" fmla="*/ 602359 w 607142"/>
                    <a:gd name="connsiteY20" fmla="*/ 471900 h 820484"/>
                    <a:gd name="connsiteX21" fmla="*/ 607142 w 607142"/>
                    <a:gd name="connsiteY21" fmla="*/ 414983 h 820484"/>
                    <a:gd name="connsiteX22" fmla="*/ 603316 w 607142"/>
                    <a:gd name="connsiteY22" fmla="*/ 358066 h 820484"/>
                    <a:gd name="connsiteX23" fmla="*/ 594706 w 607142"/>
                    <a:gd name="connsiteY23" fmla="*/ 302584 h 820484"/>
                    <a:gd name="connsiteX24" fmla="*/ 582271 w 607142"/>
                    <a:gd name="connsiteY24" fmla="*/ 247102 h 820484"/>
                    <a:gd name="connsiteX25" fmla="*/ 561226 w 607142"/>
                    <a:gd name="connsiteY25" fmla="*/ 194012 h 820484"/>
                    <a:gd name="connsiteX26" fmla="*/ 533963 w 607142"/>
                    <a:gd name="connsiteY26" fmla="*/ 144747 h 820484"/>
                    <a:gd name="connsiteX27" fmla="*/ 501439 w 607142"/>
                    <a:gd name="connsiteY27" fmla="*/ 97875 h 820484"/>
                    <a:gd name="connsiteX28" fmla="*/ 457915 w 607142"/>
                    <a:gd name="connsiteY28" fmla="*/ 62481 h 820484"/>
                    <a:gd name="connsiteX29" fmla="*/ 412955 w 607142"/>
                    <a:gd name="connsiteY29" fmla="*/ 29479 h 820484"/>
                    <a:gd name="connsiteX30" fmla="*/ 363213 w 607142"/>
                    <a:gd name="connsiteY30" fmla="*/ 3173 h 820484"/>
                    <a:gd name="connsiteX31" fmla="*/ 307252 w 607142"/>
                    <a:gd name="connsiteY31" fmla="*/ 781 h 820484"/>
                    <a:gd name="connsiteX32" fmla="*/ 251292 w 607142"/>
                    <a:gd name="connsiteY32" fmla="*/ 6999 h 820484"/>
                    <a:gd name="connsiteX33" fmla="*/ 199158 w 607142"/>
                    <a:gd name="connsiteY33" fmla="*/ 24696 h 820484"/>
                    <a:gd name="connsiteX34" fmla="*/ 153242 w 607142"/>
                    <a:gd name="connsiteY34" fmla="*/ 56263 h 820484"/>
                    <a:gd name="connsiteX35" fmla="*/ 111152 w 607142"/>
                    <a:gd name="connsiteY35" fmla="*/ 94048 h 820484"/>
                    <a:gd name="connsiteX36" fmla="*/ 73845 w 607142"/>
                    <a:gd name="connsiteY36" fmla="*/ 135660 h 820484"/>
                    <a:gd name="connsiteX37" fmla="*/ 50409 w 607142"/>
                    <a:gd name="connsiteY37" fmla="*/ 188750 h 820484"/>
                    <a:gd name="connsiteX38" fmla="*/ 30321 w 607142"/>
                    <a:gd name="connsiteY38" fmla="*/ 240406 h 820484"/>
                    <a:gd name="connsiteX39" fmla="*/ 10232 w 607142"/>
                    <a:gd name="connsiteY39" fmla="*/ 293497 h 820484"/>
                    <a:gd name="connsiteX40" fmla="*/ 1623 w 607142"/>
                    <a:gd name="connsiteY40" fmla="*/ 350413 h 820484"/>
                    <a:gd name="connsiteX41" fmla="*/ 1145 w 607142"/>
                    <a:gd name="connsiteY41" fmla="*/ 408765 h 820484"/>
                    <a:gd name="connsiteX42" fmla="*/ 1145 w 607142"/>
                    <a:gd name="connsiteY42" fmla="*/ 408765 h 820484"/>
                    <a:gd name="connsiteX43" fmla="*/ 1145 w 607142"/>
                    <a:gd name="connsiteY43" fmla="*/ 408765 h 820484"/>
                    <a:gd name="connsiteX44" fmla="*/ 1145 w 607142"/>
                    <a:gd name="connsiteY44" fmla="*/ 408765 h 820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607142" h="820484">
                      <a:moveTo>
                        <a:pt x="1145" y="408765"/>
                      </a:moveTo>
                      <a:lnTo>
                        <a:pt x="1145" y="408765"/>
                      </a:lnTo>
                      <a:cubicBezTo>
                        <a:pt x="-290" y="427419"/>
                        <a:pt x="2101" y="446550"/>
                        <a:pt x="3536" y="464247"/>
                      </a:cubicBezTo>
                      <a:cubicBezTo>
                        <a:pt x="4971" y="484335"/>
                        <a:pt x="8319" y="502032"/>
                        <a:pt x="12145" y="521164"/>
                      </a:cubicBezTo>
                      <a:cubicBezTo>
                        <a:pt x="15972" y="540296"/>
                        <a:pt x="19798" y="557514"/>
                        <a:pt x="26016" y="575211"/>
                      </a:cubicBezTo>
                      <a:cubicBezTo>
                        <a:pt x="30799" y="592908"/>
                        <a:pt x="33669" y="612996"/>
                        <a:pt x="42278" y="629258"/>
                      </a:cubicBezTo>
                      <a:cubicBezTo>
                        <a:pt x="49931" y="646955"/>
                        <a:pt x="58540" y="663217"/>
                        <a:pt x="68584" y="679479"/>
                      </a:cubicBezTo>
                      <a:cubicBezTo>
                        <a:pt x="78628" y="695741"/>
                        <a:pt x="89629" y="711046"/>
                        <a:pt x="101108" y="724917"/>
                      </a:cubicBezTo>
                      <a:cubicBezTo>
                        <a:pt x="113544" y="740222"/>
                        <a:pt x="125979" y="754093"/>
                        <a:pt x="140806" y="766528"/>
                      </a:cubicBezTo>
                      <a:cubicBezTo>
                        <a:pt x="155633" y="778007"/>
                        <a:pt x="174287" y="784225"/>
                        <a:pt x="190549" y="792834"/>
                      </a:cubicBezTo>
                      <a:cubicBezTo>
                        <a:pt x="206811" y="801444"/>
                        <a:pt x="223073" y="811966"/>
                        <a:pt x="240291" y="816749"/>
                      </a:cubicBezTo>
                      <a:cubicBezTo>
                        <a:pt x="258945" y="822010"/>
                        <a:pt x="277598" y="818184"/>
                        <a:pt x="296252" y="819141"/>
                      </a:cubicBezTo>
                      <a:cubicBezTo>
                        <a:pt x="314905" y="819141"/>
                        <a:pt x="334993" y="822967"/>
                        <a:pt x="352212" y="817706"/>
                      </a:cubicBezTo>
                      <a:cubicBezTo>
                        <a:pt x="370865" y="813879"/>
                        <a:pt x="387127" y="803835"/>
                        <a:pt x="403389" y="795226"/>
                      </a:cubicBezTo>
                      <a:cubicBezTo>
                        <a:pt x="419651" y="787573"/>
                        <a:pt x="435913" y="778964"/>
                        <a:pt x="450740" y="766050"/>
                      </a:cubicBezTo>
                      <a:cubicBezTo>
                        <a:pt x="465567" y="754571"/>
                        <a:pt x="481829" y="744527"/>
                        <a:pt x="494265" y="730656"/>
                      </a:cubicBezTo>
                      <a:cubicBezTo>
                        <a:pt x="506701" y="716786"/>
                        <a:pt x="517701" y="700524"/>
                        <a:pt x="529180" y="685219"/>
                      </a:cubicBezTo>
                      <a:cubicBezTo>
                        <a:pt x="539225" y="668957"/>
                        <a:pt x="547834" y="652216"/>
                        <a:pt x="556443" y="635954"/>
                      </a:cubicBezTo>
                      <a:cubicBezTo>
                        <a:pt x="565052" y="618258"/>
                        <a:pt x="573662" y="601996"/>
                        <a:pt x="579879" y="582864"/>
                      </a:cubicBezTo>
                      <a:cubicBezTo>
                        <a:pt x="586097" y="566602"/>
                        <a:pt x="584662" y="546514"/>
                        <a:pt x="589924" y="527382"/>
                      </a:cubicBezTo>
                      <a:cubicBezTo>
                        <a:pt x="593750" y="509685"/>
                        <a:pt x="599968" y="491032"/>
                        <a:pt x="602359" y="471900"/>
                      </a:cubicBezTo>
                      <a:cubicBezTo>
                        <a:pt x="603794" y="452768"/>
                        <a:pt x="607142" y="434115"/>
                        <a:pt x="607142" y="414983"/>
                      </a:cubicBezTo>
                      <a:cubicBezTo>
                        <a:pt x="607142" y="395851"/>
                        <a:pt x="605707" y="377198"/>
                        <a:pt x="603316" y="358066"/>
                      </a:cubicBezTo>
                      <a:cubicBezTo>
                        <a:pt x="601881" y="338934"/>
                        <a:pt x="598533" y="320281"/>
                        <a:pt x="594706" y="302584"/>
                      </a:cubicBezTo>
                      <a:cubicBezTo>
                        <a:pt x="590880" y="283452"/>
                        <a:pt x="587054" y="264799"/>
                        <a:pt x="582271" y="247102"/>
                      </a:cubicBezTo>
                      <a:cubicBezTo>
                        <a:pt x="576053" y="227970"/>
                        <a:pt x="568400" y="211708"/>
                        <a:pt x="561226" y="194012"/>
                      </a:cubicBezTo>
                      <a:cubicBezTo>
                        <a:pt x="552617" y="176315"/>
                        <a:pt x="542573" y="160053"/>
                        <a:pt x="533963" y="144747"/>
                      </a:cubicBezTo>
                      <a:cubicBezTo>
                        <a:pt x="522962" y="128485"/>
                        <a:pt x="513875" y="111745"/>
                        <a:pt x="501439" y="97875"/>
                      </a:cubicBezTo>
                      <a:cubicBezTo>
                        <a:pt x="489004" y="82569"/>
                        <a:pt x="472742" y="73960"/>
                        <a:pt x="457915" y="62481"/>
                      </a:cubicBezTo>
                      <a:cubicBezTo>
                        <a:pt x="443088" y="50045"/>
                        <a:pt x="429217" y="38566"/>
                        <a:pt x="412955" y="29479"/>
                      </a:cubicBezTo>
                      <a:cubicBezTo>
                        <a:pt x="395737" y="20869"/>
                        <a:pt x="380431" y="7956"/>
                        <a:pt x="363213" y="3173"/>
                      </a:cubicBezTo>
                      <a:cubicBezTo>
                        <a:pt x="344559" y="-2089"/>
                        <a:pt x="325906" y="781"/>
                        <a:pt x="307252" y="781"/>
                      </a:cubicBezTo>
                      <a:cubicBezTo>
                        <a:pt x="287164" y="781"/>
                        <a:pt x="269945" y="2216"/>
                        <a:pt x="251292" y="6999"/>
                      </a:cubicBezTo>
                      <a:cubicBezTo>
                        <a:pt x="234073" y="10825"/>
                        <a:pt x="215420" y="15608"/>
                        <a:pt x="199158" y="24696"/>
                      </a:cubicBezTo>
                      <a:cubicBezTo>
                        <a:pt x="181940" y="32349"/>
                        <a:pt x="168069" y="44784"/>
                        <a:pt x="153242" y="56263"/>
                      </a:cubicBezTo>
                      <a:cubicBezTo>
                        <a:pt x="138415" y="67742"/>
                        <a:pt x="123588" y="78743"/>
                        <a:pt x="111152" y="94048"/>
                      </a:cubicBezTo>
                      <a:cubicBezTo>
                        <a:pt x="98717" y="106484"/>
                        <a:pt x="84846" y="120354"/>
                        <a:pt x="73845" y="135660"/>
                      </a:cubicBezTo>
                      <a:cubicBezTo>
                        <a:pt x="63801" y="151922"/>
                        <a:pt x="59018" y="171054"/>
                        <a:pt x="50409" y="188750"/>
                      </a:cubicBezTo>
                      <a:cubicBezTo>
                        <a:pt x="42756" y="205012"/>
                        <a:pt x="36538" y="222709"/>
                        <a:pt x="30321" y="240406"/>
                      </a:cubicBezTo>
                      <a:cubicBezTo>
                        <a:pt x="24103" y="258103"/>
                        <a:pt x="14059" y="274365"/>
                        <a:pt x="10232" y="293497"/>
                      </a:cubicBezTo>
                      <a:cubicBezTo>
                        <a:pt x="6406" y="312628"/>
                        <a:pt x="4014" y="331282"/>
                        <a:pt x="1623" y="350413"/>
                      </a:cubicBezTo>
                      <a:cubicBezTo>
                        <a:pt x="-1725" y="369545"/>
                        <a:pt x="1145" y="389633"/>
                        <a:pt x="1145" y="408765"/>
                      </a:cubicBezTo>
                      <a:lnTo>
                        <a:pt x="1145" y="408765"/>
                      </a:lnTo>
                      <a:lnTo>
                        <a:pt x="1145" y="408765"/>
                      </a:lnTo>
                      <a:lnTo>
                        <a:pt x="1145" y="408765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5" name="Freeform: Shape 484">
                  <a:extLst>
                    <a:ext uri="{FF2B5EF4-FFF2-40B4-BE49-F238E27FC236}">
                      <a16:creationId xmlns:a16="http://schemas.microsoft.com/office/drawing/2014/main" id="{82DA93A4-896F-F83E-2F03-424D97119804}"/>
                    </a:ext>
                  </a:extLst>
                </p:cNvPr>
                <p:cNvSpPr/>
                <p:nvPr/>
              </p:nvSpPr>
              <p:spPr>
                <a:xfrm>
                  <a:off x="5058619" y="5107664"/>
                  <a:ext cx="140221" cy="119370"/>
                </a:xfrm>
                <a:custGeom>
                  <a:avLst/>
                  <a:gdLst>
                    <a:gd name="connsiteX0" fmla="*/ 351749 w 351748"/>
                    <a:gd name="connsiteY0" fmla="*/ 54047 h 299445"/>
                    <a:gd name="connsiteX1" fmla="*/ 351749 w 351748"/>
                    <a:gd name="connsiteY1" fmla="*/ 54047 h 299445"/>
                    <a:gd name="connsiteX2" fmla="*/ 300572 w 351748"/>
                    <a:gd name="connsiteY2" fmla="*/ 67918 h 299445"/>
                    <a:gd name="connsiteX3" fmla="*/ 248438 w 351748"/>
                    <a:gd name="connsiteY3" fmla="*/ 71744 h 299445"/>
                    <a:gd name="connsiteX4" fmla="*/ 197260 w 351748"/>
                    <a:gd name="connsiteY4" fmla="*/ 74135 h 299445"/>
                    <a:gd name="connsiteX5" fmla="*/ 146083 w 351748"/>
                    <a:gd name="connsiteY5" fmla="*/ 61700 h 299445"/>
                    <a:gd name="connsiteX6" fmla="*/ 94906 w 351748"/>
                    <a:gd name="connsiteY6" fmla="*/ 54047 h 299445"/>
                    <a:gd name="connsiteX7" fmla="*/ 47554 w 351748"/>
                    <a:gd name="connsiteY7" fmla="*/ 31567 h 299445"/>
                    <a:gd name="connsiteX8" fmla="*/ 7856 w 351748"/>
                    <a:gd name="connsiteY8" fmla="*/ 0 h 299445"/>
                    <a:gd name="connsiteX9" fmla="*/ 204 w 351748"/>
                    <a:gd name="connsiteY9" fmla="*/ 51656 h 299445"/>
                    <a:gd name="connsiteX10" fmla="*/ 12639 w 351748"/>
                    <a:gd name="connsiteY10" fmla="*/ 104746 h 299445"/>
                    <a:gd name="connsiteX11" fmla="*/ 32728 w 351748"/>
                    <a:gd name="connsiteY11" fmla="*/ 154967 h 299445"/>
                    <a:gd name="connsiteX12" fmla="*/ 51381 w 351748"/>
                    <a:gd name="connsiteY12" fmla="*/ 206623 h 299445"/>
                    <a:gd name="connsiteX13" fmla="*/ 84862 w 351748"/>
                    <a:gd name="connsiteY13" fmla="*/ 249669 h 299445"/>
                    <a:gd name="connsiteX14" fmla="*/ 124560 w 351748"/>
                    <a:gd name="connsiteY14" fmla="*/ 285063 h 299445"/>
                    <a:gd name="connsiteX15" fmla="*/ 172867 w 351748"/>
                    <a:gd name="connsiteY15" fmla="*/ 298933 h 299445"/>
                    <a:gd name="connsiteX16" fmla="*/ 220218 w 351748"/>
                    <a:gd name="connsiteY16" fmla="*/ 277410 h 299445"/>
                    <a:gd name="connsiteX17" fmla="*/ 259917 w 351748"/>
                    <a:gd name="connsiteY17" fmla="*/ 243451 h 299445"/>
                    <a:gd name="connsiteX18" fmla="*/ 293397 w 351748"/>
                    <a:gd name="connsiteY18" fmla="*/ 203275 h 299445"/>
                    <a:gd name="connsiteX19" fmla="*/ 320660 w 351748"/>
                    <a:gd name="connsiteY19" fmla="*/ 157837 h 299445"/>
                    <a:gd name="connsiteX20" fmla="*/ 343140 w 351748"/>
                    <a:gd name="connsiteY20" fmla="*/ 110007 h 299445"/>
                    <a:gd name="connsiteX21" fmla="*/ 351749 w 351748"/>
                    <a:gd name="connsiteY21" fmla="*/ 54047 h 299445"/>
                    <a:gd name="connsiteX22" fmla="*/ 351749 w 351748"/>
                    <a:gd name="connsiteY22" fmla="*/ 54047 h 299445"/>
                    <a:gd name="connsiteX23" fmla="*/ 351749 w 351748"/>
                    <a:gd name="connsiteY23" fmla="*/ 54047 h 299445"/>
                    <a:gd name="connsiteX24" fmla="*/ 351749 w 351748"/>
                    <a:gd name="connsiteY24" fmla="*/ 54047 h 299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51748" h="299445">
                      <a:moveTo>
                        <a:pt x="351749" y="54047"/>
                      </a:moveTo>
                      <a:lnTo>
                        <a:pt x="351749" y="54047"/>
                      </a:lnTo>
                      <a:cubicBezTo>
                        <a:pt x="330704" y="40177"/>
                        <a:pt x="331661" y="62656"/>
                        <a:pt x="300572" y="67918"/>
                      </a:cubicBezTo>
                      <a:cubicBezTo>
                        <a:pt x="285745" y="69352"/>
                        <a:pt x="268048" y="70309"/>
                        <a:pt x="248438" y="71744"/>
                      </a:cubicBezTo>
                      <a:cubicBezTo>
                        <a:pt x="232176" y="71744"/>
                        <a:pt x="214957" y="75570"/>
                        <a:pt x="197260" y="74135"/>
                      </a:cubicBezTo>
                      <a:cubicBezTo>
                        <a:pt x="180042" y="72701"/>
                        <a:pt x="163780" y="65526"/>
                        <a:pt x="146083" y="61700"/>
                      </a:cubicBezTo>
                      <a:cubicBezTo>
                        <a:pt x="129821" y="59308"/>
                        <a:pt x="111168" y="60265"/>
                        <a:pt x="94906" y="54047"/>
                      </a:cubicBezTo>
                      <a:cubicBezTo>
                        <a:pt x="78644" y="48786"/>
                        <a:pt x="62382" y="40177"/>
                        <a:pt x="47554" y="31567"/>
                      </a:cubicBezTo>
                      <a:cubicBezTo>
                        <a:pt x="32728" y="22958"/>
                        <a:pt x="20292" y="12436"/>
                        <a:pt x="7856" y="0"/>
                      </a:cubicBezTo>
                      <a:cubicBezTo>
                        <a:pt x="1638" y="13870"/>
                        <a:pt x="-753" y="30132"/>
                        <a:pt x="204" y="51656"/>
                      </a:cubicBezTo>
                      <a:cubicBezTo>
                        <a:pt x="1638" y="67918"/>
                        <a:pt x="7856" y="85614"/>
                        <a:pt x="12639" y="104746"/>
                      </a:cubicBezTo>
                      <a:cubicBezTo>
                        <a:pt x="17422" y="122443"/>
                        <a:pt x="25075" y="138705"/>
                        <a:pt x="32728" y="154967"/>
                      </a:cubicBezTo>
                      <a:cubicBezTo>
                        <a:pt x="38945" y="172664"/>
                        <a:pt x="42772" y="191317"/>
                        <a:pt x="51381" y="206623"/>
                      </a:cubicBezTo>
                      <a:cubicBezTo>
                        <a:pt x="59990" y="222885"/>
                        <a:pt x="73861" y="235799"/>
                        <a:pt x="84862" y="249669"/>
                      </a:cubicBezTo>
                      <a:cubicBezTo>
                        <a:pt x="97297" y="264974"/>
                        <a:pt x="109733" y="275019"/>
                        <a:pt x="124560" y="285063"/>
                      </a:cubicBezTo>
                      <a:cubicBezTo>
                        <a:pt x="139387" y="295107"/>
                        <a:pt x="154214" y="301325"/>
                        <a:pt x="172867" y="298933"/>
                      </a:cubicBezTo>
                      <a:cubicBezTo>
                        <a:pt x="187694" y="296542"/>
                        <a:pt x="203957" y="287454"/>
                        <a:pt x="220218" y="277410"/>
                      </a:cubicBezTo>
                      <a:cubicBezTo>
                        <a:pt x="234089" y="268801"/>
                        <a:pt x="246525" y="255887"/>
                        <a:pt x="259917" y="243451"/>
                      </a:cubicBezTo>
                      <a:cubicBezTo>
                        <a:pt x="270918" y="231016"/>
                        <a:pt x="282397" y="218102"/>
                        <a:pt x="293397" y="203275"/>
                      </a:cubicBezTo>
                      <a:cubicBezTo>
                        <a:pt x="303442" y="189404"/>
                        <a:pt x="313486" y="174099"/>
                        <a:pt x="320660" y="157837"/>
                      </a:cubicBezTo>
                      <a:cubicBezTo>
                        <a:pt x="328313" y="142531"/>
                        <a:pt x="337878" y="126269"/>
                        <a:pt x="343140" y="110007"/>
                      </a:cubicBezTo>
                      <a:cubicBezTo>
                        <a:pt x="348879" y="91832"/>
                        <a:pt x="350314" y="71744"/>
                        <a:pt x="351749" y="54047"/>
                      </a:cubicBezTo>
                      <a:lnTo>
                        <a:pt x="351749" y="54047"/>
                      </a:lnTo>
                      <a:lnTo>
                        <a:pt x="351749" y="54047"/>
                      </a:lnTo>
                      <a:lnTo>
                        <a:pt x="351749" y="54047"/>
                      </a:lnTo>
                      <a:close/>
                    </a:path>
                  </a:pathLst>
                </a:custGeom>
                <a:noFill/>
                <a:ln w="3175" cap="rnd">
                  <a:solidFill>
                    <a:schemeClr val="accent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6" name="Freeform: Shape 485">
                  <a:extLst>
                    <a:ext uri="{FF2B5EF4-FFF2-40B4-BE49-F238E27FC236}">
                      <a16:creationId xmlns:a16="http://schemas.microsoft.com/office/drawing/2014/main" id="{1808BD27-68E3-DF8F-2810-6B4823C40F4A}"/>
                    </a:ext>
                  </a:extLst>
                </p:cNvPr>
                <p:cNvSpPr/>
                <p:nvPr/>
              </p:nvSpPr>
              <p:spPr>
                <a:xfrm>
                  <a:off x="4781144" y="5278515"/>
                  <a:ext cx="265007" cy="207664"/>
                </a:xfrm>
                <a:custGeom>
                  <a:avLst/>
                  <a:gdLst>
                    <a:gd name="connsiteX0" fmla="*/ 618774 w 664778"/>
                    <a:gd name="connsiteY0" fmla="*/ 921 h 520933"/>
                    <a:gd name="connsiteX1" fmla="*/ 326058 w 664778"/>
                    <a:gd name="connsiteY1" fmla="*/ 217588 h 520933"/>
                    <a:gd name="connsiteX2" fmla="*/ 62518 w 664778"/>
                    <a:gd name="connsiteY2" fmla="*/ 404122 h 520933"/>
                    <a:gd name="connsiteX3" fmla="*/ 340 w 664778"/>
                    <a:gd name="connsiteY3" fmla="*/ 495954 h 520933"/>
                    <a:gd name="connsiteX4" fmla="*/ 84998 w 664778"/>
                    <a:gd name="connsiteY4" fmla="*/ 516521 h 520933"/>
                    <a:gd name="connsiteX5" fmla="*/ 218442 w 664778"/>
                    <a:gd name="connsiteY5" fmla="*/ 455778 h 520933"/>
                    <a:gd name="connsiteX6" fmla="*/ 347581 w 664778"/>
                    <a:gd name="connsiteY6" fmla="*/ 379251 h 520933"/>
                    <a:gd name="connsiteX7" fmla="*/ 662298 w 664778"/>
                    <a:gd name="connsiteY7" fmla="*/ 204196 h 520933"/>
                    <a:gd name="connsiteX8" fmla="*/ 657037 w 664778"/>
                    <a:gd name="connsiteY8" fmla="*/ 195108 h 520933"/>
                    <a:gd name="connsiteX9" fmla="*/ 416934 w 664778"/>
                    <a:gd name="connsiteY9" fmla="*/ 329509 h 520933"/>
                    <a:gd name="connsiteX10" fmla="*/ 187353 w 664778"/>
                    <a:gd name="connsiteY10" fmla="*/ 461996 h 520933"/>
                    <a:gd name="connsiteX11" fmla="*/ 51040 w 664778"/>
                    <a:gd name="connsiteY11" fmla="*/ 508868 h 520933"/>
                    <a:gd name="connsiteX12" fmla="*/ 26646 w 664778"/>
                    <a:gd name="connsiteY12" fmla="*/ 492128 h 520933"/>
                    <a:gd name="connsiteX13" fmla="*/ 19950 w 664778"/>
                    <a:gd name="connsiteY13" fmla="*/ 469170 h 520933"/>
                    <a:gd name="connsiteX14" fmla="*/ 42909 w 664778"/>
                    <a:gd name="connsiteY14" fmla="*/ 439516 h 520933"/>
                    <a:gd name="connsiteX15" fmla="*/ 95521 w 664778"/>
                    <a:gd name="connsiteY15" fmla="*/ 388817 h 520933"/>
                    <a:gd name="connsiteX16" fmla="*/ 340885 w 664778"/>
                    <a:gd name="connsiteY16" fmla="*/ 219979 h 520933"/>
                    <a:gd name="connsiteX17" fmla="*/ 624034 w 664778"/>
                    <a:gd name="connsiteY17" fmla="*/ 10009 h 520933"/>
                    <a:gd name="connsiteX18" fmla="*/ 618774 w 664778"/>
                    <a:gd name="connsiteY18" fmla="*/ 921 h 520933"/>
                    <a:gd name="connsiteX19" fmla="*/ 618774 w 664778"/>
                    <a:gd name="connsiteY19" fmla="*/ 921 h 520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664778" h="520933">
                      <a:moveTo>
                        <a:pt x="618774" y="921"/>
                      </a:moveTo>
                      <a:cubicBezTo>
                        <a:pt x="522637" y="75057"/>
                        <a:pt x="426021" y="148235"/>
                        <a:pt x="326058" y="217588"/>
                      </a:cubicBezTo>
                      <a:cubicBezTo>
                        <a:pt x="238530" y="278331"/>
                        <a:pt x="140002" y="330465"/>
                        <a:pt x="62518" y="404122"/>
                      </a:cubicBezTo>
                      <a:cubicBezTo>
                        <a:pt x="42430" y="423254"/>
                        <a:pt x="-4442" y="463909"/>
                        <a:pt x="340" y="495954"/>
                      </a:cubicBezTo>
                      <a:cubicBezTo>
                        <a:pt x="5123" y="529913"/>
                        <a:pt x="62040" y="520826"/>
                        <a:pt x="84998" y="516521"/>
                      </a:cubicBezTo>
                      <a:cubicBezTo>
                        <a:pt x="133306" y="507434"/>
                        <a:pt x="177309" y="481127"/>
                        <a:pt x="218442" y="455778"/>
                      </a:cubicBezTo>
                      <a:cubicBezTo>
                        <a:pt x="261010" y="429472"/>
                        <a:pt x="304057" y="403644"/>
                        <a:pt x="347581" y="379251"/>
                      </a:cubicBezTo>
                      <a:cubicBezTo>
                        <a:pt x="452806" y="321378"/>
                        <a:pt x="560422" y="267809"/>
                        <a:pt x="662298" y="204196"/>
                      </a:cubicBezTo>
                      <a:cubicBezTo>
                        <a:pt x="668038" y="200848"/>
                        <a:pt x="662776" y="191282"/>
                        <a:pt x="657037" y="195108"/>
                      </a:cubicBezTo>
                      <a:cubicBezTo>
                        <a:pt x="579075" y="243894"/>
                        <a:pt x="497765" y="286462"/>
                        <a:pt x="416934" y="329509"/>
                      </a:cubicBezTo>
                      <a:cubicBezTo>
                        <a:pt x="338972" y="371120"/>
                        <a:pt x="263880" y="417036"/>
                        <a:pt x="187353" y="461996"/>
                      </a:cubicBezTo>
                      <a:cubicBezTo>
                        <a:pt x="145741" y="486389"/>
                        <a:pt x="100304" y="509347"/>
                        <a:pt x="51040" y="508868"/>
                      </a:cubicBezTo>
                      <a:cubicBezTo>
                        <a:pt x="33821" y="508868"/>
                        <a:pt x="37647" y="509825"/>
                        <a:pt x="26646" y="492128"/>
                      </a:cubicBezTo>
                      <a:cubicBezTo>
                        <a:pt x="9428" y="465344"/>
                        <a:pt x="15646" y="483041"/>
                        <a:pt x="19950" y="469170"/>
                      </a:cubicBezTo>
                      <a:cubicBezTo>
                        <a:pt x="23298" y="458648"/>
                        <a:pt x="35734" y="447647"/>
                        <a:pt x="42909" y="439516"/>
                      </a:cubicBezTo>
                      <a:cubicBezTo>
                        <a:pt x="58692" y="420862"/>
                        <a:pt x="76389" y="404122"/>
                        <a:pt x="95521" y="388817"/>
                      </a:cubicBezTo>
                      <a:cubicBezTo>
                        <a:pt x="171569" y="325204"/>
                        <a:pt x="259575" y="276418"/>
                        <a:pt x="340885" y="219979"/>
                      </a:cubicBezTo>
                      <a:cubicBezTo>
                        <a:pt x="437022" y="152540"/>
                        <a:pt x="531246" y="81753"/>
                        <a:pt x="624034" y="10009"/>
                      </a:cubicBezTo>
                      <a:cubicBezTo>
                        <a:pt x="629296" y="6182"/>
                        <a:pt x="624034" y="-2905"/>
                        <a:pt x="618774" y="921"/>
                      </a:cubicBezTo>
                      <a:lnTo>
                        <a:pt x="618774" y="921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7" name="Freeform: Shape 486">
                  <a:extLst>
                    <a:ext uri="{FF2B5EF4-FFF2-40B4-BE49-F238E27FC236}">
                      <a16:creationId xmlns:a16="http://schemas.microsoft.com/office/drawing/2014/main" id="{A3C7F447-0AF1-3DB3-7225-749E6C80DF54}"/>
                    </a:ext>
                  </a:extLst>
                </p:cNvPr>
                <p:cNvSpPr/>
                <p:nvPr/>
              </p:nvSpPr>
              <p:spPr>
                <a:xfrm>
                  <a:off x="5065227" y="5582511"/>
                  <a:ext cx="25219" cy="71335"/>
                </a:xfrm>
                <a:custGeom>
                  <a:avLst/>
                  <a:gdLst>
                    <a:gd name="connsiteX0" fmla="*/ 61587 w 63262"/>
                    <a:gd name="connsiteY0" fmla="*/ 175312 h 178947"/>
                    <a:gd name="connsiteX1" fmla="*/ 57761 w 63262"/>
                    <a:gd name="connsiteY1" fmla="*/ 138961 h 178947"/>
                    <a:gd name="connsiteX2" fmla="*/ 41977 w 63262"/>
                    <a:gd name="connsiteY2" fmla="*/ 93524 h 178947"/>
                    <a:gd name="connsiteX3" fmla="*/ 10409 w 63262"/>
                    <a:gd name="connsiteY3" fmla="*/ 3605 h 178947"/>
                    <a:gd name="connsiteX4" fmla="*/ 365 w 63262"/>
                    <a:gd name="connsiteY4" fmla="*/ 6474 h 178947"/>
                    <a:gd name="connsiteX5" fmla="*/ 29541 w 63262"/>
                    <a:gd name="connsiteY5" fmla="*/ 89697 h 178947"/>
                    <a:gd name="connsiteX6" fmla="*/ 43890 w 63262"/>
                    <a:gd name="connsiteY6" fmla="*/ 130830 h 178947"/>
                    <a:gd name="connsiteX7" fmla="*/ 51543 w 63262"/>
                    <a:gd name="connsiteY7" fmla="*/ 172920 h 178947"/>
                    <a:gd name="connsiteX8" fmla="*/ 61587 w 63262"/>
                    <a:gd name="connsiteY8" fmla="*/ 175312 h 178947"/>
                    <a:gd name="connsiteX9" fmla="*/ 61587 w 63262"/>
                    <a:gd name="connsiteY9" fmla="*/ 175312 h 178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3262" h="178947">
                      <a:moveTo>
                        <a:pt x="61587" y="175312"/>
                      </a:moveTo>
                      <a:cubicBezTo>
                        <a:pt x="65413" y="162876"/>
                        <a:pt x="62065" y="150919"/>
                        <a:pt x="57761" y="138961"/>
                      </a:cubicBezTo>
                      <a:cubicBezTo>
                        <a:pt x="52499" y="123656"/>
                        <a:pt x="47238" y="108351"/>
                        <a:pt x="41977" y="93524"/>
                      </a:cubicBezTo>
                      <a:cubicBezTo>
                        <a:pt x="31454" y="63391"/>
                        <a:pt x="20932" y="33737"/>
                        <a:pt x="10409" y="3605"/>
                      </a:cubicBezTo>
                      <a:cubicBezTo>
                        <a:pt x="8018" y="-2613"/>
                        <a:pt x="-2026" y="-222"/>
                        <a:pt x="365" y="6474"/>
                      </a:cubicBezTo>
                      <a:cubicBezTo>
                        <a:pt x="9931" y="34215"/>
                        <a:pt x="19975" y="61956"/>
                        <a:pt x="29541" y="89697"/>
                      </a:cubicBezTo>
                      <a:cubicBezTo>
                        <a:pt x="34324" y="103568"/>
                        <a:pt x="39107" y="116960"/>
                        <a:pt x="43890" y="130830"/>
                      </a:cubicBezTo>
                      <a:cubicBezTo>
                        <a:pt x="48673" y="144223"/>
                        <a:pt x="55847" y="158571"/>
                        <a:pt x="51543" y="172920"/>
                      </a:cubicBezTo>
                      <a:cubicBezTo>
                        <a:pt x="49151" y="179138"/>
                        <a:pt x="59674" y="181530"/>
                        <a:pt x="61587" y="175312"/>
                      </a:cubicBezTo>
                      <a:lnTo>
                        <a:pt x="61587" y="175312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47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8" name="Freeform: Shape 487">
                  <a:extLst>
                    <a:ext uri="{FF2B5EF4-FFF2-40B4-BE49-F238E27FC236}">
                      <a16:creationId xmlns:a16="http://schemas.microsoft.com/office/drawing/2014/main" id="{BEFDAE61-056E-F543-4EC3-335928EC13CF}"/>
                    </a:ext>
                  </a:extLst>
                </p:cNvPr>
                <p:cNvSpPr/>
                <p:nvPr/>
              </p:nvSpPr>
              <p:spPr>
                <a:xfrm>
                  <a:off x="5037701" y="5370026"/>
                  <a:ext cx="23311" cy="169807"/>
                </a:xfrm>
                <a:custGeom>
                  <a:avLst/>
                  <a:gdLst>
                    <a:gd name="connsiteX0" fmla="*/ 58416 w 58477"/>
                    <a:gd name="connsiteY0" fmla="*/ 420883 h 425966"/>
                    <a:gd name="connsiteX1" fmla="*/ 10108 w 58477"/>
                    <a:gd name="connsiteY1" fmla="*/ 3811 h 425966"/>
                    <a:gd name="connsiteX2" fmla="*/ 64 w 58477"/>
                    <a:gd name="connsiteY2" fmla="*/ 6681 h 425966"/>
                    <a:gd name="connsiteX3" fmla="*/ 48372 w 58477"/>
                    <a:gd name="connsiteY3" fmla="*/ 421361 h 425966"/>
                    <a:gd name="connsiteX4" fmla="*/ 58416 w 58477"/>
                    <a:gd name="connsiteY4" fmla="*/ 420883 h 425966"/>
                    <a:gd name="connsiteX5" fmla="*/ 58416 w 58477"/>
                    <a:gd name="connsiteY5" fmla="*/ 420883 h 425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8477" h="425966">
                      <a:moveTo>
                        <a:pt x="58416" y="420883"/>
                      </a:moveTo>
                      <a:cubicBezTo>
                        <a:pt x="45980" y="281221"/>
                        <a:pt x="29718" y="142038"/>
                        <a:pt x="10108" y="3811"/>
                      </a:cubicBezTo>
                      <a:cubicBezTo>
                        <a:pt x="9152" y="-2885"/>
                        <a:pt x="-892" y="-15"/>
                        <a:pt x="64" y="6681"/>
                      </a:cubicBezTo>
                      <a:cubicBezTo>
                        <a:pt x="19674" y="144429"/>
                        <a:pt x="35936" y="282656"/>
                        <a:pt x="48372" y="421361"/>
                      </a:cubicBezTo>
                      <a:cubicBezTo>
                        <a:pt x="48850" y="427579"/>
                        <a:pt x="59372" y="427579"/>
                        <a:pt x="58416" y="420883"/>
                      </a:cubicBezTo>
                      <a:lnTo>
                        <a:pt x="58416" y="420883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89" name="Freeform: Shape 488">
                  <a:extLst>
                    <a:ext uri="{FF2B5EF4-FFF2-40B4-BE49-F238E27FC236}">
                      <a16:creationId xmlns:a16="http://schemas.microsoft.com/office/drawing/2014/main" id="{DF44DC4A-AFF0-BD69-0B9F-EB40D9773B61}"/>
                    </a:ext>
                  </a:extLst>
                </p:cNvPr>
                <p:cNvSpPr/>
                <p:nvPr/>
              </p:nvSpPr>
              <p:spPr>
                <a:xfrm>
                  <a:off x="5260439" y="5382950"/>
                  <a:ext cx="26775" cy="141040"/>
                </a:xfrm>
                <a:custGeom>
                  <a:avLst/>
                  <a:gdLst>
                    <a:gd name="connsiteX0" fmla="*/ 921 w 67166"/>
                    <a:gd name="connsiteY0" fmla="*/ 7741 h 353803"/>
                    <a:gd name="connsiteX1" fmla="*/ 56882 w 67166"/>
                    <a:gd name="connsiteY1" fmla="*/ 350199 h 353803"/>
                    <a:gd name="connsiteX2" fmla="*/ 66926 w 67166"/>
                    <a:gd name="connsiteY2" fmla="*/ 347329 h 353803"/>
                    <a:gd name="connsiteX3" fmla="*/ 10009 w 67166"/>
                    <a:gd name="connsiteY3" fmla="*/ 2480 h 353803"/>
                    <a:gd name="connsiteX4" fmla="*/ 921 w 67166"/>
                    <a:gd name="connsiteY4" fmla="*/ 7741 h 353803"/>
                    <a:gd name="connsiteX5" fmla="*/ 921 w 67166"/>
                    <a:gd name="connsiteY5" fmla="*/ 7741 h 3538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7166" h="353803">
                      <a:moveTo>
                        <a:pt x="921" y="7741"/>
                      </a:moveTo>
                      <a:cubicBezTo>
                        <a:pt x="61186" y="112009"/>
                        <a:pt x="22445" y="238757"/>
                        <a:pt x="56882" y="350199"/>
                      </a:cubicBezTo>
                      <a:cubicBezTo>
                        <a:pt x="58795" y="356417"/>
                        <a:pt x="68839" y="354026"/>
                        <a:pt x="66926" y="347329"/>
                      </a:cubicBezTo>
                      <a:cubicBezTo>
                        <a:pt x="32010" y="234931"/>
                        <a:pt x="70752" y="108183"/>
                        <a:pt x="10009" y="2480"/>
                      </a:cubicBezTo>
                      <a:cubicBezTo>
                        <a:pt x="6182" y="-3259"/>
                        <a:pt x="-2905" y="2002"/>
                        <a:pt x="921" y="7741"/>
                      </a:cubicBezTo>
                      <a:lnTo>
                        <a:pt x="921" y="7741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0" name="Freeform: Shape 489">
                  <a:extLst>
                    <a:ext uri="{FF2B5EF4-FFF2-40B4-BE49-F238E27FC236}">
                      <a16:creationId xmlns:a16="http://schemas.microsoft.com/office/drawing/2014/main" id="{26F6B637-260B-DA47-8476-E58A35312CE7}"/>
                    </a:ext>
                  </a:extLst>
                </p:cNvPr>
                <p:cNvSpPr/>
                <p:nvPr/>
              </p:nvSpPr>
              <p:spPr>
                <a:xfrm>
                  <a:off x="5235967" y="5224219"/>
                  <a:ext cx="100242" cy="300990"/>
                </a:xfrm>
                <a:custGeom>
                  <a:avLst/>
                  <a:gdLst>
                    <a:gd name="connsiteX0" fmla="*/ 129269 w 251460"/>
                    <a:gd name="connsiteY0" fmla="*/ 754123 h 755044"/>
                    <a:gd name="connsiteX1" fmla="*/ 248364 w 251460"/>
                    <a:gd name="connsiteY1" fmla="*/ 650334 h 755044"/>
                    <a:gd name="connsiteX2" fmla="*/ 211536 w 251460"/>
                    <a:gd name="connsiteY2" fmla="*/ 424101 h 755044"/>
                    <a:gd name="connsiteX3" fmla="*/ 8740 w 251460"/>
                    <a:gd name="connsiteY3" fmla="*/ 1768 h 755044"/>
                    <a:gd name="connsiteX4" fmla="*/ 1087 w 251460"/>
                    <a:gd name="connsiteY4" fmla="*/ 9421 h 755044"/>
                    <a:gd name="connsiteX5" fmla="*/ 180447 w 251460"/>
                    <a:gd name="connsiteY5" fmla="*/ 385359 h 755044"/>
                    <a:gd name="connsiteX6" fmla="*/ 225406 w 251460"/>
                    <a:gd name="connsiteY6" fmla="*/ 483410 h 755044"/>
                    <a:gd name="connsiteX7" fmla="*/ 239277 w 251460"/>
                    <a:gd name="connsiteY7" fmla="*/ 600591 h 755044"/>
                    <a:gd name="connsiteX8" fmla="*/ 199578 w 251460"/>
                    <a:gd name="connsiteY8" fmla="*/ 707729 h 755044"/>
                    <a:gd name="connsiteX9" fmla="*/ 123530 w 251460"/>
                    <a:gd name="connsiteY9" fmla="*/ 745036 h 755044"/>
                    <a:gd name="connsiteX10" fmla="*/ 129269 w 251460"/>
                    <a:gd name="connsiteY10" fmla="*/ 754123 h 755044"/>
                    <a:gd name="connsiteX11" fmla="*/ 129269 w 251460"/>
                    <a:gd name="connsiteY11" fmla="*/ 754123 h 75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51460" h="755044">
                      <a:moveTo>
                        <a:pt x="129269" y="754123"/>
                      </a:moveTo>
                      <a:cubicBezTo>
                        <a:pt x="176620" y="722556"/>
                        <a:pt x="240712" y="717773"/>
                        <a:pt x="248364" y="650334"/>
                      </a:cubicBezTo>
                      <a:cubicBezTo>
                        <a:pt x="257452" y="570937"/>
                        <a:pt x="246929" y="495367"/>
                        <a:pt x="211536" y="424101"/>
                      </a:cubicBezTo>
                      <a:cubicBezTo>
                        <a:pt x="142661" y="284918"/>
                        <a:pt x="107746" y="124690"/>
                        <a:pt x="8740" y="1768"/>
                      </a:cubicBezTo>
                      <a:cubicBezTo>
                        <a:pt x="4435" y="-3493"/>
                        <a:pt x="-2740" y="4160"/>
                        <a:pt x="1087" y="9421"/>
                      </a:cubicBezTo>
                      <a:cubicBezTo>
                        <a:pt x="89571" y="119428"/>
                        <a:pt x="122095" y="259090"/>
                        <a:pt x="180447" y="385359"/>
                      </a:cubicBezTo>
                      <a:cubicBezTo>
                        <a:pt x="195274" y="417883"/>
                        <a:pt x="214405" y="449451"/>
                        <a:pt x="225406" y="483410"/>
                      </a:cubicBezTo>
                      <a:cubicBezTo>
                        <a:pt x="237842" y="521195"/>
                        <a:pt x="239755" y="560893"/>
                        <a:pt x="239277" y="600591"/>
                      </a:cubicBezTo>
                      <a:cubicBezTo>
                        <a:pt x="238798" y="642681"/>
                        <a:pt x="239755" y="683814"/>
                        <a:pt x="199578" y="707729"/>
                      </a:cubicBezTo>
                      <a:cubicBezTo>
                        <a:pt x="175185" y="722078"/>
                        <a:pt x="147445" y="729252"/>
                        <a:pt x="123530" y="745036"/>
                      </a:cubicBezTo>
                      <a:cubicBezTo>
                        <a:pt x="118269" y="748862"/>
                        <a:pt x="123530" y="757950"/>
                        <a:pt x="129269" y="754123"/>
                      </a:cubicBezTo>
                      <a:lnTo>
                        <a:pt x="129269" y="754123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1" name="Freeform: Shape 490">
                  <a:extLst>
                    <a:ext uri="{FF2B5EF4-FFF2-40B4-BE49-F238E27FC236}">
                      <a16:creationId xmlns:a16="http://schemas.microsoft.com/office/drawing/2014/main" id="{1D9EE457-6C04-EF9F-9690-E6586A9730FF}"/>
                    </a:ext>
                  </a:extLst>
                </p:cNvPr>
                <p:cNvSpPr/>
                <p:nvPr/>
              </p:nvSpPr>
              <p:spPr>
                <a:xfrm>
                  <a:off x="5252582" y="5317593"/>
                  <a:ext cx="12444" cy="65195"/>
                </a:xfrm>
                <a:custGeom>
                  <a:avLst/>
                  <a:gdLst>
                    <a:gd name="connsiteX0" fmla="*/ 64 w 31217"/>
                    <a:gd name="connsiteY0" fmla="*/ 6681 h 163545"/>
                    <a:gd name="connsiteX1" fmla="*/ 21109 w 31217"/>
                    <a:gd name="connsiteY1" fmla="*/ 159735 h 163545"/>
                    <a:gd name="connsiteX2" fmla="*/ 31153 w 31217"/>
                    <a:gd name="connsiteY2" fmla="*/ 156865 h 163545"/>
                    <a:gd name="connsiteX3" fmla="*/ 10109 w 31217"/>
                    <a:gd name="connsiteY3" fmla="*/ 3811 h 163545"/>
                    <a:gd name="connsiteX4" fmla="*/ 64 w 31217"/>
                    <a:gd name="connsiteY4" fmla="*/ 6681 h 163545"/>
                    <a:gd name="connsiteX5" fmla="*/ 64 w 31217"/>
                    <a:gd name="connsiteY5" fmla="*/ 6681 h 163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1217" h="163545">
                      <a:moveTo>
                        <a:pt x="64" y="6681"/>
                      </a:moveTo>
                      <a:cubicBezTo>
                        <a:pt x="7239" y="57858"/>
                        <a:pt x="13935" y="109036"/>
                        <a:pt x="21109" y="159735"/>
                      </a:cubicBezTo>
                      <a:cubicBezTo>
                        <a:pt x="22066" y="166431"/>
                        <a:pt x="32110" y="163561"/>
                        <a:pt x="31153" y="156865"/>
                      </a:cubicBezTo>
                      <a:cubicBezTo>
                        <a:pt x="23979" y="105688"/>
                        <a:pt x="17283" y="54510"/>
                        <a:pt x="10109" y="3811"/>
                      </a:cubicBezTo>
                      <a:cubicBezTo>
                        <a:pt x="9152" y="-2885"/>
                        <a:pt x="-892" y="-15"/>
                        <a:pt x="64" y="6681"/>
                      </a:cubicBezTo>
                      <a:lnTo>
                        <a:pt x="64" y="6681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2" name="Freeform: Shape 491">
                  <a:extLst>
                    <a:ext uri="{FF2B5EF4-FFF2-40B4-BE49-F238E27FC236}">
                      <a16:creationId xmlns:a16="http://schemas.microsoft.com/office/drawing/2014/main" id="{B07B6B0F-1146-B6AE-A5B3-D384068EB167}"/>
                    </a:ext>
                  </a:extLst>
                </p:cNvPr>
                <p:cNvSpPr/>
                <p:nvPr/>
              </p:nvSpPr>
              <p:spPr>
                <a:xfrm>
                  <a:off x="5275311" y="5432269"/>
                  <a:ext cx="25380" cy="23778"/>
                </a:xfrm>
                <a:custGeom>
                  <a:avLst/>
                  <a:gdLst>
                    <a:gd name="connsiteX0" fmla="*/ 10009 w 63666"/>
                    <a:gd name="connsiteY0" fmla="*/ 57167 h 59647"/>
                    <a:gd name="connsiteX1" fmla="*/ 61186 w 63666"/>
                    <a:gd name="connsiteY1" fmla="*/ 9816 h 59647"/>
                    <a:gd name="connsiteX2" fmla="*/ 55925 w 63666"/>
                    <a:gd name="connsiteY2" fmla="*/ 729 h 59647"/>
                    <a:gd name="connsiteX3" fmla="*/ 921 w 63666"/>
                    <a:gd name="connsiteY3" fmla="*/ 51906 h 59647"/>
                    <a:gd name="connsiteX4" fmla="*/ 10009 w 63666"/>
                    <a:gd name="connsiteY4" fmla="*/ 57167 h 59647"/>
                    <a:gd name="connsiteX5" fmla="*/ 10009 w 63666"/>
                    <a:gd name="connsiteY5" fmla="*/ 57167 h 59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666" h="59647">
                      <a:moveTo>
                        <a:pt x="10009" y="57167"/>
                      </a:moveTo>
                      <a:cubicBezTo>
                        <a:pt x="22923" y="37557"/>
                        <a:pt x="40619" y="21295"/>
                        <a:pt x="61186" y="9816"/>
                      </a:cubicBezTo>
                      <a:cubicBezTo>
                        <a:pt x="66926" y="6468"/>
                        <a:pt x="61664" y="-2619"/>
                        <a:pt x="55925" y="729"/>
                      </a:cubicBezTo>
                      <a:cubicBezTo>
                        <a:pt x="33923" y="13164"/>
                        <a:pt x="15270" y="30861"/>
                        <a:pt x="921" y="51906"/>
                      </a:cubicBezTo>
                      <a:cubicBezTo>
                        <a:pt x="-2905" y="57646"/>
                        <a:pt x="6182" y="62907"/>
                        <a:pt x="10009" y="57167"/>
                      </a:cubicBezTo>
                      <a:lnTo>
                        <a:pt x="10009" y="57167"/>
                      </a:lnTo>
                      <a:close/>
                    </a:path>
                  </a:pathLst>
                </a:custGeom>
                <a:solidFill>
                  <a:srgbClr val="005950"/>
                </a:solidFill>
                <a:ln w="3175" cap="flat">
                  <a:solidFill>
                    <a:schemeClr val="accent1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  <p:grpSp>
            <p:nvGrpSpPr>
              <p:cNvPr id="493" name="Group 492">
                <a:extLst>
                  <a:ext uri="{FF2B5EF4-FFF2-40B4-BE49-F238E27FC236}">
                    <a16:creationId xmlns:a16="http://schemas.microsoft.com/office/drawing/2014/main" id="{9D044BDD-EAED-23BF-51F2-0C1FE629DFB7}"/>
                  </a:ext>
                </a:extLst>
              </p:cNvPr>
              <p:cNvGrpSpPr/>
              <p:nvPr/>
            </p:nvGrpSpPr>
            <p:grpSpPr>
              <a:xfrm>
                <a:off x="859766" y="4555073"/>
                <a:ext cx="104642" cy="140620"/>
                <a:chOff x="5649818" y="2799799"/>
                <a:chExt cx="1387448" cy="1864483"/>
              </a:xfrm>
            </p:grpSpPr>
            <p:sp>
              <p:nvSpPr>
                <p:cNvPr id="494" name="Freeform: Shape 493">
                  <a:extLst>
                    <a:ext uri="{FF2B5EF4-FFF2-40B4-BE49-F238E27FC236}">
                      <a16:creationId xmlns:a16="http://schemas.microsoft.com/office/drawing/2014/main" id="{551744BA-A896-F0D9-BD33-A3A75677C899}"/>
                    </a:ext>
                  </a:extLst>
                </p:cNvPr>
                <p:cNvSpPr/>
                <p:nvPr/>
              </p:nvSpPr>
              <p:spPr>
                <a:xfrm>
                  <a:off x="5669345" y="2821080"/>
                  <a:ext cx="1348874" cy="1823361"/>
                </a:xfrm>
                <a:custGeom>
                  <a:avLst/>
                  <a:gdLst>
                    <a:gd name="connsiteX0" fmla="*/ 544356 w 1348874"/>
                    <a:gd name="connsiteY0" fmla="*/ 43346 h 1823361"/>
                    <a:gd name="connsiteX1" fmla="*/ 318205 w 1348874"/>
                    <a:gd name="connsiteY1" fmla="*/ 141344 h 1823361"/>
                    <a:gd name="connsiteX2" fmla="*/ 248475 w 1348874"/>
                    <a:gd name="connsiteY2" fmla="*/ 391995 h 1823361"/>
                    <a:gd name="connsiteX3" fmla="*/ 109015 w 1348874"/>
                    <a:gd name="connsiteY3" fmla="*/ 1371982 h 1823361"/>
                    <a:gd name="connsiteX4" fmla="*/ 1594 w 1348874"/>
                    <a:gd name="connsiteY4" fmla="*/ 1762092 h 1823361"/>
                    <a:gd name="connsiteX5" fmla="*/ 1217154 w 1348874"/>
                    <a:gd name="connsiteY5" fmla="*/ 1820514 h 1823361"/>
                    <a:gd name="connsiteX6" fmla="*/ 1009849 w 1348874"/>
                    <a:gd name="connsiteY6" fmla="*/ 1062909 h 1823361"/>
                    <a:gd name="connsiteX7" fmla="*/ 1043772 w 1348874"/>
                    <a:gd name="connsiteY7" fmla="*/ 763259 h 1823361"/>
                    <a:gd name="connsiteX8" fmla="*/ 1130463 w 1348874"/>
                    <a:gd name="connsiteY8" fmla="*/ 621915 h 1823361"/>
                    <a:gd name="connsiteX9" fmla="*/ 1128579 w 1348874"/>
                    <a:gd name="connsiteY9" fmla="*/ 439109 h 1823361"/>
                    <a:gd name="connsiteX10" fmla="*/ 1217154 w 1348874"/>
                    <a:gd name="connsiteY10" fmla="*/ 297765 h 1823361"/>
                    <a:gd name="connsiteX11" fmla="*/ 1298192 w 1348874"/>
                    <a:gd name="connsiteY11" fmla="*/ 305304 h 1823361"/>
                    <a:gd name="connsiteX12" fmla="*/ 1347191 w 1348874"/>
                    <a:gd name="connsiteY12" fmla="*/ 256304 h 1823361"/>
                    <a:gd name="connsiteX13" fmla="*/ 550009 w 1348874"/>
                    <a:gd name="connsiteY13" fmla="*/ 0 h 1823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48874" h="1823361">
                      <a:moveTo>
                        <a:pt x="544356" y="43346"/>
                      </a:moveTo>
                      <a:cubicBezTo>
                        <a:pt x="461434" y="15077"/>
                        <a:pt x="367204" y="65961"/>
                        <a:pt x="318205" y="141344"/>
                      </a:cubicBezTo>
                      <a:cubicBezTo>
                        <a:pt x="269206" y="216728"/>
                        <a:pt x="256013" y="305304"/>
                        <a:pt x="248475" y="391995"/>
                      </a:cubicBezTo>
                      <a:cubicBezTo>
                        <a:pt x="216437" y="721798"/>
                        <a:pt x="227745" y="1062909"/>
                        <a:pt x="109015" y="1371982"/>
                      </a:cubicBezTo>
                      <a:cubicBezTo>
                        <a:pt x="60016" y="1498249"/>
                        <a:pt x="-11598" y="1626401"/>
                        <a:pt x="1594" y="1762092"/>
                      </a:cubicBezTo>
                      <a:cubicBezTo>
                        <a:pt x="395473" y="1654670"/>
                        <a:pt x="810083" y="1848783"/>
                        <a:pt x="1217154" y="1820514"/>
                      </a:cubicBezTo>
                      <a:cubicBezTo>
                        <a:pt x="1111617" y="1579286"/>
                        <a:pt x="1041887" y="1322982"/>
                        <a:pt x="1009849" y="1062909"/>
                      </a:cubicBezTo>
                      <a:cubicBezTo>
                        <a:pt x="998542" y="961141"/>
                        <a:pt x="992888" y="851835"/>
                        <a:pt x="1043772" y="763259"/>
                      </a:cubicBezTo>
                      <a:cubicBezTo>
                        <a:pt x="1072041" y="714260"/>
                        <a:pt x="1115387" y="674683"/>
                        <a:pt x="1130463" y="621915"/>
                      </a:cubicBezTo>
                      <a:cubicBezTo>
                        <a:pt x="1149309" y="563492"/>
                        <a:pt x="1130463" y="499416"/>
                        <a:pt x="1128579" y="439109"/>
                      </a:cubicBezTo>
                      <a:cubicBezTo>
                        <a:pt x="1126694" y="376918"/>
                        <a:pt x="1156848" y="303419"/>
                        <a:pt x="1217154" y="297765"/>
                      </a:cubicBezTo>
                      <a:cubicBezTo>
                        <a:pt x="1245423" y="293996"/>
                        <a:pt x="1271808" y="305304"/>
                        <a:pt x="1298192" y="305304"/>
                      </a:cubicBezTo>
                      <a:cubicBezTo>
                        <a:pt x="1324576" y="305304"/>
                        <a:pt x="1356614" y="282689"/>
                        <a:pt x="1347191" y="256304"/>
                      </a:cubicBezTo>
                      <a:cubicBezTo>
                        <a:pt x="1087118" y="152652"/>
                        <a:pt x="821390" y="67845"/>
                        <a:pt x="550009" y="0"/>
                      </a:cubicBezTo>
                    </a:path>
                  </a:pathLst>
                </a:custGeom>
                <a:solidFill>
                  <a:srgbClr val="FACCCF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5" name="Freeform: Shape 494">
                  <a:extLst>
                    <a:ext uri="{FF2B5EF4-FFF2-40B4-BE49-F238E27FC236}">
                      <a16:creationId xmlns:a16="http://schemas.microsoft.com/office/drawing/2014/main" id="{CD1DD83C-0501-3D66-B819-12AFF5069EE8}"/>
                    </a:ext>
                  </a:extLst>
                </p:cNvPr>
                <p:cNvSpPr/>
                <p:nvPr/>
              </p:nvSpPr>
              <p:spPr>
                <a:xfrm>
                  <a:off x="5649818" y="2799799"/>
                  <a:ext cx="1387448" cy="1864483"/>
                </a:xfrm>
                <a:custGeom>
                  <a:avLst/>
                  <a:gdLst>
                    <a:gd name="connsiteX0" fmla="*/ 569536 w 1387448"/>
                    <a:gd name="connsiteY0" fmla="*/ 43896 h 1864483"/>
                    <a:gd name="connsiteX1" fmla="*/ 226541 w 1387448"/>
                    <a:gd name="connsiteY1" fmla="*/ 695964 h 1864483"/>
                    <a:gd name="connsiteX2" fmla="*/ 145503 w 1387448"/>
                    <a:gd name="connsiteY2" fmla="*/ 1278303 h 1864483"/>
                    <a:gd name="connsiteX3" fmla="*/ 390 w 1387448"/>
                    <a:gd name="connsiteY3" fmla="*/ 1783373 h 1864483"/>
                    <a:gd name="connsiteX4" fmla="*/ 26774 w 1387448"/>
                    <a:gd name="connsiteY4" fmla="*/ 1804103 h 1864483"/>
                    <a:gd name="connsiteX5" fmla="*/ 1236681 w 1387448"/>
                    <a:gd name="connsiteY5" fmla="*/ 1862526 h 1864483"/>
                    <a:gd name="connsiteX6" fmla="*/ 1253642 w 1387448"/>
                    <a:gd name="connsiteY6" fmla="*/ 1830488 h 1864483"/>
                    <a:gd name="connsiteX7" fmla="*/ 1093452 w 1387448"/>
                    <a:gd name="connsiteY7" fmla="*/ 1336725 h 1864483"/>
                    <a:gd name="connsiteX8" fmla="*/ 1070837 w 1387448"/>
                    <a:gd name="connsiteY8" fmla="*/ 820347 h 1864483"/>
                    <a:gd name="connsiteX9" fmla="*/ 1170720 w 1387448"/>
                    <a:gd name="connsiteY9" fmla="*/ 648850 h 1864483"/>
                    <a:gd name="connsiteX10" fmla="*/ 1168836 w 1387448"/>
                    <a:gd name="connsiteY10" fmla="*/ 460391 h 1864483"/>
                    <a:gd name="connsiteX11" fmla="*/ 1291334 w 1387448"/>
                    <a:gd name="connsiteY11" fmla="*/ 345431 h 1864483"/>
                    <a:gd name="connsiteX12" fmla="*/ 1344103 w 1387448"/>
                    <a:gd name="connsiteY12" fmla="*/ 343546 h 1864483"/>
                    <a:gd name="connsiteX13" fmla="*/ 1387448 w 1387448"/>
                    <a:gd name="connsiteY13" fmla="*/ 277585 h 1864483"/>
                    <a:gd name="connsiteX14" fmla="*/ 1372372 w 1387448"/>
                    <a:gd name="connsiteY14" fmla="*/ 256855 h 1864483"/>
                    <a:gd name="connsiteX15" fmla="*/ 575190 w 1387448"/>
                    <a:gd name="connsiteY15" fmla="*/ 551 h 1864483"/>
                    <a:gd name="connsiteX16" fmla="*/ 563882 w 1387448"/>
                    <a:gd name="connsiteY16" fmla="*/ 42012 h 1864483"/>
                    <a:gd name="connsiteX17" fmla="*/ 933262 w 1387448"/>
                    <a:gd name="connsiteY17" fmla="*/ 145664 h 1864483"/>
                    <a:gd name="connsiteX18" fmla="*/ 1116067 w 1387448"/>
                    <a:gd name="connsiteY18" fmla="*/ 205971 h 1864483"/>
                    <a:gd name="connsiteX19" fmla="*/ 1296988 w 1387448"/>
                    <a:gd name="connsiteY19" fmla="*/ 271932 h 1864483"/>
                    <a:gd name="connsiteX20" fmla="*/ 1298873 w 1387448"/>
                    <a:gd name="connsiteY20" fmla="*/ 292662 h 1864483"/>
                    <a:gd name="connsiteX21" fmla="*/ 1264950 w 1387448"/>
                    <a:gd name="connsiteY21" fmla="*/ 298316 h 1864483"/>
                    <a:gd name="connsiteX22" fmla="*/ 1221604 w 1387448"/>
                    <a:gd name="connsiteY22" fmla="*/ 302085 h 1864483"/>
                    <a:gd name="connsiteX23" fmla="*/ 1165067 w 1387448"/>
                    <a:gd name="connsiteY23" fmla="*/ 339777 h 1864483"/>
                    <a:gd name="connsiteX24" fmla="*/ 1136798 w 1387448"/>
                    <a:gd name="connsiteY24" fmla="*/ 582889 h 1864483"/>
                    <a:gd name="connsiteX25" fmla="*/ 1004877 w 1387448"/>
                    <a:gd name="connsiteY25" fmla="*/ 893846 h 1864483"/>
                    <a:gd name="connsiteX26" fmla="*/ 1023722 w 1387448"/>
                    <a:gd name="connsiteY26" fmla="*/ 1187842 h 1864483"/>
                    <a:gd name="connsiteX27" fmla="*/ 1217835 w 1387448"/>
                    <a:gd name="connsiteY27" fmla="*/ 1851218 h 1864483"/>
                    <a:gd name="connsiteX28" fmla="*/ 1236681 w 1387448"/>
                    <a:gd name="connsiteY28" fmla="*/ 1821065 h 1864483"/>
                    <a:gd name="connsiteX29" fmla="*/ 15467 w 1387448"/>
                    <a:gd name="connsiteY29" fmla="*/ 1762642 h 1864483"/>
                    <a:gd name="connsiteX30" fmla="*/ 41851 w 1387448"/>
                    <a:gd name="connsiteY30" fmla="*/ 1783373 h 1864483"/>
                    <a:gd name="connsiteX31" fmla="*/ 170003 w 1387448"/>
                    <a:gd name="connsiteY31" fmla="*/ 1336725 h 1864483"/>
                    <a:gd name="connsiteX32" fmla="*/ 249156 w 1387448"/>
                    <a:gd name="connsiteY32" fmla="*/ 927769 h 1864483"/>
                    <a:gd name="connsiteX33" fmla="*/ 281194 w 1387448"/>
                    <a:gd name="connsiteY33" fmla="*/ 479236 h 1864483"/>
                    <a:gd name="connsiteX34" fmla="*/ 556344 w 1387448"/>
                    <a:gd name="connsiteY34" fmla="*/ 83473 h 1864483"/>
                    <a:gd name="connsiteX35" fmla="*/ 569536 w 1387448"/>
                    <a:gd name="connsiteY35" fmla="*/ 43896 h 1864483"/>
                    <a:gd name="connsiteX36" fmla="*/ 569536 w 1387448"/>
                    <a:gd name="connsiteY36" fmla="*/ 43896 h 1864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1387448" h="1864483">
                      <a:moveTo>
                        <a:pt x="569536" y="43896"/>
                      </a:moveTo>
                      <a:cubicBezTo>
                        <a:pt x="226541" y="-39026"/>
                        <a:pt x="239733" y="496198"/>
                        <a:pt x="226541" y="695964"/>
                      </a:cubicBezTo>
                      <a:cubicBezTo>
                        <a:pt x="213349" y="891962"/>
                        <a:pt x="200157" y="1089844"/>
                        <a:pt x="145503" y="1278303"/>
                      </a:cubicBezTo>
                      <a:cubicBezTo>
                        <a:pt x="96504" y="1446031"/>
                        <a:pt x="-7148" y="1602452"/>
                        <a:pt x="390" y="1783373"/>
                      </a:cubicBezTo>
                      <a:cubicBezTo>
                        <a:pt x="390" y="1796565"/>
                        <a:pt x="13582" y="1805988"/>
                        <a:pt x="26774" y="1804103"/>
                      </a:cubicBezTo>
                      <a:cubicBezTo>
                        <a:pt x="428192" y="1702335"/>
                        <a:pt x="831494" y="1885141"/>
                        <a:pt x="1236681" y="1862526"/>
                      </a:cubicBezTo>
                      <a:cubicBezTo>
                        <a:pt x="1253642" y="1860641"/>
                        <a:pt x="1261181" y="1845564"/>
                        <a:pt x="1253642" y="1830488"/>
                      </a:cubicBezTo>
                      <a:cubicBezTo>
                        <a:pt x="1185797" y="1672182"/>
                        <a:pt x="1131144" y="1506338"/>
                        <a:pt x="1093452" y="1336725"/>
                      </a:cubicBezTo>
                      <a:cubicBezTo>
                        <a:pt x="1059530" y="1180304"/>
                        <a:pt x="1002992" y="972999"/>
                        <a:pt x="1070837" y="820347"/>
                      </a:cubicBezTo>
                      <a:cubicBezTo>
                        <a:pt x="1097221" y="760040"/>
                        <a:pt x="1151875" y="712926"/>
                        <a:pt x="1170720" y="648850"/>
                      </a:cubicBezTo>
                      <a:cubicBezTo>
                        <a:pt x="1189566" y="586658"/>
                        <a:pt x="1166951" y="522582"/>
                        <a:pt x="1168836" y="460391"/>
                      </a:cubicBezTo>
                      <a:cubicBezTo>
                        <a:pt x="1170720" y="375584"/>
                        <a:pt x="1195220" y="358623"/>
                        <a:pt x="1291334" y="345431"/>
                      </a:cubicBezTo>
                      <a:cubicBezTo>
                        <a:pt x="1310180" y="341661"/>
                        <a:pt x="1323372" y="351084"/>
                        <a:pt x="1344103" y="343546"/>
                      </a:cubicBezTo>
                      <a:cubicBezTo>
                        <a:pt x="1374256" y="330354"/>
                        <a:pt x="1387448" y="307739"/>
                        <a:pt x="1387448" y="277585"/>
                      </a:cubicBezTo>
                      <a:cubicBezTo>
                        <a:pt x="1387448" y="268162"/>
                        <a:pt x="1379910" y="260624"/>
                        <a:pt x="1372372" y="256855"/>
                      </a:cubicBezTo>
                      <a:cubicBezTo>
                        <a:pt x="1112298" y="155087"/>
                        <a:pt x="846571" y="70280"/>
                        <a:pt x="575190" y="551"/>
                      </a:cubicBezTo>
                      <a:cubicBezTo>
                        <a:pt x="548806" y="-5103"/>
                        <a:pt x="539383" y="34473"/>
                        <a:pt x="563882" y="42012"/>
                      </a:cubicBezTo>
                      <a:cubicBezTo>
                        <a:pt x="688265" y="74050"/>
                        <a:pt x="810764" y="107972"/>
                        <a:pt x="933262" y="145664"/>
                      </a:cubicBezTo>
                      <a:cubicBezTo>
                        <a:pt x="993569" y="164510"/>
                        <a:pt x="1055761" y="185240"/>
                        <a:pt x="1116067" y="205971"/>
                      </a:cubicBezTo>
                      <a:cubicBezTo>
                        <a:pt x="1172605" y="226701"/>
                        <a:pt x="1244220" y="241778"/>
                        <a:pt x="1296988" y="271932"/>
                      </a:cubicBezTo>
                      <a:cubicBezTo>
                        <a:pt x="1338449" y="281355"/>
                        <a:pt x="1340334" y="287008"/>
                        <a:pt x="1298873" y="292662"/>
                      </a:cubicBezTo>
                      <a:cubicBezTo>
                        <a:pt x="1287565" y="298316"/>
                        <a:pt x="1276258" y="300200"/>
                        <a:pt x="1264950" y="298316"/>
                      </a:cubicBezTo>
                      <a:cubicBezTo>
                        <a:pt x="1249873" y="300200"/>
                        <a:pt x="1236681" y="296431"/>
                        <a:pt x="1221604" y="302085"/>
                      </a:cubicBezTo>
                      <a:cubicBezTo>
                        <a:pt x="1198989" y="307739"/>
                        <a:pt x="1180143" y="320931"/>
                        <a:pt x="1165067" y="339777"/>
                      </a:cubicBezTo>
                      <a:cubicBezTo>
                        <a:pt x="1104760" y="411391"/>
                        <a:pt x="1138682" y="499967"/>
                        <a:pt x="1136798" y="582889"/>
                      </a:cubicBezTo>
                      <a:cubicBezTo>
                        <a:pt x="1134913" y="697849"/>
                        <a:pt x="1023722" y="777002"/>
                        <a:pt x="1004877" y="893846"/>
                      </a:cubicBezTo>
                      <a:cubicBezTo>
                        <a:pt x="991684" y="989960"/>
                        <a:pt x="1008646" y="1091728"/>
                        <a:pt x="1023722" y="1187842"/>
                      </a:cubicBezTo>
                      <a:cubicBezTo>
                        <a:pt x="1059530" y="1417762"/>
                        <a:pt x="1127375" y="1638259"/>
                        <a:pt x="1217835" y="1851218"/>
                      </a:cubicBezTo>
                      <a:cubicBezTo>
                        <a:pt x="1223489" y="1841795"/>
                        <a:pt x="1231027" y="1830488"/>
                        <a:pt x="1236681" y="1821065"/>
                      </a:cubicBezTo>
                      <a:cubicBezTo>
                        <a:pt x="825840" y="1843680"/>
                        <a:pt x="422538" y="1660875"/>
                        <a:pt x="15467" y="1762642"/>
                      </a:cubicBezTo>
                      <a:cubicBezTo>
                        <a:pt x="24890" y="1770181"/>
                        <a:pt x="32428" y="1775834"/>
                        <a:pt x="41851" y="1783373"/>
                      </a:cubicBezTo>
                      <a:cubicBezTo>
                        <a:pt x="34313" y="1621298"/>
                        <a:pt x="122888" y="1485608"/>
                        <a:pt x="170003" y="1336725"/>
                      </a:cubicBezTo>
                      <a:cubicBezTo>
                        <a:pt x="213349" y="1204804"/>
                        <a:pt x="235964" y="1065344"/>
                        <a:pt x="249156" y="927769"/>
                      </a:cubicBezTo>
                      <a:cubicBezTo>
                        <a:pt x="264233" y="778886"/>
                        <a:pt x="269886" y="630004"/>
                        <a:pt x="281194" y="479236"/>
                      </a:cubicBezTo>
                      <a:cubicBezTo>
                        <a:pt x="294386" y="326585"/>
                        <a:pt x="326424" y="28819"/>
                        <a:pt x="556344" y="83473"/>
                      </a:cubicBezTo>
                      <a:cubicBezTo>
                        <a:pt x="582728" y="91011"/>
                        <a:pt x="594036" y="49550"/>
                        <a:pt x="569536" y="43896"/>
                      </a:cubicBezTo>
                      <a:lnTo>
                        <a:pt x="569536" y="4389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6" name="Freeform: Shape 495">
                  <a:extLst>
                    <a:ext uri="{FF2B5EF4-FFF2-40B4-BE49-F238E27FC236}">
                      <a16:creationId xmlns:a16="http://schemas.microsoft.com/office/drawing/2014/main" id="{54072FA3-8F47-C2ED-0CF0-9E0E790A4C80}"/>
                    </a:ext>
                  </a:extLst>
                </p:cNvPr>
                <p:cNvSpPr/>
                <p:nvPr/>
              </p:nvSpPr>
              <p:spPr>
                <a:xfrm>
                  <a:off x="6021896" y="3177040"/>
                  <a:ext cx="535984" cy="844269"/>
                </a:xfrm>
                <a:custGeom>
                  <a:avLst/>
                  <a:gdLst>
                    <a:gd name="connsiteX0" fmla="*/ 531031 w 535984"/>
                    <a:gd name="connsiteY0" fmla="*/ 150995 h 844269"/>
                    <a:gd name="connsiteX1" fmla="*/ 487685 w 535984"/>
                    <a:gd name="connsiteY1" fmla="*/ 32265 h 844269"/>
                    <a:gd name="connsiteX2" fmla="*/ 314303 w 535984"/>
                    <a:gd name="connsiteY2" fmla="*/ 2112 h 844269"/>
                    <a:gd name="connsiteX3" fmla="*/ 165420 w 535984"/>
                    <a:gd name="connsiteY3" fmla="*/ 47342 h 844269"/>
                    <a:gd name="connsiteX4" fmla="*/ 142805 w 535984"/>
                    <a:gd name="connsiteY4" fmla="*/ 126495 h 844269"/>
                    <a:gd name="connsiteX5" fmla="*/ 118305 w 535984"/>
                    <a:gd name="connsiteY5" fmla="*/ 228263 h 844269"/>
                    <a:gd name="connsiteX6" fmla="*/ 152228 w 535984"/>
                    <a:gd name="connsiteY6" fmla="*/ 360184 h 844269"/>
                    <a:gd name="connsiteX7" fmla="*/ 220073 w 535984"/>
                    <a:gd name="connsiteY7" fmla="*/ 394107 h 844269"/>
                    <a:gd name="connsiteX8" fmla="*/ 302995 w 535984"/>
                    <a:gd name="connsiteY8" fmla="*/ 446875 h 844269"/>
                    <a:gd name="connsiteX9" fmla="*/ 406648 w 535984"/>
                    <a:gd name="connsiteY9" fmla="*/ 590104 h 844269"/>
                    <a:gd name="connsiteX10" fmla="*/ 421724 w 535984"/>
                    <a:gd name="connsiteY10" fmla="*/ 771025 h 844269"/>
                    <a:gd name="connsiteX11" fmla="*/ 201227 w 535984"/>
                    <a:gd name="connsiteY11" fmla="*/ 748410 h 844269"/>
                    <a:gd name="connsiteX12" fmla="*/ 33499 w 535984"/>
                    <a:gd name="connsiteY12" fmla="*/ 607065 h 844269"/>
                    <a:gd name="connsiteX13" fmla="*/ 5230 w 535984"/>
                    <a:gd name="connsiteY13" fmla="*/ 637219 h 844269"/>
                    <a:gd name="connsiteX14" fmla="*/ 278496 w 535984"/>
                    <a:gd name="connsiteY14" fmla="*/ 825678 h 844269"/>
                    <a:gd name="connsiteX15" fmla="*/ 425494 w 535984"/>
                    <a:gd name="connsiteY15" fmla="*/ 827562 h 844269"/>
                    <a:gd name="connsiteX16" fmla="*/ 472608 w 535984"/>
                    <a:gd name="connsiteY16" fmla="*/ 716372 h 844269"/>
                    <a:gd name="connsiteX17" fmla="*/ 357648 w 535984"/>
                    <a:gd name="connsiteY17" fmla="*/ 441221 h 844269"/>
                    <a:gd name="connsiteX18" fmla="*/ 229496 w 535984"/>
                    <a:gd name="connsiteY18" fmla="*/ 352646 h 844269"/>
                    <a:gd name="connsiteX19" fmla="*/ 155997 w 535984"/>
                    <a:gd name="connsiteY19" fmla="*/ 296108 h 844269"/>
                    <a:gd name="connsiteX20" fmla="*/ 165420 w 535984"/>
                    <a:gd name="connsiteY20" fmla="*/ 201879 h 844269"/>
                    <a:gd name="connsiteX21" fmla="*/ 193689 w 535984"/>
                    <a:gd name="connsiteY21" fmla="*/ 88803 h 844269"/>
                    <a:gd name="connsiteX22" fmla="*/ 246458 w 535984"/>
                    <a:gd name="connsiteY22" fmla="*/ 39804 h 844269"/>
                    <a:gd name="connsiteX23" fmla="*/ 306764 w 535984"/>
                    <a:gd name="connsiteY23" fmla="*/ 41688 h 844269"/>
                    <a:gd name="connsiteX24" fmla="*/ 493339 w 535984"/>
                    <a:gd name="connsiteY24" fmla="*/ 139687 h 844269"/>
                    <a:gd name="connsiteX25" fmla="*/ 531031 w 535984"/>
                    <a:gd name="connsiteY25" fmla="*/ 150995 h 844269"/>
                    <a:gd name="connsiteX26" fmla="*/ 531031 w 535984"/>
                    <a:gd name="connsiteY26" fmla="*/ 150995 h 844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535984" h="844269">
                      <a:moveTo>
                        <a:pt x="531031" y="150995"/>
                      </a:moveTo>
                      <a:cubicBezTo>
                        <a:pt x="546107" y="105764"/>
                        <a:pt x="525377" y="58650"/>
                        <a:pt x="487685" y="32265"/>
                      </a:cubicBezTo>
                      <a:cubicBezTo>
                        <a:pt x="438686" y="-1657"/>
                        <a:pt x="370840" y="2112"/>
                        <a:pt x="314303" y="2112"/>
                      </a:cubicBezTo>
                      <a:cubicBezTo>
                        <a:pt x="257765" y="227"/>
                        <a:pt x="195574" y="-11080"/>
                        <a:pt x="165420" y="47342"/>
                      </a:cubicBezTo>
                      <a:cubicBezTo>
                        <a:pt x="154113" y="71842"/>
                        <a:pt x="148459" y="100111"/>
                        <a:pt x="142805" y="126495"/>
                      </a:cubicBezTo>
                      <a:cubicBezTo>
                        <a:pt x="135267" y="160418"/>
                        <a:pt x="123959" y="194340"/>
                        <a:pt x="118305" y="228263"/>
                      </a:cubicBezTo>
                      <a:cubicBezTo>
                        <a:pt x="108882" y="277262"/>
                        <a:pt x="110767" y="328146"/>
                        <a:pt x="152228" y="360184"/>
                      </a:cubicBezTo>
                      <a:cubicBezTo>
                        <a:pt x="172959" y="377145"/>
                        <a:pt x="197458" y="382799"/>
                        <a:pt x="220073" y="394107"/>
                      </a:cubicBezTo>
                      <a:cubicBezTo>
                        <a:pt x="250227" y="407299"/>
                        <a:pt x="278496" y="426145"/>
                        <a:pt x="302995" y="446875"/>
                      </a:cubicBezTo>
                      <a:cubicBezTo>
                        <a:pt x="348225" y="486452"/>
                        <a:pt x="384033" y="535451"/>
                        <a:pt x="406648" y="590104"/>
                      </a:cubicBezTo>
                      <a:cubicBezTo>
                        <a:pt x="427378" y="640988"/>
                        <a:pt x="448109" y="718256"/>
                        <a:pt x="421724" y="771025"/>
                      </a:cubicBezTo>
                      <a:cubicBezTo>
                        <a:pt x="385917" y="842639"/>
                        <a:pt x="250227" y="774794"/>
                        <a:pt x="201227" y="748410"/>
                      </a:cubicBezTo>
                      <a:cubicBezTo>
                        <a:pt x="135267" y="714487"/>
                        <a:pt x="80614" y="665488"/>
                        <a:pt x="33499" y="607065"/>
                      </a:cubicBezTo>
                      <a:cubicBezTo>
                        <a:pt x="16538" y="586335"/>
                        <a:pt x="-11731" y="616488"/>
                        <a:pt x="5230" y="637219"/>
                      </a:cubicBezTo>
                      <a:cubicBezTo>
                        <a:pt x="74960" y="725795"/>
                        <a:pt x="171074" y="791755"/>
                        <a:pt x="278496" y="825678"/>
                      </a:cubicBezTo>
                      <a:cubicBezTo>
                        <a:pt x="323726" y="840755"/>
                        <a:pt x="382148" y="857716"/>
                        <a:pt x="425494" y="827562"/>
                      </a:cubicBezTo>
                      <a:cubicBezTo>
                        <a:pt x="461301" y="804947"/>
                        <a:pt x="472608" y="757833"/>
                        <a:pt x="472608" y="716372"/>
                      </a:cubicBezTo>
                      <a:cubicBezTo>
                        <a:pt x="474493" y="614604"/>
                        <a:pt x="427378" y="512836"/>
                        <a:pt x="357648" y="441221"/>
                      </a:cubicBezTo>
                      <a:cubicBezTo>
                        <a:pt x="321841" y="403530"/>
                        <a:pt x="278496" y="373376"/>
                        <a:pt x="229496" y="352646"/>
                      </a:cubicBezTo>
                      <a:cubicBezTo>
                        <a:pt x="201227" y="339454"/>
                        <a:pt x="165420" y="330031"/>
                        <a:pt x="155997" y="296108"/>
                      </a:cubicBezTo>
                      <a:cubicBezTo>
                        <a:pt x="148459" y="265955"/>
                        <a:pt x="159766" y="232032"/>
                        <a:pt x="165420" y="201879"/>
                      </a:cubicBezTo>
                      <a:cubicBezTo>
                        <a:pt x="174843" y="164187"/>
                        <a:pt x="182381" y="126495"/>
                        <a:pt x="193689" y="88803"/>
                      </a:cubicBezTo>
                      <a:cubicBezTo>
                        <a:pt x="201227" y="62419"/>
                        <a:pt x="214419" y="41688"/>
                        <a:pt x="246458" y="39804"/>
                      </a:cubicBezTo>
                      <a:cubicBezTo>
                        <a:pt x="265303" y="37919"/>
                        <a:pt x="286034" y="39804"/>
                        <a:pt x="306764" y="41688"/>
                      </a:cubicBezTo>
                      <a:cubicBezTo>
                        <a:pt x="363302" y="43573"/>
                        <a:pt x="527262" y="37919"/>
                        <a:pt x="493339" y="139687"/>
                      </a:cubicBezTo>
                      <a:cubicBezTo>
                        <a:pt x="482031" y="166071"/>
                        <a:pt x="523492" y="177379"/>
                        <a:pt x="531031" y="150995"/>
                      </a:cubicBezTo>
                      <a:lnTo>
                        <a:pt x="531031" y="15099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7" name="Freeform: Shape 496">
                  <a:extLst>
                    <a:ext uri="{FF2B5EF4-FFF2-40B4-BE49-F238E27FC236}">
                      <a16:creationId xmlns:a16="http://schemas.microsoft.com/office/drawing/2014/main" id="{57D9DB6C-5E80-80FB-7373-4A1894A2747A}"/>
                    </a:ext>
                  </a:extLst>
                </p:cNvPr>
                <p:cNvSpPr/>
                <p:nvPr/>
              </p:nvSpPr>
              <p:spPr>
                <a:xfrm>
                  <a:off x="6192970" y="2967607"/>
                  <a:ext cx="99784" cy="1334760"/>
                </a:xfrm>
                <a:custGeom>
                  <a:avLst/>
                  <a:gdLst>
                    <a:gd name="connsiteX0" fmla="*/ 50884 w 99784"/>
                    <a:gd name="connsiteY0" fmla="*/ 21202 h 1334760"/>
                    <a:gd name="connsiteX1" fmla="*/ 0 w 99784"/>
                    <a:gd name="connsiteY1" fmla="*/ 1315915 h 1334760"/>
                    <a:gd name="connsiteX2" fmla="*/ 20730 w 99784"/>
                    <a:gd name="connsiteY2" fmla="*/ 1334761 h 1334760"/>
                    <a:gd name="connsiteX3" fmla="*/ 67845 w 99784"/>
                    <a:gd name="connsiteY3" fmla="*/ 1300838 h 1334760"/>
                    <a:gd name="connsiteX4" fmla="*/ 28269 w 99784"/>
                    <a:gd name="connsiteY4" fmla="*/ 1289531 h 1334760"/>
                    <a:gd name="connsiteX5" fmla="*/ 20730 w 99784"/>
                    <a:gd name="connsiteY5" fmla="*/ 1293300 h 1334760"/>
                    <a:gd name="connsiteX6" fmla="*/ 41461 w 99784"/>
                    <a:gd name="connsiteY6" fmla="*/ 1314030 h 1334760"/>
                    <a:gd name="connsiteX7" fmla="*/ 92345 w 99784"/>
                    <a:gd name="connsiteY7" fmla="*/ 21202 h 1334760"/>
                    <a:gd name="connsiteX8" fmla="*/ 50884 w 99784"/>
                    <a:gd name="connsiteY8" fmla="*/ 21202 h 1334760"/>
                    <a:gd name="connsiteX9" fmla="*/ 50884 w 99784"/>
                    <a:gd name="connsiteY9" fmla="*/ 21202 h 133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9784" h="1334760">
                      <a:moveTo>
                        <a:pt x="50884" y="21202"/>
                      </a:moveTo>
                      <a:cubicBezTo>
                        <a:pt x="69730" y="452773"/>
                        <a:pt x="52769" y="886229"/>
                        <a:pt x="0" y="1315915"/>
                      </a:cubicBezTo>
                      <a:cubicBezTo>
                        <a:pt x="0" y="1325338"/>
                        <a:pt x="11308" y="1334761"/>
                        <a:pt x="20730" y="1334761"/>
                      </a:cubicBezTo>
                      <a:cubicBezTo>
                        <a:pt x="47115" y="1334761"/>
                        <a:pt x="60307" y="1325338"/>
                        <a:pt x="67845" y="1300838"/>
                      </a:cubicBezTo>
                      <a:cubicBezTo>
                        <a:pt x="77268" y="1274454"/>
                        <a:pt x="37692" y="1265031"/>
                        <a:pt x="28269" y="1289531"/>
                      </a:cubicBezTo>
                      <a:cubicBezTo>
                        <a:pt x="26384" y="1291415"/>
                        <a:pt x="24500" y="1291415"/>
                        <a:pt x="20730" y="1293300"/>
                      </a:cubicBezTo>
                      <a:cubicBezTo>
                        <a:pt x="28269" y="1300838"/>
                        <a:pt x="33923" y="1306492"/>
                        <a:pt x="41461" y="1314030"/>
                      </a:cubicBezTo>
                      <a:cubicBezTo>
                        <a:pt x="94230" y="884344"/>
                        <a:pt x="111191" y="452773"/>
                        <a:pt x="92345" y="21202"/>
                      </a:cubicBezTo>
                      <a:cubicBezTo>
                        <a:pt x="90460" y="-7067"/>
                        <a:pt x="48999" y="-7067"/>
                        <a:pt x="50884" y="21202"/>
                      </a:cubicBezTo>
                      <a:lnTo>
                        <a:pt x="50884" y="2120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498" name="Freeform: Shape 497">
                  <a:extLst>
                    <a:ext uri="{FF2B5EF4-FFF2-40B4-BE49-F238E27FC236}">
                      <a16:creationId xmlns:a16="http://schemas.microsoft.com/office/drawing/2014/main" id="{A568A183-101F-5C67-2E4D-C41383CD1E0E}"/>
                    </a:ext>
                  </a:extLst>
                </p:cNvPr>
                <p:cNvSpPr/>
                <p:nvPr/>
              </p:nvSpPr>
              <p:spPr>
                <a:xfrm>
                  <a:off x="6368237" y="3018020"/>
                  <a:ext cx="90460" cy="1272098"/>
                </a:xfrm>
                <a:custGeom>
                  <a:avLst/>
                  <a:gdLst>
                    <a:gd name="connsiteX0" fmla="*/ 48999 w 90460"/>
                    <a:gd name="connsiteY0" fmla="*/ 19788 h 1272098"/>
                    <a:gd name="connsiteX1" fmla="*/ 0 w 90460"/>
                    <a:gd name="connsiteY1" fmla="*/ 1252310 h 1272098"/>
                    <a:gd name="connsiteX2" fmla="*/ 41461 w 90460"/>
                    <a:gd name="connsiteY2" fmla="*/ 1252310 h 1272098"/>
                    <a:gd name="connsiteX3" fmla="*/ 90460 w 90460"/>
                    <a:gd name="connsiteY3" fmla="*/ 19788 h 1272098"/>
                    <a:gd name="connsiteX4" fmla="*/ 48999 w 90460"/>
                    <a:gd name="connsiteY4" fmla="*/ 19788 h 1272098"/>
                    <a:gd name="connsiteX5" fmla="*/ 48999 w 90460"/>
                    <a:gd name="connsiteY5" fmla="*/ 19788 h 1272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0460" h="1272098">
                      <a:moveTo>
                        <a:pt x="48999" y="19788"/>
                      </a:moveTo>
                      <a:cubicBezTo>
                        <a:pt x="22615" y="430629"/>
                        <a:pt x="5654" y="841469"/>
                        <a:pt x="0" y="1252310"/>
                      </a:cubicBezTo>
                      <a:cubicBezTo>
                        <a:pt x="0" y="1278694"/>
                        <a:pt x="41461" y="1278694"/>
                        <a:pt x="41461" y="1252310"/>
                      </a:cubicBezTo>
                      <a:cubicBezTo>
                        <a:pt x="47115" y="841469"/>
                        <a:pt x="64076" y="430629"/>
                        <a:pt x="90460" y="19788"/>
                      </a:cubicBezTo>
                      <a:cubicBezTo>
                        <a:pt x="90460" y="-6596"/>
                        <a:pt x="48999" y="-6596"/>
                        <a:pt x="48999" y="19788"/>
                      </a:cubicBezTo>
                      <a:lnTo>
                        <a:pt x="48999" y="1978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  <p:grpSp>
            <p:nvGrpSpPr>
              <p:cNvPr id="499" name="Group 498">
                <a:extLst>
                  <a:ext uri="{FF2B5EF4-FFF2-40B4-BE49-F238E27FC236}">
                    <a16:creationId xmlns:a16="http://schemas.microsoft.com/office/drawing/2014/main" id="{869E3D19-62E7-642C-7572-35F27C64F6CB}"/>
                  </a:ext>
                </a:extLst>
              </p:cNvPr>
              <p:cNvGrpSpPr/>
              <p:nvPr/>
            </p:nvGrpSpPr>
            <p:grpSpPr>
              <a:xfrm>
                <a:off x="871673" y="4571741"/>
                <a:ext cx="104642" cy="140620"/>
                <a:chOff x="5649818" y="2799799"/>
                <a:chExt cx="1387448" cy="1864483"/>
              </a:xfrm>
            </p:grpSpPr>
            <p:sp>
              <p:nvSpPr>
                <p:cNvPr id="500" name="Freeform: Shape 499">
                  <a:extLst>
                    <a:ext uri="{FF2B5EF4-FFF2-40B4-BE49-F238E27FC236}">
                      <a16:creationId xmlns:a16="http://schemas.microsoft.com/office/drawing/2014/main" id="{8B05F33B-FE2A-231A-930C-4B41978295E2}"/>
                    </a:ext>
                  </a:extLst>
                </p:cNvPr>
                <p:cNvSpPr/>
                <p:nvPr/>
              </p:nvSpPr>
              <p:spPr>
                <a:xfrm>
                  <a:off x="5669345" y="2821080"/>
                  <a:ext cx="1348874" cy="1823361"/>
                </a:xfrm>
                <a:custGeom>
                  <a:avLst/>
                  <a:gdLst>
                    <a:gd name="connsiteX0" fmla="*/ 544356 w 1348874"/>
                    <a:gd name="connsiteY0" fmla="*/ 43346 h 1823361"/>
                    <a:gd name="connsiteX1" fmla="*/ 318205 w 1348874"/>
                    <a:gd name="connsiteY1" fmla="*/ 141344 h 1823361"/>
                    <a:gd name="connsiteX2" fmla="*/ 248475 w 1348874"/>
                    <a:gd name="connsiteY2" fmla="*/ 391995 h 1823361"/>
                    <a:gd name="connsiteX3" fmla="*/ 109015 w 1348874"/>
                    <a:gd name="connsiteY3" fmla="*/ 1371982 h 1823361"/>
                    <a:gd name="connsiteX4" fmla="*/ 1594 w 1348874"/>
                    <a:gd name="connsiteY4" fmla="*/ 1762092 h 1823361"/>
                    <a:gd name="connsiteX5" fmla="*/ 1217154 w 1348874"/>
                    <a:gd name="connsiteY5" fmla="*/ 1820514 h 1823361"/>
                    <a:gd name="connsiteX6" fmla="*/ 1009849 w 1348874"/>
                    <a:gd name="connsiteY6" fmla="*/ 1062909 h 1823361"/>
                    <a:gd name="connsiteX7" fmla="*/ 1043772 w 1348874"/>
                    <a:gd name="connsiteY7" fmla="*/ 763259 h 1823361"/>
                    <a:gd name="connsiteX8" fmla="*/ 1130463 w 1348874"/>
                    <a:gd name="connsiteY8" fmla="*/ 621915 h 1823361"/>
                    <a:gd name="connsiteX9" fmla="*/ 1128579 w 1348874"/>
                    <a:gd name="connsiteY9" fmla="*/ 439109 h 1823361"/>
                    <a:gd name="connsiteX10" fmla="*/ 1217154 w 1348874"/>
                    <a:gd name="connsiteY10" fmla="*/ 297765 h 1823361"/>
                    <a:gd name="connsiteX11" fmla="*/ 1298192 w 1348874"/>
                    <a:gd name="connsiteY11" fmla="*/ 305304 h 1823361"/>
                    <a:gd name="connsiteX12" fmla="*/ 1347191 w 1348874"/>
                    <a:gd name="connsiteY12" fmla="*/ 256304 h 1823361"/>
                    <a:gd name="connsiteX13" fmla="*/ 550009 w 1348874"/>
                    <a:gd name="connsiteY13" fmla="*/ 0 h 1823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48874" h="1823361">
                      <a:moveTo>
                        <a:pt x="544356" y="43346"/>
                      </a:moveTo>
                      <a:cubicBezTo>
                        <a:pt x="461434" y="15077"/>
                        <a:pt x="367204" y="65961"/>
                        <a:pt x="318205" y="141344"/>
                      </a:cubicBezTo>
                      <a:cubicBezTo>
                        <a:pt x="269206" y="216728"/>
                        <a:pt x="256013" y="305304"/>
                        <a:pt x="248475" y="391995"/>
                      </a:cubicBezTo>
                      <a:cubicBezTo>
                        <a:pt x="216437" y="721798"/>
                        <a:pt x="227745" y="1062909"/>
                        <a:pt x="109015" y="1371982"/>
                      </a:cubicBezTo>
                      <a:cubicBezTo>
                        <a:pt x="60016" y="1498249"/>
                        <a:pt x="-11598" y="1626401"/>
                        <a:pt x="1594" y="1762092"/>
                      </a:cubicBezTo>
                      <a:cubicBezTo>
                        <a:pt x="395473" y="1654670"/>
                        <a:pt x="810083" y="1848783"/>
                        <a:pt x="1217154" y="1820514"/>
                      </a:cubicBezTo>
                      <a:cubicBezTo>
                        <a:pt x="1111617" y="1579286"/>
                        <a:pt x="1041887" y="1322982"/>
                        <a:pt x="1009849" y="1062909"/>
                      </a:cubicBezTo>
                      <a:cubicBezTo>
                        <a:pt x="998542" y="961141"/>
                        <a:pt x="992888" y="851835"/>
                        <a:pt x="1043772" y="763259"/>
                      </a:cubicBezTo>
                      <a:cubicBezTo>
                        <a:pt x="1072041" y="714260"/>
                        <a:pt x="1115387" y="674683"/>
                        <a:pt x="1130463" y="621915"/>
                      </a:cubicBezTo>
                      <a:cubicBezTo>
                        <a:pt x="1149309" y="563492"/>
                        <a:pt x="1130463" y="499416"/>
                        <a:pt x="1128579" y="439109"/>
                      </a:cubicBezTo>
                      <a:cubicBezTo>
                        <a:pt x="1126694" y="376918"/>
                        <a:pt x="1156848" y="303419"/>
                        <a:pt x="1217154" y="297765"/>
                      </a:cubicBezTo>
                      <a:cubicBezTo>
                        <a:pt x="1245423" y="293996"/>
                        <a:pt x="1271808" y="305304"/>
                        <a:pt x="1298192" y="305304"/>
                      </a:cubicBezTo>
                      <a:cubicBezTo>
                        <a:pt x="1324576" y="305304"/>
                        <a:pt x="1356614" y="282689"/>
                        <a:pt x="1347191" y="256304"/>
                      </a:cubicBezTo>
                      <a:cubicBezTo>
                        <a:pt x="1087118" y="152652"/>
                        <a:pt x="821390" y="67845"/>
                        <a:pt x="550009" y="0"/>
                      </a:cubicBezTo>
                    </a:path>
                  </a:pathLst>
                </a:custGeom>
                <a:solidFill>
                  <a:srgbClr val="FACCCF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01" name="Freeform: Shape 500">
                  <a:extLst>
                    <a:ext uri="{FF2B5EF4-FFF2-40B4-BE49-F238E27FC236}">
                      <a16:creationId xmlns:a16="http://schemas.microsoft.com/office/drawing/2014/main" id="{5B54A737-1A75-C98C-0EE5-5650ADD3DA2C}"/>
                    </a:ext>
                  </a:extLst>
                </p:cNvPr>
                <p:cNvSpPr/>
                <p:nvPr/>
              </p:nvSpPr>
              <p:spPr>
                <a:xfrm>
                  <a:off x="5649818" y="2799799"/>
                  <a:ext cx="1387448" cy="1864483"/>
                </a:xfrm>
                <a:custGeom>
                  <a:avLst/>
                  <a:gdLst>
                    <a:gd name="connsiteX0" fmla="*/ 569536 w 1387448"/>
                    <a:gd name="connsiteY0" fmla="*/ 43896 h 1864483"/>
                    <a:gd name="connsiteX1" fmla="*/ 226541 w 1387448"/>
                    <a:gd name="connsiteY1" fmla="*/ 695964 h 1864483"/>
                    <a:gd name="connsiteX2" fmla="*/ 145503 w 1387448"/>
                    <a:gd name="connsiteY2" fmla="*/ 1278303 h 1864483"/>
                    <a:gd name="connsiteX3" fmla="*/ 390 w 1387448"/>
                    <a:gd name="connsiteY3" fmla="*/ 1783373 h 1864483"/>
                    <a:gd name="connsiteX4" fmla="*/ 26774 w 1387448"/>
                    <a:gd name="connsiteY4" fmla="*/ 1804103 h 1864483"/>
                    <a:gd name="connsiteX5" fmla="*/ 1236681 w 1387448"/>
                    <a:gd name="connsiteY5" fmla="*/ 1862526 h 1864483"/>
                    <a:gd name="connsiteX6" fmla="*/ 1253642 w 1387448"/>
                    <a:gd name="connsiteY6" fmla="*/ 1830488 h 1864483"/>
                    <a:gd name="connsiteX7" fmla="*/ 1093452 w 1387448"/>
                    <a:gd name="connsiteY7" fmla="*/ 1336725 h 1864483"/>
                    <a:gd name="connsiteX8" fmla="*/ 1070837 w 1387448"/>
                    <a:gd name="connsiteY8" fmla="*/ 820347 h 1864483"/>
                    <a:gd name="connsiteX9" fmla="*/ 1170720 w 1387448"/>
                    <a:gd name="connsiteY9" fmla="*/ 648850 h 1864483"/>
                    <a:gd name="connsiteX10" fmla="*/ 1168836 w 1387448"/>
                    <a:gd name="connsiteY10" fmla="*/ 460391 h 1864483"/>
                    <a:gd name="connsiteX11" fmla="*/ 1291334 w 1387448"/>
                    <a:gd name="connsiteY11" fmla="*/ 345431 h 1864483"/>
                    <a:gd name="connsiteX12" fmla="*/ 1344103 w 1387448"/>
                    <a:gd name="connsiteY12" fmla="*/ 343546 h 1864483"/>
                    <a:gd name="connsiteX13" fmla="*/ 1387448 w 1387448"/>
                    <a:gd name="connsiteY13" fmla="*/ 277585 h 1864483"/>
                    <a:gd name="connsiteX14" fmla="*/ 1372372 w 1387448"/>
                    <a:gd name="connsiteY14" fmla="*/ 256855 h 1864483"/>
                    <a:gd name="connsiteX15" fmla="*/ 575190 w 1387448"/>
                    <a:gd name="connsiteY15" fmla="*/ 551 h 1864483"/>
                    <a:gd name="connsiteX16" fmla="*/ 563882 w 1387448"/>
                    <a:gd name="connsiteY16" fmla="*/ 42012 h 1864483"/>
                    <a:gd name="connsiteX17" fmla="*/ 933262 w 1387448"/>
                    <a:gd name="connsiteY17" fmla="*/ 145664 h 1864483"/>
                    <a:gd name="connsiteX18" fmla="*/ 1116067 w 1387448"/>
                    <a:gd name="connsiteY18" fmla="*/ 205971 h 1864483"/>
                    <a:gd name="connsiteX19" fmla="*/ 1296988 w 1387448"/>
                    <a:gd name="connsiteY19" fmla="*/ 271932 h 1864483"/>
                    <a:gd name="connsiteX20" fmla="*/ 1298873 w 1387448"/>
                    <a:gd name="connsiteY20" fmla="*/ 292662 h 1864483"/>
                    <a:gd name="connsiteX21" fmla="*/ 1264950 w 1387448"/>
                    <a:gd name="connsiteY21" fmla="*/ 298316 h 1864483"/>
                    <a:gd name="connsiteX22" fmla="*/ 1221604 w 1387448"/>
                    <a:gd name="connsiteY22" fmla="*/ 302085 h 1864483"/>
                    <a:gd name="connsiteX23" fmla="*/ 1165067 w 1387448"/>
                    <a:gd name="connsiteY23" fmla="*/ 339777 h 1864483"/>
                    <a:gd name="connsiteX24" fmla="*/ 1136798 w 1387448"/>
                    <a:gd name="connsiteY24" fmla="*/ 582889 h 1864483"/>
                    <a:gd name="connsiteX25" fmla="*/ 1004877 w 1387448"/>
                    <a:gd name="connsiteY25" fmla="*/ 893846 h 1864483"/>
                    <a:gd name="connsiteX26" fmla="*/ 1023722 w 1387448"/>
                    <a:gd name="connsiteY26" fmla="*/ 1187842 h 1864483"/>
                    <a:gd name="connsiteX27" fmla="*/ 1217835 w 1387448"/>
                    <a:gd name="connsiteY27" fmla="*/ 1851218 h 1864483"/>
                    <a:gd name="connsiteX28" fmla="*/ 1236681 w 1387448"/>
                    <a:gd name="connsiteY28" fmla="*/ 1821065 h 1864483"/>
                    <a:gd name="connsiteX29" fmla="*/ 15467 w 1387448"/>
                    <a:gd name="connsiteY29" fmla="*/ 1762642 h 1864483"/>
                    <a:gd name="connsiteX30" fmla="*/ 41851 w 1387448"/>
                    <a:gd name="connsiteY30" fmla="*/ 1783373 h 1864483"/>
                    <a:gd name="connsiteX31" fmla="*/ 170003 w 1387448"/>
                    <a:gd name="connsiteY31" fmla="*/ 1336725 h 1864483"/>
                    <a:gd name="connsiteX32" fmla="*/ 249156 w 1387448"/>
                    <a:gd name="connsiteY32" fmla="*/ 927769 h 1864483"/>
                    <a:gd name="connsiteX33" fmla="*/ 281194 w 1387448"/>
                    <a:gd name="connsiteY33" fmla="*/ 479236 h 1864483"/>
                    <a:gd name="connsiteX34" fmla="*/ 556344 w 1387448"/>
                    <a:gd name="connsiteY34" fmla="*/ 83473 h 1864483"/>
                    <a:gd name="connsiteX35" fmla="*/ 569536 w 1387448"/>
                    <a:gd name="connsiteY35" fmla="*/ 43896 h 1864483"/>
                    <a:gd name="connsiteX36" fmla="*/ 569536 w 1387448"/>
                    <a:gd name="connsiteY36" fmla="*/ 43896 h 1864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1387448" h="1864483">
                      <a:moveTo>
                        <a:pt x="569536" y="43896"/>
                      </a:moveTo>
                      <a:cubicBezTo>
                        <a:pt x="226541" y="-39026"/>
                        <a:pt x="239733" y="496198"/>
                        <a:pt x="226541" y="695964"/>
                      </a:cubicBezTo>
                      <a:cubicBezTo>
                        <a:pt x="213349" y="891962"/>
                        <a:pt x="200157" y="1089844"/>
                        <a:pt x="145503" y="1278303"/>
                      </a:cubicBezTo>
                      <a:cubicBezTo>
                        <a:pt x="96504" y="1446031"/>
                        <a:pt x="-7148" y="1602452"/>
                        <a:pt x="390" y="1783373"/>
                      </a:cubicBezTo>
                      <a:cubicBezTo>
                        <a:pt x="390" y="1796565"/>
                        <a:pt x="13582" y="1805988"/>
                        <a:pt x="26774" y="1804103"/>
                      </a:cubicBezTo>
                      <a:cubicBezTo>
                        <a:pt x="428192" y="1702335"/>
                        <a:pt x="831494" y="1885141"/>
                        <a:pt x="1236681" y="1862526"/>
                      </a:cubicBezTo>
                      <a:cubicBezTo>
                        <a:pt x="1253642" y="1860641"/>
                        <a:pt x="1261181" y="1845564"/>
                        <a:pt x="1253642" y="1830488"/>
                      </a:cubicBezTo>
                      <a:cubicBezTo>
                        <a:pt x="1185797" y="1672182"/>
                        <a:pt x="1131144" y="1506338"/>
                        <a:pt x="1093452" y="1336725"/>
                      </a:cubicBezTo>
                      <a:cubicBezTo>
                        <a:pt x="1059530" y="1180304"/>
                        <a:pt x="1002992" y="972999"/>
                        <a:pt x="1070837" y="820347"/>
                      </a:cubicBezTo>
                      <a:cubicBezTo>
                        <a:pt x="1097221" y="760040"/>
                        <a:pt x="1151875" y="712926"/>
                        <a:pt x="1170720" y="648850"/>
                      </a:cubicBezTo>
                      <a:cubicBezTo>
                        <a:pt x="1189566" y="586658"/>
                        <a:pt x="1166951" y="522582"/>
                        <a:pt x="1168836" y="460391"/>
                      </a:cubicBezTo>
                      <a:cubicBezTo>
                        <a:pt x="1170720" y="375584"/>
                        <a:pt x="1195220" y="358623"/>
                        <a:pt x="1291334" y="345431"/>
                      </a:cubicBezTo>
                      <a:cubicBezTo>
                        <a:pt x="1310180" y="341661"/>
                        <a:pt x="1323372" y="351084"/>
                        <a:pt x="1344103" y="343546"/>
                      </a:cubicBezTo>
                      <a:cubicBezTo>
                        <a:pt x="1374256" y="330354"/>
                        <a:pt x="1387448" y="307739"/>
                        <a:pt x="1387448" y="277585"/>
                      </a:cubicBezTo>
                      <a:cubicBezTo>
                        <a:pt x="1387448" y="268162"/>
                        <a:pt x="1379910" y="260624"/>
                        <a:pt x="1372372" y="256855"/>
                      </a:cubicBezTo>
                      <a:cubicBezTo>
                        <a:pt x="1112298" y="155087"/>
                        <a:pt x="846571" y="70280"/>
                        <a:pt x="575190" y="551"/>
                      </a:cubicBezTo>
                      <a:cubicBezTo>
                        <a:pt x="548806" y="-5103"/>
                        <a:pt x="539383" y="34473"/>
                        <a:pt x="563882" y="42012"/>
                      </a:cubicBezTo>
                      <a:cubicBezTo>
                        <a:pt x="688265" y="74050"/>
                        <a:pt x="810764" y="107972"/>
                        <a:pt x="933262" y="145664"/>
                      </a:cubicBezTo>
                      <a:cubicBezTo>
                        <a:pt x="993569" y="164510"/>
                        <a:pt x="1055761" y="185240"/>
                        <a:pt x="1116067" y="205971"/>
                      </a:cubicBezTo>
                      <a:cubicBezTo>
                        <a:pt x="1172605" y="226701"/>
                        <a:pt x="1244220" y="241778"/>
                        <a:pt x="1296988" y="271932"/>
                      </a:cubicBezTo>
                      <a:cubicBezTo>
                        <a:pt x="1338449" y="281355"/>
                        <a:pt x="1340334" y="287008"/>
                        <a:pt x="1298873" y="292662"/>
                      </a:cubicBezTo>
                      <a:cubicBezTo>
                        <a:pt x="1287565" y="298316"/>
                        <a:pt x="1276258" y="300200"/>
                        <a:pt x="1264950" y="298316"/>
                      </a:cubicBezTo>
                      <a:cubicBezTo>
                        <a:pt x="1249873" y="300200"/>
                        <a:pt x="1236681" y="296431"/>
                        <a:pt x="1221604" y="302085"/>
                      </a:cubicBezTo>
                      <a:cubicBezTo>
                        <a:pt x="1198989" y="307739"/>
                        <a:pt x="1180143" y="320931"/>
                        <a:pt x="1165067" y="339777"/>
                      </a:cubicBezTo>
                      <a:cubicBezTo>
                        <a:pt x="1104760" y="411391"/>
                        <a:pt x="1138682" y="499967"/>
                        <a:pt x="1136798" y="582889"/>
                      </a:cubicBezTo>
                      <a:cubicBezTo>
                        <a:pt x="1134913" y="697849"/>
                        <a:pt x="1023722" y="777002"/>
                        <a:pt x="1004877" y="893846"/>
                      </a:cubicBezTo>
                      <a:cubicBezTo>
                        <a:pt x="991684" y="989960"/>
                        <a:pt x="1008646" y="1091728"/>
                        <a:pt x="1023722" y="1187842"/>
                      </a:cubicBezTo>
                      <a:cubicBezTo>
                        <a:pt x="1059530" y="1417762"/>
                        <a:pt x="1127375" y="1638259"/>
                        <a:pt x="1217835" y="1851218"/>
                      </a:cubicBezTo>
                      <a:cubicBezTo>
                        <a:pt x="1223489" y="1841795"/>
                        <a:pt x="1231027" y="1830488"/>
                        <a:pt x="1236681" y="1821065"/>
                      </a:cubicBezTo>
                      <a:cubicBezTo>
                        <a:pt x="825840" y="1843680"/>
                        <a:pt x="422538" y="1660875"/>
                        <a:pt x="15467" y="1762642"/>
                      </a:cubicBezTo>
                      <a:cubicBezTo>
                        <a:pt x="24890" y="1770181"/>
                        <a:pt x="32428" y="1775834"/>
                        <a:pt x="41851" y="1783373"/>
                      </a:cubicBezTo>
                      <a:cubicBezTo>
                        <a:pt x="34313" y="1621298"/>
                        <a:pt x="122888" y="1485608"/>
                        <a:pt x="170003" y="1336725"/>
                      </a:cubicBezTo>
                      <a:cubicBezTo>
                        <a:pt x="213349" y="1204804"/>
                        <a:pt x="235964" y="1065344"/>
                        <a:pt x="249156" y="927769"/>
                      </a:cubicBezTo>
                      <a:cubicBezTo>
                        <a:pt x="264233" y="778886"/>
                        <a:pt x="269886" y="630004"/>
                        <a:pt x="281194" y="479236"/>
                      </a:cubicBezTo>
                      <a:cubicBezTo>
                        <a:pt x="294386" y="326585"/>
                        <a:pt x="326424" y="28819"/>
                        <a:pt x="556344" y="83473"/>
                      </a:cubicBezTo>
                      <a:cubicBezTo>
                        <a:pt x="582728" y="91011"/>
                        <a:pt x="594036" y="49550"/>
                        <a:pt x="569536" y="43896"/>
                      </a:cubicBezTo>
                      <a:lnTo>
                        <a:pt x="569536" y="4389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02" name="Freeform: Shape 501">
                  <a:extLst>
                    <a:ext uri="{FF2B5EF4-FFF2-40B4-BE49-F238E27FC236}">
                      <a16:creationId xmlns:a16="http://schemas.microsoft.com/office/drawing/2014/main" id="{21C6C824-8696-E178-7BFF-021B52EEA9BA}"/>
                    </a:ext>
                  </a:extLst>
                </p:cNvPr>
                <p:cNvSpPr/>
                <p:nvPr/>
              </p:nvSpPr>
              <p:spPr>
                <a:xfrm>
                  <a:off x="6021896" y="3177040"/>
                  <a:ext cx="535984" cy="844269"/>
                </a:xfrm>
                <a:custGeom>
                  <a:avLst/>
                  <a:gdLst>
                    <a:gd name="connsiteX0" fmla="*/ 531031 w 535984"/>
                    <a:gd name="connsiteY0" fmla="*/ 150995 h 844269"/>
                    <a:gd name="connsiteX1" fmla="*/ 487685 w 535984"/>
                    <a:gd name="connsiteY1" fmla="*/ 32265 h 844269"/>
                    <a:gd name="connsiteX2" fmla="*/ 314303 w 535984"/>
                    <a:gd name="connsiteY2" fmla="*/ 2112 h 844269"/>
                    <a:gd name="connsiteX3" fmla="*/ 165420 w 535984"/>
                    <a:gd name="connsiteY3" fmla="*/ 47342 h 844269"/>
                    <a:gd name="connsiteX4" fmla="*/ 142805 w 535984"/>
                    <a:gd name="connsiteY4" fmla="*/ 126495 h 844269"/>
                    <a:gd name="connsiteX5" fmla="*/ 118305 w 535984"/>
                    <a:gd name="connsiteY5" fmla="*/ 228263 h 844269"/>
                    <a:gd name="connsiteX6" fmla="*/ 152228 w 535984"/>
                    <a:gd name="connsiteY6" fmla="*/ 360184 h 844269"/>
                    <a:gd name="connsiteX7" fmla="*/ 220073 w 535984"/>
                    <a:gd name="connsiteY7" fmla="*/ 394107 h 844269"/>
                    <a:gd name="connsiteX8" fmla="*/ 302995 w 535984"/>
                    <a:gd name="connsiteY8" fmla="*/ 446875 h 844269"/>
                    <a:gd name="connsiteX9" fmla="*/ 406648 w 535984"/>
                    <a:gd name="connsiteY9" fmla="*/ 590104 h 844269"/>
                    <a:gd name="connsiteX10" fmla="*/ 421724 w 535984"/>
                    <a:gd name="connsiteY10" fmla="*/ 771025 h 844269"/>
                    <a:gd name="connsiteX11" fmla="*/ 201227 w 535984"/>
                    <a:gd name="connsiteY11" fmla="*/ 748410 h 844269"/>
                    <a:gd name="connsiteX12" fmla="*/ 33499 w 535984"/>
                    <a:gd name="connsiteY12" fmla="*/ 607065 h 844269"/>
                    <a:gd name="connsiteX13" fmla="*/ 5230 w 535984"/>
                    <a:gd name="connsiteY13" fmla="*/ 637219 h 844269"/>
                    <a:gd name="connsiteX14" fmla="*/ 278496 w 535984"/>
                    <a:gd name="connsiteY14" fmla="*/ 825678 h 844269"/>
                    <a:gd name="connsiteX15" fmla="*/ 425494 w 535984"/>
                    <a:gd name="connsiteY15" fmla="*/ 827562 h 844269"/>
                    <a:gd name="connsiteX16" fmla="*/ 472608 w 535984"/>
                    <a:gd name="connsiteY16" fmla="*/ 716372 h 844269"/>
                    <a:gd name="connsiteX17" fmla="*/ 357648 w 535984"/>
                    <a:gd name="connsiteY17" fmla="*/ 441221 h 844269"/>
                    <a:gd name="connsiteX18" fmla="*/ 229496 w 535984"/>
                    <a:gd name="connsiteY18" fmla="*/ 352646 h 844269"/>
                    <a:gd name="connsiteX19" fmla="*/ 155997 w 535984"/>
                    <a:gd name="connsiteY19" fmla="*/ 296108 h 844269"/>
                    <a:gd name="connsiteX20" fmla="*/ 165420 w 535984"/>
                    <a:gd name="connsiteY20" fmla="*/ 201879 h 844269"/>
                    <a:gd name="connsiteX21" fmla="*/ 193689 w 535984"/>
                    <a:gd name="connsiteY21" fmla="*/ 88803 h 844269"/>
                    <a:gd name="connsiteX22" fmla="*/ 246458 w 535984"/>
                    <a:gd name="connsiteY22" fmla="*/ 39804 h 844269"/>
                    <a:gd name="connsiteX23" fmla="*/ 306764 w 535984"/>
                    <a:gd name="connsiteY23" fmla="*/ 41688 h 844269"/>
                    <a:gd name="connsiteX24" fmla="*/ 493339 w 535984"/>
                    <a:gd name="connsiteY24" fmla="*/ 139687 h 844269"/>
                    <a:gd name="connsiteX25" fmla="*/ 531031 w 535984"/>
                    <a:gd name="connsiteY25" fmla="*/ 150995 h 844269"/>
                    <a:gd name="connsiteX26" fmla="*/ 531031 w 535984"/>
                    <a:gd name="connsiteY26" fmla="*/ 150995 h 844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535984" h="844269">
                      <a:moveTo>
                        <a:pt x="531031" y="150995"/>
                      </a:moveTo>
                      <a:cubicBezTo>
                        <a:pt x="546107" y="105764"/>
                        <a:pt x="525377" y="58650"/>
                        <a:pt x="487685" y="32265"/>
                      </a:cubicBezTo>
                      <a:cubicBezTo>
                        <a:pt x="438686" y="-1657"/>
                        <a:pt x="370840" y="2112"/>
                        <a:pt x="314303" y="2112"/>
                      </a:cubicBezTo>
                      <a:cubicBezTo>
                        <a:pt x="257765" y="227"/>
                        <a:pt x="195574" y="-11080"/>
                        <a:pt x="165420" y="47342"/>
                      </a:cubicBezTo>
                      <a:cubicBezTo>
                        <a:pt x="154113" y="71842"/>
                        <a:pt x="148459" y="100111"/>
                        <a:pt x="142805" y="126495"/>
                      </a:cubicBezTo>
                      <a:cubicBezTo>
                        <a:pt x="135267" y="160418"/>
                        <a:pt x="123959" y="194340"/>
                        <a:pt x="118305" y="228263"/>
                      </a:cubicBezTo>
                      <a:cubicBezTo>
                        <a:pt x="108882" y="277262"/>
                        <a:pt x="110767" y="328146"/>
                        <a:pt x="152228" y="360184"/>
                      </a:cubicBezTo>
                      <a:cubicBezTo>
                        <a:pt x="172959" y="377145"/>
                        <a:pt x="197458" y="382799"/>
                        <a:pt x="220073" y="394107"/>
                      </a:cubicBezTo>
                      <a:cubicBezTo>
                        <a:pt x="250227" y="407299"/>
                        <a:pt x="278496" y="426145"/>
                        <a:pt x="302995" y="446875"/>
                      </a:cubicBezTo>
                      <a:cubicBezTo>
                        <a:pt x="348225" y="486452"/>
                        <a:pt x="384033" y="535451"/>
                        <a:pt x="406648" y="590104"/>
                      </a:cubicBezTo>
                      <a:cubicBezTo>
                        <a:pt x="427378" y="640988"/>
                        <a:pt x="448109" y="718256"/>
                        <a:pt x="421724" y="771025"/>
                      </a:cubicBezTo>
                      <a:cubicBezTo>
                        <a:pt x="385917" y="842639"/>
                        <a:pt x="250227" y="774794"/>
                        <a:pt x="201227" y="748410"/>
                      </a:cubicBezTo>
                      <a:cubicBezTo>
                        <a:pt x="135267" y="714487"/>
                        <a:pt x="80614" y="665488"/>
                        <a:pt x="33499" y="607065"/>
                      </a:cubicBezTo>
                      <a:cubicBezTo>
                        <a:pt x="16538" y="586335"/>
                        <a:pt x="-11731" y="616488"/>
                        <a:pt x="5230" y="637219"/>
                      </a:cubicBezTo>
                      <a:cubicBezTo>
                        <a:pt x="74960" y="725795"/>
                        <a:pt x="171074" y="791755"/>
                        <a:pt x="278496" y="825678"/>
                      </a:cubicBezTo>
                      <a:cubicBezTo>
                        <a:pt x="323726" y="840755"/>
                        <a:pt x="382148" y="857716"/>
                        <a:pt x="425494" y="827562"/>
                      </a:cubicBezTo>
                      <a:cubicBezTo>
                        <a:pt x="461301" y="804947"/>
                        <a:pt x="472608" y="757833"/>
                        <a:pt x="472608" y="716372"/>
                      </a:cubicBezTo>
                      <a:cubicBezTo>
                        <a:pt x="474493" y="614604"/>
                        <a:pt x="427378" y="512836"/>
                        <a:pt x="357648" y="441221"/>
                      </a:cubicBezTo>
                      <a:cubicBezTo>
                        <a:pt x="321841" y="403530"/>
                        <a:pt x="278496" y="373376"/>
                        <a:pt x="229496" y="352646"/>
                      </a:cubicBezTo>
                      <a:cubicBezTo>
                        <a:pt x="201227" y="339454"/>
                        <a:pt x="165420" y="330031"/>
                        <a:pt x="155997" y="296108"/>
                      </a:cubicBezTo>
                      <a:cubicBezTo>
                        <a:pt x="148459" y="265955"/>
                        <a:pt x="159766" y="232032"/>
                        <a:pt x="165420" y="201879"/>
                      </a:cubicBezTo>
                      <a:cubicBezTo>
                        <a:pt x="174843" y="164187"/>
                        <a:pt x="182381" y="126495"/>
                        <a:pt x="193689" y="88803"/>
                      </a:cubicBezTo>
                      <a:cubicBezTo>
                        <a:pt x="201227" y="62419"/>
                        <a:pt x="214419" y="41688"/>
                        <a:pt x="246458" y="39804"/>
                      </a:cubicBezTo>
                      <a:cubicBezTo>
                        <a:pt x="265303" y="37919"/>
                        <a:pt x="286034" y="39804"/>
                        <a:pt x="306764" y="41688"/>
                      </a:cubicBezTo>
                      <a:cubicBezTo>
                        <a:pt x="363302" y="43573"/>
                        <a:pt x="527262" y="37919"/>
                        <a:pt x="493339" y="139687"/>
                      </a:cubicBezTo>
                      <a:cubicBezTo>
                        <a:pt x="482031" y="166071"/>
                        <a:pt x="523492" y="177379"/>
                        <a:pt x="531031" y="150995"/>
                      </a:cubicBezTo>
                      <a:lnTo>
                        <a:pt x="531031" y="15099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03" name="Freeform: Shape 502">
                  <a:extLst>
                    <a:ext uri="{FF2B5EF4-FFF2-40B4-BE49-F238E27FC236}">
                      <a16:creationId xmlns:a16="http://schemas.microsoft.com/office/drawing/2014/main" id="{087C087E-9197-7DCA-86AA-C25533032348}"/>
                    </a:ext>
                  </a:extLst>
                </p:cNvPr>
                <p:cNvSpPr/>
                <p:nvPr/>
              </p:nvSpPr>
              <p:spPr>
                <a:xfrm>
                  <a:off x="6192970" y="2967607"/>
                  <a:ext cx="99784" cy="1334760"/>
                </a:xfrm>
                <a:custGeom>
                  <a:avLst/>
                  <a:gdLst>
                    <a:gd name="connsiteX0" fmla="*/ 50884 w 99784"/>
                    <a:gd name="connsiteY0" fmla="*/ 21202 h 1334760"/>
                    <a:gd name="connsiteX1" fmla="*/ 0 w 99784"/>
                    <a:gd name="connsiteY1" fmla="*/ 1315915 h 1334760"/>
                    <a:gd name="connsiteX2" fmla="*/ 20730 w 99784"/>
                    <a:gd name="connsiteY2" fmla="*/ 1334761 h 1334760"/>
                    <a:gd name="connsiteX3" fmla="*/ 67845 w 99784"/>
                    <a:gd name="connsiteY3" fmla="*/ 1300838 h 1334760"/>
                    <a:gd name="connsiteX4" fmla="*/ 28269 w 99784"/>
                    <a:gd name="connsiteY4" fmla="*/ 1289531 h 1334760"/>
                    <a:gd name="connsiteX5" fmla="*/ 20730 w 99784"/>
                    <a:gd name="connsiteY5" fmla="*/ 1293300 h 1334760"/>
                    <a:gd name="connsiteX6" fmla="*/ 41461 w 99784"/>
                    <a:gd name="connsiteY6" fmla="*/ 1314030 h 1334760"/>
                    <a:gd name="connsiteX7" fmla="*/ 92345 w 99784"/>
                    <a:gd name="connsiteY7" fmla="*/ 21202 h 1334760"/>
                    <a:gd name="connsiteX8" fmla="*/ 50884 w 99784"/>
                    <a:gd name="connsiteY8" fmla="*/ 21202 h 1334760"/>
                    <a:gd name="connsiteX9" fmla="*/ 50884 w 99784"/>
                    <a:gd name="connsiteY9" fmla="*/ 21202 h 1334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9784" h="1334760">
                      <a:moveTo>
                        <a:pt x="50884" y="21202"/>
                      </a:moveTo>
                      <a:cubicBezTo>
                        <a:pt x="69730" y="452773"/>
                        <a:pt x="52769" y="886229"/>
                        <a:pt x="0" y="1315915"/>
                      </a:cubicBezTo>
                      <a:cubicBezTo>
                        <a:pt x="0" y="1325338"/>
                        <a:pt x="11308" y="1334761"/>
                        <a:pt x="20730" y="1334761"/>
                      </a:cubicBezTo>
                      <a:cubicBezTo>
                        <a:pt x="47115" y="1334761"/>
                        <a:pt x="60307" y="1325338"/>
                        <a:pt x="67845" y="1300838"/>
                      </a:cubicBezTo>
                      <a:cubicBezTo>
                        <a:pt x="77268" y="1274454"/>
                        <a:pt x="37692" y="1265031"/>
                        <a:pt x="28269" y="1289531"/>
                      </a:cubicBezTo>
                      <a:cubicBezTo>
                        <a:pt x="26384" y="1291415"/>
                        <a:pt x="24500" y="1291415"/>
                        <a:pt x="20730" y="1293300"/>
                      </a:cubicBezTo>
                      <a:cubicBezTo>
                        <a:pt x="28269" y="1300838"/>
                        <a:pt x="33923" y="1306492"/>
                        <a:pt x="41461" y="1314030"/>
                      </a:cubicBezTo>
                      <a:cubicBezTo>
                        <a:pt x="94230" y="884344"/>
                        <a:pt x="111191" y="452773"/>
                        <a:pt x="92345" y="21202"/>
                      </a:cubicBezTo>
                      <a:cubicBezTo>
                        <a:pt x="90460" y="-7067"/>
                        <a:pt x="48999" y="-7067"/>
                        <a:pt x="50884" y="21202"/>
                      </a:cubicBezTo>
                      <a:lnTo>
                        <a:pt x="50884" y="2120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  <p:sp>
              <p:nvSpPr>
                <p:cNvPr id="504" name="Freeform: Shape 503">
                  <a:extLst>
                    <a:ext uri="{FF2B5EF4-FFF2-40B4-BE49-F238E27FC236}">
                      <a16:creationId xmlns:a16="http://schemas.microsoft.com/office/drawing/2014/main" id="{F14C348C-4522-774B-00AE-CC4BAEE0FC51}"/>
                    </a:ext>
                  </a:extLst>
                </p:cNvPr>
                <p:cNvSpPr/>
                <p:nvPr/>
              </p:nvSpPr>
              <p:spPr>
                <a:xfrm>
                  <a:off x="6368237" y="3018020"/>
                  <a:ext cx="90460" cy="1272098"/>
                </a:xfrm>
                <a:custGeom>
                  <a:avLst/>
                  <a:gdLst>
                    <a:gd name="connsiteX0" fmla="*/ 48999 w 90460"/>
                    <a:gd name="connsiteY0" fmla="*/ 19788 h 1272098"/>
                    <a:gd name="connsiteX1" fmla="*/ 0 w 90460"/>
                    <a:gd name="connsiteY1" fmla="*/ 1252310 h 1272098"/>
                    <a:gd name="connsiteX2" fmla="*/ 41461 w 90460"/>
                    <a:gd name="connsiteY2" fmla="*/ 1252310 h 1272098"/>
                    <a:gd name="connsiteX3" fmla="*/ 90460 w 90460"/>
                    <a:gd name="connsiteY3" fmla="*/ 19788 h 1272098"/>
                    <a:gd name="connsiteX4" fmla="*/ 48999 w 90460"/>
                    <a:gd name="connsiteY4" fmla="*/ 19788 h 1272098"/>
                    <a:gd name="connsiteX5" fmla="*/ 48999 w 90460"/>
                    <a:gd name="connsiteY5" fmla="*/ 19788 h 1272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0460" h="1272098">
                      <a:moveTo>
                        <a:pt x="48999" y="19788"/>
                      </a:moveTo>
                      <a:cubicBezTo>
                        <a:pt x="22615" y="430629"/>
                        <a:pt x="5654" y="841469"/>
                        <a:pt x="0" y="1252310"/>
                      </a:cubicBezTo>
                      <a:cubicBezTo>
                        <a:pt x="0" y="1278694"/>
                        <a:pt x="41461" y="1278694"/>
                        <a:pt x="41461" y="1252310"/>
                      </a:cubicBezTo>
                      <a:cubicBezTo>
                        <a:pt x="47115" y="841469"/>
                        <a:pt x="64076" y="430629"/>
                        <a:pt x="90460" y="19788"/>
                      </a:cubicBezTo>
                      <a:cubicBezTo>
                        <a:pt x="90460" y="-6596"/>
                        <a:pt x="48999" y="-6596"/>
                        <a:pt x="48999" y="19788"/>
                      </a:cubicBezTo>
                      <a:lnTo>
                        <a:pt x="48999" y="1978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8777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Verdana" panose="020B0604030504040204" pitchFamily="34" charset="0"/>
                  </a:endParaRPr>
                </a:p>
              </p:txBody>
            </p:sp>
          </p:grpSp>
          <p:sp>
            <p:nvSpPr>
              <p:cNvPr id="9" name="Speech Bubble: Rectangle with Corners Rounded 8">
                <a:extLst>
                  <a:ext uri="{FF2B5EF4-FFF2-40B4-BE49-F238E27FC236}">
                    <a16:creationId xmlns:a16="http://schemas.microsoft.com/office/drawing/2014/main" id="{6F2C5CA8-C7ED-A237-6D96-C8974692EBBD}"/>
                  </a:ext>
                </a:extLst>
              </p:cNvPr>
              <p:cNvSpPr/>
              <p:nvPr/>
            </p:nvSpPr>
            <p:spPr>
              <a:xfrm>
                <a:off x="1092993" y="4038599"/>
                <a:ext cx="378619" cy="269082"/>
              </a:xfrm>
              <a:prstGeom prst="wedgeRoundRectCallout">
                <a:avLst>
                  <a:gd name="adj1" fmla="val 14165"/>
                  <a:gd name="adj2" fmla="val 78844"/>
                  <a:gd name="adj3" fmla="val 16667"/>
                </a:avLst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>
                  <a:latin typeface="Verdana" panose="020B0604030504040204" pitchFamily="34" charset="0"/>
                </a:endParaRPr>
              </a:p>
            </p:txBody>
          </p:sp>
          <p:pic>
            <p:nvPicPr>
              <p:cNvPr id="50" name="Graphic 49">
                <a:extLst>
                  <a:ext uri="{FF2B5EF4-FFF2-40B4-BE49-F238E27FC236}">
                    <a16:creationId xmlns:a16="http://schemas.microsoft.com/office/drawing/2014/main" id="{696A511E-8032-93DB-7AAD-AE7D282455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169193" y="4052413"/>
                <a:ext cx="219550" cy="219550"/>
              </a:xfrm>
              <a:prstGeom prst="rect">
                <a:avLst/>
              </a:prstGeom>
            </p:spPr>
          </p:pic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6D41E47-FB4A-2E50-39D9-69125CB66923}"/>
              </a:ext>
            </a:extLst>
          </p:cNvPr>
          <p:cNvGrpSpPr/>
          <p:nvPr/>
        </p:nvGrpSpPr>
        <p:grpSpPr>
          <a:xfrm>
            <a:off x="6921951" y="4388290"/>
            <a:ext cx="1054730" cy="1111458"/>
            <a:chOff x="5146732" y="4259752"/>
            <a:chExt cx="1019587" cy="1182198"/>
          </a:xfrm>
        </p:grpSpPr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F8BE8532-0B36-F358-7568-921B1C642BDE}"/>
                </a:ext>
              </a:extLst>
            </p:cNvPr>
            <p:cNvSpPr/>
            <p:nvPr/>
          </p:nvSpPr>
          <p:spPr>
            <a:xfrm>
              <a:off x="5993409" y="4498624"/>
              <a:ext cx="20738" cy="28643"/>
            </a:xfrm>
            <a:custGeom>
              <a:avLst/>
              <a:gdLst>
                <a:gd name="connsiteX0" fmla="*/ 109 w 14206"/>
                <a:gd name="connsiteY0" fmla="*/ 18574 h 19621"/>
                <a:gd name="connsiteX1" fmla="*/ 395 w 14206"/>
                <a:gd name="connsiteY1" fmla="*/ 19431 h 19621"/>
                <a:gd name="connsiteX2" fmla="*/ 1252 w 14206"/>
                <a:gd name="connsiteY2" fmla="*/ 19621 h 19621"/>
                <a:gd name="connsiteX3" fmla="*/ 14206 w 14206"/>
                <a:gd name="connsiteY3" fmla="*/ 19050 h 19621"/>
                <a:gd name="connsiteX4" fmla="*/ 12111 w 14206"/>
                <a:gd name="connsiteY4" fmla="*/ 15621 h 19621"/>
                <a:gd name="connsiteX5" fmla="*/ 4396 w 14206"/>
                <a:gd name="connsiteY5" fmla="*/ 15811 h 19621"/>
                <a:gd name="connsiteX6" fmla="*/ 4110 w 14206"/>
                <a:gd name="connsiteY6" fmla="*/ 15716 h 19621"/>
                <a:gd name="connsiteX7" fmla="*/ 4110 w 14206"/>
                <a:gd name="connsiteY7" fmla="*/ 15430 h 19621"/>
                <a:gd name="connsiteX8" fmla="*/ 5824 w 14206"/>
                <a:gd name="connsiteY8" fmla="*/ 5429 h 19621"/>
                <a:gd name="connsiteX9" fmla="*/ 2491 w 14206"/>
                <a:gd name="connsiteY9" fmla="*/ 0 h 19621"/>
                <a:gd name="connsiteX10" fmla="*/ 2300 w 14206"/>
                <a:gd name="connsiteY10" fmla="*/ 1429 h 19621"/>
                <a:gd name="connsiteX11" fmla="*/ 109 w 14206"/>
                <a:gd name="connsiteY11" fmla="*/ 18574 h 1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206" h="19621">
                  <a:moveTo>
                    <a:pt x="109" y="18574"/>
                  </a:moveTo>
                  <a:cubicBezTo>
                    <a:pt x="109" y="18859"/>
                    <a:pt x="205" y="19241"/>
                    <a:pt x="395" y="19431"/>
                  </a:cubicBezTo>
                  <a:cubicBezTo>
                    <a:pt x="586" y="19621"/>
                    <a:pt x="967" y="19621"/>
                    <a:pt x="1252" y="19621"/>
                  </a:cubicBezTo>
                  <a:cubicBezTo>
                    <a:pt x="5539" y="19431"/>
                    <a:pt x="9920" y="19241"/>
                    <a:pt x="14206" y="19050"/>
                  </a:cubicBezTo>
                  <a:lnTo>
                    <a:pt x="12111" y="15621"/>
                  </a:lnTo>
                  <a:cubicBezTo>
                    <a:pt x="9539" y="15811"/>
                    <a:pt x="6967" y="15907"/>
                    <a:pt x="4396" y="15811"/>
                  </a:cubicBezTo>
                  <a:cubicBezTo>
                    <a:pt x="4300" y="15811"/>
                    <a:pt x="4205" y="15811"/>
                    <a:pt x="4110" y="15716"/>
                  </a:cubicBezTo>
                  <a:cubicBezTo>
                    <a:pt x="4015" y="15621"/>
                    <a:pt x="4015" y="15526"/>
                    <a:pt x="4110" y="15430"/>
                  </a:cubicBezTo>
                  <a:cubicBezTo>
                    <a:pt x="4491" y="12097"/>
                    <a:pt x="5348" y="8763"/>
                    <a:pt x="5824" y="5429"/>
                  </a:cubicBezTo>
                  <a:lnTo>
                    <a:pt x="2491" y="0"/>
                  </a:lnTo>
                  <a:cubicBezTo>
                    <a:pt x="2395" y="476"/>
                    <a:pt x="2395" y="953"/>
                    <a:pt x="2300" y="1429"/>
                  </a:cubicBezTo>
                  <a:cubicBezTo>
                    <a:pt x="776" y="7048"/>
                    <a:pt x="-367" y="12859"/>
                    <a:pt x="109" y="18574"/>
                  </a:cubicBez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413CBDCD-601D-CD26-A8DC-DB3ED37550C4}"/>
                </a:ext>
              </a:extLst>
            </p:cNvPr>
            <p:cNvSpPr/>
            <p:nvPr/>
          </p:nvSpPr>
          <p:spPr>
            <a:xfrm>
              <a:off x="5521500" y="4681611"/>
              <a:ext cx="24611" cy="11957"/>
            </a:xfrm>
            <a:custGeom>
              <a:avLst/>
              <a:gdLst>
                <a:gd name="connsiteX0" fmla="*/ 16859 w 16859"/>
                <a:gd name="connsiteY0" fmla="*/ 0 h 8191"/>
                <a:gd name="connsiteX1" fmla="*/ 4001 w 16859"/>
                <a:gd name="connsiteY1" fmla="*/ 191 h 8191"/>
                <a:gd name="connsiteX2" fmla="*/ 0 w 16859"/>
                <a:gd name="connsiteY2" fmla="*/ 8192 h 8191"/>
                <a:gd name="connsiteX3" fmla="*/ 16859 w 16859"/>
                <a:gd name="connsiteY3" fmla="*/ 0 h 8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59" h="8191">
                  <a:moveTo>
                    <a:pt x="16859" y="0"/>
                  </a:moveTo>
                  <a:cubicBezTo>
                    <a:pt x="12573" y="95"/>
                    <a:pt x="8287" y="95"/>
                    <a:pt x="4001" y="191"/>
                  </a:cubicBezTo>
                  <a:lnTo>
                    <a:pt x="0" y="8192"/>
                  </a:lnTo>
                  <a:lnTo>
                    <a:pt x="16859" y="0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1C5A49EF-9C9D-5A9E-225E-F7313169904A}"/>
                </a:ext>
              </a:extLst>
            </p:cNvPr>
            <p:cNvSpPr/>
            <p:nvPr/>
          </p:nvSpPr>
          <p:spPr>
            <a:xfrm>
              <a:off x="5828127" y="4351372"/>
              <a:ext cx="51838" cy="22943"/>
            </a:xfrm>
            <a:custGeom>
              <a:avLst/>
              <a:gdLst>
                <a:gd name="connsiteX0" fmla="*/ 33129 w 35510"/>
                <a:gd name="connsiteY0" fmla="*/ 1238 h 15716"/>
                <a:gd name="connsiteX1" fmla="*/ 33225 w 35510"/>
                <a:gd name="connsiteY1" fmla="*/ 0 h 15716"/>
                <a:gd name="connsiteX2" fmla="*/ 31796 w 35510"/>
                <a:gd name="connsiteY2" fmla="*/ 1810 h 15716"/>
                <a:gd name="connsiteX3" fmla="*/ 12365 w 35510"/>
                <a:gd name="connsiteY3" fmla="*/ 2000 h 15716"/>
                <a:gd name="connsiteX4" fmla="*/ 840 w 35510"/>
                <a:gd name="connsiteY4" fmla="*/ 5239 h 15716"/>
                <a:gd name="connsiteX5" fmla="*/ 363 w 35510"/>
                <a:gd name="connsiteY5" fmla="*/ 7906 h 15716"/>
                <a:gd name="connsiteX6" fmla="*/ 2078 w 35510"/>
                <a:gd name="connsiteY6" fmla="*/ 8382 h 15716"/>
                <a:gd name="connsiteX7" fmla="*/ 33510 w 35510"/>
                <a:gd name="connsiteY7" fmla="*/ 8954 h 15716"/>
                <a:gd name="connsiteX8" fmla="*/ 35511 w 35510"/>
                <a:gd name="connsiteY8" fmla="*/ 15716 h 15716"/>
                <a:gd name="connsiteX9" fmla="*/ 34939 w 35510"/>
                <a:gd name="connsiteY9" fmla="*/ 11716 h 15716"/>
                <a:gd name="connsiteX10" fmla="*/ 33129 w 35510"/>
                <a:gd name="connsiteY10" fmla="*/ 1238 h 15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510" h="15716">
                  <a:moveTo>
                    <a:pt x="33129" y="1238"/>
                  </a:moveTo>
                  <a:cubicBezTo>
                    <a:pt x="33129" y="857"/>
                    <a:pt x="33225" y="476"/>
                    <a:pt x="33225" y="0"/>
                  </a:cubicBezTo>
                  <a:lnTo>
                    <a:pt x="31796" y="1810"/>
                  </a:lnTo>
                  <a:cubicBezTo>
                    <a:pt x="25319" y="1905"/>
                    <a:pt x="18842" y="1905"/>
                    <a:pt x="12365" y="2000"/>
                  </a:cubicBezTo>
                  <a:cubicBezTo>
                    <a:pt x="8269" y="2000"/>
                    <a:pt x="3697" y="2286"/>
                    <a:pt x="840" y="5239"/>
                  </a:cubicBezTo>
                  <a:cubicBezTo>
                    <a:pt x="173" y="6001"/>
                    <a:pt x="-399" y="7239"/>
                    <a:pt x="363" y="7906"/>
                  </a:cubicBezTo>
                  <a:cubicBezTo>
                    <a:pt x="744" y="8382"/>
                    <a:pt x="1506" y="8382"/>
                    <a:pt x="2078" y="8382"/>
                  </a:cubicBezTo>
                  <a:cubicBezTo>
                    <a:pt x="12555" y="8572"/>
                    <a:pt x="23033" y="8763"/>
                    <a:pt x="33510" y="8954"/>
                  </a:cubicBezTo>
                  <a:lnTo>
                    <a:pt x="35511" y="15716"/>
                  </a:lnTo>
                  <a:cubicBezTo>
                    <a:pt x="35415" y="14383"/>
                    <a:pt x="35225" y="13049"/>
                    <a:pt x="34939" y="11716"/>
                  </a:cubicBezTo>
                  <a:cubicBezTo>
                    <a:pt x="34368" y="8287"/>
                    <a:pt x="33129" y="4763"/>
                    <a:pt x="33129" y="1238"/>
                  </a:cubicBez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0017209E-5051-6E50-9BFA-FD8CDFE1677B}"/>
                </a:ext>
              </a:extLst>
            </p:cNvPr>
            <p:cNvSpPr/>
            <p:nvPr/>
          </p:nvSpPr>
          <p:spPr>
            <a:xfrm>
              <a:off x="6031945" y="4504604"/>
              <a:ext cx="8620" cy="3188"/>
            </a:xfrm>
            <a:custGeom>
              <a:avLst/>
              <a:gdLst>
                <a:gd name="connsiteX0" fmla="*/ 0 w 5905"/>
                <a:gd name="connsiteY0" fmla="*/ 0 h 2184"/>
                <a:gd name="connsiteX1" fmla="*/ 1143 w 5905"/>
                <a:gd name="connsiteY1" fmla="*/ 1238 h 2184"/>
                <a:gd name="connsiteX2" fmla="*/ 5906 w 5905"/>
                <a:gd name="connsiteY2" fmla="*/ 2000 h 2184"/>
                <a:gd name="connsiteX3" fmla="*/ 5906 w 5905"/>
                <a:gd name="connsiteY3" fmla="*/ 1810 h 2184"/>
                <a:gd name="connsiteX4" fmla="*/ 0 w 5905"/>
                <a:gd name="connsiteY4" fmla="*/ 0 h 2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05" h="2184">
                  <a:moveTo>
                    <a:pt x="0" y="0"/>
                  </a:moveTo>
                  <a:cubicBezTo>
                    <a:pt x="381" y="381"/>
                    <a:pt x="667" y="952"/>
                    <a:pt x="1143" y="1238"/>
                  </a:cubicBezTo>
                  <a:cubicBezTo>
                    <a:pt x="2477" y="2191"/>
                    <a:pt x="4286" y="2381"/>
                    <a:pt x="5906" y="2000"/>
                  </a:cubicBezTo>
                  <a:cubicBezTo>
                    <a:pt x="5906" y="1905"/>
                    <a:pt x="5906" y="1905"/>
                    <a:pt x="5906" y="181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99C6E600-11D9-8BF3-E66B-E554167D0477}"/>
                </a:ext>
              </a:extLst>
            </p:cNvPr>
            <p:cNvSpPr/>
            <p:nvPr/>
          </p:nvSpPr>
          <p:spPr>
            <a:xfrm>
              <a:off x="6014147" y="4526155"/>
              <a:ext cx="5562" cy="7230"/>
            </a:xfrm>
            <a:custGeom>
              <a:avLst/>
              <a:gdLst>
                <a:gd name="connsiteX0" fmla="*/ 0 w 3810"/>
                <a:gd name="connsiteY0" fmla="*/ 191 h 4953"/>
                <a:gd name="connsiteX1" fmla="*/ 2953 w 3810"/>
                <a:gd name="connsiteY1" fmla="*/ 4953 h 4953"/>
                <a:gd name="connsiteX2" fmla="*/ 3810 w 3810"/>
                <a:gd name="connsiteY2" fmla="*/ 0 h 4953"/>
                <a:gd name="connsiteX3" fmla="*/ 0 w 3810"/>
                <a:gd name="connsiteY3" fmla="*/ 191 h 4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" h="4953">
                  <a:moveTo>
                    <a:pt x="0" y="191"/>
                  </a:moveTo>
                  <a:lnTo>
                    <a:pt x="2953" y="4953"/>
                  </a:lnTo>
                  <a:cubicBezTo>
                    <a:pt x="3524" y="3334"/>
                    <a:pt x="3810" y="1715"/>
                    <a:pt x="3810" y="0"/>
                  </a:cubicBezTo>
                  <a:cubicBezTo>
                    <a:pt x="2477" y="95"/>
                    <a:pt x="1238" y="191"/>
                    <a:pt x="0" y="191"/>
                  </a:cubicBez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CC434A2B-BDAD-5547-85B8-E865D8FD35CD}"/>
                </a:ext>
              </a:extLst>
            </p:cNvPr>
            <p:cNvSpPr/>
            <p:nvPr/>
          </p:nvSpPr>
          <p:spPr>
            <a:xfrm>
              <a:off x="5946292" y="4447872"/>
              <a:ext cx="91354" cy="154760"/>
            </a:xfrm>
            <a:custGeom>
              <a:avLst/>
              <a:gdLst>
                <a:gd name="connsiteX0" fmla="*/ 0 w 62579"/>
                <a:gd name="connsiteY0" fmla="*/ 8001 h 106013"/>
                <a:gd name="connsiteX1" fmla="*/ 16954 w 62579"/>
                <a:gd name="connsiteY1" fmla="*/ 73247 h 106013"/>
                <a:gd name="connsiteX2" fmla="*/ 20955 w 62579"/>
                <a:gd name="connsiteY2" fmla="*/ 106013 h 106013"/>
                <a:gd name="connsiteX3" fmla="*/ 39338 w 62579"/>
                <a:gd name="connsiteY3" fmla="*/ 98679 h 106013"/>
                <a:gd name="connsiteX4" fmla="*/ 32290 w 62579"/>
                <a:gd name="connsiteY4" fmla="*/ 93345 h 106013"/>
                <a:gd name="connsiteX5" fmla="*/ 62579 w 62579"/>
                <a:gd name="connsiteY5" fmla="*/ 88964 h 106013"/>
                <a:gd name="connsiteX6" fmla="*/ 60769 w 62579"/>
                <a:gd name="connsiteY6" fmla="*/ 82677 h 106013"/>
                <a:gd name="connsiteX7" fmla="*/ 31052 w 62579"/>
                <a:gd name="connsiteY7" fmla="*/ 86677 h 106013"/>
                <a:gd name="connsiteX8" fmla="*/ 28289 w 62579"/>
                <a:gd name="connsiteY8" fmla="*/ 78200 h 106013"/>
                <a:gd name="connsiteX9" fmla="*/ 37433 w 62579"/>
                <a:gd name="connsiteY9" fmla="*/ 76200 h 106013"/>
                <a:gd name="connsiteX10" fmla="*/ 59055 w 62579"/>
                <a:gd name="connsiteY10" fmla="*/ 74295 h 106013"/>
                <a:gd name="connsiteX11" fmla="*/ 49340 w 62579"/>
                <a:gd name="connsiteY11" fmla="*/ 58579 h 106013"/>
                <a:gd name="connsiteX12" fmla="*/ 46101 w 62579"/>
                <a:gd name="connsiteY12" fmla="*/ 64103 h 106013"/>
                <a:gd name="connsiteX13" fmla="*/ 35719 w 62579"/>
                <a:gd name="connsiteY13" fmla="*/ 68294 h 106013"/>
                <a:gd name="connsiteX14" fmla="*/ 24479 w 62579"/>
                <a:gd name="connsiteY14" fmla="*/ 61722 h 106013"/>
                <a:gd name="connsiteX15" fmla="*/ 20860 w 62579"/>
                <a:gd name="connsiteY15" fmla="*/ 48959 h 106013"/>
                <a:gd name="connsiteX16" fmla="*/ 23336 w 62579"/>
                <a:gd name="connsiteY16" fmla="*/ 35719 h 106013"/>
                <a:gd name="connsiteX17" fmla="*/ 25622 w 62579"/>
                <a:gd name="connsiteY17" fmla="*/ 32099 h 106013"/>
                <a:gd name="connsiteX18" fmla="*/ 28670 w 62579"/>
                <a:gd name="connsiteY18" fmla="*/ 31528 h 106013"/>
                <a:gd name="connsiteX19" fmla="*/ 33052 w 62579"/>
                <a:gd name="connsiteY19" fmla="*/ 32099 h 106013"/>
                <a:gd name="connsiteX20" fmla="*/ 34671 w 62579"/>
                <a:gd name="connsiteY20" fmla="*/ 34766 h 106013"/>
                <a:gd name="connsiteX21" fmla="*/ 34100 w 62579"/>
                <a:gd name="connsiteY21" fmla="*/ 32385 h 106013"/>
                <a:gd name="connsiteX22" fmla="*/ 37909 w 62579"/>
                <a:gd name="connsiteY22" fmla="*/ 31528 h 106013"/>
                <a:gd name="connsiteX23" fmla="*/ 46863 w 62579"/>
                <a:gd name="connsiteY23" fmla="*/ 33528 h 106013"/>
                <a:gd name="connsiteX24" fmla="*/ 47625 w 62579"/>
                <a:gd name="connsiteY24" fmla="*/ 35719 h 106013"/>
                <a:gd name="connsiteX25" fmla="*/ 58483 w 62579"/>
                <a:gd name="connsiteY25" fmla="*/ 38957 h 106013"/>
                <a:gd name="connsiteX26" fmla="*/ 56007 w 62579"/>
                <a:gd name="connsiteY26" fmla="*/ 34290 h 106013"/>
                <a:gd name="connsiteX27" fmla="*/ 55912 w 62579"/>
                <a:gd name="connsiteY27" fmla="*/ 27241 h 106013"/>
                <a:gd name="connsiteX28" fmla="*/ 59055 w 62579"/>
                <a:gd name="connsiteY28" fmla="*/ 17526 h 106013"/>
                <a:gd name="connsiteX29" fmla="*/ 61531 w 62579"/>
                <a:gd name="connsiteY29" fmla="*/ 17050 h 106013"/>
                <a:gd name="connsiteX30" fmla="*/ 56674 w 62579"/>
                <a:gd name="connsiteY30" fmla="*/ 15811 h 106013"/>
                <a:gd name="connsiteX31" fmla="*/ 43910 w 62579"/>
                <a:gd name="connsiteY31" fmla="*/ 0 h 106013"/>
                <a:gd name="connsiteX32" fmla="*/ 571 w 62579"/>
                <a:gd name="connsiteY32" fmla="*/ 7906 h 106013"/>
                <a:gd name="connsiteX33" fmla="*/ 0 w 62579"/>
                <a:gd name="connsiteY33" fmla="*/ 8001 h 106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2579" h="106013">
                  <a:moveTo>
                    <a:pt x="0" y="8001"/>
                  </a:moveTo>
                  <a:cubicBezTo>
                    <a:pt x="7810" y="29147"/>
                    <a:pt x="13430" y="51054"/>
                    <a:pt x="16954" y="73247"/>
                  </a:cubicBezTo>
                  <a:cubicBezTo>
                    <a:pt x="18669" y="84106"/>
                    <a:pt x="19812" y="95060"/>
                    <a:pt x="20955" y="106013"/>
                  </a:cubicBezTo>
                  <a:cubicBezTo>
                    <a:pt x="26003" y="101537"/>
                    <a:pt x="32575" y="99441"/>
                    <a:pt x="39338" y="98679"/>
                  </a:cubicBezTo>
                  <a:lnTo>
                    <a:pt x="32290" y="93345"/>
                  </a:lnTo>
                  <a:cubicBezTo>
                    <a:pt x="42481" y="92297"/>
                    <a:pt x="52578" y="90869"/>
                    <a:pt x="62579" y="88964"/>
                  </a:cubicBezTo>
                  <a:lnTo>
                    <a:pt x="60769" y="82677"/>
                  </a:lnTo>
                  <a:cubicBezTo>
                    <a:pt x="50959" y="84487"/>
                    <a:pt x="40957" y="85820"/>
                    <a:pt x="31052" y="86677"/>
                  </a:cubicBezTo>
                  <a:lnTo>
                    <a:pt x="28289" y="78200"/>
                  </a:lnTo>
                  <a:cubicBezTo>
                    <a:pt x="31337" y="77724"/>
                    <a:pt x="34385" y="76867"/>
                    <a:pt x="37433" y="76200"/>
                  </a:cubicBezTo>
                  <a:cubicBezTo>
                    <a:pt x="44577" y="74771"/>
                    <a:pt x="51816" y="74486"/>
                    <a:pt x="59055" y="74295"/>
                  </a:cubicBezTo>
                  <a:lnTo>
                    <a:pt x="49340" y="58579"/>
                  </a:lnTo>
                  <a:cubicBezTo>
                    <a:pt x="48673" y="60674"/>
                    <a:pt x="47625" y="62579"/>
                    <a:pt x="46101" y="64103"/>
                  </a:cubicBezTo>
                  <a:cubicBezTo>
                    <a:pt x="43434" y="66865"/>
                    <a:pt x="39624" y="68485"/>
                    <a:pt x="35719" y="68294"/>
                  </a:cubicBezTo>
                  <a:cubicBezTo>
                    <a:pt x="31242" y="68104"/>
                    <a:pt x="27051" y="65341"/>
                    <a:pt x="24479" y="61722"/>
                  </a:cubicBezTo>
                  <a:cubicBezTo>
                    <a:pt x="21907" y="58007"/>
                    <a:pt x="20765" y="53435"/>
                    <a:pt x="20860" y="48959"/>
                  </a:cubicBezTo>
                  <a:cubicBezTo>
                    <a:pt x="20860" y="44482"/>
                    <a:pt x="21907" y="40005"/>
                    <a:pt x="23336" y="35719"/>
                  </a:cubicBezTo>
                  <a:cubicBezTo>
                    <a:pt x="23813" y="34385"/>
                    <a:pt x="24384" y="32861"/>
                    <a:pt x="25622" y="32099"/>
                  </a:cubicBezTo>
                  <a:cubicBezTo>
                    <a:pt x="26575" y="31528"/>
                    <a:pt x="27623" y="31433"/>
                    <a:pt x="28670" y="31528"/>
                  </a:cubicBezTo>
                  <a:cubicBezTo>
                    <a:pt x="30099" y="31528"/>
                    <a:pt x="31623" y="31718"/>
                    <a:pt x="33052" y="32099"/>
                  </a:cubicBezTo>
                  <a:lnTo>
                    <a:pt x="34671" y="34766"/>
                  </a:lnTo>
                  <a:cubicBezTo>
                    <a:pt x="34766" y="33814"/>
                    <a:pt x="34766" y="32957"/>
                    <a:pt x="34100" y="32385"/>
                  </a:cubicBezTo>
                  <a:lnTo>
                    <a:pt x="37909" y="31528"/>
                  </a:lnTo>
                  <a:cubicBezTo>
                    <a:pt x="40767" y="29718"/>
                    <a:pt x="45053" y="30671"/>
                    <a:pt x="46863" y="33528"/>
                  </a:cubicBezTo>
                  <a:cubicBezTo>
                    <a:pt x="47244" y="34195"/>
                    <a:pt x="47434" y="34957"/>
                    <a:pt x="47625" y="35719"/>
                  </a:cubicBezTo>
                  <a:lnTo>
                    <a:pt x="58483" y="38957"/>
                  </a:lnTo>
                  <a:cubicBezTo>
                    <a:pt x="57245" y="37624"/>
                    <a:pt x="56388" y="36004"/>
                    <a:pt x="56007" y="34290"/>
                  </a:cubicBezTo>
                  <a:cubicBezTo>
                    <a:pt x="55531" y="32004"/>
                    <a:pt x="55721" y="29623"/>
                    <a:pt x="55912" y="27241"/>
                  </a:cubicBezTo>
                  <a:cubicBezTo>
                    <a:pt x="56198" y="23813"/>
                    <a:pt x="56579" y="20003"/>
                    <a:pt x="59055" y="17526"/>
                  </a:cubicBezTo>
                  <a:lnTo>
                    <a:pt x="61531" y="17050"/>
                  </a:lnTo>
                  <a:cubicBezTo>
                    <a:pt x="60007" y="16383"/>
                    <a:pt x="58293" y="16002"/>
                    <a:pt x="56674" y="15811"/>
                  </a:cubicBezTo>
                  <a:lnTo>
                    <a:pt x="43910" y="0"/>
                  </a:lnTo>
                  <a:cubicBezTo>
                    <a:pt x="29527" y="3143"/>
                    <a:pt x="15145" y="5905"/>
                    <a:pt x="571" y="7906"/>
                  </a:cubicBezTo>
                  <a:lnTo>
                    <a:pt x="0" y="8001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58F6E22C-7B52-4E90-9540-42C096DE39C0}"/>
                </a:ext>
              </a:extLst>
            </p:cNvPr>
            <p:cNvSpPr/>
            <p:nvPr/>
          </p:nvSpPr>
          <p:spPr>
            <a:xfrm>
              <a:off x="5643862" y="4684392"/>
              <a:ext cx="145165" cy="22802"/>
            </a:xfrm>
            <a:custGeom>
              <a:avLst/>
              <a:gdLst>
                <a:gd name="connsiteX0" fmla="*/ 0 w 99440"/>
                <a:gd name="connsiteY0" fmla="*/ 15430 h 15620"/>
                <a:gd name="connsiteX1" fmla="*/ 99441 w 99440"/>
                <a:gd name="connsiteY1" fmla="*/ 15621 h 15620"/>
                <a:gd name="connsiteX2" fmla="*/ 63151 w 99440"/>
                <a:gd name="connsiteY2" fmla="*/ 0 h 15620"/>
                <a:gd name="connsiteX3" fmla="*/ 14288 w 99440"/>
                <a:gd name="connsiteY3" fmla="*/ 381 h 15620"/>
                <a:gd name="connsiteX4" fmla="*/ 0 w 99440"/>
                <a:gd name="connsiteY4" fmla="*/ 15430 h 1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40" h="15620">
                  <a:moveTo>
                    <a:pt x="0" y="15430"/>
                  </a:moveTo>
                  <a:cubicBezTo>
                    <a:pt x="33147" y="15526"/>
                    <a:pt x="66294" y="15526"/>
                    <a:pt x="99441" y="15621"/>
                  </a:cubicBezTo>
                  <a:lnTo>
                    <a:pt x="63151" y="0"/>
                  </a:lnTo>
                  <a:cubicBezTo>
                    <a:pt x="46863" y="95"/>
                    <a:pt x="30575" y="286"/>
                    <a:pt x="14288" y="381"/>
                  </a:cubicBezTo>
                  <a:lnTo>
                    <a:pt x="0" y="15430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58A13EE0-7B02-7017-8920-1C38FA592BE4}"/>
                </a:ext>
              </a:extLst>
            </p:cNvPr>
            <p:cNvSpPr/>
            <p:nvPr/>
          </p:nvSpPr>
          <p:spPr>
            <a:xfrm>
              <a:off x="5828379" y="4839431"/>
              <a:ext cx="123475" cy="291583"/>
            </a:xfrm>
            <a:custGeom>
              <a:avLst/>
              <a:gdLst>
                <a:gd name="connsiteX0" fmla="*/ 6001 w 84582"/>
                <a:gd name="connsiteY0" fmla="*/ 193643 h 199739"/>
                <a:gd name="connsiteX1" fmla="*/ 84582 w 84582"/>
                <a:gd name="connsiteY1" fmla="*/ 199739 h 199739"/>
                <a:gd name="connsiteX2" fmla="*/ 81629 w 84582"/>
                <a:gd name="connsiteY2" fmla="*/ 189167 h 199739"/>
                <a:gd name="connsiteX3" fmla="*/ 77914 w 84582"/>
                <a:gd name="connsiteY3" fmla="*/ 178594 h 199739"/>
                <a:gd name="connsiteX4" fmla="*/ 73247 w 84582"/>
                <a:gd name="connsiteY4" fmla="*/ 168593 h 199739"/>
                <a:gd name="connsiteX5" fmla="*/ 70771 w 84582"/>
                <a:gd name="connsiteY5" fmla="*/ 157544 h 199739"/>
                <a:gd name="connsiteX6" fmla="*/ 66770 w 84582"/>
                <a:gd name="connsiteY6" fmla="*/ 147257 h 199739"/>
                <a:gd name="connsiteX7" fmla="*/ 62103 w 84582"/>
                <a:gd name="connsiteY7" fmla="*/ 137255 h 199739"/>
                <a:gd name="connsiteX8" fmla="*/ 59341 w 84582"/>
                <a:gd name="connsiteY8" fmla="*/ 126492 h 199739"/>
                <a:gd name="connsiteX9" fmla="*/ 54388 w 84582"/>
                <a:gd name="connsiteY9" fmla="*/ 116681 h 199739"/>
                <a:gd name="connsiteX10" fmla="*/ 50197 w 84582"/>
                <a:gd name="connsiteY10" fmla="*/ 106394 h 199739"/>
                <a:gd name="connsiteX11" fmla="*/ 47244 w 84582"/>
                <a:gd name="connsiteY11" fmla="*/ 95631 h 199739"/>
                <a:gd name="connsiteX12" fmla="*/ 42291 w 84582"/>
                <a:gd name="connsiteY12" fmla="*/ 85630 h 199739"/>
                <a:gd name="connsiteX13" fmla="*/ 37624 w 84582"/>
                <a:gd name="connsiteY13" fmla="*/ 75629 h 199739"/>
                <a:gd name="connsiteX14" fmla="*/ 33623 w 84582"/>
                <a:gd name="connsiteY14" fmla="*/ 65342 h 199739"/>
                <a:gd name="connsiteX15" fmla="*/ 28956 w 84582"/>
                <a:gd name="connsiteY15" fmla="*/ 55340 h 199739"/>
                <a:gd name="connsiteX16" fmla="*/ 25527 w 84582"/>
                <a:gd name="connsiteY16" fmla="*/ 44768 h 199739"/>
                <a:gd name="connsiteX17" fmla="*/ 19621 w 84582"/>
                <a:gd name="connsiteY17" fmla="*/ 35243 h 199739"/>
                <a:gd name="connsiteX18" fmla="*/ 14668 w 84582"/>
                <a:gd name="connsiteY18" fmla="*/ 25432 h 199739"/>
                <a:gd name="connsiteX19" fmla="*/ 9430 w 84582"/>
                <a:gd name="connsiteY19" fmla="*/ 15621 h 199739"/>
                <a:gd name="connsiteX20" fmla="*/ 4000 w 84582"/>
                <a:gd name="connsiteY20" fmla="*/ 6096 h 199739"/>
                <a:gd name="connsiteX21" fmla="*/ 0 w 84582"/>
                <a:gd name="connsiteY21" fmla="*/ 0 h 199739"/>
                <a:gd name="connsiteX22" fmla="*/ 3429 w 84582"/>
                <a:gd name="connsiteY22" fmla="*/ 27718 h 199739"/>
                <a:gd name="connsiteX23" fmla="*/ 6001 w 84582"/>
                <a:gd name="connsiteY23" fmla="*/ 193643 h 199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4582" h="199739">
                  <a:moveTo>
                    <a:pt x="6001" y="193643"/>
                  </a:moveTo>
                  <a:lnTo>
                    <a:pt x="84582" y="199739"/>
                  </a:lnTo>
                  <a:cubicBezTo>
                    <a:pt x="83629" y="196691"/>
                    <a:pt x="83058" y="192977"/>
                    <a:pt x="81629" y="189167"/>
                  </a:cubicBezTo>
                  <a:cubicBezTo>
                    <a:pt x="80677" y="185928"/>
                    <a:pt x="79153" y="182404"/>
                    <a:pt x="77914" y="178594"/>
                  </a:cubicBezTo>
                  <a:cubicBezTo>
                    <a:pt x="76676" y="175355"/>
                    <a:pt x="74485" y="172022"/>
                    <a:pt x="73247" y="168593"/>
                  </a:cubicBezTo>
                  <a:cubicBezTo>
                    <a:pt x="72009" y="165354"/>
                    <a:pt x="72009" y="161354"/>
                    <a:pt x="70771" y="157544"/>
                  </a:cubicBezTo>
                  <a:cubicBezTo>
                    <a:pt x="69532" y="154305"/>
                    <a:pt x="68008" y="150971"/>
                    <a:pt x="66770" y="147257"/>
                  </a:cubicBezTo>
                  <a:cubicBezTo>
                    <a:pt x="65532" y="144018"/>
                    <a:pt x="63341" y="140684"/>
                    <a:pt x="62103" y="137255"/>
                  </a:cubicBezTo>
                  <a:cubicBezTo>
                    <a:pt x="60865" y="134017"/>
                    <a:pt x="60865" y="130016"/>
                    <a:pt x="59341" y="126492"/>
                  </a:cubicBezTo>
                  <a:cubicBezTo>
                    <a:pt x="58102" y="122968"/>
                    <a:pt x="55626" y="119920"/>
                    <a:pt x="54388" y="116681"/>
                  </a:cubicBezTo>
                  <a:cubicBezTo>
                    <a:pt x="53149" y="113157"/>
                    <a:pt x="51625" y="109633"/>
                    <a:pt x="50197" y="106394"/>
                  </a:cubicBezTo>
                  <a:cubicBezTo>
                    <a:pt x="48958" y="102870"/>
                    <a:pt x="48482" y="99155"/>
                    <a:pt x="47244" y="95631"/>
                  </a:cubicBezTo>
                  <a:cubicBezTo>
                    <a:pt x="45720" y="92107"/>
                    <a:pt x="43529" y="89059"/>
                    <a:pt x="42291" y="85630"/>
                  </a:cubicBezTo>
                  <a:cubicBezTo>
                    <a:pt x="40767" y="82391"/>
                    <a:pt x="39052" y="79058"/>
                    <a:pt x="37624" y="75629"/>
                  </a:cubicBezTo>
                  <a:cubicBezTo>
                    <a:pt x="36100" y="72390"/>
                    <a:pt x="35147" y="68866"/>
                    <a:pt x="33623" y="65342"/>
                  </a:cubicBezTo>
                  <a:cubicBezTo>
                    <a:pt x="32099" y="62103"/>
                    <a:pt x="30385" y="58579"/>
                    <a:pt x="28956" y="55340"/>
                  </a:cubicBezTo>
                  <a:cubicBezTo>
                    <a:pt x="27432" y="52102"/>
                    <a:pt x="26956" y="48101"/>
                    <a:pt x="25527" y="44768"/>
                  </a:cubicBezTo>
                  <a:cubicBezTo>
                    <a:pt x="23813" y="41243"/>
                    <a:pt x="21050" y="38481"/>
                    <a:pt x="19621" y="35243"/>
                  </a:cubicBezTo>
                  <a:cubicBezTo>
                    <a:pt x="17907" y="32004"/>
                    <a:pt x="16192" y="28670"/>
                    <a:pt x="14668" y="25432"/>
                  </a:cubicBezTo>
                  <a:cubicBezTo>
                    <a:pt x="12668" y="22193"/>
                    <a:pt x="11430" y="18669"/>
                    <a:pt x="9430" y="15621"/>
                  </a:cubicBezTo>
                  <a:cubicBezTo>
                    <a:pt x="7715" y="12383"/>
                    <a:pt x="5715" y="9049"/>
                    <a:pt x="4000" y="6096"/>
                  </a:cubicBezTo>
                  <a:cubicBezTo>
                    <a:pt x="2572" y="4001"/>
                    <a:pt x="1238" y="2000"/>
                    <a:pt x="0" y="0"/>
                  </a:cubicBezTo>
                  <a:lnTo>
                    <a:pt x="3429" y="27718"/>
                  </a:lnTo>
                  <a:cubicBezTo>
                    <a:pt x="1238" y="102013"/>
                    <a:pt x="2191" y="119348"/>
                    <a:pt x="6001" y="193643"/>
                  </a:cubicBez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5749EE8C-7E2E-BD11-605E-824F76FCACD5}"/>
                </a:ext>
              </a:extLst>
            </p:cNvPr>
            <p:cNvSpPr/>
            <p:nvPr/>
          </p:nvSpPr>
          <p:spPr>
            <a:xfrm>
              <a:off x="5505926" y="4693570"/>
              <a:ext cx="15572" cy="7647"/>
            </a:xfrm>
            <a:custGeom>
              <a:avLst/>
              <a:gdLst>
                <a:gd name="connsiteX0" fmla="*/ 10668 w 10667"/>
                <a:gd name="connsiteY0" fmla="*/ 0 h 5238"/>
                <a:gd name="connsiteX1" fmla="*/ 0 w 10667"/>
                <a:gd name="connsiteY1" fmla="*/ 5239 h 5238"/>
                <a:gd name="connsiteX2" fmla="*/ 8192 w 10667"/>
                <a:gd name="connsiteY2" fmla="*/ 4953 h 5238"/>
                <a:gd name="connsiteX3" fmla="*/ 10668 w 10667"/>
                <a:gd name="connsiteY3" fmla="*/ 0 h 5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67" h="5238">
                  <a:moveTo>
                    <a:pt x="10668" y="0"/>
                  </a:moveTo>
                  <a:lnTo>
                    <a:pt x="0" y="5239"/>
                  </a:lnTo>
                  <a:cubicBezTo>
                    <a:pt x="2762" y="5143"/>
                    <a:pt x="5429" y="5048"/>
                    <a:pt x="8192" y="4953"/>
                  </a:cubicBezTo>
                  <a:lnTo>
                    <a:pt x="10668" y="0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5D44A053-D1EB-C583-8E21-D581FC02A704}"/>
                </a:ext>
              </a:extLst>
            </p:cNvPr>
            <p:cNvSpPr/>
            <p:nvPr/>
          </p:nvSpPr>
          <p:spPr>
            <a:xfrm>
              <a:off x="5876490" y="4274758"/>
              <a:ext cx="117078" cy="134320"/>
            </a:xfrm>
            <a:custGeom>
              <a:avLst/>
              <a:gdLst>
                <a:gd name="connsiteX0" fmla="*/ 6286 w 80200"/>
                <a:gd name="connsiteY0" fmla="*/ 44958 h 92011"/>
                <a:gd name="connsiteX1" fmla="*/ 95 w 80200"/>
                <a:gd name="connsiteY1" fmla="*/ 52578 h 92011"/>
                <a:gd name="connsiteX2" fmla="*/ 0 w 80200"/>
                <a:gd name="connsiteY2" fmla="*/ 53816 h 92011"/>
                <a:gd name="connsiteX3" fmla="*/ 1715 w 80200"/>
                <a:gd name="connsiteY3" fmla="*/ 64389 h 92011"/>
                <a:gd name="connsiteX4" fmla="*/ 2286 w 80200"/>
                <a:gd name="connsiteY4" fmla="*/ 68390 h 92011"/>
                <a:gd name="connsiteX5" fmla="*/ 5334 w 80200"/>
                <a:gd name="connsiteY5" fmla="*/ 78962 h 92011"/>
                <a:gd name="connsiteX6" fmla="*/ 9906 w 80200"/>
                <a:gd name="connsiteY6" fmla="*/ 71628 h 92011"/>
                <a:gd name="connsiteX7" fmla="*/ 17907 w 80200"/>
                <a:gd name="connsiteY7" fmla="*/ 67913 h 92011"/>
                <a:gd name="connsiteX8" fmla="*/ 30480 w 80200"/>
                <a:gd name="connsiteY8" fmla="*/ 65913 h 92011"/>
                <a:gd name="connsiteX9" fmla="*/ 35243 w 80200"/>
                <a:gd name="connsiteY9" fmla="*/ 66485 h 92011"/>
                <a:gd name="connsiteX10" fmla="*/ 42196 w 80200"/>
                <a:gd name="connsiteY10" fmla="*/ 77153 h 92011"/>
                <a:gd name="connsiteX11" fmla="*/ 67913 w 80200"/>
                <a:gd name="connsiteY11" fmla="*/ 92012 h 92011"/>
                <a:gd name="connsiteX12" fmla="*/ 72866 w 80200"/>
                <a:gd name="connsiteY12" fmla="*/ 84772 h 92011"/>
                <a:gd name="connsiteX13" fmla="*/ 77057 w 80200"/>
                <a:gd name="connsiteY13" fmla="*/ 74962 h 92011"/>
                <a:gd name="connsiteX14" fmla="*/ 79248 w 80200"/>
                <a:gd name="connsiteY14" fmla="*/ 64389 h 92011"/>
                <a:gd name="connsiteX15" fmla="*/ 80201 w 80200"/>
                <a:gd name="connsiteY15" fmla="*/ 53816 h 92011"/>
                <a:gd name="connsiteX16" fmla="*/ 78486 w 80200"/>
                <a:gd name="connsiteY16" fmla="*/ 43244 h 92011"/>
                <a:gd name="connsiteX17" fmla="*/ 76105 w 80200"/>
                <a:gd name="connsiteY17" fmla="*/ 33147 h 92011"/>
                <a:gd name="connsiteX18" fmla="*/ 72866 w 80200"/>
                <a:gd name="connsiteY18" fmla="*/ 22860 h 92011"/>
                <a:gd name="connsiteX19" fmla="*/ 66961 w 80200"/>
                <a:gd name="connsiteY19" fmla="*/ 14287 h 92011"/>
                <a:gd name="connsiteX20" fmla="*/ 59817 w 80200"/>
                <a:gd name="connsiteY20" fmla="*/ 6763 h 92011"/>
                <a:gd name="connsiteX21" fmla="*/ 50673 w 80200"/>
                <a:gd name="connsiteY21" fmla="*/ 1238 h 92011"/>
                <a:gd name="connsiteX22" fmla="*/ 40291 w 80200"/>
                <a:gd name="connsiteY22" fmla="*/ 0 h 92011"/>
                <a:gd name="connsiteX23" fmla="*/ 30099 w 80200"/>
                <a:gd name="connsiteY23" fmla="*/ 1524 h 92011"/>
                <a:gd name="connsiteX24" fmla="*/ 20955 w 80200"/>
                <a:gd name="connsiteY24" fmla="*/ 6763 h 92011"/>
                <a:gd name="connsiteX25" fmla="*/ 13525 w 80200"/>
                <a:gd name="connsiteY25" fmla="*/ 14002 h 92011"/>
                <a:gd name="connsiteX26" fmla="*/ 7810 w 80200"/>
                <a:gd name="connsiteY26" fmla="*/ 23051 h 92011"/>
                <a:gd name="connsiteX27" fmla="*/ 4096 w 80200"/>
                <a:gd name="connsiteY27" fmla="*/ 32861 h 92011"/>
                <a:gd name="connsiteX28" fmla="*/ 2381 w 80200"/>
                <a:gd name="connsiteY28" fmla="*/ 38862 h 92011"/>
                <a:gd name="connsiteX29" fmla="*/ 16002 w 80200"/>
                <a:gd name="connsiteY29" fmla="*/ 41339 h 92011"/>
                <a:gd name="connsiteX30" fmla="*/ 6286 w 80200"/>
                <a:gd name="connsiteY30" fmla="*/ 44958 h 9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0200" h="92011">
                  <a:moveTo>
                    <a:pt x="6286" y="44958"/>
                  </a:moveTo>
                  <a:lnTo>
                    <a:pt x="95" y="52578"/>
                  </a:lnTo>
                  <a:cubicBezTo>
                    <a:pt x="95" y="52959"/>
                    <a:pt x="0" y="53340"/>
                    <a:pt x="0" y="53816"/>
                  </a:cubicBezTo>
                  <a:cubicBezTo>
                    <a:pt x="0" y="57341"/>
                    <a:pt x="1238" y="60865"/>
                    <a:pt x="1715" y="64389"/>
                  </a:cubicBezTo>
                  <a:cubicBezTo>
                    <a:pt x="2000" y="65723"/>
                    <a:pt x="2095" y="67056"/>
                    <a:pt x="2286" y="68390"/>
                  </a:cubicBezTo>
                  <a:lnTo>
                    <a:pt x="5334" y="78962"/>
                  </a:lnTo>
                  <a:cubicBezTo>
                    <a:pt x="5715" y="76010"/>
                    <a:pt x="7620" y="73438"/>
                    <a:pt x="9906" y="71628"/>
                  </a:cubicBezTo>
                  <a:cubicBezTo>
                    <a:pt x="12287" y="69818"/>
                    <a:pt x="15049" y="68675"/>
                    <a:pt x="17907" y="67913"/>
                  </a:cubicBezTo>
                  <a:cubicBezTo>
                    <a:pt x="22003" y="66675"/>
                    <a:pt x="26194" y="66008"/>
                    <a:pt x="30480" y="65913"/>
                  </a:cubicBezTo>
                  <a:cubicBezTo>
                    <a:pt x="32099" y="65818"/>
                    <a:pt x="33719" y="65913"/>
                    <a:pt x="35243" y="66485"/>
                  </a:cubicBezTo>
                  <a:cubicBezTo>
                    <a:pt x="39338" y="68009"/>
                    <a:pt x="41053" y="72866"/>
                    <a:pt x="42196" y="77153"/>
                  </a:cubicBezTo>
                  <a:lnTo>
                    <a:pt x="67913" y="92012"/>
                  </a:lnTo>
                  <a:cubicBezTo>
                    <a:pt x="69818" y="89821"/>
                    <a:pt x="71628" y="87440"/>
                    <a:pt x="72866" y="84772"/>
                  </a:cubicBezTo>
                  <a:cubicBezTo>
                    <a:pt x="74581" y="81725"/>
                    <a:pt x="76105" y="78486"/>
                    <a:pt x="77057" y="74962"/>
                  </a:cubicBezTo>
                  <a:cubicBezTo>
                    <a:pt x="78010" y="71723"/>
                    <a:pt x="78772" y="68199"/>
                    <a:pt x="79248" y="64389"/>
                  </a:cubicBezTo>
                  <a:cubicBezTo>
                    <a:pt x="79724" y="61151"/>
                    <a:pt x="80201" y="57341"/>
                    <a:pt x="80201" y="53816"/>
                  </a:cubicBezTo>
                  <a:cubicBezTo>
                    <a:pt x="80201" y="50292"/>
                    <a:pt x="78962" y="46768"/>
                    <a:pt x="78486" y="43244"/>
                  </a:cubicBezTo>
                  <a:cubicBezTo>
                    <a:pt x="78105" y="39719"/>
                    <a:pt x="77153" y="36386"/>
                    <a:pt x="76105" y="33147"/>
                  </a:cubicBezTo>
                  <a:cubicBezTo>
                    <a:pt x="74866" y="29623"/>
                    <a:pt x="74390" y="26098"/>
                    <a:pt x="72866" y="22860"/>
                  </a:cubicBezTo>
                  <a:cubicBezTo>
                    <a:pt x="71152" y="19812"/>
                    <a:pt x="68866" y="17050"/>
                    <a:pt x="66961" y="14287"/>
                  </a:cubicBezTo>
                  <a:cubicBezTo>
                    <a:pt x="64770" y="11525"/>
                    <a:pt x="62484" y="8763"/>
                    <a:pt x="59817" y="6763"/>
                  </a:cubicBezTo>
                  <a:cubicBezTo>
                    <a:pt x="56864" y="4477"/>
                    <a:pt x="53912" y="2477"/>
                    <a:pt x="50673" y="1238"/>
                  </a:cubicBezTo>
                  <a:cubicBezTo>
                    <a:pt x="47434" y="190"/>
                    <a:pt x="44005" y="0"/>
                    <a:pt x="40291" y="0"/>
                  </a:cubicBezTo>
                  <a:cubicBezTo>
                    <a:pt x="36862" y="0"/>
                    <a:pt x="33338" y="286"/>
                    <a:pt x="30099" y="1524"/>
                  </a:cubicBezTo>
                  <a:cubicBezTo>
                    <a:pt x="26860" y="2762"/>
                    <a:pt x="23908" y="4572"/>
                    <a:pt x="20955" y="6763"/>
                  </a:cubicBezTo>
                  <a:cubicBezTo>
                    <a:pt x="18193" y="8763"/>
                    <a:pt x="15716" y="11239"/>
                    <a:pt x="13525" y="14002"/>
                  </a:cubicBezTo>
                  <a:cubicBezTo>
                    <a:pt x="11335" y="16764"/>
                    <a:pt x="9334" y="19812"/>
                    <a:pt x="7810" y="23051"/>
                  </a:cubicBezTo>
                  <a:cubicBezTo>
                    <a:pt x="6096" y="26098"/>
                    <a:pt x="5048" y="29337"/>
                    <a:pt x="4096" y="32861"/>
                  </a:cubicBezTo>
                  <a:cubicBezTo>
                    <a:pt x="3524" y="34766"/>
                    <a:pt x="2857" y="36767"/>
                    <a:pt x="2381" y="38862"/>
                  </a:cubicBezTo>
                  <a:lnTo>
                    <a:pt x="16002" y="41339"/>
                  </a:lnTo>
                  <a:cubicBezTo>
                    <a:pt x="12764" y="42767"/>
                    <a:pt x="9525" y="44005"/>
                    <a:pt x="6286" y="44958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B128E17E-9376-D780-5364-0989C6814122}"/>
                </a:ext>
              </a:extLst>
            </p:cNvPr>
            <p:cNvSpPr/>
            <p:nvPr/>
          </p:nvSpPr>
          <p:spPr>
            <a:xfrm>
              <a:off x="6005109" y="4927587"/>
              <a:ext cx="41574" cy="55202"/>
            </a:xfrm>
            <a:custGeom>
              <a:avLst/>
              <a:gdLst>
                <a:gd name="connsiteX0" fmla="*/ 4572 w 28479"/>
                <a:gd name="connsiteY0" fmla="*/ 9811 h 37814"/>
                <a:gd name="connsiteX1" fmla="*/ 0 w 28479"/>
                <a:gd name="connsiteY1" fmla="*/ 12859 h 37814"/>
                <a:gd name="connsiteX2" fmla="*/ 10573 w 28479"/>
                <a:gd name="connsiteY2" fmla="*/ 37814 h 37814"/>
                <a:gd name="connsiteX3" fmla="*/ 12954 w 28479"/>
                <a:gd name="connsiteY3" fmla="*/ 35624 h 37814"/>
                <a:gd name="connsiteX4" fmla="*/ 20383 w 28479"/>
                <a:gd name="connsiteY4" fmla="*/ 27337 h 37814"/>
                <a:gd name="connsiteX5" fmla="*/ 24384 w 28479"/>
                <a:gd name="connsiteY5" fmla="*/ 16574 h 37814"/>
                <a:gd name="connsiteX6" fmla="*/ 27337 w 28479"/>
                <a:gd name="connsiteY6" fmla="*/ 5810 h 37814"/>
                <a:gd name="connsiteX7" fmla="*/ 28480 w 28479"/>
                <a:gd name="connsiteY7" fmla="*/ 0 h 37814"/>
                <a:gd name="connsiteX8" fmla="*/ 12192 w 28479"/>
                <a:gd name="connsiteY8" fmla="*/ 2477 h 37814"/>
                <a:gd name="connsiteX9" fmla="*/ 4572 w 28479"/>
                <a:gd name="connsiteY9" fmla="*/ 9811 h 3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79" h="37814">
                  <a:moveTo>
                    <a:pt x="4572" y="9811"/>
                  </a:moveTo>
                  <a:cubicBezTo>
                    <a:pt x="3239" y="10858"/>
                    <a:pt x="1619" y="11811"/>
                    <a:pt x="0" y="12859"/>
                  </a:cubicBezTo>
                  <a:lnTo>
                    <a:pt x="10573" y="37814"/>
                  </a:lnTo>
                  <a:cubicBezTo>
                    <a:pt x="11335" y="37052"/>
                    <a:pt x="12192" y="36385"/>
                    <a:pt x="12954" y="35624"/>
                  </a:cubicBezTo>
                  <a:cubicBezTo>
                    <a:pt x="15431" y="33147"/>
                    <a:pt x="18383" y="30385"/>
                    <a:pt x="20383" y="27337"/>
                  </a:cubicBezTo>
                  <a:cubicBezTo>
                    <a:pt x="22384" y="24098"/>
                    <a:pt x="22860" y="20098"/>
                    <a:pt x="24384" y="16574"/>
                  </a:cubicBezTo>
                  <a:cubicBezTo>
                    <a:pt x="25622" y="13049"/>
                    <a:pt x="26575" y="9525"/>
                    <a:pt x="27337" y="5810"/>
                  </a:cubicBezTo>
                  <a:cubicBezTo>
                    <a:pt x="27718" y="3905"/>
                    <a:pt x="28194" y="2000"/>
                    <a:pt x="28480" y="0"/>
                  </a:cubicBezTo>
                  <a:lnTo>
                    <a:pt x="12192" y="2477"/>
                  </a:lnTo>
                  <a:cubicBezTo>
                    <a:pt x="8573" y="6382"/>
                    <a:pt x="9525" y="5810"/>
                    <a:pt x="4572" y="9811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208CC0AE-0A6F-48F6-AEB7-4AD1C1DB7F18}"/>
                </a:ext>
              </a:extLst>
            </p:cNvPr>
            <p:cNvSpPr/>
            <p:nvPr/>
          </p:nvSpPr>
          <p:spPr>
            <a:xfrm>
              <a:off x="5911531" y="4840976"/>
              <a:ext cx="135988" cy="121920"/>
            </a:xfrm>
            <a:custGeom>
              <a:avLst/>
              <a:gdLst>
                <a:gd name="connsiteX0" fmla="*/ 11430 w 93154"/>
                <a:gd name="connsiteY0" fmla="*/ 72475 h 83517"/>
                <a:gd name="connsiteX1" fmla="*/ 19812 w 93154"/>
                <a:gd name="connsiteY1" fmla="*/ 79047 h 83517"/>
                <a:gd name="connsiteX2" fmla="*/ 29718 w 93154"/>
                <a:gd name="connsiteY2" fmla="*/ 83047 h 83517"/>
                <a:gd name="connsiteX3" fmla="*/ 40386 w 93154"/>
                <a:gd name="connsiteY3" fmla="*/ 83047 h 83517"/>
                <a:gd name="connsiteX4" fmla="*/ 50292 w 93154"/>
                <a:gd name="connsiteY4" fmla="*/ 79999 h 83517"/>
                <a:gd name="connsiteX5" fmla="*/ 59722 w 93154"/>
                <a:gd name="connsiteY5" fmla="*/ 74951 h 83517"/>
                <a:gd name="connsiteX6" fmla="*/ 64103 w 93154"/>
                <a:gd name="connsiteY6" fmla="*/ 72189 h 83517"/>
                <a:gd name="connsiteX7" fmla="*/ 45910 w 93154"/>
                <a:gd name="connsiteY7" fmla="*/ 29231 h 83517"/>
                <a:gd name="connsiteX8" fmla="*/ 41719 w 93154"/>
                <a:gd name="connsiteY8" fmla="*/ 37994 h 83517"/>
                <a:gd name="connsiteX9" fmla="*/ 24384 w 93154"/>
                <a:gd name="connsiteY9" fmla="*/ 31993 h 83517"/>
                <a:gd name="connsiteX10" fmla="*/ 28575 w 93154"/>
                <a:gd name="connsiteY10" fmla="*/ 22945 h 83517"/>
                <a:gd name="connsiteX11" fmla="*/ 39719 w 93154"/>
                <a:gd name="connsiteY11" fmla="*/ 1609 h 83517"/>
                <a:gd name="connsiteX12" fmla="*/ 45910 w 93154"/>
                <a:gd name="connsiteY12" fmla="*/ 10372 h 83517"/>
                <a:gd name="connsiteX13" fmla="*/ 52388 w 93154"/>
                <a:gd name="connsiteY13" fmla="*/ 18658 h 83517"/>
                <a:gd name="connsiteX14" fmla="*/ 58865 w 93154"/>
                <a:gd name="connsiteY14" fmla="*/ 27421 h 83517"/>
                <a:gd name="connsiteX15" fmla="*/ 64770 w 93154"/>
                <a:gd name="connsiteY15" fmla="*/ 36184 h 83517"/>
                <a:gd name="connsiteX16" fmla="*/ 71914 w 93154"/>
                <a:gd name="connsiteY16" fmla="*/ 44185 h 83517"/>
                <a:gd name="connsiteX17" fmla="*/ 81534 w 93154"/>
                <a:gd name="connsiteY17" fmla="*/ 52948 h 83517"/>
                <a:gd name="connsiteX18" fmla="*/ 92583 w 93154"/>
                <a:gd name="connsiteY18" fmla="*/ 59235 h 83517"/>
                <a:gd name="connsiteX19" fmla="*/ 93154 w 93154"/>
                <a:gd name="connsiteY19" fmla="*/ 53710 h 83517"/>
                <a:gd name="connsiteX20" fmla="*/ 91630 w 93154"/>
                <a:gd name="connsiteY20" fmla="*/ 42661 h 83517"/>
                <a:gd name="connsiteX21" fmla="*/ 88678 w 93154"/>
                <a:gd name="connsiteY21" fmla="*/ 31898 h 83517"/>
                <a:gd name="connsiteX22" fmla="*/ 84201 w 93154"/>
                <a:gd name="connsiteY22" fmla="*/ 21325 h 83517"/>
                <a:gd name="connsiteX23" fmla="*/ 76486 w 93154"/>
                <a:gd name="connsiteY23" fmla="*/ 13039 h 83517"/>
                <a:gd name="connsiteX24" fmla="*/ 67818 w 93154"/>
                <a:gd name="connsiteY24" fmla="*/ 6276 h 83517"/>
                <a:gd name="connsiteX25" fmla="*/ 57626 w 93154"/>
                <a:gd name="connsiteY25" fmla="*/ 1513 h 83517"/>
                <a:gd name="connsiteX26" fmla="*/ 46768 w 93154"/>
                <a:gd name="connsiteY26" fmla="*/ 466 h 83517"/>
                <a:gd name="connsiteX27" fmla="*/ 35338 w 93154"/>
                <a:gd name="connsiteY27" fmla="*/ 466 h 83517"/>
                <a:gd name="connsiteX28" fmla="*/ 25432 w 93154"/>
                <a:gd name="connsiteY28" fmla="*/ 5704 h 83517"/>
                <a:gd name="connsiteX29" fmla="*/ 17050 w 93154"/>
                <a:gd name="connsiteY29" fmla="*/ 13229 h 83517"/>
                <a:gd name="connsiteX30" fmla="*/ 9144 w 93154"/>
                <a:gd name="connsiteY30" fmla="*/ 21040 h 83517"/>
                <a:gd name="connsiteX31" fmla="*/ 4191 w 93154"/>
                <a:gd name="connsiteY31" fmla="*/ 31327 h 83517"/>
                <a:gd name="connsiteX32" fmla="*/ 2000 w 93154"/>
                <a:gd name="connsiteY32" fmla="*/ 42661 h 83517"/>
                <a:gd name="connsiteX33" fmla="*/ 0 w 93154"/>
                <a:gd name="connsiteY33" fmla="*/ 53710 h 83517"/>
                <a:gd name="connsiteX34" fmla="*/ 95 w 93154"/>
                <a:gd name="connsiteY34" fmla="*/ 54472 h 83517"/>
                <a:gd name="connsiteX35" fmla="*/ 5715 w 93154"/>
                <a:gd name="connsiteY35" fmla="*/ 62950 h 83517"/>
                <a:gd name="connsiteX36" fmla="*/ 11430 w 93154"/>
                <a:gd name="connsiteY36" fmla="*/ 72475 h 83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3154" h="83517">
                  <a:moveTo>
                    <a:pt x="11430" y="72475"/>
                  </a:moveTo>
                  <a:cubicBezTo>
                    <a:pt x="14192" y="75237"/>
                    <a:pt x="17145" y="77237"/>
                    <a:pt x="19812" y="79047"/>
                  </a:cubicBezTo>
                  <a:cubicBezTo>
                    <a:pt x="23050" y="81047"/>
                    <a:pt x="26479" y="82285"/>
                    <a:pt x="29718" y="83047"/>
                  </a:cubicBezTo>
                  <a:cubicBezTo>
                    <a:pt x="33147" y="83809"/>
                    <a:pt x="36862" y="83524"/>
                    <a:pt x="40386" y="83047"/>
                  </a:cubicBezTo>
                  <a:cubicBezTo>
                    <a:pt x="43815" y="82762"/>
                    <a:pt x="47054" y="81333"/>
                    <a:pt x="50292" y="79999"/>
                  </a:cubicBezTo>
                  <a:cubicBezTo>
                    <a:pt x="53721" y="78475"/>
                    <a:pt x="56769" y="76761"/>
                    <a:pt x="59722" y="74951"/>
                  </a:cubicBezTo>
                  <a:cubicBezTo>
                    <a:pt x="61246" y="73903"/>
                    <a:pt x="62675" y="73046"/>
                    <a:pt x="64103" y="72189"/>
                  </a:cubicBezTo>
                  <a:lnTo>
                    <a:pt x="45910" y="29231"/>
                  </a:lnTo>
                  <a:cubicBezTo>
                    <a:pt x="44196" y="33708"/>
                    <a:pt x="43148" y="33517"/>
                    <a:pt x="41719" y="37994"/>
                  </a:cubicBezTo>
                  <a:lnTo>
                    <a:pt x="24384" y="31993"/>
                  </a:lnTo>
                  <a:cubicBezTo>
                    <a:pt x="25908" y="27517"/>
                    <a:pt x="26860" y="27707"/>
                    <a:pt x="28575" y="22945"/>
                  </a:cubicBezTo>
                  <a:lnTo>
                    <a:pt x="39719" y="1609"/>
                  </a:lnTo>
                  <a:cubicBezTo>
                    <a:pt x="42958" y="5895"/>
                    <a:pt x="42196" y="5133"/>
                    <a:pt x="45910" y="10372"/>
                  </a:cubicBezTo>
                  <a:cubicBezTo>
                    <a:pt x="47911" y="12848"/>
                    <a:pt x="50102" y="15610"/>
                    <a:pt x="52388" y="18658"/>
                  </a:cubicBezTo>
                  <a:cubicBezTo>
                    <a:pt x="54578" y="21421"/>
                    <a:pt x="56579" y="24659"/>
                    <a:pt x="58865" y="27421"/>
                  </a:cubicBezTo>
                  <a:cubicBezTo>
                    <a:pt x="61055" y="30469"/>
                    <a:pt x="62865" y="33708"/>
                    <a:pt x="64770" y="36184"/>
                  </a:cubicBezTo>
                  <a:cubicBezTo>
                    <a:pt x="67532" y="39709"/>
                    <a:pt x="70199" y="42185"/>
                    <a:pt x="71914" y="44185"/>
                  </a:cubicBezTo>
                  <a:cubicBezTo>
                    <a:pt x="75152" y="47424"/>
                    <a:pt x="78391" y="50472"/>
                    <a:pt x="81534" y="52948"/>
                  </a:cubicBezTo>
                  <a:cubicBezTo>
                    <a:pt x="87440" y="57235"/>
                    <a:pt x="86963" y="56187"/>
                    <a:pt x="92583" y="59235"/>
                  </a:cubicBezTo>
                  <a:cubicBezTo>
                    <a:pt x="92869" y="57425"/>
                    <a:pt x="93154" y="55711"/>
                    <a:pt x="93154" y="53710"/>
                  </a:cubicBezTo>
                  <a:cubicBezTo>
                    <a:pt x="93154" y="49900"/>
                    <a:pt x="92202" y="46186"/>
                    <a:pt x="91630" y="42661"/>
                  </a:cubicBezTo>
                  <a:cubicBezTo>
                    <a:pt x="90869" y="38851"/>
                    <a:pt x="89916" y="35137"/>
                    <a:pt x="88678" y="31898"/>
                  </a:cubicBezTo>
                  <a:cubicBezTo>
                    <a:pt x="87154" y="28088"/>
                    <a:pt x="86201" y="24659"/>
                    <a:pt x="84201" y="21325"/>
                  </a:cubicBezTo>
                  <a:cubicBezTo>
                    <a:pt x="82010" y="18087"/>
                    <a:pt x="79248" y="15801"/>
                    <a:pt x="76486" y="13039"/>
                  </a:cubicBezTo>
                  <a:cubicBezTo>
                    <a:pt x="73723" y="10276"/>
                    <a:pt x="70771" y="8276"/>
                    <a:pt x="67818" y="6276"/>
                  </a:cubicBezTo>
                  <a:cubicBezTo>
                    <a:pt x="64579" y="4276"/>
                    <a:pt x="61341" y="2466"/>
                    <a:pt x="57626" y="1513"/>
                  </a:cubicBezTo>
                  <a:cubicBezTo>
                    <a:pt x="54197" y="275"/>
                    <a:pt x="50482" y="466"/>
                    <a:pt x="46768" y="466"/>
                  </a:cubicBezTo>
                  <a:cubicBezTo>
                    <a:pt x="42767" y="466"/>
                    <a:pt x="39052" y="-582"/>
                    <a:pt x="35338" y="466"/>
                  </a:cubicBezTo>
                  <a:cubicBezTo>
                    <a:pt x="31909" y="1513"/>
                    <a:pt x="28670" y="3704"/>
                    <a:pt x="25432" y="5704"/>
                  </a:cubicBezTo>
                  <a:cubicBezTo>
                    <a:pt x="22193" y="7705"/>
                    <a:pt x="19717" y="10467"/>
                    <a:pt x="17050" y="13229"/>
                  </a:cubicBezTo>
                  <a:cubicBezTo>
                    <a:pt x="14288" y="15706"/>
                    <a:pt x="11144" y="17706"/>
                    <a:pt x="9144" y="21040"/>
                  </a:cubicBezTo>
                  <a:cubicBezTo>
                    <a:pt x="6953" y="24278"/>
                    <a:pt x="5715" y="27802"/>
                    <a:pt x="4191" y="31327"/>
                  </a:cubicBezTo>
                  <a:cubicBezTo>
                    <a:pt x="2953" y="34851"/>
                    <a:pt x="2667" y="38851"/>
                    <a:pt x="2000" y="42661"/>
                  </a:cubicBezTo>
                  <a:cubicBezTo>
                    <a:pt x="1238" y="46186"/>
                    <a:pt x="0" y="49900"/>
                    <a:pt x="0" y="53710"/>
                  </a:cubicBezTo>
                  <a:cubicBezTo>
                    <a:pt x="0" y="53996"/>
                    <a:pt x="95" y="54187"/>
                    <a:pt x="95" y="54472"/>
                  </a:cubicBezTo>
                  <a:cubicBezTo>
                    <a:pt x="1810" y="57711"/>
                    <a:pt x="4096" y="60378"/>
                    <a:pt x="5715" y="62950"/>
                  </a:cubicBezTo>
                  <a:cubicBezTo>
                    <a:pt x="8001" y="66379"/>
                    <a:pt x="9239" y="69903"/>
                    <a:pt x="11430" y="72475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4A0E9CA8-9DE8-1016-0BA2-0AF184F65E56}"/>
                </a:ext>
              </a:extLst>
            </p:cNvPr>
            <p:cNvSpPr/>
            <p:nvPr/>
          </p:nvSpPr>
          <p:spPr>
            <a:xfrm>
              <a:off x="6052954" y="4933876"/>
              <a:ext cx="20459" cy="27910"/>
            </a:xfrm>
            <a:custGeom>
              <a:avLst/>
              <a:gdLst>
                <a:gd name="connsiteX0" fmla="*/ 4088 w 14015"/>
                <a:gd name="connsiteY0" fmla="*/ 18838 h 19119"/>
                <a:gd name="connsiteX1" fmla="*/ 13041 w 14015"/>
                <a:gd name="connsiteY1" fmla="*/ 12075 h 19119"/>
                <a:gd name="connsiteX2" fmla="*/ 11041 w 14015"/>
                <a:gd name="connsiteY2" fmla="*/ 264 h 19119"/>
                <a:gd name="connsiteX3" fmla="*/ 849 w 14015"/>
                <a:gd name="connsiteY3" fmla="*/ 7313 h 19119"/>
                <a:gd name="connsiteX4" fmla="*/ 4088 w 14015"/>
                <a:gd name="connsiteY4" fmla="*/ 18838 h 19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15" h="19119">
                  <a:moveTo>
                    <a:pt x="4088" y="18838"/>
                  </a:moveTo>
                  <a:cubicBezTo>
                    <a:pt x="7326" y="20076"/>
                    <a:pt x="11041" y="17124"/>
                    <a:pt x="13041" y="12075"/>
                  </a:cubicBezTo>
                  <a:cubicBezTo>
                    <a:pt x="14756" y="7027"/>
                    <a:pt x="14280" y="1503"/>
                    <a:pt x="11041" y="264"/>
                  </a:cubicBezTo>
                  <a:cubicBezTo>
                    <a:pt x="7803" y="-974"/>
                    <a:pt x="2850" y="2265"/>
                    <a:pt x="849" y="7313"/>
                  </a:cubicBezTo>
                  <a:cubicBezTo>
                    <a:pt x="-1151" y="12552"/>
                    <a:pt x="564" y="17600"/>
                    <a:pt x="4088" y="18838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23DDCAD0-F57E-6127-6B2A-C58651113BC6}"/>
                </a:ext>
              </a:extLst>
            </p:cNvPr>
            <p:cNvSpPr/>
            <p:nvPr/>
          </p:nvSpPr>
          <p:spPr>
            <a:xfrm>
              <a:off x="6083950" y="4951549"/>
              <a:ext cx="53164" cy="54462"/>
            </a:xfrm>
            <a:custGeom>
              <a:avLst/>
              <a:gdLst>
                <a:gd name="connsiteX0" fmla="*/ 4096 w 36418"/>
                <a:gd name="connsiteY0" fmla="*/ 32831 h 37307"/>
                <a:gd name="connsiteX1" fmla="*/ 14002 w 36418"/>
                <a:gd name="connsiteY1" fmla="*/ 37308 h 37307"/>
                <a:gd name="connsiteX2" fmla="*/ 23908 w 36418"/>
                <a:gd name="connsiteY2" fmla="*/ 33307 h 37307"/>
                <a:gd name="connsiteX3" fmla="*/ 32290 w 36418"/>
                <a:gd name="connsiteY3" fmla="*/ 26544 h 37307"/>
                <a:gd name="connsiteX4" fmla="*/ 34004 w 36418"/>
                <a:gd name="connsiteY4" fmla="*/ 19020 h 37307"/>
                <a:gd name="connsiteX5" fmla="*/ 23813 w 36418"/>
                <a:gd name="connsiteY5" fmla="*/ 19496 h 37307"/>
                <a:gd name="connsiteX6" fmla="*/ 15145 w 36418"/>
                <a:gd name="connsiteY6" fmla="*/ 13686 h 37307"/>
                <a:gd name="connsiteX7" fmla="*/ 7239 w 36418"/>
                <a:gd name="connsiteY7" fmla="*/ 7399 h 37307"/>
                <a:gd name="connsiteX8" fmla="*/ 286 w 36418"/>
                <a:gd name="connsiteY8" fmla="*/ 160 h 37307"/>
                <a:gd name="connsiteX9" fmla="*/ 0 w 36418"/>
                <a:gd name="connsiteY9" fmla="*/ 10923 h 37307"/>
                <a:gd name="connsiteX10" fmla="*/ 762 w 36418"/>
                <a:gd name="connsiteY10" fmla="*/ 21972 h 37307"/>
                <a:gd name="connsiteX11" fmla="*/ 4096 w 36418"/>
                <a:gd name="connsiteY11" fmla="*/ 32831 h 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18" h="37307">
                  <a:moveTo>
                    <a:pt x="4096" y="32831"/>
                  </a:moveTo>
                  <a:cubicBezTo>
                    <a:pt x="6572" y="36641"/>
                    <a:pt x="10573" y="37308"/>
                    <a:pt x="14002" y="37308"/>
                  </a:cubicBezTo>
                  <a:cubicBezTo>
                    <a:pt x="17431" y="37308"/>
                    <a:pt x="20669" y="35307"/>
                    <a:pt x="23908" y="33307"/>
                  </a:cubicBezTo>
                  <a:cubicBezTo>
                    <a:pt x="27146" y="31307"/>
                    <a:pt x="30099" y="29021"/>
                    <a:pt x="32290" y="26544"/>
                  </a:cubicBezTo>
                  <a:cubicBezTo>
                    <a:pt x="36481" y="21782"/>
                    <a:pt x="38195" y="17496"/>
                    <a:pt x="34004" y="19020"/>
                  </a:cubicBezTo>
                  <a:cubicBezTo>
                    <a:pt x="30766" y="20067"/>
                    <a:pt x="27337" y="20734"/>
                    <a:pt x="23813" y="19496"/>
                  </a:cubicBezTo>
                  <a:cubicBezTo>
                    <a:pt x="20860" y="18448"/>
                    <a:pt x="18097" y="15686"/>
                    <a:pt x="15145" y="13686"/>
                  </a:cubicBezTo>
                  <a:cubicBezTo>
                    <a:pt x="12382" y="11685"/>
                    <a:pt x="9430" y="9685"/>
                    <a:pt x="7239" y="7399"/>
                  </a:cubicBezTo>
                  <a:cubicBezTo>
                    <a:pt x="3048" y="3399"/>
                    <a:pt x="5239" y="-888"/>
                    <a:pt x="286" y="160"/>
                  </a:cubicBezTo>
                  <a:cubicBezTo>
                    <a:pt x="0" y="4446"/>
                    <a:pt x="0" y="7685"/>
                    <a:pt x="0" y="10923"/>
                  </a:cubicBezTo>
                  <a:cubicBezTo>
                    <a:pt x="0" y="15210"/>
                    <a:pt x="0" y="18924"/>
                    <a:pt x="762" y="21972"/>
                  </a:cubicBezTo>
                  <a:cubicBezTo>
                    <a:pt x="1619" y="26830"/>
                    <a:pt x="2381" y="30640"/>
                    <a:pt x="4096" y="32831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5D62D008-AF8A-1B8D-61D9-4DC840455573}"/>
                </a:ext>
              </a:extLst>
            </p:cNvPr>
            <p:cNvSpPr/>
            <p:nvPr/>
          </p:nvSpPr>
          <p:spPr>
            <a:xfrm>
              <a:off x="6046824" y="4927587"/>
              <a:ext cx="139" cy="139"/>
            </a:xfrm>
            <a:custGeom>
              <a:avLst/>
              <a:gdLst>
                <a:gd name="connsiteX0" fmla="*/ 95 w 95"/>
                <a:gd name="connsiteY0" fmla="*/ 95 h 95"/>
                <a:gd name="connsiteX1" fmla="*/ 0 w 95"/>
                <a:gd name="connsiteY1" fmla="*/ 0 h 95"/>
                <a:gd name="connsiteX2" fmla="*/ 0 w 95"/>
                <a:gd name="connsiteY2" fmla="*/ 95 h 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" h="95">
                  <a:moveTo>
                    <a:pt x="95" y="95"/>
                  </a:moveTo>
                  <a:lnTo>
                    <a:pt x="0" y="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5793BED7-86BA-7D38-AD77-452CCBBA328F}"/>
                </a:ext>
              </a:extLst>
            </p:cNvPr>
            <p:cNvSpPr/>
            <p:nvPr/>
          </p:nvSpPr>
          <p:spPr>
            <a:xfrm>
              <a:off x="5515104" y="4324462"/>
              <a:ext cx="247475" cy="410960"/>
            </a:xfrm>
            <a:custGeom>
              <a:avLst/>
              <a:gdLst>
                <a:gd name="connsiteX0" fmla="*/ 56102 w 169524"/>
                <a:gd name="connsiteY0" fmla="*/ 173120 h 281514"/>
                <a:gd name="connsiteX1" fmla="*/ 51435 w 169524"/>
                <a:gd name="connsiteY1" fmla="*/ 183693 h 281514"/>
                <a:gd name="connsiteX2" fmla="*/ 47720 w 169524"/>
                <a:gd name="connsiteY2" fmla="*/ 194456 h 281514"/>
                <a:gd name="connsiteX3" fmla="*/ 44291 w 169524"/>
                <a:gd name="connsiteY3" fmla="*/ 205219 h 281514"/>
                <a:gd name="connsiteX4" fmla="*/ 40291 w 169524"/>
                <a:gd name="connsiteY4" fmla="*/ 215982 h 281514"/>
                <a:gd name="connsiteX5" fmla="*/ 35814 w 169524"/>
                <a:gd name="connsiteY5" fmla="*/ 226746 h 281514"/>
                <a:gd name="connsiteX6" fmla="*/ 31814 w 169524"/>
                <a:gd name="connsiteY6" fmla="*/ 237318 h 281514"/>
                <a:gd name="connsiteX7" fmla="*/ 27337 w 169524"/>
                <a:gd name="connsiteY7" fmla="*/ 247891 h 281514"/>
                <a:gd name="connsiteX8" fmla="*/ 18383 w 169524"/>
                <a:gd name="connsiteY8" fmla="*/ 268941 h 281514"/>
                <a:gd name="connsiteX9" fmla="*/ 0 w 169524"/>
                <a:gd name="connsiteY9" fmla="*/ 275228 h 281514"/>
                <a:gd name="connsiteX10" fmla="*/ 29528 w 169524"/>
                <a:gd name="connsiteY10" fmla="*/ 281514 h 281514"/>
                <a:gd name="connsiteX11" fmla="*/ 45910 w 169524"/>
                <a:gd name="connsiteY11" fmla="*/ 251892 h 281514"/>
                <a:gd name="connsiteX12" fmla="*/ 49625 w 169524"/>
                <a:gd name="connsiteY12" fmla="*/ 241128 h 281514"/>
                <a:gd name="connsiteX13" fmla="*/ 53054 w 169524"/>
                <a:gd name="connsiteY13" fmla="*/ 230365 h 281514"/>
                <a:gd name="connsiteX14" fmla="*/ 57531 w 169524"/>
                <a:gd name="connsiteY14" fmla="*/ 220078 h 281514"/>
                <a:gd name="connsiteX15" fmla="*/ 62198 w 169524"/>
                <a:gd name="connsiteY15" fmla="*/ 209791 h 281514"/>
                <a:gd name="connsiteX16" fmla="*/ 66675 w 169524"/>
                <a:gd name="connsiteY16" fmla="*/ 199504 h 281514"/>
                <a:gd name="connsiteX17" fmla="*/ 69914 w 169524"/>
                <a:gd name="connsiteY17" fmla="*/ 188741 h 281514"/>
                <a:gd name="connsiteX18" fmla="*/ 68199 w 169524"/>
                <a:gd name="connsiteY18" fmla="*/ 199504 h 281514"/>
                <a:gd name="connsiteX19" fmla="*/ 64770 w 169524"/>
                <a:gd name="connsiteY19" fmla="*/ 210077 h 281514"/>
                <a:gd name="connsiteX20" fmla="*/ 62770 w 169524"/>
                <a:gd name="connsiteY20" fmla="*/ 221126 h 281514"/>
                <a:gd name="connsiteX21" fmla="*/ 61055 w 169524"/>
                <a:gd name="connsiteY21" fmla="*/ 231889 h 281514"/>
                <a:gd name="connsiteX22" fmla="*/ 58293 w 169524"/>
                <a:gd name="connsiteY22" fmla="*/ 242652 h 281514"/>
                <a:gd name="connsiteX23" fmla="*/ 52006 w 169524"/>
                <a:gd name="connsiteY23" fmla="*/ 247320 h 281514"/>
                <a:gd name="connsiteX24" fmla="*/ 102394 w 169524"/>
                <a:gd name="connsiteY24" fmla="*/ 246939 h 281514"/>
                <a:gd name="connsiteX25" fmla="*/ 128873 w 169524"/>
                <a:gd name="connsiteY25" fmla="*/ 246748 h 281514"/>
                <a:gd name="connsiteX26" fmla="*/ 131540 w 169524"/>
                <a:gd name="connsiteY26" fmla="*/ 216173 h 281514"/>
                <a:gd name="connsiteX27" fmla="*/ 131636 w 169524"/>
                <a:gd name="connsiteY27" fmla="*/ 215316 h 281514"/>
                <a:gd name="connsiteX28" fmla="*/ 134398 w 169524"/>
                <a:gd name="connsiteY28" fmla="*/ 204743 h 281514"/>
                <a:gd name="connsiteX29" fmla="*/ 135160 w 169524"/>
                <a:gd name="connsiteY29" fmla="*/ 193694 h 281514"/>
                <a:gd name="connsiteX30" fmla="*/ 137160 w 169524"/>
                <a:gd name="connsiteY30" fmla="*/ 182931 h 281514"/>
                <a:gd name="connsiteX31" fmla="*/ 138398 w 169524"/>
                <a:gd name="connsiteY31" fmla="*/ 172167 h 281514"/>
                <a:gd name="connsiteX32" fmla="*/ 140113 w 169524"/>
                <a:gd name="connsiteY32" fmla="*/ 161404 h 281514"/>
                <a:gd name="connsiteX33" fmla="*/ 140589 w 169524"/>
                <a:gd name="connsiteY33" fmla="*/ 150355 h 281514"/>
                <a:gd name="connsiteX34" fmla="*/ 142780 w 169524"/>
                <a:gd name="connsiteY34" fmla="*/ 139782 h 281514"/>
                <a:gd name="connsiteX35" fmla="*/ 144304 w 169524"/>
                <a:gd name="connsiteY35" fmla="*/ 128733 h 281514"/>
                <a:gd name="connsiteX36" fmla="*/ 146018 w 169524"/>
                <a:gd name="connsiteY36" fmla="*/ 117970 h 281514"/>
                <a:gd name="connsiteX37" fmla="*/ 146495 w 169524"/>
                <a:gd name="connsiteY37" fmla="*/ 107207 h 281514"/>
                <a:gd name="connsiteX38" fmla="*/ 148685 w 169524"/>
                <a:gd name="connsiteY38" fmla="*/ 96444 h 281514"/>
                <a:gd name="connsiteX39" fmla="*/ 150209 w 169524"/>
                <a:gd name="connsiteY39" fmla="*/ 85680 h 281514"/>
                <a:gd name="connsiteX40" fmla="*/ 152686 w 169524"/>
                <a:gd name="connsiteY40" fmla="*/ 74917 h 281514"/>
                <a:gd name="connsiteX41" fmla="*/ 154210 w 169524"/>
                <a:gd name="connsiteY41" fmla="*/ 64154 h 281514"/>
                <a:gd name="connsiteX42" fmla="*/ 156972 w 169524"/>
                <a:gd name="connsiteY42" fmla="*/ 53391 h 281514"/>
                <a:gd name="connsiteX43" fmla="*/ 158496 w 169524"/>
                <a:gd name="connsiteY43" fmla="*/ 42627 h 281514"/>
                <a:gd name="connsiteX44" fmla="*/ 160211 w 169524"/>
                <a:gd name="connsiteY44" fmla="*/ 31864 h 281514"/>
                <a:gd name="connsiteX45" fmla="*/ 162401 w 169524"/>
                <a:gd name="connsiteY45" fmla="*/ 21101 h 281514"/>
                <a:gd name="connsiteX46" fmla="*/ 167069 w 169524"/>
                <a:gd name="connsiteY46" fmla="*/ 11576 h 281514"/>
                <a:gd name="connsiteX47" fmla="*/ 168593 w 169524"/>
                <a:gd name="connsiteY47" fmla="*/ 813 h 281514"/>
                <a:gd name="connsiteX48" fmla="*/ 160211 w 169524"/>
                <a:gd name="connsiteY48" fmla="*/ 6051 h 281514"/>
                <a:gd name="connsiteX49" fmla="*/ 154496 w 169524"/>
                <a:gd name="connsiteY49" fmla="*/ 15576 h 281514"/>
                <a:gd name="connsiteX50" fmla="*/ 151733 w 169524"/>
                <a:gd name="connsiteY50" fmla="*/ 26340 h 281514"/>
                <a:gd name="connsiteX51" fmla="*/ 147256 w 169524"/>
                <a:gd name="connsiteY51" fmla="*/ 36912 h 281514"/>
                <a:gd name="connsiteX52" fmla="*/ 145066 w 169524"/>
                <a:gd name="connsiteY52" fmla="*/ 47961 h 281514"/>
                <a:gd name="connsiteX53" fmla="*/ 142589 w 169524"/>
                <a:gd name="connsiteY53" fmla="*/ 59010 h 281514"/>
                <a:gd name="connsiteX54" fmla="*/ 140113 w 169524"/>
                <a:gd name="connsiteY54" fmla="*/ 70059 h 281514"/>
                <a:gd name="connsiteX55" fmla="*/ 137636 w 169524"/>
                <a:gd name="connsiteY55" fmla="*/ 81108 h 281514"/>
                <a:gd name="connsiteX56" fmla="*/ 135922 w 169524"/>
                <a:gd name="connsiteY56" fmla="*/ 92157 h 281514"/>
                <a:gd name="connsiteX57" fmla="*/ 133445 w 169524"/>
                <a:gd name="connsiteY57" fmla="*/ 103206 h 281514"/>
                <a:gd name="connsiteX58" fmla="*/ 131445 w 169524"/>
                <a:gd name="connsiteY58" fmla="*/ 114541 h 281514"/>
                <a:gd name="connsiteX59" fmla="*/ 129731 w 169524"/>
                <a:gd name="connsiteY59" fmla="*/ 125590 h 281514"/>
                <a:gd name="connsiteX60" fmla="*/ 126492 w 169524"/>
                <a:gd name="connsiteY60" fmla="*/ 91491 h 281514"/>
                <a:gd name="connsiteX61" fmla="*/ 125825 w 169524"/>
                <a:gd name="connsiteY61" fmla="*/ 92348 h 281514"/>
                <a:gd name="connsiteX62" fmla="*/ 126778 w 169524"/>
                <a:gd name="connsiteY62" fmla="*/ 99587 h 281514"/>
                <a:gd name="connsiteX63" fmla="*/ 126016 w 169524"/>
                <a:gd name="connsiteY63" fmla="*/ 110636 h 281514"/>
                <a:gd name="connsiteX64" fmla="*/ 121825 w 169524"/>
                <a:gd name="connsiteY64" fmla="*/ 120923 h 281514"/>
                <a:gd name="connsiteX65" fmla="*/ 117634 w 169524"/>
                <a:gd name="connsiteY65" fmla="*/ 130734 h 281514"/>
                <a:gd name="connsiteX66" fmla="*/ 111443 w 169524"/>
                <a:gd name="connsiteY66" fmla="*/ 139782 h 281514"/>
                <a:gd name="connsiteX67" fmla="*/ 103537 w 169524"/>
                <a:gd name="connsiteY67" fmla="*/ 147021 h 281514"/>
                <a:gd name="connsiteX68" fmla="*/ 93631 w 169524"/>
                <a:gd name="connsiteY68" fmla="*/ 151308 h 281514"/>
                <a:gd name="connsiteX69" fmla="*/ 83249 w 169524"/>
                <a:gd name="connsiteY69" fmla="*/ 152832 h 281514"/>
                <a:gd name="connsiteX70" fmla="*/ 72581 w 169524"/>
                <a:gd name="connsiteY70" fmla="*/ 151593 h 281514"/>
                <a:gd name="connsiteX71" fmla="*/ 63151 w 169524"/>
                <a:gd name="connsiteY71" fmla="*/ 146831 h 281514"/>
                <a:gd name="connsiteX72" fmla="*/ 59341 w 169524"/>
                <a:gd name="connsiteY72" fmla="*/ 143688 h 281514"/>
                <a:gd name="connsiteX73" fmla="*/ 37243 w 169524"/>
                <a:gd name="connsiteY73" fmla="*/ 187788 h 281514"/>
                <a:gd name="connsiteX74" fmla="*/ 59436 w 169524"/>
                <a:gd name="connsiteY74" fmla="*/ 162357 h 281514"/>
                <a:gd name="connsiteX75" fmla="*/ 56102 w 169524"/>
                <a:gd name="connsiteY75" fmla="*/ 173120 h 281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169524" h="281514">
                  <a:moveTo>
                    <a:pt x="56102" y="173120"/>
                  </a:moveTo>
                  <a:cubicBezTo>
                    <a:pt x="54864" y="176168"/>
                    <a:pt x="52864" y="179692"/>
                    <a:pt x="51435" y="183693"/>
                  </a:cubicBezTo>
                  <a:cubicBezTo>
                    <a:pt x="50197" y="186931"/>
                    <a:pt x="48958" y="190741"/>
                    <a:pt x="47720" y="194456"/>
                  </a:cubicBezTo>
                  <a:cubicBezTo>
                    <a:pt x="46482" y="197980"/>
                    <a:pt x="45530" y="201695"/>
                    <a:pt x="44291" y="205219"/>
                  </a:cubicBezTo>
                  <a:cubicBezTo>
                    <a:pt x="42767" y="208743"/>
                    <a:pt x="41815" y="212458"/>
                    <a:pt x="40291" y="215982"/>
                  </a:cubicBezTo>
                  <a:cubicBezTo>
                    <a:pt x="39053" y="219792"/>
                    <a:pt x="37338" y="223031"/>
                    <a:pt x="35814" y="226746"/>
                  </a:cubicBezTo>
                  <a:cubicBezTo>
                    <a:pt x="34576" y="230270"/>
                    <a:pt x="33052" y="233794"/>
                    <a:pt x="31814" y="237318"/>
                  </a:cubicBezTo>
                  <a:cubicBezTo>
                    <a:pt x="30290" y="241128"/>
                    <a:pt x="28861" y="244557"/>
                    <a:pt x="27337" y="247891"/>
                  </a:cubicBezTo>
                  <a:cubicBezTo>
                    <a:pt x="26003" y="251606"/>
                    <a:pt x="19526" y="266084"/>
                    <a:pt x="18383" y="268941"/>
                  </a:cubicBezTo>
                  <a:lnTo>
                    <a:pt x="0" y="275228"/>
                  </a:lnTo>
                  <a:lnTo>
                    <a:pt x="29528" y="281514"/>
                  </a:lnTo>
                  <a:cubicBezTo>
                    <a:pt x="31052" y="278562"/>
                    <a:pt x="44482" y="255130"/>
                    <a:pt x="45910" y="251892"/>
                  </a:cubicBezTo>
                  <a:cubicBezTo>
                    <a:pt x="47434" y="248653"/>
                    <a:pt x="48101" y="244653"/>
                    <a:pt x="49625" y="241128"/>
                  </a:cubicBezTo>
                  <a:cubicBezTo>
                    <a:pt x="51149" y="237890"/>
                    <a:pt x="51626" y="233889"/>
                    <a:pt x="53054" y="230365"/>
                  </a:cubicBezTo>
                  <a:cubicBezTo>
                    <a:pt x="54293" y="226841"/>
                    <a:pt x="56007" y="223602"/>
                    <a:pt x="57531" y="220078"/>
                  </a:cubicBezTo>
                  <a:cubicBezTo>
                    <a:pt x="59055" y="216268"/>
                    <a:pt x="60960" y="213030"/>
                    <a:pt x="62198" y="209791"/>
                  </a:cubicBezTo>
                  <a:cubicBezTo>
                    <a:pt x="63722" y="205791"/>
                    <a:pt x="65437" y="202552"/>
                    <a:pt x="66675" y="199504"/>
                  </a:cubicBezTo>
                  <a:cubicBezTo>
                    <a:pt x="68866" y="192932"/>
                    <a:pt x="70676" y="182931"/>
                    <a:pt x="69914" y="188741"/>
                  </a:cubicBezTo>
                  <a:cubicBezTo>
                    <a:pt x="69437" y="193980"/>
                    <a:pt x="69437" y="194265"/>
                    <a:pt x="68199" y="199504"/>
                  </a:cubicBezTo>
                  <a:cubicBezTo>
                    <a:pt x="67247" y="205029"/>
                    <a:pt x="66008" y="204743"/>
                    <a:pt x="64770" y="210077"/>
                  </a:cubicBezTo>
                  <a:cubicBezTo>
                    <a:pt x="63818" y="215601"/>
                    <a:pt x="63818" y="215601"/>
                    <a:pt x="62770" y="221126"/>
                  </a:cubicBezTo>
                  <a:cubicBezTo>
                    <a:pt x="61531" y="226365"/>
                    <a:pt x="62294" y="226650"/>
                    <a:pt x="61055" y="231889"/>
                  </a:cubicBezTo>
                  <a:cubicBezTo>
                    <a:pt x="59817" y="237414"/>
                    <a:pt x="59341" y="237128"/>
                    <a:pt x="58293" y="242652"/>
                  </a:cubicBezTo>
                  <a:lnTo>
                    <a:pt x="52006" y="247320"/>
                  </a:lnTo>
                  <a:cubicBezTo>
                    <a:pt x="68771" y="247224"/>
                    <a:pt x="85630" y="247034"/>
                    <a:pt x="102394" y="246939"/>
                  </a:cubicBezTo>
                  <a:lnTo>
                    <a:pt x="128873" y="246748"/>
                  </a:lnTo>
                  <a:lnTo>
                    <a:pt x="131540" y="216173"/>
                  </a:lnTo>
                  <a:cubicBezTo>
                    <a:pt x="131540" y="215887"/>
                    <a:pt x="131540" y="215601"/>
                    <a:pt x="131636" y="215316"/>
                  </a:cubicBezTo>
                  <a:cubicBezTo>
                    <a:pt x="132112" y="212077"/>
                    <a:pt x="133826" y="208553"/>
                    <a:pt x="134398" y="204743"/>
                  </a:cubicBezTo>
                  <a:cubicBezTo>
                    <a:pt x="134874" y="201219"/>
                    <a:pt x="134684" y="197504"/>
                    <a:pt x="135160" y="193694"/>
                  </a:cubicBezTo>
                  <a:cubicBezTo>
                    <a:pt x="135636" y="190170"/>
                    <a:pt x="136684" y="186645"/>
                    <a:pt x="137160" y="182931"/>
                  </a:cubicBezTo>
                  <a:cubicBezTo>
                    <a:pt x="137636" y="179406"/>
                    <a:pt x="137922" y="175882"/>
                    <a:pt x="138398" y="172167"/>
                  </a:cubicBezTo>
                  <a:cubicBezTo>
                    <a:pt x="138875" y="168643"/>
                    <a:pt x="139637" y="165119"/>
                    <a:pt x="140113" y="161404"/>
                  </a:cubicBezTo>
                  <a:cubicBezTo>
                    <a:pt x="140589" y="157880"/>
                    <a:pt x="140113" y="154165"/>
                    <a:pt x="140589" y="150355"/>
                  </a:cubicBezTo>
                  <a:cubicBezTo>
                    <a:pt x="141065" y="146831"/>
                    <a:pt x="142304" y="143307"/>
                    <a:pt x="142780" y="139782"/>
                  </a:cubicBezTo>
                  <a:cubicBezTo>
                    <a:pt x="143256" y="135972"/>
                    <a:pt x="143732" y="132543"/>
                    <a:pt x="144304" y="128733"/>
                  </a:cubicBezTo>
                  <a:cubicBezTo>
                    <a:pt x="144780" y="125209"/>
                    <a:pt x="145542" y="121685"/>
                    <a:pt x="146018" y="117970"/>
                  </a:cubicBezTo>
                  <a:cubicBezTo>
                    <a:pt x="146780" y="114446"/>
                    <a:pt x="146018" y="110731"/>
                    <a:pt x="146495" y="107207"/>
                  </a:cubicBezTo>
                  <a:cubicBezTo>
                    <a:pt x="146971" y="103397"/>
                    <a:pt x="148019" y="99968"/>
                    <a:pt x="148685" y="96444"/>
                  </a:cubicBezTo>
                  <a:cubicBezTo>
                    <a:pt x="149162" y="92634"/>
                    <a:pt x="149638" y="89205"/>
                    <a:pt x="150209" y="85680"/>
                  </a:cubicBezTo>
                  <a:cubicBezTo>
                    <a:pt x="150971" y="81870"/>
                    <a:pt x="152210" y="78441"/>
                    <a:pt x="152686" y="74917"/>
                  </a:cubicBezTo>
                  <a:cubicBezTo>
                    <a:pt x="153448" y="71107"/>
                    <a:pt x="153448" y="67678"/>
                    <a:pt x="154210" y="64154"/>
                  </a:cubicBezTo>
                  <a:cubicBezTo>
                    <a:pt x="154686" y="60344"/>
                    <a:pt x="156210" y="56915"/>
                    <a:pt x="156972" y="53391"/>
                  </a:cubicBezTo>
                  <a:cubicBezTo>
                    <a:pt x="157448" y="49581"/>
                    <a:pt x="157734" y="46152"/>
                    <a:pt x="158496" y="42627"/>
                  </a:cubicBezTo>
                  <a:cubicBezTo>
                    <a:pt x="159258" y="38817"/>
                    <a:pt x="159449" y="35103"/>
                    <a:pt x="160211" y="31864"/>
                  </a:cubicBezTo>
                  <a:cubicBezTo>
                    <a:pt x="160973" y="27864"/>
                    <a:pt x="161735" y="24054"/>
                    <a:pt x="162401" y="21101"/>
                  </a:cubicBezTo>
                  <a:cubicBezTo>
                    <a:pt x="163640" y="16053"/>
                    <a:pt x="165830" y="13100"/>
                    <a:pt x="167069" y="11576"/>
                  </a:cubicBezTo>
                  <a:cubicBezTo>
                    <a:pt x="170021" y="7575"/>
                    <a:pt x="170021" y="2527"/>
                    <a:pt x="168593" y="813"/>
                  </a:cubicBezTo>
                  <a:cubicBezTo>
                    <a:pt x="167069" y="-902"/>
                    <a:pt x="164402" y="-235"/>
                    <a:pt x="160211" y="6051"/>
                  </a:cubicBezTo>
                  <a:cubicBezTo>
                    <a:pt x="158687" y="8337"/>
                    <a:pt x="156496" y="11290"/>
                    <a:pt x="154496" y="15576"/>
                  </a:cubicBezTo>
                  <a:cubicBezTo>
                    <a:pt x="153257" y="18243"/>
                    <a:pt x="153257" y="22339"/>
                    <a:pt x="151733" y="26340"/>
                  </a:cubicBezTo>
                  <a:cubicBezTo>
                    <a:pt x="150781" y="29578"/>
                    <a:pt x="148495" y="32912"/>
                    <a:pt x="147256" y="36912"/>
                  </a:cubicBezTo>
                  <a:cubicBezTo>
                    <a:pt x="146304" y="40151"/>
                    <a:pt x="146018" y="44151"/>
                    <a:pt x="145066" y="47961"/>
                  </a:cubicBezTo>
                  <a:cubicBezTo>
                    <a:pt x="144304" y="51486"/>
                    <a:pt x="143351" y="55010"/>
                    <a:pt x="142589" y="59010"/>
                  </a:cubicBezTo>
                  <a:cubicBezTo>
                    <a:pt x="141827" y="62535"/>
                    <a:pt x="141065" y="66059"/>
                    <a:pt x="140113" y="70059"/>
                  </a:cubicBezTo>
                  <a:cubicBezTo>
                    <a:pt x="139351" y="73584"/>
                    <a:pt x="138398" y="77108"/>
                    <a:pt x="137636" y="81108"/>
                  </a:cubicBezTo>
                  <a:cubicBezTo>
                    <a:pt x="136874" y="84633"/>
                    <a:pt x="136398" y="88347"/>
                    <a:pt x="135922" y="92157"/>
                  </a:cubicBezTo>
                  <a:cubicBezTo>
                    <a:pt x="135160" y="95682"/>
                    <a:pt x="134207" y="99396"/>
                    <a:pt x="133445" y="103206"/>
                  </a:cubicBezTo>
                  <a:cubicBezTo>
                    <a:pt x="132969" y="107016"/>
                    <a:pt x="131921" y="110445"/>
                    <a:pt x="131445" y="114541"/>
                  </a:cubicBezTo>
                  <a:cubicBezTo>
                    <a:pt x="130969" y="118065"/>
                    <a:pt x="130207" y="121780"/>
                    <a:pt x="129731" y="125590"/>
                  </a:cubicBezTo>
                  <a:lnTo>
                    <a:pt x="126492" y="91491"/>
                  </a:lnTo>
                  <a:cubicBezTo>
                    <a:pt x="126302" y="91776"/>
                    <a:pt x="126016" y="92062"/>
                    <a:pt x="125825" y="92348"/>
                  </a:cubicBezTo>
                  <a:cubicBezTo>
                    <a:pt x="126302" y="94729"/>
                    <a:pt x="126778" y="97015"/>
                    <a:pt x="126778" y="99587"/>
                  </a:cubicBezTo>
                  <a:cubicBezTo>
                    <a:pt x="126778" y="103397"/>
                    <a:pt x="126492" y="107112"/>
                    <a:pt x="126016" y="110636"/>
                  </a:cubicBezTo>
                  <a:cubicBezTo>
                    <a:pt x="125540" y="114446"/>
                    <a:pt x="123063" y="117684"/>
                    <a:pt x="121825" y="120923"/>
                  </a:cubicBezTo>
                  <a:cubicBezTo>
                    <a:pt x="120587" y="124447"/>
                    <a:pt x="119348" y="127686"/>
                    <a:pt x="117634" y="130734"/>
                  </a:cubicBezTo>
                  <a:cubicBezTo>
                    <a:pt x="115633" y="133972"/>
                    <a:pt x="113919" y="137020"/>
                    <a:pt x="111443" y="139782"/>
                  </a:cubicBezTo>
                  <a:cubicBezTo>
                    <a:pt x="108966" y="142545"/>
                    <a:pt x="106490" y="145307"/>
                    <a:pt x="103537" y="147021"/>
                  </a:cubicBezTo>
                  <a:cubicBezTo>
                    <a:pt x="100584" y="149307"/>
                    <a:pt x="97060" y="150260"/>
                    <a:pt x="93631" y="151308"/>
                  </a:cubicBezTo>
                  <a:cubicBezTo>
                    <a:pt x="90202" y="152355"/>
                    <a:pt x="86963" y="152832"/>
                    <a:pt x="83249" y="152832"/>
                  </a:cubicBezTo>
                  <a:cubicBezTo>
                    <a:pt x="79534" y="152832"/>
                    <a:pt x="76105" y="152546"/>
                    <a:pt x="72581" y="151593"/>
                  </a:cubicBezTo>
                  <a:cubicBezTo>
                    <a:pt x="69152" y="150546"/>
                    <a:pt x="66104" y="148831"/>
                    <a:pt x="63151" y="146831"/>
                  </a:cubicBezTo>
                  <a:cubicBezTo>
                    <a:pt x="61817" y="145878"/>
                    <a:pt x="60484" y="144831"/>
                    <a:pt x="59341" y="143688"/>
                  </a:cubicBezTo>
                  <a:lnTo>
                    <a:pt x="37243" y="187788"/>
                  </a:lnTo>
                  <a:lnTo>
                    <a:pt x="59436" y="162357"/>
                  </a:lnTo>
                  <a:cubicBezTo>
                    <a:pt x="57341" y="167595"/>
                    <a:pt x="58579" y="166643"/>
                    <a:pt x="56102" y="173120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1226DCAF-598A-ADEF-0971-145A04C5E06D}"/>
                </a:ext>
              </a:extLst>
            </p:cNvPr>
            <p:cNvSpPr/>
            <p:nvPr/>
          </p:nvSpPr>
          <p:spPr>
            <a:xfrm>
              <a:off x="5837592" y="4385578"/>
              <a:ext cx="173078" cy="421315"/>
            </a:xfrm>
            <a:custGeom>
              <a:avLst/>
              <a:gdLst>
                <a:gd name="connsiteX0" fmla="*/ 95416 w 118561"/>
                <a:gd name="connsiteY0" fmla="*/ 148781 h 288607"/>
                <a:gd name="connsiteX1" fmla="*/ 95702 w 118561"/>
                <a:gd name="connsiteY1" fmla="*/ 151067 h 288607"/>
                <a:gd name="connsiteX2" fmla="*/ 95321 w 118561"/>
                <a:gd name="connsiteY2" fmla="*/ 148781 h 288607"/>
                <a:gd name="connsiteX3" fmla="*/ 95416 w 118561"/>
                <a:gd name="connsiteY3" fmla="*/ 148781 h 288607"/>
                <a:gd name="connsiteX4" fmla="*/ 91415 w 118561"/>
                <a:gd name="connsiteY4" fmla="*/ 116014 h 288607"/>
                <a:gd name="connsiteX5" fmla="*/ 74461 w 118561"/>
                <a:gd name="connsiteY5" fmla="*/ 50768 h 288607"/>
                <a:gd name="connsiteX6" fmla="*/ 75223 w 118561"/>
                <a:gd name="connsiteY6" fmla="*/ 50483 h 288607"/>
                <a:gd name="connsiteX7" fmla="*/ 118562 w 118561"/>
                <a:gd name="connsiteY7" fmla="*/ 42577 h 288607"/>
                <a:gd name="connsiteX8" fmla="*/ 117038 w 118561"/>
                <a:gd name="connsiteY8" fmla="*/ 40767 h 288607"/>
                <a:gd name="connsiteX9" fmla="*/ 95035 w 118561"/>
                <a:gd name="connsiteY9" fmla="*/ 16288 h 288607"/>
                <a:gd name="connsiteX10" fmla="*/ 94559 w 118561"/>
                <a:gd name="connsiteY10" fmla="*/ 16002 h 288607"/>
                <a:gd name="connsiteX11" fmla="*/ 93511 w 118561"/>
                <a:gd name="connsiteY11" fmla="*/ 17240 h 288607"/>
                <a:gd name="connsiteX12" fmla="*/ 86081 w 118561"/>
                <a:gd name="connsiteY12" fmla="*/ 24765 h 288607"/>
                <a:gd name="connsiteX13" fmla="*/ 77128 w 118561"/>
                <a:gd name="connsiteY13" fmla="*/ 30289 h 288607"/>
                <a:gd name="connsiteX14" fmla="*/ 66746 w 118561"/>
                <a:gd name="connsiteY14" fmla="*/ 31052 h 288607"/>
                <a:gd name="connsiteX15" fmla="*/ 56840 w 118561"/>
                <a:gd name="connsiteY15" fmla="*/ 29051 h 288607"/>
                <a:gd name="connsiteX16" fmla="*/ 47410 w 118561"/>
                <a:gd name="connsiteY16" fmla="*/ 24765 h 288607"/>
                <a:gd name="connsiteX17" fmla="*/ 40457 w 118561"/>
                <a:gd name="connsiteY17" fmla="*/ 16954 h 288607"/>
                <a:gd name="connsiteX18" fmla="*/ 34742 w 118561"/>
                <a:gd name="connsiteY18" fmla="*/ 8191 h 288607"/>
                <a:gd name="connsiteX19" fmla="*/ 30551 w 118561"/>
                <a:gd name="connsiteY19" fmla="*/ 0 h 288607"/>
                <a:gd name="connsiteX20" fmla="*/ 31884 w 118561"/>
                <a:gd name="connsiteY20" fmla="*/ 4096 h 288607"/>
                <a:gd name="connsiteX21" fmla="*/ 33694 w 118561"/>
                <a:gd name="connsiteY21" fmla="*/ 10287 h 288607"/>
                <a:gd name="connsiteX22" fmla="*/ 35694 w 118561"/>
                <a:gd name="connsiteY22" fmla="*/ 12764 h 288607"/>
                <a:gd name="connsiteX23" fmla="*/ 39599 w 118561"/>
                <a:gd name="connsiteY23" fmla="*/ 18478 h 288607"/>
                <a:gd name="connsiteX24" fmla="*/ 40933 w 118561"/>
                <a:gd name="connsiteY24" fmla="*/ 19812 h 288607"/>
                <a:gd name="connsiteX25" fmla="*/ 45981 w 118561"/>
                <a:gd name="connsiteY25" fmla="*/ 27527 h 288607"/>
                <a:gd name="connsiteX26" fmla="*/ 46362 w 118561"/>
                <a:gd name="connsiteY26" fmla="*/ 30861 h 288607"/>
                <a:gd name="connsiteX27" fmla="*/ 49124 w 118561"/>
                <a:gd name="connsiteY27" fmla="*/ 27908 h 288607"/>
                <a:gd name="connsiteX28" fmla="*/ 46267 w 118561"/>
                <a:gd name="connsiteY28" fmla="*/ 33623 h 288607"/>
                <a:gd name="connsiteX29" fmla="*/ 45981 w 118561"/>
                <a:gd name="connsiteY29" fmla="*/ 35909 h 288607"/>
                <a:gd name="connsiteX30" fmla="*/ 45981 w 118561"/>
                <a:gd name="connsiteY30" fmla="*/ 36004 h 288607"/>
                <a:gd name="connsiteX31" fmla="*/ 42076 w 118561"/>
                <a:gd name="connsiteY31" fmla="*/ 48673 h 288607"/>
                <a:gd name="connsiteX32" fmla="*/ 39028 w 118561"/>
                <a:gd name="connsiteY32" fmla="*/ 52197 h 288607"/>
                <a:gd name="connsiteX33" fmla="*/ 37313 w 118561"/>
                <a:gd name="connsiteY33" fmla="*/ 58102 h 288607"/>
                <a:gd name="connsiteX34" fmla="*/ 33122 w 118561"/>
                <a:gd name="connsiteY34" fmla="*/ 68389 h 288607"/>
                <a:gd name="connsiteX35" fmla="*/ 30360 w 118561"/>
                <a:gd name="connsiteY35" fmla="*/ 78962 h 288607"/>
                <a:gd name="connsiteX36" fmla="*/ 26645 w 118561"/>
                <a:gd name="connsiteY36" fmla="*/ 89249 h 288607"/>
                <a:gd name="connsiteX37" fmla="*/ 23407 w 118561"/>
                <a:gd name="connsiteY37" fmla="*/ 99536 h 288607"/>
                <a:gd name="connsiteX38" fmla="*/ 19978 w 118561"/>
                <a:gd name="connsiteY38" fmla="*/ 110109 h 288607"/>
                <a:gd name="connsiteX39" fmla="*/ 17787 w 118561"/>
                <a:gd name="connsiteY39" fmla="*/ 120872 h 288607"/>
                <a:gd name="connsiteX40" fmla="*/ 14358 w 118561"/>
                <a:gd name="connsiteY40" fmla="*/ 131159 h 288607"/>
                <a:gd name="connsiteX41" fmla="*/ 11882 w 118561"/>
                <a:gd name="connsiteY41" fmla="*/ 141732 h 288607"/>
                <a:gd name="connsiteX42" fmla="*/ 8929 w 118561"/>
                <a:gd name="connsiteY42" fmla="*/ 152305 h 288607"/>
                <a:gd name="connsiteX43" fmla="*/ 5214 w 118561"/>
                <a:gd name="connsiteY43" fmla="*/ 162592 h 288607"/>
                <a:gd name="connsiteX44" fmla="*/ 1785 w 118561"/>
                <a:gd name="connsiteY44" fmla="*/ 172879 h 288607"/>
                <a:gd name="connsiteX45" fmla="*/ 261 w 118561"/>
                <a:gd name="connsiteY45" fmla="*/ 183642 h 288607"/>
                <a:gd name="connsiteX46" fmla="*/ 5214 w 118561"/>
                <a:gd name="connsiteY46" fmla="*/ 173831 h 288607"/>
                <a:gd name="connsiteX47" fmla="*/ 10929 w 118561"/>
                <a:gd name="connsiteY47" fmla="*/ 164497 h 288607"/>
                <a:gd name="connsiteX48" fmla="*/ 15406 w 118561"/>
                <a:gd name="connsiteY48" fmla="*/ 154496 h 288607"/>
                <a:gd name="connsiteX49" fmla="*/ 19597 w 118561"/>
                <a:gd name="connsiteY49" fmla="*/ 144209 h 288607"/>
                <a:gd name="connsiteX50" fmla="*/ 25502 w 118561"/>
                <a:gd name="connsiteY50" fmla="*/ 135160 h 288607"/>
                <a:gd name="connsiteX51" fmla="*/ 28931 w 118561"/>
                <a:gd name="connsiteY51" fmla="*/ 124587 h 288607"/>
                <a:gd name="connsiteX52" fmla="*/ 34837 w 118561"/>
                <a:gd name="connsiteY52" fmla="*/ 115252 h 288607"/>
                <a:gd name="connsiteX53" fmla="*/ 38552 w 118561"/>
                <a:gd name="connsiteY53" fmla="*/ 104680 h 288607"/>
                <a:gd name="connsiteX54" fmla="*/ 44267 w 118561"/>
                <a:gd name="connsiteY54" fmla="*/ 95345 h 288607"/>
                <a:gd name="connsiteX55" fmla="*/ 49220 w 118561"/>
                <a:gd name="connsiteY55" fmla="*/ 85820 h 288607"/>
                <a:gd name="connsiteX56" fmla="*/ 53887 w 118561"/>
                <a:gd name="connsiteY56" fmla="*/ 75533 h 288607"/>
                <a:gd name="connsiteX57" fmla="*/ 52934 w 118561"/>
                <a:gd name="connsiteY57" fmla="*/ 86297 h 288607"/>
                <a:gd name="connsiteX58" fmla="*/ 50744 w 118561"/>
                <a:gd name="connsiteY58" fmla="*/ 96869 h 288607"/>
                <a:gd name="connsiteX59" fmla="*/ 50458 w 118561"/>
                <a:gd name="connsiteY59" fmla="*/ 107442 h 288607"/>
                <a:gd name="connsiteX60" fmla="*/ 48267 w 118561"/>
                <a:gd name="connsiteY60" fmla="*/ 118015 h 288607"/>
                <a:gd name="connsiteX61" fmla="*/ 47791 w 118561"/>
                <a:gd name="connsiteY61" fmla="*/ 128587 h 288607"/>
                <a:gd name="connsiteX62" fmla="*/ 46838 w 118561"/>
                <a:gd name="connsiteY62" fmla="*/ 139351 h 288607"/>
                <a:gd name="connsiteX63" fmla="*/ 46076 w 118561"/>
                <a:gd name="connsiteY63" fmla="*/ 149924 h 288607"/>
                <a:gd name="connsiteX64" fmla="*/ 43886 w 118561"/>
                <a:gd name="connsiteY64" fmla="*/ 160496 h 288607"/>
                <a:gd name="connsiteX65" fmla="*/ 42933 w 118561"/>
                <a:gd name="connsiteY65" fmla="*/ 171069 h 288607"/>
                <a:gd name="connsiteX66" fmla="*/ 41981 w 118561"/>
                <a:gd name="connsiteY66" fmla="*/ 181642 h 288607"/>
                <a:gd name="connsiteX67" fmla="*/ 41028 w 118561"/>
                <a:gd name="connsiteY67" fmla="*/ 192215 h 288607"/>
                <a:gd name="connsiteX68" fmla="*/ 39314 w 118561"/>
                <a:gd name="connsiteY68" fmla="*/ 202502 h 288607"/>
                <a:gd name="connsiteX69" fmla="*/ 39028 w 118561"/>
                <a:gd name="connsiteY69" fmla="*/ 213074 h 288607"/>
                <a:gd name="connsiteX70" fmla="*/ 37790 w 118561"/>
                <a:gd name="connsiteY70" fmla="*/ 223361 h 288607"/>
                <a:gd name="connsiteX71" fmla="*/ 37504 w 118561"/>
                <a:gd name="connsiteY71" fmla="*/ 233934 h 288607"/>
                <a:gd name="connsiteX72" fmla="*/ 35980 w 118561"/>
                <a:gd name="connsiteY72" fmla="*/ 244507 h 288607"/>
                <a:gd name="connsiteX73" fmla="*/ 34456 w 118561"/>
                <a:gd name="connsiteY73" fmla="*/ 254794 h 288607"/>
                <a:gd name="connsiteX74" fmla="*/ 34170 w 118561"/>
                <a:gd name="connsiteY74" fmla="*/ 265367 h 288607"/>
                <a:gd name="connsiteX75" fmla="*/ 32932 w 118561"/>
                <a:gd name="connsiteY75" fmla="*/ 275654 h 288607"/>
                <a:gd name="connsiteX76" fmla="*/ 32932 w 118561"/>
                <a:gd name="connsiteY76" fmla="*/ 286226 h 288607"/>
                <a:gd name="connsiteX77" fmla="*/ 49791 w 118561"/>
                <a:gd name="connsiteY77" fmla="*/ 286512 h 288607"/>
                <a:gd name="connsiteX78" fmla="*/ 52268 w 118561"/>
                <a:gd name="connsiteY78" fmla="*/ 275463 h 288607"/>
                <a:gd name="connsiteX79" fmla="*/ 55506 w 118561"/>
                <a:gd name="connsiteY79" fmla="*/ 264700 h 288607"/>
                <a:gd name="connsiteX80" fmla="*/ 57221 w 118561"/>
                <a:gd name="connsiteY80" fmla="*/ 253651 h 288607"/>
                <a:gd name="connsiteX81" fmla="*/ 60935 w 118561"/>
                <a:gd name="connsiteY81" fmla="*/ 243078 h 288607"/>
                <a:gd name="connsiteX82" fmla="*/ 62936 w 118561"/>
                <a:gd name="connsiteY82" fmla="*/ 232029 h 288607"/>
                <a:gd name="connsiteX83" fmla="*/ 66365 w 118561"/>
                <a:gd name="connsiteY83" fmla="*/ 221456 h 288607"/>
                <a:gd name="connsiteX84" fmla="*/ 68555 w 118561"/>
                <a:gd name="connsiteY84" fmla="*/ 210407 h 288607"/>
                <a:gd name="connsiteX85" fmla="*/ 70746 w 118561"/>
                <a:gd name="connsiteY85" fmla="*/ 199358 h 288607"/>
                <a:gd name="connsiteX86" fmla="*/ 73985 w 118561"/>
                <a:gd name="connsiteY86" fmla="*/ 189071 h 288607"/>
                <a:gd name="connsiteX87" fmla="*/ 74747 w 118561"/>
                <a:gd name="connsiteY87" fmla="*/ 199644 h 288607"/>
                <a:gd name="connsiteX88" fmla="*/ 75509 w 118561"/>
                <a:gd name="connsiteY88" fmla="*/ 210407 h 288607"/>
                <a:gd name="connsiteX89" fmla="*/ 76747 w 118561"/>
                <a:gd name="connsiteY89" fmla="*/ 221171 h 288607"/>
                <a:gd name="connsiteX90" fmla="*/ 78461 w 118561"/>
                <a:gd name="connsiteY90" fmla="*/ 231934 h 288607"/>
                <a:gd name="connsiteX91" fmla="*/ 79700 w 118561"/>
                <a:gd name="connsiteY91" fmla="*/ 242697 h 288607"/>
                <a:gd name="connsiteX92" fmla="*/ 81224 w 118561"/>
                <a:gd name="connsiteY92" fmla="*/ 253460 h 288607"/>
                <a:gd name="connsiteX93" fmla="*/ 81509 w 118561"/>
                <a:gd name="connsiteY93" fmla="*/ 264509 h 288607"/>
                <a:gd name="connsiteX94" fmla="*/ 83033 w 118561"/>
                <a:gd name="connsiteY94" fmla="*/ 275273 h 288607"/>
                <a:gd name="connsiteX95" fmla="*/ 83986 w 118561"/>
                <a:gd name="connsiteY95" fmla="*/ 286036 h 288607"/>
                <a:gd name="connsiteX96" fmla="*/ 108560 w 118561"/>
                <a:gd name="connsiteY96" fmla="*/ 288607 h 288607"/>
                <a:gd name="connsiteX97" fmla="*/ 116657 w 118561"/>
                <a:gd name="connsiteY97" fmla="*/ 143542 h 288607"/>
                <a:gd name="connsiteX98" fmla="*/ 113799 w 118561"/>
                <a:gd name="connsiteY98" fmla="*/ 141351 h 288607"/>
                <a:gd name="connsiteX99" fmla="*/ 95416 w 118561"/>
                <a:gd name="connsiteY99" fmla="*/ 148781 h 288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118561" h="288607">
                  <a:moveTo>
                    <a:pt x="95416" y="148781"/>
                  </a:moveTo>
                  <a:cubicBezTo>
                    <a:pt x="95511" y="149543"/>
                    <a:pt x="95606" y="150305"/>
                    <a:pt x="95702" y="151067"/>
                  </a:cubicBezTo>
                  <a:lnTo>
                    <a:pt x="95321" y="148781"/>
                  </a:lnTo>
                  <a:cubicBezTo>
                    <a:pt x="95321" y="148781"/>
                    <a:pt x="95321" y="148781"/>
                    <a:pt x="95416" y="148781"/>
                  </a:cubicBezTo>
                  <a:cubicBezTo>
                    <a:pt x="94273" y="137827"/>
                    <a:pt x="93130" y="126873"/>
                    <a:pt x="91415" y="116014"/>
                  </a:cubicBezTo>
                  <a:cubicBezTo>
                    <a:pt x="87986" y="93821"/>
                    <a:pt x="82271" y="71914"/>
                    <a:pt x="74461" y="50768"/>
                  </a:cubicBezTo>
                  <a:lnTo>
                    <a:pt x="75223" y="50483"/>
                  </a:lnTo>
                  <a:cubicBezTo>
                    <a:pt x="89796" y="48482"/>
                    <a:pt x="104274" y="45720"/>
                    <a:pt x="118562" y="42577"/>
                  </a:cubicBezTo>
                  <a:lnTo>
                    <a:pt x="117038" y="40767"/>
                  </a:lnTo>
                  <a:cubicBezTo>
                    <a:pt x="108179" y="34290"/>
                    <a:pt x="103036" y="23717"/>
                    <a:pt x="95035" y="16288"/>
                  </a:cubicBezTo>
                  <a:lnTo>
                    <a:pt x="94559" y="16002"/>
                  </a:lnTo>
                  <a:cubicBezTo>
                    <a:pt x="94178" y="16383"/>
                    <a:pt x="93892" y="16859"/>
                    <a:pt x="93511" y="17240"/>
                  </a:cubicBezTo>
                  <a:cubicBezTo>
                    <a:pt x="91320" y="20288"/>
                    <a:pt x="88844" y="22479"/>
                    <a:pt x="86081" y="24765"/>
                  </a:cubicBezTo>
                  <a:cubicBezTo>
                    <a:pt x="83319" y="26765"/>
                    <a:pt x="80366" y="29051"/>
                    <a:pt x="77128" y="30289"/>
                  </a:cubicBezTo>
                  <a:cubicBezTo>
                    <a:pt x="73889" y="31528"/>
                    <a:pt x="70460" y="31052"/>
                    <a:pt x="66746" y="31052"/>
                  </a:cubicBezTo>
                  <a:cubicBezTo>
                    <a:pt x="63317" y="31052"/>
                    <a:pt x="60078" y="30289"/>
                    <a:pt x="56840" y="29051"/>
                  </a:cubicBezTo>
                  <a:cubicBezTo>
                    <a:pt x="53601" y="28003"/>
                    <a:pt x="50363" y="26765"/>
                    <a:pt x="47410" y="24765"/>
                  </a:cubicBezTo>
                  <a:cubicBezTo>
                    <a:pt x="44933" y="22479"/>
                    <a:pt x="42743" y="20002"/>
                    <a:pt x="40457" y="16954"/>
                  </a:cubicBezTo>
                  <a:cubicBezTo>
                    <a:pt x="38266" y="14478"/>
                    <a:pt x="36266" y="11430"/>
                    <a:pt x="34742" y="8191"/>
                  </a:cubicBezTo>
                  <a:cubicBezTo>
                    <a:pt x="33408" y="5524"/>
                    <a:pt x="31598" y="2953"/>
                    <a:pt x="30551" y="0"/>
                  </a:cubicBezTo>
                  <a:cubicBezTo>
                    <a:pt x="31027" y="1333"/>
                    <a:pt x="31408" y="2762"/>
                    <a:pt x="31884" y="4096"/>
                  </a:cubicBezTo>
                  <a:cubicBezTo>
                    <a:pt x="32456" y="6096"/>
                    <a:pt x="33122" y="8191"/>
                    <a:pt x="33694" y="10287"/>
                  </a:cubicBezTo>
                  <a:cubicBezTo>
                    <a:pt x="34361" y="11049"/>
                    <a:pt x="35027" y="11906"/>
                    <a:pt x="35694" y="12764"/>
                  </a:cubicBezTo>
                  <a:cubicBezTo>
                    <a:pt x="36837" y="14764"/>
                    <a:pt x="38266" y="16573"/>
                    <a:pt x="39599" y="18478"/>
                  </a:cubicBezTo>
                  <a:cubicBezTo>
                    <a:pt x="40076" y="18955"/>
                    <a:pt x="40457" y="19431"/>
                    <a:pt x="40933" y="19812"/>
                  </a:cubicBezTo>
                  <a:cubicBezTo>
                    <a:pt x="43314" y="21908"/>
                    <a:pt x="45314" y="24479"/>
                    <a:pt x="45981" y="27527"/>
                  </a:cubicBezTo>
                  <a:cubicBezTo>
                    <a:pt x="46267" y="28670"/>
                    <a:pt x="46267" y="29718"/>
                    <a:pt x="46362" y="30861"/>
                  </a:cubicBezTo>
                  <a:lnTo>
                    <a:pt x="49124" y="27908"/>
                  </a:lnTo>
                  <a:cubicBezTo>
                    <a:pt x="48362" y="28289"/>
                    <a:pt x="47505" y="30289"/>
                    <a:pt x="46267" y="33623"/>
                  </a:cubicBezTo>
                  <a:cubicBezTo>
                    <a:pt x="46172" y="34385"/>
                    <a:pt x="46172" y="35147"/>
                    <a:pt x="45981" y="35909"/>
                  </a:cubicBezTo>
                  <a:cubicBezTo>
                    <a:pt x="45981" y="35909"/>
                    <a:pt x="45981" y="35909"/>
                    <a:pt x="45981" y="36004"/>
                  </a:cubicBezTo>
                  <a:cubicBezTo>
                    <a:pt x="45886" y="40386"/>
                    <a:pt x="44648" y="44863"/>
                    <a:pt x="42076" y="48673"/>
                  </a:cubicBezTo>
                  <a:cubicBezTo>
                    <a:pt x="41219" y="50006"/>
                    <a:pt x="40076" y="51054"/>
                    <a:pt x="39028" y="52197"/>
                  </a:cubicBezTo>
                  <a:cubicBezTo>
                    <a:pt x="38552" y="54102"/>
                    <a:pt x="37980" y="56102"/>
                    <a:pt x="37313" y="58102"/>
                  </a:cubicBezTo>
                  <a:cubicBezTo>
                    <a:pt x="36075" y="61341"/>
                    <a:pt x="34361" y="64675"/>
                    <a:pt x="33122" y="68389"/>
                  </a:cubicBezTo>
                  <a:cubicBezTo>
                    <a:pt x="32170" y="71628"/>
                    <a:pt x="31598" y="75438"/>
                    <a:pt x="30360" y="78962"/>
                  </a:cubicBezTo>
                  <a:cubicBezTo>
                    <a:pt x="29408" y="82486"/>
                    <a:pt x="27884" y="85725"/>
                    <a:pt x="26645" y="89249"/>
                  </a:cubicBezTo>
                  <a:cubicBezTo>
                    <a:pt x="25693" y="92774"/>
                    <a:pt x="24455" y="96012"/>
                    <a:pt x="23407" y="99536"/>
                  </a:cubicBezTo>
                  <a:cubicBezTo>
                    <a:pt x="22169" y="103061"/>
                    <a:pt x="20930" y="106585"/>
                    <a:pt x="19978" y="110109"/>
                  </a:cubicBezTo>
                  <a:cubicBezTo>
                    <a:pt x="18740" y="113633"/>
                    <a:pt x="18740" y="117348"/>
                    <a:pt x="17787" y="120872"/>
                  </a:cubicBezTo>
                  <a:cubicBezTo>
                    <a:pt x="16835" y="124397"/>
                    <a:pt x="15311" y="127635"/>
                    <a:pt x="14358" y="131159"/>
                  </a:cubicBezTo>
                  <a:cubicBezTo>
                    <a:pt x="13406" y="134684"/>
                    <a:pt x="12834" y="138398"/>
                    <a:pt x="11882" y="141732"/>
                  </a:cubicBezTo>
                  <a:cubicBezTo>
                    <a:pt x="10929" y="145542"/>
                    <a:pt x="9881" y="148971"/>
                    <a:pt x="8929" y="152305"/>
                  </a:cubicBezTo>
                  <a:cubicBezTo>
                    <a:pt x="7691" y="156115"/>
                    <a:pt x="6167" y="159353"/>
                    <a:pt x="5214" y="162592"/>
                  </a:cubicBezTo>
                  <a:cubicBezTo>
                    <a:pt x="4262" y="166592"/>
                    <a:pt x="2452" y="169831"/>
                    <a:pt x="1785" y="172879"/>
                  </a:cubicBezTo>
                  <a:cubicBezTo>
                    <a:pt x="-215" y="179927"/>
                    <a:pt x="-215" y="184214"/>
                    <a:pt x="261" y="183642"/>
                  </a:cubicBezTo>
                  <a:cubicBezTo>
                    <a:pt x="737" y="183166"/>
                    <a:pt x="2452" y="179356"/>
                    <a:pt x="5214" y="173831"/>
                  </a:cubicBezTo>
                  <a:cubicBezTo>
                    <a:pt x="6738" y="171069"/>
                    <a:pt x="8929" y="168021"/>
                    <a:pt x="10929" y="164497"/>
                  </a:cubicBezTo>
                  <a:cubicBezTo>
                    <a:pt x="12453" y="161449"/>
                    <a:pt x="13691" y="157924"/>
                    <a:pt x="15406" y="154496"/>
                  </a:cubicBezTo>
                  <a:cubicBezTo>
                    <a:pt x="16930" y="151257"/>
                    <a:pt x="17882" y="147733"/>
                    <a:pt x="19597" y="144209"/>
                  </a:cubicBezTo>
                  <a:cubicBezTo>
                    <a:pt x="21121" y="141161"/>
                    <a:pt x="24074" y="138398"/>
                    <a:pt x="25502" y="135160"/>
                  </a:cubicBezTo>
                  <a:cubicBezTo>
                    <a:pt x="27217" y="131921"/>
                    <a:pt x="27503" y="127921"/>
                    <a:pt x="28931" y="124587"/>
                  </a:cubicBezTo>
                  <a:cubicBezTo>
                    <a:pt x="30646" y="121349"/>
                    <a:pt x="33122" y="118586"/>
                    <a:pt x="34837" y="115252"/>
                  </a:cubicBezTo>
                  <a:cubicBezTo>
                    <a:pt x="36361" y="111728"/>
                    <a:pt x="37028" y="108013"/>
                    <a:pt x="38552" y="104680"/>
                  </a:cubicBezTo>
                  <a:cubicBezTo>
                    <a:pt x="40266" y="101441"/>
                    <a:pt x="42743" y="98393"/>
                    <a:pt x="44267" y="95345"/>
                  </a:cubicBezTo>
                  <a:cubicBezTo>
                    <a:pt x="45981" y="91535"/>
                    <a:pt x="47981" y="88583"/>
                    <a:pt x="49220" y="85820"/>
                  </a:cubicBezTo>
                  <a:cubicBezTo>
                    <a:pt x="52172" y="79534"/>
                    <a:pt x="53411" y="70009"/>
                    <a:pt x="53887" y="75533"/>
                  </a:cubicBezTo>
                  <a:cubicBezTo>
                    <a:pt x="54363" y="80772"/>
                    <a:pt x="53601" y="81058"/>
                    <a:pt x="52934" y="86297"/>
                  </a:cubicBezTo>
                  <a:cubicBezTo>
                    <a:pt x="52458" y="91535"/>
                    <a:pt x="51220" y="91345"/>
                    <a:pt x="50744" y="96869"/>
                  </a:cubicBezTo>
                  <a:cubicBezTo>
                    <a:pt x="49982" y="102108"/>
                    <a:pt x="51220" y="102108"/>
                    <a:pt x="50458" y="107442"/>
                  </a:cubicBezTo>
                  <a:cubicBezTo>
                    <a:pt x="49982" y="112681"/>
                    <a:pt x="48934" y="112681"/>
                    <a:pt x="48267" y="118015"/>
                  </a:cubicBezTo>
                  <a:cubicBezTo>
                    <a:pt x="47791" y="123253"/>
                    <a:pt x="48553" y="123253"/>
                    <a:pt x="47791" y="128587"/>
                  </a:cubicBezTo>
                  <a:cubicBezTo>
                    <a:pt x="47315" y="133826"/>
                    <a:pt x="47315" y="133826"/>
                    <a:pt x="46838" y="139351"/>
                  </a:cubicBezTo>
                  <a:cubicBezTo>
                    <a:pt x="46362" y="144590"/>
                    <a:pt x="46553" y="144590"/>
                    <a:pt x="46076" y="149924"/>
                  </a:cubicBezTo>
                  <a:cubicBezTo>
                    <a:pt x="45314" y="155162"/>
                    <a:pt x="44552" y="155162"/>
                    <a:pt x="43886" y="160496"/>
                  </a:cubicBezTo>
                  <a:cubicBezTo>
                    <a:pt x="43409" y="165735"/>
                    <a:pt x="43409" y="165735"/>
                    <a:pt x="42933" y="171069"/>
                  </a:cubicBezTo>
                  <a:cubicBezTo>
                    <a:pt x="42457" y="176308"/>
                    <a:pt x="42457" y="176308"/>
                    <a:pt x="41981" y="181642"/>
                  </a:cubicBezTo>
                  <a:cubicBezTo>
                    <a:pt x="41504" y="186881"/>
                    <a:pt x="41504" y="186881"/>
                    <a:pt x="41028" y="192215"/>
                  </a:cubicBezTo>
                  <a:cubicBezTo>
                    <a:pt x="40552" y="197453"/>
                    <a:pt x="39790" y="197263"/>
                    <a:pt x="39314" y="202502"/>
                  </a:cubicBezTo>
                  <a:cubicBezTo>
                    <a:pt x="39028" y="207740"/>
                    <a:pt x="39599" y="207740"/>
                    <a:pt x="39028" y="213074"/>
                  </a:cubicBezTo>
                  <a:cubicBezTo>
                    <a:pt x="38552" y="218313"/>
                    <a:pt x="38266" y="218313"/>
                    <a:pt x="37790" y="223361"/>
                  </a:cubicBezTo>
                  <a:cubicBezTo>
                    <a:pt x="37313" y="228600"/>
                    <a:pt x="38075" y="228600"/>
                    <a:pt x="37504" y="233934"/>
                  </a:cubicBezTo>
                  <a:cubicBezTo>
                    <a:pt x="37218" y="239173"/>
                    <a:pt x="36266" y="239173"/>
                    <a:pt x="35980" y="244507"/>
                  </a:cubicBezTo>
                  <a:cubicBezTo>
                    <a:pt x="35504" y="249555"/>
                    <a:pt x="35027" y="249555"/>
                    <a:pt x="34456" y="254794"/>
                  </a:cubicBezTo>
                  <a:cubicBezTo>
                    <a:pt x="33980" y="260032"/>
                    <a:pt x="34742" y="260032"/>
                    <a:pt x="34170" y="265367"/>
                  </a:cubicBezTo>
                  <a:cubicBezTo>
                    <a:pt x="33694" y="270605"/>
                    <a:pt x="33408" y="270415"/>
                    <a:pt x="32932" y="275654"/>
                  </a:cubicBezTo>
                  <a:cubicBezTo>
                    <a:pt x="32456" y="280892"/>
                    <a:pt x="33408" y="280892"/>
                    <a:pt x="32932" y="286226"/>
                  </a:cubicBezTo>
                  <a:lnTo>
                    <a:pt x="49791" y="286512"/>
                  </a:lnTo>
                  <a:cubicBezTo>
                    <a:pt x="51315" y="280988"/>
                    <a:pt x="50744" y="280988"/>
                    <a:pt x="52268" y="275463"/>
                  </a:cubicBezTo>
                  <a:cubicBezTo>
                    <a:pt x="53506" y="269939"/>
                    <a:pt x="54268" y="270224"/>
                    <a:pt x="55506" y="264700"/>
                  </a:cubicBezTo>
                  <a:cubicBezTo>
                    <a:pt x="57030" y="259461"/>
                    <a:pt x="55792" y="259175"/>
                    <a:pt x="57221" y="253651"/>
                  </a:cubicBezTo>
                  <a:cubicBezTo>
                    <a:pt x="58745" y="248126"/>
                    <a:pt x="59411" y="248412"/>
                    <a:pt x="60935" y="243078"/>
                  </a:cubicBezTo>
                  <a:cubicBezTo>
                    <a:pt x="62174" y="237554"/>
                    <a:pt x="61697" y="237554"/>
                    <a:pt x="62936" y="232029"/>
                  </a:cubicBezTo>
                  <a:cubicBezTo>
                    <a:pt x="64460" y="226505"/>
                    <a:pt x="64936" y="226790"/>
                    <a:pt x="66365" y="221456"/>
                  </a:cubicBezTo>
                  <a:cubicBezTo>
                    <a:pt x="67603" y="215932"/>
                    <a:pt x="67127" y="215646"/>
                    <a:pt x="68555" y="210407"/>
                  </a:cubicBezTo>
                  <a:cubicBezTo>
                    <a:pt x="69794" y="204883"/>
                    <a:pt x="69317" y="204883"/>
                    <a:pt x="70746" y="199358"/>
                  </a:cubicBezTo>
                  <a:cubicBezTo>
                    <a:pt x="71984" y="194120"/>
                    <a:pt x="68555" y="189071"/>
                    <a:pt x="73985" y="189071"/>
                  </a:cubicBezTo>
                  <a:cubicBezTo>
                    <a:pt x="79414" y="189071"/>
                    <a:pt x="74270" y="194120"/>
                    <a:pt x="74747" y="199644"/>
                  </a:cubicBezTo>
                  <a:cubicBezTo>
                    <a:pt x="75223" y="205169"/>
                    <a:pt x="75032" y="205169"/>
                    <a:pt x="75509" y="210407"/>
                  </a:cubicBezTo>
                  <a:cubicBezTo>
                    <a:pt x="75985" y="215932"/>
                    <a:pt x="76271" y="215932"/>
                    <a:pt x="76747" y="221171"/>
                  </a:cubicBezTo>
                  <a:cubicBezTo>
                    <a:pt x="77223" y="226695"/>
                    <a:pt x="77985" y="226695"/>
                    <a:pt x="78461" y="231934"/>
                  </a:cubicBezTo>
                  <a:cubicBezTo>
                    <a:pt x="78938" y="237458"/>
                    <a:pt x="79223" y="237458"/>
                    <a:pt x="79700" y="242697"/>
                  </a:cubicBezTo>
                  <a:cubicBezTo>
                    <a:pt x="80176" y="248222"/>
                    <a:pt x="80462" y="248222"/>
                    <a:pt x="81224" y="253460"/>
                  </a:cubicBezTo>
                  <a:cubicBezTo>
                    <a:pt x="81700" y="258985"/>
                    <a:pt x="80938" y="258985"/>
                    <a:pt x="81509" y="264509"/>
                  </a:cubicBezTo>
                  <a:cubicBezTo>
                    <a:pt x="81986" y="269748"/>
                    <a:pt x="82462" y="269748"/>
                    <a:pt x="83033" y="275273"/>
                  </a:cubicBezTo>
                  <a:cubicBezTo>
                    <a:pt x="83510" y="280511"/>
                    <a:pt x="83319" y="280511"/>
                    <a:pt x="83986" y="286036"/>
                  </a:cubicBezTo>
                  <a:lnTo>
                    <a:pt x="108560" y="288607"/>
                  </a:lnTo>
                  <a:cubicBezTo>
                    <a:pt x="111799" y="240316"/>
                    <a:pt x="114466" y="191929"/>
                    <a:pt x="116657" y="143542"/>
                  </a:cubicBezTo>
                  <a:lnTo>
                    <a:pt x="113799" y="141351"/>
                  </a:lnTo>
                  <a:cubicBezTo>
                    <a:pt x="107036" y="142208"/>
                    <a:pt x="100464" y="144304"/>
                    <a:pt x="95416" y="148781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3F9DB13A-9768-4D3F-6F27-76F7A39161CF}"/>
                </a:ext>
              </a:extLst>
            </p:cNvPr>
            <p:cNvSpPr/>
            <p:nvPr/>
          </p:nvSpPr>
          <p:spPr>
            <a:xfrm>
              <a:off x="5148156" y="4261551"/>
              <a:ext cx="611532" cy="359338"/>
            </a:xfrm>
            <a:custGeom>
              <a:avLst/>
              <a:gdLst>
                <a:gd name="connsiteX0" fmla="*/ 387287 w 418909"/>
                <a:gd name="connsiteY0" fmla="*/ 135157 h 246152"/>
                <a:gd name="connsiteX1" fmla="*/ 389001 w 418909"/>
                <a:gd name="connsiteY1" fmla="*/ 124108 h 246152"/>
                <a:gd name="connsiteX2" fmla="*/ 391477 w 418909"/>
                <a:gd name="connsiteY2" fmla="*/ 113059 h 246152"/>
                <a:gd name="connsiteX3" fmla="*/ 393954 w 418909"/>
                <a:gd name="connsiteY3" fmla="*/ 102010 h 246152"/>
                <a:gd name="connsiteX4" fmla="*/ 396431 w 418909"/>
                <a:gd name="connsiteY4" fmla="*/ 90961 h 246152"/>
                <a:gd name="connsiteX5" fmla="*/ 398621 w 418909"/>
                <a:gd name="connsiteY5" fmla="*/ 79912 h 246152"/>
                <a:gd name="connsiteX6" fmla="*/ 403098 w 418909"/>
                <a:gd name="connsiteY6" fmla="*/ 69339 h 246152"/>
                <a:gd name="connsiteX7" fmla="*/ 405860 w 418909"/>
                <a:gd name="connsiteY7" fmla="*/ 58386 h 246152"/>
                <a:gd name="connsiteX8" fmla="*/ 411575 w 418909"/>
                <a:gd name="connsiteY8" fmla="*/ 48861 h 246152"/>
                <a:gd name="connsiteX9" fmla="*/ 417767 w 418909"/>
                <a:gd name="connsiteY9" fmla="*/ 42955 h 246152"/>
                <a:gd name="connsiteX10" fmla="*/ 418910 w 418909"/>
                <a:gd name="connsiteY10" fmla="*/ 32954 h 246152"/>
                <a:gd name="connsiteX11" fmla="*/ 417671 w 418909"/>
                <a:gd name="connsiteY11" fmla="*/ 32763 h 246152"/>
                <a:gd name="connsiteX12" fmla="*/ 416909 w 418909"/>
                <a:gd name="connsiteY12" fmla="*/ 3998 h 246152"/>
                <a:gd name="connsiteX13" fmla="*/ 415290 w 418909"/>
                <a:gd name="connsiteY13" fmla="*/ 188 h 246152"/>
                <a:gd name="connsiteX14" fmla="*/ 412433 w 418909"/>
                <a:gd name="connsiteY14" fmla="*/ 283 h 246152"/>
                <a:gd name="connsiteX15" fmla="*/ 358521 w 418909"/>
                <a:gd name="connsiteY15" fmla="*/ 5998 h 246152"/>
                <a:gd name="connsiteX16" fmla="*/ 0 w 418909"/>
                <a:gd name="connsiteY16" fmla="*/ 13618 h 246152"/>
                <a:gd name="connsiteX17" fmla="*/ 3715 w 418909"/>
                <a:gd name="connsiteY17" fmla="*/ 19619 h 246152"/>
                <a:gd name="connsiteX18" fmla="*/ 17240 w 418909"/>
                <a:gd name="connsiteY18" fmla="*/ 241266 h 246152"/>
                <a:gd name="connsiteX19" fmla="*/ 18193 w 418909"/>
                <a:gd name="connsiteY19" fmla="*/ 245361 h 246152"/>
                <a:gd name="connsiteX20" fmla="*/ 22098 w 418909"/>
                <a:gd name="connsiteY20" fmla="*/ 246028 h 246152"/>
                <a:gd name="connsiteX21" fmla="*/ 286131 w 418909"/>
                <a:gd name="connsiteY21" fmla="*/ 233265 h 246152"/>
                <a:gd name="connsiteX22" fmla="*/ 288417 w 418909"/>
                <a:gd name="connsiteY22" fmla="*/ 230693 h 246152"/>
                <a:gd name="connsiteX23" fmla="*/ 310515 w 418909"/>
                <a:gd name="connsiteY23" fmla="*/ 186592 h 246152"/>
                <a:gd name="connsiteX24" fmla="*/ 306419 w 418909"/>
                <a:gd name="connsiteY24" fmla="*/ 182401 h 246152"/>
                <a:gd name="connsiteX25" fmla="*/ 299276 w 418909"/>
                <a:gd name="connsiteY25" fmla="*/ 174114 h 246152"/>
                <a:gd name="connsiteX26" fmla="*/ 294608 w 418909"/>
                <a:gd name="connsiteY26" fmla="*/ 164304 h 246152"/>
                <a:gd name="connsiteX27" fmla="*/ 292418 w 418909"/>
                <a:gd name="connsiteY27" fmla="*/ 153540 h 246152"/>
                <a:gd name="connsiteX28" fmla="*/ 291179 w 418909"/>
                <a:gd name="connsiteY28" fmla="*/ 142491 h 246152"/>
                <a:gd name="connsiteX29" fmla="*/ 292418 w 418909"/>
                <a:gd name="connsiteY29" fmla="*/ 131728 h 246152"/>
                <a:gd name="connsiteX30" fmla="*/ 295180 w 418909"/>
                <a:gd name="connsiteY30" fmla="*/ 121155 h 246152"/>
                <a:gd name="connsiteX31" fmla="*/ 299847 w 418909"/>
                <a:gd name="connsiteY31" fmla="*/ 111345 h 246152"/>
                <a:gd name="connsiteX32" fmla="*/ 305752 w 418909"/>
                <a:gd name="connsiteY32" fmla="*/ 102296 h 246152"/>
                <a:gd name="connsiteX33" fmla="*/ 313944 w 418909"/>
                <a:gd name="connsiteY33" fmla="*/ 95057 h 246152"/>
                <a:gd name="connsiteX34" fmla="*/ 323850 w 418909"/>
                <a:gd name="connsiteY34" fmla="*/ 90294 h 246152"/>
                <a:gd name="connsiteX35" fmla="*/ 334518 w 418909"/>
                <a:gd name="connsiteY35" fmla="*/ 89532 h 246152"/>
                <a:gd name="connsiteX36" fmla="*/ 344900 w 418909"/>
                <a:gd name="connsiteY36" fmla="*/ 91056 h 246152"/>
                <a:gd name="connsiteX37" fmla="*/ 354521 w 418909"/>
                <a:gd name="connsiteY37" fmla="*/ 95533 h 246152"/>
                <a:gd name="connsiteX38" fmla="*/ 362902 w 418909"/>
                <a:gd name="connsiteY38" fmla="*/ 102296 h 246152"/>
                <a:gd name="connsiteX39" fmla="*/ 370046 w 418909"/>
                <a:gd name="connsiteY39" fmla="*/ 110583 h 246152"/>
                <a:gd name="connsiteX40" fmla="*/ 373475 w 418909"/>
                <a:gd name="connsiteY40" fmla="*/ 121155 h 246152"/>
                <a:gd name="connsiteX41" fmla="*/ 376238 w 418909"/>
                <a:gd name="connsiteY41" fmla="*/ 131728 h 246152"/>
                <a:gd name="connsiteX42" fmla="*/ 377000 w 418909"/>
                <a:gd name="connsiteY42" fmla="*/ 135348 h 246152"/>
                <a:gd name="connsiteX43" fmla="*/ 377666 w 418909"/>
                <a:gd name="connsiteY43" fmla="*/ 134490 h 246152"/>
                <a:gd name="connsiteX44" fmla="*/ 380905 w 418909"/>
                <a:gd name="connsiteY44" fmla="*/ 168590 h 246152"/>
                <a:gd name="connsiteX45" fmla="*/ 382619 w 418909"/>
                <a:gd name="connsiteY45" fmla="*/ 157541 h 246152"/>
                <a:gd name="connsiteX46" fmla="*/ 384620 w 418909"/>
                <a:gd name="connsiteY46" fmla="*/ 146206 h 246152"/>
                <a:gd name="connsiteX47" fmla="*/ 387287 w 418909"/>
                <a:gd name="connsiteY47" fmla="*/ 135157 h 246152"/>
                <a:gd name="connsiteX48" fmla="*/ 49625 w 418909"/>
                <a:gd name="connsiteY48" fmla="*/ 229359 h 246152"/>
                <a:gd name="connsiteX49" fmla="*/ 46863 w 418909"/>
                <a:gd name="connsiteY49" fmla="*/ 214119 h 246152"/>
                <a:gd name="connsiteX50" fmla="*/ 44386 w 418909"/>
                <a:gd name="connsiteY50" fmla="*/ 200118 h 246152"/>
                <a:gd name="connsiteX51" fmla="*/ 42577 w 418909"/>
                <a:gd name="connsiteY51" fmla="*/ 168114 h 246152"/>
                <a:gd name="connsiteX52" fmla="*/ 41719 w 418909"/>
                <a:gd name="connsiteY52" fmla="*/ 167923 h 246152"/>
                <a:gd name="connsiteX53" fmla="*/ 69818 w 418909"/>
                <a:gd name="connsiteY53" fmla="*/ 166685 h 246152"/>
                <a:gd name="connsiteX54" fmla="*/ 72009 w 418909"/>
                <a:gd name="connsiteY54" fmla="*/ 166875 h 246152"/>
                <a:gd name="connsiteX55" fmla="*/ 72485 w 418909"/>
                <a:gd name="connsiteY55" fmla="*/ 167637 h 246152"/>
                <a:gd name="connsiteX56" fmla="*/ 74105 w 418909"/>
                <a:gd name="connsiteY56" fmla="*/ 181163 h 246152"/>
                <a:gd name="connsiteX57" fmla="*/ 81058 w 418909"/>
                <a:gd name="connsiteY57" fmla="*/ 228312 h 246152"/>
                <a:gd name="connsiteX58" fmla="*/ 49625 w 418909"/>
                <a:gd name="connsiteY58" fmla="*/ 229359 h 246152"/>
                <a:gd name="connsiteX59" fmla="*/ 97155 w 418909"/>
                <a:gd name="connsiteY59" fmla="*/ 229359 h 246152"/>
                <a:gd name="connsiteX60" fmla="*/ 94297 w 418909"/>
                <a:gd name="connsiteY60" fmla="*/ 205833 h 246152"/>
                <a:gd name="connsiteX61" fmla="*/ 91916 w 418909"/>
                <a:gd name="connsiteY61" fmla="*/ 184306 h 246152"/>
                <a:gd name="connsiteX62" fmla="*/ 90107 w 418909"/>
                <a:gd name="connsiteY62" fmla="*/ 135062 h 246152"/>
                <a:gd name="connsiteX63" fmla="*/ 89249 w 418909"/>
                <a:gd name="connsiteY63" fmla="*/ 134681 h 246152"/>
                <a:gd name="connsiteX64" fmla="*/ 117348 w 418909"/>
                <a:gd name="connsiteY64" fmla="*/ 132871 h 246152"/>
                <a:gd name="connsiteX65" fmla="*/ 119444 w 418909"/>
                <a:gd name="connsiteY65" fmla="*/ 133062 h 246152"/>
                <a:gd name="connsiteX66" fmla="*/ 120015 w 418909"/>
                <a:gd name="connsiteY66" fmla="*/ 134205 h 246152"/>
                <a:gd name="connsiteX67" fmla="*/ 121634 w 418909"/>
                <a:gd name="connsiteY67" fmla="*/ 155064 h 246152"/>
                <a:gd name="connsiteX68" fmla="*/ 128587 w 418909"/>
                <a:gd name="connsiteY68" fmla="*/ 227740 h 246152"/>
                <a:gd name="connsiteX69" fmla="*/ 97155 w 418909"/>
                <a:gd name="connsiteY69" fmla="*/ 229359 h 246152"/>
                <a:gd name="connsiteX70" fmla="*/ 143161 w 418909"/>
                <a:gd name="connsiteY70" fmla="*/ 229359 h 246152"/>
                <a:gd name="connsiteX71" fmla="*/ 140303 w 418909"/>
                <a:gd name="connsiteY71" fmla="*/ 193831 h 246152"/>
                <a:gd name="connsiteX72" fmla="*/ 137827 w 418909"/>
                <a:gd name="connsiteY72" fmla="*/ 161351 h 246152"/>
                <a:gd name="connsiteX73" fmla="*/ 136112 w 418909"/>
                <a:gd name="connsiteY73" fmla="*/ 87056 h 246152"/>
                <a:gd name="connsiteX74" fmla="*/ 135160 w 418909"/>
                <a:gd name="connsiteY74" fmla="*/ 86484 h 246152"/>
                <a:gd name="connsiteX75" fmla="*/ 163354 w 418909"/>
                <a:gd name="connsiteY75" fmla="*/ 83817 h 246152"/>
                <a:gd name="connsiteX76" fmla="*/ 165449 w 418909"/>
                <a:gd name="connsiteY76" fmla="*/ 84008 h 246152"/>
                <a:gd name="connsiteX77" fmla="*/ 165926 w 418909"/>
                <a:gd name="connsiteY77" fmla="*/ 85818 h 246152"/>
                <a:gd name="connsiteX78" fmla="*/ 167640 w 418909"/>
                <a:gd name="connsiteY78" fmla="*/ 117345 h 246152"/>
                <a:gd name="connsiteX79" fmla="*/ 174498 w 418909"/>
                <a:gd name="connsiteY79" fmla="*/ 226883 h 246152"/>
                <a:gd name="connsiteX80" fmla="*/ 143161 w 418909"/>
                <a:gd name="connsiteY80" fmla="*/ 229359 h 246152"/>
                <a:gd name="connsiteX81" fmla="*/ 197168 w 418909"/>
                <a:gd name="connsiteY81" fmla="*/ 229359 h 246152"/>
                <a:gd name="connsiteX82" fmla="*/ 194310 w 418909"/>
                <a:gd name="connsiteY82" fmla="*/ 182496 h 246152"/>
                <a:gd name="connsiteX83" fmla="*/ 191929 w 418909"/>
                <a:gd name="connsiteY83" fmla="*/ 139539 h 246152"/>
                <a:gd name="connsiteX84" fmla="*/ 190119 w 418909"/>
                <a:gd name="connsiteY84" fmla="*/ 41526 h 246152"/>
                <a:gd name="connsiteX85" fmla="*/ 189167 w 418909"/>
                <a:gd name="connsiteY85" fmla="*/ 40669 h 246152"/>
                <a:gd name="connsiteX86" fmla="*/ 217361 w 418909"/>
                <a:gd name="connsiteY86" fmla="*/ 37145 h 246152"/>
                <a:gd name="connsiteX87" fmla="*/ 219456 w 418909"/>
                <a:gd name="connsiteY87" fmla="*/ 37431 h 246152"/>
                <a:gd name="connsiteX88" fmla="*/ 220028 w 418909"/>
                <a:gd name="connsiteY88" fmla="*/ 39907 h 246152"/>
                <a:gd name="connsiteX89" fmla="*/ 221647 w 418909"/>
                <a:gd name="connsiteY89" fmla="*/ 81436 h 246152"/>
                <a:gd name="connsiteX90" fmla="*/ 228505 w 418909"/>
                <a:gd name="connsiteY90" fmla="*/ 226121 h 246152"/>
                <a:gd name="connsiteX91" fmla="*/ 197168 w 418909"/>
                <a:gd name="connsiteY91" fmla="*/ 229359 h 24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418909" h="246152">
                  <a:moveTo>
                    <a:pt x="387287" y="135157"/>
                  </a:moveTo>
                  <a:cubicBezTo>
                    <a:pt x="387763" y="131347"/>
                    <a:pt x="388239" y="127632"/>
                    <a:pt x="389001" y="124108"/>
                  </a:cubicBezTo>
                  <a:cubicBezTo>
                    <a:pt x="389763" y="120108"/>
                    <a:pt x="390716" y="116583"/>
                    <a:pt x="391477" y="113059"/>
                  </a:cubicBezTo>
                  <a:cubicBezTo>
                    <a:pt x="392430" y="109059"/>
                    <a:pt x="393192" y="105534"/>
                    <a:pt x="393954" y="102010"/>
                  </a:cubicBezTo>
                  <a:cubicBezTo>
                    <a:pt x="394716" y="98010"/>
                    <a:pt x="395669" y="94485"/>
                    <a:pt x="396431" y="90961"/>
                  </a:cubicBezTo>
                  <a:cubicBezTo>
                    <a:pt x="397383" y="87151"/>
                    <a:pt x="397669" y="83151"/>
                    <a:pt x="398621" y="79912"/>
                  </a:cubicBezTo>
                  <a:cubicBezTo>
                    <a:pt x="399860" y="75912"/>
                    <a:pt x="402050" y="72673"/>
                    <a:pt x="403098" y="69339"/>
                  </a:cubicBezTo>
                  <a:cubicBezTo>
                    <a:pt x="404622" y="65434"/>
                    <a:pt x="404622" y="61338"/>
                    <a:pt x="405860" y="58386"/>
                  </a:cubicBezTo>
                  <a:cubicBezTo>
                    <a:pt x="407861" y="54099"/>
                    <a:pt x="410051" y="51147"/>
                    <a:pt x="411575" y="48861"/>
                  </a:cubicBezTo>
                  <a:cubicBezTo>
                    <a:pt x="414242" y="44860"/>
                    <a:pt x="416243" y="43336"/>
                    <a:pt x="417767" y="42955"/>
                  </a:cubicBezTo>
                  <a:cubicBezTo>
                    <a:pt x="418052" y="39621"/>
                    <a:pt x="418433" y="36288"/>
                    <a:pt x="418910" y="32954"/>
                  </a:cubicBezTo>
                  <a:lnTo>
                    <a:pt x="417671" y="32763"/>
                  </a:lnTo>
                  <a:cubicBezTo>
                    <a:pt x="417386" y="23143"/>
                    <a:pt x="417100" y="13523"/>
                    <a:pt x="416909" y="3998"/>
                  </a:cubicBezTo>
                  <a:cubicBezTo>
                    <a:pt x="416909" y="2569"/>
                    <a:pt x="416624" y="855"/>
                    <a:pt x="415290" y="188"/>
                  </a:cubicBezTo>
                  <a:cubicBezTo>
                    <a:pt x="414433" y="-193"/>
                    <a:pt x="413385" y="93"/>
                    <a:pt x="412433" y="283"/>
                  </a:cubicBezTo>
                  <a:cubicBezTo>
                    <a:pt x="395002" y="5331"/>
                    <a:pt x="376619" y="5617"/>
                    <a:pt x="358521" y="5998"/>
                  </a:cubicBezTo>
                  <a:cubicBezTo>
                    <a:pt x="238982" y="8475"/>
                    <a:pt x="119444" y="18476"/>
                    <a:pt x="0" y="13618"/>
                  </a:cubicBezTo>
                  <a:lnTo>
                    <a:pt x="3715" y="19619"/>
                  </a:lnTo>
                  <a:cubicBezTo>
                    <a:pt x="-2858" y="93438"/>
                    <a:pt x="21907" y="167256"/>
                    <a:pt x="17240" y="241266"/>
                  </a:cubicBezTo>
                  <a:cubicBezTo>
                    <a:pt x="17145" y="242694"/>
                    <a:pt x="17145" y="244409"/>
                    <a:pt x="18193" y="245361"/>
                  </a:cubicBezTo>
                  <a:cubicBezTo>
                    <a:pt x="19241" y="246314"/>
                    <a:pt x="20764" y="246219"/>
                    <a:pt x="22098" y="246028"/>
                  </a:cubicBezTo>
                  <a:cubicBezTo>
                    <a:pt x="109728" y="236408"/>
                    <a:pt x="197930" y="232122"/>
                    <a:pt x="286131" y="233265"/>
                  </a:cubicBezTo>
                  <a:lnTo>
                    <a:pt x="288417" y="230693"/>
                  </a:lnTo>
                  <a:lnTo>
                    <a:pt x="310515" y="186592"/>
                  </a:lnTo>
                  <a:cubicBezTo>
                    <a:pt x="309086" y="185259"/>
                    <a:pt x="307753" y="183925"/>
                    <a:pt x="306419" y="182401"/>
                  </a:cubicBezTo>
                  <a:cubicBezTo>
                    <a:pt x="303943" y="179639"/>
                    <a:pt x="301181" y="177353"/>
                    <a:pt x="299276" y="174114"/>
                  </a:cubicBezTo>
                  <a:cubicBezTo>
                    <a:pt x="297561" y="171066"/>
                    <a:pt x="295847" y="167828"/>
                    <a:pt x="294608" y="164304"/>
                  </a:cubicBezTo>
                  <a:cubicBezTo>
                    <a:pt x="293370" y="160779"/>
                    <a:pt x="292894" y="157255"/>
                    <a:pt x="292418" y="153540"/>
                  </a:cubicBezTo>
                  <a:cubicBezTo>
                    <a:pt x="291656" y="150016"/>
                    <a:pt x="291179" y="146301"/>
                    <a:pt x="291179" y="142491"/>
                  </a:cubicBezTo>
                  <a:cubicBezTo>
                    <a:pt x="291179" y="138681"/>
                    <a:pt x="291941" y="135252"/>
                    <a:pt x="292418" y="131728"/>
                  </a:cubicBezTo>
                  <a:cubicBezTo>
                    <a:pt x="293179" y="127918"/>
                    <a:pt x="293942" y="124489"/>
                    <a:pt x="295180" y="121155"/>
                  </a:cubicBezTo>
                  <a:cubicBezTo>
                    <a:pt x="296418" y="117631"/>
                    <a:pt x="298133" y="114393"/>
                    <a:pt x="299847" y="111345"/>
                  </a:cubicBezTo>
                  <a:cubicBezTo>
                    <a:pt x="301562" y="108106"/>
                    <a:pt x="303562" y="104772"/>
                    <a:pt x="305752" y="102296"/>
                  </a:cubicBezTo>
                  <a:cubicBezTo>
                    <a:pt x="308229" y="99534"/>
                    <a:pt x="310991" y="97057"/>
                    <a:pt x="313944" y="95057"/>
                  </a:cubicBezTo>
                  <a:cubicBezTo>
                    <a:pt x="316897" y="93057"/>
                    <a:pt x="320421" y="91247"/>
                    <a:pt x="323850" y="90294"/>
                  </a:cubicBezTo>
                  <a:cubicBezTo>
                    <a:pt x="327089" y="89247"/>
                    <a:pt x="330803" y="89532"/>
                    <a:pt x="334518" y="89532"/>
                  </a:cubicBezTo>
                  <a:cubicBezTo>
                    <a:pt x="338233" y="89532"/>
                    <a:pt x="341471" y="90009"/>
                    <a:pt x="344900" y="91056"/>
                  </a:cubicBezTo>
                  <a:cubicBezTo>
                    <a:pt x="348329" y="92104"/>
                    <a:pt x="351568" y="93533"/>
                    <a:pt x="354521" y="95533"/>
                  </a:cubicBezTo>
                  <a:cubicBezTo>
                    <a:pt x="357473" y="97533"/>
                    <a:pt x="360426" y="99534"/>
                    <a:pt x="362902" y="102296"/>
                  </a:cubicBezTo>
                  <a:cubicBezTo>
                    <a:pt x="365379" y="104772"/>
                    <a:pt x="368141" y="107344"/>
                    <a:pt x="370046" y="110583"/>
                  </a:cubicBezTo>
                  <a:cubicBezTo>
                    <a:pt x="371761" y="113821"/>
                    <a:pt x="372523" y="117631"/>
                    <a:pt x="373475" y="121155"/>
                  </a:cubicBezTo>
                  <a:cubicBezTo>
                    <a:pt x="374714" y="124394"/>
                    <a:pt x="375666" y="127918"/>
                    <a:pt x="376238" y="131728"/>
                  </a:cubicBezTo>
                  <a:cubicBezTo>
                    <a:pt x="376523" y="132871"/>
                    <a:pt x="376714" y="134109"/>
                    <a:pt x="377000" y="135348"/>
                  </a:cubicBezTo>
                  <a:cubicBezTo>
                    <a:pt x="377190" y="135062"/>
                    <a:pt x="377476" y="134871"/>
                    <a:pt x="377666" y="134490"/>
                  </a:cubicBezTo>
                  <a:lnTo>
                    <a:pt x="380905" y="168590"/>
                  </a:lnTo>
                  <a:cubicBezTo>
                    <a:pt x="381381" y="164780"/>
                    <a:pt x="382143" y="161065"/>
                    <a:pt x="382619" y="157541"/>
                  </a:cubicBezTo>
                  <a:cubicBezTo>
                    <a:pt x="383096" y="153540"/>
                    <a:pt x="384143" y="150016"/>
                    <a:pt x="384620" y="146206"/>
                  </a:cubicBezTo>
                  <a:cubicBezTo>
                    <a:pt x="385572" y="142491"/>
                    <a:pt x="386525" y="138681"/>
                    <a:pt x="387287" y="135157"/>
                  </a:cubicBezTo>
                  <a:close/>
                  <a:moveTo>
                    <a:pt x="49625" y="229359"/>
                  </a:moveTo>
                  <a:cubicBezTo>
                    <a:pt x="50482" y="224311"/>
                    <a:pt x="48292" y="219168"/>
                    <a:pt x="46863" y="214119"/>
                  </a:cubicBezTo>
                  <a:cubicBezTo>
                    <a:pt x="45530" y="209452"/>
                    <a:pt x="44863" y="204785"/>
                    <a:pt x="44386" y="200118"/>
                  </a:cubicBezTo>
                  <a:cubicBezTo>
                    <a:pt x="43243" y="189450"/>
                    <a:pt x="42672" y="178782"/>
                    <a:pt x="42577" y="168114"/>
                  </a:cubicBezTo>
                  <a:lnTo>
                    <a:pt x="41719" y="167923"/>
                  </a:lnTo>
                  <a:cubicBezTo>
                    <a:pt x="51149" y="167542"/>
                    <a:pt x="60484" y="167161"/>
                    <a:pt x="69818" y="166685"/>
                  </a:cubicBezTo>
                  <a:cubicBezTo>
                    <a:pt x="70580" y="166685"/>
                    <a:pt x="71437" y="166685"/>
                    <a:pt x="72009" y="166875"/>
                  </a:cubicBezTo>
                  <a:cubicBezTo>
                    <a:pt x="72580" y="166971"/>
                    <a:pt x="72580" y="167352"/>
                    <a:pt x="72485" y="167637"/>
                  </a:cubicBezTo>
                  <a:cubicBezTo>
                    <a:pt x="71152" y="172114"/>
                    <a:pt x="73152" y="176686"/>
                    <a:pt x="74105" y="181163"/>
                  </a:cubicBezTo>
                  <a:cubicBezTo>
                    <a:pt x="77724" y="196879"/>
                    <a:pt x="70199" y="212976"/>
                    <a:pt x="81058" y="228312"/>
                  </a:cubicBezTo>
                  <a:cubicBezTo>
                    <a:pt x="70580" y="228788"/>
                    <a:pt x="60198" y="229074"/>
                    <a:pt x="49625" y="229359"/>
                  </a:cubicBezTo>
                  <a:close/>
                  <a:moveTo>
                    <a:pt x="97155" y="229359"/>
                  </a:moveTo>
                  <a:cubicBezTo>
                    <a:pt x="98012" y="221549"/>
                    <a:pt x="95726" y="213643"/>
                    <a:pt x="94297" y="205833"/>
                  </a:cubicBezTo>
                  <a:cubicBezTo>
                    <a:pt x="93059" y="198689"/>
                    <a:pt x="92393" y="191450"/>
                    <a:pt x="91916" y="184306"/>
                  </a:cubicBezTo>
                  <a:cubicBezTo>
                    <a:pt x="90773" y="167923"/>
                    <a:pt x="90202" y="151445"/>
                    <a:pt x="90107" y="135062"/>
                  </a:cubicBezTo>
                  <a:lnTo>
                    <a:pt x="89249" y="134681"/>
                  </a:lnTo>
                  <a:cubicBezTo>
                    <a:pt x="98584" y="134014"/>
                    <a:pt x="108014" y="133443"/>
                    <a:pt x="117348" y="132871"/>
                  </a:cubicBezTo>
                  <a:cubicBezTo>
                    <a:pt x="118110" y="132871"/>
                    <a:pt x="118967" y="132776"/>
                    <a:pt x="119444" y="133062"/>
                  </a:cubicBezTo>
                  <a:cubicBezTo>
                    <a:pt x="120110" y="133347"/>
                    <a:pt x="120110" y="133824"/>
                    <a:pt x="120015" y="134205"/>
                  </a:cubicBezTo>
                  <a:cubicBezTo>
                    <a:pt x="118682" y="141158"/>
                    <a:pt x="120586" y="148111"/>
                    <a:pt x="121634" y="155064"/>
                  </a:cubicBezTo>
                  <a:cubicBezTo>
                    <a:pt x="125254" y="179353"/>
                    <a:pt x="117729" y="204023"/>
                    <a:pt x="128587" y="227740"/>
                  </a:cubicBezTo>
                  <a:cubicBezTo>
                    <a:pt x="118110" y="228407"/>
                    <a:pt x="107633" y="228978"/>
                    <a:pt x="97155" y="229359"/>
                  </a:cubicBezTo>
                  <a:close/>
                  <a:moveTo>
                    <a:pt x="143161" y="229359"/>
                  </a:moveTo>
                  <a:cubicBezTo>
                    <a:pt x="144018" y="217548"/>
                    <a:pt x="141732" y="205642"/>
                    <a:pt x="140303" y="193831"/>
                  </a:cubicBezTo>
                  <a:cubicBezTo>
                    <a:pt x="138970" y="183068"/>
                    <a:pt x="138398" y="172209"/>
                    <a:pt x="137827" y="161351"/>
                  </a:cubicBezTo>
                  <a:cubicBezTo>
                    <a:pt x="136684" y="136586"/>
                    <a:pt x="136112" y="111821"/>
                    <a:pt x="136112" y="87056"/>
                  </a:cubicBezTo>
                  <a:lnTo>
                    <a:pt x="135160" y="86484"/>
                  </a:lnTo>
                  <a:cubicBezTo>
                    <a:pt x="144590" y="85532"/>
                    <a:pt x="153924" y="84675"/>
                    <a:pt x="163354" y="83817"/>
                  </a:cubicBezTo>
                  <a:cubicBezTo>
                    <a:pt x="164021" y="83722"/>
                    <a:pt x="164878" y="83627"/>
                    <a:pt x="165449" y="84008"/>
                  </a:cubicBezTo>
                  <a:cubicBezTo>
                    <a:pt x="166116" y="84389"/>
                    <a:pt x="166021" y="85151"/>
                    <a:pt x="165926" y="85818"/>
                  </a:cubicBezTo>
                  <a:cubicBezTo>
                    <a:pt x="164592" y="96295"/>
                    <a:pt x="166592" y="106868"/>
                    <a:pt x="167640" y="117345"/>
                  </a:cubicBezTo>
                  <a:cubicBezTo>
                    <a:pt x="171164" y="153826"/>
                    <a:pt x="163735" y="191164"/>
                    <a:pt x="174498" y="226883"/>
                  </a:cubicBezTo>
                  <a:cubicBezTo>
                    <a:pt x="164116" y="227931"/>
                    <a:pt x="153638" y="228788"/>
                    <a:pt x="143161" y="229359"/>
                  </a:cubicBezTo>
                  <a:close/>
                  <a:moveTo>
                    <a:pt x="197168" y="229359"/>
                  </a:moveTo>
                  <a:cubicBezTo>
                    <a:pt x="198025" y="213738"/>
                    <a:pt x="195739" y="198117"/>
                    <a:pt x="194310" y="182496"/>
                  </a:cubicBezTo>
                  <a:cubicBezTo>
                    <a:pt x="192977" y="168209"/>
                    <a:pt x="192405" y="153921"/>
                    <a:pt x="191929" y="139539"/>
                  </a:cubicBezTo>
                  <a:cubicBezTo>
                    <a:pt x="190691" y="106868"/>
                    <a:pt x="190119" y="74197"/>
                    <a:pt x="190119" y="41526"/>
                  </a:cubicBezTo>
                  <a:lnTo>
                    <a:pt x="189167" y="40669"/>
                  </a:lnTo>
                  <a:cubicBezTo>
                    <a:pt x="198596" y="39526"/>
                    <a:pt x="207931" y="38288"/>
                    <a:pt x="217361" y="37145"/>
                  </a:cubicBezTo>
                  <a:cubicBezTo>
                    <a:pt x="218122" y="37050"/>
                    <a:pt x="218884" y="36954"/>
                    <a:pt x="219456" y="37431"/>
                  </a:cubicBezTo>
                  <a:cubicBezTo>
                    <a:pt x="220123" y="38002"/>
                    <a:pt x="220028" y="39050"/>
                    <a:pt x="220028" y="39907"/>
                  </a:cubicBezTo>
                  <a:cubicBezTo>
                    <a:pt x="218694" y="53718"/>
                    <a:pt x="220599" y="67625"/>
                    <a:pt x="221647" y="81436"/>
                  </a:cubicBezTo>
                  <a:cubicBezTo>
                    <a:pt x="225171" y="129633"/>
                    <a:pt x="217742" y="178972"/>
                    <a:pt x="228505" y="226121"/>
                  </a:cubicBezTo>
                  <a:cubicBezTo>
                    <a:pt x="218122" y="227550"/>
                    <a:pt x="207645" y="228597"/>
                    <a:pt x="197168" y="229359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8B30432C-5671-879C-4041-F4A6BC20395A}"/>
                </a:ext>
              </a:extLst>
            </p:cNvPr>
            <p:cNvSpPr/>
            <p:nvPr/>
          </p:nvSpPr>
          <p:spPr>
            <a:xfrm>
              <a:off x="6027894" y="4472761"/>
              <a:ext cx="19169" cy="34761"/>
            </a:xfrm>
            <a:custGeom>
              <a:avLst/>
              <a:gdLst>
                <a:gd name="connsiteX0" fmla="*/ 204 w 13131"/>
                <a:gd name="connsiteY0" fmla="*/ 10096 h 23812"/>
                <a:gd name="connsiteX1" fmla="*/ 299 w 13131"/>
                <a:gd name="connsiteY1" fmla="*/ 17145 h 23812"/>
                <a:gd name="connsiteX2" fmla="*/ 2775 w 13131"/>
                <a:gd name="connsiteY2" fmla="*/ 21812 h 23812"/>
                <a:gd name="connsiteX3" fmla="*/ 8586 w 13131"/>
                <a:gd name="connsiteY3" fmla="*/ 23622 h 23812"/>
                <a:gd name="connsiteX4" fmla="*/ 8586 w 13131"/>
                <a:gd name="connsiteY4" fmla="*/ 23813 h 23812"/>
                <a:gd name="connsiteX5" fmla="*/ 10395 w 13131"/>
                <a:gd name="connsiteY5" fmla="*/ 22860 h 23812"/>
                <a:gd name="connsiteX6" fmla="*/ 12396 w 13131"/>
                <a:gd name="connsiteY6" fmla="*/ 18669 h 23812"/>
                <a:gd name="connsiteX7" fmla="*/ 12872 w 13131"/>
                <a:gd name="connsiteY7" fmla="*/ 7715 h 23812"/>
                <a:gd name="connsiteX8" fmla="*/ 12015 w 13131"/>
                <a:gd name="connsiteY8" fmla="*/ 4667 h 23812"/>
                <a:gd name="connsiteX9" fmla="*/ 9633 w 13131"/>
                <a:gd name="connsiteY9" fmla="*/ 2191 h 23812"/>
                <a:gd name="connsiteX10" fmla="*/ 5728 w 13131"/>
                <a:gd name="connsiteY10" fmla="*/ 0 h 23812"/>
                <a:gd name="connsiteX11" fmla="*/ 3252 w 13131"/>
                <a:gd name="connsiteY11" fmla="*/ 476 h 23812"/>
                <a:gd name="connsiteX12" fmla="*/ 204 w 13131"/>
                <a:gd name="connsiteY12" fmla="*/ 10096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31" h="23812">
                  <a:moveTo>
                    <a:pt x="204" y="10096"/>
                  </a:moveTo>
                  <a:cubicBezTo>
                    <a:pt x="13" y="12478"/>
                    <a:pt x="-177" y="14859"/>
                    <a:pt x="299" y="17145"/>
                  </a:cubicBezTo>
                  <a:cubicBezTo>
                    <a:pt x="680" y="18955"/>
                    <a:pt x="1537" y="20479"/>
                    <a:pt x="2775" y="21812"/>
                  </a:cubicBezTo>
                  <a:lnTo>
                    <a:pt x="8586" y="23622"/>
                  </a:lnTo>
                  <a:cubicBezTo>
                    <a:pt x="8586" y="23717"/>
                    <a:pt x="8586" y="23717"/>
                    <a:pt x="8586" y="23813"/>
                  </a:cubicBezTo>
                  <a:cubicBezTo>
                    <a:pt x="9252" y="23622"/>
                    <a:pt x="9919" y="23336"/>
                    <a:pt x="10395" y="22860"/>
                  </a:cubicBezTo>
                  <a:cubicBezTo>
                    <a:pt x="11538" y="21812"/>
                    <a:pt x="12015" y="20193"/>
                    <a:pt x="12396" y="18669"/>
                  </a:cubicBezTo>
                  <a:cubicBezTo>
                    <a:pt x="13158" y="15049"/>
                    <a:pt x="13348" y="11335"/>
                    <a:pt x="12872" y="7715"/>
                  </a:cubicBezTo>
                  <a:cubicBezTo>
                    <a:pt x="12777" y="6668"/>
                    <a:pt x="12586" y="5620"/>
                    <a:pt x="12015" y="4667"/>
                  </a:cubicBezTo>
                  <a:cubicBezTo>
                    <a:pt x="11443" y="3620"/>
                    <a:pt x="10586" y="2858"/>
                    <a:pt x="9633" y="2191"/>
                  </a:cubicBezTo>
                  <a:cubicBezTo>
                    <a:pt x="8395" y="1334"/>
                    <a:pt x="7062" y="572"/>
                    <a:pt x="5728" y="0"/>
                  </a:cubicBezTo>
                  <a:lnTo>
                    <a:pt x="3252" y="476"/>
                  </a:lnTo>
                  <a:cubicBezTo>
                    <a:pt x="870" y="2858"/>
                    <a:pt x="394" y="6668"/>
                    <a:pt x="204" y="10096"/>
                  </a:cubicBezTo>
                  <a:close/>
                </a:path>
              </a:pathLst>
            </a:custGeom>
            <a:solidFill>
              <a:srgbClr val="88BCA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48496199-6301-B7F4-F3F7-FED52D4C03D9}"/>
                </a:ext>
              </a:extLst>
            </p:cNvPr>
            <p:cNvSpPr/>
            <p:nvPr/>
          </p:nvSpPr>
          <p:spPr>
            <a:xfrm>
              <a:off x="5976882" y="4493897"/>
              <a:ext cx="41574" cy="53694"/>
            </a:xfrm>
            <a:custGeom>
              <a:avLst/>
              <a:gdLst>
                <a:gd name="connsiteX0" fmla="*/ 12573 w 28479"/>
                <a:gd name="connsiteY0" fmla="*/ 22955 h 36781"/>
                <a:gd name="connsiteX1" fmla="*/ 11716 w 28479"/>
                <a:gd name="connsiteY1" fmla="*/ 22765 h 36781"/>
                <a:gd name="connsiteX2" fmla="*/ 11430 w 28479"/>
                <a:gd name="connsiteY2" fmla="*/ 21907 h 36781"/>
                <a:gd name="connsiteX3" fmla="*/ 13621 w 28479"/>
                <a:gd name="connsiteY3" fmla="*/ 4667 h 36781"/>
                <a:gd name="connsiteX4" fmla="*/ 13811 w 28479"/>
                <a:gd name="connsiteY4" fmla="*/ 3239 h 36781"/>
                <a:gd name="connsiteX5" fmla="*/ 12192 w 28479"/>
                <a:gd name="connsiteY5" fmla="*/ 571 h 36781"/>
                <a:gd name="connsiteX6" fmla="*/ 7810 w 28479"/>
                <a:gd name="connsiteY6" fmla="*/ 0 h 36781"/>
                <a:gd name="connsiteX7" fmla="*/ 4763 w 28479"/>
                <a:gd name="connsiteY7" fmla="*/ 571 h 36781"/>
                <a:gd name="connsiteX8" fmla="*/ 2477 w 28479"/>
                <a:gd name="connsiteY8" fmla="*/ 4191 h 36781"/>
                <a:gd name="connsiteX9" fmla="*/ 0 w 28479"/>
                <a:gd name="connsiteY9" fmla="*/ 17431 h 36781"/>
                <a:gd name="connsiteX10" fmla="*/ 3620 w 28479"/>
                <a:gd name="connsiteY10" fmla="*/ 30194 h 36781"/>
                <a:gd name="connsiteX11" fmla="*/ 14859 w 28479"/>
                <a:gd name="connsiteY11" fmla="*/ 36767 h 36781"/>
                <a:gd name="connsiteX12" fmla="*/ 25241 w 28479"/>
                <a:gd name="connsiteY12" fmla="*/ 32576 h 36781"/>
                <a:gd name="connsiteX13" fmla="*/ 28480 w 28479"/>
                <a:gd name="connsiteY13" fmla="*/ 27051 h 36781"/>
                <a:gd name="connsiteX14" fmla="*/ 25527 w 28479"/>
                <a:gd name="connsiteY14" fmla="*/ 22289 h 36781"/>
                <a:gd name="connsiteX15" fmla="*/ 12573 w 28479"/>
                <a:gd name="connsiteY15" fmla="*/ 22955 h 36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479" h="36781">
                  <a:moveTo>
                    <a:pt x="12573" y="22955"/>
                  </a:moveTo>
                  <a:cubicBezTo>
                    <a:pt x="12287" y="22955"/>
                    <a:pt x="11906" y="22955"/>
                    <a:pt x="11716" y="22765"/>
                  </a:cubicBezTo>
                  <a:cubicBezTo>
                    <a:pt x="11430" y="22574"/>
                    <a:pt x="11430" y="22193"/>
                    <a:pt x="11430" y="21907"/>
                  </a:cubicBezTo>
                  <a:cubicBezTo>
                    <a:pt x="11049" y="16097"/>
                    <a:pt x="12192" y="10287"/>
                    <a:pt x="13621" y="4667"/>
                  </a:cubicBezTo>
                  <a:cubicBezTo>
                    <a:pt x="13716" y="4191"/>
                    <a:pt x="13811" y="3715"/>
                    <a:pt x="13811" y="3239"/>
                  </a:cubicBezTo>
                  <a:lnTo>
                    <a:pt x="12192" y="571"/>
                  </a:lnTo>
                  <a:cubicBezTo>
                    <a:pt x="10763" y="286"/>
                    <a:pt x="9335" y="95"/>
                    <a:pt x="7810" y="0"/>
                  </a:cubicBezTo>
                  <a:cubicBezTo>
                    <a:pt x="6763" y="0"/>
                    <a:pt x="5620" y="0"/>
                    <a:pt x="4763" y="571"/>
                  </a:cubicBezTo>
                  <a:cubicBezTo>
                    <a:pt x="3524" y="1333"/>
                    <a:pt x="2953" y="2762"/>
                    <a:pt x="2477" y="4191"/>
                  </a:cubicBezTo>
                  <a:cubicBezTo>
                    <a:pt x="1048" y="8477"/>
                    <a:pt x="0" y="12859"/>
                    <a:pt x="0" y="17431"/>
                  </a:cubicBezTo>
                  <a:cubicBezTo>
                    <a:pt x="0" y="21907"/>
                    <a:pt x="1048" y="26480"/>
                    <a:pt x="3620" y="30194"/>
                  </a:cubicBezTo>
                  <a:cubicBezTo>
                    <a:pt x="6191" y="33909"/>
                    <a:pt x="10382" y="36576"/>
                    <a:pt x="14859" y="36767"/>
                  </a:cubicBezTo>
                  <a:cubicBezTo>
                    <a:pt x="18669" y="36957"/>
                    <a:pt x="22574" y="35338"/>
                    <a:pt x="25241" y="32576"/>
                  </a:cubicBezTo>
                  <a:cubicBezTo>
                    <a:pt x="26765" y="31052"/>
                    <a:pt x="27813" y="29051"/>
                    <a:pt x="28480" y="27051"/>
                  </a:cubicBezTo>
                  <a:lnTo>
                    <a:pt x="25527" y="22289"/>
                  </a:lnTo>
                  <a:cubicBezTo>
                    <a:pt x="21241" y="22479"/>
                    <a:pt x="16859" y="22765"/>
                    <a:pt x="12573" y="22955"/>
                  </a:cubicBezTo>
                  <a:close/>
                </a:path>
              </a:pathLst>
            </a:custGeom>
            <a:solidFill>
              <a:srgbClr val="88BCA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A266D2FD-2BC0-7E49-0C77-A070E714FF88}"/>
                </a:ext>
              </a:extLst>
            </p:cNvPr>
            <p:cNvSpPr/>
            <p:nvPr/>
          </p:nvSpPr>
          <p:spPr>
            <a:xfrm>
              <a:off x="5976605" y="4602771"/>
              <a:ext cx="556" cy="3336"/>
            </a:xfrm>
            <a:custGeom>
              <a:avLst/>
              <a:gdLst>
                <a:gd name="connsiteX0" fmla="*/ 381 w 381"/>
                <a:gd name="connsiteY0" fmla="*/ 2286 h 2285"/>
                <a:gd name="connsiteX1" fmla="*/ 95 w 381"/>
                <a:gd name="connsiteY1" fmla="*/ 0 h 2285"/>
                <a:gd name="connsiteX2" fmla="*/ 0 w 381"/>
                <a:gd name="connsiteY2" fmla="*/ 95 h 2285"/>
                <a:gd name="connsiteX3" fmla="*/ 381 w 381"/>
                <a:gd name="connsiteY3" fmla="*/ 2286 h 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" h="2285">
                  <a:moveTo>
                    <a:pt x="381" y="2286"/>
                  </a:moveTo>
                  <a:cubicBezTo>
                    <a:pt x="286" y="1524"/>
                    <a:pt x="190" y="762"/>
                    <a:pt x="95" y="0"/>
                  </a:cubicBezTo>
                  <a:cubicBezTo>
                    <a:pt x="95" y="0"/>
                    <a:pt x="0" y="95"/>
                    <a:pt x="0" y="95"/>
                  </a:cubicBezTo>
                  <a:lnTo>
                    <a:pt x="381" y="2286"/>
                  </a:ln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75A78238-78FB-EBCF-6F40-1623C5CB0757}"/>
                </a:ext>
              </a:extLst>
            </p:cNvPr>
            <p:cNvSpPr/>
            <p:nvPr/>
          </p:nvSpPr>
          <p:spPr>
            <a:xfrm>
              <a:off x="5813779" y="4816210"/>
              <a:ext cx="352540" cy="354807"/>
            </a:xfrm>
            <a:custGeom>
              <a:avLst/>
              <a:gdLst>
                <a:gd name="connsiteX0" fmla="*/ 241268 w 241495"/>
                <a:gd name="connsiteY0" fmla="*/ 230981 h 243048"/>
                <a:gd name="connsiteX1" fmla="*/ 225647 w 241495"/>
                <a:gd name="connsiteY1" fmla="*/ 232505 h 243048"/>
                <a:gd name="connsiteX2" fmla="*/ 218503 w 241495"/>
                <a:gd name="connsiteY2" fmla="*/ 222980 h 243048"/>
                <a:gd name="connsiteX3" fmla="*/ 212312 w 241495"/>
                <a:gd name="connsiteY3" fmla="*/ 213170 h 243048"/>
                <a:gd name="connsiteX4" fmla="*/ 205169 w 241495"/>
                <a:gd name="connsiteY4" fmla="*/ 203835 h 243048"/>
                <a:gd name="connsiteX5" fmla="*/ 198692 w 241495"/>
                <a:gd name="connsiteY5" fmla="*/ 194310 h 243048"/>
                <a:gd name="connsiteX6" fmla="*/ 192976 w 241495"/>
                <a:gd name="connsiteY6" fmla="*/ 184023 h 243048"/>
                <a:gd name="connsiteX7" fmla="*/ 186499 w 241495"/>
                <a:gd name="connsiteY7" fmla="*/ 175450 h 243048"/>
                <a:gd name="connsiteX8" fmla="*/ 181261 w 241495"/>
                <a:gd name="connsiteY8" fmla="*/ 165925 h 243048"/>
                <a:gd name="connsiteX9" fmla="*/ 174784 w 241495"/>
                <a:gd name="connsiteY9" fmla="*/ 157163 h 243048"/>
                <a:gd name="connsiteX10" fmla="*/ 168593 w 241495"/>
                <a:gd name="connsiteY10" fmla="*/ 148399 h 243048"/>
                <a:gd name="connsiteX11" fmla="*/ 161925 w 241495"/>
                <a:gd name="connsiteY11" fmla="*/ 139827 h 243048"/>
                <a:gd name="connsiteX12" fmla="*/ 155734 w 241495"/>
                <a:gd name="connsiteY12" fmla="*/ 131254 h 243048"/>
                <a:gd name="connsiteX13" fmla="*/ 148304 w 241495"/>
                <a:gd name="connsiteY13" fmla="*/ 123253 h 243048"/>
                <a:gd name="connsiteX14" fmla="*/ 141827 w 241495"/>
                <a:gd name="connsiteY14" fmla="*/ 114491 h 243048"/>
                <a:gd name="connsiteX15" fmla="*/ 141637 w 241495"/>
                <a:gd name="connsiteY15" fmla="*/ 114109 h 243048"/>
                <a:gd name="connsiteX16" fmla="*/ 135065 w 241495"/>
                <a:gd name="connsiteY16" fmla="*/ 118967 h 243048"/>
                <a:gd name="connsiteX17" fmla="*/ 124873 w 241495"/>
                <a:gd name="connsiteY17" fmla="*/ 123444 h 243048"/>
                <a:gd name="connsiteX18" fmla="*/ 113728 w 241495"/>
                <a:gd name="connsiteY18" fmla="*/ 124492 h 243048"/>
                <a:gd name="connsiteX19" fmla="*/ 102299 w 241495"/>
                <a:gd name="connsiteY19" fmla="*/ 124206 h 243048"/>
                <a:gd name="connsiteX20" fmla="*/ 91916 w 241495"/>
                <a:gd name="connsiteY20" fmla="*/ 119444 h 243048"/>
                <a:gd name="connsiteX21" fmla="*/ 84011 w 241495"/>
                <a:gd name="connsiteY21" fmla="*/ 111443 h 243048"/>
                <a:gd name="connsiteX22" fmla="*/ 76867 w 241495"/>
                <a:gd name="connsiteY22" fmla="*/ 102870 h 243048"/>
                <a:gd name="connsiteX23" fmla="*/ 71152 w 241495"/>
                <a:gd name="connsiteY23" fmla="*/ 93059 h 243048"/>
                <a:gd name="connsiteX24" fmla="*/ 68675 w 241495"/>
                <a:gd name="connsiteY24" fmla="*/ 82010 h 243048"/>
                <a:gd name="connsiteX25" fmla="*/ 67056 w 241495"/>
                <a:gd name="connsiteY25" fmla="*/ 71533 h 243048"/>
                <a:gd name="connsiteX26" fmla="*/ 66770 w 241495"/>
                <a:gd name="connsiteY26" fmla="*/ 70961 h 243048"/>
                <a:gd name="connsiteX27" fmla="*/ 60579 w 241495"/>
                <a:gd name="connsiteY27" fmla="*/ 57436 h 243048"/>
                <a:gd name="connsiteX28" fmla="*/ 53150 w 241495"/>
                <a:gd name="connsiteY28" fmla="*/ 49435 h 243048"/>
                <a:gd name="connsiteX29" fmla="*/ 45434 w 241495"/>
                <a:gd name="connsiteY29" fmla="*/ 41624 h 243048"/>
                <a:gd name="connsiteX30" fmla="*/ 38291 w 241495"/>
                <a:gd name="connsiteY30" fmla="*/ 33338 h 243048"/>
                <a:gd name="connsiteX31" fmla="*/ 30385 w 241495"/>
                <a:gd name="connsiteY31" fmla="*/ 26098 h 243048"/>
                <a:gd name="connsiteX32" fmla="*/ 23241 w 241495"/>
                <a:gd name="connsiteY32" fmla="*/ 17812 h 243048"/>
                <a:gd name="connsiteX33" fmla="*/ 14859 w 241495"/>
                <a:gd name="connsiteY33" fmla="*/ 11049 h 243048"/>
                <a:gd name="connsiteX34" fmla="*/ 1238 w 241495"/>
                <a:gd name="connsiteY34" fmla="*/ 0 h 243048"/>
                <a:gd name="connsiteX35" fmla="*/ 0 w 241495"/>
                <a:gd name="connsiteY35" fmla="*/ 3334 h 243048"/>
                <a:gd name="connsiteX36" fmla="*/ 13907 w 241495"/>
                <a:gd name="connsiteY36" fmla="*/ 21812 h 243048"/>
                <a:gd name="connsiteX37" fmla="*/ 19336 w 241495"/>
                <a:gd name="connsiteY37" fmla="*/ 31337 h 243048"/>
                <a:gd name="connsiteX38" fmla="*/ 24575 w 241495"/>
                <a:gd name="connsiteY38" fmla="*/ 41148 h 243048"/>
                <a:gd name="connsiteX39" fmla="*/ 29528 w 241495"/>
                <a:gd name="connsiteY39" fmla="*/ 50959 h 243048"/>
                <a:gd name="connsiteX40" fmla="*/ 35433 w 241495"/>
                <a:gd name="connsiteY40" fmla="*/ 60484 h 243048"/>
                <a:gd name="connsiteX41" fmla="*/ 38862 w 241495"/>
                <a:gd name="connsiteY41" fmla="*/ 71056 h 243048"/>
                <a:gd name="connsiteX42" fmla="*/ 43529 w 241495"/>
                <a:gd name="connsiteY42" fmla="*/ 81058 h 243048"/>
                <a:gd name="connsiteX43" fmla="*/ 47530 w 241495"/>
                <a:gd name="connsiteY43" fmla="*/ 91345 h 243048"/>
                <a:gd name="connsiteX44" fmla="*/ 52197 w 241495"/>
                <a:gd name="connsiteY44" fmla="*/ 101346 h 243048"/>
                <a:gd name="connsiteX45" fmla="*/ 57150 w 241495"/>
                <a:gd name="connsiteY45" fmla="*/ 111347 h 243048"/>
                <a:gd name="connsiteX46" fmla="*/ 60103 w 241495"/>
                <a:gd name="connsiteY46" fmla="*/ 122111 h 243048"/>
                <a:gd name="connsiteX47" fmla="*/ 64294 w 241495"/>
                <a:gd name="connsiteY47" fmla="*/ 132397 h 243048"/>
                <a:gd name="connsiteX48" fmla="*/ 69247 w 241495"/>
                <a:gd name="connsiteY48" fmla="*/ 142208 h 243048"/>
                <a:gd name="connsiteX49" fmla="*/ 72009 w 241495"/>
                <a:gd name="connsiteY49" fmla="*/ 152972 h 243048"/>
                <a:gd name="connsiteX50" fmla="*/ 76676 w 241495"/>
                <a:gd name="connsiteY50" fmla="*/ 162973 h 243048"/>
                <a:gd name="connsiteX51" fmla="*/ 80677 w 241495"/>
                <a:gd name="connsiteY51" fmla="*/ 173260 h 243048"/>
                <a:gd name="connsiteX52" fmla="*/ 83153 w 241495"/>
                <a:gd name="connsiteY52" fmla="*/ 184309 h 243048"/>
                <a:gd name="connsiteX53" fmla="*/ 87821 w 241495"/>
                <a:gd name="connsiteY53" fmla="*/ 194310 h 243048"/>
                <a:gd name="connsiteX54" fmla="*/ 91535 w 241495"/>
                <a:gd name="connsiteY54" fmla="*/ 204883 h 243048"/>
                <a:gd name="connsiteX55" fmla="*/ 94488 w 241495"/>
                <a:gd name="connsiteY55" fmla="*/ 215455 h 243048"/>
                <a:gd name="connsiteX56" fmla="*/ 93345 w 241495"/>
                <a:gd name="connsiteY56" fmla="*/ 215360 h 243048"/>
                <a:gd name="connsiteX57" fmla="*/ 95059 w 241495"/>
                <a:gd name="connsiteY57" fmla="*/ 219551 h 243048"/>
                <a:gd name="connsiteX58" fmla="*/ 96869 w 241495"/>
                <a:gd name="connsiteY58" fmla="*/ 224885 h 243048"/>
                <a:gd name="connsiteX59" fmla="*/ 182785 w 241495"/>
                <a:gd name="connsiteY59" fmla="*/ 224885 h 243048"/>
                <a:gd name="connsiteX60" fmla="*/ 174308 w 241495"/>
                <a:gd name="connsiteY60" fmla="*/ 216884 h 243048"/>
                <a:gd name="connsiteX61" fmla="*/ 170117 w 241495"/>
                <a:gd name="connsiteY61" fmla="*/ 206883 h 243048"/>
                <a:gd name="connsiteX62" fmla="*/ 165926 w 241495"/>
                <a:gd name="connsiteY62" fmla="*/ 196596 h 243048"/>
                <a:gd name="connsiteX63" fmla="*/ 162211 w 241495"/>
                <a:gd name="connsiteY63" fmla="*/ 186023 h 243048"/>
                <a:gd name="connsiteX64" fmla="*/ 158782 w 241495"/>
                <a:gd name="connsiteY64" fmla="*/ 175736 h 243048"/>
                <a:gd name="connsiteX65" fmla="*/ 165449 w 241495"/>
                <a:gd name="connsiteY65" fmla="*/ 183261 h 243048"/>
                <a:gd name="connsiteX66" fmla="*/ 171164 w 241495"/>
                <a:gd name="connsiteY66" fmla="*/ 192024 h 243048"/>
                <a:gd name="connsiteX67" fmla="*/ 178880 w 241495"/>
                <a:gd name="connsiteY67" fmla="*/ 199072 h 243048"/>
                <a:gd name="connsiteX68" fmla="*/ 185357 w 241495"/>
                <a:gd name="connsiteY68" fmla="*/ 207073 h 243048"/>
                <a:gd name="connsiteX69" fmla="*/ 192310 w 241495"/>
                <a:gd name="connsiteY69" fmla="*/ 214884 h 243048"/>
                <a:gd name="connsiteX70" fmla="*/ 199263 w 241495"/>
                <a:gd name="connsiteY70" fmla="*/ 222409 h 243048"/>
                <a:gd name="connsiteX71" fmla="*/ 206693 w 241495"/>
                <a:gd name="connsiteY71" fmla="*/ 229457 h 243048"/>
                <a:gd name="connsiteX72" fmla="*/ 213646 w 241495"/>
                <a:gd name="connsiteY72" fmla="*/ 236982 h 243048"/>
                <a:gd name="connsiteX73" fmla="*/ 222314 w 241495"/>
                <a:gd name="connsiteY73" fmla="*/ 242983 h 243048"/>
                <a:gd name="connsiteX74" fmla="*/ 233458 w 241495"/>
                <a:gd name="connsiteY74" fmla="*/ 239173 h 243048"/>
                <a:gd name="connsiteX75" fmla="*/ 241268 w 241495"/>
                <a:gd name="connsiteY75" fmla="*/ 230981 h 24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241495" h="243048">
                  <a:moveTo>
                    <a:pt x="241268" y="230981"/>
                  </a:moveTo>
                  <a:cubicBezTo>
                    <a:pt x="239554" y="230219"/>
                    <a:pt x="227647" y="233458"/>
                    <a:pt x="225647" y="232505"/>
                  </a:cubicBezTo>
                  <a:cubicBezTo>
                    <a:pt x="225171" y="232220"/>
                    <a:pt x="222218" y="228219"/>
                    <a:pt x="218503" y="222980"/>
                  </a:cubicBezTo>
                  <a:cubicBezTo>
                    <a:pt x="216313" y="220218"/>
                    <a:pt x="214503" y="216408"/>
                    <a:pt x="212312" y="213170"/>
                  </a:cubicBezTo>
                  <a:cubicBezTo>
                    <a:pt x="210122" y="209931"/>
                    <a:pt x="207359" y="207169"/>
                    <a:pt x="205169" y="203835"/>
                  </a:cubicBezTo>
                  <a:cubicBezTo>
                    <a:pt x="202692" y="200597"/>
                    <a:pt x="200692" y="197072"/>
                    <a:pt x="198692" y="194310"/>
                  </a:cubicBezTo>
                  <a:cubicBezTo>
                    <a:pt x="195263" y="189071"/>
                    <a:pt x="193262" y="184975"/>
                    <a:pt x="192976" y="184023"/>
                  </a:cubicBezTo>
                  <a:cubicBezTo>
                    <a:pt x="192691" y="183261"/>
                    <a:pt x="190024" y="180213"/>
                    <a:pt x="186499" y="175450"/>
                  </a:cubicBezTo>
                  <a:cubicBezTo>
                    <a:pt x="184785" y="172688"/>
                    <a:pt x="183547" y="169164"/>
                    <a:pt x="181261" y="165925"/>
                  </a:cubicBezTo>
                  <a:cubicBezTo>
                    <a:pt x="179261" y="163163"/>
                    <a:pt x="177070" y="160401"/>
                    <a:pt x="174784" y="157163"/>
                  </a:cubicBezTo>
                  <a:cubicBezTo>
                    <a:pt x="172593" y="154400"/>
                    <a:pt x="170593" y="151352"/>
                    <a:pt x="168593" y="148399"/>
                  </a:cubicBezTo>
                  <a:cubicBezTo>
                    <a:pt x="166402" y="145637"/>
                    <a:pt x="163925" y="142875"/>
                    <a:pt x="161925" y="139827"/>
                  </a:cubicBezTo>
                  <a:cubicBezTo>
                    <a:pt x="159734" y="136779"/>
                    <a:pt x="157734" y="133826"/>
                    <a:pt x="155734" y="131254"/>
                  </a:cubicBezTo>
                  <a:cubicBezTo>
                    <a:pt x="153257" y="128016"/>
                    <a:pt x="150305" y="125730"/>
                    <a:pt x="148304" y="123253"/>
                  </a:cubicBezTo>
                  <a:cubicBezTo>
                    <a:pt x="144304" y="118015"/>
                    <a:pt x="145066" y="118967"/>
                    <a:pt x="141827" y="114491"/>
                  </a:cubicBezTo>
                  <a:lnTo>
                    <a:pt x="141637" y="114109"/>
                  </a:lnTo>
                  <a:cubicBezTo>
                    <a:pt x="139541" y="116015"/>
                    <a:pt x="137446" y="117729"/>
                    <a:pt x="135065" y="118967"/>
                  </a:cubicBezTo>
                  <a:cubicBezTo>
                    <a:pt x="131826" y="120968"/>
                    <a:pt x="128397" y="122492"/>
                    <a:pt x="124873" y="123444"/>
                  </a:cubicBezTo>
                  <a:cubicBezTo>
                    <a:pt x="121158" y="124492"/>
                    <a:pt x="117443" y="124492"/>
                    <a:pt x="113728" y="124492"/>
                  </a:cubicBezTo>
                  <a:cubicBezTo>
                    <a:pt x="109728" y="124492"/>
                    <a:pt x="106013" y="125254"/>
                    <a:pt x="102299" y="124206"/>
                  </a:cubicBezTo>
                  <a:cubicBezTo>
                    <a:pt x="98870" y="123158"/>
                    <a:pt x="95155" y="121444"/>
                    <a:pt x="91916" y="119444"/>
                  </a:cubicBezTo>
                  <a:cubicBezTo>
                    <a:pt x="88964" y="117443"/>
                    <a:pt x="86678" y="114205"/>
                    <a:pt x="84011" y="111443"/>
                  </a:cubicBezTo>
                  <a:cubicBezTo>
                    <a:pt x="81248" y="108966"/>
                    <a:pt x="78772" y="106204"/>
                    <a:pt x="76867" y="102870"/>
                  </a:cubicBezTo>
                  <a:cubicBezTo>
                    <a:pt x="74867" y="99822"/>
                    <a:pt x="72390" y="96869"/>
                    <a:pt x="71152" y="93059"/>
                  </a:cubicBezTo>
                  <a:cubicBezTo>
                    <a:pt x="69628" y="89535"/>
                    <a:pt x="69437" y="85820"/>
                    <a:pt x="68675" y="82010"/>
                  </a:cubicBezTo>
                  <a:cubicBezTo>
                    <a:pt x="68009" y="78772"/>
                    <a:pt x="67151" y="75247"/>
                    <a:pt x="67056" y="71533"/>
                  </a:cubicBezTo>
                  <a:cubicBezTo>
                    <a:pt x="66961" y="71342"/>
                    <a:pt x="66866" y="71247"/>
                    <a:pt x="66770" y="70961"/>
                  </a:cubicBezTo>
                  <a:lnTo>
                    <a:pt x="60579" y="57436"/>
                  </a:lnTo>
                  <a:cubicBezTo>
                    <a:pt x="56864" y="53149"/>
                    <a:pt x="57626" y="54197"/>
                    <a:pt x="53150" y="49435"/>
                  </a:cubicBezTo>
                  <a:cubicBezTo>
                    <a:pt x="50959" y="47149"/>
                    <a:pt x="48197" y="44672"/>
                    <a:pt x="45434" y="41624"/>
                  </a:cubicBezTo>
                  <a:cubicBezTo>
                    <a:pt x="42958" y="39148"/>
                    <a:pt x="40958" y="36100"/>
                    <a:pt x="38291" y="33338"/>
                  </a:cubicBezTo>
                  <a:cubicBezTo>
                    <a:pt x="35814" y="30861"/>
                    <a:pt x="32861" y="28575"/>
                    <a:pt x="30385" y="26098"/>
                  </a:cubicBezTo>
                  <a:cubicBezTo>
                    <a:pt x="27908" y="23622"/>
                    <a:pt x="25718" y="20288"/>
                    <a:pt x="23241" y="17812"/>
                  </a:cubicBezTo>
                  <a:cubicBezTo>
                    <a:pt x="20479" y="15335"/>
                    <a:pt x="17335" y="13335"/>
                    <a:pt x="14859" y="11049"/>
                  </a:cubicBezTo>
                  <a:cubicBezTo>
                    <a:pt x="12668" y="8953"/>
                    <a:pt x="3143" y="1619"/>
                    <a:pt x="1238" y="0"/>
                  </a:cubicBezTo>
                  <a:lnTo>
                    <a:pt x="0" y="3334"/>
                  </a:lnTo>
                  <a:cubicBezTo>
                    <a:pt x="1334" y="5334"/>
                    <a:pt x="12478" y="19717"/>
                    <a:pt x="13907" y="21812"/>
                  </a:cubicBezTo>
                  <a:cubicBezTo>
                    <a:pt x="15621" y="24860"/>
                    <a:pt x="17621" y="28099"/>
                    <a:pt x="19336" y="31337"/>
                  </a:cubicBezTo>
                  <a:cubicBezTo>
                    <a:pt x="21336" y="34385"/>
                    <a:pt x="22574" y="37909"/>
                    <a:pt x="24575" y="41148"/>
                  </a:cubicBezTo>
                  <a:cubicBezTo>
                    <a:pt x="26099" y="44387"/>
                    <a:pt x="27813" y="47720"/>
                    <a:pt x="29528" y="50959"/>
                  </a:cubicBezTo>
                  <a:cubicBezTo>
                    <a:pt x="31052" y="54197"/>
                    <a:pt x="33719" y="56959"/>
                    <a:pt x="35433" y="60484"/>
                  </a:cubicBezTo>
                  <a:cubicBezTo>
                    <a:pt x="36957" y="63722"/>
                    <a:pt x="37433" y="67723"/>
                    <a:pt x="38862" y="71056"/>
                  </a:cubicBezTo>
                  <a:cubicBezTo>
                    <a:pt x="40386" y="74295"/>
                    <a:pt x="42101" y="77819"/>
                    <a:pt x="43529" y="81058"/>
                  </a:cubicBezTo>
                  <a:cubicBezTo>
                    <a:pt x="45053" y="84582"/>
                    <a:pt x="46006" y="88106"/>
                    <a:pt x="47530" y="91345"/>
                  </a:cubicBezTo>
                  <a:cubicBezTo>
                    <a:pt x="49054" y="94869"/>
                    <a:pt x="50768" y="98107"/>
                    <a:pt x="52197" y="101346"/>
                  </a:cubicBezTo>
                  <a:cubicBezTo>
                    <a:pt x="53435" y="104870"/>
                    <a:pt x="55626" y="107918"/>
                    <a:pt x="57150" y="111347"/>
                  </a:cubicBezTo>
                  <a:cubicBezTo>
                    <a:pt x="58388" y="114872"/>
                    <a:pt x="58865" y="118586"/>
                    <a:pt x="60103" y="122111"/>
                  </a:cubicBezTo>
                  <a:cubicBezTo>
                    <a:pt x="61627" y="125349"/>
                    <a:pt x="63056" y="128873"/>
                    <a:pt x="64294" y="132397"/>
                  </a:cubicBezTo>
                  <a:cubicBezTo>
                    <a:pt x="65532" y="135636"/>
                    <a:pt x="68009" y="138684"/>
                    <a:pt x="69247" y="142208"/>
                  </a:cubicBezTo>
                  <a:cubicBezTo>
                    <a:pt x="70771" y="145733"/>
                    <a:pt x="70771" y="149733"/>
                    <a:pt x="72009" y="152972"/>
                  </a:cubicBezTo>
                  <a:cubicBezTo>
                    <a:pt x="73247" y="156496"/>
                    <a:pt x="75438" y="159734"/>
                    <a:pt x="76676" y="162973"/>
                  </a:cubicBezTo>
                  <a:cubicBezTo>
                    <a:pt x="77915" y="166783"/>
                    <a:pt x="79439" y="170021"/>
                    <a:pt x="80677" y="173260"/>
                  </a:cubicBezTo>
                  <a:cubicBezTo>
                    <a:pt x="81915" y="177070"/>
                    <a:pt x="81915" y="181070"/>
                    <a:pt x="83153" y="184309"/>
                  </a:cubicBezTo>
                  <a:cubicBezTo>
                    <a:pt x="84392" y="187833"/>
                    <a:pt x="86582" y="191072"/>
                    <a:pt x="87821" y="194310"/>
                  </a:cubicBezTo>
                  <a:cubicBezTo>
                    <a:pt x="89059" y="198120"/>
                    <a:pt x="90583" y="201549"/>
                    <a:pt x="91535" y="204883"/>
                  </a:cubicBezTo>
                  <a:cubicBezTo>
                    <a:pt x="93059" y="208693"/>
                    <a:pt x="93536" y="212408"/>
                    <a:pt x="94488" y="215455"/>
                  </a:cubicBezTo>
                  <a:lnTo>
                    <a:pt x="93345" y="215360"/>
                  </a:lnTo>
                  <a:cubicBezTo>
                    <a:pt x="93917" y="216789"/>
                    <a:pt x="94488" y="218218"/>
                    <a:pt x="95059" y="219551"/>
                  </a:cubicBezTo>
                  <a:cubicBezTo>
                    <a:pt x="95726" y="221266"/>
                    <a:pt x="96298" y="223075"/>
                    <a:pt x="96869" y="224885"/>
                  </a:cubicBezTo>
                  <a:lnTo>
                    <a:pt x="182785" y="224885"/>
                  </a:lnTo>
                  <a:lnTo>
                    <a:pt x="174308" y="216884"/>
                  </a:lnTo>
                  <a:cubicBezTo>
                    <a:pt x="172307" y="211836"/>
                    <a:pt x="172117" y="211836"/>
                    <a:pt x="170117" y="206883"/>
                  </a:cubicBezTo>
                  <a:cubicBezTo>
                    <a:pt x="168116" y="201644"/>
                    <a:pt x="167926" y="201644"/>
                    <a:pt x="165926" y="196596"/>
                  </a:cubicBezTo>
                  <a:cubicBezTo>
                    <a:pt x="163925" y="191357"/>
                    <a:pt x="164211" y="191357"/>
                    <a:pt x="162211" y="186023"/>
                  </a:cubicBezTo>
                  <a:cubicBezTo>
                    <a:pt x="160496" y="180975"/>
                    <a:pt x="159734" y="180975"/>
                    <a:pt x="158782" y="175736"/>
                  </a:cubicBezTo>
                  <a:cubicBezTo>
                    <a:pt x="158020" y="170497"/>
                    <a:pt x="161544" y="178498"/>
                    <a:pt x="165449" y="183261"/>
                  </a:cubicBezTo>
                  <a:cubicBezTo>
                    <a:pt x="167449" y="185547"/>
                    <a:pt x="168688" y="189071"/>
                    <a:pt x="171164" y="192024"/>
                  </a:cubicBezTo>
                  <a:cubicBezTo>
                    <a:pt x="173165" y="194500"/>
                    <a:pt x="176403" y="196310"/>
                    <a:pt x="178880" y="199072"/>
                  </a:cubicBezTo>
                  <a:cubicBezTo>
                    <a:pt x="181070" y="201549"/>
                    <a:pt x="182880" y="204597"/>
                    <a:pt x="185357" y="207073"/>
                  </a:cubicBezTo>
                  <a:cubicBezTo>
                    <a:pt x="187547" y="209550"/>
                    <a:pt x="189833" y="212122"/>
                    <a:pt x="192310" y="214884"/>
                  </a:cubicBezTo>
                  <a:cubicBezTo>
                    <a:pt x="194501" y="217361"/>
                    <a:pt x="196977" y="219932"/>
                    <a:pt x="199263" y="222409"/>
                  </a:cubicBezTo>
                  <a:cubicBezTo>
                    <a:pt x="201740" y="224885"/>
                    <a:pt x="204216" y="227171"/>
                    <a:pt x="206693" y="229457"/>
                  </a:cubicBezTo>
                  <a:cubicBezTo>
                    <a:pt x="209455" y="232220"/>
                    <a:pt x="211360" y="234982"/>
                    <a:pt x="213646" y="236982"/>
                  </a:cubicBezTo>
                  <a:cubicBezTo>
                    <a:pt x="217646" y="240220"/>
                    <a:pt x="220599" y="242792"/>
                    <a:pt x="222314" y="242983"/>
                  </a:cubicBezTo>
                  <a:cubicBezTo>
                    <a:pt x="226314" y="243459"/>
                    <a:pt x="230219" y="241268"/>
                    <a:pt x="233458" y="239173"/>
                  </a:cubicBezTo>
                  <a:cubicBezTo>
                    <a:pt x="238506" y="236506"/>
                    <a:pt x="242507" y="231743"/>
                    <a:pt x="241268" y="230981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D52A978F-1F17-6BF3-55E5-590D4E1D97F9}"/>
                </a:ext>
              </a:extLst>
            </p:cNvPr>
            <p:cNvSpPr/>
            <p:nvPr/>
          </p:nvSpPr>
          <p:spPr>
            <a:xfrm>
              <a:off x="5422915" y="4699548"/>
              <a:ext cx="413528" cy="445370"/>
            </a:xfrm>
            <a:custGeom>
              <a:avLst/>
              <a:gdLst>
                <a:gd name="connsiteX0" fmla="*/ 0 w 283273"/>
                <a:gd name="connsiteY0" fmla="*/ 305086 h 305085"/>
                <a:gd name="connsiteX1" fmla="*/ 282512 w 283273"/>
                <a:gd name="connsiteY1" fmla="*/ 305086 h 305085"/>
                <a:gd name="connsiteX2" fmla="*/ 283274 w 283273"/>
                <a:gd name="connsiteY2" fmla="*/ 281464 h 305085"/>
                <a:gd name="connsiteX3" fmla="*/ 280797 w 283273"/>
                <a:gd name="connsiteY3" fmla="*/ 123444 h 305085"/>
                <a:gd name="connsiteX4" fmla="*/ 277368 w 283273"/>
                <a:gd name="connsiteY4" fmla="*/ 95726 h 305085"/>
                <a:gd name="connsiteX5" fmla="*/ 275177 w 283273"/>
                <a:gd name="connsiteY5" fmla="*/ 92488 h 305085"/>
                <a:gd name="connsiteX6" fmla="*/ 268034 w 283273"/>
                <a:gd name="connsiteY6" fmla="*/ 83915 h 305085"/>
                <a:gd name="connsiteX7" fmla="*/ 274225 w 283273"/>
                <a:gd name="connsiteY7" fmla="*/ 83915 h 305085"/>
                <a:gd name="connsiteX8" fmla="*/ 276130 w 283273"/>
                <a:gd name="connsiteY8" fmla="*/ 85535 h 305085"/>
                <a:gd name="connsiteX9" fmla="*/ 273463 w 283273"/>
                <a:gd name="connsiteY9" fmla="*/ 64103 h 305085"/>
                <a:gd name="connsiteX10" fmla="*/ 272034 w 283273"/>
                <a:gd name="connsiteY10" fmla="*/ 57341 h 305085"/>
                <a:gd name="connsiteX11" fmla="*/ 270129 w 283273"/>
                <a:gd name="connsiteY11" fmla="*/ 13526 h 305085"/>
                <a:gd name="connsiteX12" fmla="*/ 250698 w 283273"/>
                <a:gd name="connsiteY12" fmla="*/ 5143 h 305085"/>
                <a:gd name="connsiteX13" fmla="*/ 151257 w 283273"/>
                <a:gd name="connsiteY13" fmla="*/ 4953 h 305085"/>
                <a:gd name="connsiteX14" fmla="*/ 109442 w 283273"/>
                <a:gd name="connsiteY14" fmla="*/ 4858 h 305085"/>
                <a:gd name="connsiteX15" fmla="*/ 103727 w 283273"/>
                <a:gd name="connsiteY15" fmla="*/ 3905 h 305085"/>
                <a:gd name="connsiteX16" fmla="*/ 103251 w 283273"/>
                <a:gd name="connsiteY16" fmla="*/ 4667 h 305085"/>
                <a:gd name="connsiteX17" fmla="*/ 98774 w 283273"/>
                <a:gd name="connsiteY17" fmla="*/ 14954 h 305085"/>
                <a:gd name="connsiteX18" fmla="*/ 92583 w 283273"/>
                <a:gd name="connsiteY18" fmla="*/ 24479 h 305085"/>
                <a:gd name="connsiteX19" fmla="*/ 82201 w 283273"/>
                <a:gd name="connsiteY19" fmla="*/ 24765 h 305085"/>
                <a:gd name="connsiteX20" fmla="*/ 72295 w 283273"/>
                <a:gd name="connsiteY20" fmla="*/ 21241 h 305085"/>
                <a:gd name="connsiteX21" fmla="*/ 63151 w 283273"/>
                <a:gd name="connsiteY21" fmla="*/ 18193 h 305085"/>
                <a:gd name="connsiteX22" fmla="*/ 73057 w 283273"/>
                <a:gd name="connsiteY22" fmla="*/ 17431 h 305085"/>
                <a:gd name="connsiteX23" fmla="*/ 81439 w 283273"/>
                <a:gd name="connsiteY23" fmla="*/ 11906 h 305085"/>
                <a:gd name="connsiteX24" fmla="*/ 86868 w 283273"/>
                <a:gd name="connsiteY24" fmla="*/ 1905 h 305085"/>
                <a:gd name="connsiteX25" fmla="*/ 87154 w 283273"/>
                <a:gd name="connsiteY25" fmla="*/ 1143 h 305085"/>
                <a:gd name="connsiteX26" fmla="*/ 80296 w 283273"/>
                <a:gd name="connsiteY26" fmla="*/ 0 h 305085"/>
                <a:gd name="connsiteX27" fmla="*/ 64865 w 283273"/>
                <a:gd name="connsiteY27" fmla="*/ 762 h 305085"/>
                <a:gd name="connsiteX28" fmla="*/ 56674 w 283273"/>
                <a:gd name="connsiteY28" fmla="*/ 1048 h 305085"/>
                <a:gd name="connsiteX29" fmla="*/ 42767 w 283273"/>
                <a:gd name="connsiteY29" fmla="*/ 7811 h 305085"/>
                <a:gd name="connsiteX30" fmla="*/ 44958 w 283273"/>
                <a:gd name="connsiteY30" fmla="*/ 40577 h 305085"/>
                <a:gd name="connsiteX31" fmla="*/ 45244 w 283273"/>
                <a:gd name="connsiteY31" fmla="*/ 43339 h 305085"/>
                <a:gd name="connsiteX32" fmla="*/ 45148 w 283273"/>
                <a:gd name="connsiteY32" fmla="*/ 57626 h 305085"/>
                <a:gd name="connsiteX33" fmla="*/ 48292 w 283273"/>
                <a:gd name="connsiteY33" fmla="*/ 53721 h 305085"/>
                <a:gd name="connsiteX34" fmla="*/ 54197 w 283273"/>
                <a:gd name="connsiteY34" fmla="*/ 45148 h 305085"/>
                <a:gd name="connsiteX35" fmla="*/ 52007 w 283273"/>
                <a:gd name="connsiteY35" fmla="*/ 55150 h 305085"/>
                <a:gd name="connsiteX36" fmla="*/ 48768 w 283273"/>
                <a:gd name="connsiteY36" fmla="*/ 65437 h 305085"/>
                <a:gd name="connsiteX37" fmla="*/ 45530 w 283273"/>
                <a:gd name="connsiteY37" fmla="*/ 75724 h 305085"/>
                <a:gd name="connsiteX38" fmla="*/ 44958 w 283273"/>
                <a:gd name="connsiteY38" fmla="*/ 77629 h 305085"/>
                <a:gd name="connsiteX39" fmla="*/ 44958 w 283273"/>
                <a:gd name="connsiteY39" fmla="*/ 97822 h 305085"/>
                <a:gd name="connsiteX40" fmla="*/ 46291 w 283273"/>
                <a:gd name="connsiteY40" fmla="*/ 116110 h 305085"/>
                <a:gd name="connsiteX41" fmla="*/ 45339 w 283273"/>
                <a:gd name="connsiteY41" fmla="*/ 282416 h 305085"/>
                <a:gd name="connsiteX42" fmla="*/ 0 w 283273"/>
                <a:gd name="connsiteY42" fmla="*/ 305086 h 30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83273" h="305085">
                  <a:moveTo>
                    <a:pt x="0" y="305086"/>
                  </a:moveTo>
                  <a:lnTo>
                    <a:pt x="282512" y="305086"/>
                  </a:lnTo>
                  <a:cubicBezTo>
                    <a:pt x="282797" y="297180"/>
                    <a:pt x="283178" y="289370"/>
                    <a:pt x="283274" y="281464"/>
                  </a:cubicBezTo>
                  <a:cubicBezTo>
                    <a:pt x="279845" y="213932"/>
                    <a:pt x="279083" y="195072"/>
                    <a:pt x="280797" y="123444"/>
                  </a:cubicBezTo>
                  <a:lnTo>
                    <a:pt x="277368" y="95726"/>
                  </a:lnTo>
                  <a:cubicBezTo>
                    <a:pt x="276606" y="94583"/>
                    <a:pt x="275939" y="93536"/>
                    <a:pt x="275177" y="92488"/>
                  </a:cubicBezTo>
                  <a:cubicBezTo>
                    <a:pt x="272987" y="89249"/>
                    <a:pt x="270224" y="86487"/>
                    <a:pt x="268034" y="83915"/>
                  </a:cubicBezTo>
                  <a:cubicBezTo>
                    <a:pt x="266319" y="78867"/>
                    <a:pt x="268986" y="79915"/>
                    <a:pt x="274225" y="83915"/>
                  </a:cubicBezTo>
                  <a:cubicBezTo>
                    <a:pt x="274796" y="84392"/>
                    <a:pt x="275463" y="84963"/>
                    <a:pt x="276130" y="85535"/>
                  </a:cubicBezTo>
                  <a:lnTo>
                    <a:pt x="273463" y="64103"/>
                  </a:lnTo>
                  <a:cubicBezTo>
                    <a:pt x="272987" y="61817"/>
                    <a:pt x="272415" y="59627"/>
                    <a:pt x="272034" y="57341"/>
                  </a:cubicBezTo>
                  <a:cubicBezTo>
                    <a:pt x="269177" y="42958"/>
                    <a:pt x="268510" y="28099"/>
                    <a:pt x="270129" y="13526"/>
                  </a:cubicBezTo>
                  <a:lnTo>
                    <a:pt x="250698" y="5143"/>
                  </a:lnTo>
                  <a:lnTo>
                    <a:pt x="151257" y="4953"/>
                  </a:lnTo>
                  <a:cubicBezTo>
                    <a:pt x="137351" y="4953"/>
                    <a:pt x="123349" y="4953"/>
                    <a:pt x="109442" y="4858"/>
                  </a:cubicBezTo>
                  <a:lnTo>
                    <a:pt x="103727" y="3905"/>
                  </a:lnTo>
                  <a:cubicBezTo>
                    <a:pt x="103632" y="4191"/>
                    <a:pt x="103346" y="4382"/>
                    <a:pt x="103251" y="4667"/>
                  </a:cubicBezTo>
                  <a:cubicBezTo>
                    <a:pt x="101537" y="8477"/>
                    <a:pt x="100298" y="11906"/>
                    <a:pt x="98774" y="14954"/>
                  </a:cubicBezTo>
                  <a:cubicBezTo>
                    <a:pt x="96012" y="20003"/>
                    <a:pt x="94107" y="23717"/>
                    <a:pt x="92583" y="24479"/>
                  </a:cubicBezTo>
                  <a:cubicBezTo>
                    <a:pt x="90107" y="26003"/>
                    <a:pt x="86106" y="25527"/>
                    <a:pt x="82201" y="24765"/>
                  </a:cubicBezTo>
                  <a:cubicBezTo>
                    <a:pt x="78772" y="24289"/>
                    <a:pt x="75533" y="22479"/>
                    <a:pt x="72295" y="21241"/>
                  </a:cubicBezTo>
                  <a:cubicBezTo>
                    <a:pt x="66865" y="19241"/>
                    <a:pt x="59627" y="22289"/>
                    <a:pt x="63151" y="18193"/>
                  </a:cubicBezTo>
                  <a:cubicBezTo>
                    <a:pt x="66580" y="14383"/>
                    <a:pt x="67818" y="18669"/>
                    <a:pt x="73057" y="17431"/>
                  </a:cubicBezTo>
                  <a:cubicBezTo>
                    <a:pt x="76486" y="16669"/>
                    <a:pt x="79534" y="15145"/>
                    <a:pt x="81439" y="11906"/>
                  </a:cubicBezTo>
                  <a:cubicBezTo>
                    <a:pt x="82391" y="10668"/>
                    <a:pt x="84677" y="7144"/>
                    <a:pt x="86868" y="1905"/>
                  </a:cubicBezTo>
                  <a:cubicBezTo>
                    <a:pt x="86963" y="1715"/>
                    <a:pt x="87059" y="1334"/>
                    <a:pt x="87154" y="1143"/>
                  </a:cubicBezTo>
                  <a:lnTo>
                    <a:pt x="80296" y="0"/>
                  </a:lnTo>
                  <a:cubicBezTo>
                    <a:pt x="75152" y="381"/>
                    <a:pt x="70009" y="572"/>
                    <a:pt x="64865" y="762"/>
                  </a:cubicBezTo>
                  <a:cubicBezTo>
                    <a:pt x="62103" y="857"/>
                    <a:pt x="59436" y="953"/>
                    <a:pt x="56674" y="1048"/>
                  </a:cubicBezTo>
                  <a:lnTo>
                    <a:pt x="42767" y="7811"/>
                  </a:lnTo>
                  <a:cubicBezTo>
                    <a:pt x="42577" y="18764"/>
                    <a:pt x="43339" y="29718"/>
                    <a:pt x="44958" y="40577"/>
                  </a:cubicBezTo>
                  <a:cubicBezTo>
                    <a:pt x="45053" y="41529"/>
                    <a:pt x="45148" y="42482"/>
                    <a:pt x="45244" y="43339"/>
                  </a:cubicBezTo>
                  <a:lnTo>
                    <a:pt x="45148" y="57626"/>
                  </a:lnTo>
                  <a:cubicBezTo>
                    <a:pt x="46291" y="56293"/>
                    <a:pt x="47435" y="54959"/>
                    <a:pt x="48292" y="53721"/>
                  </a:cubicBezTo>
                  <a:cubicBezTo>
                    <a:pt x="51530" y="48959"/>
                    <a:pt x="53245" y="45434"/>
                    <a:pt x="54197" y="45148"/>
                  </a:cubicBezTo>
                  <a:cubicBezTo>
                    <a:pt x="55436" y="44672"/>
                    <a:pt x="54197" y="48387"/>
                    <a:pt x="52007" y="55150"/>
                  </a:cubicBezTo>
                  <a:cubicBezTo>
                    <a:pt x="51244" y="58198"/>
                    <a:pt x="50292" y="61722"/>
                    <a:pt x="48768" y="65437"/>
                  </a:cubicBezTo>
                  <a:cubicBezTo>
                    <a:pt x="47815" y="68485"/>
                    <a:pt x="46768" y="72009"/>
                    <a:pt x="45530" y="75724"/>
                  </a:cubicBezTo>
                  <a:cubicBezTo>
                    <a:pt x="45339" y="76295"/>
                    <a:pt x="45148" y="76962"/>
                    <a:pt x="44958" y="77629"/>
                  </a:cubicBezTo>
                  <a:lnTo>
                    <a:pt x="44958" y="97822"/>
                  </a:lnTo>
                  <a:cubicBezTo>
                    <a:pt x="45434" y="104299"/>
                    <a:pt x="45911" y="110300"/>
                    <a:pt x="46291" y="116110"/>
                  </a:cubicBezTo>
                  <a:cubicBezTo>
                    <a:pt x="51149" y="182690"/>
                    <a:pt x="50863" y="207740"/>
                    <a:pt x="45339" y="282416"/>
                  </a:cubicBezTo>
                  <a:lnTo>
                    <a:pt x="0" y="30508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199654C4-F38B-C542-BCDD-A58BCA0135AD}"/>
                </a:ext>
              </a:extLst>
            </p:cNvPr>
            <p:cNvSpPr/>
            <p:nvPr/>
          </p:nvSpPr>
          <p:spPr>
            <a:xfrm>
              <a:off x="5876629" y="4331488"/>
              <a:ext cx="23081" cy="20023"/>
            </a:xfrm>
            <a:custGeom>
              <a:avLst/>
              <a:gdLst>
                <a:gd name="connsiteX0" fmla="*/ 0 w 15811"/>
                <a:gd name="connsiteY0" fmla="*/ 13716 h 13716"/>
                <a:gd name="connsiteX1" fmla="*/ 6191 w 15811"/>
                <a:gd name="connsiteY1" fmla="*/ 6096 h 13716"/>
                <a:gd name="connsiteX2" fmla="*/ 15811 w 15811"/>
                <a:gd name="connsiteY2" fmla="*/ 2477 h 13716"/>
                <a:gd name="connsiteX3" fmla="*/ 2191 w 15811"/>
                <a:gd name="connsiteY3" fmla="*/ 0 h 13716"/>
                <a:gd name="connsiteX4" fmla="*/ 1238 w 15811"/>
                <a:gd name="connsiteY4" fmla="*/ 4286 h 13716"/>
                <a:gd name="connsiteX5" fmla="*/ 0 w 15811"/>
                <a:gd name="connsiteY5" fmla="*/ 13716 h 13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11" h="13716">
                  <a:moveTo>
                    <a:pt x="0" y="13716"/>
                  </a:moveTo>
                  <a:lnTo>
                    <a:pt x="6191" y="6096"/>
                  </a:lnTo>
                  <a:cubicBezTo>
                    <a:pt x="9430" y="5143"/>
                    <a:pt x="12573" y="3905"/>
                    <a:pt x="15811" y="2477"/>
                  </a:cubicBezTo>
                  <a:lnTo>
                    <a:pt x="2191" y="0"/>
                  </a:lnTo>
                  <a:cubicBezTo>
                    <a:pt x="1810" y="1429"/>
                    <a:pt x="1429" y="2858"/>
                    <a:pt x="1238" y="4286"/>
                  </a:cubicBezTo>
                  <a:cubicBezTo>
                    <a:pt x="762" y="7239"/>
                    <a:pt x="191" y="10573"/>
                    <a:pt x="0" y="13716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C3BD717E-D158-DE2F-93D2-25B1057F463E}"/>
                </a:ext>
              </a:extLst>
            </p:cNvPr>
            <p:cNvSpPr/>
            <p:nvPr/>
          </p:nvSpPr>
          <p:spPr>
            <a:xfrm>
              <a:off x="5879966" y="4370839"/>
              <a:ext cx="95942" cy="60339"/>
            </a:xfrm>
            <a:custGeom>
              <a:avLst/>
              <a:gdLst>
                <a:gd name="connsiteX0" fmla="*/ 32956 w 65722"/>
                <a:gd name="connsiteY0" fmla="*/ 572 h 41333"/>
                <a:gd name="connsiteX1" fmla="*/ 28194 w 65722"/>
                <a:gd name="connsiteY1" fmla="*/ 0 h 41333"/>
                <a:gd name="connsiteX2" fmla="*/ 15621 w 65722"/>
                <a:gd name="connsiteY2" fmla="*/ 2000 h 41333"/>
                <a:gd name="connsiteX3" fmla="*/ 7620 w 65722"/>
                <a:gd name="connsiteY3" fmla="*/ 5715 h 41333"/>
                <a:gd name="connsiteX4" fmla="*/ 3048 w 65722"/>
                <a:gd name="connsiteY4" fmla="*/ 13049 h 41333"/>
                <a:gd name="connsiteX5" fmla="*/ 0 w 65722"/>
                <a:gd name="connsiteY5" fmla="*/ 2477 h 41333"/>
                <a:gd name="connsiteX6" fmla="*/ 1238 w 65722"/>
                <a:gd name="connsiteY6" fmla="*/ 9049 h 41333"/>
                <a:gd name="connsiteX7" fmla="*/ 5905 w 65722"/>
                <a:gd name="connsiteY7" fmla="*/ 18383 h 41333"/>
                <a:gd name="connsiteX8" fmla="*/ 11620 w 65722"/>
                <a:gd name="connsiteY8" fmla="*/ 27146 h 41333"/>
                <a:gd name="connsiteX9" fmla="*/ 18574 w 65722"/>
                <a:gd name="connsiteY9" fmla="*/ 34957 h 41333"/>
                <a:gd name="connsiteX10" fmla="*/ 28003 w 65722"/>
                <a:gd name="connsiteY10" fmla="*/ 39243 h 41333"/>
                <a:gd name="connsiteX11" fmla="*/ 37909 w 65722"/>
                <a:gd name="connsiteY11" fmla="*/ 41243 h 41333"/>
                <a:gd name="connsiteX12" fmla="*/ 48292 w 65722"/>
                <a:gd name="connsiteY12" fmla="*/ 40481 h 41333"/>
                <a:gd name="connsiteX13" fmla="*/ 57245 w 65722"/>
                <a:gd name="connsiteY13" fmla="*/ 34957 h 41333"/>
                <a:gd name="connsiteX14" fmla="*/ 64675 w 65722"/>
                <a:gd name="connsiteY14" fmla="*/ 27432 h 41333"/>
                <a:gd name="connsiteX15" fmla="*/ 65722 w 65722"/>
                <a:gd name="connsiteY15" fmla="*/ 26194 h 41333"/>
                <a:gd name="connsiteX16" fmla="*/ 40005 w 65722"/>
                <a:gd name="connsiteY16" fmla="*/ 11335 h 41333"/>
                <a:gd name="connsiteX17" fmla="*/ 32956 w 65722"/>
                <a:gd name="connsiteY17" fmla="*/ 572 h 4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5722" h="41333">
                  <a:moveTo>
                    <a:pt x="32956" y="572"/>
                  </a:moveTo>
                  <a:cubicBezTo>
                    <a:pt x="31432" y="0"/>
                    <a:pt x="29813" y="0"/>
                    <a:pt x="28194" y="0"/>
                  </a:cubicBezTo>
                  <a:cubicBezTo>
                    <a:pt x="23908" y="95"/>
                    <a:pt x="19717" y="762"/>
                    <a:pt x="15621" y="2000"/>
                  </a:cubicBezTo>
                  <a:cubicBezTo>
                    <a:pt x="12764" y="2858"/>
                    <a:pt x="10001" y="3905"/>
                    <a:pt x="7620" y="5715"/>
                  </a:cubicBezTo>
                  <a:cubicBezTo>
                    <a:pt x="5239" y="7525"/>
                    <a:pt x="3429" y="10097"/>
                    <a:pt x="3048" y="13049"/>
                  </a:cubicBezTo>
                  <a:lnTo>
                    <a:pt x="0" y="2477"/>
                  </a:lnTo>
                  <a:cubicBezTo>
                    <a:pt x="191" y="4763"/>
                    <a:pt x="381" y="6953"/>
                    <a:pt x="1238" y="9049"/>
                  </a:cubicBezTo>
                  <a:cubicBezTo>
                    <a:pt x="2191" y="12573"/>
                    <a:pt x="4477" y="15335"/>
                    <a:pt x="5905" y="18383"/>
                  </a:cubicBezTo>
                  <a:cubicBezTo>
                    <a:pt x="7429" y="21622"/>
                    <a:pt x="9334" y="24670"/>
                    <a:pt x="11620" y="27146"/>
                  </a:cubicBezTo>
                  <a:cubicBezTo>
                    <a:pt x="13811" y="30194"/>
                    <a:pt x="16097" y="32671"/>
                    <a:pt x="18574" y="34957"/>
                  </a:cubicBezTo>
                  <a:cubicBezTo>
                    <a:pt x="21526" y="36957"/>
                    <a:pt x="24765" y="38195"/>
                    <a:pt x="28003" y="39243"/>
                  </a:cubicBezTo>
                  <a:cubicBezTo>
                    <a:pt x="31242" y="40481"/>
                    <a:pt x="34480" y="41243"/>
                    <a:pt x="37909" y="41243"/>
                  </a:cubicBezTo>
                  <a:cubicBezTo>
                    <a:pt x="41624" y="41243"/>
                    <a:pt x="45053" y="41720"/>
                    <a:pt x="48292" y="40481"/>
                  </a:cubicBezTo>
                  <a:cubicBezTo>
                    <a:pt x="51530" y="39243"/>
                    <a:pt x="54483" y="36957"/>
                    <a:pt x="57245" y="34957"/>
                  </a:cubicBezTo>
                  <a:cubicBezTo>
                    <a:pt x="60007" y="32671"/>
                    <a:pt x="62484" y="30480"/>
                    <a:pt x="64675" y="27432"/>
                  </a:cubicBezTo>
                  <a:cubicBezTo>
                    <a:pt x="65056" y="27051"/>
                    <a:pt x="65341" y="26575"/>
                    <a:pt x="65722" y="26194"/>
                  </a:cubicBezTo>
                  <a:lnTo>
                    <a:pt x="40005" y="11335"/>
                  </a:lnTo>
                  <a:cubicBezTo>
                    <a:pt x="38672" y="6953"/>
                    <a:pt x="37052" y="2096"/>
                    <a:pt x="32956" y="572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F00B735F-C662-09CD-225B-A5B89E19F089}"/>
                </a:ext>
              </a:extLst>
            </p:cNvPr>
            <p:cNvSpPr/>
            <p:nvPr/>
          </p:nvSpPr>
          <p:spPr>
            <a:xfrm>
              <a:off x="5911808" y="4920913"/>
              <a:ext cx="108873" cy="77562"/>
            </a:xfrm>
            <a:custGeom>
              <a:avLst/>
              <a:gdLst>
                <a:gd name="connsiteX0" fmla="*/ 4096 w 74580"/>
                <a:gd name="connsiteY0" fmla="*/ 21431 h 53131"/>
                <a:gd name="connsiteX1" fmla="*/ 9811 w 74580"/>
                <a:gd name="connsiteY1" fmla="*/ 31242 h 53131"/>
                <a:gd name="connsiteX2" fmla="*/ 16954 w 74580"/>
                <a:gd name="connsiteY2" fmla="*/ 39815 h 53131"/>
                <a:gd name="connsiteX3" fmla="*/ 24860 w 74580"/>
                <a:gd name="connsiteY3" fmla="*/ 47816 h 53131"/>
                <a:gd name="connsiteX4" fmla="*/ 35243 w 74580"/>
                <a:gd name="connsiteY4" fmla="*/ 52578 h 53131"/>
                <a:gd name="connsiteX5" fmla="*/ 46672 w 74580"/>
                <a:gd name="connsiteY5" fmla="*/ 52864 h 53131"/>
                <a:gd name="connsiteX6" fmla="*/ 57817 w 74580"/>
                <a:gd name="connsiteY6" fmla="*/ 51816 h 53131"/>
                <a:gd name="connsiteX7" fmla="*/ 68008 w 74580"/>
                <a:gd name="connsiteY7" fmla="*/ 47339 h 53131"/>
                <a:gd name="connsiteX8" fmla="*/ 74581 w 74580"/>
                <a:gd name="connsiteY8" fmla="*/ 42481 h 53131"/>
                <a:gd name="connsiteX9" fmla="*/ 64008 w 74580"/>
                <a:gd name="connsiteY9" fmla="*/ 17526 h 53131"/>
                <a:gd name="connsiteX10" fmla="*/ 59626 w 74580"/>
                <a:gd name="connsiteY10" fmla="*/ 20288 h 53131"/>
                <a:gd name="connsiteX11" fmla="*/ 50197 w 74580"/>
                <a:gd name="connsiteY11" fmla="*/ 25336 h 53131"/>
                <a:gd name="connsiteX12" fmla="*/ 40291 w 74580"/>
                <a:gd name="connsiteY12" fmla="*/ 28384 h 53131"/>
                <a:gd name="connsiteX13" fmla="*/ 29623 w 74580"/>
                <a:gd name="connsiteY13" fmla="*/ 28384 h 53131"/>
                <a:gd name="connsiteX14" fmla="*/ 19717 w 74580"/>
                <a:gd name="connsiteY14" fmla="*/ 24384 h 53131"/>
                <a:gd name="connsiteX15" fmla="*/ 11335 w 74580"/>
                <a:gd name="connsiteY15" fmla="*/ 17812 h 53131"/>
                <a:gd name="connsiteX16" fmla="*/ 5620 w 74580"/>
                <a:gd name="connsiteY16" fmla="*/ 8477 h 53131"/>
                <a:gd name="connsiteX17" fmla="*/ 0 w 74580"/>
                <a:gd name="connsiteY17" fmla="*/ 0 h 53131"/>
                <a:gd name="connsiteX18" fmla="*/ 1619 w 74580"/>
                <a:gd name="connsiteY18" fmla="*/ 10478 h 53131"/>
                <a:gd name="connsiteX19" fmla="*/ 4096 w 74580"/>
                <a:gd name="connsiteY19" fmla="*/ 21431 h 53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4580" h="53131">
                  <a:moveTo>
                    <a:pt x="4096" y="21431"/>
                  </a:moveTo>
                  <a:cubicBezTo>
                    <a:pt x="5334" y="25241"/>
                    <a:pt x="7810" y="28194"/>
                    <a:pt x="9811" y="31242"/>
                  </a:cubicBezTo>
                  <a:cubicBezTo>
                    <a:pt x="11811" y="34480"/>
                    <a:pt x="14287" y="37243"/>
                    <a:pt x="16954" y="39815"/>
                  </a:cubicBezTo>
                  <a:cubicBezTo>
                    <a:pt x="19717" y="42577"/>
                    <a:pt x="21907" y="45815"/>
                    <a:pt x="24860" y="47816"/>
                  </a:cubicBezTo>
                  <a:cubicBezTo>
                    <a:pt x="28099" y="49816"/>
                    <a:pt x="31814" y="51626"/>
                    <a:pt x="35243" y="52578"/>
                  </a:cubicBezTo>
                  <a:cubicBezTo>
                    <a:pt x="38957" y="53626"/>
                    <a:pt x="42672" y="52864"/>
                    <a:pt x="46672" y="52864"/>
                  </a:cubicBezTo>
                  <a:cubicBezTo>
                    <a:pt x="50387" y="52864"/>
                    <a:pt x="54102" y="52864"/>
                    <a:pt x="57817" y="51816"/>
                  </a:cubicBezTo>
                  <a:cubicBezTo>
                    <a:pt x="61246" y="50768"/>
                    <a:pt x="64770" y="49340"/>
                    <a:pt x="68008" y="47339"/>
                  </a:cubicBezTo>
                  <a:cubicBezTo>
                    <a:pt x="70295" y="46101"/>
                    <a:pt x="72485" y="44291"/>
                    <a:pt x="74581" y="42481"/>
                  </a:cubicBezTo>
                  <a:lnTo>
                    <a:pt x="64008" y="17526"/>
                  </a:lnTo>
                  <a:cubicBezTo>
                    <a:pt x="62579" y="18383"/>
                    <a:pt x="61151" y="19241"/>
                    <a:pt x="59626" y="20288"/>
                  </a:cubicBezTo>
                  <a:cubicBezTo>
                    <a:pt x="56674" y="22003"/>
                    <a:pt x="53721" y="23813"/>
                    <a:pt x="50197" y="25336"/>
                  </a:cubicBezTo>
                  <a:cubicBezTo>
                    <a:pt x="46958" y="26575"/>
                    <a:pt x="43720" y="28099"/>
                    <a:pt x="40291" y="28384"/>
                  </a:cubicBezTo>
                  <a:cubicBezTo>
                    <a:pt x="36862" y="28861"/>
                    <a:pt x="33147" y="29147"/>
                    <a:pt x="29623" y="28384"/>
                  </a:cubicBezTo>
                  <a:cubicBezTo>
                    <a:pt x="26384" y="27623"/>
                    <a:pt x="22955" y="26384"/>
                    <a:pt x="19717" y="24384"/>
                  </a:cubicBezTo>
                  <a:cubicBezTo>
                    <a:pt x="16954" y="22670"/>
                    <a:pt x="14002" y="20574"/>
                    <a:pt x="11335" y="17812"/>
                  </a:cubicBezTo>
                  <a:cubicBezTo>
                    <a:pt x="9144" y="15335"/>
                    <a:pt x="7906" y="11811"/>
                    <a:pt x="5620" y="8477"/>
                  </a:cubicBezTo>
                  <a:cubicBezTo>
                    <a:pt x="4000" y="5905"/>
                    <a:pt x="1714" y="3239"/>
                    <a:pt x="0" y="0"/>
                  </a:cubicBezTo>
                  <a:cubicBezTo>
                    <a:pt x="95" y="3715"/>
                    <a:pt x="952" y="7239"/>
                    <a:pt x="1619" y="10478"/>
                  </a:cubicBezTo>
                  <a:cubicBezTo>
                    <a:pt x="2381" y="14192"/>
                    <a:pt x="2572" y="17907"/>
                    <a:pt x="4096" y="21431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26750ED4-63CD-A706-65F0-122CA2C82FFD}"/>
                </a:ext>
              </a:extLst>
            </p:cNvPr>
            <p:cNvSpPr/>
            <p:nvPr/>
          </p:nvSpPr>
          <p:spPr>
            <a:xfrm>
              <a:off x="5947125" y="4843602"/>
              <a:ext cx="99697" cy="103034"/>
            </a:xfrm>
            <a:custGeom>
              <a:avLst/>
              <a:gdLst>
                <a:gd name="connsiteX0" fmla="*/ 47530 w 68294"/>
                <a:gd name="connsiteY0" fmla="*/ 42577 h 70580"/>
                <a:gd name="connsiteX1" fmla="*/ 40386 w 68294"/>
                <a:gd name="connsiteY1" fmla="*/ 34576 h 70580"/>
                <a:gd name="connsiteX2" fmla="*/ 34481 w 68294"/>
                <a:gd name="connsiteY2" fmla="*/ 25813 h 70580"/>
                <a:gd name="connsiteX3" fmla="*/ 28004 w 68294"/>
                <a:gd name="connsiteY3" fmla="*/ 17050 h 70580"/>
                <a:gd name="connsiteX4" fmla="*/ 21527 w 68294"/>
                <a:gd name="connsiteY4" fmla="*/ 8763 h 70580"/>
                <a:gd name="connsiteX5" fmla="*/ 15335 w 68294"/>
                <a:gd name="connsiteY5" fmla="*/ 0 h 70580"/>
                <a:gd name="connsiteX6" fmla="*/ 4191 w 68294"/>
                <a:gd name="connsiteY6" fmla="*/ 21336 h 70580"/>
                <a:gd name="connsiteX7" fmla="*/ 0 w 68294"/>
                <a:gd name="connsiteY7" fmla="*/ 30385 h 70580"/>
                <a:gd name="connsiteX8" fmla="*/ 17335 w 68294"/>
                <a:gd name="connsiteY8" fmla="*/ 36385 h 70580"/>
                <a:gd name="connsiteX9" fmla="*/ 21527 w 68294"/>
                <a:gd name="connsiteY9" fmla="*/ 27622 h 70580"/>
                <a:gd name="connsiteX10" fmla="*/ 39719 w 68294"/>
                <a:gd name="connsiteY10" fmla="*/ 70580 h 70580"/>
                <a:gd name="connsiteX11" fmla="*/ 44291 w 68294"/>
                <a:gd name="connsiteY11" fmla="*/ 67532 h 70580"/>
                <a:gd name="connsiteX12" fmla="*/ 52006 w 68294"/>
                <a:gd name="connsiteY12" fmla="*/ 60293 h 70580"/>
                <a:gd name="connsiteX13" fmla="*/ 68294 w 68294"/>
                <a:gd name="connsiteY13" fmla="*/ 57817 h 70580"/>
                <a:gd name="connsiteX14" fmla="*/ 68294 w 68294"/>
                <a:gd name="connsiteY14" fmla="*/ 57817 h 70580"/>
                <a:gd name="connsiteX15" fmla="*/ 57245 w 68294"/>
                <a:gd name="connsiteY15" fmla="*/ 51530 h 70580"/>
                <a:gd name="connsiteX16" fmla="*/ 47530 w 68294"/>
                <a:gd name="connsiteY16" fmla="*/ 42577 h 7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294" h="70580">
                  <a:moveTo>
                    <a:pt x="47530" y="42577"/>
                  </a:moveTo>
                  <a:cubicBezTo>
                    <a:pt x="45815" y="40576"/>
                    <a:pt x="43053" y="38100"/>
                    <a:pt x="40386" y="34576"/>
                  </a:cubicBezTo>
                  <a:cubicBezTo>
                    <a:pt x="38386" y="32099"/>
                    <a:pt x="36671" y="28765"/>
                    <a:pt x="34481" y="25813"/>
                  </a:cubicBezTo>
                  <a:cubicBezTo>
                    <a:pt x="32290" y="23050"/>
                    <a:pt x="30290" y="19812"/>
                    <a:pt x="28004" y="17050"/>
                  </a:cubicBezTo>
                  <a:cubicBezTo>
                    <a:pt x="25813" y="14002"/>
                    <a:pt x="23527" y="11239"/>
                    <a:pt x="21527" y="8763"/>
                  </a:cubicBezTo>
                  <a:cubicBezTo>
                    <a:pt x="17812" y="3524"/>
                    <a:pt x="18574" y="4286"/>
                    <a:pt x="15335" y="0"/>
                  </a:cubicBezTo>
                  <a:lnTo>
                    <a:pt x="4191" y="21336"/>
                  </a:lnTo>
                  <a:cubicBezTo>
                    <a:pt x="2477" y="26098"/>
                    <a:pt x="1429" y="25813"/>
                    <a:pt x="0" y="30385"/>
                  </a:cubicBezTo>
                  <a:lnTo>
                    <a:pt x="17335" y="36385"/>
                  </a:lnTo>
                  <a:cubicBezTo>
                    <a:pt x="18860" y="31909"/>
                    <a:pt x="19812" y="32099"/>
                    <a:pt x="21527" y="27622"/>
                  </a:cubicBezTo>
                  <a:lnTo>
                    <a:pt x="39719" y="70580"/>
                  </a:lnTo>
                  <a:cubicBezTo>
                    <a:pt x="41339" y="69628"/>
                    <a:pt x="42958" y="68675"/>
                    <a:pt x="44291" y="67532"/>
                  </a:cubicBezTo>
                  <a:cubicBezTo>
                    <a:pt x="49244" y="63532"/>
                    <a:pt x="48292" y="64008"/>
                    <a:pt x="52006" y="60293"/>
                  </a:cubicBezTo>
                  <a:lnTo>
                    <a:pt x="68294" y="57817"/>
                  </a:lnTo>
                  <a:cubicBezTo>
                    <a:pt x="68294" y="57817"/>
                    <a:pt x="68294" y="57817"/>
                    <a:pt x="68294" y="57817"/>
                  </a:cubicBezTo>
                  <a:cubicBezTo>
                    <a:pt x="62675" y="54864"/>
                    <a:pt x="63151" y="55816"/>
                    <a:pt x="57245" y="51530"/>
                  </a:cubicBezTo>
                  <a:cubicBezTo>
                    <a:pt x="54007" y="48768"/>
                    <a:pt x="50768" y="45815"/>
                    <a:pt x="47530" y="42577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169F3DDC-1CA3-9767-87B9-AE40C0EABFC0}"/>
                </a:ext>
              </a:extLst>
            </p:cNvPr>
            <p:cNvSpPr/>
            <p:nvPr/>
          </p:nvSpPr>
          <p:spPr>
            <a:xfrm>
              <a:off x="5573366" y="4392062"/>
              <a:ext cx="126672" cy="155090"/>
            </a:xfrm>
            <a:custGeom>
              <a:avLst/>
              <a:gdLst>
                <a:gd name="connsiteX0" fmla="*/ 85820 w 86772"/>
                <a:gd name="connsiteY0" fmla="*/ 45851 h 106239"/>
                <a:gd name="connsiteX1" fmla="*/ 85058 w 86772"/>
                <a:gd name="connsiteY1" fmla="*/ 42231 h 106239"/>
                <a:gd name="connsiteX2" fmla="*/ 82296 w 86772"/>
                <a:gd name="connsiteY2" fmla="*/ 31659 h 106239"/>
                <a:gd name="connsiteX3" fmla="*/ 78867 w 86772"/>
                <a:gd name="connsiteY3" fmla="*/ 21086 h 106239"/>
                <a:gd name="connsiteX4" fmla="*/ 71723 w 86772"/>
                <a:gd name="connsiteY4" fmla="*/ 12799 h 106239"/>
                <a:gd name="connsiteX5" fmla="*/ 63341 w 86772"/>
                <a:gd name="connsiteY5" fmla="*/ 6036 h 106239"/>
                <a:gd name="connsiteX6" fmla="*/ 53721 w 86772"/>
                <a:gd name="connsiteY6" fmla="*/ 1560 h 106239"/>
                <a:gd name="connsiteX7" fmla="*/ 43339 w 86772"/>
                <a:gd name="connsiteY7" fmla="*/ 36 h 106239"/>
                <a:gd name="connsiteX8" fmla="*/ 32671 w 86772"/>
                <a:gd name="connsiteY8" fmla="*/ 798 h 106239"/>
                <a:gd name="connsiteX9" fmla="*/ 22765 w 86772"/>
                <a:gd name="connsiteY9" fmla="*/ 5560 h 106239"/>
                <a:gd name="connsiteX10" fmla="*/ 14573 w 86772"/>
                <a:gd name="connsiteY10" fmla="*/ 12799 h 106239"/>
                <a:gd name="connsiteX11" fmla="*/ 8668 w 86772"/>
                <a:gd name="connsiteY11" fmla="*/ 21848 h 106239"/>
                <a:gd name="connsiteX12" fmla="*/ 4000 w 86772"/>
                <a:gd name="connsiteY12" fmla="*/ 31659 h 106239"/>
                <a:gd name="connsiteX13" fmla="*/ 1238 w 86772"/>
                <a:gd name="connsiteY13" fmla="*/ 42231 h 106239"/>
                <a:gd name="connsiteX14" fmla="*/ 0 w 86772"/>
                <a:gd name="connsiteY14" fmla="*/ 52995 h 106239"/>
                <a:gd name="connsiteX15" fmla="*/ 1238 w 86772"/>
                <a:gd name="connsiteY15" fmla="*/ 64044 h 106239"/>
                <a:gd name="connsiteX16" fmla="*/ 3429 w 86772"/>
                <a:gd name="connsiteY16" fmla="*/ 74807 h 106239"/>
                <a:gd name="connsiteX17" fmla="*/ 8096 w 86772"/>
                <a:gd name="connsiteY17" fmla="*/ 84618 h 106239"/>
                <a:gd name="connsiteX18" fmla="*/ 15240 w 86772"/>
                <a:gd name="connsiteY18" fmla="*/ 92904 h 106239"/>
                <a:gd name="connsiteX19" fmla="*/ 19336 w 86772"/>
                <a:gd name="connsiteY19" fmla="*/ 97095 h 106239"/>
                <a:gd name="connsiteX20" fmla="*/ 23146 w 86772"/>
                <a:gd name="connsiteY20" fmla="*/ 100239 h 106239"/>
                <a:gd name="connsiteX21" fmla="*/ 32575 w 86772"/>
                <a:gd name="connsiteY21" fmla="*/ 105001 h 106239"/>
                <a:gd name="connsiteX22" fmla="*/ 43243 w 86772"/>
                <a:gd name="connsiteY22" fmla="*/ 106239 h 106239"/>
                <a:gd name="connsiteX23" fmla="*/ 53626 w 86772"/>
                <a:gd name="connsiteY23" fmla="*/ 104715 h 106239"/>
                <a:gd name="connsiteX24" fmla="*/ 63532 w 86772"/>
                <a:gd name="connsiteY24" fmla="*/ 100429 h 106239"/>
                <a:gd name="connsiteX25" fmla="*/ 71438 w 86772"/>
                <a:gd name="connsiteY25" fmla="*/ 93190 h 106239"/>
                <a:gd name="connsiteX26" fmla="*/ 77629 w 86772"/>
                <a:gd name="connsiteY26" fmla="*/ 84141 h 106239"/>
                <a:gd name="connsiteX27" fmla="*/ 81820 w 86772"/>
                <a:gd name="connsiteY27" fmla="*/ 74331 h 106239"/>
                <a:gd name="connsiteX28" fmla="*/ 86011 w 86772"/>
                <a:gd name="connsiteY28" fmla="*/ 64044 h 106239"/>
                <a:gd name="connsiteX29" fmla="*/ 86773 w 86772"/>
                <a:gd name="connsiteY29" fmla="*/ 52995 h 106239"/>
                <a:gd name="connsiteX30" fmla="*/ 85820 w 86772"/>
                <a:gd name="connsiteY30" fmla="*/ 45851 h 106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6772" h="106239">
                  <a:moveTo>
                    <a:pt x="85820" y="45851"/>
                  </a:moveTo>
                  <a:cubicBezTo>
                    <a:pt x="85534" y="44613"/>
                    <a:pt x="85249" y="43470"/>
                    <a:pt x="85058" y="42231"/>
                  </a:cubicBezTo>
                  <a:cubicBezTo>
                    <a:pt x="84582" y="38421"/>
                    <a:pt x="83534" y="34992"/>
                    <a:pt x="82296" y="31659"/>
                  </a:cubicBezTo>
                  <a:cubicBezTo>
                    <a:pt x="81343" y="28134"/>
                    <a:pt x="80581" y="24420"/>
                    <a:pt x="78867" y="21086"/>
                  </a:cubicBezTo>
                  <a:cubicBezTo>
                    <a:pt x="76867" y="17847"/>
                    <a:pt x="74200" y="15276"/>
                    <a:pt x="71723" y="12799"/>
                  </a:cubicBezTo>
                  <a:cubicBezTo>
                    <a:pt x="69247" y="10037"/>
                    <a:pt x="66294" y="8037"/>
                    <a:pt x="63341" y="6036"/>
                  </a:cubicBezTo>
                  <a:cubicBezTo>
                    <a:pt x="60389" y="4036"/>
                    <a:pt x="57150" y="2512"/>
                    <a:pt x="53721" y="1560"/>
                  </a:cubicBezTo>
                  <a:cubicBezTo>
                    <a:pt x="50292" y="512"/>
                    <a:pt x="47053" y="36"/>
                    <a:pt x="43339" y="36"/>
                  </a:cubicBezTo>
                  <a:cubicBezTo>
                    <a:pt x="39624" y="36"/>
                    <a:pt x="35909" y="-250"/>
                    <a:pt x="32671" y="798"/>
                  </a:cubicBezTo>
                  <a:cubicBezTo>
                    <a:pt x="29242" y="1845"/>
                    <a:pt x="25717" y="3560"/>
                    <a:pt x="22765" y="5560"/>
                  </a:cubicBezTo>
                  <a:cubicBezTo>
                    <a:pt x="19812" y="7560"/>
                    <a:pt x="17050" y="10037"/>
                    <a:pt x="14573" y="12799"/>
                  </a:cubicBezTo>
                  <a:cubicBezTo>
                    <a:pt x="12382" y="15276"/>
                    <a:pt x="10382" y="18609"/>
                    <a:pt x="8668" y="21848"/>
                  </a:cubicBezTo>
                  <a:cubicBezTo>
                    <a:pt x="6953" y="24896"/>
                    <a:pt x="5239" y="28134"/>
                    <a:pt x="4000" y="31659"/>
                  </a:cubicBezTo>
                  <a:cubicBezTo>
                    <a:pt x="2762" y="34897"/>
                    <a:pt x="2000" y="38421"/>
                    <a:pt x="1238" y="42231"/>
                  </a:cubicBezTo>
                  <a:cubicBezTo>
                    <a:pt x="762" y="45756"/>
                    <a:pt x="0" y="49280"/>
                    <a:pt x="0" y="52995"/>
                  </a:cubicBezTo>
                  <a:cubicBezTo>
                    <a:pt x="0" y="56709"/>
                    <a:pt x="476" y="60519"/>
                    <a:pt x="1238" y="64044"/>
                  </a:cubicBezTo>
                  <a:cubicBezTo>
                    <a:pt x="1715" y="67854"/>
                    <a:pt x="2191" y="71283"/>
                    <a:pt x="3429" y="74807"/>
                  </a:cubicBezTo>
                  <a:cubicBezTo>
                    <a:pt x="4667" y="78331"/>
                    <a:pt x="6382" y="81570"/>
                    <a:pt x="8096" y="84618"/>
                  </a:cubicBezTo>
                  <a:cubicBezTo>
                    <a:pt x="10096" y="87856"/>
                    <a:pt x="12764" y="90142"/>
                    <a:pt x="15240" y="92904"/>
                  </a:cubicBezTo>
                  <a:cubicBezTo>
                    <a:pt x="16573" y="94428"/>
                    <a:pt x="17907" y="95762"/>
                    <a:pt x="19336" y="97095"/>
                  </a:cubicBezTo>
                  <a:cubicBezTo>
                    <a:pt x="20574" y="98238"/>
                    <a:pt x="21812" y="99286"/>
                    <a:pt x="23146" y="100239"/>
                  </a:cubicBezTo>
                  <a:cubicBezTo>
                    <a:pt x="26098" y="102239"/>
                    <a:pt x="29051" y="104049"/>
                    <a:pt x="32575" y="105001"/>
                  </a:cubicBezTo>
                  <a:cubicBezTo>
                    <a:pt x="36004" y="106049"/>
                    <a:pt x="39529" y="106239"/>
                    <a:pt x="43243" y="106239"/>
                  </a:cubicBezTo>
                  <a:cubicBezTo>
                    <a:pt x="46958" y="106239"/>
                    <a:pt x="50197" y="105763"/>
                    <a:pt x="53626" y="104715"/>
                  </a:cubicBezTo>
                  <a:cubicBezTo>
                    <a:pt x="57055" y="103668"/>
                    <a:pt x="60579" y="102715"/>
                    <a:pt x="63532" y="100429"/>
                  </a:cubicBezTo>
                  <a:cubicBezTo>
                    <a:pt x="66484" y="98715"/>
                    <a:pt x="68961" y="95952"/>
                    <a:pt x="71438" y="93190"/>
                  </a:cubicBezTo>
                  <a:cubicBezTo>
                    <a:pt x="73914" y="90428"/>
                    <a:pt x="75628" y="87380"/>
                    <a:pt x="77629" y="84141"/>
                  </a:cubicBezTo>
                  <a:cubicBezTo>
                    <a:pt x="79343" y="81093"/>
                    <a:pt x="80581" y="77855"/>
                    <a:pt x="81820" y="74331"/>
                  </a:cubicBezTo>
                  <a:cubicBezTo>
                    <a:pt x="83058" y="71092"/>
                    <a:pt x="85534" y="67758"/>
                    <a:pt x="86011" y="64044"/>
                  </a:cubicBezTo>
                  <a:cubicBezTo>
                    <a:pt x="86487" y="60519"/>
                    <a:pt x="86773" y="56805"/>
                    <a:pt x="86773" y="52995"/>
                  </a:cubicBezTo>
                  <a:cubicBezTo>
                    <a:pt x="86773" y="50518"/>
                    <a:pt x="86392" y="48232"/>
                    <a:pt x="85820" y="4585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44A00E8F-FF89-D174-854C-DB8B275CF745}"/>
                </a:ext>
              </a:extLst>
            </p:cNvPr>
            <p:cNvSpPr/>
            <p:nvPr/>
          </p:nvSpPr>
          <p:spPr>
            <a:xfrm>
              <a:off x="5209059" y="4504881"/>
              <a:ext cx="57426" cy="91493"/>
            </a:xfrm>
            <a:custGeom>
              <a:avLst/>
              <a:gdLst>
                <a:gd name="connsiteX0" fmla="*/ 32385 w 39338"/>
                <a:gd name="connsiteY0" fmla="*/ 14478 h 62674"/>
                <a:gd name="connsiteX1" fmla="*/ 30766 w 39338"/>
                <a:gd name="connsiteY1" fmla="*/ 953 h 62674"/>
                <a:gd name="connsiteX2" fmla="*/ 30290 w 39338"/>
                <a:gd name="connsiteY2" fmla="*/ 191 h 62674"/>
                <a:gd name="connsiteX3" fmla="*/ 28099 w 39338"/>
                <a:gd name="connsiteY3" fmla="*/ 0 h 62674"/>
                <a:gd name="connsiteX4" fmla="*/ 0 w 39338"/>
                <a:gd name="connsiteY4" fmla="*/ 1238 h 62674"/>
                <a:gd name="connsiteX5" fmla="*/ 857 w 39338"/>
                <a:gd name="connsiteY5" fmla="*/ 1429 h 62674"/>
                <a:gd name="connsiteX6" fmla="*/ 2667 w 39338"/>
                <a:gd name="connsiteY6" fmla="*/ 33433 h 62674"/>
                <a:gd name="connsiteX7" fmla="*/ 5143 w 39338"/>
                <a:gd name="connsiteY7" fmla="*/ 47435 h 62674"/>
                <a:gd name="connsiteX8" fmla="*/ 7906 w 39338"/>
                <a:gd name="connsiteY8" fmla="*/ 62675 h 62674"/>
                <a:gd name="connsiteX9" fmla="*/ 39338 w 39338"/>
                <a:gd name="connsiteY9" fmla="*/ 61627 h 62674"/>
                <a:gd name="connsiteX10" fmla="*/ 32385 w 39338"/>
                <a:gd name="connsiteY10" fmla="*/ 14478 h 6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62674">
                  <a:moveTo>
                    <a:pt x="32385" y="14478"/>
                  </a:moveTo>
                  <a:cubicBezTo>
                    <a:pt x="31433" y="10001"/>
                    <a:pt x="29432" y="5429"/>
                    <a:pt x="30766" y="953"/>
                  </a:cubicBezTo>
                  <a:cubicBezTo>
                    <a:pt x="30861" y="667"/>
                    <a:pt x="30861" y="286"/>
                    <a:pt x="30290" y="191"/>
                  </a:cubicBezTo>
                  <a:cubicBezTo>
                    <a:pt x="29718" y="0"/>
                    <a:pt x="28861" y="0"/>
                    <a:pt x="28099" y="0"/>
                  </a:cubicBezTo>
                  <a:cubicBezTo>
                    <a:pt x="18764" y="476"/>
                    <a:pt x="9430" y="857"/>
                    <a:pt x="0" y="1238"/>
                  </a:cubicBezTo>
                  <a:lnTo>
                    <a:pt x="857" y="1429"/>
                  </a:lnTo>
                  <a:cubicBezTo>
                    <a:pt x="953" y="12097"/>
                    <a:pt x="1524" y="22765"/>
                    <a:pt x="2667" y="33433"/>
                  </a:cubicBezTo>
                  <a:cubicBezTo>
                    <a:pt x="3143" y="38100"/>
                    <a:pt x="3810" y="42767"/>
                    <a:pt x="5143" y="47435"/>
                  </a:cubicBezTo>
                  <a:cubicBezTo>
                    <a:pt x="6572" y="52483"/>
                    <a:pt x="8763" y="57626"/>
                    <a:pt x="7906" y="62675"/>
                  </a:cubicBezTo>
                  <a:cubicBezTo>
                    <a:pt x="18479" y="62389"/>
                    <a:pt x="28861" y="62103"/>
                    <a:pt x="39338" y="61627"/>
                  </a:cubicBezTo>
                  <a:cubicBezTo>
                    <a:pt x="28480" y="46292"/>
                    <a:pt x="36004" y="30194"/>
                    <a:pt x="32385" y="14478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3758B39F-1D07-D2FA-E616-B0373CB0AC14}"/>
                </a:ext>
              </a:extLst>
            </p:cNvPr>
            <p:cNvSpPr/>
            <p:nvPr/>
          </p:nvSpPr>
          <p:spPr>
            <a:xfrm>
              <a:off x="5278444" y="4455497"/>
              <a:ext cx="57426" cy="140877"/>
            </a:xfrm>
            <a:custGeom>
              <a:avLst/>
              <a:gdLst>
                <a:gd name="connsiteX0" fmla="*/ 32385 w 39338"/>
                <a:gd name="connsiteY0" fmla="*/ 22208 h 96503"/>
                <a:gd name="connsiteX1" fmla="*/ 30766 w 39338"/>
                <a:gd name="connsiteY1" fmla="*/ 1349 h 96503"/>
                <a:gd name="connsiteX2" fmla="*/ 30194 w 39338"/>
                <a:gd name="connsiteY2" fmla="*/ 206 h 96503"/>
                <a:gd name="connsiteX3" fmla="*/ 28099 w 39338"/>
                <a:gd name="connsiteY3" fmla="*/ 15 h 96503"/>
                <a:gd name="connsiteX4" fmla="*/ 0 w 39338"/>
                <a:gd name="connsiteY4" fmla="*/ 1825 h 96503"/>
                <a:gd name="connsiteX5" fmla="*/ 857 w 39338"/>
                <a:gd name="connsiteY5" fmla="*/ 2206 h 96503"/>
                <a:gd name="connsiteX6" fmla="*/ 2667 w 39338"/>
                <a:gd name="connsiteY6" fmla="*/ 51450 h 96503"/>
                <a:gd name="connsiteX7" fmla="*/ 5048 w 39338"/>
                <a:gd name="connsiteY7" fmla="*/ 72977 h 96503"/>
                <a:gd name="connsiteX8" fmla="*/ 7906 w 39338"/>
                <a:gd name="connsiteY8" fmla="*/ 96503 h 96503"/>
                <a:gd name="connsiteX9" fmla="*/ 39338 w 39338"/>
                <a:gd name="connsiteY9" fmla="*/ 94884 h 96503"/>
                <a:gd name="connsiteX10" fmla="*/ 32385 w 39338"/>
                <a:gd name="connsiteY10" fmla="*/ 22208 h 96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96503">
                  <a:moveTo>
                    <a:pt x="32385" y="22208"/>
                  </a:moveTo>
                  <a:cubicBezTo>
                    <a:pt x="31337" y="15255"/>
                    <a:pt x="29432" y="8302"/>
                    <a:pt x="30766" y="1349"/>
                  </a:cubicBezTo>
                  <a:cubicBezTo>
                    <a:pt x="30861" y="968"/>
                    <a:pt x="30861" y="491"/>
                    <a:pt x="30194" y="206"/>
                  </a:cubicBezTo>
                  <a:cubicBezTo>
                    <a:pt x="29718" y="-80"/>
                    <a:pt x="28861" y="15"/>
                    <a:pt x="28099" y="15"/>
                  </a:cubicBezTo>
                  <a:cubicBezTo>
                    <a:pt x="18764" y="587"/>
                    <a:pt x="9334" y="1158"/>
                    <a:pt x="0" y="1825"/>
                  </a:cubicBezTo>
                  <a:lnTo>
                    <a:pt x="857" y="2206"/>
                  </a:lnTo>
                  <a:cubicBezTo>
                    <a:pt x="953" y="18589"/>
                    <a:pt x="1524" y="35067"/>
                    <a:pt x="2667" y="51450"/>
                  </a:cubicBezTo>
                  <a:cubicBezTo>
                    <a:pt x="3143" y="58594"/>
                    <a:pt x="3810" y="65833"/>
                    <a:pt x="5048" y="72977"/>
                  </a:cubicBezTo>
                  <a:cubicBezTo>
                    <a:pt x="6477" y="80787"/>
                    <a:pt x="8763" y="88693"/>
                    <a:pt x="7906" y="96503"/>
                  </a:cubicBezTo>
                  <a:cubicBezTo>
                    <a:pt x="18383" y="96122"/>
                    <a:pt x="28861" y="95551"/>
                    <a:pt x="39338" y="94884"/>
                  </a:cubicBezTo>
                  <a:cubicBezTo>
                    <a:pt x="28480" y="71167"/>
                    <a:pt x="36004" y="46497"/>
                    <a:pt x="32385" y="22208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6A9946B8-4A59-D826-7378-DE48F72716E7}"/>
                </a:ext>
              </a:extLst>
            </p:cNvPr>
            <p:cNvSpPr/>
            <p:nvPr/>
          </p:nvSpPr>
          <p:spPr>
            <a:xfrm>
              <a:off x="5345466" y="4383786"/>
              <a:ext cx="57426" cy="212590"/>
            </a:xfrm>
            <a:custGeom>
              <a:avLst/>
              <a:gdLst>
                <a:gd name="connsiteX0" fmla="*/ 32480 w 39338"/>
                <a:gd name="connsiteY0" fmla="*/ 33613 h 145627"/>
                <a:gd name="connsiteX1" fmla="*/ 30766 w 39338"/>
                <a:gd name="connsiteY1" fmla="*/ 2085 h 145627"/>
                <a:gd name="connsiteX2" fmla="*/ 30290 w 39338"/>
                <a:gd name="connsiteY2" fmla="*/ 276 h 145627"/>
                <a:gd name="connsiteX3" fmla="*/ 28194 w 39338"/>
                <a:gd name="connsiteY3" fmla="*/ 85 h 145627"/>
                <a:gd name="connsiteX4" fmla="*/ 0 w 39338"/>
                <a:gd name="connsiteY4" fmla="*/ 2752 h 145627"/>
                <a:gd name="connsiteX5" fmla="*/ 953 w 39338"/>
                <a:gd name="connsiteY5" fmla="*/ 3324 h 145627"/>
                <a:gd name="connsiteX6" fmla="*/ 2667 w 39338"/>
                <a:gd name="connsiteY6" fmla="*/ 77619 h 145627"/>
                <a:gd name="connsiteX7" fmla="*/ 5143 w 39338"/>
                <a:gd name="connsiteY7" fmla="*/ 110099 h 145627"/>
                <a:gd name="connsiteX8" fmla="*/ 8001 w 39338"/>
                <a:gd name="connsiteY8" fmla="*/ 145627 h 145627"/>
                <a:gd name="connsiteX9" fmla="*/ 39338 w 39338"/>
                <a:gd name="connsiteY9" fmla="*/ 143151 h 145627"/>
                <a:gd name="connsiteX10" fmla="*/ 32480 w 39338"/>
                <a:gd name="connsiteY10" fmla="*/ 33613 h 14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145627">
                  <a:moveTo>
                    <a:pt x="32480" y="33613"/>
                  </a:moveTo>
                  <a:cubicBezTo>
                    <a:pt x="31432" y="23136"/>
                    <a:pt x="29432" y="12563"/>
                    <a:pt x="30766" y="2085"/>
                  </a:cubicBezTo>
                  <a:cubicBezTo>
                    <a:pt x="30861" y="1419"/>
                    <a:pt x="30956" y="657"/>
                    <a:pt x="30290" y="276"/>
                  </a:cubicBezTo>
                  <a:cubicBezTo>
                    <a:pt x="29718" y="-105"/>
                    <a:pt x="28861" y="-10"/>
                    <a:pt x="28194" y="85"/>
                  </a:cubicBezTo>
                  <a:cubicBezTo>
                    <a:pt x="18764" y="942"/>
                    <a:pt x="9430" y="1800"/>
                    <a:pt x="0" y="2752"/>
                  </a:cubicBezTo>
                  <a:lnTo>
                    <a:pt x="953" y="3324"/>
                  </a:lnTo>
                  <a:cubicBezTo>
                    <a:pt x="953" y="28089"/>
                    <a:pt x="1524" y="52854"/>
                    <a:pt x="2667" y="77619"/>
                  </a:cubicBezTo>
                  <a:cubicBezTo>
                    <a:pt x="3239" y="88477"/>
                    <a:pt x="3810" y="99336"/>
                    <a:pt x="5143" y="110099"/>
                  </a:cubicBezTo>
                  <a:cubicBezTo>
                    <a:pt x="6572" y="121910"/>
                    <a:pt x="8858" y="133816"/>
                    <a:pt x="8001" y="145627"/>
                  </a:cubicBezTo>
                  <a:cubicBezTo>
                    <a:pt x="18479" y="145056"/>
                    <a:pt x="28956" y="144198"/>
                    <a:pt x="39338" y="143151"/>
                  </a:cubicBezTo>
                  <a:cubicBezTo>
                    <a:pt x="28575" y="107432"/>
                    <a:pt x="36005" y="70094"/>
                    <a:pt x="32480" y="33613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C9C9C1CA-E0DB-5995-838D-B5117BD40953}"/>
                </a:ext>
              </a:extLst>
            </p:cNvPr>
            <p:cNvSpPr/>
            <p:nvPr/>
          </p:nvSpPr>
          <p:spPr>
            <a:xfrm>
              <a:off x="5424306" y="4315662"/>
              <a:ext cx="57426" cy="280712"/>
            </a:xfrm>
            <a:custGeom>
              <a:avLst/>
              <a:gdLst>
                <a:gd name="connsiteX0" fmla="*/ 32480 w 39338"/>
                <a:gd name="connsiteY0" fmla="*/ 44369 h 192292"/>
                <a:gd name="connsiteX1" fmla="*/ 30861 w 39338"/>
                <a:gd name="connsiteY1" fmla="*/ 2840 h 192292"/>
                <a:gd name="connsiteX2" fmla="*/ 30290 w 39338"/>
                <a:gd name="connsiteY2" fmla="*/ 364 h 192292"/>
                <a:gd name="connsiteX3" fmla="*/ 28194 w 39338"/>
                <a:gd name="connsiteY3" fmla="*/ 78 h 192292"/>
                <a:gd name="connsiteX4" fmla="*/ 0 w 39338"/>
                <a:gd name="connsiteY4" fmla="*/ 3602 h 192292"/>
                <a:gd name="connsiteX5" fmla="*/ 953 w 39338"/>
                <a:gd name="connsiteY5" fmla="*/ 4459 h 192292"/>
                <a:gd name="connsiteX6" fmla="*/ 2762 w 39338"/>
                <a:gd name="connsiteY6" fmla="*/ 102472 h 192292"/>
                <a:gd name="connsiteX7" fmla="*/ 5143 w 39338"/>
                <a:gd name="connsiteY7" fmla="*/ 145429 h 192292"/>
                <a:gd name="connsiteX8" fmla="*/ 8001 w 39338"/>
                <a:gd name="connsiteY8" fmla="*/ 192292 h 192292"/>
                <a:gd name="connsiteX9" fmla="*/ 39338 w 39338"/>
                <a:gd name="connsiteY9" fmla="*/ 189054 h 192292"/>
                <a:gd name="connsiteX10" fmla="*/ 32480 w 39338"/>
                <a:gd name="connsiteY10" fmla="*/ 44369 h 19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192292">
                  <a:moveTo>
                    <a:pt x="32480" y="44369"/>
                  </a:moveTo>
                  <a:cubicBezTo>
                    <a:pt x="31432" y="30558"/>
                    <a:pt x="29528" y="16651"/>
                    <a:pt x="30861" y="2840"/>
                  </a:cubicBezTo>
                  <a:cubicBezTo>
                    <a:pt x="30861" y="1983"/>
                    <a:pt x="30956" y="935"/>
                    <a:pt x="30290" y="364"/>
                  </a:cubicBezTo>
                  <a:cubicBezTo>
                    <a:pt x="29718" y="-113"/>
                    <a:pt x="28956" y="-17"/>
                    <a:pt x="28194" y="78"/>
                  </a:cubicBezTo>
                  <a:cubicBezTo>
                    <a:pt x="18764" y="1221"/>
                    <a:pt x="9430" y="2459"/>
                    <a:pt x="0" y="3602"/>
                  </a:cubicBezTo>
                  <a:lnTo>
                    <a:pt x="953" y="4459"/>
                  </a:lnTo>
                  <a:cubicBezTo>
                    <a:pt x="953" y="37130"/>
                    <a:pt x="1524" y="69801"/>
                    <a:pt x="2762" y="102472"/>
                  </a:cubicBezTo>
                  <a:cubicBezTo>
                    <a:pt x="3239" y="116854"/>
                    <a:pt x="3810" y="131142"/>
                    <a:pt x="5143" y="145429"/>
                  </a:cubicBezTo>
                  <a:cubicBezTo>
                    <a:pt x="6572" y="161050"/>
                    <a:pt x="8858" y="176671"/>
                    <a:pt x="8001" y="192292"/>
                  </a:cubicBezTo>
                  <a:cubicBezTo>
                    <a:pt x="18479" y="191530"/>
                    <a:pt x="28956" y="190483"/>
                    <a:pt x="39338" y="189054"/>
                  </a:cubicBezTo>
                  <a:cubicBezTo>
                    <a:pt x="28575" y="141905"/>
                    <a:pt x="36004" y="92566"/>
                    <a:pt x="32480" y="44369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9117D79E-4AE2-C692-69AC-89D2A193C464}"/>
                </a:ext>
              </a:extLst>
            </p:cNvPr>
            <p:cNvSpPr/>
            <p:nvPr/>
          </p:nvSpPr>
          <p:spPr>
            <a:xfrm>
              <a:off x="5910139" y="4661727"/>
              <a:ext cx="49917" cy="142245"/>
            </a:xfrm>
            <a:custGeom>
              <a:avLst/>
              <a:gdLst>
                <a:gd name="connsiteX0" fmla="*/ 34195 w 34194"/>
                <a:gd name="connsiteY0" fmla="*/ 96965 h 97440"/>
                <a:gd name="connsiteX1" fmla="*/ 34195 w 34194"/>
                <a:gd name="connsiteY1" fmla="*/ 96965 h 97440"/>
                <a:gd name="connsiteX2" fmla="*/ 33242 w 34194"/>
                <a:gd name="connsiteY2" fmla="*/ 86201 h 97440"/>
                <a:gd name="connsiteX3" fmla="*/ 31718 w 34194"/>
                <a:gd name="connsiteY3" fmla="*/ 75438 h 97440"/>
                <a:gd name="connsiteX4" fmla="*/ 31432 w 34194"/>
                <a:gd name="connsiteY4" fmla="*/ 64389 h 97440"/>
                <a:gd name="connsiteX5" fmla="*/ 29909 w 34194"/>
                <a:gd name="connsiteY5" fmla="*/ 53626 h 97440"/>
                <a:gd name="connsiteX6" fmla="*/ 28670 w 34194"/>
                <a:gd name="connsiteY6" fmla="*/ 42863 h 97440"/>
                <a:gd name="connsiteX7" fmla="*/ 26956 w 34194"/>
                <a:gd name="connsiteY7" fmla="*/ 32099 h 97440"/>
                <a:gd name="connsiteX8" fmla="*/ 25718 w 34194"/>
                <a:gd name="connsiteY8" fmla="*/ 21336 h 97440"/>
                <a:gd name="connsiteX9" fmla="*/ 24955 w 34194"/>
                <a:gd name="connsiteY9" fmla="*/ 10573 h 97440"/>
                <a:gd name="connsiteX10" fmla="*/ 24194 w 34194"/>
                <a:gd name="connsiteY10" fmla="*/ 0 h 97440"/>
                <a:gd name="connsiteX11" fmla="*/ 20955 w 34194"/>
                <a:gd name="connsiteY11" fmla="*/ 10287 h 97440"/>
                <a:gd name="connsiteX12" fmla="*/ 18764 w 34194"/>
                <a:gd name="connsiteY12" fmla="*/ 21336 h 97440"/>
                <a:gd name="connsiteX13" fmla="*/ 16574 w 34194"/>
                <a:gd name="connsiteY13" fmla="*/ 32385 h 97440"/>
                <a:gd name="connsiteX14" fmla="*/ 13145 w 34194"/>
                <a:gd name="connsiteY14" fmla="*/ 42958 h 97440"/>
                <a:gd name="connsiteX15" fmla="*/ 11144 w 34194"/>
                <a:gd name="connsiteY15" fmla="*/ 54007 h 97440"/>
                <a:gd name="connsiteX16" fmla="*/ 7430 w 34194"/>
                <a:gd name="connsiteY16" fmla="*/ 64579 h 97440"/>
                <a:gd name="connsiteX17" fmla="*/ 5715 w 34194"/>
                <a:gd name="connsiteY17" fmla="*/ 75628 h 97440"/>
                <a:gd name="connsiteX18" fmla="*/ 2477 w 34194"/>
                <a:gd name="connsiteY18" fmla="*/ 86392 h 97440"/>
                <a:gd name="connsiteX19" fmla="*/ 0 w 34194"/>
                <a:gd name="connsiteY19" fmla="*/ 97441 h 97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194" h="97440">
                  <a:moveTo>
                    <a:pt x="34195" y="96965"/>
                  </a:moveTo>
                  <a:lnTo>
                    <a:pt x="34195" y="96965"/>
                  </a:lnTo>
                  <a:cubicBezTo>
                    <a:pt x="33433" y="91440"/>
                    <a:pt x="33719" y="91440"/>
                    <a:pt x="33242" y="86201"/>
                  </a:cubicBezTo>
                  <a:cubicBezTo>
                    <a:pt x="32766" y="80677"/>
                    <a:pt x="32290" y="80677"/>
                    <a:pt x="31718" y="75438"/>
                  </a:cubicBezTo>
                  <a:cubicBezTo>
                    <a:pt x="31242" y="69914"/>
                    <a:pt x="32004" y="69914"/>
                    <a:pt x="31432" y="64389"/>
                  </a:cubicBezTo>
                  <a:cubicBezTo>
                    <a:pt x="30670" y="59150"/>
                    <a:pt x="30480" y="59150"/>
                    <a:pt x="29909" y="53626"/>
                  </a:cubicBezTo>
                  <a:cubicBezTo>
                    <a:pt x="29432" y="48387"/>
                    <a:pt x="29147" y="48387"/>
                    <a:pt x="28670" y="42863"/>
                  </a:cubicBezTo>
                  <a:cubicBezTo>
                    <a:pt x="28194" y="37624"/>
                    <a:pt x="27432" y="37624"/>
                    <a:pt x="26956" y="32099"/>
                  </a:cubicBezTo>
                  <a:cubicBezTo>
                    <a:pt x="26480" y="26860"/>
                    <a:pt x="26194" y="26860"/>
                    <a:pt x="25718" y="21336"/>
                  </a:cubicBezTo>
                  <a:cubicBezTo>
                    <a:pt x="25241" y="16097"/>
                    <a:pt x="25432" y="16097"/>
                    <a:pt x="24955" y="10573"/>
                  </a:cubicBezTo>
                  <a:cubicBezTo>
                    <a:pt x="24479" y="5048"/>
                    <a:pt x="29623" y="0"/>
                    <a:pt x="24194" y="0"/>
                  </a:cubicBezTo>
                  <a:cubicBezTo>
                    <a:pt x="18764" y="0"/>
                    <a:pt x="22193" y="5048"/>
                    <a:pt x="20955" y="10287"/>
                  </a:cubicBezTo>
                  <a:cubicBezTo>
                    <a:pt x="19431" y="15811"/>
                    <a:pt x="20003" y="15811"/>
                    <a:pt x="18764" y="21336"/>
                  </a:cubicBezTo>
                  <a:cubicBezTo>
                    <a:pt x="17240" y="26575"/>
                    <a:pt x="17812" y="26860"/>
                    <a:pt x="16574" y="32385"/>
                  </a:cubicBezTo>
                  <a:cubicBezTo>
                    <a:pt x="15049" y="37624"/>
                    <a:pt x="14573" y="37433"/>
                    <a:pt x="13145" y="42958"/>
                  </a:cubicBezTo>
                  <a:cubicBezTo>
                    <a:pt x="11906" y="48482"/>
                    <a:pt x="12382" y="48482"/>
                    <a:pt x="11144" y="54007"/>
                  </a:cubicBezTo>
                  <a:cubicBezTo>
                    <a:pt x="9620" y="59246"/>
                    <a:pt x="8954" y="59055"/>
                    <a:pt x="7430" y="64579"/>
                  </a:cubicBezTo>
                  <a:cubicBezTo>
                    <a:pt x="5906" y="70104"/>
                    <a:pt x="7144" y="70390"/>
                    <a:pt x="5715" y="75628"/>
                  </a:cubicBezTo>
                  <a:cubicBezTo>
                    <a:pt x="4477" y="81153"/>
                    <a:pt x="3715" y="80867"/>
                    <a:pt x="2477" y="86392"/>
                  </a:cubicBezTo>
                  <a:cubicBezTo>
                    <a:pt x="953" y="91916"/>
                    <a:pt x="1524" y="91916"/>
                    <a:pt x="0" y="97441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04023838-0ECB-2C8B-DC79-97FA83C31EBD}"/>
                </a:ext>
              </a:extLst>
            </p:cNvPr>
            <p:cNvSpPr/>
            <p:nvPr/>
          </p:nvSpPr>
          <p:spPr>
            <a:xfrm>
              <a:off x="5876768" y="4274758"/>
              <a:ext cx="116939" cy="156421"/>
            </a:xfrm>
            <a:custGeom>
              <a:avLst/>
              <a:gdLst>
                <a:gd name="connsiteX0" fmla="*/ 80105 w 80105"/>
                <a:gd name="connsiteY0" fmla="*/ 53721 h 107151"/>
                <a:gd name="connsiteX1" fmla="*/ 80105 w 80105"/>
                <a:gd name="connsiteY1" fmla="*/ 53721 h 107151"/>
                <a:gd name="connsiteX2" fmla="*/ 79153 w 80105"/>
                <a:gd name="connsiteY2" fmla="*/ 64294 h 107151"/>
                <a:gd name="connsiteX3" fmla="*/ 76962 w 80105"/>
                <a:gd name="connsiteY3" fmla="*/ 74866 h 107151"/>
                <a:gd name="connsiteX4" fmla="*/ 72771 w 80105"/>
                <a:gd name="connsiteY4" fmla="*/ 84677 h 107151"/>
                <a:gd name="connsiteX5" fmla="*/ 66865 w 80105"/>
                <a:gd name="connsiteY5" fmla="*/ 93250 h 107151"/>
                <a:gd name="connsiteX6" fmla="*/ 59436 w 80105"/>
                <a:gd name="connsiteY6" fmla="*/ 100775 h 107151"/>
                <a:gd name="connsiteX7" fmla="*/ 50482 w 80105"/>
                <a:gd name="connsiteY7" fmla="*/ 106299 h 107151"/>
                <a:gd name="connsiteX8" fmla="*/ 40100 w 80105"/>
                <a:gd name="connsiteY8" fmla="*/ 107061 h 107151"/>
                <a:gd name="connsiteX9" fmla="*/ 30194 w 80105"/>
                <a:gd name="connsiteY9" fmla="*/ 105061 h 107151"/>
                <a:gd name="connsiteX10" fmla="*/ 20765 w 80105"/>
                <a:gd name="connsiteY10" fmla="*/ 100775 h 107151"/>
                <a:gd name="connsiteX11" fmla="*/ 13811 w 80105"/>
                <a:gd name="connsiteY11" fmla="*/ 92964 h 107151"/>
                <a:gd name="connsiteX12" fmla="*/ 8096 w 80105"/>
                <a:gd name="connsiteY12" fmla="*/ 84201 h 107151"/>
                <a:gd name="connsiteX13" fmla="*/ 3429 w 80105"/>
                <a:gd name="connsiteY13" fmla="*/ 74866 h 107151"/>
                <a:gd name="connsiteX14" fmla="*/ 1715 w 80105"/>
                <a:gd name="connsiteY14" fmla="*/ 64294 h 107151"/>
                <a:gd name="connsiteX15" fmla="*/ 0 w 80105"/>
                <a:gd name="connsiteY15" fmla="*/ 53721 h 107151"/>
                <a:gd name="connsiteX16" fmla="*/ 1238 w 80105"/>
                <a:gd name="connsiteY16" fmla="*/ 43148 h 107151"/>
                <a:gd name="connsiteX17" fmla="*/ 4000 w 80105"/>
                <a:gd name="connsiteY17" fmla="*/ 32861 h 107151"/>
                <a:gd name="connsiteX18" fmla="*/ 7715 w 80105"/>
                <a:gd name="connsiteY18" fmla="*/ 23051 h 107151"/>
                <a:gd name="connsiteX19" fmla="*/ 13430 w 80105"/>
                <a:gd name="connsiteY19" fmla="*/ 14002 h 107151"/>
                <a:gd name="connsiteX20" fmla="*/ 20860 w 80105"/>
                <a:gd name="connsiteY20" fmla="*/ 6763 h 107151"/>
                <a:gd name="connsiteX21" fmla="*/ 30004 w 80105"/>
                <a:gd name="connsiteY21" fmla="*/ 1524 h 107151"/>
                <a:gd name="connsiteX22" fmla="*/ 40196 w 80105"/>
                <a:gd name="connsiteY22" fmla="*/ 0 h 107151"/>
                <a:gd name="connsiteX23" fmla="*/ 50578 w 80105"/>
                <a:gd name="connsiteY23" fmla="*/ 1238 h 107151"/>
                <a:gd name="connsiteX24" fmla="*/ 59722 w 80105"/>
                <a:gd name="connsiteY24" fmla="*/ 6763 h 107151"/>
                <a:gd name="connsiteX25" fmla="*/ 66865 w 80105"/>
                <a:gd name="connsiteY25" fmla="*/ 14287 h 107151"/>
                <a:gd name="connsiteX26" fmla="*/ 72771 w 80105"/>
                <a:gd name="connsiteY26" fmla="*/ 22860 h 107151"/>
                <a:gd name="connsiteX27" fmla="*/ 76009 w 80105"/>
                <a:gd name="connsiteY27" fmla="*/ 33147 h 107151"/>
                <a:gd name="connsiteX28" fmla="*/ 78486 w 80105"/>
                <a:gd name="connsiteY28" fmla="*/ 43148 h 107151"/>
                <a:gd name="connsiteX29" fmla="*/ 80105 w 80105"/>
                <a:gd name="connsiteY29" fmla="*/ 53721 h 107151"/>
                <a:gd name="connsiteX30" fmla="*/ 80105 w 80105"/>
                <a:gd name="connsiteY30" fmla="*/ 53721 h 107151"/>
                <a:gd name="connsiteX31" fmla="*/ 80105 w 80105"/>
                <a:gd name="connsiteY31" fmla="*/ 53721 h 107151"/>
                <a:gd name="connsiteX32" fmla="*/ 80105 w 80105"/>
                <a:gd name="connsiteY32" fmla="*/ 53721 h 10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0105" h="107151">
                  <a:moveTo>
                    <a:pt x="80105" y="53721"/>
                  </a:moveTo>
                  <a:lnTo>
                    <a:pt x="80105" y="53721"/>
                  </a:lnTo>
                  <a:cubicBezTo>
                    <a:pt x="80105" y="57245"/>
                    <a:pt x="79629" y="60960"/>
                    <a:pt x="79153" y="64294"/>
                  </a:cubicBezTo>
                  <a:cubicBezTo>
                    <a:pt x="78677" y="68104"/>
                    <a:pt x="77915" y="71533"/>
                    <a:pt x="76962" y="74866"/>
                  </a:cubicBezTo>
                  <a:cubicBezTo>
                    <a:pt x="76009" y="78391"/>
                    <a:pt x="74486" y="81629"/>
                    <a:pt x="72771" y="84677"/>
                  </a:cubicBezTo>
                  <a:cubicBezTo>
                    <a:pt x="71247" y="87916"/>
                    <a:pt x="69056" y="90678"/>
                    <a:pt x="66865" y="93250"/>
                  </a:cubicBezTo>
                  <a:cubicBezTo>
                    <a:pt x="64675" y="96298"/>
                    <a:pt x="62198" y="98489"/>
                    <a:pt x="59436" y="100775"/>
                  </a:cubicBezTo>
                  <a:cubicBezTo>
                    <a:pt x="56674" y="102775"/>
                    <a:pt x="53721" y="105061"/>
                    <a:pt x="50482" y="106299"/>
                  </a:cubicBezTo>
                  <a:cubicBezTo>
                    <a:pt x="47244" y="107537"/>
                    <a:pt x="43815" y="107061"/>
                    <a:pt x="40100" y="107061"/>
                  </a:cubicBezTo>
                  <a:cubicBezTo>
                    <a:pt x="36671" y="107061"/>
                    <a:pt x="33433" y="106299"/>
                    <a:pt x="30194" y="105061"/>
                  </a:cubicBezTo>
                  <a:cubicBezTo>
                    <a:pt x="26956" y="104013"/>
                    <a:pt x="23717" y="102775"/>
                    <a:pt x="20765" y="100775"/>
                  </a:cubicBezTo>
                  <a:cubicBezTo>
                    <a:pt x="18288" y="98489"/>
                    <a:pt x="16097" y="96012"/>
                    <a:pt x="13811" y="92964"/>
                  </a:cubicBezTo>
                  <a:cubicBezTo>
                    <a:pt x="11620" y="90488"/>
                    <a:pt x="9620" y="87440"/>
                    <a:pt x="8096" y="84201"/>
                  </a:cubicBezTo>
                  <a:cubicBezTo>
                    <a:pt x="6572" y="81153"/>
                    <a:pt x="4381" y="78391"/>
                    <a:pt x="3429" y="74866"/>
                  </a:cubicBezTo>
                  <a:cubicBezTo>
                    <a:pt x="2191" y="71628"/>
                    <a:pt x="2476" y="67818"/>
                    <a:pt x="1715" y="64294"/>
                  </a:cubicBezTo>
                  <a:cubicBezTo>
                    <a:pt x="1238" y="60770"/>
                    <a:pt x="0" y="57245"/>
                    <a:pt x="0" y="53721"/>
                  </a:cubicBezTo>
                  <a:cubicBezTo>
                    <a:pt x="0" y="50197"/>
                    <a:pt x="762" y="46482"/>
                    <a:pt x="1238" y="43148"/>
                  </a:cubicBezTo>
                  <a:cubicBezTo>
                    <a:pt x="1715" y="39624"/>
                    <a:pt x="2953" y="36100"/>
                    <a:pt x="4000" y="32861"/>
                  </a:cubicBezTo>
                  <a:cubicBezTo>
                    <a:pt x="4953" y="29337"/>
                    <a:pt x="6001" y="26098"/>
                    <a:pt x="7715" y="23051"/>
                  </a:cubicBezTo>
                  <a:cubicBezTo>
                    <a:pt x="9239" y="19812"/>
                    <a:pt x="11144" y="16764"/>
                    <a:pt x="13430" y="14002"/>
                  </a:cubicBezTo>
                  <a:cubicBezTo>
                    <a:pt x="15621" y="11239"/>
                    <a:pt x="18097" y="8763"/>
                    <a:pt x="20860" y="6763"/>
                  </a:cubicBezTo>
                  <a:cubicBezTo>
                    <a:pt x="23813" y="4477"/>
                    <a:pt x="26765" y="2762"/>
                    <a:pt x="30004" y="1524"/>
                  </a:cubicBezTo>
                  <a:cubicBezTo>
                    <a:pt x="33242" y="286"/>
                    <a:pt x="36671" y="0"/>
                    <a:pt x="40196" y="0"/>
                  </a:cubicBezTo>
                  <a:cubicBezTo>
                    <a:pt x="43910" y="0"/>
                    <a:pt x="47339" y="286"/>
                    <a:pt x="50578" y="1238"/>
                  </a:cubicBezTo>
                  <a:cubicBezTo>
                    <a:pt x="53816" y="2477"/>
                    <a:pt x="56769" y="4477"/>
                    <a:pt x="59722" y="6763"/>
                  </a:cubicBezTo>
                  <a:cubicBezTo>
                    <a:pt x="62484" y="8763"/>
                    <a:pt x="64675" y="11525"/>
                    <a:pt x="66865" y="14287"/>
                  </a:cubicBezTo>
                  <a:cubicBezTo>
                    <a:pt x="68866" y="17050"/>
                    <a:pt x="71056" y="19812"/>
                    <a:pt x="72771" y="22860"/>
                  </a:cubicBezTo>
                  <a:cubicBezTo>
                    <a:pt x="74295" y="26098"/>
                    <a:pt x="74771" y="29623"/>
                    <a:pt x="76009" y="33147"/>
                  </a:cubicBezTo>
                  <a:cubicBezTo>
                    <a:pt x="76962" y="36386"/>
                    <a:pt x="78010" y="39719"/>
                    <a:pt x="78486" y="43148"/>
                  </a:cubicBezTo>
                  <a:cubicBezTo>
                    <a:pt x="78867" y="46768"/>
                    <a:pt x="80105" y="50197"/>
                    <a:pt x="80105" y="53721"/>
                  </a:cubicBezTo>
                  <a:lnTo>
                    <a:pt x="80105" y="53721"/>
                  </a:lnTo>
                  <a:lnTo>
                    <a:pt x="80105" y="53721"/>
                  </a:lnTo>
                  <a:lnTo>
                    <a:pt x="80105" y="53721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F210B931-7E64-8EB2-E2C0-57BC7C53B03A}"/>
                </a:ext>
              </a:extLst>
            </p:cNvPr>
            <p:cNvSpPr/>
            <p:nvPr/>
          </p:nvSpPr>
          <p:spPr>
            <a:xfrm>
              <a:off x="5837453" y="4426319"/>
              <a:ext cx="78956" cy="376958"/>
            </a:xfrm>
            <a:custGeom>
              <a:avLst/>
              <a:gdLst>
                <a:gd name="connsiteX0" fmla="*/ 32932 w 54086"/>
                <a:gd name="connsiteY0" fmla="*/ 258223 h 258222"/>
                <a:gd name="connsiteX1" fmla="*/ 32932 w 54086"/>
                <a:gd name="connsiteY1" fmla="*/ 258223 h 258222"/>
                <a:gd name="connsiteX2" fmla="*/ 32932 w 54086"/>
                <a:gd name="connsiteY2" fmla="*/ 247650 h 258222"/>
                <a:gd name="connsiteX3" fmla="*/ 34170 w 54086"/>
                <a:gd name="connsiteY3" fmla="*/ 237363 h 258222"/>
                <a:gd name="connsiteX4" fmla="*/ 34456 w 54086"/>
                <a:gd name="connsiteY4" fmla="*/ 226790 h 258222"/>
                <a:gd name="connsiteX5" fmla="*/ 35980 w 54086"/>
                <a:gd name="connsiteY5" fmla="*/ 216503 h 258222"/>
                <a:gd name="connsiteX6" fmla="*/ 37504 w 54086"/>
                <a:gd name="connsiteY6" fmla="*/ 205930 h 258222"/>
                <a:gd name="connsiteX7" fmla="*/ 37790 w 54086"/>
                <a:gd name="connsiteY7" fmla="*/ 195358 h 258222"/>
                <a:gd name="connsiteX8" fmla="*/ 39028 w 54086"/>
                <a:gd name="connsiteY8" fmla="*/ 185071 h 258222"/>
                <a:gd name="connsiteX9" fmla="*/ 39314 w 54086"/>
                <a:gd name="connsiteY9" fmla="*/ 174498 h 258222"/>
                <a:gd name="connsiteX10" fmla="*/ 41028 w 54086"/>
                <a:gd name="connsiteY10" fmla="*/ 164211 h 258222"/>
                <a:gd name="connsiteX11" fmla="*/ 41981 w 54086"/>
                <a:gd name="connsiteY11" fmla="*/ 153638 h 258222"/>
                <a:gd name="connsiteX12" fmla="*/ 42933 w 54086"/>
                <a:gd name="connsiteY12" fmla="*/ 143066 h 258222"/>
                <a:gd name="connsiteX13" fmla="*/ 43886 w 54086"/>
                <a:gd name="connsiteY13" fmla="*/ 132493 h 258222"/>
                <a:gd name="connsiteX14" fmla="*/ 46076 w 54086"/>
                <a:gd name="connsiteY14" fmla="*/ 121920 h 258222"/>
                <a:gd name="connsiteX15" fmla="*/ 46838 w 54086"/>
                <a:gd name="connsiteY15" fmla="*/ 111347 h 258222"/>
                <a:gd name="connsiteX16" fmla="*/ 47791 w 54086"/>
                <a:gd name="connsiteY16" fmla="*/ 100584 h 258222"/>
                <a:gd name="connsiteX17" fmla="*/ 48267 w 54086"/>
                <a:gd name="connsiteY17" fmla="*/ 90011 h 258222"/>
                <a:gd name="connsiteX18" fmla="*/ 50458 w 54086"/>
                <a:gd name="connsiteY18" fmla="*/ 79439 h 258222"/>
                <a:gd name="connsiteX19" fmla="*/ 50744 w 54086"/>
                <a:gd name="connsiteY19" fmla="*/ 68866 h 258222"/>
                <a:gd name="connsiteX20" fmla="*/ 52934 w 54086"/>
                <a:gd name="connsiteY20" fmla="*/ 58293 h 258222"/>
                <a:gd name="connsiteX21" fmla="*/ 53887 w 54086"/>
                <a:gd name="connsiteY21" fmla="*/ 47530 h 258222"/>
                <a:gd name="connsiteX22" fmla="*/ 49220 w 54086"/>
                <a:gd name="connsiteY22" fmla="*/ 57817 h 258222"/>
                <a:gd name="connsiteX23" fmla="*/ 44267 w 54086"/>
                <a:gd name="connsiteY23" fmla="*/ 67342 h 258222"/>
                <a:gd name="connsiteX24" fmla="*/ 38552 w 54086"/>
                <a:gd name="connsiteY24" fmla="*/ 76676 h 258222"/>
                <a:gd name="connsiteX25" fmla="*/ 34837 w 54086"/>
                <a:gd name="connsiteY25" fmla="*/ 87249 h 258222"/>
                <a:gd name="connsiteX26" fmla="*/ 28931 w 54086"/>
                <a:gd name="connsiteY26" fmla="*/ 96584 h 258222"/>
                <a:gd name="connsiteX27" fmla="*/ 25502 w 54086"/>
                <a:gd name="connsiteY27" fmla="*/ 107156 h 258222"/>
                <a:gd name="connsiteX28" fmla="*/ 19597 w 54086"/>
                <a:gd name="connsiteY28" fmla="*/ 116205 h 258222"/>
                <a:gd name="connsiteX29" fmla="*/ 15406 w 54086"/>
                <a:gd name="connsiteY29" fmla="*/ 126492 h 258222"/>
                <a:gd name="connsiteX30" fmla="*/ 10929 w 54086"/>
                <a:gd name="connsiteY30" fmla="*/ 136493 h 258222"/>
                <a:gd name="connsiteX31" fmla="*/ 5214 w 54086"/>
                <a:gd name="connsiteY31" fmla="*/ 145828 h 258222"/>
                <a:gd name="connsiteX32" fmla="*/ 261 w 54086"/>
                <a:gd name="connsiteY32" fmla="*/ 155639 h 258222"/>
                <a:gd name="connsiteX33" fmla="*/ 1785 w 54086"/>
                <a:gd name="connsiteY33" fmla="*/ 144875 h 258222"/>
                <a:gd name="connsiteX34" fmla="*/ 5214 w 54086"/>
                <a:gd name="connsiteY34" fmla="*/ 134588 h 258222"/>
                <a:gd name="connsiteX35" fmla="*/ 8929 w 54086"/>
                <a:gd name="connsiteY35" fmla="*/ 124301 h 258222"/>
                <a:gd name="connsiteX36" fmla="*/ 11882 w 54086"/>
                <a:gd name="connsiteY36" fmla="*/ 113729 h 258222"/>
                <a:gd name="connsiteX37" fmla="*/ 14358 w 54086"/>
                <a:gd name="connsiteY37" fmla="*/ 103156 h 258222"/>
                <a:gd name="connsiteX38" fmla="*/ 17787 w 54086"/>
                <a:gd name="connsiteY38" fmla="*/ 92869 h 258222"/>
                <a:gd name="connsiteX39" fmla="*/ 19978 w 54086"/>
                <a:gd name="connsiteY39" fmla="*/ 82106 h 258222"/>
                <a:gd name="connsiteX40" fmla="*/ 23407 w 54086"/>
                <a:gd name="connsiteY40" fmla="*/ 71533 h 258222"/>
                <a:gd name="connsiteX41" fmla="*/ 26645 w 54086"/>
                <a:gd name="connsiteY41" fmla="*/ 61246 h 258222"/>
                <a:gd name="connsiteX42" fmla="*/ 30360 w 54086"/>
                <a:gd name="connsiteY42" fmla="*/ 50959 h 258222"/>
                <a:gd name="connsiteX43" fmla="*/ 33122 w 54086"/>
                <a:gd name="connsiteY43" fmla="*/ 40386 h 258222"/>
                <a:gd name="connsiteX44" fmla="*/ 37313 w 54086"/>
                <a:gd name="connsiteY44" fmla="*/ 30099 h 258222"/>
                <a:gd name="connsiteX45" fmla="*/ 40266 w 54086"/>
                <a:gd name="connsiteY45" fmla="*/ 19812 h 258222"/>
                <a:gd name="connsiteX46" fmla="*/ 44743 w 54086"/>
                <a:gd name="connsiteY46" fmla="*/ 9811 h 258222"/>
                <a:gd name="connsiteX47" fmla="*/ 49220 w 54086"/>
                <a:gd name="connsiteY47" fmla="*/ 0 h 258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4086" h="258222">
                  <a:moveTo>
                    <a:pt x="32932" y="258223"/>
                  </a:moveTo>
                  <a:lnTo>
                    <a:pt x="32932" y="258223"/>
                  </a:lnTo>
                  <a:cubicBezTo>
                    <a:pt x="33408" y="252984"/>
                    <a:pt x="32456" y="252984"/>
                    <a:pt x="32932" y="247650"/>
                  </a:cubicBezTo>
                  <a:cubicBezTo>
                    <a:pt x="33408" y="242411"/>
                    <a:pt x="33694" y="242602"/>
                    <a:pt x="34170" y="237363"/>
                  </a:cubicBezTo>
                  <a:cubicBezTo>
                    <a:pt x="34646" y="232124"/>
                    <a:pt x="33884" y="232124"/>
                    <a:pt x="34456" y="226790"/>
                  </a:cubicBezTo>
                  <a:cubicBezTo>
                    <a:pt x="34932" y="221552"/>
                    <a:pt x="35408" y="221552"/>
                    <a:pt x="35980" y="216503"/>
                  </a:cubicBezTo>
                  <a:cubicBezTo>
                    <a:pt x="36266" y="211265"/>
                    <a:pt x="37218" y="211265"/>
                    <a:pt x="37504" y="205930"/>
                  </a:cubicBezTo>
                  <a:cubicBezTo>
                    <a:pt x="37980" y="200692"/>
                    <a:pt x="37218" y="200692"/>
                    <a:pt x="37790" y="195358"/>
                  </a:cubicBezTo>
                  <a:cubicBezTo>
                    <a:pt x="38266" y="190310"/>
                    <a:pt x="38552" y="190310"/>
                    <a:pt x="39028" y="185071"/>
                  </a:cubicBezTo>
                  <a:cubicBezTo>
                    <a:pt x="39504" y="179832"/>
                    <a:pt x="39028" y="179832"/>
                    <a:pt x="39314" y="174498"/>
                  </a:cubicBezTo>
                  <a:cubicBezTo>
                    <a:pt x="39790" y="169259"/>
                    <a:pt x="40552" y="169450"/>
                    <a:pt x="41028" y="164211"/>
                  </a:cubicBezTo>
                  <a:cubicBezTo>
                    <a:pt x="41504" y="158972"/>
                    <a:pt x="41504" y="158972"/>
                    <a:pt x="41981" y="153638"/>
                  </a:cubicBezTo>
                  <a:cubicBezTo>
                    <a:pt x="42457" y="148400"/>
                    <a:pt x="42457" y="148400"/>
                    <a:pt x="42933" y="143066"/>
                  </a:cubicBezTo>
                  <a:cubicBezTo>
                    <a:pt x="43409" y="137827"/>
                    <a:pt x="43409" y="137827"/>
                    <a:pt x="43886" y="132493"/>
                  </a:cubicBezTo>
                  <a:cubicBezTo>
                    <a:pt x="44648" y="127254"/>
                    <a:pt x="45410" y="127254"/>
                    <a:pt x="46076" y="121920"/>
                  </a:cubicBezTo>
                  <a:cubicBezTo>
                    <a:pt x="46553" y="116681"/>
                    <a:pt x="46362" y="116681"/>
                    <a:pt x="46838" y="111347"/>
                  </a:cubicBezTo>
                  <a:cubicBezTo>
                    <a:pt x="47315" y="105823"/>
                    <a:pt x="47315" y="105823"/>
                    <a:pt x="47791" y="100584"/>
                  </a:cubicBezTo>
                  <a:cubicBezTo>
                    <a:pt x="48553" y="95345"/>
                    <a:pt x="47791" y="95345"/>
                    <a:pt x="48267" y="90011"/>
                  </a:cubicBezTo>
                  <a:cubicBezTo>
                    <a:pt x="49029" y="84773"/>
                    <a:pt x="49982" y="84773"/>
                    <a:pt x="50458" y="79439"/>
                  </a:cubicBezTo>
                  <a:cubicBezTo>
                    <a:pt x="51220" y="74200"/>
                    <a:pt x="49982" y="74200"/>
                    <a:pt x="50744" y="68866"/>
                  </a:cubicBezTo>
                  <a:cubicBezTo>
                    <a:pt x="51220" y="63341"/>
                    <a:pt x="52458" y="63627"/>
                    <a:pt x="52934" y="58293"/>
                  </a:cubicBezTo>
                  <a:cubicBezTo>
                    <a:pt x="53696" y="53054"/>
                    <a:pt x="54458" y="52769"/>
                    <a:pt x="53887" y="47530"/>
                  </a:cubicBezTo>
                  <a:cubicBezTo>
                    <a:pt x="53411" y="42005"/>
                    <a:pt x="52172" y="51530"/>
                    <a:pt x="49220" y="57817"/>
                  </a:cubicBezTo>
                  <a:cubicBezTo>
                    <a:pt x="47981" y="60579"/>
                    <a:pt x="45981" y="63627"/>
                    <a:pt x="44267" y="67342"/>
                  </a:cubicBezTo>
                  <a:cubicBezTo>
                    <a:pt x="42743" y="70390"/>
                    <a:pt x="40266" y="73343"/>
                    <a:pt x="38552" y="76676"/>
                  </a:cubicBezTo>
                  <a:cubicBezTo>
                    <a:pt x="37028" y="79915"/>
                    <a:pt x="36361" y="83725"/>
                    <a:pt x="34837" y="87249"/>
                  </a:cubicBezTo>
                  <a:cubicBezTo>
                    <a:pt x="33122" y="90488"/>
                    <a:pt x="30646" y="93250"/>
                    <a:pt x="28931" y="96584"/>
                  </a:cubicBezTo>
                  <a:cubicBezTo>
                    <a:pt x="27407" y="99822"/>
                    <a:pt x="27217" y="103823"/>
                    <a:pt x="25502" y="107156"/>
                  </a:cubicBezTo>
                  <a:cubicBezTo>
                    <a:pt x="23978" y="110395"/>
                    <a:pt x="21026" y="113157"/>
                    <a:pt x="19597" y="116205"/>
                  </a:cubicBezTo>
                  <a:cubicBezTo>
                    <a:pt x="17882" y="119729"/>
                    <a:pt x="16835" y="123254"/>
                    <a:pt x="15406" y="126492"/>
                  </a:cubicBezTo>
                  <a:cubicBezTo>
                    <a:pt x="13691" y="130016"/>
                    <a:pt x="12453" y="133541"/>
                    <a:pt x="10929" y="136493"/>
                  </a:cubicBezTo>
                  <a:cubicBezTo>
                    <a:pt x="8929" y="140018"/>
                    <a:pt x="6738" y="143066"/>
                    <a:pt x="5214" y="145828"/>
                  </a:cubicBezTo>
                  <a:cubicBezTo>
                    <a:pt x="2452" y="151352"/>
                    <a:pt x="737" y="155162"/>
                    <a:pt x="261" y="155639"/>
                  </a:cubicBezTo>
                  <a:cubicBezTo>
                    <a:pt x="-215" y="156115"/>
                    <a:pt x="-215" y="151829"/>
                    <a:pt x="1785" y="144875"/>
                  </a:cubicBezTo>
                  <a:cubicBezTo>
                    <a:pt x="2547" y="141827"/>
                    <a:pt x="4262" y="138589"/>
                    <a:pt x="5214" y="134588"/>
                  </a:cubicBezTo>
                  <a:cubicBezTo>
                    <a:pt x="6167" y="131350"/>
                    <a:pt x="7691" y="128016"/>
                    <a:pt x="8929" y="124301"/>
                  </a:cubicBezTo>
                  <a:cubicBezTo>
                    <a:pt x="9881" y="121063"/>
                    <a:pt x="10929" y="117539"/>
                    <a:pt x="11882" y="113729"/>
                  </a:cubicBezTo>
                  <a:cubicBezTo>
                    <a:pt x="12834" y="110490"/>
                    <a:pt x="13406" y="106680"/>
                    <a:pt x="14358" y="103156"/>
                  </a:cubicBezTo>
                  <a:cubicBezTo>
                    <a:pt x="15311" y="99632"/>
                    <a:pt x="16835" y="96393"/>
                    <a:pt x="17787" y="92869"/>
                  </a:cubicBezTo>
                  <a:cubicBezTo>
                    <a:pt x="18740" y="89345"/>
                    <a:pt x="18740" y="85630"/>
                    <a:pt x="19978" y="82106"/>
                  </a:cubicBezTo>
                  <a:cubicBezTo>
                    <a:pt x="20930" y="78581"/>
                    <a:pt x="22169" y="75057"/>
                    <a:pt x="23407" y="71533"/>
                  </a:cubicBezTo>
                  <a:cubicBezTo>
                    <a:pt x="24359" y="68009"/>
                    <a:pt x="25598" y="64770"/>
                    <a:pt x="26645" y="61246"/>
                  </a:cubicBezTo>
                  <a:cubicBezTo>
                    <a:pt x="27884" y="57722"/>
                    <a:pt x="29408" y="54483"/>
                    <a:pt x="30360" y="50959"/>
                  </a:cubicBezTo>
                  <a:cubicBezTo>
                    <a:pt x="31598" y="47434"/>
                    <a:pt x="32075" y="43720"/>
                    <a:pt x="33122" y="40386"/>
                  </a:cubicBezTo>
                  <a:cubicBezTo>
                    <a:pt x="34361" y="36576"/>
                    <a:pt x="36075" y="33338"/>
                    <a:pt x="37313" y="30099"/>
                  </a:cubicBezTo>
                  <a:cubicBezTo>
                    <a:pt x="38552" y="26575"/>
                    <a:pt x="39314" y="22860"/>
                    <a:pt x="40266" y="19812"/>
                  </a:cubicBezTo>
                  <a:cubicBezTo>
                    <a:pt x="41790" y="15812"/>
                    <a:pt x="43505" y="12573"/>
                    <a:pt x="44743" y="9811"/>
                  </a:cubicBezTo>
                  <a:cubicBezTo>
                    <a:pt x="46934" y="4001"/>
                    <a:pt x="48172" y="476"/>
                    <a:pt x="49220" y="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3B13EB46-941C-F336-AD5B-7859403AA6F8}"/>
                </a:ext>
              </a:extLst>
            </p:cNvPr>
            <p:cNvSpPr/>
            <p:nvPr/>
          </p:nvSpPr>
          <p:spPr>
            <a:xfrm>
              <a:off x="5911669" y="4841393"/>
              <a:ext cx="135988" cy="157220"/>
            </a:xfrm>
            <a:custGeom>
              <a:avLst/>
              <a:gdLst>
                <a:gd name="connsiteX0" fmla="*/ 0 w 93154"/>
                <a:gd name="connsiteY0" fmla="*/ 53615 h 107698"/>
                <a:gd name="connsiteX1" fmla="*/ 0 w 93154"/>
                <a:gd name="connsiteY1" fmla="*/ 53615 h 107698"/>
                <a:gd name="connsiteX2" fmla="*/ 1715 w 93154"/>
                <a:gd name="connsiteY2" fmla="*/ 64950 h 107698"/>
                <a:gd name="connsiteX3" fmla="*/ 4191 w 93154"/>
                <a:gd name="connsiteY3" fmla="*/ 75999 h 107698"/>
                <a:gd name="connsiteX4" fmla="*/ 9906 w 93154"/>
                <a:gd name="connsiteY4" fmla="*/ 85810 h 107698"/>
                <a:gd name="connsiteX5" fmla="*/ 17050 w 93154"/>
                <a:gd name="connsiteY5" fmla="*/ 94382 h 107698"/>
                <a:gd name="connsiteX6" fmla="*/ 24955 w 93154"/>
                <a:gd name="connsiteY6" fmla="*/ 102383 h 107698"/>
                <a:gd name="connsiteX7" fmla="*/ 35338 w 93154"/>
                <a:gd name="connsiteY7" fmla="*/ 107146 h 107698"/>
                <a:gd name="connsiteX8" fmla="*/ 46768 w 93154"/>
                <a:gd name="connsiteY8" fmla="*/ 107431 h 107698"/>
                <a:gd name="connsiteX9" fmla="*/ 57912 w 93154"/>
                <a:gd name="connsiteY9" fmla="*/ 106384 h 107698"/>
                <a:gd name="connsiteX10" fmla="*/ 68104 w 93154"/>
                <a:gd name="connsiteY10" fmla="*/ 101907 h 107698"/>
                <a:gd name="connsiteX11" fmla="*/ 77057 w 93154"/>
                <a:gd name="connsiteY11" fmla="*/ 94858 h 107698"/>
                <a:gd name="connsiteX12" fmla="*/ 84487 w 93154"/>
                <a:gd name="connsiteY12" fmla="*/ 86572 h 107698"/>
                <a:gd name="connsiteX13" fmla="*/ 88487 w 93154"/>
                <a:gd name="connsiteY13" fmla="*/ 75808 h 107698"/>
                <a:gd name="connsiteX14" fmla="*/ 91440 w 93154"/>
                <a:gd name="connsiteY14" fmla="*/ 65045 h 107698"/>
                <a:gd name="connsiteX15" fmla="*/ 93155 w 93154"/>
                <a:gd name="connsiteY15" fmla="*/ 53710 h 107698"/>
                <a:gd name="connsiteX16" fmla="*/ 91630 w 93154"/>
                <a:gd name="connsiteY16" fmla="*/ 42661 h 107698"/>
                <a:gd name="connsiteX17" fmla="*/ 88678 w 93154"/>
                <a:gd name="connsiteY17" fmla="*/ 31898 h 107698"/>
                <a:gd name="connsiteX18" fmla="*/ 84201 w 93154"/>
                <a:gd name="connsiteY18" fmla="*/ 21325 h 107698"/>
                <a:gd name="connsiteX19" fmla="*/ 76486 w 93154"/>
                <a:gd name="connsiteY19" fmla="*/ 13039 h 107698"/>
                <a:gd name="connsiteX20" fmla="*/ 67818 w 93154"/>
                <a:gd name="connsiteY20" fmla="*/ 6276 h 107698"/>
                <a:gd name="connsiteX21" fmla="*/ 57626 w 93154"/>
                <a:gd name="connsiteY21" fmla="*/ 1513 h 107698"/>
                <a:gd name="connsiteX22" fmla="*/ 46768 w 93154"/>
                <a:gd name="connsiteY22" fmla="*/ 466 h 107698"/>
                <a:gd name="connsiteX23" fmla="*/ 35338 w 93154"/>
                <a:gd name="connsiteY23" fmla="*/ 466 h 107698"/>
                <a:gd name="connsiteX24" fmla="*/ 25432 w 93154"/>
                <a:gd name="connsiteY24" fmla="*/ 5704 h 107698"/>
                <a:gd name="connsiteX25" fmla="*/ 17050 w 93154"/>
                <a:gd name="connsiteY25" fmla="*/ 13229 h 107698"/>
                <a:gd name="connsiteX26" fmla="*/ 9144 w 93154"/>
                <a:gd name="connsiteY26" fmla="*/ 21040 h 107698"/>
                <a:gd name="connsiteX27" fmla="*/ 4191 w 93154"/>
                <a:gd name="connsiteY27" fmla="*/ 31327 h 107698"/>
                <a:gd name="connsiteX28" fmla="*/ 2000 w 93154"/>
                <a:gd name="connsiteY28" fmla="*/ 42661 h 107698"/>
                <a:gd name="connsiteX29" fmla="*/ 0 w 93154"/>
                <a:gd name="connsiteY29" fmla="*/ 53615 h 107698"/>
                <a:gd name="connsiteX30" fmla="*/ 0 w 93154"/>
                <a:gd name="connsiteY30" fmla="*/ 53615 h 107698"/>
                <a:gd name="connsiteX31" fmla="*/ 0 w 93154"/>
                <a:gd name="connsiteY31" fmla="*/ 53615 h 107698"/>
                <a:gd name="connsiteX32" fmla="*/ 0 w 93154"/>
                <a:gd name="connsiteY32" fmla="*/ 53615 h 107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3154" h="107698">
                  <a:moveTo>
                    <a:pt x="0" y="53615"/>
                  </a:moveTo>
                  <a:lnTo>
                    <a:pt x="0" y="53615"/>
                  </a:lnTo>
                  <a:cubicBezTo>
                    <a:pt x="0" y="57616"/>
                    <a:pt x="953" y="61426"/>
                    <a:pt x="1715" y="64950"/>
                  </a:cubicBezTo>
                  <a:cubicBezTo>
                    <a:pt x="2477" y="68760"/>
                    <a:pt x="2667" y="72475"/>
                    <a:pt x="4191" y="75999"/>
                  </a:cubicBezTo>
                  <a:cubicBezTo>
                    <a:pt x="5429" y="79809"/>
                    <a:pt x="7906" y="82762"/>
                    <a:pt x="9906" y="85810"/>
                  </a:cubicBezTo>
                  <a:cubicBezTo>
                    <a:pt x="11906" y="89048"/>
                    <a:pt x="14383" y="91810"/>
                    <a:pt x="17050" y="94382"/>
                  </a:cubicBezTo>
                  <a:cubicBezTo>
                    <a:pt x="19812" y="97144"/>
                    <a:pt x="22003" y="100383"/>
                    <a:pt x="24955" y="102383"/>
                  </a:cubicBezTo>
                  <a:cubicBezTo>
                    <a:pt x="28194" y="104383"/>
                    <a:pt x="31909" y="106193"/>
                    <a:pt x="35338" y="107146"/>
                  </a:cubicBezTo>
                  <a:cubicBezTo>
                    <a:pt x="39053" y="108193"/>
                    <a:pt x="42767" y="107431"/>
                    <a:pt x="46768" y="107431"/>
                  </a:cubicBezTo>
                  <a:cubicBezTo>
                    <a:pt x="50482" y="107431"/>
                    <a:pt x="54197" y="107431"/>
                    <a:pt x="57912" y="106384"/>
                  </a:cubicBezTo>
                  <a:cubicBezTo>
                    <a:pt x="61341" y="105336"/>
                    <a:pt x="64865" y="103907"/>
                    <a:pt x="68104" y="101907"/>
                  </a:cubicBezTo>
                  <a:cubicBezTo>
                    <a:pt x="71342" y="100192"/>
                    <a:pt x="74295" y="97621"/>
                    <a:pt x="77057" y="94858"/>
                  </a:cubicBezTo>
                  <a:cubicBezTo>
                    <a:pt x="79534" y="92382"/>
                    <a:pt x="82487" y="89620"/>
                    <a:pt x="84487" y="86572"/>
                  </a:cubicBezTo>
                  <a:cubicBezTo>
                    <a:pt x="86487" y="83333"/>
                    <a:pt x="86963" y="79333"/>
                    <a:pt x="88487" y="75808"/>
                  </a:cubicBezTo>
                  <a:cubicBezTo>
                    <a:pt x="89726" y="72284"/>
                    <a:pt x="90678" y="68760"/>
                    <a:pt x="91440" y="65045"/>
                  </a:cubicBezTo>
                  <a:cubicBezTo>
                    <a:pt x="92202" y="61235"/>
                    <a:pt x="93155" y="57806"/>
                    <a:pt x="93155" y="53710"/>
                  </a:cubicBezTo>
                  <a:cubicBezTo>
                    <a:pt x="93155" y="49900"/>
                    <a:pt x="92202" y="46186"/>
                    <a:pt x="91630" y="42661"/>
                  </a:cubicBezTo>
                  <a:cubicBezTo>
                    <a:pt x="90868" y="38851"/>
                    <a:pt x="89916" y="35137"/>
                    <a:pt x="88678" y="31898"/>
                  </a:cubicBezTo>
                  <a:cubicBezTo>
                    <a:pt x="87154" y="28088"/>
                    <a:pt x="86201" y="24659"/>
                    <a:pt x="84201" y="21325"/>
                  </a:cubicBezTo>
                  <a:cubicBezTo>
                    <a:pt x="82010" y="18087"/>
                    <a:pt x="79248" y="15801"/>
                    <a:pt x="76486" y="13039"/>
                  </a:cubicBezTo>
                  <a:cubicBezTo>
                    <a:pt x="73724" y="10276"/>
                    <a:pt x="70771" y="8276"/>
                    <a:pt x="67818" y="6276"/>
                  </a:cubicBezTo>
                  <a:cubicBezTo>
                    <a:pt x="64580" y="4276"/>
                    <a:pt x="61341" y="2466"/>
                    <a:pt x="57626" y="1513"/>
                  </a:cubicBezTo>
                  <a:cubicBezTo>
                    <a:pt x="54197" y="275"/>
                    <a:pt x="50482" y="466"/>
                    <a:pt x="46768" y="466"/>
                  </a:cubicBezTo>
                  <a:cubicBezTo>
                    <a:pt x="42767" y="466"/>
                    <a:pt x="39053" y="-582"/>
                    <a:pt x="35338" y="466"/>
                  </a:cubicBezTo>
                  <a:cubicBezTo>
                    <a:pt x="31909" y="1513"/>
                    <a:pt x="28670" y="3704"/>
                    <a:pt x="25432" y="5704"/>
                  </a:cubicBezTo>
                  <a:cubicBezTo>
                    <a:pt x="22193" y="7705"/>
                    <a:pt x="19717" y="10467"/>
                    <a:pt x="17050" y="13229"/>
                  </a:cubicBezTo>
                  <a:cubicBezTo>
                    <a:pt x="14288" y="15706"/>
                    <a:pt x="11144" y="17706"/>
                    <a:pt x="9144" y="21040"/>
                  </a:cubicBezTo>
                  <a:cubicBezTo>
                    <a:pt x="6953" y="24278"/>
                    <a:pt x="5715" y="27802"/>
                    <a:pt x="4191" y="31327"/>
                  </a:cubicBezTo>
                  <a:cubicBezTo>
                    <a:pt x="2953" y="34851"/>
                    <a:pt x="2667" y="38851"/>
                    <a:pt x="2000" y="42661"/>
                  </a:cubicBezTo>
                  <a:cubicBezTo>
                    <a:pt x="1238" y="46090"/>
                    <a:pt x="0" y="49805"/>
                    <a:pt x="0" y="53615"/>
                  </a:cubicBezTo>
                  <a:lnTo>
                    <a:pt x="0" y="53615"/>
                  </a:lnTo>
                  <a:lnTo>
                    <a:pt x="0" y="53615"/>
                  </a:lnTo>
                  <a:lnTo>
                    <a:pt x="0" y="53615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AA94458C-608B-45EA-31F1-FA7899ED2BC6}"/>
                </a:ext>
              </a:extLst>
            </p:cNvPr>
            <p:cNvSpPr/>
            <p:nvPr/>
          </p:nvSpPr>
          <p:spPr>
            <a:xfrm>
              <a:off x="5911252" y="4919939"/>
              <a:ext cx="111793" cy="42957"/>
            </a:xfrm>
            <a:custGeom>
              <a:avLst/>
              <a:gdLst>
                <a:gd name="connsiteX0" fmla="*/ 76581 w 76580"/>
                <a:gd name="connsiteY0" fmla="*/ 7810 h 29426"/>
                <a:gd name="connsiteX1" fmla="*/ 76581 w 76580"/>
                <a:gd name="connsiteY1" fmla="*/ 7810 h 29426"/>
                <a:gd name="connsiteX2" fmla="*/ 68866 w 76580"/>
                <a:gd name="connsiteY2" fmla="*/ 15050 h 29426"/>
                <a:gd name="connsiteX3" fmla="*/ 59912 w 76580"/>
                <a:gd name="connsiteY3" fmla="*/ 20860 h 29426"/>
                <a:gd name="connsiteX4" fmla="*/ 50482 w 76580"/>
                <a:gd name="connsiteY4" fmla="*/ 25908 h 29426"/>
                <a:gd name="connsiteX5" fmla="*/ 40576 w 76580"/>
                <a:gd name="connsiteY5" fmla="*/ 28956 h 29426"/>
                <a:gd name="connsiteX6" fmla="*/ 29908 w 76580"/>
                <a:gd name="connsiteY6" fmla="*/ 28956 h 29426"/>
                <a:gd name="connsiteX7" fmla="*/ 20003 w 76580"/>
                <a:gd name="connsiteY7" fmla="*/ 24955 h 29426"/>
                <a:gd name="connsiteX8" fmla="*/ 11620 w 76580"/>
                <a:gd name="connsiteY8" fmla="*/ 18383 h 29426"/>
                <a:gd name="connsiteX9" fmla="*/ 5905 w 76580"/>
                <a:gd name="connsiteY9" fmla="*/ 9049 h 29426"/>
                <a:gd name="connsiteX10" fmla="*/ 0 w 76580"/>
                <a:gd name="connsiteY10" fmla="*/ 0 h 2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580" h="29426">
                  <a:moveTo>
                    <a:pt x="76581" y="7810"/>
                  </a:moveTo>
                  <a:lnTo>
                    <a:pt x="76581" y="7810"/>
                  </a:lnTo>
                  <a:cubicBezTo>
                    <a:pt x="72866" y="11621"/>
                    <a:pt x="73819" y="11049"/>
                    <a:pt x="68866" y="15050"/>
                  </a:cubicBezTo>
                  <a:cubicBezTo>
                    <a:pt x="66389" y="17050"/>
                    <a:pt x="63151" y="18574"/>
                    <a:pt x="59912" y="20860"/>
                  </a:cubicBezTo>
                  <a:cubicBezTo>
                    <a:pt x="56959" y="22574"/>
                    <a:pt x="54007" y="24384"/>
                    <a:pt x="50482" y="25908"/>
                  </a:cubicBezTo>
                  <a:cubicBezTo>
                    <a:pt x="47244" y="27146"/>
                    <a:pt x="44005" y="28670"/>
                    <a:pt x="40576" y="28956"/>
                  </a:cubicBezTo>
                  <a:cubicBezTo>
                    <a:pt x="37147" y="29432"/>
                    <a:pt x="33433" y="29718"/>
                    <a:pt x="29908" y="28956"/>
                  </a:cubicBezTo>
                  <a:cubicBezTo>
                    <a:pt x="26670" y="28194"/>
                    <a:pt x="23241" y="26956"/>
                    <a:pt x="20003" y="24955"/>
                  </a:cubicBezTo>
                  <a:cubicBezTo>
                    <a:pt x="17240" y="23241"/>
                    <a:pt x="14287" y="21146"/>
                    <a:pt x="11620" y="18383"/>
                  </a:cubicBezTo>
                  <a:cubicBezTo>
                    <a:pt x="9430" y="15907"/>
                    <a:pt x="8192" y="12382"/>
                    <a:pt x="5905" y="9049"/>
                  </a:cubicBezTo>
                  <a:cubicBezTo>
                    <a:pt x="4191" y="6286"/>
                    <a:pt x="1715" y="3524"/>
                    <a:pt x="0" y="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E00FCD4E-7936-49C6-E32F-73E0B4F1026F}"/>
                </a:ext>
              </a:extLst>
            </p:cNvPr>
            <p:cNvSpPr/>
            <p:nvPr/>
          </p:nvSpPr>
          <p:spPr>
            <a:xfrm>
              <a:off x="5972433" y="4883648"/>
              <a:ext cx="6118" cy="12792"/>
            </a:xfrm>
            <a:custGeom>
              <a:avLst/>
              <a:gdLst>
                <a:gd name="connsiteX0" fmla="*/ 4191 w 4191"/>
                <a:gd name="connsiteY0" fmla="*/ 0 h 8763"/>
                <a:gd name="connsiteX1" fmla="*/ 4191 w 4191"/>
                <a:gd name="connsiteY1" fmla="*/ 0 h 8763"/>
                <a:gd name="connsiteX2" fmla="*/ 0 w 4191"/>
                <a:gd name="connsiteY2" fmla="*/ 8763 h 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1" h="8763">
                  <a:moveTo>
                    <a:pt x="4191" y="0"/>
                  </a:moveTo>
                  <a:lnTo>
                    <a:pt x="4191" y="0"/>
                  </a:lnTo>
                  <a:cubicBezTo>
                    <a:pt x="2477" y="4477"/>
                    <a:pt x="1429" y="4286"/>
                    <a:pt x="0" y="8763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9861AE17-D811-F9FB-E0DB-22CC551D922A}"/>
                </a:ext>
              </a:extLst>
            </p:cNvPr>
            <p:cNvSpPr/>
            <p:nvPr/>
          </p:nvSpPr>
          <p:spPr>
            <a:xfrm>
              <a:off x="5947125" y="4874610"/>
              <a:ext cx="6118" cy="13208"/>
            </a:xfrm>
            <a:custGeom>
              <a:avLst/>
              <a:gdLst>
                <a:gd name="connsiteX0" fmla="*/ 4191 w 4191"/>
                <a:gd name="connsiteY0" fmla="*/ 0 h 9048"/>
                <a:gd name="connsiteX1" fmla="*/ 4191 w 4191"/>
                <a:gd name="connsiteY1" fmla="*/ 0 h 9048"/>
                <a:gd name="connsiteX2" fmla="*/ 0 w 4191"/>
                <a:gd name="connsiteY2" fmla="*/ 9049 h 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1" h="9048">
                  <a:moveTo>
                    <a:pt x="4191" y="0"/>
                  </a:moveTo>
                  <a:lnTo>
                    <a:pt x="4191" y="0"/>
                  </a:lnTo>
                  <a:cubicBezTo>
                    <a:pt x="2477" y="4763"/>
                    <a:pt x="1429" y="4477"/>
                    <a:pt x="0" y="9049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F452EC6D-09E2-DB16-DAC6-599CB2D4F277}"/>
                </a:ext>
              </a:extLst>
            </p:cNvPr>
            <p:cNvSpPr/>
            <p:nvPr/>
          </p:nvSpPr>
          <p:spPr>
            <a:xfrm>
              <a:off x="5969513" y="4843463"/>
              <a:ext cx="77309" cy="84124"/>
            </a:xfrm>
            <a:custGeom>
              <a:avLst/>
              <a:gdLst>
                <a:gd name="connsiteX0" fmla="*/ 0 w 52958"/>
                <a:gd name="connsiteY0" fmla="*/ 0 h 57626"/>
                <a:gd name="connsiteX1" fmla="*/ 0 w 52958"/>
                <a:gd name="connsiteY1" fmla="*/ 0 h 57626"/>
                <a:gd name="connsiteX2" fmla="*/ 6191 w 52958"/>
                <a:gd name="connsiteY2" fmla="*/ 8763 h 57626"/>
                <a:gd name="connsiteX3" fmla="*/ 12668 w 52958"/>
                <a:gd name="connsiteY3" fmla="*/ 17050 h 57626"/>
                <a:gd name="connsiteX4" fmla="*/ 19145 w 52958"/>
                <a:gd name="connsiteY4" fmla="*/ 25813 h 57626"/>
                <a:gd name="connsiteX5" fmla="*/ 25051 w 52958"/>
                <a:gd name="connsiteY5" fmla="*/ 34576 h 57626"/>
                <a:gd name="connsiteX6" fmla="*/ 32194 w 52958"/>
                <a:gd name="connsiteY6" fmla="*/ 42577 h 57626"/>
                <a:gd name="connsiteX7" fmla="*/ 41815 w 52958"/>
                <a:gd name="connsiteY7" fmla="*/ 51340 h 57626"/>
                <a:gd name="connsiteX8" fmla="*/ 52959 w 52958"/>
                <a:gd name="connsiteY8" fmla="*/ 57626 h 5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8" h="57626">
                  <a:moveTo>
                    <a:pt x="0" y="0"/>
                  </a:moveTo>
                  <a:lnTo>
                    <a:pt x="0" y="0"/>
                  </a:lnTo>
                  <a:cubicBezTo>
                    <a:pt x="3239" y="4286"/>
                    <a:pt x="2477" y="3524"/>
                    <a:pt x="6191" y="8763"/>
                  </a:cubicBezTo>
                  <a:cubicBezTo>
                    <a:pt x="8192" y="11240"/>
                    <a:pt x="10382" y="14002"/>
                    <a:pt x="12668" y="17050"/>
                  </a:cubicBezTo>
                  <a:cubicBezTo>
                    <a:pt x="14859" y="19812"/>
                    <a:pt x="16859" y="23051"/>
                    <a:pt x="19145" y="25813"/>
                  </a:cubicBezTo>
                  <a:cubicBezTo>
                    <a:pt x="21336" y="28861"/>
                    <a:pt x="23146" y="32099"/>
                    <a:pt x="25051" y="34576"/>
                  </a:cubicBezTo>
                  <a:cubicBezTo>
                    <a:pt x="27813" y="38100"/>
                    <a:pt x="30480" y="40577"/>
                    <a:pt x="32194" y="42577"/>
                  </a:cubicBezTo>
                  <a:cubicBezTo>
                    <a:pt x="35433" y="45815"/>
                    <a:pt x="38671" y="48863"/>
                    <a:pt x="41815" y="51340"/>
                  </a:cubicBezTo>
                  <a:cubicBezTo>
                    <a:pt x="47720" y="55626"/>
                    <a:pt x="47244" y="54578"/>
                    <a:pt x="52959" y="57626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A7284A88-9D7A-F02F-5786-C62FBB37CD64}"/>
                </a:ext>
              </a:extLst>
            </p:cNvPr>
            <p:cNvSpPr/>
            <p:nvPr/>
          </p:nvSpPr>
          <p:spPr>
            <a:xfrm>
              <a:off x="6052954" y="4933876"/>
              <a:ext cx="20459" cy="27910"/>
            </a:xfrm>
            <a:custGeom>
              <a:avLst/>
              <a:gdLst>
                <a:gd name="connsiteX0" fmla="*/ 849 w 14015"/>
                <a:gd name="connsiteY0" fmla="*/ 7313 h 19119"/>
                <a:gd name="connsiteX1" fmla="*/ 849 w 14015"/>
                <a:gd name="connsiteY1" fmla="*/ 7313 h 19119"/>
                <a:gd name="connsiteX2" fmla="*/ 4088 w 14015"/>
                <a:gd name="connsiteY2" fmla="*/ 18838 h 19119"/>
                <a:gd name="connsiteX3" fmla="*/ 13041 w 14015"/>
                <a:gd name="connsiteY3" fmla="*/ 12075 h 19119"/>
                <a:gd name="connsiteX4" fmla="*/ 11041 w 14015"/>
                <a:gd name="connsiteY4" fmla="*/ 264 h 19119"/>
                <a:gd name="connsiteX5" fmla="*/ 849 w 14015"/>
                <a:gd name="connsiteY5" fmla="*/ 7313 h 19119"/>
                <a:gd name="connsiteX6" fmla="*/ 849 w 14015"/>
                <a:gd name="connsiteY6" fmla="*/ 7313 h 19119"/>
                <a:gd name="connsiteX7" fmla="*/ 849 w 14015"/>
                <a:gd name="connsiteY7" fmla="*/ 7313 h 19119"/>
                <a:gd name="connsiteX8" fmla="*/ 849 w 14015"/>
                <a:gd name="connsiteY8" fmla="*/ 7313 h 19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15" h="19119">
                  <a:moveTo>
                    <a:pt x="849" y="7313"/>
                  </a:moveTo>
                  <a:lnTo>
                    <a:pt x="849" y="7313"/>
                  </a:lnTo>
                  <a:cubicBezTo>
                    <a:pt x="-1151" y="12552"/>
                    <a:pt x="564" y="17600"/>
                    <a:pt x="4088" y="18838"/>
                  </a:cubicBezTo>
                  <a:cubicBezTo>
                    <a:pt x="7326" y="20076"/>
                    <a:pt x="11041" y="17124"/>
                    <a:pt x="13041" y="12075"/>
                  </a:cubicBezTo>
                  <a:cubicBezTo>
                    <a:pt x="14756" y="7027"/>
                    <a:pt x="14280" y="1503"/>
                    <a:pt x="11041" y="264"/>
                  </a:cubicBezTo>
                  <a:cubicBezTo>
                    <a:pt x="7803" y="-974"/>
                    <a:pt x="2850" y="2265"/>
                    <a:pt x="849" y="7313"/>
                  </a:cubicBezTo>
                  <a:lnTo>
                    <a:pt x="849" y="7313"/>
                  </a:lnTo>
                  <a:lnTo>
                    <a:pt x="849" y="7313"/>
                  </a:lnTo>
                  <a:lnTo>
                    <a:pt x="849" y="7313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28970B16-191A-2CCD-5856-25CBE4C421BC}"/>
                </a:ext>
              </a:extLst>
            </p:cNvPr>
            <p:cNvSpPr/>
            <p:nvPr/>
          </p:nvSpPr>
          <p:spPr>
            <a:xfrm>
              <a:off x="6084227" y="4951687"/>
              <a:ext cx="53025" cy="54462"/>
            </a:xfrm>
            <a:custGeom>
              <a:avLst/>
              <a:gdLst>
                <a:gd name="connsiteX0" fmla="*/ 191 w 36323"/>
                <a:gd name="connsiteY0" fmla="*/ 160 h 37307"/>
                <a:gd name="connsiteX1" fmla="*/ 191 w 36323"/>
                <a:gd name="connsiteY1" fmla="*/ 160 h 37307"/>
                <a:gd name="connsiteX2" fmla="*/ 7144 w 36323"/>
                <a:gd name="connsiteY2" fmla="*/ 7399 h 37307"/>
                <a:gd name="connsiteX3" fmla="*/ 15050 w 36323"/>
                <a:gd name="connsiteY3" fmla="*/ 13686 h 37307"/>
                <a:gd name="connsiteX4" fmla="*/ 23717 w 36323"/>
                <a:gd name="connsiteY4" fmla="*/ 19496 h 37307"/>
                <a:gd name="connsiteX5" fmla="*/ 33909 w 36323"/>
                <a:gd name="connsiteY5" fmla="*/ 19020 h 37307"/>
                <a:gd name="connsiteX6" fmla="*/ 32194 w 36323"/>
                <a:gd name="connsiteY6" fmla="*/ 26544 h 37307"/>
                <a:gd name="connsiteX7" fmla="*/ 23813 w 36323"/>
                <a:gd name="connsiteY7" fmla="*/ 33307 h 37307"/>
                <a:gd name="connsiteX8" fmla="*/ 13906 w 36323"/>
                <a:gd name="connsiteY8" fmla="*/ 37308 h 37307"/>
                <a:gd name="connsiteX9" fmla="*/ 4000 w 36323"/>
                <a:gd name="connsiteY9" fmla="*/ 32831 h 37307"/>
                <a:gd name="connsiteX10" fmla="*/ 762 w 36323"/>
                <a:gd name="connsiteY10" fmla="*/ 22068 h 37307"/>
                <a:gd name="connsiteX11" fmla="*/ 0 w 36323"/>
                <a:gd name="connsiteY11" fmla="*/ 11019 h 37307"/>
                <a:gd name="connsiteX12" fmla="*/ 191 w 36323"/>
                <a:gd name="connsiteY12" fmla="*/ 160 h 37307"/>
                <a:gd name="connsiteX13" fmla="*/ 191 w 36323"/>
                <a:gd name="connsiteY13" fmla="*/ 160 h 37307"/>
                <a:gd name="connsiteX14" fmla="*/ 191 w 36323"/>
                <a:gd name="connsiteY14" fmla="*/ 160 h 37307"/>
                <a:gd name="connsiteX15" fmla="*/ 191 w 36323"/>
                <a:gd name="connsiteY15" fmla="*/ 160 h 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323" h="37307">
                  <a:moveTo>
                    <a:pt x="191" y="160"/>
                  </a:moveTo>
                  <a:lnTo>
                    <a:pt x="191" y="160"/>
                  </a:lnTo>
                  <a:cubicBezTo>
                    <a:pt x="5144" y="-888"/>
                    <a:pt x="2953" y="3399"/>
                    <a:pt x="7144" y="7399"/>
                  </a:cubicBezTo>
                  <a:cubicBezTo>
                    <a:pt x="9335" y="9685"/>
                    <a:pt x="12383" y="11685"/>
                    <a:pt x="15050" y="13686"/>
                  </a:cubicBezTo>
                  <a:cubicBezTo>
                    <a:pt x="18002" y="15686"/>
                    <a:pt x="20765" y="18448"/>
                    <a:pt x="23717" y="19496"/>
                  </a:cubicBezTo>
                  <a:cubicBezTo>
                    <a:pt x="27146" y="20734"/>
                    <a:pt x="30671" y="19972"/>
                    <a:pt x="33909" y="19020"/>
                  </a:cubicBezTo>
                  <a:cubicBezTo>
                    <a:pt x="38100" y="17496"/>
                    <a:pt x="36385" y="21782"/>
                    <a:pt x="32194" y="26544"/>
                  </a:cubicBezTo>
                  <a:cubicBezTo>
                    <a:pt x="30004" y="29021"/>
                    <a:pt x="26956" y="31307"/>
                    <a:pt x="23813" y="33307"/>
                  </a:cubicBezTo>
                  <a:cubicBezTo>
                    <a:pt x="20574" y="35307"/>
                    <a:pt x="17335" y="37308"/>
                    <a:pt x="13906" y="37308"/>
                  </a:cubicBezTo>
                  <a:cubicBezTo>
                    <a:pt x="10477" y="37308"/>
                    <a:pt x="6477" y="36546"/>
                    <a:pt x="4000" y="32831"/>
                  </a:cubicBezTo>
                  <a:cubicBezTo>
                    <a:pt x="2286" y="30545"/>
                    <a:pt x="1524" y="26830"/>
                    <a:pt x="762" y="22068"/>
                  </a:cubicBezTo>
                  <a:cubicBezTo>
                    <a:pt x="0" y="19020"/>
                    <a:pt x="0" y="15305"/>
                    <a:pt x="0" y="11019"/>
                  </a:cubicBezTo>
                  <a:cubicBezTo>
                    <a:pt x="0" y="7685"/>
                    <a:pt x="0" y="4351"/>
                    <a:pt x="191" y="160"/>
                  </a:cubicBezTo>
                  <a:lnTo>
                    <a:pt x="191" y="160"/>
                  </a:lnTo>
                  <a:lnTo>
                    <a:pt x="191" y="160"/>
                  </a:lnTo>
                  <a:lnTo>
                    <a:pt x="191" y="160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80B878B5-0C66-0E95-326E-C0F3CBAA3893}"/>
                </a:ext>
              </a:extLst>
            </p:cNvPr>
            <p:cNvSpPr/>
            <p:nvPr/>
          </p:nvSpPr>
          <p:spPr>
            <a:xfrm>
              <a:off x="6020822" y="4983347"/>
              <a:ext cx="145496" cy="188224"/>
            </a:xfrm>
            <a:custGeom>
              <a:avLst/>
              <a:gdLst>
                <a:gd name="connsiteX0" fmla="*/ 0 w 99667"/>
                <a:gd name="connsiteY0" fmla="*/ 0 h 128936"/>
                <a:gd name="connsiteX1" fmla="*/ 0 w 99667"/>
                <a:gd name="connsiteY1" fmla="*/ 0 h 128936"/>
                <a:gd name="connsiteX2" fmla="*/ 6477 w 99667"/>
                <a:gd name="connsiteY2" fmla="*/ 8763 h 128936"/>
                <a:gd name="connsiteX3" fmla="*/ 13906 w 99667"/>
                <a:gd name="connsiteY3" fmla="*/ 16764 h 128936"/>
                <a:gd name="connsiteX4" fmla="*/ 20098 w 99667"/>
                <a:gd name="connsiteY4" fmla="*/ 25336 h 128936"/>
                <a:gd name="connsiteX5" fmla="*/ 26765 w 99667"/>
                <a:gd name="connsiteY5" fmla="*/ 33909 h 128936"/>
                <a:gd name="connsiteX6" fmla="*/ 32956 w 99667"/>
                <a:gd name="connsiteY6" fmla="*/ 42672 h 128936"/>
                <a:gd name="connsiteX7" fmla="*/ 39433 w 99667"/>
                <a:gd name="connsiteY7" fmla="*/ 51435 h 128936"/>
                <a:gd name="connsiteX8" fmla="*/ 44672 w 99667"/>
                <a:gd name="connsiteY8" fmla="*/ 60960 h 128936"/>
                <a:gd name="connsiteX9" fmla="*/ 51149 w 99667"/>
                <a:gd name="connsiteY9" fmla="*/ 69532 h 128936"/>
                <a:gd name="connsiteX10" fmla="*/ 56864 w 99667"/>
                <a:gd name="connsiteY10" fmla="*/ 79819 h 128936"/>
                <a:gd name="connsiteX11" fmla="*/ 63341 w 99667"/>
                <a:gd name="connsiteY11" fmla="*/ 89344 h 128936"/>
                <a:gd name="connsiteX12" fmla="*/ 70485 w 99667"/>
                <a:gd name="connsiteY12" fmla="*/ 98679 h 128936"/>
                <a:gd name="connsiteX13" fmla="*/ 76676 w 99667"/>
                <a:gd name="connsiteY13" fmla="*/ 108490 h 128936"/>
                <a:gd name="connsiteX14" fmla="*/ 83820 w 99667"/>
                <a:gd name="connsiteY14" fmla="*/ 118015 h 128936"/>
                <a:gd name="connsiteX15" fmla="*/ 99441 w 99667"/>
                <a:gd name="connsiteY15" fmla="*/ 116491 h 128936"/>
                <a:gd name="connsiteX16" fmla="*/ 91535 w 99667"/>
                <a:gd name="connsiteY16" fmla="*/ 125063 h 128936"/>
                <a:gd name="connsiteX17" fmla="*/ 80391 w 99667"/>
                <a:gd name="connsiteY17" fmla="*/ 128873 h 128936"/>
                <a:gd name="connsiteX18" fmla="*/ 71723 w 99667"/>
                <a:gd name="connsiteY18" fmla="*/ 122873 h 128936"/>
                <a:gd name="connsiteX19" fmla="*/ 64770 w 99667"/>
                <a:gd name="connsiteY19" fmla="*/ 115348 h 128936"/>
                <a:gd name="connsiteX20" fmla="*/ 57340 w 99667"/>
                <a:gd name="connsiteY20" fmla="*/ 108299 h 128936"/>
                <a:gd name="connsiteX21" fmla="*/ 50387 w 99667"/>
                <a:gd name="connsiteY21" fmla="*/ 100774 h 128936"/>
                <a:gd name="connsiteX22" fmla="*/ 43434 w 99667"/>
                <a:gd name="connsiteY22" fmla="*/ 92964 h 128936"/>
                <a:gd name="connsiteX23" fmla="*/ 36957 w 99667"/>
                <a:gd name="connsiteY23" fmla="*/ 84963 h 128936"/>
                <a:gd name="connsiteX24" fmla="*/ 29242 w 99667"/>
                <a:gd name="connsiteY24" fmla="*/ 77915 h 128936"/>
                <a:gd name="connsiteX25" fmla="*/ 23527 w 99667"/>
                <a:gd name="connsiteY25" fmla="*/ 69151 h 128936"/>
                <a:gd name="connsiteX26" fmla="*/ 16859 w 99667"/>
                <a:gd name="connsiteY26" fmla="*/ 61627 h 128936"/>
                <a:gd name="connsiteX27" fmla="*/ 20288 w 99667"/>
                <a:gd name="connsiteY27" fmla="*/ 71914 h 128936"/>
                <a:gd name="connsiteX28" fmla="*/ 24003 w 99667"/>
                <a:gd name="connsiteY28" fmla="*/ 82487 h 128936"/>
                <a:gd name="connsiteX29" fmla="*/ 28194 w 99667"/>
                <a:gd name="connsiteY29" fmla="*/ 92773 h 128936"/>
                <a:gd name="connsiteX30" fmla="*/ 32385 w 99667"/>
                <a:gd name="connsiteY30" fmla="*/ 102775 h 12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9667" h="128936">
                  <a:moveTo>
                    <a:pt x="0" y="0"/>
                  </a:moveTo>
                  <a:lnTo>
                    <a:pt x="0" y="0"/>
                  </a:lnTo>
                  <a:cubicBezTo>
                    <a:pt x="3238" y="4477"/>
                    <a:pt x="2476" y="3524"/>
                    <a:pt x="6477" y="8763"/>
                  </a:cubicBezTo>
                  <a:cubicBezTo>
                    <a:pt x="8477" y="11240"/>
                    <a:pt x="11430" y="13525"/>
                    <a:pt x="13906" y="16764"/>
                  </a:cubicBezTo>
                  <a:cubicBezTo>
                    <a:pt x="15907" y="19241"/>
                    <a:pt x="17907" y="22289"/>
                    <a:pt x="20098" y="25336"/>
                  </a:cubicBezTo>
                  <a:cubicBezTo>
                    <a:pt x="22098" y="28384"/>
                    <a:pt x="24575" y="31147"/>
                    <a:pt x="26765" y="33909"/>
                  </a:cubicBezTo>
                  <a:cubicBezTo>
                    <a:pt x="28765" y="36957"/>
                    <a:pt x="30766" y="39910"/>
                    <a:pt x="32956" y="42672"/>
                  </a:cubicBezTo>
                  <a:cubicBezTo>
                    <a:pt x="35147" y="45910"/>
                    <a:pt x="37433" y="48673"/>
                    <a:pt x="39433" y="51435"/>
                  </a:cubicBezTo>
                  <a:cubicBezTo>
                    <a:pt x="41624" y="54673"/>
                    <a:pt x="42863" y="58198"/>
                    <a:pt x="44672" y="60960"/>
                  </a:cubicBezTo>
                  <a:cubicBezTo>
                    <a:pt x="48101" y="65722"/>
                    <a:pt x="50863" y="68770"/>
                    <a:pt x="51149" y="69532"/>
                  </a:cubicBezTo>
                  <a:cubicBezTo>
                    <a:pt x="51435" y="70580"/>
                    <a:pt x="53340" y="74581"/>
                    <a:pt x="56864" y="79819"/>
                  </a:cubicBezTo>
                  <a:cubicBezTo>
                    <a:pt x="58865" y="82582"/>
                    <a:pt x="60865" y="86106"/>
                    <a:pt x="63341" y="89344"/>
                  </a:cubicBezTo>
                  <a:cubicBezTo>
                    <a:pt x="65532" y="92583"/>
                    <a:pt x="68294" y="95345"/>
                    <a:pt x="70485" y="98679"/>
                  </a:cubicBezTo>
                  <a:cubicBezTo>
                    <a:pt x="72676" y="102013"/>
                    <a:pt x="74486" y="105727"/>
                    <a:pt x="76676" y="108490"/>
                  </a:cubicBezTo>
                  <a:cubicBezTo>
                    <a:pt x="80391" y="113728"/>
                    <a:pt x="83344" y="117824"/>
                    <a:pt x="83820" y="118015"/>
                  </a:cubicBezTo>
                  <a:cubicBezTo>
                    <a:pt x="85820" y="119063"/>
                    <a:pt x="97726" y="115729"/>
                    <a:pt x="99441" y="116491"/>
                  </a:cubicBezTo>
                  <a:cubicBezTo>
                    <a:pt x="100679" y="117253"/>
                    <a:pt x="96679" y="122015"/>
                    <a:pt x="91535" y="125063"/>
                  </a:cubicBezTo>
                  <a:cubicBezTo>
                    <a:pt x="88297" y="127063"/>
                    <a:pt x="84392" y="129350"/>
                    <a:pt x="80391" y="128873"/>
                  </a:cubicBezTo>
                  <a:cubicBezTo>
                    <a:pt x="78676" y="128588"/>
                    <a:pt x="75724" y="126111"/>
                    <a:pt x="71723" y="122873"/>
                  </a:cubicBezTo>
                  <a:cubicBezTo>
                    <a:pt x="69532" y="120872"/>
                    <a:pt x="67532" y="118110"/>
                    <a:pt x="64770" y="115348"/>
                  </a:cubicBezTo>
                  <a:cubicBezTo>
                    <a:pt x="62294" y="113062"/>
                    <a:pt x="59817" y="110871"/>
                    <a:pt x="57340" y="108299"/>
                  </a:cubicBezTo>
                  <a:cubicBezTo>
                    <a:pt x="55150" y="105823"/>
                    <a:pt x="52673" y="103251"/>
                    <a:pt x="50387" y="100774"/>
                  </a:cubicBezTo>
                  <a:cubicBezTo>
                    <a:pt x="47911" y="98012"/>
                    <a:pt x="45720" y="95536"/>
                    <a:pt x="43434" y="92964"/>
                  </a:cubicBezTo>
                  <a:cubicBezTo>
                    <a:pt x="40957" y="90488"/>
                    <a:pt x="39243" y="87440"/>
                    <a:pt x="36957" y="84963"/>
                  </a:cubicBezTo>
                  <a:cubicBezTo>
                    <a:pt x="34480" y="82201"/>
                    <a:pt x="31242" y="80486"/>
                    <a:pt x="29242" y="77915"/>
                  </a:cubicBezTo>
                  <a:cubicBezTo>
                    <a:pt x="26765" y="74867"/>
                    <a:pt x="25527" y="71342"/>
                    <a:pt x="23527" y="69151"/>
                  </a:cubicBezTo>
                  <a:cubicBezTo>
                    <a:pt x="19526" y="64389"/>
                    <a:pt x="16097" y="56388"/>
                    <a:pt x="16859" y="61627"/>
                  </a:cubicBezTo>
                  <a:cubicBezTo>
                    <a:pt x="17812" y="66866"/>
                    <a:pt x="18574" y="66866"/>
                    <a:pt x="20288" y="71914"/>
                  </a:cubicBezTo>
                  <a:cubicBezTo>
                    <a:pt x="22288" y="77152"/>
                    <a:pt x="22003" y="77152"/>
                    <a:pt x="24003" y="82487"/>
                  </a:cubicBezTo>
                  <a:cubicBezTo>
                    <a:pt x="26003" y="87535"/>
                    <a:pt x="26194" y="87535"/>
                    <a:pt x="28194" y="92773"/>
                  </a:cubicBezTo>
                  <a:cubicBezTo>
                    <a:pt x="30194" y="97822"/>
                    <a:pt x="30385" y="97822"/>
                    <a:pt x="32385" y="102775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1C9C214B-3518-95EE-5C7E-B10043AE92BE}"/>
                </a:ext>
              </a:extLst>
            </p:cNvPr>
            <p:cNvSpPr/>
            <p:nvPr/>
          </p:nvSpPr>
          <p:spPr>
            <a:xfrm>
              <a:off x="5813858" y="4817219"/>
              <a:ext cx="137857" cy="313795"/>
            </a:xfrm>
            <a:custGeom>
              <a:avLst/>
              <a:gdLst>
                <a:gd name="connsiteX0" fmla="*/ 94434 w 94434"/>
                <a:gd name="connsiteY0" fmla="*/ 214955 h 214954"/>
                <a:gd name="connsiteX1" fmla="*/ 94434 w 94434"/>
                <a:gd name="connsiteY1" fmla="*/ 214955 h 214954"/>
                <a:gd name="connsiteX2" fmla="*/ 91481 w 94434"/>
                <a:gd name="connsiteY2" fmla="*/ 204382 h 214954"/>
                <a:gd name="connsiteX3" fmla="*/ 87767 w 94434"/>
                <a:gd name="connsiteY3" fmla="*/ 193809 h 214954"/>
                <a:gd name="connsiteX4" fmla="*/ 83099 w 94434"/>
                <a:gd name="connsiteY4" fmla="*/ 183808 h 214954"/>
                <a:gd name="connsiteX5" fmla="*/ 80623 w 94434"/>
                <a:gd name="connsiteY5" fmla="*/ 172759 h 214954"/>
                <a:gd name="connsiteX6" fmla="*/ 76622 w 94434"/>
                <a:gd name="connsiteY6" fmla="*/ 162472 h 214954"/>
                <a:gd name="connsiteX7" fmla="*/ 71955 w 94434"/>
                <a:gd name="connsiteY7" fmla="*/ 152471 h 214954"/>
                <a:gd name="connsiteX8" fmla="*/ 69193 w 94434"/>
                <a:gd name="connsiteY8" fmla="*/ 141708 h 214954"/>
                <a:gd name="connsiteX9" fmla="*/ 64240 w 94434"/>
                <a:gd name="connsiteY9" fmla="*/ 131897 h 214954"/>
                <a:gd name="connsiteX10" fmla="*/ 60049 w 94434"/>
                <a:gd name="connsiteY10" fmla="*/ 121610 h 214954"/>
                <a:gd name="connsiteX11" fmla="*/ 57096 w 94434"/>
                <a:gd name="connsiteY11" fmla="*/ 110847 h 214954"/>
                <a:gd name="connsiteX12" fmla="*/ 52143 w 94434"/>
                <a:gd name="connsiteY12" fmla="*/ 100845 h 214954"/>
                <a:gd name="connsiteX13" fmla="*/ 47476 w 94434"/>
                <a:gd name="connsiteY13" fmla="*/ 90844 h 214954"/>
                <a:gd name="connsiteX14" fmla="*/ 43475 w 94434"/>
                <a:gd name="connsiteY14" fmla="*/ 80557 h 214954"/>
                <a:gd name="connsiteX15" fmla="*/ 38808 w 94434"/>
                <a:gd name="connsiteY15" fmla="*/ 70556 h 214954"/>
                <a:gd name="connsiteX16" fmla="*/ 35379 w 94434"/>
                <a:gd name="connsiteY16" fmla="*/ 59983 h 214954"/>
                <a:gd name="connsiteX17" fmla="*/ 29474 w 94434"/>
                <a:gd name="connsiteY17" fmla="*/ 50458 h 214954"/>
                <a:gd name="connsiteX18" fmla="*/ 24521 w 94434"/>
                <a:gd name="connsiteY18" fmla="*/ 40647 h 214954"/>
                <a:gd name="connsiteX19" fmla="*/ 19282 w 94434"/>
                <a:gd name="connsiteY19" fmla="*/ 30837 h 214954"/>
                <a:gd name="connsiteX20" fmla="*/ 13853 w 94434"/>
                <a:gd name="connsiteY20" fmla="*/ 21312 h 214954"/>
                <a:gd name="connsiteX21" fmla="*/ 7661 w 94434"/>
                <a:gd name="connsiteY21" fmla="*/ 11977 h 214954"/>
                <a:gd name="connsiteX22" fmla="*/ 518 w 94434"/>
                <a:gd name="connsiteY22" fmla="*/ 3405 h 214954"/>
                <a:gd name="connsiteX23" fmla="*/ 6709 w 94434"/>
                <a:gd name="connsiteY23" fmla="*/ 3405 h 214954"/>
                <a:gd name="connsiteX24" fmla="*/ 14900 w 94434"/>
                <a:gd name="connsiteY24" fmla="*/ 10453 h 214954"/>
                <a:gd name="connsiteX25" fmla="*/ 23282 w 94434"/>
                <a:gd name="connsiteY25" fmla="*/ 17216 h 214954"/>
                <a:gd name="connsiteX26" fmla="*/ 30426 w 94434"/>
                <a:gd name="connsiteY26" fmla="*/ 25503 h 214954"/>
                <a:gd name="connsiteX27" fmla="*/ 38332 w 94434"/>
                <a:gd name="connsiteY27" fmla="*/ 32742 h 214954"/>
                <a:gd name="connsiteX28" fmla="*/ 45476 w 94434"/>
                <a:gd name="connsiteY28" fmla="*/ 41028 h 214954"/>
                <a:gd name="connsiteX29" fmla="*/ 53191 w 94434"/>
                <a:gd name="connsiteY29" fmla="*/ 48839 h 214954"/>
                <a:gd name="connsiteX30" fmla="*/ 60620 w 94434"/>
                <a:gd name="connsiteY30" fmla="*/ 56840 h 21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4434" h="214954">
                  <a:moveTo>
                    <a:pt x="94434" y="214955"/>
                  </a:moveTo>
                  <a:lnTo>
                    <a:pt x="94434" y="214955"/>
                  </a:lnTo>
                  <a:cubicBezTo>
                    <a:pt x="93482" y="211907"/>
                    <a:pt x="92910" y="208192"/>
                    <a:pt x="91481" y="204382"/>
                  </a:cubicBezTo>
                  <a:cubicBezTo>
                    <a:pt x="90529" y="201144"/>
                    <a:pt x="89005" y="197619"/>
                    <a:pt x="87767" y="193809"/>
                  </a:cubicBezTo>
                  <a:cubicBezTo>
                    <a:pt x="86528" y="190571"/>
                    <a:pt x="84338" y="187237"/>
                    <a:pt x="83099" y="183808"/>
                  </a:cubicBezTo>
                  <a:cubicBezTo>
                    <a:pt x="81861" y="180570"/>
                    <a:pt x="81861" y="176569"/>
                    <a:pt x="80623" y="172759"/>
                  </a:cubicBezTo>
                  <a:cubicBezTo>
                    <a:pt x="79385" y="169521"/>
                    <a:pt x="77861" y="166187"/>
                    <a:pt x="76622" y="162472"/>
                  </a:cubicBezTo>
                  <a:cubicBezTo>
                    <a:pt x="75384" y="159234"/>
                    <a:pt x="73193" y="155900"/>
                    <a:pt x="71955" y="152471"/>
                  </a:cubicBezTo>
                  <a:cubicBezTo>
                    <a:pt x="70717" y="149232"/>
                    <a:pt x="70717" y="145232"/>
                    <a:pt x="69193" y="141708"/>
                  </a:cubicBezTo>
                  <a:cubicBezTo>
                    <a:pt x="67955" y="138183"/>
                    <a:pt x="65478" y="135135"/>
                    <a:pt x="64240" y="131897"/>
                  </a:cubicBezTo>
                  <a:cubicBezTo>
                    <a:pt x="63002" y="128373"/>
                    <a:pt x="61478" y="124848"/>
                    <a:pt x="60049" y="121610"/>
                  </a:cubicBezTo>
                  <a:cubicBezTo>
                    <a:pt x="58811" y="118086"/>
                    <a:pt x="58334" y="114371"/>
                    <a:pt x="57096" y="110847"/>
                  </a:cubicBezTo>
                  <a:cubicBezTo>
                    <a:pt x="55572" y="107322"/>
                    <a:pt x="53381" y="104274"/>
                    <a:pt x="52143" y="100845"/>
                  </a:cubicBezTo>
                  <a:cubicBezTo>
                    <a:pt x="50619" y="97607"/>
                    <a:pt x="48905" y="94273"/>
                    <a:pt x="47476" y="90844"/>
                  </a:cubicBezTo>
                  <a:cubicBezTo>
                    <a:pt x="45952" y="87606"/>
                    <a:pt x="44999" y="84081"/>
                    <a:pt x="43475" y="80557"/>
                  </a:cubicBezTo>
                  <a:cubicBezTo>
                    <a:pt x="41951" y="77319"/>
                    <a:pt x="40237" y="73794"/>
                    <a:pt x="38808" y="70556"/>
                  </a:cubicBezTo>
                  <a:cubicBezTo>
                    <a:pt x="37284" y="67317"/>
                    <a:pt x="36808" y="63317"/>
                    <a:pt x="35379" y="59983"/>
                  </a:cubicBezTo>
                  <a:cubicBezTo>
                    <a:pt x="33665" y="56459"/>
                    <a:pt x="30902" y="53697"/>
                    <a:pt x="29474" y="50458"/>
                  </a:cubicBezTo>
                  <a:cubicBezTo>
                    <a:pt x="27759" y="47220"/>
                    <a:pt x="26045" y="43886"/>
                    <a:pt x="24521" y="40647"/>
                  </a:cubicBezTo>
                  <a:cubicBezTo>
                    <a:pt x="22520" y="37409"/>
                    <a:pt x="21282" y="33885"/>
                    <a:pt x="19282" y="30837"/>
                  </a:cubicBezTo>
                  <a:cubicBezTo>
                    <a:pt x="17567" y="27598"/>
                    <a:pt x="15567" y="24264"/>
                    <a:pt x="13853" y="21312"/>
                  </a:cubicBezTo>
                  <a:cubicBezTo>
                    <a:pt x="11662" y="18073"/>
                    <a:pt x="9662" y="14739"/>
                    <a:pt x="7661" y="11977"/>
                  </a:cubicBezTo>
                  <a:cubicBezTo>
                    <a:pt x="5471" y="8739"/>
                    <a:pt x="2708" y="5976"/>
                    <a:pt x="518" y="3405"/>
                  </a:cubicBezTo>
                  <a:cubicBezTo>
                    <a:pt x="-1197" y="-1644"/>
                    <a:pt x="1470" y="-596"/>
                    <a:pt x="6709" y="3405"/>
                  </a:cubicBezTo>
                  <a:cubicBezTo>
                    <a:pt x="8900" y="5405"/>
                    <a:pt x="11948" y="7691"/>
                    <a:pt x="14900" y="10453"/>
                  </a:cubicBezTo>
                  <a:cubicBezTo>
                    <a:pt x="17377" y="12739"/>
                    <a:pt x="20615" y="14739"/>
                    <a:pt x="23282" y="17216"/>
                  </a:cubicBezTo>
                  <a:cubicBezTo>
                    <a:pt x="25759" y="19692"/>
                    <a:pt x="27950" y="23026"/>
                    <a:pt x="30426" y="25503"/>
                  </a:cubicBezTo>
                  <a:cubicBezTo>
                    <a:pt x="32903" y="27979"/>
                    <a:pt x="35855" y="30265"/>
                    <a:pt x="38332" y="32742"/>
                  </a:cubicBezTo>
                  <a:cubicBezTo>
                    <a:pt x="41094" y="35504"/>
                    <a:pt x="42999" y="38552"/>
                    <a:pt x="45476" y="41028"/>
                  </a:cubicBezTo>
                  <a:cubicBezTo>
                    <a:pt x="48238" y="44076"/>
                    <a:pt x="50905" y="46553"/>
                    <a:pt x="53191" y="48839"/>
                  </a:cubicBezTo>
                  <a:cubicBezTo>
                    <a:pt x="57668" y="53601"/>
                    <a:pt x="56906" y="52649"/>
                    <a:pt x="60620" y="5684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7C64BACD-23F0-1FF8-55F6-8051724B3EC6}"/>
                </a:ext>
              </a:extLst>
            </p:cNvPr>
            <p:cNvGrpSpPr/>
            <p:nvPr/>
          </p:nvGrpSpPr>
          <p:grpSpPr>
            <a:xfrm>
              <a:off x="5164775" y="4915374"/>
              <a:ext cx="200785" cy="496958"/>
              <a:chOff x="5040950" y="4861399"/>
              <a:chExt cx="200785" cy="496958"/>
            </a:xfrm>
          </p:grpSpPr>
          <p:sp>
            <p:nvSpPr>
              <p:cNvPr id="506" name="Freeform: Shape 505">
                <a:extLst>
                  <a:ext uri="{FF2B5EF4-FFF2-40B4-BE49-F238E27FC236}">
                    <a16:creationId xmlns:a16="http://schemas.microsoft.com/office/drawing/2014/main" id="{17C98569-3566-A068-BDD9-7711304244AB}"/>
                  </a:ext>
                </a:extLst>
              </p:cNvPr>
              <p:cNvSpPr/>
              <p:nvPr/>
            </p:nvSpPr>
            <p:spPr>
              <a:xfrm>
                <a:off x="5107137" y="5042719"/>
                <a:ext cx="1111" cy="2223"/>
              </a:xfrm>
              <a:custGeom>
                <a:avLst/>
                <a:gdLst>
                  <a:gd name="connsiteX0" fmla="*/ 0 w 761"/>
                  <a:gd name="connsiteY0" fmla="*/ 0 h 1523"/>
                  <a:gd name="connsiteX1" fmla="*/ 667 w 761"/>
                  <a:gd name="connsiteY1" fmla="*/ 1524 h 1523"/>
                  <a:gd name="connsiteX2" fmla="*/ 762 w 761"/>
                  <a:gd name="connsiteY2" fmla="*/ 1429 h 1523"/>
                  <a:gd name="connsiteX3" fmla="*/ 0 w 761"/>
                  <a:gd name="connsiteY3" fmla="*/ 0 h 1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1" h="1523">
                    <a:moveTo>
                      <a:pt x="0" y="0"/>
                    </a:moveTo>
                    <a:cubicBezTo>
                      <a:pt x="190" y="476"/>
                      <a:pt x="381" y="952"/>
                      <a:pt x="667" y="1524"/>
                    </a:cubicBezTo>
                    <a:lnTo>
                      <a:pt x="762" y="142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08" name="Freeform: Shape 507">
                <a:extLst>
                  <a:ext uri="{FF2B5EF4-FFF2-40B4-BE49-F238E27FC236}">
                    <a16:creationId xmlns:a16="http://schemas.microsoft.com/office/drawing/2014/main" id="{240B3761-826F-7171-66EA-F7D3FEC91577}"/>
                  </a:ext>
                </a:extLst>
              </p:cNvPr>
              <p:cNvSpPr/>
              <p:nvPr/>
            </p:nvSpPr>
            <p:spPr>
              <a:xfrm>
                <a:off x="5164842" y="4955397"/>
                <a:ext cx="972" cy="2085"/>
              </a:xfrm>
              <a:custGeom>
                <a:avLst/>
                <a:gdLst>
                  <a:gd name="connsiteX0" fmla="*/ 667 w 666"/>
                  <a:gd name="connsiteY0" fmla="*/ 667 h 1428"/>
                  <a:gd name="connsiteX1" fmla="*/ 286 w 666"/>
                  <a:gd name="connsiteY1" fmla="*/ 0 h 1428"/>
                  <a:gd name="connsiteX2" fmla="*/ 0 w 666"/>
                  <a:gd name="connsiteY2" fmla="*/ 1429 h 1428"/>
                  <a:gd name="connsiteX3" fmla="*/ 667 w 666"/>
                  <a:gd name="connsiteY3" fmla="*/ 667 h 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" h="1428">
                    <a:moveTo>
                      <a:pt x="667" y="667"/>
                    </a:moveTo>
                    <a:lnTo>
                      <a:pt x="286" y="0"/>
                    </a:lnTo>
                    <a:cubicBezTo>
                      <a:pt x="190" y="476"/>
                      <a:pt x="95" y="953"/>
                      <a:pt x="0" y="1429"/>
                    </a:cubicBezTo>
                    <a:cubicBezTo>
                      <a:pt x="190" y="1143"/>
                      <a:pt x="476" y="953"/>
                      <a:pt x="667" y="667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09" name="Freeform: Shape 508">
                <a:extLst>
                  <a:ext uri="{FF2B5EF4-FFF2-40B4-BE49-F238E27FC236}">
                    <a16:creationId xmlns:a16="http://schemas.microsoft.com/office/drawing/2014/main" id="{792C7713-1ACF-E628-87E4-90CABC128E17}"/>
                  </a:ext>
                </a:extLst>
              </p:cNvPr>
              <p:cNvSpPr/>
              <p:nvPr/>
            </p:nvSpPr>
            <p:spPr>
              <a:xfrm>
                <a:off x="5108389" y="5026728"/>
                <a:ext cx="92049" cy="153230"/>
              </a:xfrm>
              <a:custGeom>
                <a:avLst/>
                <a:gdLst>
                  <a:gd name="connsiteX0" fmla="*/ 62389 w 63055"/>
                  <a:gd name="connsiteY0" fmla="*/ 85630 h 104965"/>
                  <a:gd name="connsiteX1" fmla="*/ 58198 w 63055"/>
                  <a:gd name="connsiteY1" fmla="*/ 75819 h 104965"/>
                  <a:gd name="connsiteX2" fmla="*/ 52959 w 63055"/>
                  <a:gd name="connsiteY2" fmla="*/ 66484 h 104965"/>
                  <a:gd name="connsiteX3" fmla="*/ 48006 w 63055"/>
                  <a:gd name="connsiteY3" fmla="*/ 56959 h 104965"/>
                  <a:gd name="connsiteX4" fmla="*/ 43339 w 63055"/>
                  <a:gd name="connsiteY4" fmla="*/ 47434 h 104965"/>
                  <a:gd name="connsiteX5" fmla="*/ 39148 w 63055"/>
                  <a:gd name="connsiteY5" fmla="*/ 37624 h 104965"/>
                  <a:gd name="connsiteX6" fmla="*/ 32957 w 63055"/>
                  <a:gd name="connsiteY6" fmla="*/ 29051 h 104965"/>
                  <a:gd name="connsiteX7" fmla="*/ 29528 w 63055"/>
                  <a:gd name="connsiteY7" fmla="*/ 18764 h 104965"/>
                  <a:gd name="connsiteX8" fmla="*/ 23622 w 63055"/>
                  <a:gd name="connsiteY8" fmla="*/ 10001 h 104965"/>
                  <a:gd name="connsiteX9" fmla="*/ 19622 w 63055"/>
                  <a:gd name="connsiteY9" fmla="*/ 0 h 104965"/>
                  <a:gd name="connsiteX10" fmla="*/ 0 w 63055"/>
                  <a:gd name="connsiteY10" fmla="*/ 12478 h 104965"/>
                  <a:gd name="connsiteX11" fmla="*/ 1143 w 63055"/>
                  <a:gd name="connsiteY11" fmla="*/ 14859 h 104965"/>
                  <a:gd name="connsiteX12" fmla="*/ 1714 w 63055"/>
                  <a:gd name="connsiteY12" fmla="*/ 15811 h 104965"/>
                  <a:gd name="connsiteX13" fmla="*/ 7429 w 63055"/>
                  <a:gd name="connsiteY13" fmla="*/ 25146 h 104965"/>
                  <a:gd name="connsiteX14" fmla="*/ 13335 w 63055"/>
                  <a:gd name="connsiteY14" fmla="*/ 34195 h 104965"/>
                  <a:gd name="connsiteX15" fmla="*/ 19526 w 63055"/>
                  <a:gd name="connsiteY15" fmla="*/ 42958 h 104965"/>
                  <a:gd name="connsiteX16" fmla="*/ 25241 w 63055"/>
                  <a:gd name="connsiteY16" fmla="*/ 52292 h 104965"/>
                  <a:gd name="connsiteX17" fmla="*/ 31433 w 63055"/>
                  <a:gd name="connsiteY17" fmla="*/ 61341 h 104965"/>
                  <a:gd name="connsiteX18" fmla="*/ 36671 w 63055"/>
                  <a:gd name="connsiteY18" fmla="*/ 70866 h 104965"/>
                  <a:gd name="connsiteX19" fmla="*/ 42101 w 63055"/>
                  <a:gd name="connsiteY19" fmla="*/ 80391 h 104965"/>
                  <a:gd name="connsiteX20" fmla="*/ 48292 w 63055"/>
                  <a:gd name="connsiteY20" fmla="*/ 89154 h 104965"/>
                  <a:gd name="connsiteX21" fmla="*/ 54959 w 63055"/>
                  <a:gd name="connsiteY21" fmla="*/ 97726 h 104965"/>
                  <a:gd name="connsiteX22" fmla="*/ 60198 w 63055"/>
                  <a:gd name="connsiteY22" fmla="*/ 104966 h 104965"/>
                  <a:gd name="connsiteX23" fmla="*/ 62103 w 63055"/>
                  <a:gd name="connsiteY23" fmla="*/ 102870 h 104965"/>
                  <a:gd name="connsiteX24" fmla="*/ 63056 w 63055"/>
                  <a:gd name="connsiteY24" fmla="*/ 86963 h 104965"/>
                  <a:gd name="connsiteX25" fmla="*/ 62389 w 63055"/>
                  <a:gd name="connsiteY25" fmla="*/ 85630 h 10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3055" h="104965">
                    <a:moveTo>
                      <a:pt x="62389" y="85630"/>
                    </a:moveTo>
                    <a:cubicBezTo>
                      <a:pt x="59912" y="81153"/>
                      <a:pt x="60674" y="80581"/>
                      <a:pt x="58198" y="75819"/>
                    </a:cubicBezTo>
                    <a:cubicBezTo>
                      <a:pt x="55721" y="71056"/>
                      <a:pt x="55435" y="71342"/>
                      <a:pt x="52959" y="66484"/>
                    </a:cubicBezTo>
                    <a:cubicBezTo>
                      <a:pt x="50483" y="61722"/>
                      <a:pt x="50483" y="61722"/>
                      <a:pt x="48006" y="56959"/>
                    </a:cubicBezTo>
                    <a:cubicBezTo>
                      <a:pt x="45815" y="52483"/>
                      <a:pt x="45815" y="52197"/>
                      <a:pt x="43339" y="47434"/>
                    </a:cubicBezTo>
                    <a:cubicBezTo>
                      <a:pt x="41148" y="42958"/>
                      <a:pt x="41624" y="42386"/>
                      <a:pt x="39148" y="37624"/>
                    </a:cubicBezTo>
                    <a:cubicBezTo>
                      <a:pt x="36957" y="33147"/>
                      <a:pt x="35433" y="33623"/>
                      <a:pt x="32957" y="29051"/>
                    </a:cubicBezTo>
                    <a:cubicBezTo>
                      <a:pt x="30766" y="24289"/>
                      <a:pt x="32004" y="23527"/>
                      <a:pt x="29528" y="18764"/>
                    </a:cubicBezTo>
                    <a:cubicBezTo>
                      <a:pt x="27051" y="14002"/>
                      <a:pt x="25813" y="14764"/>
                      <a:pt x="23622" y="10001"/>
                    </a:cubicBezTo>
                    <a:cubicBezTo>
                      <a:pt x="21145" y="5239"/>
                      <a:pt x="22098" y="4763"/>
                      <a:pt x="19622" y="0"/>
                    </a:cubicBezTo>
                    <a:lnTo>
                      <a:pt x="0" y="12478"/>
                    </a:lnTo>
                    <a:lnTo>
                      <a:pt x="1143" y="14859"/>
                    </a:lnTo>
                    <a:cubicBezTo>
                      <a:pt x="1333" y="15145"/>
                      <a:pt x="1524" y="15430"/>
                      <a:pt x="1714" y="15811"/>
                    </a:cubicBezTo>
                    <a:cubicBezTo>
                      <a:pt x="3429" y="18574"/>
                      <a:pt x="5143" y="21622"/>
                      <a:pt x="7429" y="25146"/>
                    </a:cubicBezTo>
                    <a:cubicBezTo>
                      <a:pt x="9144" y="28194"/>
                      <a:pt x="11144" y="30956"/>
                      <a:pt x="13335" y="34195"/>
                    </a:cubicBezTo>
                    <a:cubicBezTo>
                      <a:pt x="15049" y="37243"/>
                      <a:pt x="17526" y="40005"/>
                      <a:pt x="19526" y="42958"/>
                    </a:cubicBezTo>
                    <a:cubicBezTo>
                      <a:pt x="21241" y="46006"/>
                      <a:pt x="23241" y="49244"/>
                      <a:pt x="25241" y="52292"/>
                    </a:cubicBezTo>
                    <a:cubicBezTo>
                      <a:pt x="27242" y="55340"/>
                      <a:pt x="29432" y="58293"/>
                      <a:pt x="31433" y="61341"/>
                    </a:cubicBezTo>
                    <a:cubicBezTo>
                      <a:pt x="33433" y="64389"/>
                      <a:pt x="34671" y="67913"/>
                      <a:pt x="36671" y="70866"/>
                    </a:cubicBezTo>
                    <a:cubicBezTo>
                      <a:pt x="38672" y="74104"/>
                      <a:pt x="40100" y="77438"/>
                      <a:pt x="42101" y="80391"/>
                    </a:cubicBezTo>
                    <a:cubicBezTo>
                      <a:pt x="44101" y="83439"/>
                      <a:pt x="46291" y="86392"/>
                      <a:pt x="48292" y="89154"/>
                    </a:cubicBezTo>
                    <a:cubicBezTo>
                      <a:pt x="50483" y="92393"/>
                      <a:pt x="52959" y="95155"/>
                      <a:pt x="54959" y="97726"/>
                    </a:cubicBezTo>
                    <a:cubicBezTo>
                      <a:pt x="57245" y="100870"/>
                      <a:pt x="58865" y="103346"/>
                      <a:pt x="60198" y="104966"/>
                    </a:cubicBezTo>
                    <a:lnTo>
                      <a:pt x="62103" y="102870"/>
                    </a:lnTo>
                    <a:lnTo>
                      <a:pt x="63056" y="86963"/>
                    </a:lnTo>
                    <a:cubicBezTo>
                      <a:pt x="62865" y="86392"/>
                      <a:pt x="62675" y="86106"/>
                      <a:pt x="62389" y="85630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26" name="Freeform: Shape 525">
                <a:extLst>
                  <a:ext uri="{FF2B5EF4-FFF2-40B4-BE49-F238E27FC236}">
                    <a16:creationId xmlns:a16="http://schemas.microsoft.com/office/drawing/2014/main" id="{0C723CD0-6EB2-991F-3C3D-C9408090D39C}"/>
                  </a:ext>
                </a:extLst>
              </p:cNvPr>
              <p:cNvSpPr/>
              <p:nvPr/>
            </p:nvSpPr>
            <p:spPr>
              <a:xfrm>
                <a:off x="5196266" y="5176761"/>
                <a:ext cx="2779" cy="5283"/>
              </a:xfrm>
              <a:custGeom>
                <a:avLst/>
                <a:gdLst>
                  <a:gd name="connsiteX0" fmla="*/ 1715 w 1904"/>
                  <a:gd name="connsiteY0" fmla="*/ 3620 h 3619"/>
                  <a:gd name="connsiteX1" fmla="*/ 1905 w 1904"/>
                  <a:gd name="connsiteY1" fmla="*/ 0 h 3619"/>
                  <a:gd name="connsiteX2" fmla="*/ 0 w 1904"/>
                  <a:gd name="connsiteY2" fmla="*/ 2096 h 3619"/>
                  <a:gd name="connsiteX3" fmla="*/ 1715 w 1904"/>
                  <a:gd name="connsiteY3" fmla="*/ 3620 h 3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4" h="3619">
                    <a:moveTo>
                      <a:pt x="1715" y="3620"/>
                    </a:moveTo>
                    <a:lnTo>
                      <a:pt x="1905" y="0"/>
                    </a:lnTo>
                    <a:lnTo>
                      <a:pt x="0" y="2096"/>
                    </a:lnTo>
                    <a:cubicBezTo>
                      <a:pt x="667" y="2953"/>
                      <a:pt x="1238" y="3524"/>
                      <a:pt x="1715" y="3620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id="{449970D7-E1EF-DD9E-DCE7-2ED3CE27B0A1}"/>
                  </a:ext>
                </a:extLst>
              </p:cNvPr>
              <p:cNvSpPr/>
              <p:nvPr/>
            </p:nvSpPr>
            <p:spPr>
              <a:xfrm>
                <a:off x="5042619" y="5201374"/>
                <a:ext cx="115827" cy="156845"/>
              </a:xfrm>
              <a:custGeom>
                <a:avLst/>
                <a:gdLst>
                  <a:gd name="connsiteX0" fmla="*/ 76486 w 79343"/>
                  <a:gd name="connsiteY0" fmla="*/ 94202 h 107441"/>
                  <a:gd name="connsiteX1" fmla="*/ 72771 w 79343"/>
                  <a:gd name="connsiteY1" fmla="*/ 83153 h 107441"/>
                  <a:gd name="connsiteX2" fmla="*/ 69818 w 79343"/>
                  <a:gd name="connsiteY2" fmla="*/ 72104 h 107441"/>
                  <a:gd name="connsiteX3" fmla="*/ 66866 w 79343"/>
                  <a:gd name="connsiteY3" fmla="*/ 61055 h 107441"/>
                  <a:gd name="connsiteX4" fmla="*/ 63437 w 79343"/>
                  <a:gd name="connsiteY4" fmla="*/ 50006 h 107441"/>
                  <a:gd name="connsiteX5" fmla="*/ 60484 w 79343"/>
                  <a:gd name="connsiteY5" fmla="*/ 38671 h 107441"/>
                  <a:gd name="connsiteX6" fmla="*/ 59341 w 79343"/>
                  <a:gd name="connsiteY6" fmla="*/ 33719 h 107441"/>
                  <a:gd name="connsiteX7" fmla="*/ 58769 w 79343"/>
                  <a:gd name="connsiteY7" fmla="*/ 34290 h 107441"/>
                  <a:gd name="connsiteX8" fmla="*/ 56007 w 79343"/>
                  <a:gd name="connsiteY8" fmla="*/ 16859 h 107441"/>
                  <a:gd name="connsiteX9" fmla="*/ 44006 w 79343"/>
                  <a:gd name="connsiteY9" fmla="*/ 13906 h 107441"/>
                  <a:gd name="connsiteX10" fmla="*/ 33147 w 79343"/>
                  <a:gd name="connsiteY10" fmla="*/ 10096 h 107441"/>
                  <a:gd name="connsiteX11" fmla="*/ 21717 w 79343"/>
                  <a:gd name="connsiteY11" fmla="*/ 7048 h 107441"/>
                  <a:gd name="connsiteX12" fmla="*/ 10859 w 79343"/>
                  <a:gd name="connsiteY12" fmla="*/ 3238 h 107441"/>
                  <a:gd name="connsiteX13" fmla="*/ 0 w 79343"/>
                  <a:gd name="connsiteY13" fmla="*/ 0 h 107441"/>
                  <a:gd name="connsiteX14" fmla="*/ 8668 w 79343"/>
                  <a:gd name="connsiteY14" fmla="*/ 4763 h 107441"/>
                  <a:gd name="connsiteX15" fmla="*/ 12668 w 79343"/>
                  <a:gd name="connsiteY15" fmla="*/ 15050 h 107441"/>
                  <a:gd name="connsiteX16" fmla="*/ 16383 w 79343"/>
                  <a:gd name="connsiteY16" fmla="*/ 25622 h 107441"/>
                  <a:gd name="connsiteX17" fmla="*/ 21336 w 79343"/>
                  <a:gd name="connsiteY17" fmla="*/ 35623 h 107441"/>
                  <a:gd name="connsiteX18" fmla="*/ 34004 w 79343"/>
                  <a:gd name="connsiteY18" fmla="*/ 64865 h 107441"/>
                  <a:gd name="connsiteX19" fmla="*/ 34481 w 79343"/>
                  <a:gd name="connsiteY19" fmla="*/ 66008 h 107441"/>
                  <a:gd name="connsiteX20" fmla="*/ 38195 w 79343"/>
                  <a:gd name="connsiteY20" fmla="*/ 76581 h 107441"/>
                  <a:gd name="connsiteX21" fmla="*/ 42672 w 79343"/>
                  <a:gd name="connsiteY21" fmla="*/ 86868 h 107441"/>
                  <a:gd name="connsiteX22" fmla="*/ 46863 w 79343"/>
                  <a:gd name="connsiteY22" fmla="*/ 96869 h 107441"/>
                  <a:gd name="connsiteX23" fmla="*/ 50578 w 79343"/>
                  <a:gd name="connsiteY23" fmla="*/ 107442 h 107441"/>
                  <a:gd name="connsiteX24" fmla="*/ 79343 w 79343"/>
                  <a:gd name="connsiteY24" fmla="*/ 105442 h 107441"/>
                  <a:gd name="connsiteX25" fmla="*/ 76486 w 79343"/>
                  <a:gd name="connsiteY25" fmla="*/ 94202 h 107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79343" h="107441">
                    <a:moveTo>
                      <a:pt x="76486" y="94202"/>
                    </a:moveTo>
                    <a:cubicBezTo>
                      <a:pt x="74962" y="88678"/>
                      <a:pt x="74295" y="88963"/>
                      <a:pt x="72771" y="83153"/>
                    </a:cubicBezTo>
                    <a:cubicBezTo>
                      <a:pt x="71247" y="77629"/>
                      <a:pt x="71247" y="77629"/>
                      <a:pt x="69818" y="72104"/>
                    </a:cubicBezTo>
                    <a:cubicBezTo>
                      <a:pt x="68294" y="66580"/>
                      <a:pt x="68294" y="66580"/>
                      <a:pt x="66866" y="61055"/>
                    </a:cubicBezTo>
                    <a:cubicBezTo>
                      <a:pt x="65342" y="55245"/>
                      <a:pt x="64865" y="55531"/>
                      <a:pt x="63437" y="50006"/>
                    </a:cubicBezTo>
                    <a:cubicBezTo>
                      <a:pt x="61913" y="44196"/>
                      <a:pt x="61913" y="44482"/>
                      <a:pt x="60484" y="38671"/>
                    </a:cubicBezTo>
                    <a:cubicBezTo>
                      <a:pt x="59817" y="36290"/>
                      <a:pt x="59531" y="34957"/>
                      <a:pt x="59341" y="33719"/>
                    </a:cubicBezTo>
                    <a:lnTo>
                      <a:pt x="58769" y="34290"/>
                    </a:lnTo>
                    <a:cubicBezTo>
                      <a:pt x="56864" y="31813"/>
                      <a:pt x="58484" y="21717"/>
                      <a:pt x="56007" y="16859"/>
                    </a:cubicBezTo>
                    <a:cubicBezTo>
                      <a:pt x="53816" y="12573"/>
                      <a:pt x="46482" y="14573"/>
                      <a:pt x="44006" y="13906"/>
                    </a:cubicBezTo>
                    <a:cubicBezTo>
                      <a:pt x="38291" y="12192"/>
                      <a:pt x="38576" y="11621"/>
                      <a:pt x="33147" y="10096"/>
                    </a:cubicBezTo>
                    <a:cubicBezTo>
                      <a:pt x="27432" y="8382"/>
                      <a:pt x="27432" y="8858"/>
                      <a:pt x="21717" y="7048"/>
                    </a:cubicBezTo>
                    <a:cubicBezTo>
                      <a:pt x="16288" y="5525"/>
                      <a:pt x="16478" y="5048"/>
                      <a:pt x="10859" y="3238"/>
                    </a:cubicBezTo>
                    <a:cubicBezTo>
                      <a:pt x="5429" y="1715"/>
                      <a:pt x="5429" y="1524"/>
                      <a:pt x="0" y="0"/>
                    </a:cubicBezTo>
                    <a:lnTo>
                      <a:pt x="8668" y="4763"/>
                    </a:lnTo>
                    <a:cubicBezTo>
                      <a:pt x="10668" y="9811"/>
                      <a:pt x="10382" y="10001"/>
                      <a:pt x="12668" y="15050"/>
                    </a:cubicBezTo>
                    <a:cubicBezTo>
                      <a:pt x="14669" y="20288"/>
                      <a:pt x="14192" y="20574"/>
                      <a:pt x="16383" y="25622"/>
                    </a:cubicBezTo>
                    <a:cubicBezTo>
                      <a:pt x="18574" y="30671"/>
                      <a:pt x="19145" y="30385"/>
                      <a:pt x="21336" y="35623"/>
                    </a:cubicBezTo>
                    <a:cubicBezTo>
                      <a:pt x="22955" y="39815"/>
                      <a:pt x="32480" y="61627"/>
                      <a:pt x="34004" y="64865"/>
                    </a:cubicBezTo>
                    <a:cubicBezTo>
                      <a:pt x="34195" y="65246"/>
                      <a:pt x="34290" y="65532"/>
                      <a:pt x="34481" y="66008"/>
                    </a:cubicBezTo>
                    <a:cubicBezTo>
                      <a:pt x="36671" y="71247"/>
                      <a:pt x="36005" y="71533"/>
                      <a:pt x="38195" y="76581"/>
                    </a:cubicBezTo>
                    <a:cubicBezTo>
                      <a:pt x="40196" y="81820"/>
                      <a:pt x="40386" y="81629"/>
                      <a:pt x="42672" y="86868"/>
                    </a:cubicBezTo>
                    <a:cubicBezTo>
                      <a:pt x="44672" y="91916"/>
                      <a:pt x="44863" y="91916"/>
                      <a:pt x="46863" y="96869"/>
                    </a:cubicBezTo>
                    <a:cubicBezTo>
                      <a:pt x="49054" y="102108"/>
                      <a:pt x="48387" y="102394"/>
                      <a:pt x="50578" y="107442"/>
                    </a:cubicBezTo>
                    <a:lnTo>
                      <a:pt x="79343" y="105442"/>
                    </a:lnTo>
                    <a:cubicBezTo>
                      <a:pt x="77724" y="100013"/>
                      <a:pt x="77724" y="99727"/>
                      <a:pt x="76486" y="94202"/>
                    </a:cubicBez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29" name="Freeform: Shape 528">
                <a:extLst>
                  <a:ext uri="{FF2B5EF4-FFF2-40B4-BE49-F238E27FC236}">
                    <a16:creationId xmlns:a16="http://schemas.microsoft.com/office/drawing/2014/main" id="{34281C3A-A240-E8FC-1E0B-441B9E2C3EC2}"/>
                  </a:ext>
                </a:extLst>
              </p:cNvPr>
              <p:cNvSpPr/>
              <p:nvPr/>
            </p:nvSpPr>
            <p:spPr>
              <a:xfrm>
                <a:off x="5103522" y="5035488"/>
                <a:ext cx="3615" cy="7230"/>
              </a:xfrm>
              <a:custGeom>
                <a:avLst/>
                <a:gdLst>
                  <a:gd name="connsiteX0" fmla="*/ 2476 w 2476"/>
                  <a:gd name="connsiteY0" fmla="*/ 4953 h 4953"/>
                  <a:gd name="connsiteX1" fmla="*/ 0 w 2476"/>
                  <a:gd name="connsiteY1" fmla="*/ 0 h 4953"/>
                  <a:gd name="connsiteX2" fmla="*/ 2476 w 2476"/>
                  <a:gd name="connsiteY2" fmla="*/ 4953 h 4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76" h="4953">
                    <a:moveTo>
                      <a:pt x="2476" y="4953"/>
                    </a:moveTo>
                    <a:cubicBezTo>
                      <a:pt x="2000" y="3619"/>
                      <a:pt x="1714" y="2667"/>
                      <a:pt x="0" y="0"/>
                    </a:cubicBezTo>
                    <a:lnTo>
                      <a:pt x="2476" y="4953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id="{9A5F79AC-D650-6749-5C21-DEC64B6DFDCE}"/>
                  </a:ext>
                </a:extLst>
              </p:cNvPr>
              <p:cNvSpPr/>
              <p:nvPr/>
            </p:nvSpPr>
            <p:spPr>
              <a:xfrm>
                <a:off x="5040950" y="5206796"/>
                <a:ext cx="75225" cy="151423"/>
              </a:xfrm>
              <a:custGeom>
                <a:avLst/>
                <a:gdLst>
                  <a:gd name="connsiteX0" fmla="*/ 26765 w 51530"/>
                  <a:gd name="connsiteY0" fmla="*/ 42100 h 103727"/>
                  <a:gd name="connsiteX1" fmla="*/ 9620 w 51530"/>
                  <a:gd name="connsiteY1" fmla="*/ 0 h 103727"/>
                  <a:gd name="connsiteX2" fmla="*/ 17336 w 51530"/>
                  <a:gd name="connsiteY2" fmla="*/ 48101 h 103727"/>
                  <a:gd name="connsiteX3" fmla="*/ 13145 w 51530"/>
                  <a:gd name="connsiteY3" fmla="*/ 59627 h 103727"/>
                  <a:gd name="connsiteX4" fmla="*/ 9430 w 51530"/>
                  <a:gd name="connsiteY4" fmla="*/ 71152 h 103727"/>
                  <a:gd name="connsiteX5" fmla="*/ 5239 w 51530"/>
                  <a:gd name="connsiteY5" fmla="*/ 82677 h 103727"/>
                  <a:gd name="connsiteX6" fmla="*/ 0 w 51530"/>
                  <a:gd name="connsiteY6" fmla="*/ 93726 h 103727"/>
                  <a:gd name="connsiteX7" fmla="*/ 51530 w 51530"/>
                  <a:gd name="connsiteY7" fmla="*/ 103727 h 103727"/>
                  <a:gd name="connsiteX8" fmla="*/ 30956 w 51530"/>
                  <a:gd name="connsiteY8" fmla="*/ 52292 h 103727"/>
                  <a:gd name="connsiteX9" fmla="*/ 26765 w 51530"/>
                  <a:gd name="connsiteY9" fmla="*/ 42100 h 103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530" h="103727">
                    <a:moveTo>
                      <a:pt x="26765" y="42100"/>
                    </a:moveTo>
                    <a:cubicBezTo>
                      <a:pt x="26384" y="41338"/>
                      <a:pt x="9906" y="571"/>
                      <a:pt x="9620" y="0"/>
                    </a:cubicBezTo>
                    <a:lnTo>
                      <a:pt x="17336" y="48101"/>
                    </a:lnTo>
                    <a:cubicBezTo>
                      <a:pt x="15335" y="53911"/>
                      <a:pt x="15145" y="53911"/>
                      <a:pt x="13145" y="59627"/>
                    </a:cubicBezTo>
                    <a:cubicBezTo>
                      <a:pt x="10954" y="65151"/>
                      <a:pt x="11430" y="65437"/>
                      <a:pt x="9430" y="71152"/>
                    </a:cubicBezTo>
                    <a:cubicBezTo>
                      <a:pt x="7239" y="76962"/>
                      <a:pt x="7430" y="76962"/>
                      <a:pt x="5239" y="82677"/>
                    </a:cubicBezTo>
                    <a:cubicBezTo>
                      <a:pt x="3239" y="88487"/>
                      <a:pt x="2000" y="87916"/>
                      <a:pt x="0" y="93726"/>
                    </a:cubicBezTo>
                    <a:lnTo>
                      <a:pt x="51530" y="103727"/>
                    </a:lnTo>
                    <a:cubicBezTo>
                      <a:pt x="50768" y="102108"/>
                      <a:pt x="32290" y="55340"/>
                      <a:pt x="30956" y="52292"/>
                    </a:cubicBezTo>
                    <a:cubicBezTo>
                      <a:pt x="29051" y="47339"/>
                      <a:pt x="28766" y="47339"/>
                      <a:pt x="26765" y="42100"/>
                    </a:cubicBezTo>
                    <a:close/>
                  </a:path>
                </a:pathLst>
              </a:custGeom>
              <a:solidFill>
                <a:srgbClr val="88B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31" name="Freeform: Shape 530">
                <a:extLst>
                  <a:ext uri="{FF2B5EF4-FFF2-40B4-BE49-F238E27FC236}">
                    <a16:creationId xmlns:a16="http://schemas.microsoft.com/office/drawing/2014/main" id="{9AFA5CCD-051C-8033-1CA4-FC3A57CBD59B}"/>
                  </a:ext>
                </a:extLst>
              </p:cNvPr>
              <p:cNvSpPr/>
              <p:nvPr/>
            </p:nvSpPr>
            <p:spPr>
              <a:xfrm>
                <a:off x="5108111" y="5044944"/>
                <a:ext cx="1807" cy="3336"/>
              </a:xfrm>
              <a:custGeom>
                <a:avLst/>
                <a:gdLst>
                  <a:gd name="connsiteX0" fmla="*/ 0 w 1238"/>
                  <a:gd name="connsiteY0" fmla="*/ 0 h 2285"/>
                  <a:gd name="connsiteX1" fmla="*/ 1238 w 1238"/>
                  <a:gd name="connsiteY1" fmla="*/ 2286 h 2285"/>
                  <a:gd name="connsiteX2" fmla="*/ 0 w 1238"/>
                  <a:gd name="connsiteY2" fmla="*/ 0 h 2285"/>
                  <a:gd name="connsiteX3" fmla="*/ 0 w 1238"/>
                  <a:gd name="connsiteY3" fmla="*/ 0 h 2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" h="2285">
                    <a:moveTo>
                      <a:pt x="0" y="0"/>
                    </a:moveTo>
                    <a:cubicBezTo>
                      <a:pt x="286" y="571"/>
                      <a:pt x="762" y="1429"/>
                      <a:pt x="1238" y="2286"/>
                    </a:cubicBez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644" name="Freeform: Shape 643">
                <a:extLst>
                  <a:ext uri="{FF2B5EF4-FFF2-40B4-BE49-F238E27FC236}">
                    <a16:creationId xmlns:a16="http://schemas.microsoft.com/office/drawing/2014/main" id="{BA994D74-99A2-2140-C638-DFEFADF5D716}"/>
                  </a:ext>
                </a:extLst>
              </p:cNvPr>
              <p:cNvSpPr/>
              <p:nvPr/>
            </p:nvSpPr>
            <p:spPr>
              <a:xfrm>
                <a:off x="5063818" y="4861399"/>
                <a:ext cx="105200" cy="145210"/>
              </a:xfrm>
              <a:custGeom>
                <a:avLst/>
                <a:gdLst>
                  <a:gd name="connsiteX0" fmla="*/ 42347 w 105200"/>
                  <a:gd name="connsiteY0" fmla="*/ 95665 h 145210"/>
                  <a:gd name="connsiteX1" fmla="*/ 42346 w 105200"/>
                  <a:gd name="connsiteY1" fmla="*/ 95666 h 145210"/>
                  <a:gd name="connsiteX2" fmla="*/ 48793 w 105200"/>
                  <a:gd name="connsiteY2" fmla="*/ 100480 h 145210"/>
                  <a:gd name="connsiteX3" fmla="*/ 56805 w 105200"/>
                  <a:gd name="connsiteY3" fmla="*/ 104147 h 145210"/>
                  <a:gd name="connsiteX4" fmla="*/ 72657 w 105200"/>
                  <a:gd name="connsiteY4" fmla="*/ 108875 h 145210"/>
                  <a:gd name="connsiteX5" fmla="*/ 72659 w 105200"/>
                  <a:gd name="connsiteY5" fmla="*/ 108875 h 145210"/>
                  <a:gd name="connsiteX6" fmla="*/ 56807 w 105200"/>
                  <a:gd name="connsiteY6" fmla="*/ 104147 h 145210"/>
                  <a:gd name="connsiteX7" fmla="*/ 42347 w 105200"/>
                  <a:gd name="connsiteY7" fmla="*/ 95665 h 145210"/>
                  <a:gd name="connsiteX8" fmla="*/ 53610 w 105200"/>
                  <a:gd name="connsiteY8" fmla="*/ 0 h 145210"/>
                  <a:gd name="connsiteX9" fmla="*/ 69461 w 105200"/>
                  <a:gd name="connsiteY9" fmla="*/ 4449 h 145210"/>
                  <a:gd name="connsiteX10" fmla="*/ 83227 w 105200"/>
                  <a:gd name="connsiteY10" fmla="*/ 13626 h 145210"/>
                  <a:gd name="connsiteX11" fmla="*/ 91988 w 105200"/>
                  <a:gd name="connsiteY11" fmla="*/ 26974 h 145210"/>
                  <a:gd name="connsiteX12" fmla="*/ 100608 w 105200"/>
                  <a:gd name="connsiteY12" fmla="*/ 41297 h 145210"/>
                  <a:gd name="connsiteX13" fmla="*/ 104224 w 105200"/>
                  <a:gd name="connsiteY13" fmla="*/ 55618 h 145210"/>
                  <a:gd name="connsiteX14" fmla="*/ 104226 w 105200"/>
                  <a:gd name="connsiteY14" fmla="*/ 55619 h 145210"/>
                  <a:gd name="connsiteX15" fmla="*/ 104505 w 105200"/>
                  <a:gd name="connsiteY15" fmla="*/ 57149 h 145210"/>
                  <a:gd name="connsiteX16" fmla="*/ 105200 w 105200"/>
                  <a:gd name="connsiteY16" fmla="*/ 73974 h 145210"/>
                  <a:gd name="connsiteX17" fmla="*/ 102001 w 105200"/>
                  <a:gd name="connsiteY17" fmla="*/ 90104 h 145210"/>
                  <a:gd name="connsiteX18" fmla="*/ 101445 w 105200"/>
                  <a:gd name="connsiteY18" fmla="*/ 93858 h 145210"/>
                  <a:gd name="connsiteX19" fmla="*/ 78502 w 105200"/>
                  <a:gd name="connsiteY19" fmla="*/ 55342 h 145210"/>
                  <a:gd name="connsiteX20" fmla="*/ 78920 w 105200"/>
                  <a:gd name="connsiteY20" fmla="*/ 42828 h 145210"/>
                  <a:gd name="connsiteX21" fmla="*/ 78916 w 105200"/>
                  <a:gd name="connsiteY21" fmla="*/ 42827 h 145210"/>
                  <a:gd name="connsiteX22" fmla="*/ 78499 w 105200"/>
                  <a:gd name="connsiteY22" fmla="*/ 55340 h 145210"/>
                  <a:gd name="connsiteX23" fmla="*/ 101303 w 105200"/>
                  <a:gd name="connsiteY23" fmla="*/ 93858 h 145210"/>
                  <a:gd name="connsiteX24" fmla="*/ 100887 w 105200"/>
                  <a:gd name="connsiteY24" fmla="*/ 95943 h 145210"/>
                  <a:gd name="connsiteX25" fmla="*/ 100884 w 105200"/>
                  <a:gd name="connsiteY25" fmla="*/ 95944 h 145210"/>
                  <a:gd name="connsiteX26" fmla="*/ 98660 w 105200"/>
                  <a:gd name="connsiteY26" fmla="*/ 106233 h 145210"/>
                  <a:gd name="connsiteX27" fmla="*/ 90317 w 105200"/>
                  <a:gd name="connsiteY27" fmla="*/ 120138 h 145210"/>
                  <a:gd name="connsiteX28" fmla="*/ 79888 w 105200"/>
                  <a:gd name="connsiteY28" fmla="*/ 132235 h 145210"/>
                  <a:gd name="connsiteX29" fmla="*/ 66122 w 105200"/>
                  <a:gd name="connsiteY29" fmla="*/ 140717 h 145210"/>
                  <a:gd name="connsiteX30" fmla="*/ 50269 w 105200"/>
                  <a:gd name="connsiteY30" fmla="*/ 145166 h 145210"/>
                  <a:gd name="connsiteX31" fmla="*/ 34697 w 105200"/>
                  <a:gd name="connsiteY31" fmla="*/ 140438 h 145210"/>
                  <a:gd name="connsiteX32" fmla="*/ 22044 w 105200"/>
                  <a:gd name="connsiteY32" fmla="*/ 130844 h 145210"/>
                  <a:gd name="connsiteX33" fmla="*/ 13283 w 105200"/>
                  <a:gd name="connsiteY33" fmla="*/ 121528 h 145210"/>
                  <a:gd name="connsiteX34" fmla="*/ 13342 w 105200"/>
                  <a:gd name="connsiteY34" fmla="*/ 121390 h 145210"/>
                  <a:gd name="connsiteX35" fmla="*/ 11340 w 105200"/>
                  <a:gd name="connsiteY35" fmla="*/ 118887 h 145210"/>
                  <a:gd name="connsiteX36" fmla="*/ 3692 w 105200"/>
                  <a:gd name="connsiteY36" fmla="*/ 104287 h 145210"/>
                  <a:gd name="connsiteX37" fmla="*/ 772 w 105200"/>
                  <a:gd name="connsiteY37" fmla="*/ 88157 h 145210"/>
                  <a:gd name="connsiteX38" fmla="*/ 76 w 105200"/>
                  <a:gd name="connsiteY38" fmla="*/ 71610 h 145210"/>
                  <a:gd name="connsiteX39" fmla="*/ 2300 w 105200"/>
                  <a:gd name="connsiteY39" fmla="*/ 55480 h 145210"/>
                  <a:gd name="connsiteX40" fmla="*/ 6611 w 105200"/>
                  <a:gd name="connsiteY40" fmla="*/ 40046 h 145210"/>
                  <a:gd name="connsiteX41" fmla="*/ 12452 w 105200"/>
                  <a:gd name="connsiteY41" fmla="*/ 24334 h 145210"/>
                  <a:gd name="connsiteX42" fmla="*/ 23297 w 105200"/>
                  <a:gd name="connsiteY42" fmla="*/ 11818 h 145210"/>
                  <a:gd name="connsiteX43" fmla="*/ 37758 w 105200"/>
                  <a:gd name="connsiteY43" fmla="*/ 4449 h 145210"/>
                  <a:gd name="connsiteX44" fmla="*/ 53610 w 105200"/>
                  <a:gd name="connsiteY44" fmla="*/ 0 h 145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05200" h="145210">
                    <a:moveTo>
                      <a:pt x="42347" y="95665"/>
                    </a:moveTo>
                    <a:lnTo>
                      <a:pt x="42346" y="95666"/>
                    </a:lnTo>
                    <a:lnTo>
                      <a:pt x="48793" y="100480"/>
                    </a:lnTo>
                    <a:cubicBezTo>
                      <a:pt x="50514" y="101505"/>
                      <a:pt x="52495" y="102340"/>
                      <a:pt x="56805" y="104147"/>
                    </a:cubicBezTo>
                    <a:cubicBezTo>
                      <a:pt x="61395" y="106372"/>
                      <a:pt x="66817" y="108458"/>
                      <a:pt x="72657" y="108875"/>
                    </a:cubicBezTo>
                    <a:lnTo>
                      <a:pt x="72659" y="108875"/>
                    </a:lnTo>
                    <a:lnTo>
                      <a:pt x="56807" y="104147"/>
                    </a:lnTo>
                    <a:cubicBezTo>
                      <a:pt x="48187" y="100394"/>
                      <a:pt x="48882" y="100810"/>
                      <a:pt x="42347" y="95665"/>
                    </a:cubicBezTo>
                    <a:close/>
                    <a:moveTo>
                      <a:pt x="53610" y="0"/>
                    </a:moveTo>
                    <a:cubicBezTo>
                      <a:pt x="59032" y="417"/>
                      <a:pt x="64455" y="2225"/>
                      <a:pt x="69461" y="4449"/>
                    </a:cubicBezTo>
                    <a:cubicBezTo>
                      <a:pt x="74189" y="6674"/>
                      <a:pt x="79195" y="9594"/>
                      <a:pt x="83227" y="13626"/>
                    </a:cubicBezTo>
                    <a:cubicBezTo>
                      <a:pt x="86842" y="17242"/>
                      <a:pt x="88928" y="22386"/>
                      <a:pt x="91988" y="26974"/>
                    </a:cubicBezTo>
                    <a:cubicBezTo>
                      <a:pt x="94768" y="31703"/>
                      <a:pt x="98800" y="35735"/>
                      <a:pt x="100608" y="41297"/>
                    </a:cubicBezTo>
                    <a:lnTo>
                      <a:pt x="104224" y="55618"/>
                    </a:lnTo>
                    <a:lnTo>
                      <a:pt x="104226" y="55619"/>
                    </a:lnTo>
                    <a:cubicBezTo>
                      <a:pt x="104226" y="56175"/>
                      <a:pt x="104365" y="56593"/>
                      <a:pt x="104505" y="57149"/>
                    </a:cubicBezTo>
                    <a:cubicBezTo>
                      <a:pt x="105200" y="62572"/>
                      <a:pt x="105200" y="68133"/>
                      <a:pt x="105200" y="73974"/>
                    </a:cubicBezTo>
                    <a:cubicBezTo>
                      <a:pt x="105200" y="79536"/>
                      <a:pt x="103114" y="84542"/>
                      <a:pt x="102001" y="90104"/>
                    </a:cubicBezTo>
                    <a:cubicBezTo>
                      <a:pt x="101863" y="91355"/>
                      <a:pt x="101584" y="92607"/>
                      <a:pt x="101445" y="93858"/>
                    </a:cubicBezTo>
                    <a:lnTo>
                      <a:pt x="78502" y="55342"/>
                    </a:lnTo>
                    <a:lnTo>
                      <a:pt x="78920" y="42828"/>
                    </a:lnTo>
                    <a:lnTo>
                      <a:pt x="78916" y="42827"/>
                    </a:lnTo>
                    <a:cubicBezTo>
                      <a:pt x="79195" y="49083"/>
                      <a:pt x="78083" y="49083"/>
                      <a:pt x="78499" y="55340"/>
                    </a:cubicBezTo>
                    <a:lnTo>
                      <a:pt x="101303" y="93858"/>
                    </a:lnTo>
                    <a:cubicBezTo>
                      <a:pt x="101164" y="94552"/>
                      <a:pt x="101025" y="95247"/>
                      <a:pt x="100887" y="95943"/>
                    </a:cubicBezTo>
                    <a:lnTo>
                      <a:pt x="100884" y="95944"/>
                    </a:lnTo>
                    <a:lnTo>
                      <a:pt x="98660" y="106233"/>
                    </a:lnTo>
                    <a:cubicBezTo>
                      <a:pt x="96434" y="111377"/>
                      <a:pt x="93237" y="115688"/>
                      <a:pt x="90317" y="120138"/>
                    </a:cubicBezTo>
                    <a:cubicBezTo>
                      <a:pt x="87536" y="124865"/>
                      <a:pt x="83920" y="128898"/>
                      <a:pt x="79888" y="132235"/>
                    </a:cubicBezTo>
                    <a:cubicBezTo>
                      <a:pt x="75577" y="136267"/>
                      <a:pt x="70850" y="138910"/>
                      <a:pt x="66122" y="140717"/>
                    </a:cubicBezTo>
                    <a:cubicBezTo>
                      <a:pt x="61116" y="142942"/>
                      <a:pt x="56110" y="145584"/>
                      <a:pt x="50269" y="145166"/>
                    </a:cubicBezTo>
                    <a:cubicBezTo>
                      <a:pt x="44848" y="145166"/>
                      <a:pt x="39703" y="142663"/>
                      <a:pt x="34697" y="140438"/>
                    </a:cubicBezTo>
                    <a:cubicBezTo>
                      <a:pt x="29969" y="138213"/>
                      <a:pt x="26076" y="134460"/>
                      <a:pt x="22044" y="130844"/>
                    </a:cubicBezTo>
                    <a:cubicBezTo>
                      <a:pt x="18845" y="127924"/>
                      <a:pt x="15926" y="125005"/>
                      <a:pt x="13283" y="121528"/>
                    </a:cubicBezTo>
                    <a:lnTo>
                      <a:pt x="13342" y="121390"/>
                    </a:lnTo>
                    <a:lnTo>
                      <a:pt x="11340" y="118887"/>
                    </a:lnTo>
                    <a:cubicBezTo>
                      <a:pt x="8419" y="114576"/>
                      <a:pt x="5499" y="109848"/>
                      <a:pt x="3692" y="104287"/>
                    </a:cubicBezTo>
                    <a:cubicBezTo>
                      <a:pt x="1884" y="99141"/>
                      <a:pt x="1467" y="93717"/>
                      <a:pt x="772" y="88157"/>
                    </a:cubicBezTo>
                    <a:cubicBezTo>
                      <a:pt x="-340" y="82594"/>
                      <a:pt x="76" y="77449"/>
                      <a:pt x="76" y="71610"/>
                    </a:cubicBezTo>
                    <a:cubicBezTo>
                      <a:pt x="493" y="66048"/>
                      <a:pt x="1188" y="60625"/>
                      <a:pt x="2300" y="55480"/>
                    </a:cubicBezTo>
                    <a:cubicBezTo>
                      <a:pt x="3413" y="49918"/>
                      <a:pt x="4804" y="44774"/>
                      <a:pt x="6611" y="40046"/>
                    </a:cubicBezTo>
                    <a:cubicBezTo>
                      <a:pt x="8836" y="34622"/>
                      <a:pt x="9531" y="28783"/>
                      <a:pt x="12452" y="24334"/>
                    </a:cubicBezTo>
                    <a:cubicBezTo>
                      <a:pt x="15649" y="19466"/>
                      <a:pt x="19265" y="15434"/>
                      <a:pt x="23297" y="11818"/>
                    </a:cubicBezTo>
                    <a:cubicBezTo>
                      <a:pt x="27608" y="8064"/>
                      <a:pt x="33031" y="6257"/>
                      <a:pt x="37758" y="4449"/>
                    </a:cubicBezTo>
                    <a:cubicBezTo>
                      <a:pt x="42764" y="2225"/>
                      <a:pt x="48187" y="0"/>
                      <a:pt x="53610" y="0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67" name="Freeform: Shape 566">
                <a:extLst>
                  <a:ext uri="{FF2B5EF4-FFF2-40B4-BE49-F238E27FC236}">
                    <a16:creationId xmlns:a16="http://schemas.microsoft.com/office/drawing/2014/main" id="{7614273D-A269-989C-4364-F9974A62D917}"/>
                  </a:ext>
                </a:extLst>
              </p:cNvPr>
              <p:cNvSpPr/>
              <p:nvPr/>
            </p:nvSpPr>
            <p:spPr>
              <a:xfrm>
                <a:off x="5142132" y="4904367"/>
                <a:ext cx="556" cy="12514"/>
              </a:xfrm>
              <a:custGeom>
                <a:avLst/>
                <a:gdLst>
                  <a:gd name="connsiteX0" fmla="*/ 317 w 381"/>
                  <a:gd name="connsiteY0" fmla="*/ 0 h 8572"/>
                  <a:gd name="connsiteX1" fmla="*/ 317 w 381"/>
                  <a:gd name="connsiteY1" fmla="*/ 0 h 8572"/>
                  <a:gd name="connsiteX2" fmla="*/ 31 w 381"/>
                  <a:gd name="connsiteY2" fmla="*/ 8572 h 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" h="8572">
                    <a:moveTo>
                      <a:pt x="317" y="0"/>
                    </a:moveTo>
                    <a:lnTo>
                      <a:pt x="317" y="0"/>
                    </a:lnTo>
                    <a:cubicBezTo>
                      <a:pt x="602" y="4286"/>
                      <a:pt x="-160" y="4286"/>
                      <a:pt x="31" y="8572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68" name="Freeform: Shape 567">
                <a:extLst>
                  <a:ext uri="{FF2B5EF4-FFF2-40B4-BE49-F238E27FC236}">
                    <a16:creationId xmlns:a16="http://schemas.microsoft.com/office/drawing/2014/main" id="{6FDC38C5-512D-D1F3-2565-3EEBA456380A}"/>
                  </a:ext>
                </a:extLst>
              </p:cNvPr>
              <p:cNvSpPr/>
              <p:nvPr/>
            </p:nvSpPr>
            <p:spPr>
              <a:xfrm>
                <a:off x="5063817" y="4861400"/>
                <a:ext cx="105196" cy="145325"/>
              </a:xfrm>
              <a:custGeom>
                <a:avLst/>
                <a:gdLst>
                  <a:gd name="connsiteX0" fmla="*/ 72061 w 72061"/>
                  <a:gd name="connsiteY0" fmla="*/ 50768 h 99550"/>
                  <a:gd name="connsiteX1" fmla="*/ 72061 w 72061"/>
                  <a:gd name="connsiteY1" fmla="*/ 50768 h 99550"/>
                  <a:gd name="connsiteX2" fmla="*/ 69871 w 72061"/>
                  <a:gd name="connsiteY2" fmla="*/ 61817 h 99550"/>
                  <a:gd name="connsiteX3" fmla="*/ 67680 w 72061"/>
                  <a:gd name="connsiteY3" fmla="*/ 72866 h 99550"/>
                  <a:gd name="connsiteX4" fmla="*/ 61965 w 72061"/>
                  <a:gd name="connsiteY4" fmla="*/ 82391 h 99550"/>
                  <a:gd name="connsiteX5" fmla="*/ 54821 w 72061"/>
                  <a:gd name="connsiteY5" fmla="*/ 90678 h 99550"/>
                  <a:gd name="connsiteX6" fmla="*/ 45391 w 72061"/>
                  <a:gd name="connsiteY6" fmla="*/ 96488 h 99550"/>
                  <a:gd name="connsiteX7" fmla="*/ 34533 w 72061"/>
                  <a:gd name="connsiteY7" fmla="*/ 99536 h 99550"/>
                  <a:gd name="connsiteX8" fmla="*/ 23865 w 72061"/>
                  <a:gd name="connsiteY8" fmla="*/ 96298 h 99550"/>
                  <a:gd name="connsiteX9" fmla="*/ 15197 w 72061"/>
                  <a:gd name="connsiteY9" fmla="*/ 89725 h 99550"/>
                  <a:gd name="connsiteX10" fmla="*/ 7768 w 72061"/>
                  <a:gd name="connsiteY10" fmla="*/ 81439 h 99550"/>
                  <a:gd name="connsiteX11" fmla="*/ 2529 w 72061"/>
                  <a:gd name="connsiteY11" fmla="*/ 71438 h 99550"/>
                  <a:gd name="connsiteX12" fmla="*/ 529 w 72061"/>
                  <a:gd name="connsiteY12" fmla="*/ 60389 h 99550"/>
                  <a:gd name="connsiteX13" fmla="*/ 52 w 72061"/>
                  <a:gd name="connsiteY13" fmla="*/ 49054 h 99550"/>
                  <a:gd name="connsiteX14" fmla="*/ 1576 w 72061"/>
                  <a:gd name="connsiteY14" fmla="*/ 38005 h 99550"/>
                  <a:gd name="connsiteX15" fmla="*/ 4529 w 72061"/>
                  <a:gd name="connsiteY15" fmla="*/ 27432 h 99550"/>
                  <a:gd name="connsiteX16" fmla="*/ 8530 w 72061"/>
                  <a:gd name="connsiteY16" fmla="*/ 16669 h 99550"/>
                  <a:gd name="connsiteX17" fmla="*/ 15959 w 72061"/>
                  <a:gd name="connsiteY17" fmla="*/ 8096 h 99550"/>
                  <a:gd name="connsiteX18" fmla="*/ 25865 w 72061"/>
                  <a:gd name="connsiteY18" fmla="*/ 3048 h 99550"/>
                  <a:gd name="connsiteX19" fmla="*/ 36724 w 72061"/>
                  <a:gd name="connsiteY19" fmla="*/ 0 h 99550"/>
                  <a:gd name="connsiteX20" fmla="*/ 47582 w 72061"/>
                  <a:gd name="connsiteY20" fmla="*/ 3048 h 99550"/>
                  <a:gd name="connsiteX21" fmla="*/ 57012 w 72061"/>
                  <a:gd name="connsiteY21" fmla="*/ 9334 h 99550"/>
                  <a:gd name="connsiteX22" fmla="*/ 62917 w 72061"/>
                  <a:gd name="connsiteY22" fmla="*/ 18669 h 99550"/>
                  <a:gd name="connsiteX23" fmla="*/ 68823 w 72061"/>
                  <a:gd name="connsiteY23" fmla="*/ 28480 h 99550"/>
                  <a:gd name="connsiteX24" fmla="*/ 71585 w 72061"/>
                  <a:gd name="connsiteY24" fmla="*/ 39243 h 99550"/>
                  <a:gd name="connsiteX25" fmla="*/ 72061 w 72061"/>
                  <a:gd name="connsiteY25" fmla="*/ 50768 h 99550"/>
                  <a:gd name="connsiteX26" fmla="*/ 72061 w 72061"/>
                  <a:gd name="connsiteY26" fmla="*/ 50768 h 99550"/>
                  <a:gd name="connsiteX27" fmla="*/ 72061 w 72061"/>
                  <a:gd name="connsiteY27" fmla="*/ 50768 h 99550"/>
                  <a:gd name="connsiteX28" fmla="*/ 72061 w 72061"/>
                  <a:gd name="connsiteY28" fmla="*/ 50768 h 9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2061" h="99550">
                    <a:moveTo>
                      <a:pt x="72061" y="50768"/>
                    </a:moveTo>
                    <a:lnTo>
                      <a:pt x="72061" y="50768"/>
                    </a:lnTo>
                    <a:cubicBezTo>
                      <a:pt x="72061" y="54578"/>
                      <a:pt x="70537" y="58007"/>
                      <a:pt x="69871" y="61817"/>
                    </a:cubicBezTo>
                    <a:cubicBezTo>
                      <a:pt x="69109" y="65627"/>
                      <a:pt x="68918" y="69342"/>
                      <a:pt x="67680" y="72866"/>
                    </a:cubicBezTo>
                    <a:cubicBezTo>
                      <a:pt x="66156" y="76391"/>
                      <a:pt x="63965" y="79439"/>
                      <a:pt x="61965" y="82391"/>
                    </a:cubicBezTo>
                    <a:cubicBezTo>
                      <a:pt x="59965" y="85630"/>
                      <a:pt x="57488" y="88392"/>
                      <a:pt x="54821" y="90678"/>
                    </a:cubicBezTo>
                    <a:cubicBezTo>
                      <a:pt x="51868" y="93440"/>
                      <a:pt x="48630" y="95155"/>
                      <a:pt x="45391" y="96488"/>
                    </a:cubicBezTo>
                    <a:cubicBezTo>
                      <a:pt x="41962" y="98012"/>
                      <a:pt x="38438" y="99727"/>
                      <a:pt x="34533" y="99536"/>
                    </a:cubicBezTo>
                    <a:cubicBezTo>
                      <a:pt x="30818" y="99536"/>
                      <a:pt x="27389" y="97822"/>
                      <a:pt x="23865" y="96298"/>
                    </a:cubicBezTo>
                    <a:cubicBezTo>
                      <a:pt x="20626" y="94774"/>
                      <a:pt x="17959" y="92297"/>
                      <a:pt x="15197" y="89725"/>
                    </a:cubicBezTo>
                    <a:cubicBezTo>
                      <a:pt x="12435" y="87249"/>
                      <a:pt x="9768" y="84677"/>
                      <a:pt x="7768" y="81439"/>
                    </a:cubicBezTo>
                    <a:cubicBezTo>
                      <a:pt x="5767" y="78391"/>
                      <a:pt x="3767" y="75152"/>
                      <a:pt x="2529" y="71438"/>
                    </a:cubicBezTo>
                    <a:cubicBezTo>
                      <a:pt x="1291" y="67913"/>
                      <a:pt x="1005" y="64198"/>
                      <a:pt x="529" y="60389"/>
                    </a:cubicBezTo>
                    <a:cubicBezTo>
                      <a:pt x="-233" y="56578"/>
                      <a:pt x="52" y="53149"/>
                      <a:pt x="52" y="49054"/>
                    </a:cubicBezTo>
                    <a:cubicBezTo>
                      <a:pt x="338" y="45244"/>
                      <a:pt x="814" y="41529"/>
                      <a:pt x="1576" y="38005"/>
                    </a:cubicBezTo>
                    <a:cubicBezTo>
                      <a:pt x="2338" y="34195"/>
                      <a:pt x="3291" y="30766"/>
                      <a:pt x="4529" y="27432"/>
                    </a:cubicBezTo>
                    <a:cubicBezTo>
                      <a:pt x="6053" y="23622"/>
                      <a:pt x="6529" y="19622"/>
                      <a:pt x="8530" y="16669"/>
                    </a:cubicBezTo>
                    <a:cubicBezTo>
                      <a:pt x="10720" y="13430"/>
                      <a:pt x="13197" y="10668"/>
                      <a:pt x="15959" y="8096"/>
                    </a:cubicBezTo>
                    <a:cubicBezTo>
                      <a:pt x="18912" y="5620"/>
                      <a:pt x="22627" y="4286"/>
                      <a:pt x="25865" y="3048"/>
                    </a:cubicBezTo>
                    <a:cubicBezTo>
                      <a:pt x="29294" y="1524"/>
                      <a:pt x="33009" y="0"/>
                      <a:pt x="36724" y="0"/>
                    </a:cubicBezTo>
                    <a:cubicBezTo>
                      <a:pt x="40438" y="286"/>
                      <a:pt x="44153" y="1524"/>
                      <a:pt x="47582" y="3048"/>
                    </a:cubicBezTo>
                    <a:cubicBezTo>
                      <a:pt x="50821" y="4572"/>
                      <a:pt x="54250" y="6572"/>
                      <a:pt x="57012" y="9334"/>
                    </a:cubicBezTo>
                    <a:cubicBezTo>
                      <a:pt x="59488" y="11811"/>
                      <a:pt x="61012" y="15335"/>
                      <a:pt x="62917" y="18669"/>
                    </a:cubicBezTo>
                    <a:cubicBezTo>
                      <a:pt x="64918" y="21907"/>
                      <a:pt x="67585" y="24670"/>
                      <a:pt x="68823" y="28480"/>
                    </a:cubicBezTo>
                    <a:cubicBezTo>
                      <a:pt x="70061" y="31718"/>
                      <a:pt x="70823" y="35528"/>
                      <a:pt x="71585" y="39243"/>
                    </a:cubicBezTo>
                    <a:cubicBezTo>
                      <a:pt x="72061" y="42958"/>
                      <a:pt x="72061" y="46672"/>
                      <a:pt x="72061" y="50768"/>
                    </a:cubicBezTo>
                    <a:lnTo>
                      <a:pt x="72061" y="50768"/>
                    </a:lnTo>
                    <a:lnTo>
                      <a:pt x="72061" y="50768"/>
                    </a:lnTo>
                    <a:lnTo>
                      <a:pt x="72061" y="50768"/>
                    </a:lnTo>
                    <a:close/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69" name="Freeform: Shape 568">
                <a:extLst>
                  <a:ext uri="{FF2B5EF4-FFF2-40B4-BE49-F238E27FC236}">
                    <a16:creationId xmlns:a16="http://schemas.microsoft.com/office/drawing/2014/main" id="{A82FEA1E-39FF-5259-EA8B-9267EE69BA61}"/>
                  </a:ext>
                </a:extLst>
              </p:cNvPr>
              <p:cNvSpPr/>
              <p:nvPr/>
            </p:nvSpPr>
            <p:spPr>
              <a:xfrm>
                <a:off x="5106165" y="4956232"/>
                <a:ext cx="59511" cy="14160"/>
              </a:xfrm>
              <a:custGeom>
                <a:avLst/>
                <a:gdLst>
                  <a:gd name="connsiteX0" fmla="*/ 0 w 40766"/>
                  <a:gd name="connsiteY0" fmla="*/ 572 h 9700"/>
                  <a:gd name="connsiteX1" fmla="*/ 0 w 40766"/>
                  <a:gd name="connsiteY1" fmla="*/ 572 h 9700"/>
                  <a:gd name="connsiteX2" fmla="*/ 9906 w 40766"/>
                  <a:gd name="connsiteY2" fmla="*/ 6382 h 9700"/>
                  <a:gd name="connsiteX3" fmla="*/ 20764 w 40766"/>
                  <a:gd name="connsiteY3" fmla="*/ 9620 h 9700"/>
                  <a:gd name="connsiteX4" fmla="*/ 31623 w 40766"/>
                  <a:gd name="connsiteY4" fmla="*/ 6572 h 9700"/>
                  <a:gd name="connsiteX5" fmla="*/ 40767 w 40766"/>
                  <a:gd name="connsiteY5" fmla="*/ 0 h 9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766" h="9700">
                    <a:moveTo>
                      <a:pt x="0" y="572"/>
                    </a:moveTo>
                    <a:lnTo>
                      <a:pt x="0" y="572"/>
                    </a:lnTo>
                    <a:cubicBezTo>
                      <a:pt x="4477" y="4096"/>
                      <a:pt x="4000" y="3810"/>
                      <a:pt x="9906" y="6382"/>
                    </a:cubicBezTo>
                    <a:cubicBezTo>
                      <a:pt x="13144" y="7906"/>
                      <a:pt x="16859" y="9430"/>
                      <a:pt x="20764" y="9620"/>
                    </a:cubicBezTo>
                    <a:cubicBezTo>
                      <a:pt x="24479" y="10097"/>
                      <a:pt x="28194" y="8382"/>
                      <a:pt x="31623" y="6572"/>
                    </a:cubicBezTo>
                    <a:cubicBezTo>
                      <a:pt x="34862" y="5334"/>
                      <a:pt x="38100" y="3810"/>
                      <a:pt x="40767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0" name="Freeform: Shape 569">
                <a:extLst>
                  <a:ext uri="{FF2B5EF4-FFF2-40B4-BE49-F238E27FC236}">
                    <a16:creationId xmlns:a16="http://schemas.microsoft.com/office/drawing/2014/main" id="{9ECB127A-9A50-78C3-912C-DFBE388215CE}"/>
                  </a:ext>
                </a:extLst>
              </p:cNvPr>
              <p:cNvSpPr/>
              <p:nvPr/>
            </p:nvSpPr>
            <p:spPr>
              <a:xfrm>
                <a:off x="5103522" y="5035488"/>
                <a:ext cx="95107" cy="146695"/>
              </a:xfrm>
              <a:custGeom>
                <a:avLst/>
                <a:gdLst>
                  <a:gd name="connsiteX0" fmla="*/ 0 w 65150"/>
                  <a:gd name="connsiteY0" fmla="*/ 0 h 100488"/>
                  <a:gd name="connsiteX1" fmla="*/ 0 w 65150"/>
                  <a:gd name="connsiteY1" fmla="*/ 0 h 100488"/>
                  <a:gd name="connsiteX2" fmla="*/ 4953 w 65150"/>
                  <a:gd name="connsiteY2" fmla="*/ 9811 h 100488"/>
                  <a:gd name="connsiteX3" fmla="*/ 10668 w 65150"/>
                  <a:gd name="connsiteY3" fmla="*/ 19145 h 100488"/>
                  <a:gd name="connsiteX4" fmla="*/ 16573 w 65150"/>
                  <a:gd name="connsiteY4" fmla="*/ 28194 h 100488"/>
                  <a:gd name="connsiteX5" fmla="*/ 22765 w 65150"/>
                  <a:gd name="connsiteY5" fmla="*/ 36957 h 100488"/>
                  <a:gd name="connsiteX6" fmla="*/ 28480 w 65150"/>
                  <a:gd name="connsiteY6" fmla="*/ 46292 h 100488"/>
                  <a:gd name="connsiteX7" fmla="*/ 34671 w 65150"/>
                  <a:gd name="connsiteY7" fmla="*/ 55340 h 100488"/>
                  <a:gd name="connsiteX8" fmla="*/ 39910 w 65150"/>
                  <a:gd name="connsiteY8" fmla="*/ 64865 h 100488"/>
                  <a:gd name="connsiteX9" fmla="*/ 45339 w 65150"/>
                  <a:gd name="connsiteY9" fmla="*/ 74390 h 100488"/>
                  <a:gd name="connsiteX10" fmla="*/ 51530 w 65150"/>
                  <a:gd name="connsiteY10" fmla="*/ 83153 h 100488"/>
                  <a:gd name="connsiteX11" fmla="*/ 58198 w 65150"/>
                  <a:gd name="connsiteY11" fmla="*/ 91726 h 100488"/>
                  <a:gd name="connsiteX12" fmla="*/ 65151 w 65150"/>
                  <a:gd name="connsiteY12" fmla="*/ 100489 h 10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5150" h="100488">
                    <a:moveTo>
                      <a:pt x="0" y="0"/>
                    </a:moveTo>
                    <a:lnTo>
                      <a:pt x="0" y="0"/>
                    </a:lnTo>
                    <a:cubicBezTo>
                      <a:pt x="2953" y="4763"/>
                      <a:pt x="1524" y="4000"/>
                      <a:pt x="4953" y="9811"/>
                    </a:cubicBezTo>
                    <a:cubicBezTo>
                      <a:pt x="6667" y="12573"/>
                      <a:pt x="8382" y="15621"/>
                      <a:pt x="10668" y="19145"/>
                    </a:cubicBezTo>
                    <a:cubicBezTo>
                      <a:pt x="12382" y="22193"/>
                      <a:pt x="14383" y="24955"/>
                      <a:pt x="16573" y="28194"/>
                    </a:cubicBezTo>
                    <a:cubicBezTo>
                      <a:pt x="18288" y="31242"/>
                      <a:pt x="20764" y="34004"/>
                      <a:pt x="22765" y="36957"/>
                    </a:cubicBezTo>
                    <a:cubicBezTo>
                      <a:pt x="24479" y="40005"/>
                      <a:pt x="26479" y="43244"/>
                      <a:pt x="28480" y="46292"/>
                    </a:cubicBezTo>
                    <a:cubicBezTo>
                      <a:pt x="30480" y="49340"/>
                      <a:pt x="32671" y="52292"/>
                      <a:pt x="34671" y="55340"/>
                    </a:cubicBezTo>
                    <a:cubicBezTo>
                      <a:pt x="36671" y="58388"/>
                      <a:pt x="37910" y="61913"/>
                      <a:pt x="39910" y="64865"/>
                    </a:cubicBezTo>
                    <a:cubicBezTo>
                      <a:pt x="41910" y="68104"/>
                      <a:pt x="43339" y="71438"/>
                      <a:pt x="45339" y="74390"/>
                    </a:cubicBezTo>
                    <a:cubicBezTo>
                      <a:pt x="47339" y="77438"/>
                      <a:pt x="49530" y="80391"/>
                      <a:pt x="51530" y="83153"/>
                    </a:cubicBezTo>
                    <a:cubicBezTo>
                      <a:pt x="53721" y="86392"/>
                      <a:pt x="56198" y="89154"/>
                      <a:pt x="58198" y="91726"/>
                    </a:cubicBezTo>
                    <a:cubicBezTo>
                      <a:pt x="61627" y="96488"/>
                      <a:pt x="63913" y="100298"/>
                      <a:pt x="65151" y="100489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1" name="Freeform: Shape 570">
                <a:extLst>
                  <a:ext uri="{FF2B5EF4-FFF2-40B4-BE49-F238E27FC236}">
                    <a16:creationId xmlns:a16="http://schemas.microsoft.com/office/drawing/2014/main" id="{B8E3E2F5-3FEE-7769-3346-947700E65B77}"/>
                  </a:ext>
                </a:extLst>
              </p:cNvPr>
              <p:cNvSpPr/>
              <p:nvPr/>
            </p:nvSpPr>
            <p:spPr>
              <a:xfrm>
                <a:off x="5136894" y="5026728"/>
                <a:ext cx="70358" cy="138631"/>
              </a:xfrm>
              <a:custGeom>
                <a:avLst/>
                <a:gdLst>
                  <a:gd name="connsiteX0" fmla="*/ 0 w 48196"/>
                  <a:gd name="connsiteY0" fmla="*/ 0 h 94964"/>
                  <a:gd name="connsiteX1" fmla="*/ 0 w 48196"/>
                  <a:gd name="connsiteY1" fmla="*/ 0 h 94964"/>
                  <a:gd name="connsiteX2" fmla="*/ 4000 w 48196"/>
                  <a:gd name="connsiteY2" fmla="*/ 10001 h 94964"/>
                  <a:gd name="connsiteX3" fmla="*/ 9906 w 48196"/>
                  <a:gd name="connsiteY3" fmla="*/ 18764 h 94964"/>
                  <a:gd name="connsiteX4" fmla="*/ 13335 w 48196"/>
                  <a:gd name="connsiteY4" fmla="*/ 29051 h 94964"/>
                  <a:gd name="connsiteX5" fmla="*/ 19526 w 48196"/>
                  <a:gd name="connsiteY5" fmla="*/ 37624 h 94964"/>
                  <a:gd name="connsiteX6" fmla="*/ 23717 w 48196"/>
                  <a:gd name="connsiteY6" fmla="*/ 47434 h 94964"/>
                  <a:gd name="connsiteX7" fmla="*/ 28384 w 48196"/>
                  <a:gd name="connsiteY7" fmla="*/ 56959 h 94964"/>
                  <a:gd name="connsiteX8" fmla="*/ 33338 w 48196"/>
                  <a:gd name="connsiteY8" fmla="*/ 66484 h 94964"/>
                  <a:gd name="connsiteX9" fmla="*/ 38576 w 48196"/>
                  <a:gd name="connsiteY9" fmla="*/ 75819 h 94964"/>
                  <a:gd name="connsiteX10" fmla="*/ 42767 w 48196"/>
                  <a:gd name="connsiteY10" fmla="*/ 85630 h 94964"/>
                  <a:gd name="connsiteX11" fmla="*/ 48196 w 48196"/>
                  <a:gd name="connsiteY11" fmla="*/ 94964 h 94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8196" h="94964">
                    <a:moveTo>
                      <a:pt x="0" y="0"/>
                    </a:moveTo>
                    <a:lnTo>
                      <a:pt x="0" y="0"/>
                    </a:lnTo>
                    <a:cubicBezTo>
                      <a:pt x="2476" y="4763"/>
                      <a:pt x="1524" y="5239"/>
                      <a:pt x="4000" y="10001"/>
                    </a:cubicBezTo>
                    <a:cubicBezTo>
                      <a:pt x="6191" y="14764"/>
                      <a:pt x="7429" y="14002"/>
                      <a:pt x="9906" y="18764"/>
                    </a:cubicBezTo>
                    <a:cubicBezTo>
                      <a:pt x="12383" y="23527"/>
                      <a:pt x="11144" y="24289"/>
                      <a:pt x="13335" y="29051"/>
                    </a:cubicBezTo>
                    <a:cubicBezTo>
                      <a:pt x="15811" y="33528"/>
                      <a:pt x="17335" y="33052"/>
                      <a:pt x="19526" y="37624"/>
                    </a:cubicBezTo>
                    <a:cubicBezTo>
                      <a:pt x="22003" y="42386"/>
                      <a:pt x="21527" y="42863"/>
                      <a:pt x="23717" y="47434"/>
                    </a:cubicBezTo>
                    <a:cubicBezTo>
                      <a:pt x="26194" y="52197"/>
                      <a:pt x="26194" y="52483"/>
                      <a:pt x="28384" y="56959"/>
                    </a:cubicBezTo>
                    <a:cubicBezTo>
                      <a:pt x="30861" y="61722"/>
                      <a:pt x="30861" y="61722"/>
                      <a:pt x="33338" y="66484"/>
                    </a:cubicBezTo>
                    <a:cubicBezTo>
                      <a:pt x="35814" y="71247"/>
                      <a:pt x="36100" y="70961"/>
                      <a:pt x="38576" y="75819"/>
                    </a:cubicBezTo>
                    <a:cubicBezTo>
                      <a:pt x="41053" y="80581"/>
                      <a:pt x="40291" y="81058"/>
                      <a:pt x="42767" y="85630"/>
                    </a:cubicBezTo>
                    <a:cubicBezTo>
                      <a:pt x="45244" y="90392"/>
                      <a:pt x="45720" y="90107"/>
                      <a:pt x="48196" y="94964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2" name="Freeform: Shape 571">
                <a:extLst>
                  <a:ext uri="{FF2B5EF4-FFF2-40B4-BE49-F238E27FC236}">
                    <a16:creationId xmlns:a16="http://schemas.microsoft.com/office/drawing/2014/main" id="{8967C12E-133A-11BC-D9D0-3817488C1967}"/>
                  </a:ext>
                </a:extLst>
              </p:cNvPr>
              <p:cNvSpPr/>
              <p:nvPr/>
            </p:nvSpPr>
            <p:spPr>
              <a:xfrm>
                <a:off x="5200438" y="5147534"/>
                <a:ext cx="41297" cy="28392"/>
              </a:xfrm>
              <a:custGeom>
                <a:avLst/>
                <a:gdLst>
                  <a:gd name="connsiteX0" fmla="*/ 10192 w 28289"/>
                  <a:gd name="connsiteY0" fmla="*/ 19450 h 19449"/>
                  <a:gd name="connsiteX1" fmla="*/ 10192 w 28289"/>
                  <a:gd name="connsiteY1" fmla="*/ 19450 h 19449"/>
                  <a:gd name="connsiteX2" fmla="*/ 20860 w 28289"/>
                  <a:gd name="connsiteY2" fmla="*/ 13449 h 19449"/>
                  <a:gd name="connsiteX3" fmla="*/ 28289 w 28289"/>
                  <a:gd name="connsiteY3" fmla="*/ 3638 h 19449"/>
                  <a:gd name="connsiteX4" fmla="*/ 19336 w 28289"/>
                  <a:gd name="connsiteY4" fmla="*/ 114 h 19449"/>
                  <a:gd name="connsiteX5" fmla="*/ 9430 w 28289"/>
                  <a:gd name="connsiteY5" fmla="*/ 590 h 19449"/>
                  <a:gd name="connsiteX6" fmla="*/ 0 w 28289"/>
                  <a:gd name="connsiteY6" fmla="*/ 3352 h 19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289" h="19449">
                    <a:moveTo>
                      <a:pt x="10192" y="19450"/>
                    </a:moveTo>
                    <a:lnTo>
                      <a:pt x="10192" y="19450"/>
                    </a:lnTo>
                    <a:cubicBezTo>
                      <a:pt x="15145" y="15925"/>
                      <a:pt x="16097" y="17164"/>
                      <a:pt x="20860" y="13449"/>
                    </a:cubicBezTo>
                    <a:cubicBezTo>
                      <a:pt x="25051" y="9925"/>
                      <a:pt x="28289" y="5448"/>
                      <a:pt x="28289" y="3638"/>
                    </a:cubicBezTo>
                    <a:cubicBezTo>
                      <a:pt x="28004" y="2114"/>
                      <a:pt x="24289" y="590"/>
                      <a:pt x="19336" y="114"/>
                    </a:cubicBezTo>
                    <a:cubicBezTo>
                      <a:pt x="16383" y="-172"/>
                      <a:pt x="12859" y="114"/>
                      <a:pt x="9430" y="590"/>
                    </a:cubicBezTo>
                    <a:cubicBezTo>
                      <a:pt x="5715" y="1066"/>
                      <a:pt x="2286" y="1638"/>
                      <a:pt x="0" y="3352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3" name="Freeform: Shape 572">
                <a:extLst>
                  <a:ext uri="{FF2B5EF4-FFF2-40B4-BE49-F238E27FC236}">
                    <a16:creationId xmlns:a16="http://schemas.microsoft.com/office/drawing/2014/main" id="{8AB7291C-D6E9-3F49-6CB3-41FEE1F8F526}"/>
                  </a:ext>
                </a:extLst>
              </p:cNvPr>
              <p:cNvSpPr/>
              <p:nvPr/>
            </p:nvSpPr>
            <p:spPr>
              <a:xfrm>
                <a:off x="5041089" y="4981955"/>
                <a:ext cx="36430" cy="105677"/>
              </a:xfrm>
              <a:custGeom>
                <a:avLst/>
                <a:gdLst>
                  <a:gd name="connsiteX0" fmla="*/ 24956 w 24955"/>
                  <a:gd name="connsiteY0" fmla="*/ 0 h 72390"/>
                  <a:gd name="connsiteX1" fmla="*/ 24956 w 24955"/>
                  <a:gd name="connsiteY1" fmla="*/ 0 h 72390"/>
                  <a:gd name="connsiteX2" fmla="*/ 20765 w 24955"/>
                  <a:gd name="connsiteY2" fmla="*/ 10097 h 72390"/>
                  <a:gd name="connsiteX3" fmla="*/ 17050 w 24955"/>
                  <a:gd name="connsiteY3" fmla="*/ 20384 h 72390"/>
                  <a:gd name="connsiteX4" fmla="*/ 14288 w 24955"/>
                  <a:gd name="connsiteY4" fmla="*/ 30956 h 72390"/>
                  <a:gd name="connsiteX5" fmla="*/ 10859 w 24955"/>
                  <a:gd name="connsiteY5" fmla="*/ 41529 h 72390"/>
                  <a:gd name="connsiteX6" fmla="*/ 6858 w 24955"/>
                  <a:gd name="connsiteY6" fmla="*/ 51530 h 72390"/>
                  <a:gd name="connsiteX7" fmla="*/ 3429 w 24955"/>
                  <a:gd name="connsiteY7" fmla="*/ 62103 h 72390"/>
                  <a:gd name="connsiteX8" fmla="*/ 0 w 24955"/>
                  <a:gd name="connsiteY8" fmla="*/ 72390 h 7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955" h="72390">
                    <a:moveTo>
                      <a:pt x="24956" y="0"/>
                    </a:moveTo>
                    <a:lnTo>
                      <a:pt x="24956" y="0"/>
                    </a:lnTo>
                    <a:cubicBezTo>
                      <a:pt x="23241" y="5048"/>
                      <a:pt x="22479" y="4763"/>
                      <a:pt x="20765" y="10097"/>
                    </a:cubicBezTo>
                    <a:cubicBezTo>
                      <a:pt x="19050" y="15335"/>
                      <a:pt x="18764" y="15145"/>
                      <a:pt x="17050" y="20384"/>
                    </a:cubicBezTo>
                    <a:cubicBezTo>
                      <a:pt x="15050" y="25432"/>
                      <a:pt x="16288" y="25908"/>
                      <a:pt x="14288" y="30956"/>
                    </a:cubicBezTo>
                    <a:cubicBezTo>
                      <a:pt x="12573" y="36195"/>
                      <a:pt x="12573" y="36195"/>
                      <a:pt x="10859" y="41529"/>
                    </a:cubicBezTo>
                    <a:cubicBezTo>
                      <a:pt x="9144" y="46577"/>
                      <a:pt x="8668" y="46577"/>
                      <a:pt x="6858" y="51530"/>
                    </a:cubicBezTo>
                    <a:cubicBezTo>
                      <a:pt x="4858" y="56769"/>
                      <a:pt x="5334" y="56769"/>
                      <a:pt x="3429" y="62103"/>
                    </a:cubicBezTo>
                    <a:cubicBezTo>
                      <a:pt x="1715" y="67151"/>
                      <a:pt x="1715" y="67151"/>
                      <a:pt x="0" y="7239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4" name="Freeform: Shape 573">
                <a:extLst>
                  <a:ext uri="{FF2B5EF4-FFF2-40B4-BE49-F238E27FC236}">
                    <a16:creationId xmlns:a16="http://schemas.microsoft.com/office/drawing/2014/main" id="{BE9758B5-A27A-2F25-AD70-2F31BE691AC3}"/>
                  </a:ext>
                </a:extLst>
              </p:cNvPr>
              <p:cNvSpPr/>
              <p:nvPr/>
            </p:nvSpPr>
            <p:spPr>
              <a:xfrm>
                <a:off x="5122710" y="5074701"/>
                <a:ext cx="35456" cy="281016"/>
              </a:xfrm>
              <a:custGeom>
                <a:avLst/>
                <a:gdLst>
                  <a:gd name="connsiteX0" fmla="*/ 286 w 24288"/>
                  <a:gd name="connsiteY0" fmla="*/ 0 h 192500"/>
                  <a:gd name="connsiteX1" fmla="*/ 286 w 24288"/>
                  <a:gd name="connsiteY1" fmla="*/ 0 h 192500"/>
                  <a:gd name="connsiteX2" fmla="*/ 0 w 24288"/>
                  <a:gd name="connsiteY2" fmla="*/ 11525 h 192500"/>
                  <a:gd name="connsiteX3" fmla="*/ 0 w 24288"/>
                  <a:gd name="connsiteY3" fmla="*/ 22860 h 192500"/>
                  <a:gd name="connsiteX4" fmla="*/ 0 w 24288"/>
                  <a:gd name="connsiteY4" fmla="*/ 34385 h 192500"/>
                  <a:gd name="connsiteX5" fmla="*/ 286 w 24288"/>
                  <a:gd name="connsiteY5" fmla="*/ 45910 h 192500"/>
                  <a:gd name="connsiteX6" fmla="*/ 572 w 24288"/>
                  <a:gd name="connsiteY6" fmla="*/ 57245 h 192500"/>
                  <a:gd name="connsiteX7" fmla="*/ 286 w 24288"/>
                  <a:gd name="connsiteY7" fmla="*/ 68771 h 192500"/>
                  <a:gd name="connsiteX8" fmla="*/ 1238 w 24288"/>
                  <a:gd name="connsiteY8" fmla="*/ 80105 h 192500"/>
                  <a:gd name="connsiteX9" fmla="*/ 762 w 24288"/>
                  <a:gd name="connsiteY9" fmla="*/ 91631 h 192500"/>
                  <a:gd name="connsiteX10" fmla="*/ 1048 w 24288"/>
                  <a:gd name="connsiteY10" fmla="*/ 102965 h 192500"/>
                  <a:gd name="connsiteX11" fmla="*/ 3048 w 24288"/>
                  <a:gd name="connsiteY11" fmla="*/ 114300 h 192500"/>
                  <a:gd name="connsiteX12" fmla="*/ 5525 w 24288"/>
                  <a:gd name="connsiteY12" fmla="*/ 125635 h 192500"/>
                  <a:gd name="connsiteX13" fmla="*/ 8477 w 24288"/>
                  <a:gd name="connsiteY13" fmla="*/ 136969 h 192500"/>
                  <a:gd name="connsiteX14" fmla="*/ 11906 w 24288"/>
                  <a:gd name="connsiteY14" fmla="*/ 148019 h 192500"/>
                  <a:gd name="connsiteX15" fmla="*/ 14859 w 24288"/>
                  <a:gd name="connsiteY15" fmla="*/ 159067 h 192500"/>
                  <a:gd name="connsiteX16" fmla="*/ 17812 w 24288"/>
                  <a:gd name="connsiteY16" fmla="*/ 170117 h 192500"/>
                  <a:gd name="connsiteX17" fmla="*/ 21527 w 24288"/>
                  <a:gd name="connsiteY17" fmla="*/ 181165 h 192500"/>
                  <a:gd name="connsiteX18" fmla="*/ 24289 w 24288"/>
                  <a:gd name="connsiteY18" fmla="*/ 192500 h 19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288" h="192500">
                    <a:moveTo>
                      <a:pt x="286" y="0"/>
                    </a:moveTo>
                    <a:lnTo>
                      <a:pt x="286" y="0"/>
                    </a:lnTo>
                    <a:cubicBezTo>
                      <a:pt x="286" y="5810"/>
                      <a:pt x="0" y="5810"/>
                      <a:pt x="0" y="11525"/>
                    </a:cubicBezTo>
                    <a:cubicBezTo>
                      <a:pt x="0" y="17335"/>
                      <a:pt x="286" y="17335"/>
                      <a:pt x="0" y="22860"/>
                    </a:cubicBezTo>
                    <a:cubicBezTo>
                      <a:pt x="0" y="28670"/>
                      <a:pt x="0" y="28670"/>
                      <a:pt x="0" y="34385"/>
                    </a:cubicBezTo>
                    <a:cubicBezTo>
                      <a:pt x="0" y="40196"/>
                      <a:pt x="286" y="40196"/>
                      <a:pt x="286" y="45910"/>
                    </a:cubicBezTo>
                    <a:cubicBezTo>
                      <a:pt x="286" y="51435"/>
                      <a:pt x="572" y="51435"/>
                      <a:pt x="572" y="57245"/>
                    </a:cubicBezTo>
                    <a:cubicBezTo>
                      <a:pt x="572" y="63056"/>
                      <a:pt x="286" y="63056"/>
                      <a:pt x="286" y="68771"/>
                    </a:cubicBezTo>
                    <a:cubicBezTo>
                      <a:pt x="286" y="74581"/>
                      <a:pt x="1238" y="74581"/>
                      <a:pt x="1238" y="80105"/>
                    </a:cubicBezTo>
                    <a:cubicBezTo>
                      <a:pt x="953" y="85915"/>
                      <a:pt x="762" y="85915"/>
                      <a:pt x="762" y="91631"/>
                    </a:cubicBezTo>
                    <a:cubicBezTo>
                      <a:pt x="762" y="97346"/>
                      <a:pt x="286" y="97441"/>
                      <a:pt x="1048" y="102965"/>
                    </a:cubicBezTo>
                    <a:cubicBezTo>
                      <a:pt x="1810" y="108775"/>
                      <a:pt x="1524" y="108775"/>
                      <a:pt x="3048" y="114300"/>
                    </a:cubicBezTo>
                    <a:cubicBezTo>
                      <a:pt x="4572" y="120110"/>
                      <a:pt x="4001" y="120110"/>
                      <a:pt x="5525" y="125635"/>
                    </a:cubicBezTo>
                    <a:cubicBezTo>
                      <a:pt x="7049" y="131445"/>
                      <a:pt x="7049" y="131159"/>
                      <a:pt x="8477" y="136969"/>
                    </a:cubicBezTo>
                    <a:cubicBezTo>
                      <a:pt x="10001" y="142494"/>
                      <a:pt x="10478" y="142208"/>
                      <a:pt x="11906" y="148019"/>
                    </a:cubicBezTo>
                    <a:cubicBezTo>
                      <a:pt x="13430" y="153543"/>
                      <a:pt x="13430" y="153543"/>
                      <a:pt x="14859" y="159067"/>
                    </a:cubicBezTo>
                    <a:cubicBezTo>
                      <a:pt x="16383" y="164592"/>
                      <a:pt x="16383" y="164592"/>
                      <a:pt x="17812" y="170117"/>
                    </a:cubicBezTo>
                    <a:cubicBezTo>
                      <a:pt x="19336" y="175927"/>
                      <a:pt x="20003" y="175641"/>
                      <a:pt x="21527" y="181165"/>
                    </a:cubicBezTo>
                    <a:cubicBezTo>
                      <a:pt x="22765" y="186690"/>
                      <a:pt x="22765" y="186976"/>
                      <a:pt x="24289" y="19250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5" name="Freeform: Shape 574">
                <a:extLst>
                  <a:ext uri="{FF2B5EF4-FFF2-40B4-BE49-F238E27FC236}">
                    <a16:creationId xmlns:a16="http://schemas.microsoft.com/office/drawing/2014/main" id="{53F4E53A-A5A0-5678-050E-3655C059BC2E}"/>
                  </a:ext>
                </a:extLst>
              </p:cNvPr>
              <p:cNvSpPr/>
              <p:nvPr/>
            </p:nvSpPr>
            <p:spPr>
              <a:xfrm>
                <a:off x="5054995" y="5208464"/>
                <a:ext cx="61180" cy="149893"/>
              </a:xfrm>
              <a:custGeom>
                <a:avLst/>
                <a:gdLst>
                  <a:gd name="connsiteX0" fmla="*/ 41910 w 41909"/>
                  <a:gd name="connsiteY0" fmla="*/ 102679 h 102679"/>
                  <a:gd name="connsiteX1" fmla="*/ 41910 w 41909"/>
                  <a:gd name="connsiteY1" fmla="*/ 102679 h 102679"/>
                  <a:gd name="connsiteX2" fmla="*/ 38195 w 41909"/>
                  <a:gd name="connsiteY2" fmla="*/ 92107 h 102679"/>
                  <a:gd name="connsiteX3" fmla="*/ 34004 w 41909"/>
                  <a:gd name="connsiteY3" fmla="*/ 82105 h 102679"/>
                  <a:gd name="connsiteX4" fmla="*/ 29527 w 41909"/>
                  <a:gd name="connsiteY4" fmla="*/ 71818 h 102679"/>
                  <a:gd name="connsiteX5" fmla="*/ 25813 w 41909"/>
                  <a:gd name="connsiteY5" fmla="*/ 61246 h 102679"/>
                  <a:gd name="connsiteX6" fmla="*/ 21336 w 41909"/>
                  <a:gd name="connsiteY6" fmla="*/ 51244 h 102679"/>
                  <a:gd name="connsiteX7" fmla="*/ 17145 w 41909"/>
                  <a:gd name="connsiteY7" fmla="*/ 40957 h 102679"/>
                  <a:gd name="connsiteX8" fmla="*/ 12668 w 41909"/>
                  <a:gd name="connsiteY8" fmla="*/ 30861 h 102679"/>
                  <a:gd name="connsiteX9" fmla="*/ 7715 w 41909"/>
                  <a:gd name="connsiteY9" fmla="*/ 20860 h 102679"/>
                  <a:gd name="connsiteX10" fmla="*/ 4000 w 41909"/>
                  <a:gd name="connsiteY10" fmla="*/ 10287 h 102679"/>
                  <a:gd name="connsiteX11" fmla="*/ 0 w 41909"/>
                  <a:gd name="connsiteY11" fmla="*/ 0 h 10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909" h="102679">
                    <a:moveTo>
                      <a:pt x="41910" y="102679"/>
                    </a:moveTo>
                    <a:lnTo>
                      <a:pt x="41910" y="102679"/>
                    </a:lnTo>
                    <a:cubicBezTo>
                      <a:pt x="39719" y="97631"/>
                      <a:pt x="40386" y="97441"/>
                      <a:pt x="38195" y="92107"/>
                    </a:cubicBezTo>
                    <a:cubicBezTo>
                      <a:pt x="36195" y="87058"/>
                      <a:pt x="36005" y="87058"/>
                      <a:pt x="34004" y="82105"/>
                    </a:cubicBezTo>
                    <a:cubicBezTo>
                      <a:pt x="31814" y="76867"/>
                      <a:pt x="31528" y="77057"/>
                      <a:pt x="29527" y="71818"/>
                    </a:cubicBezTo>
                    <a:cubicBezTo>
                      <a:pt x="27337" y="66770"/>
                      <a:pt x="28004" y="66580"/>
                      <a:pt x="25813" y="61246"/>
                    </a:cubicBezTo>
                    <a:cubicBezTo>
                      <a:pt x="23622" y="56197"/>
                      <a:pt x="23622" y="56197"/>
                      <a:pt x="21336" y="51244"/>
                    </a:cubicBezTo>
                    <a:cubicBezTo>
                      <a:pt x="19336" y="46196"/>
                      <a:pt x="19145" y="46196"/>
                      <a:pt x="17145" y="40957"/>
                    </a:cubicBezTo>
                    <a:cubicBezTo>
                      <a:pt x="14954" y="35909"/>
                      <a:pt x="14669" y="35909"/>
                      <a:pt x="12668" y="30861"/>
                    </a:cubicBezTo>
                    <a:cubicBezTo>
                      <a:pt x="10478" y="25622"/>
                      <a:pt x="9906" y="25813"/>
                      <a:pt x="7715" y="20860"/>
                    </a:cubicBezTo>
                    <a:cubicBezTo>
                      <a:pt x="5525" y="15811"/>
                      <a:pt x="6001" y="15621"/>
                      <a:pt x="4000" y="10287"/>
                    </a:cubicBezTo>
                    <a:cubicBezTo>
                      <a:pt x="1810" y="5239"/>
                      <a:pt x="2000" y="5048"/>
                      <a:pt x="0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6" name="Freeform: Shape 575">
                <a:extLst>
                  <a:ext uri="{FF2B5EF4-FFF2-40B4-BE49-F238E27FC236}">
                    <a16:creationId xmlns:a16="http://schemas.microsoft.com/office/drawing/2014/main" id="{1DC02A6F-7CD5-D68E-B16F-2671228CF77D}"/>
                  </a:ext>
                </a:extLst>
              </p:cNvPr>
              <p:cNvSpPr/>
              <p:nvPr/>
            </p:nvSpPr>
            <p:spPr>
              <a:xfrm>
                <a:off x="5040950" y="5277016"/>
                <a:ext cx="25306" cy="66603"/>
              </a:xfrm>
              <a:custGeom>
                <a:avLst/>
                <a:gdLst>
                  <a:gd name="connsiteX0" fmla="*/ 17336 w 17335"/>
                  <a:gd name="connsiteY0" fmla="*/ 0 h 45624"/>
                  <a:gd name="connsiteX1" fmla="*/ 17336 w 17335"/>
                  <a:gd name="connsiteY1" fmla="*/ 0 h 45624"/>
                  <a:gd name="connsiteX2" fmla="*/ 13145 w 17335"/>
                  <a:gd name="connsiteY2" fmla="*/ 11525 h 45624"/>
                  <a:gd name="connsiteX3" fmla="*/ 9430 w 17335"/>
                  <a:gd name="connsiteY3" fmla="*/ 23050 h 45624"/>
                  <a:gd name="connsiteX4" fmla="*/ 5239 w 17335"/>
                  <a:gd name="connsiteY4" fmla="*/ 34576 h 45624"/>
                  <a:gd name="connsiteX5" fmla="*/ 0 w 17335"/>
                  <a:gd name="connsiteY5" fmla="*/ 45625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335" h="45624">
                    <a:moveTo>
                      <a:pt x="17336" y="0"/>
                    </a:moveTo>
                    <a:lnTo>
                      <a:pt x="17336" y="0"/>
                    </a:lnTo>
                    <a:cubicBezTo>
                      <a:pt x="15335" y="5810"/>
                      <a:pt x="15145" y="5810"/>
                      <a:pt x="13145" y="11525"/>
                    </a:cubicBezTo>
                    <a:cubicBezTo>
                      <a:pt x="10954" y="17050"/>
                      <a:pt x="11430" y="17335"/>
                      <a:pt x="9430" y="23050"/>
                    </a:cubicBezTo>
                    <a:cubicBezTo>
                      <a:pt x="7239" y="28861"/>
                      <a:pt x="7430" y="28861"/>
                      <a:pt x="5239" y="34576"/>
                    </a:cubicBezTo>
                    <a:cubicBezTo>
                      <a:pt x="3239" y="40386"/>
                      <a:pt x="2000" y="39814"/>
                      <a:pt x="0" y="45625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77" name="Freeform: Shape 576">
                <a:extLst>
                  <a:ext uri="{FF2B5EF4-FFF2-40B4-BE49-F238E27FC236}">
                    <a16:creationId xmlns:a16="http://schemas.microsoft.com/office/drawing/2014/main" id="{B79D66BB-2DA2-29A5-7222-A1F2C6B23113}"/>
                  </a:ext>
                </a:extLst>
              </p:cNvPr>
              <p:cNvSpPr/>
              <p:nvPr/>
            </p:nvSpPr>
            <p:spPr>
              <a:xfrm>
                <a:off x="5042480" y="5201374"/>
                <a:ext cx="80925" cy="22802"/>
              </a:xfrm>
              <a:custGeom>
                <a:avLst/>
                <a:gdLst>
                  <a:gd name="connsiteX0" fmla="*/ 55436 w 55435"/>
                  <a:gd name="connsiteY0" fmla="*/ 15621 h 15620"/>
                  <a:gd name="connsiteX1" fmla="*/ 55436 w 55435"/>
                  <a:gd name="connsiteY1" fmla="*/ 15621 h 15620"/>
                  <a:gd name="connsiteX2" fmla="*/ 44006 w 55435"/>
                  <a:gd name="connsiteY2" fmla="*/ 13906 h 15620"/>
                  <a:gd name="connsiteX3" fmla="*/ 33147 w 55435"/>
                  <a:gd name="connsiteY3" fmla="*/ 10096 h 15620"/>
                  <a:gd name="connsiteX4" fmla="*/ 21717 w 55435"/>
                  <a:gd name="connsiteY4" fmla="*/ 7048 h 15620"/>
                  <a:gd name="connsiteX5" fmla="*/ 10859 w 55435"/>
                  <a:gd name="connsiteY5" fmla="*/ 3238 h 15620"/>
                  <a:gd name="connsiteX6" fmla="*/ 0 w 55435"/>
                  <a:gd name="connsiteY6" fmla="*/ 0 h 15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435" h="15620">
                    <a:moveTo>
                      <a:pt x="55436" y="15621"/>
                    </a:moveTo>
                    <a:lnTo>
                      <a:pt x="55436" y="15621"/>
                    </a:lnTo>
                    <a:cubicBezTo>
                      <a:pt x="50006" y="14097"/>
                      <a:pt x="49530" y="15335"/>
                      <a:pt x="44006" y="13906"/>
                    </a:cubicBezTo>
                    <a:cubicBezTo>
                      <a:pt x="38290" y="12192"/>
                      <a:pt x="38576" y="11621"/>
                      <a:pt x="33147" y="10096"/>
                    </a:cubicBezTo>
                    <a:cubicBezTo>
                      <a:pt x="27432" y="8382"/>
                      <a:pt x="27432" y="8858"/>
                      <a:pt x="21717" y="7048"/>
                    </a:cubicBezTo>
                    <a:cubicBezTo>
                      <a:pt x="16288" y="5525"/>
                      <a:pt x="16478" y="5048"/>
                      <a:pt x="10859" y="3238"/>
                    </a:cubicBezTo>
                    <a:cubicBezTo>
                      <a:pt x="5429" y="1715"/>
                      <a:pt x="5429" y="1524"/>
                      <a:pt x="0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1498EF2B-D447-F3E6-5929-AFD13396187B}"/>
                </a:ext>
              </a:extLst>
            </p:cNvPr>
            <p:cNvSpPr/>
            <p:nvPr/>
          </p:nvSpPr>
          <p:spPr>
            <a:xfrm>
              <a:off x="5573366" y="4392339"/>
              <a:ext cx="126672" cy="154951"/>
            </a:xfrm>
            <a:custGeom>
              <a:avLst/>
              <a:gdLst>
                <a:gd name="connsiteX0" fmla="*/ 86773 w 86772"/>
                <a:gd name="connsiteY0" fmla="*/ 52899 h 106144"/>
                <a:gd name="connsiteX1" fmla="*/ 86773 w 86772"/>
                <a:gd name="connsiteY1" fmla="*/ 52899 h 106144"/>
                <a:gd name="connsiteX2" fmla="*/ 86011 w 86772"/>
                <a:gd name="connsiteY2" fmla="*/ 63948 h 106144"/>
                <a:gd name="connsiteX3" fmla="*/ 81820 w 86772"/>
                <a:gd name="connsiteY3" fmla="*/ 74235 h 106144"/>
                <a:gd name="connsiteX4" fmla="*/ 77629 w 86772"/>
                <a:gd name="connsiteY4" fmla="*/ 84046 h 106144"/>
                <a:gd name="connsiteX5" fmla="*/ 71438 w 86772"/>
                <a:gd name="connsiteY5" fmla="*/ 93095 h 106144"/>
                <a:gd name="connsiteX6" fmla="*/ 63532 w 86772"/>
                <a:gd name="connsiteY6" fmla="*/ 100334 h 106144"/>
                <a:gd name="connsiteX7" fmla="*/ 53626 w 86772"/>
                <a:gd name="connsiteY7" fmla="*/ 104620 h 106144"/>
                <a:gd name="connsiteX8" fmla="*/ 43243 w 86772"/>
                <a:gd name="connsiteY8" fmla="*/ 106144 h 106144"/>
                <a:gd name="connsiteX9" fmla="*/ 32575 w 86772"/>
                <a:gd name="connsiteY9" fmla="*/ 104906 h 106144"/>
                <a:gd name="connsiteX10" fmla="*/ 23146 w 86772"/>
                <a:gd name="connsiteY10" fmla="*/ 100143 h 106144"/>
                <a:gd name="connsiteX11" fmla="*/ 15240 w 86772"/>
                <a:gd name="connsiteY11" fmla="*/ 92904 h 106144"/>
                <a:gd name="connsiteX12" fmla="*/ 8096 w 86772"/>
                <a:gd name="connsiteY12" fmla="*/ 84618 h 106144"/>
                <a:gd name="connsiteX13" fmla="*/ 3429 w 86772"/>
                <a:gd name="connsiteY13" fmla="*/ 74807 h 106144"/>
                <a:gd name="connsiteX14" fmla="*/ 1238 w 86772"/>
                <a:gd name="connsiteY14" fmla="*/ 64044 h 106144"/>
                <a:gd name="connsiteX15" fmla="*/ 0 w 86772"/>
                <a:gd name="connsiteY15" fmla="*/ 52995 h 106144"/>
                <a:gd name="connsiteX16" fmla="*/ 1238 w 86772"/>
                <a:gd name="connsiteY16" fmla="*/ 42231 h 106144"/>
                <a:gd name="connsiteX17" fmla="*/ 4000 w 86772"/>
                <a:gd name="connsiteY17" fmla="*/ 31659 h 106144"/>
                <a:gd name="connsiteX18" fmla="*/ 8668 w 86772"/>
                <a:gd name="connsiteY18" fmla="*/ 21848 h 106144"/>
                <a:gd name="connsiteX19" fmla="*/ 14573 w 86772"/>
                <a:gd name="connsiteY19" fmla="*/ 12799 h 106144"/>
                <a:gd name="connsiteX20" fmla="*/ 22765 w 86772"/>
                <a:gd name="connsiteY20" fmla="*/ 5560 h 106144"/>
                <a:gd name="connsiteX21" fmla="*/ 32671 w 86772"/>
                <a:gd name="connsiteY21" fmla="*/ 798 h 106144"/>
                <a:gd name="connsiteX22" fmla="*/ 43339 w 86772"/>
                <a:gd name="connsiteY22" fmla="*/ 36 h 106144"/>
                <a:gd name="connsiteX23" fmla="*/ 53721 w 86772"/>
                <a:gd name="connsiteY23" fmla="*/ 1560 h 106144"/>
                <a:gd name="connsiteX24" fmla="*/ 63341 w 86772"/>
                <a:gd name="connsiteY24" fmla="*/ 6036 h 106144"/>
                <a:gd name="connsiteX25" fmla="*/ 71723 w 86772"/>
                <a:gd name="connsiteY25" fmla="*/ 12799 h 106144"/>
                <a:gd name="connsiteX26" fmla="*/ 78867 w 86772"/>
                <a:gd name="connsiteY26" fmla="*/ 21086 h 106144"/>
                <a:gd name="connsiteX27" fmla="*/ 82296 w 86772"/>
                <a:gd name="connsiteY27" fmla="*/ 31659 h 106144"/>
                <a:gd name="connsiteX28" fmla="*/ 85058 w 86772"/>
                <a:gd name="connsiteY28" fmla="*/ 42231 h 106144"/>
                <a:gd name="connsiteX29" fmla="*/ 86773 w 86772"/>
                <a:gd name="connsiteY29" fmla="*/ 52899 h 106144"/>
                <a:gd name="connsiteX30" fmla="*/ 86773 w 86772"/>
                <a:gd name="connsiteY30" fmla="*/ 52899 h 106144"/>
                <a:gd name="connsiteX31" fmla="*/ 86773 w 86772"/>
                <a:gd name="connsiteY31" fmla="*/ 52899 h 106144"/>
                <a:gd name="connsiteX32" fmla="*/ 86773 w 86772"/>
                <a:gd name="connsiteY32" fmla="*/ 52899 h 106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6772" h="106144">
                  <a:moveTo>
                    <a:pt x="86773" y="52899"/>
                  </a:moveTo>
                  <a:lnTo>
                    <a:pt x="86773" y="52899"/>
                  </a:lnTo>
                  <a:cubicBezTo>
                    <a:pt x="86773" y="56709"/>
                    <a:pt x="86487" y="60424"/>
                    <a:pt x="86011" y="63948"/>
                  </a:cubicBezTo>
                  <a:cubicBezTo>
                    <a:pt x="85534" y="67758"/>
                    <a:pt x="83058" y="70997"/>
                    <a:pt x="81820" y="74235"/>
                  </a:cubicBezTo>
                  <a:cubicBezTo>
                    <a:pt x="80581" y="77760"/>
                    <a:pt x="79343" y="80998"/>
                    <a:pt x="77629" y="84046"/>
                  </a:cubicBezTo>
                  <a:cubicBezTo>
                    <a:pt x="75628" y="87285"/>
                    <a:pt x="73914" y="90333"/>
                    <a:pt x="71438" y="93095"/>
                  </a:cubicBezTo>
                  <a:cubicBezTo>
                    <a:pt x="68961" y="95857"/>
                    <a:pt x="66484" y="98619"/>
                    <a:pt x="63532" y="100334"/>
                  </a:cubicBezTo>
                  <a:cubicBezTo>
                    <a:pt x="60579" y="102620"/>
                    <a:pt x="57055" y="103572"/>
                    <a:pt x="53626" y="104620"/>
                  </a:cubicBezTo>
                  <a:cubicBezTo>
                    <a:pt x="50197" y="105668"/>
                    <a:pt x="46958" y="106144"/>
                    <a:pt x="43243" y="106144"/>
                  </a:cubicBezTo>
                  <a:cubicBezTo>
                    <a:pt x="39529" y="106144"/>
                    <a:pt x="36100" y="105858"/>
                    <a:pt x="32575" y="104906"/>
                  </a:cubicBezTo>
                  <a:cubicBezTo>
                    <a:pt x="29146" y="103858"/>
                    <a:pt x="26098" y="102144"/>
                    <a:pt x="23146" y="100143"/>
                  </a:cubicBezTo>
                  <a:cubicBezTo>
                    <a:pt x="20193" y="98143"/>
                    <a:pt x="17716" y="95667"/>
                    <a:pt x="15240" y="92904"/>
                  </a:cubicBezTo>
                  <a:cubicBezTo>
                    <a:pt x="12764" y="90142"/>
                    <a:pt x="10001" y="87856"/>
                    <a:pt x="8096" y="84618"/>
                  </a:cubicBezTo>
                  <a:cubicBezTo>
                    <a:pt x="6382" y="81570"/>
                    <a:pt x="4667" y="78331"/>
                    <a:pt x="3429" y="74807"/>
                  </a:cubicBezTo>
                  <a:cubicBezTo>
                    <a:pt x="2191" y="71283"/>
                    <a:pt x="1715" y="67758"/>
                    <a:pt x="1238" y="64044"/>
                  </a:cubicBezTo>
                  <a:cubicBezTo>
                    <a:pt x="476" y="60519"/>
                    <a:pt x="0" y="56805"/>
                    <a:pt x="0" y="52995"/>
                  </a:cubicBezTo>
                  <a:cubicBezTo>
                    <a:pt x="0" y="49185"/>
                    <a:pt x="762" y="45756"/>
                    <a:pt x="1238" y="42231"/>
                  </a:cubicBezTo>
                  <a:cubicBezTo>
                    <a:pt x="2000" y="38421"/>
                    <a:pt x="2762" y="34992"/>
                    <a:pt x="4000" y="31659"/>
                  </a:cubicBezTo>
                  <a:cubicBezTo>
                    <a:pt x="5239" y="28134"/>
                    <a:pt x="6953" y="24896"/>
                    <a:pt x="8668" y="21848"/>
                  </a:cubicBezTo>
                  <a:cubicBezTo>
                    <a:pt x="10382" y="18609"/>
                    <a:pt x="12382" y="15276"/>
                    <a:pt x="14573" y="12799"/>
                  </a:cubicBezTo>
                  <a:cubicBezTo>
                    <a:pt x="17050" y="10037"/>
                    <a:pt x="19812" y="7560"/>
                    <a:pt x="22765" y="5560"/>
                  </a:cubicBezTo>
                  <a:cubicBezTo>
                    <a:pt x="25717" y="3560"/>
                    <a:pt x="29242" y="1750"/>
                    <a:pt x="32671" y="798"/>
                  </a:cubicBezTo>
                  <a:cubicBezTo>
                    <a:pt x="35909" y="-250"/>
                    <a:pt x="39624" y="36"/>
                    <a:pt x="43339" y="36"/>
                  </a:cubicBezTo>
                  <a:cubicBezTo>
                    <a:pt x="47053" y="36"/>
                    <a:pt x="50292" y="512"/>
                    <a:pt x="53721" y="1560"/>
                  </a:cubicBezTo>
                  <a:cubicBezTo>
                    <a:pt x="57150" y="2607"/>
                    <a:pt x="60389" y="4036"/>
                    <a:pt x="63341" y="6036"/>
                  </a:cubicBezTo>
                  <a:cubicBezTo>
                    <a:pt x="66294" y="8037"/>
                    <a:pt x="69247" y="10037"/>
                    <a:pt x="71723" y="12799"/>
                  </a:cubicBezTo>
                  <a:cubicBezTo>
                    <a:pt x="74200" y="15276"/>
                    <a:pt x="76962" y="17847"/>
                    <a:pt x="78867" y="21086"/>
                  </a:cubicBezTo>
                  <a:cubicBezTo>
                    <a:pt x="80581" y="24324"/>
                    <a:pt x="81343" y="28134"/>
                    <a:pt x="82296" y="31659"/>
                  </a:cubicBezTo>
                  <a:cubicBezTo>
                    <a:pt x="83534" y="34897"/>
                    <a:pt x="84487" y="38421"/>
                    <a:pt x="85058" y="42231"/>
                  </a:cubicBezTo>
                  <a:cubicBezTo>
                    <a:pt x="85820" y="45565"/>
                    <a:pt x="86773" y="49089"/>
                    <a:pt x="86773" y="52899"/>
                  </a:cubicBezTo>
                  <a:lnTo>
                    <a:pt x="86773" y="52899"/>
                  </a:lnTo>
                  <a:lnTo>
                    <a:pt x="86773" y="52899"/>
                  </a:lnTo>
                  <a:lnTo>
                    <a:pt x="86773" y="52899"/>
                  </a:lnTo>
                  <a:close/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AABB4A42-206C-96D1-781C-E032696957CD}"/>
                </a:ext>
              </a:extLst>
            </p:cNvPr>
            <p:cNvSpPr/>
            <p:nvPr/>
          </p:nvSpPr>
          <p:spPr>
            <a:xfrm>
              <a:off x="5514075" y="4561197"/>
              <a:ext cx="103488" cy="175828"/>
            </a:xfrm>
            <a:custGeom>
              <a:avLst/>
              <a:gdLst>
                <a:gd name="connsiteX0" fmla="*/ 60046 w 70891"/>
                <a:gd name="connsiteY0" fmla="*/ 0 h 120445"/>
                <a:gd name="connsiteX1" fmla="*/ 60046 w 70891"/>
                <a:gd name="connsiteY1" fmla="*/ 0 h 120445"/>
                <a:gd name="connsiteX2" fmla="*/ 56807 w 70891"/>
                <a:gd name="connsiteY2" fmla="*/ 11049 h 120445"/>
                <a:gd name="connsiteX3" fmla="*/ 52140 w 70891"/>
                <a:gd name="connsiteY3" fmla="*/ 21622 h 120445"/>
                <a:gd name="connsiteX4" fmla="*/ 48425 w 70891"/>
                <a:gd name="connsiteY4" fmla="*/ 32385 h 120445"/>
                <a:gd name="connsiteX5" fmla="*/ 44996 w 70891"/>
                <a:gd name="connsiteY5" fmla="*/ 43148 h 120445"/>
                <a:gd name="connsiteX6" fmla="*/ 40996 w 70891"/>
                <a:gd name="connsiteY6" fmla="*/ 53912 h 120445"/>
                <a:gd name="connsiteX7" fmla="*/ 36519 w 70891"/>
                <a:gd name="connsiteY7" fmla="*/ 64675 h 120445"/>
                <a:gd name="connsiteX8" fmla="*/ 32519 w 70891"/>
                <a:gd name="connsiteY8" fmla="*/ 75248 h 120445"/>
                <a:gd name="connsiteX9" fmla="*/ 28042 w 70891"/>
                <a:gd name="connsiteY9" fmla="*/ 85820 h 120445"/>
                <a:gd name="connsiteX10" fmla="*/ 24613 w 70891"/>
                <a:gd name="connsiteY10" fmla="*/ 96869 h 120445"/>
                <a:gd name="connsiteX11" fmla="*/ 19184 w 70891"/>
                <a:gd name="connsiteY11" fmla="*/ 106871 h 120445"/>
                <a:gd name="connsiteX12" fmla="*/ 10802 w 70891"/>
                <a:gd name="connsiteY12" fmla="*/ 112395 h 120445"/>
                <a:gd name="connsiteX13" fmla="*/ 896 w 70891"/>
                <a:gd name="connsiteY13" fmla="*/ 113157 h 120445"/>
                <a:gd name="connsiteX14" fmla="*/ 10040 w 70891"/>
                <a:gd name="connsiteY14" fmla="*/ 116205 h 120445"/>
                <a:gd name="connsiteX15" fmla="*/ 19946 w 70891"/>
                <a:gd name="connsiteY15" fmla="*/ 119729 h 120445"/>
                <a:gd name="connsiteX16" fmla="*/ 30328 w 70891"/>
                <a:gd name="connsiteY16" fmla="*/ 119444 h 120445"/>
                <a:gd name="connsiteX17" fmla="*/ 36519 w 70891"/>
                <a:gd name="connsiteY17" fmla="*/ 109919 h 120445"/>
                <a:gd name="connsiteX18" fmla="*/ 40996 w 70891"/>
                <a:gd name="connsiteY18" fmla="*/ 99631 h 120445"/>
                <a:gd name="connsiteX19" fmla="*/ 46711 w 70891"/>
                <a:gd name="connsiteY19" fmla="*/ 89821 h 120445"/>
                <a:gd name="connsiteX20" fmla="*/ 50426 w 70891"/>
                <a:gd name="connsiteY20" fmla="*/ 79057 h 120445"/>
                <a:gd name="connsiteX21" fmla="*/ 53855 w 70891"/>
                <a:gd name="connsiteY21" fmla="*/ 68294 h 120445"/>
                <a:gd name="connsiteX22" fmla="*/ 58331 w 70891"/>
                <a:gd name="connsiteY22" fmla="*/ 58007 h 120445"/>
                <a:gd name="connsiteX23" fmla="*/ 62999 w 70891"/>
                <a:gd name="connsiteY23" fmla="*/ 47720 h 120445"/>
                <a:gd name="connsiteX24" fmla="*/ 67475 w 70891"/>
                <a:gd name="connsiteY24" fmla="*/ 37433 h 120445"/>
                <a:gd name="connsiteX25" fmla="*/ 70714 w 70891"/>
                <a:gd name="connsiteY25" fmla="*/ 26670 h 120445"/>
                <a:gd name="connsiteX26" fmla="*/ 68999 w 70891"/>
                <a:gd name="connsiteY26" fmla="*/ 37433 h 120445"/>
                <a:gd name="connsiteX27" fmla="*/ 65570 w 70891"/>
                <a:gd name="connsiteY27" fmla="*/ 48006 h 120445"/>
                <a:gd name="connsiteX28" fmla="*/ 63570 w 70891"/>
                <a:gd name="connsiteY28" fmla="*/ 59055 h 120445"/>
                <a:gd name="connsiteX29" fmla="*/ 61856 w 70891"/>
                <a:gd name="connsiteY29" fmla="*/ 69818 h 120445"/>
                <a:gd name="connsiteX30" fmla="*/ 59093 w 70891"/>
                <a:gd name="connsiteY30" fmla="*/ 80581 h 120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0891" h="120445">
                  <a:moveTo>
                    <a:pt x="60046" y="0"/>
                  </a:moveTo>
                  <a:lnTo>
                    <a:pt x="60046" y="0"/>
                  </a:lnTo>
                  <a:cubicBezTo>
                    <a:pt x="58046" y="5524"/>
                    <a:pt x="59284" y="4477"/>
                    <a:pt x="56807" y="11049"/>
                  </a:cubicBezTo>
                  <a:cubicBezTo>
                    <a:pt x="55569" y="14097"/>
                    <a:pt x="53569" y="17621"/>
                    <a:pt x="52140" y="21622"/>
                  </a:cubicBezTo>
                  <a:cubicBezTo>
                    <a:pt x="50902" y="24860"/>
                    <a:pt x="49664" y="28670"/>
                    <a:pt x="48425" y="32385"/>
                  </a:cubicBezTo>
                  <a:cubicBezTo>
                    <a:pt x="47187" y="35909"/>
                    <a:pt x="46235" y="39624"/>
                    <a:pt x="44996" y="43148"/>
                  </a:cubicBezTo>
                  <a:cubicBezTo>
                    <a:pt x="43472" y="46672"/>
                    <a:pt x="42520" y="50387"/>
                    <a:pt x="40996" y="53912"/>
                  </a:cubicBezTo>
                  <a:cubicBezTo>
                    <a:pt x="39758" y="57721"/>
                    <a:pt x="38043" y="60960"/>
                    <a:pt x="36519" y="64675"/>
                  </a:cubicBezTo>
                  <a:cubicBezTo>
                    <a:pt x="35281" y="68199"/>
                    <a:pt x="33757" y="71723"/>
                    <a:pt x="32519" y="75248"/>
                  </a:cubicBezTo>
                  <a:cubicBezTo>
                    <a:pt x="30995" y="79057"/>
                    <a:pt x="29566" y="82487"/>
                    <a:pt x="28042" y="85820"/>
                  </a:cubicBezTo>
                  <a:cubicBezTo>
                    <a:pt x="26518" y="89821"/>
                    <a:pt x="25851" y="93821"/>
                    <a:pt x="24613" y="96869"/>
                  </a:cubicBezTo>
                  <a:cubicBezTo>
                    <a:pt x="22422" y="102108"/>
                    <a:pt x="20136" y="105632"/>
                    <a:pt x="19184" y="106871"/>
                  </a:cubicBezTo>
                  <a:cubicBezTo>
                    <a:pt x="17183" y="110109"/>
                    <a:pt x="14231" y="111633"/>
                    <a:pt x="10802" y="112395"/>
                  </a:cubicBezTo>
                  <a:cubicBezTo>
                    <a:pt x="5563" y="113633"/>
                    <a:pt x="4325" y="109347"/>
                    <a:pt x="896" y="113157"/>
                  </a:cubicBezTo>
                  <a:cubicBezTo>
                    <a:pt x="-2533" y="117157"/>
                    <a:pt x="4610" y="114205"/>
                    <a:pt x="10040" y="116205"/>
                  </a:cubicBezTo>
                  <a:cubicBezTo>
                    <a:pt x="13278" y="117443"/>
                    <a:pt x="16517" y="119253"/>
                    <a:pt x="19946" y="119729"/>
                  </a:cubicBezTo>
                  <a:cubicBezTo>
                    <a:pt x="23946" y="120491"/>
                    <a:pt x="27851" y="120968"/>
                    <a:pt x="30328" y="119444"/>
                  </a:cubicBezTo>
                  <a:cubicBezTo>
                    <a:pt x="31852" y="118681"/>
                    <a:pt x="33757" y="114967"/>
                    <a:pt x="36519" y="109919"/>
                  </a:cubicBezTo>
                  <a:cubicBezTo>
                    <a:pt x="38043" y="106871"/>
                    <a:pt x="39281" y="103346"/>
                    <a:pt x="40996" y="99631"/>
                  </a:cubicBezTo>
                  <a:cubicBezTo>
                    <a:pt x="42520" y="96393"/>
                    <a:pt x="45187" y="93345"/>
                    <a:pt x="46711" y="89821"/>
                  </a:cubicBezTo>
                  <a:cubicBezTo>
                    <a:pt x="48235" y="86582"/>
                    <a:pt x="48902" y="82582"/>
                    <a:pt x="50426" y="79057"/>
                  </a:cubicBezTo>
                  <a:cubicBezTo>
                    <a:pt x="51950" y="75819"/>
                    <a:pt x="52426" y="71818"/>
                    <a:pt x="53855" y="68294"/>
                  </a:cubicBezTo>
                  <a:cubicBezTo>
                    <a:pt x="55093" y="64770"/>
                    <a:pt x="56807" y="61531"/>
                    <a:pt x="58331" y="58007"/>
                  </a:cubicBezTo>
                  <a:cubicBezTo>
                    <a:pt x="59855" y="54197"/>
                    <a:pt x="61760" y="50959"/>
                    <a:pt x="62999" y="47720"/>
                  </a:cubicBezTo>
                  <a:cubicBezTo>
                    <a:pt x="64523" y="43720"/>
                    <a:pt x="66237" y="40481"/>
                    <a:pt x="67475" y="37433"/>
                  </a:cubicBezTo>
                  <a:cubicBezTo>
                    <a:pt x="69666" y="30861"/>
                    <a:pt x="71476" y="20860"/>
                    <a:pt x="70714" y="26670"/>
                  </a:cubicBezTo>
                  <a:cubicBezTo>
                    <a:pt x="70238" y="31909"/>
                    <a:pt x="70238" y="32194"/>
                    <a:pt x="68999" y="37433"/>
                  </a:cubicBezTo>
                  <a:cubicBezTo>
                    <a:pt x="68047" y="42958"/>
                    <a:pt x="66809" y="42672"/>
                    <a:pt x="65570" y="48006"/>
                  </a:cubicBezTo>
                  <a:cubicBezTo>
                    <a:pt x="64618" y="53530"/>
                    <a:pt x="64618" y="53530"/>
                    <a:pt x="63570" y="59055"/>
                  </a:cubicBezTo>
                  <a:cubicBezTo>
                    <a:pt x="62332" y="64294"/>
                    <a:pt x="63094" y="64579"/>
                    <a:pt x="61856" y="69818"/>
                  </a:cubicBezTo>
                  <a:cubicBezTo>
                    <a:pt x="60617" y="75343"/>
                    <a:pt x="60141" y="75057"/>
                    <a:pt x="59093" y="80581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423EBD42-333A-56E9-6E88-5FA0DE1DE554}"/>
                </a:ext>
              </a:extLst>
            </p:cNvPr>
            <p:cNvSpPr/>
            <p:nvPr/>
          </p:nvSpPr>
          <p:spPr>
            <a:xfrm>
              <a:off x="5703375" y="4324462"/>
              <a:ext cx="59203" cy="345886"/>
            </a:xfrm>
            <a:custGeom>
              <a:avLst/>
              <a:gdLst>
                <a:gd name="connsiteX0" fmla="*/ 0 w 40555"/>
                <a:gd name="connsiteY0" fmla="*/ 236937 h 236937"/>
                <a:gd name="connsiteX1" fmla="*/ 0 w 40555"/>
                <a:gd name="connsiteY1" fmla="*/ 236937 h 236937"/>
                <a:gd name="connsiteX2" fmla="*/ 2191 w 40555"/>
                <a:gd name="connsiteY2" fmla="*/ 226365 h 236937"/>
                <a:gd name="connsiteX3" fmla="*/ 2667 w 40555"/>
                <a:gd name="connsiteY3" fmla="*/ 215316 h 236937"/>
                <a:gd name="connsiteX4" fmla="*/ 5429 w 40555"/>
                <a:gd name="connsiteY4" fmla="*/ 204743 h 236937"/>
                <a:gd name="connsiteX5" fmla="*/ 6191 w 40555"/>
                <a:gd name="connsiteY5" fmla="*/ 193694 h 236937"/>
                <a:gd name="connsiteX6" fmla="*/ 8192 w 40555"/>
                <a:gd name="connsiteY6" fmla="*/ 182931 h 236937"/>
                <a:gd name="connsiteX7" fmla="*/ 9430 w 40555"/>
                <a:gd name="connsiteY7" fmla="*/ 172167 h 236937"/>
                <a:gd name="connsiteX8" fmla="*/ 11144 w 40555"/>
                <a:gd name="connsiteY8" fmla="*/ 161404 h 236937"/>
                <a:gd name="connsiteX9" fmla="*/ 11621 w 40555"/>
                <a:gd name="connsiteY9" fmla="*/ 150355 h 236937"/>
                <a:gd name="connsiteX10" fmla="*/ 13811 w 40555"/>
                <a:gd name="connsiteY10" fmla="*/ 139782 h 236937"/>
                <a:gd name="connsiteX11" fmla="*/ 15335 w 40555"/>
                <a:gd name="connsiteY11" fmla="*/ 128733 h 236937"/>
                <a:gd name="connsiteX12" fmla="*/ 17050 w 40555"/>
                <a:gd name="connsiteY12" fmla="*/ 117970 h 236937"/>
                <a:gd name="connsiteX13" fmla="*/ 17526 w 40555"/>
                <a:gd name="connsiteY13" fmla="*/ 107207 h 236937"/>
                <a:gd name="connsiteX14" fmla="*/ 19717 w 40555"/>
                <a:gd name="connsiteY14" fmla="*/ 96444 h 236937"/>
                <a:gd name="connsiteX15" fmla="*/ 21241 w 40555"/>
                <a:gd name="connsiteY15" fmla="*/ 85680 h 236937"/>
                <a:gd name="connsiteX16" fmla="*/ 23717 w 40555"/>
                <a:gd name="connsiteY16" fmla="*/ 74917 h 236937"/>
                <a:gd name="connsiteX17" fmla="*/ 25241 w 40555"/>
                <a:gd name="connsiteY17" fmla="*/ 64154 h 236937"/>
                <a:gd name="connsiteX18" fmla="*/ 28003 w 40555"/>
                <a:gd name="connsiteY18" fmla="*/ 53391 h 236937"/>
                <a:gd name="connsiteX19" fmla="*/ 29527 w 40555"/>
                <a:gd name="connsiteY19" fmla="*/ 42627 h 236937"/>
                <a:gd name="connsiteX20" fmla="*/ 31242 w 40555"/>
                <a:gd name="connsiteY20" fmla="*/ 31864 h 236937"/>
                <a:gd name="connsiteX21" fmla="*/ 33433 w 40555"/>
                <a:gd name="connsiteY21" fmla="*/ 21101 h 236937"/>
                <a:gd name="connsiteX22" fmla="*/ 38100 w 40555"/>
                <a:gd name="connsiteY22" fmla="*/ 11576 h 236937"/>
                <a:gd name="connsiteX23" fmla="*/ 39624 w 40555"/>
                <a:gd name="connsiteY23" fmla="*/ 813 h 236937"/>
                <a:gd name="connsiteX24" fmla="*/ 31242 w 40555"/>
                <a:gd name="connsiteY24" fmla="*/ 6051 h 236937"/>
                <a:gd name="connsiteX25" fmla="*/ 25527 w 40555"/>
                <a:gd name="connsiteY25" fmla="*/ 15576 h 236937"/>
                <a:gd name="connsiteX26" fmla="*/ 22765 w 40555"/>
                <a:gd name="connsiteY26" fmla="*/ 26340 h 236937"/>
                <a:gd name="connsiteX27" fmla="*/ 18288 w 40555"/>
                <a:gd name="connsiteY27" fmla="*/ 36912 h 236937"/>
                <a:gd name="connsiteX28" fmla="*/ 16097 w 40555"/>
                <a:gd name="connsiteY28" fmla="*/ 47961 h 236937"/>
                <a:gd name="connsiteX29" fmla="*/ 13621 w 40555"/>
                <a:gd name="connsiteY29" fmla="*/ 59010 h 236937"/>
                <a:gd name="connsiteX30" fmla="*/ 11144 w 40555"/>
                <a:gd name="connsiteY30" fmla="*/ 70059 h 236937"/>
                <a:gd name="connsiteX31" fmla="*/ 8668 w 40555"/>
                <a:gd name="connsiteY31" fmla="*/ 81108 h 236937"/>
                <a:gd name="connsiteX32" fmla="*/ 6953 w 40555"/>
                <a:gd name="connsiteY32" fmla="*/ 92157 h 236937"/>
                <a:gd name="connsiteX33" fmla="*/ 4477 w 40555"/>
                <a:gd name="connsiteY33" fmla="*/ 103206 h 236937"/>
                <a:gd name="connsiteX34" fmla="*/ 2476 w 40555"/>
                <a:gd name="connsiteY34" fmla="*/ 114541 h 236937"/>
                <a:gd name="connsiteX35" fmla="*/ 762 w 40555"/>
                <a:gd name="connsiteY35" fmla="*/ 125590 h 23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0555" h="236937">
                  <a:moveTo>
                    <a:pt x="0" y="236937"/>
                  </a:moveTo>
                  <a:lnTo>
                    <a:pt x="0" y="236937"/>
                  </a:lnTo>
                  <a:cubicBezTo>
                    <a:pt x="476" y="231699"/>
                    <a:pt x="1238" y="233127"/>
                    <a:pt x="2191" y="226365"/>
                  </a:cubicBezTo>
                  <a:cubicBezTo>
                    <a:pt x="2476" y="223126"/>
                    <a:pt x="2191" y="219602"/>
                    <a:pt x="2667" y="215316"/>
                  </a:cubicBezTo>
                  <a:cubicBezTo>
                    <a:pt x="3143" y="212077"/>
                    <a:pt x="4858" y="208553"/>
                    <a:pt x="5429" y="204743"/>
                  </a:cubicBezTo>
                  <a:cubicBezTo>
                    <a:pt x="5905" y="201219"/>
                    <a:pt x="5715" y="197504"/>
                    <a:pt x="6191" y="193694"/>
                  </a:cubicBezTo>
                  <a:cubicBezTo>
                    <a:pt x="6668" y="190170"/>
                    <a:pt x="7715" y="186645"/>
                    <a:pt x="8192" y="182931"/>
                  </a:cubicBezTo>
                  <a:cubicBezTo>
                    <a:pt x="8668" y="179406"/>
                    <a:pt x="8953" y="175882"/>
                    <a:pt x="9430" y="172167"/>
                  </a:cubicBezTo>
                  <a:cubicBezTo>
                    <a:pt x="9906" y="168643"/>
                    <a:pt x="10668" y="165119"/>
                    <a:pt x="11144" y="161404"/>
                  </a:cubicBezTo>
                  <a:cubicBezTo>
                    <a:pt x="11621" y="157880"/>
                    <a:pt x="11144" y="154165"/>
                    <a:pt x="11621" y="150355"/>
                  </a:cubicBezTo>
                  <a:cubicBezTo>
                    <a:pt x="12097" y="146831"/>
                    <a:pt x="13335" y="143307"/>
                    <a:pt x="13811" y="139782"/>
                  </a:cubicBezTo>
                  <a:cubicBezTo>
                    <a:pt x="14288" y="135972"/>
                    <a:pt x="14764" y="132543"/>
                    <a:pt x="15335" y="128733"/>
                  </a:cubicBezTo>
                  <a:cubicBezTo>
                    <a:pt x="15811" y="125209"/>
                    <a:pt x="16574" y="121685"/>
                    <a:pt x="17050" y="117970"/>
                  </a:cubicBezTo>
                  <a:cubicBezTo>
                    <a:pt x="17812" y="114446"/>
                    <a:pt x="17050" y="110731"/>
                    <a:pt x="17526" y="107207"/>
                  </a:cubicBezTo>
                  <a:cubicBezTo>
                    <a:pt x="18002" y="103397"/>
                    <a:pt x="19050" y="99968"/>
                    <a:pt x="19717" y="96444"/>
                  </a:cubicBezTo>
                  <a:cubicBezTo>
                    <a:pt x="20193" y="92634"/>
                    <a:pt x="20669" y="89205"/>
                    <a:pt x="21241" y="85680"/>
                  </a:cubicBezTo>
                  <a:cubicBezTo>
                    <a:pt x="22003" y="81870"/>
                    <a:pt x="23241" y="78441"/>
                    <a:pt x="23717" y="74917"/>
                  </a:cubicBezTo>
                  <a:cubicBezTo>
                    <a:pt x="24479" y="71107"/>
                    <a:pt x="24479" y="67678"/>
                    <a:pt x="25241" y="64154"/>
                  </a:cubicBezTo>
                  <a:cubicBezTo>
                    <a:pt x="25718" y="60344"/>
                    <a:pt x="27242" y="56915"/>
                    <a:pt x="28003" y="53391"/>
                  </a:cubicBezTo>
                  <a:cubicBezTo>
                    <a:pt x="28480" y="49581"/>
                    <a:pt x="28766" y="46152"/>
                    <a:pt x="29527" y="42627"/>
                  </a:cubicBezTo>
                  <a:cubicBezTo>
                    <a:pt x="30290" y="38817"/>
                    <a:pt x="30480" y="35103"/>
                    <a:pt x="31242" y="31864"/>
                  </a:cubicBezTo>
                  <a:cubicBezTo>
                    <a:pt x="32004" y="27864"/>
                    <a:pt x="32766" y="24054"/>
                    <a:pt x="33433" y="21101"/>
                  </a:cubicBezTo>
                  <a:cubicBezTo>
                    <a:pt x="34671" y="16053"/>
                    <a:pt x="36862" y="13100"/>
                    <a:pt x="38100" y="11576"/>
                  </a:cubicBezTo>
                  <a:cubicBezTo>
                    <a:pt x="41053" y="7575"/>
                    <a:pt x="41053" y="2527"/>
                    <a:pt x="39624" y="813"/>
                  </a:cubicBezTo>
                  <a:cubicBezTo>
                    <a:pt x="38100" y="-902"/>
                    <a:pt x="35433" y="-235"/>
                    <a:pt x="31242" y="6051"/>
                  </a:cubicBezTo>
                  <a:cubicBezTo>
                    <a:pt x="29718" y="8337"/>
                    <a:pt x="27527" y="11290"/>
                    <a:pt x="25527" y="15576"/>
                  </a:cubicBezTo>
                  <a:cubicBezTo>
                    <a:pt x="24289" y="18243"/>
                    <a:pt x="24289" y="22339"/>
                    <a:pt x="22765" y="26340"/>
                  </a:cubicBezTo>
                  <a:cubicBezTo>
                    <a:pt x="21812" y="29578"/>
                    <a:pt x="19526" y="32912"/>
                    <a:pt x="18288" y="36912"/>
                  </a:cubicBezTo>
                  <a:cubicBezTo>
                    <a:pt x="17335" y="40151"/>
                    <a:pt x="17050" y="44151"/>
                    <a:pt x="16097" y="47961"/>
                  </a:cubicBezTo>
                  <a:cubicBezTo>
                    <a:pt x="15335" y="51486"/>
                    <a:pt x="14383" y="55010"/>
                    <a:pt x="13621" y="59010"/>
                  </a:cubicBezTo>
                  <a:cubicBezTo>
                    <a:pt x="12859" y="62535"/>
                    <a:pt x="12097" y="66059"/>
                    <a:pt x="11144" y="70059"/>
                  </a:cubicBezTo>
                  <a:cubicBezTo>
                    <a:pt x="10382" y="73584"/>
                    <a:pt x="9430" y="77108"/>
                    <a:pt x="8668" y="81108"/>
                  </a:cubicBezTo>
                  <a:cubicBezTo>
                    <a:pt x="7906" y="84633"/>
                    <a:pt x="7429" y="88347"/>
                    <a:pt x="6953" y="92157"/>
                  </a:cubicBezTo>
                  <a:cubicBezTo>
                    <a:pt x="6191" y="95682"/>
                    <a:pt x="5239" y="99396"/>
                    <a:pt x="4477" y="103206"/>
                  </a:cubicBezTo>
                  <a:cubicBezTo>
                    <a:pt x="4000" y="107016"/>
                    <a:pt x="2953" y="110445"/>
                    <a:pt x="2476" y="114541"/>
                  </a:cubicBezTo>
                  <a:cubicBezTo>
                    <a:pt x="2000" y="118065"/>
                    <a:pt x="1238" y="121780"/>
                    <a:pt x="762" y="12559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493191A9-D2A6-DE40-0A98-ECBD6EC62FDF}"/>
                </a:ext>
              </a:extLst>
            </p:cNvPr>
            <p:cNvSpPr/>
            <p:nvPr/>
          </p:nvSpPr>
          <p:spPr>
            <a:xfrm>
              <a:off x="5617582" y="4437999"/>
              <a:ext cx="695" cy="12514"/>
            </a:xfrm>
            <a:custGeom>
              <a:avLst/>
              <a:gdLst>
                <a:gd name="connsiteX0" fmla="*/ 0 w 476"/>
                <a:gd name="connsiteY0" fmla="*/ 0 h 8572"/>
                <a:gd name="connsiteX1" fmla="*/ 0 w 476"/>
                <a:gd name="connsiteY1" fmla="*/ 0 h 8572"/>
                <a:gd name="connsiteX2" fmla="*/ 476 w 476"/>
                <a:gd name="connsiteY2" fmla="*/ 8573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6" h="8572">
                  <a:moveTo>
                    <a:pt x="0" y="0"/>
                  </a:moveTo>
                  <a:lnTo>
                    <a:pt x="0" y="0"/>
                  </a:lnTo>
                  <a:cubicBezTo>
                    <a:pt x="0" y="4286"/>
                    <a:pt x="476" y="4286"/>
                    <a:pt x="476" y="8573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405C7143-D702-AC96-DBDC-E965DFAAD211}"/>
                </a:ext>
              </a:extLst>
            </p:cNvPr>
            <p:cNvSpPr/>
            <p:nvPr/>
          </p:nvSpPr>
          <p:spPr>
            <a:xfrm>
              <a:off x="5641081" y="4437999"/>
              <a:ext cx="2223" cy="12514"/>
            </a:xfrm>
            <a:custGeom>
              <a:avLst/>
              <a:gdLst>
                <a:gd name="connsiteX0" fmla="*/ 0 w 1523"/>
                <a:gd name="connsiteY0" fmla="*/ 0 h 8572"/>
                <a:gd name="connsiteX1" fmla="*/ 0 w 1523"/>
                <a:gd name="connsiteY1" fmla="*/ 0 h 8572"/>
                <a:gd name="connsiteX2" fmla="*/ 1524 w 1523"/>
                <a:gd name="connsiteY2" fmla="*/ 8573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3" h="8572">
                  <a:moveTo>
                    <a:pt x="0" y="0"/>
                  </a:moveTo>
                  <a:lnTo>
                    <a:pt x="0" y="0"/>
                  </a:lnTo>
                  <a:cubicBezTo>
                    <a:pt x="0" y="4286"/>
                    <a:pt x="1524" y="4286"/>
                    <a:pt x="1524" y="8573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E8A3FA2A-AEAA-C8E1-CDC9-775F23FD3B61}"/>
                </a:ext>
              </a:extLst>
            </p:cNvPr>
            <p:cNvSpPr/>
            <p:nvPr/>
          </p:nvSpPr>
          <p:spPr>
            <a:xfrm>
              <a:off x="5573921" y="4457883"/>
              <a:ext cx="125699" cy="44295"/>
            </a:xfrm>
            <a:custGeom>
              <a:avLst/>
              <a:gdLst>
                <a:gd name="connsiteX0" fmla="*/ 0 w 86106"/>
                <a:gd name="connsiteY0" fmla="*/ 7715 h 30343"/>
                <a:gd name="connsiteX1" fmla="*/ 0 w 86106"/>
                <a:gd name="connsiteY1" fmla="*/ 7715 h 30343"/>
                <a:gd name="connsiteX2" fmla="*/ 6668 w 86106"/>
                <a:gd name="connsiteY2" fmla="*/ 16002 h 30343"/>
                <a:gd name="connsiteX3" fmla="*/ 15335 w 86106"/>
                <a:gd name="connsiteY3" fmla="*/ 22003 h 30343"/>
                <a:gd name="connsiteX4" fmla="*/ 24479 w 86106"/>
                <a:gd name="connsiteY4" fmla="*/ 26765 h 30343"/>
                <a:gd name="connsiteX5" fmla="*/ 34385 w 86106"/>
                <a:gd name="connsiteY5" fmla="*/ 29813 h 30343"/>
                <a:gd name="connsiteX6" fmla="*/ 44768 w 86106"/>
                <a:gd name="connsiteY6" fmla="*/ 30099 h 30343"/>
                <a:gd name="connsiteX7" fmla="*/ 55150 w 86106"/>
                <a:gd name="connsiteY7" fmla="*/ 28099 h 30343"/>
                <a:gd name="connsiteX8" fmla="*/ 64103 w 86106"/>
                <a:gd name="connsiteY8" fmla="*/ 22574 h 30343"/>
                <a:gd name="connsiteX9" fmla="*/ 71819 w 86106"/>
                <a:gd name="connsiteY9" fmla="*/ 15335 h 30343"/>
                <a:gd name="connsiteX10" fmla="*/ 78962 w 86106"/>
                <a:gd name="connsiteY10" fmla="*/ 7810 h 30343"/>
                <a:gd name="connsiteX11" fmla="*/ 86106 w 86106"/>
                <a:gd name="connsiteY11" fmla="*/ 0 h 3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106" h="30343">
                  <a:moveTo>
                    <a:pt x="0" y="7715"/>
                  </a:moveTo>
                  <a:lnTo>
                    <a:pt x="0" y="7715"/>
                  </a:lnTo>
                  <a:cubicBezTo>
                    <a:pt x="3239" y="12002"/>
                    <a:pt x="2191" y="11716"/>
                    <a:pt x="6668" y="16002"/>
                  </a:cubicBezTo>
                  <a:cubicBezTo>
                    <a:pt x="8858" y="18002"/>
                    <a:pt x="12097" y="19812"/>
                    <a:pt x="15335" y="22003"/>
                  </a:cubicBezTo>
                  <a:cubicBezTo>
                    <a:pt x="18098" y="23717"/>
                    <a:pt x="21241" y="25241"/>
                    <a:pt x="24479" y="26765"/>
                  </a:cubicBezTo>
                  <a:cubicBezTo>
                    <a:pt x="27718" y="28004"/>
                    <a:pt x="30956" y="29242"/>
                    <a:pt x="34385" y="29813"/>
                  </a:cubicBezTo>
                  <a:cubicBezTo>
                    <a:pt x="37814" y="30290"/>
                    <a:pt x="41339" y="30575"/>
                    <a:pt x="44768" y="30099"/>
                  </a:cubicBezTo>
                  <a:cubicBezTo>
                    <a:pt x="48006" y="29623"/>
                    <a:pt x="51721" y="29623"/>
                    <a:pt x="55150" y="28099"/>
                  </a:cubicBezTo>
                  <a:cubicBezTo>
                    <a:pt x="58103" y="26860"/>
                    <a:pt x="60865" y="24575"/>
                    <a:pt x="64103" y="22574"/>
                  </a:cubicBezTo>
                  <a:cubicBezTo>
                    <a:pt x="66866" y="20574"/>
                    <a:pt x="69056" y="18097"/>
                    <a:pt x="71819" y="15335"/>
                  </a:cubicBezTo>
                  <a:cubicBezTo>
                    <a:pt x="74295" y="13049"/>
                    <a:pt x="76772" y="10859"/>
                    <a:pt x="78962" y="7810"/>
                  </a:cubicBezTo>
                  <a:cubicBezTo>
                    <a:pt x="81153" y="5334"/>
                    <a:pt x="84201" y="3048"/>
                    <a:pt x="86106" y="0"/>
                  </a:cubicBezTo>
                </a:path>
              </a:pathLst>
            </a:custGeom>
            <a:noFill/>
            <a:ln w="2155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00AA83D8-57AB-5AC7-1FEC-64B579D16F7E}"/>
                </a:ext>
              </a:extLst>
            </p:cNvPr>
            <p:cNvSpPr/>
            <p:nvPr/>
          </p:nvSpPr>
          <p:spPr>
            <a:xfrm>
              <a:off x="5581256" y="4679782"/>
              <a:ext cx="245805" cy="29081"/>
            </a:xfrm>
            <a:custGeom>
              <a:avLst/>
              <a:gdLst>
                <a:gd name="connsiteX0" fmla="*/ 6787 w 168380"/>
                <a:gd name="connsiteY0" fmla="*/ 5063 h 19921"/>
                <a:gd name="connsiteX1" fmla="*/ 88130 w 168380"/>
                <a:gd name="connsiteY1" fmla="*/ 4396 h 19921"/>
                <a:gd name="connsiteX2" fmla="*/ 166997 w 168380"/>
                <a:gd name="connsiteY2" fmla="*/ 2015 h 19921"/>
                <a:gd name="connsiteX3" fmla="*/ 165664 w 168380"/>
                <a:gd name="connsiteY3" fmla="*/ 967 h 19921"/>
                <a:gd name="connsiteX4" fmla="*/ 166330 w 168380"/>
                <a:gd name="connsiteY4" fmla="*/ 12111 h 19921"/>
                <a:gd name="connsiteX5" fmla="*/ 160901 w 168380"/>
                <a:gd name="connsiteY5" fmla="*/ 17731 h 19921"/>
                <a:gd name="connsiteX6" fmla="*/ 138422 w 168380"/>
                <a:gd name="connsiteY6" fmla="*/ 17731 h 19921"/>
                <a:gd name="connsiteX7" fmla="*/ 92226 w 168380"/>
                <a:gd name="connsiteY7" fmla="*/ 17636 h 19921"/>
                <a:gd name="connsiteX8" fmla="*/ 1072 w 168380"/>
                <a:gd name="connsiteY8" fmla="*/ 17445 h 19921"/>
                <a:gd name="connsiteX9" fmla="*/ 1072 w 168380"/>
                <a:gd name="connsiteY9" fmla="*/ 19636 h 19921"/>
                <a:gd name="connsiteX10" fmla="*/ 166807 w 168380"/>
                <a:gd name="connsiteY10" fmla="*/ 19922 h 19921"/>
                <a:gd name="connsiteX11" fmla="*/ 167854 w 168380"/>
                <a:gd name="connsiteY11" fmla="*/ 18874 h 19921"/>
                <a:gd name="connsiteX12" fmla="*/ 167759 w 168380"/>
                <a:gd name="connsiteY12" fmla="*/ 1062 h 19921"/>
                <a:gd name="connsiteX13" fmla="*/ 166426 w 168380"/>
                <a:gd name="connsiteY13" fmla="*/ 14 h 19921"/>
                <a:gd name="connsiteX14" fmla="*/ 85749 w 168380"/>
                <a:gd name="connsiteY14" fmla="*/ 2300 h 19921"/>
                <a:gd name="connsiteX15" fmla="*/ 6691 w 168380"/>
                <a:gd name="connsiteY15" fmla="*/ 2967 h 19921"/>
                <a:gd name="connsiteX16" fmla="*/ 6787 w 168380"/>
                <a:gd name="connsiteY16" fmla="*/ 5063 h 19921"/>
                <a:gd name="connsiteX17" fmla="*/ 6787 w 168380"/>
                <a:gd name="connsiteY17" fmla="*/ 5063 h 1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380" h="19921">
                  <a:moveTo>
                    <a:pt x="6787" y="5063"/>
                  </a:moveTo>
                  <a:cubicBezTo>
                    <a:pt x="33933" y="4872"/>
                    <a:pt x="61079" y="4586"/>
                    <a:pt x="88130" y="4396"/>
                  </a:cubicBezTo>
                  <a:cubicBezTo>
                    <a:pt x="114324" y="4205"/>
                    <a:pt x="141089" y="5539"/>
                    <a:pt x="166997" y="2015"/>
                  </a:cubicBezTo>
                  <a:cubicBezTo>
                    <a:pt x="166521" y="1634"/>
                    <a:pt x="166045" y="1348"/>
                    <a:pt x="165664" y="967"/>
                  </a:cubicBezTo>
                  <a:cubicBezTo>
                    <a:pt x="166140" y="4682"/>
                    <a:pt x="166426" y="8396"/>
                    <a:pt x="166330" y="12111"/>
                  </a:cubicBezTo>
                  <a:cubicBezTo>
                    <a:pt x="166140" y="16588"/>
                    <a:pt x="165568" y="17731"/>
                    <a:pt x="160901" y="17731"/>
                  </a:cubicBezTo>
                  <a:cubicBezTo>
                    <a:pt x="153376" y="17731"/>
                    <a:pt x="145947" y="17731"/>
                    <a:pt x="138422" y="17731"/>
                  </a:cubicBezTo>
                  <a:cubicBezTo>
                    <a:pt x="122992" y="17731"/>
                    <a:pt x="107656" y="17636"/>
                    <a:pt x="92226" y="17636"/>
                  </a:cubicBezTo>
                  <a:cubicBezTo>
                    <a:pt x="61841" y="17540"/>
                    <a:pt x="31456" y="17540"/>
                    <a:pt x="1072" y="17445"/>
                  </a:cubicBezTo>
                  <a:cubicBezTo>
                    <a:pt x="-357" y="17445"/>
                    <a:pt x="-357" y="19636"/>
                    <a:pt x="1072" y="19636"/>
                  </a:cubicBezTo>
                  <a:cubicBezTo>
                    <a:pt x="56317" y="19731"/>
                    <a:pt x="111562" y="19826"/>
                    <a:pt x="166807" y="19922"/>
                  </a:cubicBezTo>
                  <a:cubicBezTo>
                    <a:pt x="167473" y="19922"/>
                    <a:pt x="167854" y="19445"/>
                    <a:pt x="167854" y="18874"/>
                  </a:cubicBezTo>
                  <a:cubicBezTo>
                    <a:pt x="168616" y="12873"/>
                    <a:pt x="168521" y="7063"/>
                    <a:pt x="167759" y="1062"/>
                  </a:cubicBezTo>
                  <a:cubicBezTo>
                    <a:pt x="167664" y="300"/>
                    <a:pt x="167188" y="-81"/>
                    <a:pt x="166426" y="14"/>
                  </a:cubicBezTo>
                  <a:cubicBezTo>
                    <a:pt x="139946" y="3634"/>
                    <a:pt x="112419" y="2110"/>
                    <a:pt x="85749" y="2300"/>
                  </a:cubicBezTo>
                  <a:cubicBezTo>
                    <a:pt x="59365" y="2491"/>
                    <a:pt x="33076" y="2681"/>
                    <a:pt x="6691" y="2967"/>
                  </a:cubicBezTo>
                  <a:cubicBezTo>
                    <a:pt x="5358" y="2872"/>
                    <a:pt x="5358" y="5063"/>
                    <a:pt x="6787" y="5063"/>
                  </a:cubicBezTo>
                  <a:lnTo>
                    <a:pt x="6787" y="5063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435785C9-040D-7B02-D2DD-2D1219D3B69B}"/>
                </a:ext>
              </a:extLst>
            </p:cNvPr>
            <p:cNvSpPr/>
            <p:nvPr/>
          </p:nvSpPr>
          <p:spPr>
            <a:xfrm>
              <a:off x="5467587" y="4679943"/>
              <a:ext cx="79984" cy="23081"/>
            </a:xfrm>
            <a:custGeom>
              <a:avLst/>
              <a:gdLst>
                <a:gd name="connsiteX0" fmla="*/ 53790 w 54790"/>
                <a:gd name="connsiteY0" fmla="*/ 0 h 15811"/>
                <a:gd name="connsiteX1" fmla="*/ 21501 w 54790"/>
                <a:gd name="connsiteY1" fmla="*/ 476 h 15811"/>
                <a:gd name="connsiteX2" fmla="*/ 5880 w 54790"/>
                <a:gd name="connsiteY2" fmla="*/ 762 h 15811"/>
                <a:gd name="connsiteX3" fmla="*/ 69 w 54790"/>
                <a:gd name="connsiteY3" fmla="*/ 4667 h 15811"/>
                <a:gd name="connsiteX4" fmla="*/ 5118 w 54790"/>
                <a:gd name="connsiteY4" fmla="*/ 14954 h 15811"/>
                <a:gd name="connsiteX5" fmla="*/ 9594 w 54790"/>
                <a:gd name="connsiteY5" fmla="*/ 15716 h 15811"/>
                <a:gd name="connsiteX6" fmla="*/ 17881 w 54790"/>
                <a:gd name="connsiteY6" fmla="*/ 15811 h 15811"/>
                <a:gd name="connsiteX7" fmla="*/ 49885 w 54790"/>
                <a:gd name="connsiteY7" fmla="*/ 14669 h 15811"/>
                <a:gd name="connsiteX8" fmla="*/ 49885 w 54790"/>
                <a:gd name="connsiteY8" fmla="*/ 12478 h 15811"/>
                <a:gd name="connsiteX9" fmla="*/ 24072 w 54790"/>
                <a:gd name="connsiteY9" fmla="*/ 13621 h 15811"/>
                <a:gd name="connsiteX10" fmla="*/ 10642 w 54790"/>
                <a:gd name="connsiteY10" fmla="*/ 13621 h 15811"/>
                <a:gd name="connsiteX11" fmla="*/ 7785 w 54790"/>
                <a:gd name="connsiteY11" fmla="*/ 13526 h 15811"/>
                <a:gd name="connsiteX12" fmla="*/ 4356 w 54790"/>
                <a:gd name="connsiteY12" fmla="*/ 10859 h 15811"/>
                <a:gd name="connsiteX13" fmla="*/ 2260 w 54790"/>
                <a:gd name="connsiteY13" fmla="*/ 4953 h 15811"/>
                <a:gd name="connsiteX14" fmla="*/ 4260 w 54790"/>
                <a:gd name="connsiteY14" fmla="*/ 2953 h 15811"/>
                <a:gd name="connsiteX15" fmla="*/ 7880 w 54790"/>
                <a:gd name="connsiteY15" fmla="*/ 2858 h 15811"/>
                <a:gd name="connsiteX16" fmla="*/ 14166 w 54790"/>
                <a:gd name="connsiteY16" fmla="*/ 2762 h 15811"/>
                <a:gd name="connsiteX17" fmla="*/ 27216 w 54790"/>
                <a:gd name="connsiteY17" fmla="*/ 2572 h 15811"/>
                <a:gd name="connsiteX18" fmla="*/ 53790 w 54790"/>
                <a:gd name="connsiteY18" fmla="*/ 2191 h 15811"/>
                <a:gd name="connsiteX19" fmla="*/ 53790 w 54790"/>
                <a:gd name="connsiteY19" fmla="*/ 0 h 15811"/>
                <a:gd name="connsiteX20" fmla="*/ 53790 w 54790"/>
                <a:gd name="connsiteY20" fmla="*/ 0 h 15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90" h="15811">
                  <a:moveTo>
                    <a:pt x="53790" y="0"/>
                  </a:moveTo>
                  <a:cubicBezTo>
                    <a:pt x="43027" y="191"/>
                    <a:pt x="32264" y="286"/>
                    <a:pt x="21501" y="476"/>
                  </a:cubicBezTo>
                  <a:cubicBezTo>
                    <a:pt x="16262" y="572"/>
                    <a:pt x="11118" y="667"/>
                    <a:pt x="5880" y="762"/>
                  </a:cubicBezTo>
                  <a:cubicBezTo>
                    <a:pt x="2546" y="857"/>
                    <a:pt x="-502" y="476"/>
                    <a:pt x="69" y="4667"/>
                  </a:cubicBezTo>
                  <a:cubicBezTo>
                    <a:pt x="546" y="7906"/>
                    <a:pt x="2070" y="13145"/>
                    <a:pt x="5118" y="14954"/>
                  </a:cubicBezTo>
                  <a:cubicBezTo>
                    <a:pt x="6451" y="15716"/>
                    <a:pt x="8166" y="15621"/>
                    <a:pt x="9594" y="15716"/>
                  </a:cubicBezTo>
                  <a:cubicBezTo>
                    <a:pt x="12357" y="15811"/>
                    <a:pt x="15119" y="15811"/>
                    <a:pt x="17881" y="15811"/>
                  </a:cubicBezTo>
                  <a:cubicBezTo>
                    <a:pt x="28549" y="15811"/>
                    <a:pt x="39217" y="15431"/>
                    <a:pt x="49885" y="14669"/>
                  </a:cubicBezTo>
                  <a:cubicBezTo>
                    <a:pt x="51219" y="14573"/>
                    <a:pt x="51314" y="12383"/>
                    <a:pt x="49885" y="12478"/>
                  </a:cubicBezTo>
                  <a:cubicBezTo>
                    <a:pt x="41313" y="13049"/>
                    <a:pt x="32740" y="13430"/>
                    <a:pt x="24072" y="13621"/>
                  </a:cubicBezTo>
                  <a:cubicBezTo>
                    <a:pt x="19596" y="13716"/>
                    <a:pt x="15119" y="13716"/>
                    <a:pt x="10642" y="13621"/>
                  </a:cubicBezTo>
                  <a:cubicBezTo>
                    <a:pt x="9690" y="13621"/>
                    <a:pt x="8737" y="13621"/>
                    <a:pt x="7785" y="13526"/>
                  </a:cubicBezTo>
                  <a:cubicBezTo>
                    <a:pt x="5975" y="13335"/>
                    <a:pt x="5308" y="12383"/>
                    <a:pt x="4356" y="10859"/>
                  </a:cubicBezTo>
                  <a:cubicBezTo>
                    <a:pt x="3403" y="9239"/>
                    <a:pt x="2355" y="6858"/>
                    <a:pt x="2260" y="4953"/>
                  </a:cubicBezTo>
                  <a:cubicBezTo>
                    <a:pt x="2165" y="2953"/>
                    <a:pt x="2641" y="2953"/>
                    <a:pt x="4260" y="2953"/>
                  </a:cubicBezTo>
                  <a:cubicBezTo>
                    <a:pt x="5499" y="2953"/>
                    <a:pt x="6737" y="2953"/>
                    <a:pt x="7880" y="2858"/>
                  </a:cubicBezTo>
                  <a:cubicBezTo>
                    <a:pt x="9975" y="2858"/>
                    <a:pt x="12071" y="2762"/>
                    <a:pt x="14166" y="2762"/>
                  </a:cubicBezTo>
                  <a:cubicBezTo>
                    <a:pt x="18548" y="2667"/>
                    <a:pt x="22834" y="2667"/>
                    <a:pt x="27216" y="2572"/>
                  </a:cubicBezTo>
                  <a:cubicBezTo>
                    <a:pt x="36074" y="2477"/>
                    <a:pt x="44932" y="2286"/>
                    <a:pt x="53790" y="2191"/>
                  </a:cubicBezTo>
                  <a:cubicBezTo>
                    <a:pt x="55124" y="2191"/>
                    <a:pt x="55124" y="0"/>
                    <a:pt x="53790" y="0"/>
                  </a:cubicBezTo>
                  <a:lnTo>
                    <a:pt x="53790" y="0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F464E834-CB88-059D-5C21-63596D08FB8D}"/>
                </a:ext>
              </a:extLst>
            </p:cNvPr>
            <p:cNvSpPr/>
            <p:nvPr/>
          </p:nvSpPr>
          <p:spPr>
            <a:xfrm>
              <a:off x="5483920" y="4709630"/>
              <a:ext cx="6730" cy="54989"/>
            </a:xfrm>
            <a:custGeom>
              <a:avLst/>
              <a:gdLst>
                <a:gd name="connsiteX0" fmla="*/ 26 w 4610"/>
                <a:gd name="connsiteY0" fmla="*/ 1000 h 37668"/>
                <a:gd name="connsiteX1" fmla="*/ 2503 w 4610"/>
                <a:gd name="connsiteY1" fmla="*/ 36909 h 37668"/>
                <a:gd name="connsiteX2" fmla="*/ 4598 w 4610"/>
                <a:gd name="connsiteY2" fmla="*/ 36338 h 37668"/>
                <a:gd name="connsiteX3" fmla="*/ 2122 w 4610"/>
                <a:gd name="connsiteY3" fmla="*/ 1000 h 37668"/>
                <a:gd name="connsiteX4" fmla="*/ 26 w 4610"/>
                <a:gd name="connsiteY4" fmla="*/ 1000 h 37668"/>
                <a:gd name="connsiteX5" fmla="*/ 26 w 4610"/>
                <a:gd name="connsiteY5" fmla="*/ 1000 h 37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10" h="37668">
                  <a:moveTo>
                    <a:pt x="26" y="1000"/>
                  </a:moveTo>
                  <a:cubicBezTo>
                    <a:pt x="-164" y="13002"/>
                    <a:pt x="693" y="25003"/>
                    <a:pt x="2503" y="36909"/>
                  </a:cubicBezTo>
                  <a:cubicBezTo>
                    <a:pt x="2693" y="38243"/>
                    <a:pt x="4789" y="37671"/>
                    <a:pt x="4598" y="36338"/>
                  </a:cubicBezTo>
                  <a:cubicBezTo>
                    <a:pt x="2788" y="24622"/>
                    <a:pt x="1931" y="12811"/>
                    <a:pt x="2122" y="1000"/>
                  </a:cubicBezTo>
                  <a:cubicBezTo>
                    <a:pt x="2217" y="-333"/>
                    <a:pt x="26" y="-333"/>
                    <a:pt x="26" y="1000"/>
                  </a:cubicBezTo>
                  <a:lnTo>
                    <a:pt x="26" y="1000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1C5AB47C-C5AC-6854-D8F4-6C6FAD09919D}"/>
                </a:ext>
              </a:extLst>
            </p:cNvPr>
            <p:cNvSpPr/>
            <p:nvPr/>
          </p:nvSpPr>
          <p:spPr>
            <a:xfrm>
              <a:off x="5486873" y="4840786"/>
              <a:ext cx="10159" cy="272412"/>
            </a:xfrm>
            <a:custGeom>
              <a:avLst/>
              <a:gdLst>
                <a:gd name="connsiteX0" fmla="*/ 3 w 6959"/>
                <a:gd name="connsiteY0" fmla="*/ 1072 h 186606"/>
                <a:gd name="connsiteX1" fmla="*/ 4766 w 6959"/>
                <a:gd name="connsiteY1" fmla="*/ 93274 h 186606"/>
                <a:gd name="connsiteX2" fmla="*/ 479 w 6959"/>
                <a:gd name="connsiteY2" fmla="*/ 185571 h 186606"/>
                <a:gd name="connsiteX3" fmla="*/ 2670 w 6959"/>
                <a:gd name="connsiteY3" fmla="*/ 185571 h 186606"/>
                <a:gd name="connsiteX4" fmla="*/ 6956 w 6959"/>
                <a:gd name="connsiteY4" fmla="*/ 93274 h 186606"/>
                <a:gd name="connsiteX5" fmla="*/ 2194 w 6959"/>
                <a:gd name="connsiteY5" fmla="*/ 1072 h 186606"/>
                <a:gd name="connsiteX6" fmla="*/ 3 w 6959"/>
                <a:gd name="connsiteY6" fmla="*/ 1072 h 186606"/>
                <a:gd name="connsiteX7" fmla="*/ 3 w 6959"/>
                <a:gd name="connsiteY7" fmla="*/ 1072 h 186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59" h="186606">
                  <a:moveTo>
                    <a:pt x="3" y="1072"/>
                  </a:moveTo>
                  <a:cubicBezTo>
                    <a:pt x="2384" y="31742"/>
                    <a:pt x="4670" y="62508"/>
                    <a:pt x="4766" y="93274"/>
                  </a:cubicBezTo>
                  <a:cubicBezTo>
                    <a:pt x="4861" y="124135"/>
                    <a:pt x="2670" y="154900"/>
                    <a:pt x="479" y="185571"/>
                  </a:cubicBezTo>
                  <a:cubicBezTo>
                    <a:pt x="384" y="187000"/>
                    <a:pt x="2575" y="186904"/>
                    <a:pt x="2670" y="185571"/>
                  </a:cubicBezTo>
                  <a:cubicBezTo>
                    <a:pt x="4861" y="154805"/>
                    <a:pt x="7051" y="124039"/>
                    <a:pt x="6956" y="93274"/>
                  </a:cubicBezTo>
                  <a:cubicBezTo>
                    <a:pt x="6861" y="62508"/>
                    <a:pt x="4480" y="31742"/>
                    <a:pt x="2194" y="1072"/>
                  </a:cubicBezTo>
                  <a:cubicBezTo>
                    <a:pt x="2099" y="-357"/>
                    <a:pt x="-92" y="-357"/>
                    <a:pt x="3" y="1072"/>
                  </a:cubicBezTo>
                  <a:lnTo>
                    <a:pt x="3" y="1072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6B459526-DCD6-4234-DD21-7C98EB9C5401}"/>
                </a:ext>
              </a:extLst>
            </p:cNvPr>
            <p:cNvSpPr/>
            <p:nvPr/>
          </p:nvSpPr>
          <p:spPr>
            <a:xfrm>
              <a:off x="5814728" y="4717920"/>
              <a:ext cx="9239" cy="76871"/>
            </a:xfrm>
            <a:custGeom>
              <a:avLst/>
              <a:gdLst>
                <a:gd name="connsiteX0" fmla="*/ 778 w 6329"/>
                <a:gd name="connsiteY0" fmla="*/ 1036 h 52658"/>
                <a:gd name="connsiteX1" fmla="*/ 4207 w 6329"/>
                <a:gd name="connsiteY1" fmla="*/ 51900 h 52658"/>
                <a:gd name="connsiteX2" fmla="*/ 6303 w 6329"/>
                <a:gd name="connsiteY2" fmla="*/ 51328 h 52658"/>
                <a:gd name="connsiteX3" fmla="*/ 2969 w 6329"/>
                <a:gd name="connsiteY3" fmla="*/ 1036 h 52658"/>
                <a:gd name="connsiteX4" fmla="*/ 778 w 6329"/>
                <a:gd name="connsiteY4" fmla="*/ 1036 h 52658"/>
                <a:gd name="connsiteX5" fmla="*/ 778 w 6329"/>
                <a:gd name="connsiteY5" fmla="*/ 1036 h 52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29" h="52658">
                  <a:moveTo>
                    <a:pt x="778" y="1036"/>
                  </a:moveTo>
                  <a:cubicBezTo>
                    <a:pt x="-1031" y="18181"/>
                    <a:pt x="397" y="35136"/>
                    <a:pt x="4207" y="51900"/>
                  </a:cubicBezTo>
                  <a:cubicBezTo>
                    <a:pt x="4493" y="53233"/>
                    <a:pt x="6589" y="52662"/>
                    <a:pt x="6303" y="51328"/>
                  </a:cubicBezTo>
                  <a:cubicBezTo>
                    <a:pt x="2588" y="34659"/>
                    <a:pt x="1159" y="17991"/>
                    <a:pt x="2969" y="1036"/>
                  </a:cubicBezTo>
                  <a:cubicBezTo>
                    <a:pt x="3064" y="-393"/>
                    <a:pt x="969" y="-297"/>
                    <a:pt x="778" y="1036"/>
                  </a:cubicBezTo>
                  <a:lnTo>
                    <a:pt x="778" y="1036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A5FFA216-853B-E2B0-E110-4D8280E88127}"/>
                </a:ext>
              </a:extLst>
            </p:cNvPr>
            <p:cNvSpPr/>
            <p:nvPr/>
          </p:nvSpPr>
          <p:spPr>
            <a:xfrm>
              <a:off x="5829983" y="4878191"/>
              <a:ext cx="8684" cy="245437"/>
            </a:xfrm>
            <a:custGeom>
              <a:avLst/>
              <a:gdLst>
                <a:gd name="connsiteX0" fmla="*/ 901 w 5949"/>
                <a:gd name="connsiteY0" fmla="*/ 1072 h 168128"/>
                <a:gd name="connsiteX1" fmla="*/ 234 w 5949"/>
                <a:gd name="connsiteY1" fmla="*/ 84130 h 168128"/>
                <a:gd name="connsiteX2" fmla="*/ 3759 w 5949"/>
                <a:gd name="connsiteY2" fmla="*/ 167092 h 168128"/>
                <a:gd name="connsiteX3" fmla="*/ 5949 w 5949"/>
                <a:gd name="connsiteY3" fmla="*/ 167092 h 168128"/>
                <a:gd name="connsiteX4" fmla="*/ 2425 w 5949"/>
                <a:gd name="connsiteY4" fmla="*/ 84130 h 168128"/>
                <a:gd name="connsiteX5" fmla="*/ 3092 w 5949"/>
                <a:gd name="connsiteY5" fmla="*/ 1072 h 168128"/>
                <a:gd name="connsiteX6" fmla="*/ 901 w 5949"/>
                <a:gd name="connsiteY6" fmla="*/ 1072 h 168128"/>
                <a:gd name="connsiteX7" fmla="*/ 901 w 5949"/>
                <a:gd name="connsiteY7" fmla="*/ 1072 h 168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49" h="168128">
                  <a:moveTo>
                    <a:pt x="901" y="1072"/>
                  </a:moveTo>
                  <a:cubicBezTo>
                    <a:pt x="234" y="28789"/>
                    <a:pt x="-337" y="56412"/>
                    <a:pt x="234" y="84130"/>
                  </a:cubicBezTo>
                  <a:cubicBezTo>
                    <a:pt x="806" y="111847"/>
                    <a:pt x="2330" y="139470"/>
                    <a:pt x="3759" y="167092"/>
                  </a:cubicBezTo>
                  <a:cubicBezTo>
                    <a:pt x="3854" y="168426"/>
                    <a:pt x="5949" y="168521"/>
                    <a:pt x="5949" y="167092"/>
                  </a:cubicBezTo>
                  <a:cubicBezTo>
                    <a:pt x="4521" y="139470"/>
                    <a:pt x="2997" y="111752"/>
                    <a:pt x="2425" y="84130"/>
                  </a:cubicBezTo>
                  <a:cubicBezTo>
                    <a:pt x="1854" y="56412"/>
                    <a:pt x="2425" y="28789"/>
                    <a:pt x="3092" y="1072"/>
                  </a:cubicBezTo>
                  <a:cubicBezTo>
                    <a:pt x="3092" y="-357"/>
                    <a:pt x="996" y="-357"/>
                    <a:pt x="901" y="1072"/>
                  </a:cubicBezTo>
                  <a:lnTo>
                    <a:pt x="901" y="1072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DFD786CD-287E-0274-E340-A62A8553DB71}"/>
                </a:ext>
              </a:extLst>
            </p:cNvPr>
            <p:cNvSpPr/>
            <p:nvPr/>
          </p:nvSpPr>
          <p:spPr>
            <a:xfrm>
              <a:off x="5421455" y="5143251"/>
              <a:ext cx="660721" cy="3197"/>
            </a:xfrm>
            <a:custGeom>
              <a:avLst/>
              <a:gdLst>
                <a:gd name="connsiteX0" fmla="*/ 1000 w 452604"/>
                <a:gd name="connsiteY0" fmla="*/ 2191 h 2190"/>
                <a:gd name="connsiteX1" fmla="*/ 355330 w 452604"/>
                <a:gd name="connsiteY1" fmla="*/ 2191 h 2190"/>
                <a:gd name="connsiteX2" fmla="*/ 451533 w 452604"/>
                <a:gd name="connsiteY2" fmla="*/ 2191 h 2190"/>
                <a:gd name="connsiteX3" fmla="*/ 451533 w 452604"/>
                <a:gd name="connsiteY3" fmla="*/ 0 h 2190"/>
                <a:gd name="connsiteX4" fmla="*/ 97203 w 452604"/>
                <a:gd name="connsiteY4" fmla="*/ 0 h 2190"/>
                <a:gd name="connsiteX5" fmla="*/ 1000 w 452604"/>
                <a:gd name="connsiteY5" fmla="*/ 0 h 2190"/>
                <a:gd name="connsiteX6" fmla="*/ 1000 w 452604"/>
                <a:gd name="connsiteY6" fmla="*/ 2191 h 2190"/>
                <a:gd name="connsiteX7" fmla="*/ 1000 w 452604"/>
                <a:gd name="connsiteY7" fmla="*/ 2191 h 2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604" h="2190">
                  <a:moveTo>
                    <a:pt x="1000" y="2191"/>
                  </a:moveTo>
                  <a:cubicBezTo>
                    <a:pt x="119110" y="2191"/>
                    <a:pt x="237220" y="2191"/>
                    <a:pt x="355330" y="2191"/>
                  </a:cubicBezTo>
                  <a:cubicBezTo>
                    <a:pt x="387429" y="2191"/>
                    <a:pt x="419433" y="2191"/>
                    <a:pt x="451533" y="2191"/>
                  </a:cubicBezTo>
                  <a:cubicBezTo>
                    <a:pt x="452961" y="2191"/>
                    <a:pt x="452961" y="0"/>
                    <a:pt x="451533" y="0"/>
                  </a:cubicBezTo>
                  <a:cubicBezTo>
                    <a:pt x="333423" y="0"/>
                    <a:pt x="215313" y="0"/>
                    <a:pt x="97203" y="0"/>
                  </a:cubicBezTo>
                  <a:cubicBezTo>
                    <a:pt x="65103" y="0"/>
                    <a:pt x="33099" y="0"/>
                    <a:pt x="1000" y="0"/>
                  </a:cubicBezTo>
                  <a:cubicBezTo>
                    <a:pt x="-333" y="0"/>
                    <a:pt x="-333" y="2191"/>
                    <a:pt x="1000" y="2191"/>
                  </a:cubicBezTo>
                  <a:lnTo>
                    <a:pt x="1000" y="2191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5F1F471D-58C1-48D2-96DC-B74ACA5307F8}"/>
                </a:ext>
              </a:extLst>
            </p:cNvPr>
            <p:cNvSpPr/>
            <p:nvPr/>
          </p:nvSpPr>
          <p:spPr>
            <a:xfrm>
              <a:off x="5944660" y="4458126"/>
              <a:ext cx="34173" cy="149442"/>
            </a:xfrm>
            <a:custGeom>
              <a:avLst/>
              <a:gdLst>
                <a:gd name="connsiteX0" fmla="*/ 70 w 23409"/>
                <a:gd name="connsiteY0" fmla="*/ 1262 h 102370"/>
                <a:gd name="connsiteX1" fmla="*/ 21215 w 23409"/>
                <a:gd name="connsiteY1" fmla="*/ 101370 h 102370"/>
                <a:gd name="connsiteX2" fmla="*/ 23406 w 23409"/>
                <a:gd name="connsiteY2" fmla="*/ 101370 h 102370"/>
                <a:gd name="connsiteX3" fmla="*/ 2165 w 23409"/>
                <a:gd name="connsiteY3" fmla="*/ 691 h 102370"/>
                <a:gd name="connsiteX4" fmla="*/ 70 w 23409"/>
                <a:gd name="connsiteY4" fmla="*/ 1262 h 102370"/>
                <a:gd name="connsiteX5" fmla="*/ 70 w 23409"/>
                <a:gd name="connsiteY5" fmla="*/ 1262 h 10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09" h="102370">
                  <a:moveTo>
                    <a:pt x="70" y="1262"/>
                  </a:moveTo>
                  <a:cubicBezTo>
                    <a:pt x="11976" y="33743"/>
                    <a:pt x="17691" y="67080"/>
                    <a:pt x="21215" y="101370"/>
                  </a:cubicBezTo>
                  <a:cubicBezTo>
                    <a:pt x="21311" y="102704"/>
                    <a:pt x="23501" y="102704"/>
                    <a:pt x="23406" y="101370"/>
                  </a:cubicBezTo>
                  <a:cubicBezTo>
                    <a:pt x="19882" y="66890"/>
                    <a:pt x="14167" y="33362"/>
                    <a:pt x="2165" y="691"/>
                  </a:cubicBezTo>
                  <a:cubicBezTo>
                    <a:pt x="1689" y="-547"/>
                    <a:pt x="-406" y="24"/>
                    <a:pt x="70" y="1262"/>
                  </a:cubicBezTo>
                  <a:lnTo>
                    <a:pt x="70" y="1262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DF2CF986-A257-0827-237B-78F796217117}"/>
                </a:ext>
              </a:extLst>
            </p:cNvPr>
            <p:cNvSpPr/>
            <p:nvPr/>
          </p:nvSpPr>
          <p:spPr>
            <a:xfrm>
              <a:off x="6026345" y="4469128"/>
              <a:ext cx="22348" cy="40183"/>
            </a:xfrm>
            <a:custGeom>
              <a:avLst/>
              <a:gdLst>
                <a:gd name="connsiteX0" fmla="*/ 3646 w 15309"/>
                <a:gd name="connsiteY0" fmla="*/ 2107 h 27526"/>
                <a:gd name="connsiteX1" fmla="*/ 26 w 15309"/>
                <a:gd name="connsiteY1" fmla="*/ 14680 h 27526"/>
                <a:gd name="connsiteX2" fmla="*/ 4789 w 15309"/>
                <a:gd name="connsiteY2" fmla="*/ 26682 h 27526"/>
                <a:gd name="connsiteX3" fmla="*/ 10313 w 15309"/>
                <a:gd name="connsiteY3" fmla="*/ 27158 h 27526"/>
                <a:gd name="connsiteX4" fmla="*/ 14123 w 15309"/>
                <a:gd name="connsiteY4" fmla="*/ 22776 h 27526"/>
                <a:gd name="connsiteX5" fmla="*/ 15266 w 15309"/>
                <a:gd name="connsiteY5" fmla="*/ 15347 h 27526"/>
                <a:gd name="connsiteX6" fmla="*/ 14600 w 15309"/>
                <a:gd name="connsiteY6" fmla="*/ 7822 h 27526"/>
                <a:gd name="connsiteX7" fmla="*/ 9551 w 15309"/>
                <a:gd name="connsiteY7" fmla="*/ 2488 h 27526"/>
                <a:gd name="connsiteX8" fmla="*/ 1931 w 15309"/>
                <a:gd name="connsiteY8" fmla="*/ 12 h 27526"/>
                <a:gd name="connsiteX9" fmla="*/ 1931 w 15309"/>
                <a:gd name="connsiteY9" fmla="*/ 2202 h 27526"/>
                <a:gd name="connsiteX10" fmla="*/ 7551 w 15309"/>
                <a:gd name="connsiteY10" fmla="*/ 3822 h 27526"/>
                <a:gd name="connsiteX11" fmla="*/ 12028 w 15309"/>
                <a:gd name="connsiteY11" fmla="*/ 7155 h 27526"/>
                <a:gd name="connsiteX12" fmla="*/ 13076 w 15309"/>
                <a:gd name="connsiteY12" fmla="*/ 12966 h 27526"/>
                <a:gd name="connsiteX13" fmla="*/ 12599 w 15309"/>
                <a:gd name="connsiteY13" fmla="*/ 19252 h 27526"/>
                <a:gd name="connsiteX14" fmla="*/ 10694 w 15309"/>
                <a:gd name="connsiteY14" fmla="*/ 24205 h 27526"/>
                <a:gd name="connsiteX15" fmla="*/ 6218 w 15309"/>
                <a:gd name="connsiteY15" fmla="*/ 24872 h 27526"/>
                <a:gd name="connsiteX16" fmla="*/ 1931 w 15309"/>
                <a:gd name="connsiteY16" fmla="*/ 15156 h 27526"/>
                <a:gd name="connsiteX17" fmla="*/ 4884 w 15309"/>
                <a:gd name="connsiteY17" fmla="*/ 3345 h 27526"/>
                <a:gd name="connsiteX18" fmla="*/ 3646 w 15309"/>
                <a:gd name="connsiteY18" fmla="*/ 2107 h 27526"/>
                <a:gd name="connsiteX19" fmla="*/ 3646 w 15309"/>
                <a:gd name="connsiteY19" fmla="*/ 2107 h 27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309" h="27526">
                  <a:moveTo>
                    <a:pt x="3646" y="2107"/>
                  </a:moveTo>
                  <a:cubicBezTo>
                    <a:pt x="407" y="5441"/>
                    <a:pt x="217" y="10394"/>
                    <a:pt x="26" y="14680"/>
                  </a:cubicBezTo>
                  <a:cubicBezTo>
                    <a:pt x="-164" y="19062"/>
                    <a:pt x="598" y="24396"/>
                    <a:pt x="4789" y="26682"/>
                  </a:cubicBezTo>
                  <a:cubicBezTo>
                    <a:pt x="6503" y="27539"/>
                    <a:pt x="8504" y="27825"/>
                    <a:pt x="10313" y="27158"/>
                  </a:cubicBezTo>
                  <a:cubicBezTo>
                    <a:pt x="12314" y="26396"/>
                    <a:pt x="13457" y="24681"/>
                    <a:pt x="14123" y="22776"/>
                  </a:cubicBezTo>
                  <a:cubicBezTo>
                    <a:pt x="14885" y="20395"/>
                    <a:pt x="15171" y="17823"/>
                    <a:pt x="15266" y="15347"/>
                  </a:cubicBezTo>
                  <a:cubicBezTo>
                    <a:pt x="15362" y="12870"/>
                    <a:pt x="15362" y="10203"/>
                    <a:pt x="14600" y="7822"/>
                  </a:cubicBezTo>
                  <a:cubicBezTo>
                    <a:pt x="13838" y="5346"/>
                    <a:pt x="11742" y="3726"/>
                    <a:pt x="9551" y="2488"/>
                  </a:cubicBezTo>
                  <a:cubicBezTo>
                    <a:pt x="7170" y="1155"/>
                    <a:pt x="4598" y="393"/>
                    <a:pt x="1931" y="12"/>
                  </a:cubicBezTo>
                  <a:cubicBezTo>
                    <a:pt x="598" y="-179"/>
                    <a:pt x="598" y="2012"/>
                    <a:pt x="1931" y="2202"/>
                  </a:cubicBezTo>
                  <a:cubicBezTo>
                    <a:pt x="3836" y="2393"/>
                    <a:pt x="5837" y="2964"/>
                    <a:pt x="7551" y="3822"/>
                  </a:cubicBezTo>
                  <a:cubicBezTo>
                    <a:pt x="9170" y="4584"/>
                    <a:pt x="10980" y="5631"/>
                    <a:pt x="12028" y="7155"/>
                  </a:cubicBezTo>
                  <a:cubicBezTo>
                    <a:pt x="13076" y="8775"/>
                    <a:pt x="13076" y="11156"/>
                    <a:pt x="13076" y="12966"/>
                  </a:cubicBezTo>
                  <a:cubicBezTo>
                    <a:pt x="13171" y="15061"/>
                    <a:pt x="12980" y="17252"/>
                    <a:pt x="12599" y="19252"/>
                  </a:cubicBezTo>
                  <a:cubicBezTo>
                    <a:pt x="12314" y="20967"/>
                    <a:pt x="12028" y="22967"/>
                    <a:pt x="10694" y="24205"/>
                  </a:cubicBezTo>
                  <a:cubicBezTo>
                    <a:pt x="9551" y="25348"/>
                    <a:pt x="7742" y="25443"/>
                    <a:pt x="6218" y="24872"/>
                  </a:cubicBezTo>
                  <a:cubicBezTo>
                    <a:pt x="2408" y="23443"/>
                    <a:pt x="1836" y="18585"/>
                    <a:pt x="1931" y="15156"/>
                  </a:cubicBezTo>
                  <a:cubicBezTo>
                    <a:pt x="2027" y="11251"/>
                    <a:pt x="2027" y="6298"/>
                    <a:pt x="4884" y="3345"/>
                  </a:cubicBezTo>
                  <a:cubicBezTo>
                    <a:pt x="6122" y="2679"/>
                    <a:pt x="4598" y="1155"/>
                    <a:pt x="3646" y="2107"/>
                  </a:cubicBezTo>
                  <a:lnTo>
                    <a:pt x="3646" y="2107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27EF13AD-B160-039E-80C7-152B74E44DF3}"/>
                </a:ext>
              </a:extLst>
            </p:cNvPr>
            <p:cNvSpPr/>
            <p:nvPr/>
          </p:nvSpPr>
          <p:spPr>
            <a:xfrm>
              <a:off x="5945879" y="4439774"/>
              <a:ext cx="96944" cy="34028"/>
            </a:xfrm>
            <a:custGeom>
              <a:avLst/>
              <a:gdLst>
                <a:gd name="connsiteX0" fmla="*/ 1331 w 66408"/>
                <a:gd name="connsiteY0" fmla="*/ 14405 h 23310"/>
                <a:gd name="connsiteX1" fmla="*/ 43050 w 66408"/>
                <a:gd name="connsiteY1" fmla="*/ 7166 h 23310"/>
                <a:gd name="connsiteX2" fmla="*/ 52766 w 66408"/>
                <a:gd name="connsiteY2" fmla="*/ 4975 h 23310"/>
                <a:gd name="connsiteX3" fmla="*/ 58195 w 66408"/>
                <a:gd name="connsiteY3" fmla="*/ 3641 h 23310"/>
                <a:gd name="connsiteX4" fmla="*/ 63052 w 66408"/>
                <a:gd name="connsiteY4" fmla="*/ 2403 h 23310"/>
                <a:gd name="connsiteX5" fmla="*/ 63814 w 66408"/>
                <a:gd name="connsiteY5" fmla="*/ 6404 h 23310"/>
                <a:gd name="connsiteX6" fmla="*/ 63338 w 66408"/>
                <a:gd name="connsiteY6" fmla="*/ 11261 h 23310"/>
                <a:gd name="connsiteX7" fmla="*/ 62291 w 66408"/>
                <a:gd name="connsiteY7" fmla="*/ 22310 h 23310"/>
                <a:gd name="connsiteX8" fmla="*/ 64481 w 66408"/>
                <a:gd name="connsiteY8" fmla="*/ 22310 h 23310"/>
                <a:gd name="connsiteX9" fmla="*/ 65624 w 66408"/>
                <a:gd name="connsiteY9" fmla="*/ 10023 h 23310"/>
                <a:gd name="connsiteX10" fmla="*/ 66196 w 66408"/>
                <a:gd name="connsiteY10" fmla="*/ 4499 h 23310"/>
                <a:gd name="connsiteX11" fmla="*/ 66100 w 66408"/>
                <a:gd name="connsiteY11" fmla="*/ 1070 h 23310"/>
                <a:gd name="connsiteX12" fmla="*/ 60671 w 66408"/>
                <a:gd name="connsiteY12" fmla="*/ 689 h 23310"/>
                <a:gd name="connsiteX13" fmla="*/ 48575 w 66408"/>
                <a:gd name="connsiteY13" fmla="*/ 3546 h 23310"/>
                <a:gd name="connsiteX14" fmla="*/ 759 w 66408"/>
                <a:gd name="connsiteY14" fmla="*/ 12214 h 23310"/>
                <a:gd name="connsiteX15" fmla="*/ 1331 w 66408"/>
                <a:gd name="connsiteY15" fmla="*/ 14405 h 23310"/>
                <a:gd name="connsiteX16" fmla="*/ 1331 w 66408"/>
                <a:gd name="connsiteY16" fmla="*/ 14405 h 2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408" h="23310">
                  <a:moveTo>
                    <a:pt x="1331" y="14405"/>
                  </a:moveTo>
                  <a:cubicBezTo>
                    <a:pt x="15332" y="12500"/>
                    <a:pt x="29239" y="10118"/>
                    <a:pt x="43050" y="7166"/>
                  </a:cubicBezTo>
                  <a:cubicBezTo>
                    <a:pt x="46289" y="6499"/>
                    <a:pt x="49527" y="5737"/>
                    <a:pt x="52766" y="4975"/>
                  </a:cubicBezTo>
                  <a:cubicBezTo>
                    <a:pt x="54575" y="4594"/>
                    <a:pt x="56385" y="4118"/>
                    <a:pt x="58195" y="3641"/>
                  </a:cubicBezTo>
                  <a:cubicBezTo>
                    <a:pt x="59623" y="3260"/>
                    <a:pt x="61624" y="2403"/>
                    <a:pt x="63052" y="2403"/>
                  </a:cubicBezTo>
                  <a:cubicBezTo>
                    <a:pt x="64958" y="2498"/>
                    <a:pt x="64005" y="4784"/>
                    <a:pt x="63814" y="6404"/>
                  </a:cubicBezTo>
                  <a:cubicBezTo>
                    <a:pt x="63624" y="8023"/>
                    <a:pt x="63529" y="9642"/>
                    <a:pt x="63338" y="11261"/>
                  </a:cubicBezTo>
                  <a:cubicBezTo>
                    <a:pt x="62957" y="14976"/>
                    <a:pt x="62671" y="18596"/>
                    <a:pt x="62291" y="22310"/>
                  </a:cubicBezTo>
                  <a:cubicBezTo>
                    <a:pt x="62195" y="23644"/>
                    <a:pt x="64291" y="23644"/>
                    <a:pt x="64481" y="22310"/>
                  </a:cubicBezTo>
                  <a:cubicBezTo>
                    <a:pt x="64862" y="18215"/>
                    <a:pt x="65243" y="14119"/>
                    <a:pt x="65624" y="10023"/>
                  </a:cubicBezTo>
                  <a:cubicBezTo>
                    <a:pt x="65815" y="8213"/>
                    <a:pt x="66005" y="6308"/>
                    <a:pt x="66196" y="4499"/>
                  </a:cubicBezTo>
                  <a:cubicBezTo>
                    <a:pt x="66291" y="3451"/>
                    <a:pt x="66672" y="2117"/>
                    <a:pt x="66100" y="1070"/>
                  </a:cubicBezTo>
                  <a:cubicBezTo>
                    <a:pt x="64958" y="-835"/>
                    <a:pt x="62386" y="308"/>
                    <a:pt x="60671" y="689"/>
                  </a:cubicBezTo>
                  <a:cubicBezTo>
                    <a:pt x="56671" y="1736"/>
                    <a:pt x="52575" y="2689"/>
                    <a:pt x="48575" y="3546"/>
                  </a:cubicBezTo>
                  <a:cubicBezTo>
                    <a:pt x="32763" y="7166"/>
                    <a:pt x="16856" y="10023"/>
                    <a:pt x="759" y="12214"/>
                  </a:cubicBezTo>
                  <a:cubicBezTo>
                    <a:pt x="-575" y="12500"/>
                    <a:pt x="-3" y="14595"/>
                    <a:pt x="1331" y="14405"/>
                  </a:cubicBezTo>
                  <a:lnTo>
                    <a:pt x="1331" y="14405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317E0047-F62E-5415-B90F-A3620A8DA2FE}"/>
                </a:ext>
              </a:extLst>
            </p:cNvPr>
            <p:cNvSpPr/>
            <p:nvPr/>
          </p:nvSpPr>
          <p:spPr>
            <a:xfrm>
              <a:off x="5974977" y="4505716"/>
              <a:ext cx="80159" cy="98537"/>
            </a:xfrm>
            <a:custGeom>
              <a:avLst/>
              <a:gdLst>
                <a:gd name="connsiteX0" fmla="*/ 43786 w 54910"/>
                <a:gd name="connsiteY0" fmla="*/ 1048 h 67499"/>
                <a:gd name="connsiteX1" fmla="*/ 46834 w 54910"/>
                <a:gd name="connsiteY1" fmla="*/ 29909 h 67499"/>
                <a:gd name="connsiteX2" fmla="*/ 49596 w 54910"/>
                <a:gd name="connsiteY2" fmla="*/ 44005 h 67499"/>
                <a:gd name="connsiteX3" fmla="*/ 51406 w 54910"/>
                <a:gd name="connsiteY3" fmla="*/ 51245 h 67499"/>
                <a:gd name="connsiteX4" fmla="*/ 52359 w 54910"/>
                <a:gd name="connsiteY4" fmla="*/ 54864 h 67499"/>
                <a:gd name="connsiteX5" fmla="*/ 49596 w 54910"/>
                <a:gd name="connsiteY5" fmla="*/ 57626 h 67499"/>
                <a:gd name="connsiteX6" fmla="*/ 352 w 54910"/>
                <a:gd name="connsiteY6" fmla="*/ 65723 h 67499"/>
                <a:gd name="connsiteX7" fmla="*/ 1876 w 54910"/>
                <a:gd name="connsiteY7" fmla="*/ 67247 h 67499"/>
                <a:gd name="connsiteX8" fmla="*/ 29118 w 54910"/>
                <a:gd name="connsiteY8" fmla="*/ 59627 h 67499"/>
                <a:gd name="connsiteX9" fmla="*/ 44072 w 54910"/>
                <a:gd name="connsiteY9" fmla="*/ 60008 h 67499"/>
                <a:gd name="connsiteX10" fmla="*/ 54359 w 54910"/>
                <a:gd name="connsiteY10" fmla="*/ 58388 h 67499"/>
                <a:gd name="connsiteX11" fmla="*/ 54740 w 54910"/>
                <a:gd name="connsiteY11" fmla="*/ 55340 h 67499"/>
                <a:gd name="connsiteX12" fmla="*/ 52644 w 54910"/>
                <a:gd name="connsiteY12" fmla="*/ 47625 h 67499"/>
                <a:gd name="connsiteX13" fmla="*/ 49501 w 54910"/>
                <a:gd name="connsiteY13" fmla="*/ 32957 h 67499"/>
                <a:gd name="connsiteX14" fmla="*/ 45882 w 54910"/>
                <a:gd name="connsiteY14" fmla="*/ 953 h 67499"/>
                <a:gd name="connsiteX15" fmla="*/ 43786 w 54910"/>
                <a:gd name="connsiteY15" fmla="*/ 1048 h 67499"/>
                <a:gd name="connsiteX16" fmla="*/ 43786 w 54910"/>
                <a:gd name="connsiteY16" fmla="*/ 1048 h 6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910" h="67499">
                  <a:moveTo>
                    <a:pt x="43786" y="1048"/>
                  </a:moveTo>
                  <a:cubicBezTo>
                    <a:pt x="44262" y="10668"/>
                    <a:pt x="45215" y="20384"/>
                    <a:pt x="46834" y="29909"/>
                  </a:cubicBezTo>
                  <a:cubicBezTo>
                    <a:pt x="47596" y="34671"/>
                    <a:pt x="48549" y="39338"/>
                    <a:pt x="49596" y="44005"/>
                  </a:cubicBezTo>
                  <a:cubicBezTo>
                    <a:pt x="50168" y="46482"/>
                    <a:pt x="50739" y="48863"/>
                    <a:pt x="51406" y="51245"/>
                  </a:cubicBezTo>
                  <a:cubicBezTo>
                    <a:pt x="51692" y="52388"/>
                    <a:pt x="52263" y="53626"/>
                    <a:pt x="52359" y="54864"/>
                  </a:cubicBezTo>
                  <a:cubicBezTo>
                    <a:pt x="52644" y="57436"/>
                    <a:pt x="51882" y="57436"/>
                    <a:pt x="49596" y="57626"/>
                  </a:cubicBezTo>
                  <a:cubicBezTo>
                    <a:pt x="33023" y="58865"/>
                    <a:pt x="14259" y="53816"/>
                    <a:pt x="352" y="65723"/>
                  </a:cubicBezTo>
                  <a:cubicBezTo>
                    <a:pt x="-696" y="66580"/>
                    <a:pt x="828" y="68104"/>
                    <a:pt x="1876" y="67247"/>
                  </a:cubicBezTo>
                  <a:cubicBezTo>
                    <a:pt x="9401" y="60770"/>
                    <a:pt x="19497" y="59531"/>
                    <a:pt x="29118" y="59627"/>
                  </a:cubicBezTo>
                  <a:cubicBezTo>
                    <a:pt x="34071" y="59627"/>
                    <a:pt x="39024" y="60008"/>
                    <a:pt x="44072" y="60008"/>
                  </a:cubicBezTo>
                  <a:cubicBezTo>
                    <a:pt x="46644" y="60008"/>
                    <a:pt x="52549" y="60865"/>
                    <a:pt x="54359" y="58388"/>
                  </a:cubicBezTo>
                  <a:cubicBezTo>
                    <a:pt x="55121" y="57436"/>
                    <a:pt x="54930" y="56388"/>
                    <a:pt x="54740" y="55340"/>
                  </a:cubicBezTo>
                  <a:cubicBezTo>
                    <a:pt x="54264" y="52768"/>
                    <a:pt x="53311" y="50197"/>
                    <a:pt x="52644" y="47625"/>
                  </a:cubicBezTo>
                  <a:cubicBezTo>
                    <a:pt x="51406" y="42767"/>
                    <a:pt x="50358" y="37910"/>
                    <a:pt x="49501" y="32957"/>
                  </a:cubicBezTo>
                  <a:cubicBezTo>
                    <a:pt x="47596" y="22384"/>
                    <a:pt x="46358" y="11716"/>
                    <a:pt x="45882" y="953"/>
                  </a:cubicBezTo>
                  <a:cubicBezTo>
                    <a:pt x="45882" y="-286"/>
                    <a:pt x="43691" y="-381"/>
                    <a:pt x="43786" y="1048"/>
                  </a:cubicBezTo>
                  <a:lnTo>
                    <a:pt x="43786" y="1048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94AEE72-64D0-0DDA-E7B0-DFEC8EE8C20D}"/>
                </a:ext>
              </a:extLst>
            </p:cNvPr>
            <p:cNvSpPr/>
            <p:nvPr/>
          </p:nvSpPr>
          <p:spPr>
            <a:xfrm>
              <a:off x="5974773" y="4407736"/>
              <a:ext cx="35227" cy="39062"/>
            </a:xfrm>
            <a:custGeom>
              <a:avLst/>
              <a:gdLst>
                <a:gd name="connsiteX0" fmla="*/ 302 w 24131"/>
                <a:gd name="connsiteY0" fmla="*/ 1872 h 26758"/>
                <a:gd name="connsiteX1" fmla="*/ 22590 w 24131"/>
                <a:gd name="connsiteY1" fmla="*/ 26541 h 26758"/>
                <a:gd name="connsiteX2" fmla="*/ 23638 w 24131"/>
                <a:gd name="connsiteY2" fmla="*/ 24636 h 26758"/>
                <a:gd name="connsiteX3" fmla="*/ 1826 w 24131"/>
                <a:gd name="connsiteY3" fmla="*/ 252 h 26758"/>
                <a:gd name="connsiteX4" fmla="*/ 302 w 24131"/>
                <a:gd name="connsiteY4" fmla="*/ 1872 h 26758"/>
                <a:gd name="connsiteX5" fmla="*/ 302 w 24131"/>
                <a:gd name="connsiteY5" fmla="*/ 1872 h 26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31" h="26758">
                  <a:moveTo>
                    <a:pt x="302" y="1872"/>
                  </a:moveTo>
                  <a:cubicBezTo>
                    <a:pt x="8398" y="9492"/>
                    <a:pt x="13541" y="19874"/>
                    <a:pt x="22590" y="26541"/>
                  </a:cubicBezTo>
                  <a:cubicBezTo>
                    <a:pt x="23733" y="27399"/>
                    <a:pt x="24781" y="25494"/>
                    <a:pt x="23638" y="24636"/>
                  </a:cubicBezTo>
                  <a:cubicBezTo>
                    <a:pt x="14780" y="18064"/>
                    <a:pt x="9731" y="7777"/>
                    <a:pt x="1826" y="252"/>
                  </a:cubicBezTo>
                  <a:cubicBezTo>
                    <a:pt x="873" y="-605"/>
                    <a:pt x="-651" y="919"/>
                    <a:pt x="302" y="1872"/>
                  </a:cubicBezTo>
                  <a:lnTo>
                    <a:pt x="302" y="1872"/>
                  </a:lnTo>
                  <a:close/>
                </a:path>
              </a:pathLst>
            </a:custGeom>
            <a:solidFill>
              <a:srgbClr val="005950"/>
            </a:solidFill>
            <a:ln w="3175" cap="flat">
              <a:solidFill>
                <a:schemeClr val="accent1">
                  <a:alpha val="5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591D0B1F-1EC3-B997-AE66-47AA06272281}"/>
                </a:ext>
              </a:extLst>
            </p:cNvPr>
            <p:cNvSpPr/>
            <p:nvPr/>
          </p:nvSpPr>
          <p:spPr>
            <a:xfrm>
              <a:off x="5994397" y="4593559"/>
              <a:ext cx="15022" cy="214846"/>
            </a:xfrm>
            <a:custGeom>
              <a:avLst/>
              <a:gdLst>
                <a:gd name="connsiteX0" fmla="*/ 8099 w 10290"/>
                <a:gd name="connsiteY0" fmla="*/ 1072 h 147173"/>
                <a:gd name="connsiteX1" fmla="*/ 3 w 10290"/>
                <a:gd name="connsiteY1" fmla="*/ 146137 h 147173"/>
                <a:gd name="connsiteX2" fmla="*/ 2194 w 10290"/>
                <a:gd name="connsiteY2" fmla="*/ 146137 h 147173"/>
                <a:gd name="connsiteX3" fmla="*/ 10290 w 10290"/>
                <a:gd name="connsiteY3" fmla="*/ 1072 h 147173"/>
                <a:gd name="connsiteX4" fmla="*/ 8099 w 10290"/>
                <a:gd name="connsiteY4" fmla="*/ 1072 h 147173"/>
                <a:gd name="connsiteX5" fmla="*/ 8099 w 10290"/>
                <a:gd name="connsiteY5" fmla="*/ 1072 h 147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90" h="147173">
                  <a:moveTo>
                    <a:pt x="8099" y="1072"/>
                  </a:moveTo>
                  <a:cubicBezTo>
                    <a:pt x="5909" y="49459"/>
                    <a:pt x="3241" y="97846"/>
                    <a:pt x="3" y="146137"/>
                  </a:cubicBezTo>
                  <a:cubicBezTo>
                    <a:pt x="-92" y="147566"/>
                    <a:pt x="2099" y="147471"/>
                    <a:pt x="2194" y="146137"/>
                  </a:cubicBezTo>
                  <a:cubicBezTo>
                    <a:pt x="5432" y="97846"/>
                    <a:pt x="8099" y="49459"/>
                    <a:pt x="10290" y="1072"/>
                  </a:cubicBezTo>
                  <a:cubicBezTo>
                    <a:pt x="10290" y="-357"/>
                    <a:pt x="8195" y="-357"/>
                    <a:pt x="8099" y="1072"/>
                  </a:cubicBezTo>
                  <a:lnTo>
                    <a:pt x="8099" y="1072"/>
                  </a:lnTo>
                  <a:close/>
                </a:path>
              </a:pathLst>
            </a:custGeom>
            <a:solidFill>
              <a:srgbClr val="005950"/>
            </a:solidFill>
            <a:ln w="3175" cap="flat">
              <a:solidFill>
                <a:schemeClr val="accent1">
                  <a:alpha val="5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8EAEC094-EA80-93AB-BCB4-239F63FEDBA0}"/>
                </a:ext>
              </a:extLst>
            </p:cNvPr>
            <p:cNvSpPr/>
            <p:nvPr/>
          </p:nvSpPr>
          <p:spPr>
            <a:xfrm>
              <a:off x="5882847" y="4369046"/>
              <a:ext cx="56837" cy="22359"/>
            </a:xfrm>
            <a:custGeom>
              <a:avLst/>
              <a:gdLst>
                <a:gd name="connsiteX0" fmla="*/ 2122 w 38934"/>
                <a:gd name="connsiteY0" fmla="*/ 14564 h 15316"/>
                <a:gd name="connsiteX1" fmla="*/ 20886 w 38934"/>
                <a:gd name="connsiteY1" fmla="*/ 2753 h 15316"/>
                <a:gd name="connsiteX2" fmla="*/ 32507 w 38934"/>
                <a:gd name="connsiteY2" fmla="*/ 3896 h 15316"/>
                <a:gd name="connsiteX3" fmla="*/ 36793 w 38934"/>
                <a:gd name="connsiteY3" fmla="*/ 12659 h 15316"/>
                <a:gd name="connsiteX4" fmla="*/ 38889 w 38934"/>
                <a:gd name="connsiteY4" fmla="*/ 12087 h 15316"/>
                <a:gd name="connsiteX5" fmla="*/ 33840 w 38934"/>
                <a:gd name="connsiteY5" fmla="*/ 2181 h 15316"/>
                <a:gd name="connsiteX6" fmla="*/ 21267 w 38934"/>
                <a:gd name="connsiteY6" fmla="*/ 467 h 15316"/>
                <a:gd name="connsiteX7" fmla="*/ 27 w 38934"/>
                <a:gd name="connsiteY7" fmla="*/ 13897 h 15316"/>
                <a:gd name="connsiteX8" fmla="*/ 2122 w 38934"/>
                <a:gd name="connsiteY8" fmla="*/ 14564 h 15316"/>
                <a:gd name="connsiteX9" fmla="*/ 2122 w 38934"/>
                <a:gd name="connsiteY9" fmla="*/ 14564 h 15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934" h="15316">
                  <a:moveTo>
                    <a:pt x="2122" y="14564"/>
                  </a:moveTo>
                  <a:cubicBezTo>
                    <a:pt x="3551" y="6277"/>
                    <a:pt x="13743" y="3800"/>
                    <a:pt x="20886" y="2753"/>
                  </a:cubicBezTo>
                  <a:cubicBezTo>
                    <a:pt x="24411" y="2276"/>
                    <a:pt x="29459" y="1324"/>
                    <a:pt x="32507" y="3896"/>
                  </a:cubicBezTo>
                  <a:cubicBezTo>
                    <a:pt x="34983" y="6086"/>
                    <a:pt x="36031" y="9611"/>
                    <a:pt x="36793" y="12659"/>
                  </a:cubicBezTo>
                  <a:cubicBezTo>
                    <a:pt x="37174" y="13992"/>
                    <a:pt x="39270" y="13421"/>
                    <a:pt x="38889" y="12087"/>
                  </a:cubicBezTo>
                  <a:cubicBezTo>
                    <a:pt x="37936" y="8563"/>
                    <a:pt x="36698" y="4658"/>
                    <a:pt x="33840" y="2181"/>
                  </a:cubicBezTo>
                  <a:cubicBezTo>
                    <a:pt x="30411" y="-676"/>
                    <a:pt x="25363" y="-105"/>
                    <a:pt x="21267" y="467"/>
                  </a:cubicBezTo>
                  <a:cubicBezTo>
                    <a:pt x="13171" y="1514"/>
                    <a:pt x="1741" y="4467"/>
                    <a:pt x="27" y="13897"/>
                  </a:cubicBezTo>
                  <a:cubicBezTo>
                    <a:pt x="-259" y="15326"/>
                    <a:pt x="1836" y="15897"/>
                    <a:pt x="2122" y="14564"/>
                  </a:cubicBezTo>
                  <a:lnTo>
                    <a:pt x="2122" y="14564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2D31C3F5-DE62-E45C-03CA-959A1F99553B}"/>
                </a:ext>
              </a:extLst>
            </p:cNvPr>
            <p:cNvSpPr/>
            <p:nvPr/>
          </p:nvSpPr>
          <p:spPr>
            <a:xfrm>
              <a:off x="5831597" y="4332448"/>
              <a:ext cx="52022" cy="13765"/>
            </a:xfrm>
            <a:custGeom>
              <a:avLst/>
              <a:gdLst>
                <a:gd name="connsiteX0" fmla="*/ 32850 w 35636"/>
                <a:gd name="connsiteY0" fmla="*/ 0 h 9429"/>
                <a:gd name="connsiteX1" fmla="*/ 12371 w 35636"/>
                <a:gd name="connsiteY1" fmla="*/ 190 h 9429"/>
                <a:gd name="connsiteX2" fmla="*/ 5228 w 35636"/>
                <a:gd name="connsiteY2" fmla="*/ 1238 h 9429"/>
                <a:gd name="connsiteX3" fmla="*/ 179 w 35636"/>
                <a:gd name="connsiteY3" fmla="*/ 5429 h 9429"/>
                <a:gd name="connsiteX4" fmla="*/ 3799 w 35636"/>
                <a:gd name="connsiteY4" fmla="*/ 8858 h 9429"/>
                <a:gd name="connsiteX5" fmla="*/ 13610 w 35636"/>
                <a:gd name="connsiteY5" fmla="*/ 9049 h 9429"/>
                <a:gd name="connsiteX6" fmla="*/ 34565 w 35636"/>
                <a:gd name="connsiteY6" fmla="*/ 9430 h 9429"/>
                <a:gd name="connsiteX7" fmla="*/ 34565 w 35636"/>
                <a:gd name="connsiteY7" fmla="*/ 7239 h 9429"/>
                <a:gd name="connsiteX8" fmla="*/ 17515 w 35636"/>
                <a:gd name="connsiteY8" fmla="*/ 6953 h 9429"/>
                <a:gd name="connsiteX9" fmla="*/ 9038 w 35636"/>
                <a:gd name="connsiteY9" fmla="*/ 6763 h 9429"/>
                <a:gd name="connsiteX10" fmla="*/ 5132 w 35636"/>
                <a:gd name="connsiteY10" fmla="*/ 6667 h 9429"/>
                <a:gd name="connsiteX11" fmla="*/ 3132 w 35636"/>
                <a:gd name="connsiteY11" fmla="*/ 6667 h 9429"/>
                <a:gd name="connsiteX12" fmla="*/ 2370 w 35636"/>
                <a:gd name="connsiteY12" fmla="*/ 5810 h 9429"/>
                <a:gd name="connsiteX13" fmla="*/ 2942 w 35636"/>
                <a:gd name="connsiteY13" fmla="*/ 5143 h 9429"/>
                <a:gd name="connsiteX14" fmla="*/ 16086 w 35636"/>
                <a:gd name="connsiteY14" fmla="*/ 2381 h 9429"/>
                <a:gd name="connsiteX15" fmla="*/ 32945 w 35636"/>
                <a:gd name="connsiteY15" fmla="*/ 2286 h 9429"/>
                <a:gd name="connsiteX16" fmla="*/ 32850 w 35636"/>
                <a:gd name="connsiteY16" fmla="*/ 0 h 9429"/>
                <a:gd name="connsiteX17" fmla="*/ 32850 w 35636"/>
                <a:gd name="connsiteY17" fmla="*/ 0 h 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636" h="9429">
                  <a:moveTo>
                    <a:pt x="32850" y="0"/>
                  </a:moveTo>
                  <a:cubicBezTo>
                    <a:pt x="25992" y="95"/>
                    <a:pt x="19229" y="0"/>
                    <a:pt x="12371" y="190"/>
                  </a:cubicBezTo>
                  <a:cubicBezTo>
                    <a:pt x="9990" y="286"/>
                    <a:pt x="7418" y="381"/>
                    <a:pt x="5228" y="1238"/>
                  </a:cubicBezTo>
                  <a:cubicBezTo>
                    <a:pt x="3227" y="1905"/>
                    <a:pt x="846" y="3334"/>
                    <a:pt x="179" y="5429"/>
                  </a:cubicBezTo>
                  <a:cubicBezTo>
                    <a:pt x="-678" y="8096"/>
                    <a:pt x="1703" y="8858"/>
                    <a:pt x="3799" y="8858"/>
                  </a:cubicBezTo>
                  <a:cubicBezTo>
                    <a:pt x="7037" y="8954"/>
                    <a:pt x="10371" y="8954"/>
                    <a:pt x="13610" y="9049"/>
                  </a:cubicBezTo>
                  <a:cubicBezTo>
                    <a:pt x="20563" y="9144"/>
                    <a:pt x="27611" y="9335"/>
                    <a:pt x="34565" y="9430"/>
                  </a:cubicBezTo>
                  <a:cubicBezTo>
                    <a:pt x="35993" y="9430"/>
                    <a:pt x="35993" y="7334"/>
                    <a:pt x="34565" y="7239"/>
                  </a:cubicBezTo>
                  <a:cubicBezTo>
                    <a:pt x="28850" y="7144"/>
                    <a:pt x="23230" y="7048"/>
                    <a:pt x="17515" y="6953"/>
                  </a:cubicBezTo>
                  <a:cubicBezTo>
                    <a:pt x="14657" y="6858"/>
                    <a:pt x="11800" y="6858"/>
                    <a:pt x="9038" y="6763"/>
                  </a:cubicBezTo>
                  <a:cubicBezTo>
                    <a:pt x="7704" y="6763"/>
                    <a:pt x="6466" y="6763"/>
                    <a:pt x="5132" y="6667"/>
                  </a:cubicBezTo>
                  <a:cubicBezTo>
                    <a:pt x="4561" y="6667"/>
                    <a:pt x="3704" y="6858"/>
                    <a:pt x="3132" y="6667"/>
                  </a:cubicBezTo>
                  <a:cubicBezTo>
                    <a:pt x="2465" y="6858"/>
                    <a:pt x="2180" y="6572"/>
                    <a:pt x="2370" y="5810"/>
                  </a:cubicBezTo>
                  <a:cubicBezTo>
                    <a:pt x="2465" y="5524"/>
                    <a:pt x="2656" y="5334"/>
                    <a:pt x="2942" y="5143"/>
                  </a:cubicBezTo>
                  <a:cubicBezTo>
                    <a:pt x="6085" y="1810"/>
                    <a:pt x="11990" y="2381"/>
                    <a:pt x="16086" y="2381"/>
                  </a:cubicBezTo>
                  <a:cubicBezTo>
                    <a:pt x="21706" y="2381"/>
                    <a:pt x="27326" y="2286"/>
                    <a:pt x="32945" y="2286"/>
                  </a:cubicBezTo>
                  <a:cubicBezTo>
                    <a:pt x="34279" y="2191"/>
                    <a:pt x="34279" y="0"/>
                    <a:pt x="32850" y="0"/>
                  </a:cubicBezTo>
                  <a:lnTo>
                    <a:pt x="32850" y="0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275918A4-72BB-C861-61E8-00652E743F1B}"/>
                </a:ext>
              </a:extLst>
            </p:cNvPr>
            <p:cNvSpPr/>
            <p:nvPr/>
          </p:nvSpPr>
          <p:spPr>
            <a:xfrm>
              <a:off x="5150530" y="4288731"/>
              <a:ext cx="417169" cy="333743"/>
            </a:xfrm>
            <a:custGeom>
              <a:avLst/>
              <a:gdLst>
                <a:gd name="connsiteX0" fmla="*/ 1041 w 285767"/>
                <a:gd name="connsiteY0" fmla="*/ 1000 h 228619"/>
                <a:gd name="connsiteX1" fmla="*/ 15138 w 285767"/>
                <a:gd name="connsiteY1" fmla="*/ 195691 h 228619"/>
                <a:gd name="connsiteX2" fmla="*/ 14852 w 285767"/>
                <a:gd name="connsiteY2" fmla="*/ 219218 h 228619"/>
                <a:gd name="connsiteX3" fmla="*/ 17900 w 285767"/>
                <a:gd name="connsiteY3" fmla="*/ 228362 h 228619"/>
                <a:gd name="connsiteX4" fmla="*/ 27711 w 285767"/>
                <a:gd name="connsiteY4" fmla="*/ 227695 h 228619"/>
                <a:gd name="connsiteX5" fmla="*/ 39427 w 285767"/>
                <a:gd name="connsiteY5" fmla="*/ 226457 h 228619"/>
                <a:gd name="connsiteX6" fmla="*/ 66478 w 285767"/>
                <a:gd name="connsiteY6" fmla="*/ 223885 h 228619"/>
                <a:gd name="connsiteX7" fmla="*/ 168967 w 285767"/>
                <a:gd name="connsiteY7" fmla="*/ 217313 h 228619"/>
                <a:gd name="connsiteX8" fmla="*/ 284696 w 285767"/>
                <a:gd name="connsiteY8" fmla="*/ 215694 h 228619"/>
                <a:gd name="connsiteX9" fmla="*/ 284696 w 285767"/>
                <a:gd name="connsiteY9" fmla="*/ 213503 h 228619"/>
                <a:gd name="connsiteX10" fmla="*/ 88862 w 285767"/>
                <a:gd name="connsiteY10" fmla="*/ 219885 h 228619"/>
                <a:gd name="connsiteX11" fmla="*/ 39427 w 285767"/>
                <a:gd name="connsiteY11" fmla="*/ 224266 h 228619"/>
                <a:gd name="connsiteX12" fmla="*/ 27711 w 285767"/>
                <a:gd name="connsiteY12" fmla="*/ 225504 h 228619"/>
                <a:gd name="connsiteX13" fmla="*/ 16853 w 285767"/>
                <a:gd name="connsiteY13" fmla="*/ 222552 h 228619"/>
                <a:gd name="connsiteX14" fmla="*/ 17329 w 285767"/>
                <a:gd name="connsiteY14" fmla="*/ 211312 h 228619"/>
                <a:gd name="connsiteX15" fmla="*/ 17424 w 285767"/>
                <a:gd name="connsiteY15" fmla="*/ 197882 h 228619"/>
                <a:gd name="connsiteX16" fmla="*/ 8661 w 285767"/>
                <a:gd name="connsiteY16" fmla="*/ 106061 h 228619"/>
                <a:gd name="connsiteX17" fmla="*/ 3232 w 285767"/>
                <a:gd name="connsiteY17" fmla="*/ 1000 h 228619"/>
                <a:gd name="connsiteX18" fmla="*/ 1041 w 285767"/>
                <a:gd name="connsiteY18" fmla="*/ 1000 h 228619"/>
                <a:gd name="connsiteX19" fmla="*/ 1041 w 285767"/>
                <a:gd name="connsiteY19" fmla="*/ 1000 h 22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5767" h="228619">
                  <a:moveTo>
                    <a:pt x="1041" y="1000"/>
                  </a:moveTo>
                  <a:cubicBezTo>
                    <a:pt x="-4483" y="66437"/>
                    <a:pt x="13709" y="130540"/>
                    <a:pt x="15138" y="195691"/>
                  </a:cubicBezTo>
                  <a:cubicBezTo>
                    <a:pt x="15329" y="203502"/>
                    <a:pt x="15233" y="211407"/>
                    <a:pt x="14852" y="219218"/>
                  </a:cubicBezTo>
                  <a:cubicBezTo>
                    <a:pt x="14662" y="222647"/>
                    <a:pt x="13709" y="227219"/>
                    <a:pt x="17900" y="228362"/>
                  </a:cubicBezTo>
                  <a:cubicBezTo>
                    <a:pt x="20663" y="229124"/>
                    <a:pt x="24949" y="227981"/>
                    <a:pt x="27711" y="227695"/>
                  </a:cubicBezTo>
                  <a:cubicBezTo>
                    <a:pt x="31616" y="227314"/>
                    <a:pt x="35522" y="226838"/>
                    <a:pt x="39427" y="226457"/>
                  </a:cubicBezTo>
                  <a:cubicBezTo>
                    <a:pt x="48476" y="225504"/>
                    <a:pt x="57429" y="224742"/>
                    <a:pt x="66478" y="223885"/>
                  </a:cubicBezTo>
                  <a:cubicBezTo>
                    <a:pt x="100577" y="220837"/>
                    <a:pt x="134772" y="218646"/>
                    <a:pt x="168967" y="217313"/>
                  </a:cubicBezTo>
                  <a:cubicBezTo>
                    <a:pt x="207543" y="215789"/>
                    <a:pt x="246119" y="215217"/>
                    <a:pt x="284696" y="215694"/>
                  </a:cubicBezTo>
                  <a:cubicBezTo>
                    <a:pt x="286124" y="215694"/>
                    <a:pt x="286124" y="213598"/>
                    <a:pt x="284696" y="213503"/>
                  </a:cubicBezTo>
                  <a:cubicBezTo>
                    <a:pt x="219354" y="212741"/>
                    <a:pt x="154013" y="214836"/>
                    <a:pt x="88862" y="219885"/>
                  </a:cubicBezTo>
                  <a:cubicBezTo>
                    <a:pt x="72383" y="221123"/>
                    <a:pt x="55905" y="222647"/>
                    <a:pt x="39427" y="224266"/>
                  </a:cubicBezTo>
                  <a:cubicBezTo>
                    <a:pt x="35522" y="224647"/>
                    <a:pt x="31616" y="225028"/>
                    <a:pt x="27711" y="225504"/>
                  </a:cubicBezTo>
                  <a:cubicBezTo>
                    <a:pt x="23615" y="225981"/>
                    <a:pt x="18091" y="228362"/>
                    <a:pt x="16853" y="222552"/>
                  </a:cubicBezTo>
                  <a:cubicBezTo>
                    <a:pt x="16186" y="219313"/>
                    <a:pt x="17234" y="214646"/>
                    <a:pt x="17329" y="211312"/>
                  </a:cubicBezTo>
                  <a:cubicBezTo>
                    <a:pt x="17424" y="206835"/>
                    <a:pt x="17424" y="202359"/>
                    <a:pt x="17424" y="197882"/>
                  </a:cubicBezTo>
                  <a:cubicBezTo>
                    <a:pt x="16948" y="167116"/>
                    <a:pt x="12566" y="136541"/>
                    <a:pt x="8661" y="106061"/>
                  </a:cubicBezTo>
                  <a:cubicBezTo>
                    <a:pt x="4089" y="71295"/>
                    <a:pt x="184" y="36147"/>
                    <a:pt x="3232" y="1000"/>
                  </a:cubicBezTo>
                  <a:cubicBezTo>
                    <a:pt x="3327" y="-333"/>
                    <a:pt x="1136" y="-333"/>
                    <a:pt x="1041" y="1000"/>
                  </a:cubicBezTo>
                  <a:lnTo>
                    <a:pt x="1041" y="1000"/>
                  </a:lnTo>
                  <a:close/>
                </a:path>
              </a:pathLst>
            </a:custGeom>
            <a:solidFill>
              <a:srgbClr val="005950"/>
            </a:solidFill>
            <a:ln w="3175" cap="flat">
              <a:solidFill>
                <a:schemeClr val="accent1">
                  <a:alpha val="3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69A7CBB7-D13B-B56C-859B-6836E2FDDE43}"/>
                </a:ext>
              </a:extLst>
            </p:cNvPr>
            <p:cNvSpPr/>
            <p:nvPr/>
          </p:nvSpPr>
          <p:spPr>
            <a:xfrm>
              <a:off x="5146732" y="4259752"/>
              <a:ext cx="612818" cy="51088"/>
            </a:xfrm>
            <a:custGeom>
              <a:avLst/>
              <a:gdLst>
                <a:gd name="connsiteX0" fmla="*/ 419791 w 419790"/>
                <a:gd name="connsiteY0" fmla="*/ 33996 h 34996"/>
                <a:gd name="connsiteX1" fmla="*/ 419124 w 419790"/>
                <a:gd name="connsiteY1" fmla="*/ 11803 h 34996"/>
                <a:gd name="connsiteX2" fmla="*/ 416838 w 419790"/>
                <a:gd name="connsiteY2" fmla="*/ 468 h 34996"/>
                <a:gd name="connsiteX3" fmla="*/ 404741 w 419790"/>
                <a:gd name="connsiteY3" fmla="*/ 2564 h 34996"/>
                <a:gd name="connsiteX4" fmla="*/ 381310 w 419790"/>
                <a:gd name="connsiteY4" fmla="*/ 5421 h 34996"/>
                <a:gd name="connsiteX5" fmla="*/ 289870 w 419790"/>
                <a:gd name="connsiteY5" fmla="*/ 8279 h 34996"/>
                <a:gd name="connsiteX6" fmla="*/ 104799 w 419790"/>
                <a:gd name="connsiteY6" fmla="*/ 14851 h 34996"/>
                <a:gd name="connsiteX7" fmla="*/ 1072 w 419790"/>
                <a:gd name="connsiteY7" fmla="*/ 13803 h 34996"/>
                <a:gd name="connsiteX8" fmla="*/ 1072 w 419790"/>
                <a:gd name="connsiteY8" fmla="*/ 15994 h 34996"/>
                <a:gd name="connsiteX9" fmla="*/ 354925 w 419790"/>
                <a:gd name="connsiteY9" fmla="*/ 8469 h 34996"/>
                <a:gd name="connsiteX10" fmla="*/ 397978 w 419790"/>
                <a:gd name="connsiteY10" fmla="*/ 5993 h 34996"/>
                <a:gd name="connsiteX11" fmla="*/ 409694 w 419790"/>
                <a:gd name="connsiteY11" fmla="*/ 3707 h 34996"/>
                <a:gd name="connsiteX12" fmla="*/ 413885 w 419790"/>
                <a:gd name="connsiteY12" fmla="*/ 2564 h 34996"/>
                <a:gd name="connsiteX13" fmla="*/ 417028 w 419790"/>
                <a:gd name="connsiteY13" fmla="*/ 9612 h 34996"/>
                <a:gd name="connsiteX14" fmla="*/ 417695 w 419790"/>
                <a:gd name="connsiteY14" fmla="*/ 33996 h 34996"/>
                <a:gd name="connsiteX15" fmla="*/ 419791 w 419790"/>
                <a:gd name="connsiteY15" fmla="*/ 33996 h 34996"/>
                <a:gd name="connsiteX16" fmla="*/ 419791 w 419790"/>
                <a:gd name="connsiteY16" fmla="*/ 33996 h 3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19790" h="34996">
                  <a:moveTo>
                    <a:pt x="419791" y="33996"/>
                  </a:moveTo>
                  <a:cubicBezTo>
                    <a:pt x="419600" y="26567"/>
                    <a:pt x="419410" y="19232"/>
                    <a:pt x="419124" y="11803"/>
                  </a:cubicBezTo>
                  <a:cubicBezTo>
                    <a:pt x="419029" y="8945"/>
                    <a:pt x="420267" y="2183"/>
                    <a:pt x="416838" y="468"/>
                  </a:cubicBezTo>
                  <a:cubicBezTo>
                    <a:pt x="413695" y="-1151"/>
                    <a:pt x="407884" y="1897"/>
                    <a:pt x="404741" y="2564"/>
                  </a:cubicBezTo>
                  <a:cubicBezTo>
                    <a:pt x="397026" y="4183"/>
                    <a:pt x="389215" y="4945"/>
                    <a:pt x="381310" y="5421"/>
                  </a:cubicBezTo>
                  <a:cubicBezTo>
                    <a:pt x="350925" y="7231"/>
                    <a:pt x="320350" y="7136"/>
                    <a:pt x="289870" y="8279"/>
                  </a:cubicBezTo>
                  <a:cubicBezTo>
                    <a:pt x="228243" y="10660"/>
                    <a:pt x="166521" y="13803"/>
                    <a:pt x="104799" y="14851"/>
                  </a:cubicBezTo>
                  <a:cubicBezTo>
                    <a:pt x="70223" y="15422"/>
                    <a:pt x="35647" y="15232"/>
                    <a:pt x="1072" y="13803"/>
                  </a:cubicBezTo>
                  <a:cubicBezTo>
                    <a:pt x="-357" y="13708"/>
                    <a:pt x="-357" y="15899"/>
                    <a:pt x="1072" y="15994"/>
                  </a:cubicBezTo>
                  <a:cubicBezTo>
                    <a:pt x="119086" y="20661"/>
                    <a:pt x="236911" y="11136"/>
                    <a:pt x="354925" y="8469"/>
                  </a:cubicBezTo>
                  <a:cubicBezTo>
                    <a:pt x="369308" y="8183"/>
                    <a:pt x="383691" y="8088"/>
                    <a:pt x="397978" y="5993"/>
                  </a:cubicBezTo>
                  <a:cubicBezTo>
                    <a:pt x="401884" y="5421"/>
                    <a:pt x="405789" y="4659"/>
                    <a:pt x="409694" y="3707"/>
                  </a:cubicBezTo>
                  <a:cubicBezTo>
                    <a:pt x="410647" y="3516"/>
                    <a:pt x="413123" y="2468"/>
                    <a:pt x="413885" y="2564"/>
                  </a:cubicBezTo>
                  <a:cubicBezTo>
                    <a:pt x="417695" y="3230"/>
                    <a:pt x="416933" y="7040"/>
                    <a:pt x="417028" y="9612"/>
                  </a:cubicBezTo>
                  <a:cubicBezTo>
                    <a:pt x="417219" y="17708"/>
                    <a:pt x="417505" y="25900"/>
                    <a:pt x="417695" y="33996"/>
                  </a:cubicBezTo>
                  <a:cubicBezTo>
                    <a:pt x="417600" y="35330"/>
                    <a:pt x="419791" y="35330"/>
                    <a:pt x="419791" y="33996"/>
                  </a:cubicBezTo>
                  <a:lnTo>
                    <a:pt x="419791" y="33996"/>
                  </a:lnTo>
                  <a:close/>
                </a:path>
              </a:pathLst>
            </a:custGeom>
            <a:solidFill>
              <a:srgbClr val="005950"/>
            </a:solidFill>
            <a:ln w="3175" cap="flat">
              <a:solidFill>
                <a:schemeClr val="accent1">
                  <a:alpha val="3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A80B0636-57BD-9FBA-E236-A05F1425A654}"/>
                </a:ext>
              </a:extLst>
            </p:cNvPr>
            <p:cNvSpPr/>
            <p:nvPr/>
          </p:nvSpPr>
          <p:spPr>
            <a:xfrm flipV="1">
              <a:off x="5910992" y="4308977"/>
              <a:ext cx="30864" cy="30864"/>
            </a:xfrm>
            <a:custGeom>
              <a:avLst/>
              <a:gdLst>
                <a:gd name="connsiteX0" fmla="*/ 1289 w 11637"/>
                <a:gd name="connsiteY0" fmla="*/ 5681 h 5726"/>
                <a:gd name="connsiteX1" fmla="*/ 11100 w 11637"/>
                <a:gd name="connsiteY1" fmla="*/ 1966 h 5726"/>
                <a:gd name="connsiteX2" fmla="*/ 11481 w 11637"/>
                <a:gd name="connsiteY2" fmla="*/ 537 h 5726"/>
                <a:gd name="connsiteX3" fmla="*/ 10052 w 11637"/>
                <a:gd name="connsiteY3" fmla="*/ 156 h 5726"/>
                <a:gd name="connsiteX4" fmla="*/ 718 w 11637"/>
                <a:gd name="connsiteY4" fmla="*/ 3680 h 5726"/>
                <a:gd name="connsiteX5" fmla="*/ 1289 w 11637"/>
                <a:gd name="connsiteY5" fmla="*/ 5681 h 5726"/>
                <a:gd name="connsiteX6" fmla="*/ 1289 w 11637"/>
                <a:gd name="connsiteY6" fmla="*/ 5681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37" h="5726">
                  <a:moveTo>
                    <a:pt x="1289" y="5681"/>
                  </a:moveTo>
                  <a:cubicBezTo>
                    <a:pt x="4623" y="4633"/>
                    <a:pt x="7957" y="3395"/>
                    <a:pt x="11100" y="1966"/>
                  </a:cubicBezTo>
                  <a:cubicBezTo>
                    <a:pt x="11672" y="1775"/>
                    <a:pt x="11767" y="918"/>
                    <a:pt x="11481" y="537"/>
                  </a:cubicBezTo>
                  <a:cubicBezTo>
                    <a:pt x="11195" y="-34"/>
                    <a:pt x="10529" y="-130"/>
                    <a:pt x="10052" y="156"/>
                  </a:cubicBezTo>
                  <a:cubicBezTo>
                    <a:pt x="7004" y="1490"/>
                    <a:pt x="3861" y="2633"/>
                    <a:pt x="718" y="3680"/>
                  </a:cubicBezTo>
                  <a:cubicBezTo>
                    <a:pt x="-520" y="3966"/>
                    <a:pt x="-44" y="6062"/>
                    <a:pt x="1289" y="5681"/>
                  </a:cubicBezTo>
                  <a:lnTo>
                    <a:pt x="1289" y="5681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940301A5-1D15-7503-D5A9-914F8841959E}"/>
                </a:ext>
              </a:extLst>
            </p:cNvPr>
            <p:cNvSpPr/>
            <p:nvPr/>
          </p:nvSpPr>
          <p:spPr>
            <a:xfrm>
              <a:off x="5209059" y="4504881"/>
              <a:ext cx="57426" cy="91493"/>
            </a:xfrm>
            <a:custGeom>
              <a:avLst/>
              <a:gdLst>
                <a:gd name="connsiteX0" fmla="*/ 7906 w 39338"/>
                <a:gd name="connsiteY0" fmla="*/ 62675 h 62674"/>
                <a:gd name="connsiteX1" fmla="*/ 5143 w 39338"/>
                <a:gd name="connsiteY1" fmla="*/ 47435 h 62674"/>
                <a:gd name="connsiteX2" fmla="*/ 2667 w 39338"/>
                <a:gd name="connsiteY2" fmla="*/ 33433 h 62674"/>
                <a:gd name="connsiteX3" fmla="*/ 857 w 39338"/>
                <a:gd name="connsiteY3" fmla="*/ 1429 h 62674"/>
                <a:gd name="connsiteX4" fmla="*/ 0 w 39338"/>
                <a:gd name="connsiteY4" fmla="*/ 1238 h 62674"/>
                <a:gd name="connsiteX5" fmla="*/ 28099 w 39338"/>
                <a:gd name="connsiteY5" fmla="*/ 0 h 62674"/>
                <a:gd name="connsiteX6" fmla="*/ 30290 w 39338"/>
                <a:gd name="connsiteY6" fmla="*/ 191 h 62674"/>
                <a:gd name="connsiteX7" fmla="*/ 30766 w 39338"/>
                <a:gd name="connsiteY7" fmla="*/ 953 h 62674"/>
                <a:gd name="connsiteX8" fmla="*/ 32385 w 39338"/>
                <a:gd name="connsiteY8" fmla="*/ 14478 h 62674"/>
                <a:gd name="connsiteX9" fmla="*/ 39338 w 39338"/>
                <a:gd name="connsiteY9" fmla="*/ 61627 h 62674"/>
                <a:gd name="connsiteX10" fmla="*/ 7906 w 39338"/>
                <a:gd name="connsiteY10" fmla="*/ 62675 h 6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62674">
                  <a:moveTo>
                    <a:pt x="7906" y="62675"/>
                  </a:moveTo>
                  <a:cubicBezTo>
                    <a:pt x="8763" y="57626"/>
                    <a:pt x="6572" y="52483"/>
                    <a:pt x="5143" y="47435"/>
                  </a:cubicBezTo>
                  <a:cubicBezTo>
                    <a:pt x="3810" y="42767"/>
                    <a:pt x="3143" y="38100"/>
                    <a:pt x="2667" y="33433"/>
                  </a:cubicBezTo>
                  <a:cubicBezTo>
                    <a:pt x="1524" y="22765"/>
                    <a:pt x="953" y="12097"/>
                    <a:pt x="857" y="1429"/>
                  </a:cubicBezTo>
                  <a:lnTo>
                    <a:pt x="0" y="1238"/>
                  </a:lnTo>
                  <a:cubicBezTo>
                    <a:pt x="9430" y="857"/>
                    <a:pt x="18764" y="476"/>
                    <a:pt x="28099" y="0"/>
                  </a:cubicBezTo>
                  <a:cubicBezTo>
                    <a:pt x="28861" y="0"/>
                    <a:pt x="29718" y="0"/>
                    <a:pt x="30290" y="191"/>
                  </a:cubicBezTo>
                  <a:cubicBezTo>
                    <a:pt x="30861" y="286"/>
                    <a:pt x="30861" y="667"/>
                    <a:pt x="30766" y="953"/>
                  </a:cubicBezTo>
                  <a:cubicBezTo>
                    <a:pt x="29432" y="5429"/>
                    <a:pt x="31433" y="10001"/>
                    <a:pt x="32385" y="14478"/>
                  </a:cubicBezTo>
                  <a:cubicBezTo>
                    <a:pt x="36004" y="30194"/>
                    <a:pt x="28480" y="46292"/>
                    <a:pt x="39338" y="61627"/>
                  </a:cubicBezTo>
                  <a:cubicBezTo>
                    <a:pt x="28861" y="62103"/>
                    <a:pt x="18479" y="62389"/>
                    <a:pt x="7906" y="62675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F593C03D-E2A5-8DF0-9E60-A0AE6F4E8BC5}"/>
                </a:ext>
              </a:extLst>
            </p:cNvPr>
            <p:cNvSpPr/>
            <p:nvPr/>
          </p:nvSpPr>
          <p:spPr>
            <a:xfrm>
              <a:off x="5207662" y="4503353"/>
              <a:ext cx="60587" cy="94586"/>
            </a:xfrm>
            <a:custGeom>
              <a:avLst/>
              <a:gdLst>
                <a:gd name="connsiteX0" fmla="*/ 9911 w 41503"/>
                <a:gd name="connsiteY0" fmla="*/ 63722 h 64793"/>
                <a:gd name="connsiteX1" fmla="*/ 7721 w 41503"/>
                <a:gd name="connsiteY1" fmla="*/ 50387 h 64793"/>
                <a:gd name="connsiteX2" fmla="*/ 4673 w 41503"/>
                <a:gd name="connsiteY2" fmla="*/ 34480 h 64793"/>
                <a:gd name="connsiteX3" fmla="*/ 2863 w 41503"/>
                <a:gd name="connsiteY3" fmla="*/ 2477 h 64793"/>
                <a:gd name="connsiteX4" fmla="*/ 2101 w 41503"/>
                <a:gd name="connsiteY4" fmla="*/ 1429 h 64793"/>
                <a:gd name="connsiteX5" fmla="*/ 1244 w 41503"/>
                <a:gd name="connsiteY5" fmla="*/ 1238 h 64793"/>
                <a:gd name="connsiteX6" fmla="*/ 958 w 41503"/>
                <a:gd name="connsiteY6" fmla="*/ 3334 h 64793"/>
                <a:gd name="connsiteX7" fmla="*/ 27247 w 41503"/>
                <a:gd name="connsiteY7" fmla="*/ 2191 h 64793"/>
                <a:gd name="connsiteX8" fmla="*/ 30295 w 41503"/>
                <a:gd name="connsiteY8" fmla="*/ 4191 h 64793"/>
                <a:gd name="connsiteX9" fmla="*/ 30676 w 41503"/>
                <a:gd name="connsiteY9" fmla="*/ 8953 h 64793"/>
                <a:gd name="connsiteX10" fmla="*/ 33248 w 41503"/>
                <a:gd name="connsiteY10" fmla="*/ 21431 h 64793"/>
                <a:gd name="connsiteX11" fmla="*/ 33152 w 41503"/>
                <a:gd name="connsiteY11" fmla="*/ 42672 h 64793"/>
                <a:gd name="connsiteX12" fmla="*/ 39439 w 41503"/>
                <a:gd name="connsiteY12" fmla="*/ 63151 h 64793"/>
                <a:gd name="connsiteX13" fmla="*/ 40391 w 41503"/>
                <a:gd name="connsiteY13" fmla="*/ 61531 h 64793"/>
                <a:gd name="connsiteX14" fmla="*/ 8959 w 41503"/>
                <a:gd name="connsiteY14" fmla="*/ 62579 h 64793"/>
                <a:gd name="connsiteX15" fmla="*/ 8959 w 41503"/>
                <a:gd name="connsiteY15" fmla="*/ 64770 h 64793"/>
                <a:gd name="connsiteX16" fmla="*/ 40391 w 41503"/>
                <a:gd name="connsiteY16" fmla="*/ 63722 h 64793"/>
                <a:gd name="connsiteX17" fmla="*/ 41344 w 41503"/>
                <a:gd name="connsiteY17" fmla="*/ 62103 h 64793"/>
                <a:gd name="connsiteX18" fmla="*/ 35343 w 41503"/>
                <a:gd name="connsiteY18" fmla="*/ 37719 h 64793"/>
                <a:gd name="connsiteX19" fmla="*/ 34581 w 41503"/>
                <a:gd name="connsiteY19" fmla="*/ 15716 h 64793"/>
                <a:gd name="connsiteX20" fmla="*/ 33057 w 41503"/>
                <a:gd name="connsiteY20" fmla="*/ 9620 h 64793"/>
                <a:gd name="connsiteX21" fmla="*/ 32486 w 41503"/>
                <a:gd name="connsiteY21" fmla="*/ 5429 h 64793"/>
                <a:gd name="connsiteX22" fmla="*/ 32867 w 41503"/>
                <a:gd name="connsiteY22" fmla="*/ 2191 h 64793"/>
                <a:gd name="connsiteX23" fmla="*/ 29152 w 41503"/>
                <a:gd name="connsiteY23" fmla="*/ 0 h 64793"/>
                <a:gd name="connsiteX24" fmla="*/ 1053 w 41503"/>
                <a:gd name="connsiteY24" fmla="*/ 1238 h 64793"/>
                <a:gd name="connsiteX25" fmla="*/ 767 w 41503"/>
                <a:gd name="connsiteY25" fmla="*/ 3334 h 64793"/>
                <a:gd name="connsiteX26" fmla="*/ 1625 w 41503"/>
                <a:gd name="connsiteY26" fmla="*/ 3524 h 64793"/>
                <a:gd name="connsiteX27" fmla="*/ 863 w 41503"/>
                <a:gd name="connsiteY27" fmla="*/ 2477 h 64793"/>
                <a:gd name="connsiteX28" fmla="*/ 2672 w 41503"/>
                <a:gd name="connsiteY28" fmla="*/ 34480 h 64793"/>
                <a:gd name="connsiteX29" fmla="*/ 5149 w 41503"/>
                <a:gd name="connsiteY29" fmla="*/ 48768 h 64793"/>
                <a:gd name="connsiteX30" fmla="*/ 7911 w 41503"/>
                <a:gd name="connsiteY30" fmla="*/ 63722 h 64793"/>
                <a:gd name="connsiteX31" fmla="*/ 9911 w 41503"/>
                <a:gd name="connsiteY31" fmla="*/ 63722 h 6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1503" h="64793">
                  <a:moveTo>
                    <a:pt x="9911" y="63722"/>
                  </a:moveTo>
                  <a:cubicBezTo>
                    <a:pt x="10483" y="59055"/>
                    <a:pt x="9054" y="54769"/>
                    <a:pt x="7721" y="50387"/>
                  </a:cubicBezTo>
                  <a:cubicBezTo>
                    <a:pt x="6101" y="45148"/>
                    <a:pt x="5244" y="39910"/>
                    <a:pt x="4673" y="34480"/>
                  </a:cubicBezTo>
                  <a:cubicBezTo>
                    <a:pt x="3530" y="23813"/>
                    <a:pt x="2958" y="13144"/>
                    <a:pt x="2863" y="2477"/>
                  </a:cubicBezTo>
                  <a:cubicBezTo>
                    <a:pt x="2863" y="2000"/>
                    <a:pt x="2577" y="1524"/>
                    <a:pt x="2101" y="1429"/>
                  </a:cubicBezTo>
                  <a:cubicBezTo>
                    <a:pt x="1815" y="1333"/>
                    <a:pt x="1529" y="1333"/>
                    <a:pt x="1244" y="1238"/>
                  </a:cubicBezTo>
                  <a:cubicBezTo>
                    <a:pt x="1148" y="1905"/>
                    <a:pt x="1053" y="2667"/>
                    <a:pt x="958" y="3334"/>
                  </a:cubicBezTo>
                  <a:cubicBezTo>
                    <a:pt x="9721" y="2953"/>
                    <a:pt x="18484" y="2667"/>
                    <a:pt x="27247" y="2191"/>
                  </a:cubicBezTo>
                  <a:cubicBezTo>
                    <a:pt x="29533" y="2095"/>
                    <a:pt x="30390" y="1810"/>
                    <a:pt x="30295" y="4191"/>
                  </a:cubicBezTo>
                  <a:cubicBezTo>
                    <a:pt x="30200" y="5810"/>
                    <a:pt x="30390" y="7429"/>
                    <a:pt x="30676" y="8953"/>
                  </a:cubicBezTo>
                  <a:cubicBezTo>
                    <a:pt x="31533" y="13144"/>
                    <a:pt x="32867" y="17145"/>
                    <a:pt x="33248" y="21431"/>
                  </a:cubicBezTo>
                  <a:cubicBezTo>
                    <a:pt x="33819" y="28480"/>
                    <a:pt x="32867" y="35528"/>
                    <a:pt x="33152" y="42672"/>
                  </a:cubicBezTo>
                  <a:cubicBezTo>
                    <a:pt x="33438" y="50102"/>
                    <a:pt x="35248" y="56959"/>
                    <a:pt x="39439" y="63151"/>
                  </a:cubicBezTo>
                  <a:cubicBezTo>
                    <a:pt x="39725" y="62579"/>
                    <a:pt x="40106" y="62103"/>
                    <a:pt x="40391" y="61531"/>
                  </a:cubicBezTo>
                  <a:cubicBezTo>
                    <a:pt x="29914" y="62008"/>
                    <a:pt x="19436" y="62293"/>
                    <a:pt x="8959" y="62579"/>
                  </a:cubicBezTo>
                  <a:cubicBezTo>
                    <a:pt x="7530" y="62579"/>
                    <a:pt x="7530" y="64770"/>
                    <a:pt x="8959" y="64770"/>
                  </a:cubicBezTo>
                  <a:cubicBezTo>
                    <a:pt x="19436" y="64484"/>
                    <a:pt x="29914" y="64198"/>
                    <a:pt x="40391" y="63722"/>
                  </a:cubicBezTo>
                  <a:cubicBezTo>
                    <a:pt x="41153" y="63722"/>
                    <a:pt x="41820" y="62770"/>
                    <a:pt x="41344" y="62103"/>
                  </a:cubicBezTo>
                  <a:cubicBezTo>
                    <a:pt x="36296" y="54673"/>
                    <a:pt x="35153" y="46482"/>
                    <a:pt x="35343" y="37719"/>
                  </a:cubicBezTo>
                  <a:cubicBezTo>
                    <a:pt x="35534" y="30385"/>
                    <a:pt x="36105" y="22955"/>
                    <a:pt x="34581" y="15716"/>
                  </a:cubicBezTo>
                  <a:cubicBezTo>
                    <a:pt x="34105" y="13621"/>
                    <a:pt x="33533" y="11620"/>
                    <a:pt x="33057" y="9620"/>
                  </a:cubicBezTo>
                  <a:cubicBezTo>
                    <a:pt x="32771" y="8191"/>
                    <a:pt x="32486" y="6763"/>
                    <a:pt x="32486" y="5429"/>
                  </a:cubicBezTo>
                  <a:cubicBezTo>
                    <a:pt x="32486" y="4381"/>
                    <a:pt x="32962" y="3239"/>
                    <a:pt x="32867" y="2191"/>
                  </a:cubicBezTo>
                  <a:cubicBezTo>
                    <a:pt x="32771" y="95"/>
                    <a:pt x="31057" y="0"/>
                    <a:pt x="29152" y="0"/>
                  </a:cubicBezTo>
                  <a:cubicBezTo>
                    <a:pt x="19817" y="0"/>
                    <a:pt x="10388" y="857"/>
                    <a:pt x="1053" y="1238"/>
                  </a:cubicBezTo>
                  <a:cubicBezTo>
                    <a:pt x="-90" y="1238"/>
                    <a:pt x="-471" y="3048"/>
                    <a:pt x="767" y="3334"/>
                  </a:cubicBezTo>
                  <a:cubicBezTo>
                    <a:pt x="1053" y="3429"/>
                    <a:pt x="1339" y="3429"/>
                    <a:pt x="1625" y="3524"/>
                  </a:cubicBezTo>
                  <a:cubicBezTo>
                    <a:pt x="1339" y="3143"/>
                    <a:pt x="1053" y="2857"/>
                    <a:pt x="863" y="2477"/>
                  </a:cubicBezTo>
                  <a:cubicBezTo>
                    <a:pt x="958" y="13144"/>
                    <a:pt x="1529" y="23813"/>
                    <a:pt x="2672" y="34480"/>
                  </a:cubicBezTo>
                  <a:cubicBezTo>
                    <a:pt x="3149" y="39338"/>
                    <a:pt x="3911" y="44101"/>
                    <a:pt x="5149" y="48768"/>
                  </a:cubicBezTo>
                  <a:cubicBezTo>
                    <a:pt x="6578" y="53721"/>
                    <a:pt x="8578" y="58483"/>
                    <a:pt x="7911" y="63722"/>
                  </a:cubicBezTo>
                  <a:cubicBezTo>
                    <a:pt x="7625" y="65151"/>
                    <a:pt x="9721" y="65151"/>
                    <a:pt x="9911" y="63722"/>
                  </a:cubicBez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88D2400F-F678-E13D-C5A5-6840957AF779}"/>
                </a:ext>
              </a:extLst>
            </p:cNvPr>
            <p:cNvSpPr/>
            <p:nvPr/>
          </p:nvSpPr>
          <p:spPr>
            <a:xfrm>
              <a:off x="5278444" y="4455497"/>
              <a:ext cx="57426" cy="140877"/>
            </a:xfrm>
            <a:custGeom>
              <a:avLst/>
              <a:gdLst>
                <a:gd name="connsiteX0" fmla="*/ 7906 w 39338"/>
                <a:gd name="connsiteY0" fmla="*/ 96503 h 96503"/>
                <a:gd name="connsiteX1" fmla="*/ 5048 w 39338"/>
                <a:gd name="connsiteY1" fmla="*/ 72977 h 96503"/>
                <a:gd name="connsiteX2" fmla="*/ 2667 w 39338"/>
                <a:gd name="connsiteY2" fmla="*/ 51450 h 96503"/>
                <a:gd name="connsiteX3" fmla="*/ 857 w 39338"/>
                <a:gd name="connsiteY3" fmla="*/ 2206 h 96503"/>
                <a:gd name="connsiteX4" fmla="*/ 0 w 39338"/>
                <a:gd name="connsiteY4" fmla="*/ 1825 h 96503"/>
                <a:gd name="connsiteX5" fmla="*/ 28099 w 39338"/>
                <a:gd name="connsiteY5" fmla="*/ 15 h 96503"/>
                <a:gd name="connsiteX6" fmla="*/ 30194 w 39338"/>
                <a:gd name="connsiteY6" fmla="*/ 206 h 96503"/>
                <a:gd name="connsiteX7" fmla="*/ 30766 w 39338"/>
                <a:gd name="connsiteY7" fmla="*/ 1349 h 96503"/>
                <a:gd name="connsiteX8" fmla="*/ 32385 w 39338"/>
                <a:gd name="connsiteY8" fmla="*/ 22208 h 96503"/>
                <a:gd name="connsiteX9" fmla="*/ 39338 w 39338"/>
                <a:gd name="connsiteY9" fmla="*/ 94884 h 96503"/>
                <a:gd name="connsiteX10" fmla="*/ 7906 w 39338"/>
                <a:gd name="connsiteY10" fmla="*/ 96503 h 96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96503">
                  <a:moveTo>
                    <a:pt x="7906" y="96503"/>
                  </a:moveTo>
                  <a:cubicBezTo>
                    <a:pt x="8763" y="88693"/>
                    <a:pt x="6477" y="80787"/>
                    <a:pt x="5048" y="72977"/>
                  </a:cubicBezTo>
                  <a:cubicBezTo>
                    <a:pt x="3810" y="65833"/>
                    <a:pt x="3143" y="58594"/>
                    <a:pt x="2667" y="51450"/>
                  </a:cubicBezTo>
                  <a:cubicBezTo>
                    <a:pt x="1524" y="35067"/>
                    <a:pt x="953" y="18589"/>
                    <a:pt x="857" y="2206"/>
                  </a:cubicBezTo>
                  <a:lnTo>
                    <a:pt x="0" y="1825"/>
                  </a:lnTo>
                  <a:cubicBezTo>
                    <a:pt x="9334" y="1158"/>
                    <a:pt x="18764" y="587"/>
                    <a:pt x="28099" y="15"/>
                  </a:cubicBezTo>
                  <a:cubicBezTo>
                    <a:pt x="28861" y="15"/>
                    <a:pt x="29718" y="-80"/>
                    <a:pt x="30194" y="206"/>
                  </a:cubicBezTo>
                  <a:cubicBezTo>
                    <a:pt x="30861" y="491"/>
                    <a:pt x="30861" y="968"/>
                    <a:pt x="30766" y="1349"/>
                  </a:cubicBezTo>
                  <a:cubicBezTo>
                    <a:pt x="29432" y="8302"/>
                    <a:pt x="31337" y="15255"/>
                    <a:pt x="32385" y="22208"/>
                  </a:cubicBezTo>
                  <a:cubicBezTo>
                    <a:pt x="36004" y="46497"/>
                    <a:pt x="28480" y="71167"/>
                    <a:pt x="39338" y="94884"/>
                  </a:cubicBezTo>
                  <a:cubicBezTo>
                    <a:pt x="28861" y="95551"/>
                    <a:pt x="18383" y="96122"/>
                    <a:pt x="7906" y="96503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21BB0995-0EBC-8549-3A04-42D42D11D5C6}"/>
                </a:ext>
              </a:extLst>
            </p:cNvPr>
            <p:cNvSpPr/>
            <p:nvPr/>
          </p:nvSpPr>
          <p:spPr>
            <a:xfrm>
              <a:off x="5276834" y="4453522"/>
              <a:ext cx="60564" cy="144522"/>
            </a:xfrm>
            <a:custGeom>
              <a:avLst/>
              <a:gdLst>
                <a:gd name="connsiteX0" fmla="*/ 10057 w 41487"/>
                <a:gd name="connsiteY0" fmla="*/ 97857 h 99000"/>
                <a:gd name="connsiteX1" fmla="*/ 7485 w 41487"/>
                <a:gd name="connsiteY1" fmla="*/ 75854 h 99000"/>
                <a:gd name="connsiteX2" fmla="*/ 4723 w 41487"/>
                <a:gd name="connsiteY2" fmla="*/ 51851 h 99000"/>
                <a:gd name="connsiteX3" fmla="*/ 3008 w 41487"/>
                <a:gd name="connsiteY3" fmla="*/ 3560 h 99000"/>
                <a:gd name="connsiteX4" fmla="*/ 2437 w 41487"/>
                <a:gd name="connsiteY4" fmla="*/ 2607 h 99000"/>
                <a:gd name="connsiteX5" fmla="*/ 1579 w 41487"/>
                <a:gd name="connsiteY5" fmla="*/ 2226 h 99000"/>
                <a:gd name="connsiteX6" fmla="*/ 1008 w 41487"/>
                <a:gd name="connsiteY6" fmla="*/ 4226 h 99000"/>
                <a:gd name="connsiteX7" fmla="*/ 17867 w 41487"/>
                <a:gd name="connsiteY7" fmla="*/ 3083 h 99000"/>
                <a:gd name="connsiteX8" fmla="*/ 26344 w 41487"/>
                <a:gd name="connsiteY8" fmla="*/ 2607 h 99000"/>
                <a:gd name="connsiteX9" fmla="*/ 30345 w 41487"/>
                <a:gd name="connsiteY9" fmla="*/ 6131 h 99000"/>
                <a:gd name="connsiteX10" fmla="*/ 31869 w 41487"/>
                <a:gd name="connsiteY10" fmla="*/ 20324 h 99000"/>
                <a:gd name="connsiteX11" fmla="*/ 33488 w 41487"/>
                <a:gd name="connsiteY11" fmla="*/ 37469 h 99000"/>
                <a:gd name="connsiteX12" fmla="*/ 39489 w 41487"/>
                <a:gd name="connsiteY12" fmla="*/ 96809 h 99000"/>
                <a:gd name="connsiteX13" fmla="*/ 40441 w 41487"/>
                <a:gd name="connsiteY13" fmla="*/ 95190 h 99000"/>
                <a:gd name="connsiteX14" fmla="*/ 9009 w 41487"/>
                <a:gd name="connsiteY14" fmla="*/ 96809 h 99000"/>
                <a:gd name="connsiteX15" fmla="*/ 9009 w 41487"/>
                <a:gd name="connsiteY15" fmla="*/ 99000 h 99000"/>
                <a:gd name="connsiteX16" fmla="*/ 40441 w 41487"/>
                <a:gd name="connsiteY16" fmla="*/ 97381 h 99000"/>
                <a:gd name="connsiteX17" fmla="*/ 41394 w 41487"/>
                <a:gd name="connsiteY17" fmla="*/ 95762 h 99000"/>
                <a:gd name="connsiteX18" fmla="*/ 34917 w 41487"/>
                <a:gd name="connsiteY18" fmla="*/ 26229 h 99000"/>
                <a:gd name="connsiteX19" fmla="*/ 32536 w 41487"/>
                <a:gd name="connsiteY19" fmla="*/ 9751 h 99000"/>
                <a:gd name="connsiteX20" fmla="*/ 31964 w 41487"/>
                <a:gd name="connsiteY20" fmla="*/ 797 h 99000"/>
                <a:gd name="connsiteX21" fmla="*/ 19867 w 41487"/>
                <a:gd name="connsiteY21" fmla="*/ 988 h 99000"/>
                <a:gd name="connsiteX22" fmla="*/ 1103 w 41487"/>
                <a:gd name="connsiteY22" fmla="*/ 2226 h 99000"/>
                <a:gd name="connsiteX23" fmla="*/ 532 w 41487"/>
                <a:gd name="connsiteY23" fmla="*/ 4226 h 99000"/>
                <a:gd name="connsiteX24" fmla="*/ 1008 w 41487"/>
                <a:gd name="connsiteY24" fmla="*/ 14990 h 99000"/>
                <a:gd name="connsiteX25" fmla="*/ 1294 w 41487"/>
                <a:gd name="connsiteY25" fmla="*/ 26324 h 99000"/>
                <a:gd name="connsiteX26" fmla="*/ 2532 w 41487"/>
                <a:gd name="connsiteY26" fmla="*/ 50994 h 99000"/>
                <a:gd name="connsiteX27" fmla="*/ 4818 w 41487"/>
                <a:gd name="connsiteY27" fmla="*/ 72902 h 99000"/>
                <a:gd name="connsiteX28" fmla="*/ 7961 w 41487"/>
                <a:gd name="connsiteY28" fmla="*/ 97952 h 99000"/>
                <a:gd name="connsiteX29" fmla="*/ 10057 w 41487"/>
                <a:gd name="connsiteY29" fmla="*/ 97857 h 9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487" h="99000">
                  <a:moveTo>
                    <a:pt x="10057" y="97857"/>
                  </a:moveTo>
                  <a:cubicBezTo>
                    <a:pt x="10628" y="90332"/>
                    <a:pt x="8914" y="83189"/>
                    <a:pt x="7485" y="75854"/>
                  </a:cubicBezTo>
                  <a:cubicBezTo>
                    <a:pt x="5961" y="67949"/>
                    <a:pt x="5294" y="59948"/>
                    <a:pt x="4723" y="51851"/>
                  </a:cubicBezTo>
                  <a:cubicBezTo>
                    <a:pt x="3675" y="35754"/>
                    <a:pt x="3103" y="19657"/>
                    <a:pt x="3008" y="3560"/>
                  </a:cubicBezTo>
                  <a:cubicBezTo>
                    <a:pt x="3008" y="3179"/>
                    <a:pt x="2818" y="2798"/>
                    <a:pt x="2437" y="2607"/>
                  </a:cubicBezTo>
                  <a:cubicBezTo>
                    <a:pt x="2151" y="2512"/>
                    <a:pt x="1865" y="2321"/>
                    <a:pt x="1579" y="2226"/>
                  </a:cubicBezTo>
                  <a:cubicBezTo>
                    <a:pt x="1389" y="2893"/>
                    <a:pt x="1198" y="3560"/>
                    <a:pt x="1008" y="4226"/>
                  </a:cubicBezTo>
                  <a:cubicBezTo>
                    <a:pt x="6628" y="3845"/>
                    <a:pt x="12247" y="3464"/>
                    <a:pt x="17867" y="3083"/>
                  </a:cubicBezTo>
                  <a:cubicBezTo>
                    <a:pt x="20725" y="2893"/>
                    <a:pt x="23487" y="2702"/>
                    <a:pt x="26344" y="2607"/>
                  </a:cubicBezTo>
                  <a:cubicBezTo>
                    <a:pt x="29488" y="2417"/>
                    <a:pt x="30535" y="2988"/>
                    <a:pt x="30345" y="6131"/>
                  </a:cubicBezTo>
                  <a:cubicBezTo>
                    <a:pt x="30059" y="10894"/>
                    <a:pt x="31012" y="15656"/>
                    <a:pt x="31869" y="20324"/>
                  </a:cubicBezTo>
                  <a:cubicBezTo>
                    <a:pt x="32821" y="26039"/>
                    <a:pt x="33393" y="31658"/>
                    <a:pt x="33488" y="37469"/>
                  </a:cubicBezTo>
                  <a:cubicBezTo>
                    <a:pt x="33869" y="57662"/>
                    <a:pt x="31202" y="77759"/>
                    <a:pt x="39489" y="96809"/>
                  </a:cubicBezTo>
                  <a:cubicBezTo>
                    <a:pt x="39775" y="96238"/>
                    <a:pt x="40156" y="95762"/>
                    <a:pt x="40441" y="95190"/>
                  </a:cubicBezTo>
                  <a:cubicBezTo>
                    <a:pt x="29964" y="95857"/>
                    <a:pt x="19486" y="96428"/>
                    <a:pt x="9009" y="96809"/>
                  </a:cubicBezTo>
                  <a:cubicBezTo>
                    <a:pt x="7580" y="96905"/>
                    <a:pt x="7580" y="99000"/>
                    <a:pt x="9009" y="99000"/>
                  </a:cubicBezTo>
                  <a:cubicBezTo>
                    <a:pt x="19486" y="98619"/>
                    <a:pt x="29964" y="98048"/>
                    <a:pt x="40441" y="97381"/>
                  </a:cubicBezTo>
                  <a:cubicBezTo>
                    <a:pt x="41299" y="97286"/>
                    <a:pt x="41680" y="96524"/>
                    <a:pt x="41394" y="95762"/>
                  </a:cubicBezTo>
                  <a:cubicBezTo>
                    <a:pt x="31583" y="73473"/>
                    <a:pt x="37679" y="49565"/>
                    <a:pt x="34917" y="26229"/>
                  </a:cubicBezTo>
                  <a:cubicBezTo>
                    <a:pt x="34250" y="20705"/>
                    <a:pt x="32821" y="15275"/>
                    <a:pt x="32536" y="9751"/>
                  </a:cubicBezTo>
                  <a:cubicBezTo>
                    <a:pt x="32440" y="7179"/>
                    <a:pt x="34441" y="2607"/>
                    <a:pt x="31964" y="797"/>
                  </a:cubicBezTo>
                  <a:cubicBezTo>
                    <a:pt x="29488" y="-1012"/>
                    <a:pt x="22725" y="797"/>
                    <a:pt x="19867" y="988"/>
                  </a:cubicBezTo>
                  <a:cubicBezTo>
                    <a:pt x="13581" y="1369"/>
                    <a:pt x="7390" y="1750"/>
                    <a:pt x="1103" y="2226"/>
                  </a:cubicBezTo>
                  <a:cubicBezTo>
                    <a:pt x="151" y="2321"/>
                    <a:pt x="-516" y="3750"/>
                    <a:pt x="532" y="4226"/>
                  </a:cubicBezTo>
                  <a:cubicBezTo>
                    <a:pt x="1579" y="4703"/>
                    <a:pt x="1008" y="13751"/>
                    <a:pt x="1008" y="14990"/>
                  </a:cubicBezTo>
                  <a:cubicBezTo>
                    <a:pt x="1103" y="18800"/>
                    <a:pt x="1198" y="22610"/>
                    <a:pt x="1294" y="26324"/>
                  </a:cubicBezTo>
                  <a:cubicBezTo>
                    <a:pt x="1579" y="34516"/>
                    <a:pt x="1960" y="42707"/>
                    <a:pt x="2532" y="50994"/>
                  </a:cubicBezTo>
                  <a:cubicBezTo>
                    <a:pt x="3008" y="58328"/>
                    <a:pt x="3580" y="65663"/>
                    <a:pt x="4818" y="72902"/>
                  </a:cubicBezTo>
                  <a:cubicBezTo>
                    <a:pt x="6151" y="81284"/>
                    <a:pt x="8628" y="89380"/>
                    <a:pt x="7961" y="97952"/>
                  </a:cubicBezTo>
                  <a:cubicBezTo>
                    <a:pt x="7771" y="99286"/>
                    <a:pt x="9961" y="99286"/>
                    <a:pt x="10057" y="97857"/>
                  </a:cubicBez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C48C12B0-28B0-9B5E-9DF3-9D062BC30C45}"/>
                </a:ext>
              </a:extLst>
            </p:cNvPr>
            <p:cNvSpPr/>
            <p:nvPr/>
          </p:nvSpPr>
          <p:spPr>
            <a:xfrm>
              <a:off x="5345466" y="4383786"/>
              <a:ext cx="57426" cy="212590"/>
            </a:xfrm>
            <a:custGeom>
              <a:avLst/>
              <a:gdLst>
                <a:gd name="connsiteX0" fmla="*/ 8001 w 39338"/>
                <a:gd name="connsiteY0" fmla="*/ 145627 h 145627"/>
                <a:gd name="connsiteX1" fmla="*/ 5143 w 39338"/>
                <a:gd name="connsiteY1" fmla="*/ 110099 h 145627"/>
                <a:gd name="connsiteX2" fmla="*/ 2667 w 39338"/>
                <a:gd name="connsiteY2" fmla="*/ 77619 h 145627"/>
                <a:gd name="connsiteX3" fmla="*/ 953 w 39338"/>
                <a:gd name="connsiteY3" fmla="*/ 3324 h 145627"/>
                <a:gd name="connsiteX4" fmla="*/ 0 w 39338"/>
                <a:gd name="connsiteY4" fmla="*/ 2752 h 145627"/>
                <a:gd name="connsiteX5" fmla="*/ 28194 w 39338"/>
                <a:gd name="connsiteY5" fmla="*/ 85 h 145627"/>
                <a:gd name="connsiteX6" fmla="*/ 30290 w 39338"/>
                <a:gd name="connsiteY6" fmla="*/ 276 h 145627"/>
                <a:gd name="connsiteX7" fmla="*/ 30766 w 39338"/>
                <a:gd name="connsiteY7" fmla="*/ 2085 h 145627"/>
                <a:gd name="connsiteX8" fmla="*/ 32480 w 39338"/>
                <a:gd name="connsiteY8" fmla="*/ 33613 h 145627"/>
                <a:gd name="connsiteX9" fmla="*/ 39338 w 39338"/>
                <a:gd name="connsiteY9" fmla="*/ 143151 h 145627"/>
                <a:gd name="connsiteX10" fmla="*/ 8001 w 39338"/>
                <a:gd name="connsiteY10" fmla="*/ 145627 h 14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145627">
                  <a:moveTo>
                    <a:pt x="8001" y="145627"/>
                  </a:moveTo>
                  <a:cubicBezTo>
                    <a:pt x="8858" y="133816"/>
                    <a:pt x="6572" y="121910"/>
                    <a:pt x="5143" y="110099"/>
                  </a:cubicBezTo>
                  <a:cubicBezTo>
                    <a:pt x="3810" y="99336"/>
                    <a:pt x="3239" y="88477"/>
                    <a:pt x="2667" y="77619"/>
                  </a:cubicBezTo>
                  <a:cubicBezTo>
                    <a:pt x="1524" y="52854"/>
                    <a:pt x="953" y="28089"/>
                    <a:pt x="953" y="3324"/>
                  </a:cubicBezTo>
                  <a:lnTo>
                    <a:pt x="0" y="2752"/>
                  </a:lnTo>
                  <a:cubicBezTo>
                    <a:pt x="9430" y="1800"/>
                    <a:pt x="18764" y="942"/>
                    <a:pt x="28194" y="85"/>
                  </a:cubicBezTo>
                  <a:cubicBezTo>
                    <a:pt x="28861" y="-10"/>
                    <a:pt x="29718" y="-105"/>
                    <a:pt x="30290" y="276"/>
                  </a:cubicBezTo>
                  <a:cubicBezTo>
                    <a:pt x="30956" y="657"/>
                    <a:pt x="30861" y="1419"/>
                    <a:pt x="30766" y="2085"/>
                  </a:cubicBezTo>
                  <a:cubicBezTo>
                    <a:pt x="29432" y="12563"/>
                    <a:pt x="31432" y="23136"/>
                    <a:pt x="32480" y="33613"/>
                  </a:cubicBezTo>
                  <a:cubicBezTo>
                    <a:pt x="36005" y="70094"/>
                    <a:pt x="28575" y="107432"/>
                    <a:pt x="39338" y="143151"/>
                  </a:cubicBezTo>
                  <a:cubicBezTo>
                    <a:pt x="28956" y="144198"/>
                    <a:pt x="18479" y="145056"/>
                    <a:pt x="8001" y="145627"/>
                  </a:cubicBezTo>
                  <a:close/>
                </a:path>
              </a:pathLst>
            </a:custGeom>
            <a:solidFill>
              <a:srgbClr val="E1EB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A96B763A-3F40-7F7F-4D4D-A61D6E7CEA6E}"/>
                </a:ext>
              </a:extLst>
            </p:cNvPr>
            <p:cNvSpPr/>
            <p:nvPr/>
          </p:nvSpPr>
          <p:spPr>
            <a:xfrm>
              <a:off x="5343742" y="4382351"/>
              <a:ext cx="60594" cy="215692"/>
            </a:xfrm>
            <a:custGeom>
              <a:avLst/>
              <a:gdLst>
                <a:gd name="connsiteX0" fmla="*/ 10230 w 41508"/>
                <a:gd name="connsiteY0" fmla="*/ 146609 h 147752"/>
                <a:gd name="connsiteX1" fmla="*/ 7086 w 41508"/>
                <a:gd name="connsiteY1" fmla="*/ 108795 h 147752"/>
                <a:gd name="connsiteX2" fmla="*/ 4515 w 41508"/>
                <a:gd name="connsiteY2" fmla="*/ 69362 h 147752"/>
                <a:gd name="connsiteX3" fmla="*/ 3467 w 41508"/>
                <a:gd name="connsiteY3" fmla="*/ 31071 h 147752"/>
                <a:gd name="connsiteX4" fmla="*/ 3276 w 41508"/>
                <a:gd name="connsiteY4" fmla="*/ 11354 h 147752"/>
                <a:gd name="connsiteX5" fmla="*/ 1752 w 41508"/>
                <a:gd name="connsiteY5" fmla="*/ 2877 h 147752"/>
                <a:gd name="connsiteX6" fmla="*/ 1181 w 41508"/>
                <a:gd name="connsiteY6" fmla="*/ 4877 h 147752"/>
                <a:gd name="connsiteX7" fmla="*/ 23469 w 41508"/>
                <a:gd name="connsiteY7" fmla="*/ 2782 h 147752"/>
                <a:gd name="connsiteX8" fmla="*/ 29375 w 41508"/>
                <a:gd name="connsiteY8" fmla="*/ 2210 h 147752"/>
                <a:gd name="connsiteX9" fmla="*/ 30518 w 41508"/>
                <a:gd name="connsiteY9" fmla="*/ 6497 h 147752"/>
                <a:gd name="connsiteX10" fmla="*/ 30613 w 41508"/>
                <a:gd name="connsiteY10" fmla="*/ 16593 h 147752"/>
                <a:gd name="connsiteX11" fmla="*/ 33566 w 41508"/>
                <a:gd name="connsiteY11" fmla="*/ 60408 h 147752"/>
                <a:gd name="connsiteX12" fmla="*/ 39376 w 41508"/>
                <a:gd name="connsiteY12" fmla="*/ 144419 h 147752"/>
                <a:gd name="connsiteX13" fmla="*/ 40424 w 41508"/>
                <a:gd name="connsiteY13" fmla="*/ 143085 h 147752"/>
                <a:gd name="connsiteX14" fmla="*/ 9087 w 41508"/>
                <a:gd name="connsiteY14" fmla="*/ 145562 h 147752"/>
                <a:gd name="connsiteX15" fmla="*/ 9087 w 41508"/>
                <a:gd name="connsiteY15" fmla="*/ 147752 h 147752"/>
                <a:gd name="connsiteX16" fmla="*/ 40424 w 41508"/>
                <a:gd name="connsiteY16" fmla="*/ 145276 h 147752"/>
                <a:gd name="connsiteX17" fmla="*/ 41472 w 41508"/>
                <a:gd name="connsiteY17" fmla="*/ 143942 h 147752"/>
                <a:gd name="connsiteX18" fmla="*/ 35471 w 41508"/>
                <a:gd name="connsiteY18" fmla="*/ 48121 h 147752"/>
                <a:gd name="connsiteX19" fmla="*/ 33566 w 41508"/>
                <a:gd name="connsiteY19" fmla="*/ 25642 h 147752"/>
                <a:gd name="connsiteX20" fmla="*/ 32518 w 41508"/>
                <a:gd name="connsiteY20" fmla="*/ 13259 h 147752"/>
                <a:gd name="connsiteX21" fmla="*/ 32899 w 41508"/>
                <a:gd name="connsiteY21" fmla="*/ 2591 h 147752"/>
                <a:gd name="connsiteX22" fmla="*/ 26898 w 41508"/>
                <a:gd name="connsiteY22" fmla="*/ 210 h 147752"/>
                <a:gd name="connsiteX23" fmla="*/ 1086 w 41508"/>
                <a:gd name="connsiteY23" fmla="*/ 2687 h 147752"/>
                <a:gd name="connsiteX24" fmla="*/ 514 w 41508"/>
                <a:gd name="connsiteY24" fmla="*/ 4687 h 147752"/>
                <a:gd name="connsiteX25" fmla="*/ 1086 w 41508"/>
                <a:gd name="connsiteY25" fmla="*/ 20594 h 147752"/>
                <a:gd name="connsiteX26" fmla="*/ 1371 w 41508"/>
                <a:gd name="connsiteY26" fmla="*/ 39167 h 147752"/>
                <a:gd name="connsiteX27" fmla="*/ 2514 w 41508"/>
                <a:gd name="connsiteY27" fmla="*/ 75172 h 147752"/>
                <a:gd name="connsiteX28" fmla="*/ 5181 w 41508"/>
                <a:gd name="connsiteY28" fmla="*/ 111176 h 147752"/>
                <a:gd name="connsiteX29" fmla="*/ 8039 w 41508"/>
                <a:gd name="connsiteY29" fmla="*/ 146705 h 147752"/>
                <a:gd name="connsiteX30" fmla="*/ 10230 w 41508"/>
                <a:gd name="connsiteY30" fmla="*/ 146609 h 147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1508" h="147752">
                  <a:moveTo>
                    <a:pt x="10230" y="146609"/>
                  </a:moveTo>
                  <a:cubicBezTo>
                    <a:pt x="10992" y="133846"/>
                    <a:pt x="8515" y="121368"/>
                    <a:pt x="7086" y="108795"/>
                  </a:cubicBezTo>
                  <a:cubicBezTo>
                    <a:pt x="5562" y="95746"/>
                    <a:pt x="4991" y="82506"/>
                    <a:pt x="4515" y="69362"/>
                  </a:cubicBezTo>
                  <a:cubicBezTo>
                    <a:pt x="4038" y="56598"/>
                    <a:pt x="3657" y="43835"/>
                    <a:pt x="3467" y="31071"/>
                  </a:cubicBezTo>
                  <a:cubicBezTo>
                    <a:pt x="3372" y="24499"/>
                    <a:pt x="3276" y="17927"/>
                    <a:pt x="3276" y="11354"/>
                  </a:cubicBezTo>
                  <a:cubicBezTo>
                    <a:pt x="3276" y="8497"/>
                    <a:pt x="4515" y="4592"/>
                    <a:pt x="1752" y="2877"/>
                  </a:cubicBezTo>
                  <a:cubicBezTo>
                    <a:pt x="1562" y="3544"/>
                    <a:pt x="1371" y="4211"/>
                    <a:pt x="1181" y="4877"/>
                  </a:cubicBezTo>
                  <a:cubicBezTo>
                    <a:pt x="8610" y="4115"/>
                    <a:pt x="16040" y="3449"/>
                    <a:pt x="23469" y="2782"/>
                  </a:cubicBezTo>
                  <a:cubicBezTo>
                    <a:pt x="24612" y="2687"/>
                    <a:pt x="28327" y="1639"/>
                    <a:pt x="29375" y="2210"/>
                  </a:cubicBezTo>
                  <a:cubicBezTo>
                    <a:pt x="31375" y="3449"/>
                    <a:pt x="30708" y="4211"/>
                    <a:pt x="30518" y="6497"/>
                  </a:cubicBezTo>
                  <a:cubicBezTo>
                    <a:pt x="30327" y="9830"/>
                    <a:pt x="30423" y="13259"/>
                    <a:pt x="30613" y="16593"/>
                  </a:cubicBezTo>
                  <a:cubicBezTo>
                    <a:pt x="31566" y="31262"/>
                    <a:pt x="33566" y="45644"/>
                    <a:pt x="33566" y="60408"/>
                  </a:cubicBezTo>
                  <a:cubicBezTo>
                    <a:pt x="33566" y="88602"/>
                    <a:pt x="31470" y="116987"/>
                    <a:pt x="39376" y="144419"/>
                  </a:cubicBezTo>
                  <a:cubicBezTo>
                    <a:pt x="39757" y="143942"/>
                    <a:pt x="40043" y="143466"/>
                    <a:pt x="40424" y="143085"/>
                  </a:cubicBezTo>
                  <a:cubicBezTo>
                    <a:pt x="29946" y="144133"/>
                    <a:pt x="19564" y="144990"/>
                    <a:pt x="9087" y="145562"/>
                  </a:cubicBezTo>
                  <a:cubicBezTo>
                    <a:pt x="7753" y="145657"/>
                    <a:pt x="7658" y="147752"/>
                    <a:pt x="9087" y="147752"/>
                  </a:cubicBezTo>
                  <a:cubicBezTo>
                    <a:pt x="19564" y="147181"/>
                    <a:pt x="30042" y="146324"/>
                    <a:pt x="40424" y="145276"/>
                  </a:cubicBezTo>
                  <a:cubicBezTo>
                    <a:pt x="41091" y="145181"/>
                    <a:pt x="41662" y="144609"/>
                    <a:pt x="41472" y="143942"/>
                  </a:cubicBezTo>
                  <a:cubicBezTo>
                    <a:pt x="32328" y="112605"/>
                    <a:pt x="36614" y="80220"/>
                    <a:pt x="35471" y="48121"/>
                  </a:cubicBezTo>
                  <a:cubicBezTo>
                    <a:pt x="35185" y="40596"/>
                    <a:pt x="34423" y="33167"/>
                    <a:pt x="33566" y="25642"/>
                  </a:cubicBezTo>
                  <a:cubicBezTo>
                    <a:pt x="33090" y="21546"/>
                    <a:pt x="32613" y="17355"/>
                    <a:pt x="32518" y="13259"/>
                  </a:cubicBezTo>
                  <a:cubicBezTo>
                    <a:pt x="32423" y="9926"/>
                    <a:pt x="33471" y="5830"/>
                    <a:pt x="32899" y="2591"/>
                  </a:cubicBezTo>
                  <a:cubicBezTo>
                    <a:pt x="32328" y="-742"/>
                    <a:pt x="29756" y="20"/>
                    <a:pt x="26898" y="210"/>
                  </a:cubicBezTo>
                  <a:cubicBezTo>
                    <a:pt x="18326" y="972"/>
                    <a:pt x="9658" y="1829"/>
                    <a:pt x="1086" y="2687"/>
                  </a:cubicBezTo>
                  <a:cubicBezTo>
                    <a:pt x="38" y="2782"/>
                    <a:pt x="-438" y="4115"/>
                    <a:pt x="514" y="4687"/>
                  </a:cubicBezTo>
                  <a:cubicBezTo>
                    <a:pt x="2419" y="5735"/>
                    <a:pt x="1086" y="18117"/>
                    <a:pt x="1086" y="20594"/>
                  </a:cubicBezTo>
                  <a:cubicBezTo>
                    <a:pt x="1181" y="26785"/>
                    <a:pt x="1276" y="32976"/>
                    <a:pt x="1371" y="39167"/>
                  </a:cubicBezTo>
                  <a:cubicBezTo>
                    <a:pt x="1657" y="51169"/>
                    <a:pt x="2038" y="63170"/>
                    <a:pt x="2514" y="75172"/>
                  </a:cubicBezTo>
                  <a:cubicBezTo>
                    <a:pt x="3086" y="87173"/>
                    <a:pt x="3657" y="99175"/>
                    <a:pt x="5181" y="111176"/>
                  </a:cubicBezTo>
                  <a:cubicBezTo>
                    <a:pt x="6610" y="122987"/>
                    <a:pt x="8706" y="134703"/>
                    <a:pt x="8039" y="146705"/>
                  </a:cubicBezTo>
                  <a:cubicBezTo>
                    <a:pt x="8039" y="148038"/>
                    <a:pt x="10134" y="148038"/>
                    <a:pt x="10230" y="146609"/>
                  </a:cubicBez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37E9A17C-6848-2820-5DF7-7A66A7463B93}"/>
                </a:ext>
              </a:extLst>
            </p:cNvPr>
            <p:cNvSpPr/>
            <p:nvPr/>
          </p:nvSpPr>
          <p:spPr>
            <a:xfrm>
              <a:off x="5424306" y="4315662"/>
              <a:ext cx="57426" cy="280712"/>
            </a:xfrm>
            <a:custGeom>
              <a:avLst/>
              <a:gdLst>
                <a:gd name="connsiteX0" fmla="*/ 8001 w 39338"/>
                <a:gd name="connsiteY0" fmla="*/ 192292 h 192292"/>
                <a:gd name="connsiteX1" fmla="*/ 5143 w 39338"/>
                <a:gd name="connsiteY1" fmla="*/ 145429 h 192292"/>
                <a:gd name="connsiteX2" fmla="*/ 2762 w 39338"/>
                <a:gd name="connsiteY2" fmla="*/ 102472 h 192292"/>
                <a:gd name="connsiteX3" fmla="*/ 953 w 39338"/>
                <a:gd name="connsiteY3" fmla="*/ 4459 h 192292"/>
                <a:gd name="connsiteX4" fmla="*/ 0 w 39338"/>
                <a:gd name="connsiteY4" fmla="*/ 3602 h 192292"/>
                <a:gd name="connsiteX5" fmla="*/ 28194 w 39338"/>
                <a:gd name="connsiteY5" fmla="*/ 78 h 192292"/>
                <a:gd name="connsiteX6" fmla="*/ 30290 w 39338"/>
                <a:gd name="connsiteY6" fmla="*/ 364 h 192292"/>
                <a:gd name="connsiteX7" fmla="*/ 30861 w 39338"/>
                <a:gd name="connsiteY7" fmla="*/ 2840 h 192292"/>
                <a:gd name="connsiteX8" fmla="*/ 32480 w 39338"/>
                <a:gd name="connsiteY8" fmla="*/ 44369 h 192292"/>
                <a:gd name="connsiteX9" fmla="*/ 39338 w 39338"/>
                <a:gd name="connsiteY9" fmla="*/ 189054 h 192292"/>
                <a:gd name="connsiteX10" fmla="*/ 8001 w 39338"/>
                <a:gd name="connsiteY10" fmla="*/ 192292 h 192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38" h="192292">
                  <a:moveTo>
                    <a:pt x="8001" y="192292"/>
                  </a:moveTo>
                  <a:cubicBezTo>
                    <a:pt x="8858" y="176671"/>
                    <a:pt x="6572" y="161050"/>
                    <a:pt x="5143" y="145429"/>
                  </a:cubicBezTo>
                  <a:cubicBezTo>
                    <a:pt x="3810" y="131142"/>
                    <a:pt x="3239" y="116854"/>
                    <a:pt x="2762" y="102472"/>
                  </a:cubicBezTo>
                  <a:cubicBezTo>
                    <a:pt x="1524" y="69801"/>
                    <a:pt x="953" y="37130"/>
                    <a:pt x="953" y="4459"/>
                  </a:cubicBezTo>
                  <a:lnTo>
                    <a:pt x="0" y="3602"/>
                  </a:lnTo>
                  <a:cubicBezTo>
                    <a:pt x="9430" y="2459"/>
                    <a:pt x="18764" y="1221"/>
                    <a:pt x="28194" y="78"/>
                  </a:cubicBezTo>
                  <a:cubicBezTo>
                    <a:pt x="28956" y="-17"/>
                    <a:pt x="29718" y="-113"/>
                    <a:pt x="30290" y="364"/>
                  </a:cubicBezTo>
                  <a:cubicBezTo>
                    <a:pt x="30956" y="935"/>
                    <a:pt x="30861" y="1983"/>
                    <a:pt x="30861" y="2840"/>
                  </a:cubicBezTo>
                  <a:cubicBezTo>
                    <a:pt x="29528" y="16651"/>
                    <a:pt x="31432" y="30558"/>
                    <a:pt x="32480" y="44369"/>
                  </a:cubicBezTo>
                  <a:cubicBezTo>
                    <a:pt x="36004" y="92566"/>
                    <a:pt x="28575" y="141905"/>
                    <a:pt x="39338" y="189054"/>
                  </a:cubicBezTo>
                  <a:cubicBezTo>
                    <a:pt x="28956" y="190483"/>
                    <a:pt x="18479" y="191530"/>
                    <a:pt x="8001" y="192292"/>
                  </a:cubicBezTo>
                  <a:close/>
                </a:path>
              </a:pathLst>
            </a:custGeom>
            <a:solidFill>
              <a:srgbClr val="FACC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441206CB-5C4D-880A-A961-121E1F36CBD2}"/>
                </a:ext>
              </a:extLst>
            </p:cNvPr>
            <p:cNvSpPr/>
            <p:nvPr/>
          </p:nvSpPr>
          <p:spPr>
            <a:xfrm>
              <a:off x="5422984" y="4313598"/>
              <a:ext cx="60581" cy="284324"/>
            </a:xfrm>
            <a:custGeom>
              <a:avLst/>
              <a:gdLst>
                <a:gd name="connsiteX0" fmla="*/ 9954 w 41499"/>
                <a:gd name="connsiteY0" fmla="*/ 193707 h 194766"/>
                <a:gd name="connsiteX1" fmla="*/ 6811 w 41499"/>
                <a:gd name="connsiteY1" fmla="*/ 143415 h 194766"/>
                <a:gd name="connsiteX2" fmla="*/ 4429 w 41499"/>
                <a:gd name="connsiteY2" fmla="*/ 94551 h 194766"/>
                <a:gd name="connsiteX3" fmla="*/ 3286 w 41499"/>
                <a:gd name="connsiteY3" fmla="*/ 45498 h 194766"/>
                <a:gd name="connsiteX4" fmla="*/ 3001 w 41499"/>
                <a:gd name="connsiteY4" fmla="*/ 19780 h 194766"/>
                <a:gd name="connsiteX5" fmla="*/ 3001 w 41499"/>
                <a:gd name="connsiteY5" fmla="*/ 8064 h 194766"/>
                <a:gd name="connsiteX6" fmla="*/ 1762 w 41499"/>
                <a:gd name="connsiteY6" fmla="*/ 4159 h 194766"/>
                <a:gd name="connsiteX7" fmla="*/ 1000 w 41499"/>
                <a:gd name="connsiteY7" fmla="*/ 5969 h 194766"/>
                <a:gd name="connsiteX8" fmla="*/ 17479 w 41499"/>
                <a:gd name="connsiteY8" fmla="*/ 3873 h 194766"/>
                <a:gd name="connsiteX9" fmla="*/ 24527 w 41499"/>
                <a:gd name="connsiteY9" fmla="*/ 3016 h 194766"/>
                <a:gd name="connsiteX10" fmla="*/ 29194 w 41499"/>
                <a:gd name="connsiteY10" fmla="*/ 2445 h 194766"/>
                <a:gd name="connsiteX11" fmla="*/ 30623 w 41499"/>
                <a:gd name="connsiteY11" fmla="*/ 6445 h 194766"/>
                <a:gd name="connsiteX12" fmla="*/ 30528 w 41499"/>
                <a:gd name="connsiteY12" fmla="*/ 21399 h 194766"/>
                <a:gd name="connsiteX13" fmla="*/ 31671 w 41499"/>
                <a:gd name="connsiteY13" fmla="*/ 36449 h 194766"/>
                <a:gd name="connsiteX14" fmla="*/ 33385 w 41499"/>
                <a:gd name="connsiteY14" fmla="*/ 97885 h 194766"/>
                <a:gd name="connsiteX15" fmla="*/ 34624 w 41499"/>
                <a:gd name="connsiteY15" fmla="*/ 159131 h 194766"/>
                <a:gd name="connsiteX16" fmla="*/ 35862 w 41499"/>
                <a:gd name="connsiteY16" fmla="*/ 170656 h 194766"/>
                <a:gd name="connsiteX17" fmla="*/ 38434 w 41499"/>
                <a:gd name="connsiteY17" fmla="*/ 186277 h 194766"/>
                <a:gd name="connsiteX18" fmla="*/ 35957 w 41499"/>
                <a:gd name="connsiteY18" fmla="*/ 189897 h 194766"/>
                <a:gd name="connsiteX19" fmla="*/ 32623 w 41499"/>
                <a:gd name="connsiteY19" fmla="*/ 190278 h 194766"/>
                <a:gd name="connsiteX20" fmla="*/ 24813 w 41499"/>
                <a:gd name="connsiteY20" fmla="*/ 191135 h 194766"/>
                <a:gd name="connsiteX21" fmla="*/ 9097 w 41499"/>
                <a:gd name="connsiteY21" fmla="*/ 192468 h 194766"/>
                <a:gd name="connsiteX22" fmla="*/ 9097 w 41499"/>
                <a:gd name="connsiteY22" fmla="*/ 194659 h 194766"/>
                <a:gd name="connsiteX23" fmla="*/ 40720 w 41499"/>
                <a:gd name="connsiteY23" fmla="*/ 191421 h 194766"/>
                <a:gd name="connsiteX24" fmla="*/ 41482 w 41499"/>
                <a:gd name="connsiteY24" fmla="*/ 190087 h 194766"/>
                <a:gd name="connsiteX25" fmla="*/ 35671 w 41499"/>
                <a:gd name="connsiteY25" fmla="*/ 71787 h 194766"/>
                <a:gd name="connsiteX26" fmla="*/ 32623 w 41499"/>
                <a:gd name="connsiteY26" fmla="*/ 13398 h 194766"/>
                <a:gd name="connsiteX27" fmla="*/ 30433 w 41499"/>
                <a:gd name="connsiteY27" fmla="*/ 254 h 194766"/>
                <a:gd name="connsiteX28" fmla="*/ 17574 w 41499"/>
                <a:gd name="connsiteY28" fmla="*/ 1778 h 194766"/>
                <a:gd name="connsiteX29" fmla="*/ 1096 w 41499"/>
                <a:gd name="connsiteY29" fmla="*/ 3873 h 194766"/>
                <a:gd name="connsiteX30" fmla="*/ 334 w 41499"/>
                <a:gd name="connsiteY30" fmla="*/ 5683 h 194766"/>
                <a:gd name="connsiteX31" fmla="*/ 1000 w 41499"/>
                <a:gd name="connsiteY31" fmla="*/ 15113 h 194766"/>
                <a:gd name="connsiteX32" fmla="*/ 1096 w 41499"/>
                <a:gd name="connsiteY32" fmla="*/ 26829 h 194766"/>
                <a:gd name="connsiteX33" fmla="*/ 1381 w 41499"/>
                <a:gd name="connsiteY33" fmla="*/ 51308 h 194766"/>
                <a:gd name="connsiteX34" fmla="*/ 2620 w 41499"/>
                <a:gd name="connsiteY34" fmla="*/ 99123 h 194766"/>
                <a:gd name="connsiteX35" fmla="*/ 5001 w 41499"/>
                <a:gd name="connsiteY35" fmla="*/ 144462 h 194766"/>
                <a:gd name="connsiteX36" fmla="*/ 8049 w 41499"/>
                <a:gd name="connsiteY36" fmla="*/ 193611 h 194766"/>
                <a:gd name="connsiteX37" fmla="*/ 9954 w 41499"/>
                <a:gd name="connsiteY37" fmla="*/ 193707 h 19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1499" h="194766">
                  <a:moveTo>
                    <a:pt x="9954" y="193707"/>
                  </a:moveTo>
                  <a:cubicBezTo>
                    <a:pt x="10716" y="176847"/>
                    <a:pt x="8239" y="160179"/>
                    <a:pt x="6811" y="143415"/>
                  </a:cubicBezTo>
                  <a:cubicBezTo>
                    <a:pt x="5382" y="127127"/>
                    <a:pt x="4906" y="110839"/>
                    <a:pt x="4429" y="94551"/>
                  </a:cubicBezTo>
                  <a:cubicBezTo>
                    <a:pt x="3858" y="78264"/>
                    <a:pt x="3477" y="61881"/>
                    <a:pt x="3286" y="45498"/>
                  </a:cubicBezTo>
                  <a:cubicBezTo>
                    <a:pt x="3191" y="36925"/>
                    <a:pt x="3096" y="28353"/>
                    <a:pt x="3001" y="19780"/>
                  </a:cubicBezTo>
                  <a:cubicBezTo>
                    <a:pt x="3001" y="15875"/>
                    <a:pt x="3001" y="11970"/>
                    <a:pt x="3001" y="8064"/>
                  </a:cubicBezTo>
                  <a:cubicBezTo>
                    <a:pt x="3001" y="5588"/>
                    <a:pt x="3382" y="5588"/>
                    <a:pt x="1762" y="4159"/>
                  </a:cubicBezTo>
                  <a:cubicBezTo>
                    <a:pt x="1477" y="4731"/>
                    <a:pt x="1286" y="5397"/>
                    <a:pt x="1000" y="5969"/>
                  </a:cubicBezTo>
                  <a:cubicBezTo>
                    <a:pt x="6525" y="5302"/>
                    <a:pt x="11954" y="4635"/>
                    <a:pt x="17479" y="3873"/>
                  </a:cubicBezTo>
                  <a:cubicBezTo>
                    <a:pt x="19860" y="3588"/>
                    <a:pt x="22146" y="3302"/>
                    <a:pt x="24527" y="3016"/>
                  </a:cubicBezTo>
                  <a:cubicBezTo>
                    <a:pt x="26051" y="2826"/>
                    <a:pt x="27670" y="2635"/>
                    <a:pt x="29194" y="2445"/>
                  </a:cubicBezTo>
                  <a:cubicBezTo>
                    <a:pt x="30814" y="3397"/>
                    <a:pt x="31290" y="4731"/>
                    <a:pt x="30623" y="6445"/>
                  </a:cubicBezTo>
                  <a:cubicBezTo>
                    <a:pt x="31290" y="11208"/>
                    <a:pt x="30337" y="16637"/>
                    <a:pt x="30528" y="21399"/>
                  </a:cubicBezTo>
                  <a:cubicBezTo>
                    <a:pt x="30718" y="26448"/>
                    <a:pt x="31195" y="31401"/>
                    <a:pt x="31671" y="36449"/>
                  </a:cubicBezTo>
                  <a:cubicBezTo>
                    <a:pt x="33481" y="56928"/>
                    <a:pt x="33576" y="77406"/>
                    <a:pt x="33385" y="97885"/>
                  </a:cubicBezTo>
                  <a:cubicBezTo>
                    <a:pt x="33100" y="118269"/>
                    <a:pt x="32814" y="138747"/>
                    <a:pt x="34624" y="159131"/>
                  </a:cubicBezTo>
                  <a:cubicBezTo>
                    <a:pt x="35005" y="162941"/>
                    <a:pt x="35386" y="166846"/>
                    <a:pt x="35862" y="170656"/>
                  </a:cubicBezTo>
                  <a:cubicBezTo>
                    <a:pt x="36529" y="175609"/>
                    <a:pt x="38529" y="181229"/>
                    <a:pt x="38434" y="186277"/>
                  </a:cubicBezTo>
                  <a:cubicBezTo>
                    <a:pt x="39672" y="188468"/>
                    <a:pt x="38815" y="189706"/>
                    <a:pt x="35957" y="189897"/>
                  </a:cubicBezTo>
                  <a:cubicBezTo>
                    <a:pt x="34814" y="189992"/>
                    <a:pt x="33766" y="190182"/>
                    <a:pt x="32623" y="190278"/>
                  </a:cubicBezTo>
                  <a:cubicBezTo>
                    <a:pt x="30052" y="190563"/>
                    <a:pt x="27385" y="190849"/>
                    <a:pt x="24813" y="191135"/>
                  </a:cubicBezTo>
                  <a:cubicBezTo>
                    <a:pt x="19574" y="191706"/>
                    <a:pt x="14335" y="192087"/>
                    <a:pt x="9097" y="192468"/>
                  </a:cubicBezTo>
                  <a:cubicBezTo>
                    <a:pt x="7763" y="192564"/>
                    <a:pt x="7668" y="194754"/>
                    <a:pt x="9097" y="194659"/>
                  </a:cubicBezTo>
                  <a:cubicBezTo>
                    <a:pt x="19669" y="193897"/>
                    <a:pt x="30242" y="192754"/>
                    <a:pt x="40720" y="191421"/>
                  </a:cubicBezTo>
                  <a:cubicBezTo>
                    <a:pt x="41291" y="191325"/>
                    <a:pt x="41577" y="190563"/>
                    <a:pt x="41482" y="190087"/>
                  </a:cubicBezTo>
                  <a:cubicBezTo>
                    <a:pt x="32814" y="151130"/>
                    <a:pt x="36148" y="111315"/>
                    <a:pt x="35671" y="71787"/>
                  </a:cubicBezTo>
                  <a:cubicBezTo>
                    <a:pt x="35481" y="52260"/>
                    <a:pt x="32433" y="32829"/>
                    <a:pt x="32623" y="13398"/>
                  </a:cubicBezTo>
                  <a:cubicBezTo>
                    <a:pt x="32623" y="9588"/>
                    <a:pt x="35386" y="1683"/>
                    <a:pt x="30433" y="254"/>
                  </a:cubicBezTo>
                  <a:cubicBezTo>
                    <a:pt x="27099" y="-699"/>
                    <a:pt x="21098" y="1302"/>
                    <a:pt x="17574" y="1778"/>
                  </a:cubicBezTo>
                  <a:cubicBezTo>
                    <a:pt x="12049" y="2445"/>
                    <a:pt x="6620" y="3207"/>
                    <a:pt x="1096" y="3873"/>
                  </a:cubicBezTo>
                  <a:cubicBezTo>
                    <a:pt x="238" y="3969"/>
                    <a:pt x="-428" y="5016"/>
                    <a:pt x="334" y="5683"/>
                  </a:cubicBezTo>
                  <a:cubicBezTo>
                    <a:pt x="2048" y="7207"/>
                    <a:pt x="1000" y="13017"/>
                    <a:pt x="1000" y="15113"/>
                  </a:cubicBezTo>
                  <a:cubicBezTo>
                    <a:pt x="1000" y="19018"/>
                    <a:pt x="1000" y="22923"/>
                    <a:pt x="1096" y="26829"/>
                  </a:cubicBezTo>
                  <a:cubicBezTo>
                    <a:pt x="1191" y="35020"/>
                    <a:pt x="1286" y="43212"/>
                    <a:pt x="1381" y="51308"/>
                  </a:cubicBezTo>
                  <a:cubicBezTo>
                    <a:pt x="1667" y="67215"/>
                    <a:pt x="2048" y="83217"/>
                    <a:pt x="2620" y="99123"/>
                  </a:cubicBezTo>
                  <a:cubicBezTo>
                    <a:pt x="3191" y="114268"/>
                    <a:pt x="3667" y="129413"/>
                    <a:pt x="5001" y="144462"/>
                  </a:cubicBezTo>
                  <a:cubicBezTo>
                    <a:pt x="6430" y="160845"/>
                    <a:pt x="8811" y="177133"/>
                    <a:pt x="8049" y="193611"/>
                  </a:cubicBezTo>
                  <a:cubicBezTo>
                    <a:pt x="7763" y="195135"/>
                    <a:pt x="9954" y="195135"/>
                    <a:pt x="9954" y="193707"/>
                  </a:cubicBez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5C2C5AA-BE70-C242-1D11-E0DE9FA96894}"/>
                </a:ext>
              </a:extLst>
            </p:cNvPr>
            <p:cNvSpPr/>
            <p:nvPr/>
          </p:nvSpPr>
          <p:spPr>
            <a:xfrm>
              <a:off x="5975214" y="4492278"/>
              <a:ext cx="45885" cy="56902"/>
            </a:xfrm>
            <a:custGeom>
              <a:avLst/>
              <a:gdLst>
                <a:gd name="connsiteX0" fmla="*/ 13526 w 31432"/>
                <a:gd name="connsiteY0" fmla="*/ 633 h 38979"/>
                <a:gd name="connsiteX1" fmla="*/ 6001 w 31432"/>
                <a:gd name="connsiteY1" fmla="*/ 442 h 38979"/>
                <a:gd name="connsiteX2" fmla="*/ 2191 w 31432"/>
                <a:gd name="connsiteY2" fmla="*/ 5967 h 38979"/>
                <a:gd name="connsiteX3" fmla="*/ 477 w 31432"/>
                <a:gd name="connsiteY3" fmla="*/ 23683 h 38979"/>
                <a:gd name="connsiteX4" fmla="*/ 8573 w 31432"/>
                <a:gd name="connsiteY4" fmla="*/ 36542 h 38979"/>
                <a:gd name="connsiteX5" fmla="*/ 22860 w 31432"/>
                <a:gd name="connsiteY5" fmla="*/ 37494 h 38979"/>
                <a:gd name="connsiteX6" fmla="*/ 31433 w 31432"/>
                <a:gd name="connsiteY6" fmla="*/ 23207 h 38979"/>
                <a:gd name="connsiteX7" fmla="*/ 30385 w 31432"/>
                <a:gd name="connsiteY7" fmla="*/ 22159 h 38979"/>
                <a:gd name="connsiteX8" fmla="*/ 19431 w 31432"/>
                <a:gd name="connsiteY8" fmla="*/ 22635 h 38979"/>
                <a:gd name="connsiteX9" fmla="*/ 16479 w 31432"/>
                <a:gd name="connsiteY9" fmla="*/ 22731 h 38979"/>
                <a:gd name="connsiteX10" fmla="*/ 14288 w 31432"/>
                <a:gd name="connsiteY10" fmla="*/ 22826 h 38979"/>
                <a:gd name="connsiteX11" fmla="*/ 13431 w 31432"/>
                <a:gd name="connsiteY11" fmla="*/ 22159 h 38979"/>
                <a:gd name="connsiteX12" fmla="*/ 13431 w 31432"/>
                <a:gd name="connsiteY12" fmla="*/ 20730 h 38979"/>
                <a:gd name="connsiteX13" fmla="*/ 13526 w 31432"/>
                <a:gd name="connsiteY13" fmla="*/ 18254 h 38979"/>
                <a:gd name="connsiteX14" fmla="*/ 15145 w 31432"/>
                <a:gd name="connsiteY14" fmla="*/ 7872 h 38979"/>
                <a:gd name="connsiteX15" fmla="*/ 15050 w 31432"/>
                <a:gd name="connsiteY15" fmla="*/ 918 h 38979"/>
                <a:gd name="connsiteX16" fmla="*/ 13526 w 31432"/>
                <a:gd name="connsiteY16" fmla="*/ 2442 h 38979"/>
                <a:gd name="connsiteX17" fmla="*/ 12954 w 31432"/>
                <a:gd name="connsiteY17" fmla="*/ 7967 h 38979"/>
                <a:gd name="connsiteX18" fmla="*/ 11907 w 31432"/>
                <a:gd name="connsiteY18" fmla="*/ 13491 h 38979"/>
                <a:gd name="connsiteX19" fmla="*/ 11430 w 31432"/>
                <a:gd name="connsiteY19" fmla="*/ 18635 h 38979"/>
                <a:gd name="connsiteX20" fmla="*/ 11526 w 31432"/>
                <a:gd name="connsiteY20" fmla="*/ 23302 h 38979"/>
                <a:gd name="connsiteX21" fmla="*/ 13240 w 31432"/>
                <a:gd name="connsiteY21" fmla="*/ 24921 h 38979"/>
                <a:gd name="connsiteX22" fmla="*/ 18765 w 31432"/>
                <a:gd name="connsiteY22" fmla="*/ 24731 h 38979"/>
                <a:gd name="connsiteX23" fmla="*/ 30385 w 31432"/>
                <a:gd name="connsiteY23" fmla="*/ 24159 h 38979"/>
                <a:gd name="connsiteX24" fmla="*/ 29337 w 31432"/>
                <a:gd name="connsiteY24" fmla="*/ 23112 h 38979"/>
                <a:gd name="connsiteX25" fmla="*/ 20193 w 31432"/>
                <a:gd name="connsiteY25" fmla="*/ 36161 h 38979"/>
                <a:gd name="connsiteX26" fmla="*/ 5620 w 31432"/>
                <a:gd name="connsiteY26" fmla="*/ 30636 h 38979"/>
                <a:gd name="connsiteX27" fmla="*/ 2572 w 31432"/>
                <a:gd name="connsiteY27" fmla="*/ 13301 h 38979"/>
                <a:gd name="connsiteX28" fmla="*/ 4763 w 31432"/>
                <a:gd name="connsiteY28" fmla="*/ 4919 h 38979"/>
                <a:gd name="connsiteX29" fmla="*/ 8382 w 31432"/>
                <a:gd name="connsiteY29" fmla="*/ 2061 h 38979"/>
                <a:gd name="connsiteX30" fmla="*/ 12954 w 31432"/>
                <a:gd name="connsiteY30" fmla="*/ 2538 h 38979"/>
                <a:gd name="connsiteX31" fmla="*/ 13526 w 31432"/>
                <a:gd name="connsiteY31" fmla="*/ 633 h 38979"/>
                <a:gd name="connsiteX32" fmla="*/ 13526 w 31432"/>
                <a:gd name="connsiteY32" fmla="*/ 633 h 38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32" h="38979">
                  <a:moveTo>
                    <a:pt x="13526" y="633"/>
                  </a:moveTo>
                  <a:cubicBezTo>
                    <a:pt x="11145" y="156"/>
                    <a:pt x="8287" y="-415"/>
                    <a:pt x="6001" y="442"/>
                  </a:cubicBezTo>
                  <a:cubicBezTo>
                    <a:pt x="3715" y="1299"/>
                    <a:pt x="2858" y="3871"/>
                    <a:pt x="2191" y="5967"/>
                  </a:cubicBezTo>
                  <a:cubicBezTo>
                    <a:pt x="381" y="11682"/>
                    <a:pt x="-666" y="17778"/>
                    <a:pt x="477" y="23683"/>
                  </a:cubicBezTo>
                  <a:cubicBezTo>
                    <a:pt x="1429" y="28827"/>
                    <a:pt x="4191" y="33589"/>
                    <a:pt x="8573" y="36542"/>
                  </a:cubicBezTo>
                  <a:cubicBezTo>
                    <a:pt x="12859" y="39399"/>
                    <a:pt x="18193" y="39780"/>
                    <a:pt x="22860" y="37494"/>
                  </a:cubicBezTo>
                  <a:cubicBezTo>
                    <a:pt x="28290" y="34827"/>
                    <a:pt x="31338" y="29112"/>
                    <a:pt x="31433" y="23207"/>
                  </a:cubicBezTo>
                  <a:cubicBezTo>
                    <a:pt x="31433" y="22635"/>
                    <a:pt x="30957" y="22064"/>
                    <a:pt x="30385" y="22159"/>
                  </a:cubicBezTo>
                  <a:cubicBezTo>
                    <a:pt x="26766" y="22350"/>
                    <a:pt x="23146" y="22445"/>
                    <a:pt x="19431" y="22635"/>
                  </a:cubicBezTo>
                  <a:cubicBezTo>
                    <a:pt x="18479" y="22635"/>
                    <a:pt x="17526" y="22731"/>
                    <a:pt x="16479" y="22731"/>
                  </a:cubicBezTo>
                  <a:cubicBezTo>
                    <a:pt x="15812" y="22731"/>
                    <a:pt x="14955" y="23016"/>
                    <a:pt x="14288" y="22826"/>
                  </a:cubicBezTo>
                  <a:cubicBezTo>
                    <a:pt x="13621" y="23112"/>
                    <a:pt x="13335" y="22921"/>
                    <a:pt x="13431" y="22159"/>
                  </a:cubicBezTo>
                  <a:cubicBezTo>
                    <a:pt x="13431" y="21683"/>
                    <a:pt x="13431" y="21207"/>
                    <a:pt x="13431" y="20730"/>
                  </a:cubicBezTo>
                  <a:cubicBezTo>
                    <a:pt x="13431" y="19873"/>
                    <a:pt x="13431" y="19111"/>
                    <a:pt x="13526" y="18254"/>
                  </a:cubicBezTo>
                  <a:cubicBezTo>
                    <a:pt x="13716" y="14730"/>
                    <a:pt x="14383" y="11301"/>
                    <a:pt x="15145" y="7872"/>
                  </a:cubicBezTo>
                  <a:cubicBezTo>
                    <a:pt x="15717" y="5490"/>
                    <a:pt x="16669" y="3109"/>
                    <a:pt x="15050" y="918"/>
                  </a:cubicBezTo>
                  <a:cubicBezTo>
                    <a:pt x="14193" y="-129"/>
                    <a:pt x="12669" y="1395"/>
                    <a:pt x="13526" y="2442"/>
                  </a:cubicBezTo>
                  <a:cubicBezTo>
                    <a:pt x="14574" y="3776"/>
                    <a:pt x="13240" y="6538"/>
                    <a:pt x="12954" y="7967"/>
                  </a:cubicBezTo>
                  <a:cubicBezTo>
                    <a:pt x="12573" y="9777"/>
                    <a:pt x="12192" y="11586"/>
                    <a:pt x="11907" y="13491"/>
                  </a:cubicBezTo>
                  <a:cubicBezTo>
                    <a:pt x="11621" y="15206"/>
                    <a:pt x="11430" y="16920"/>
                    <a:pt x="11430" y="18635"/>
                  </a:cubicBezTo>
                  <a:cubicBezTo>
                    <a:pt x="11335" y="20064"/>
                    <a:pt x="11145" y="21873"/>
                    <a:pt x="11526" y="23302"/>
                  </a:cubicBezTo>
                  <a:cubicBezTo>
                    <a:pt x="11811" y="24255"/>
                    <a:pt x="12288" y="24731"/>
                    <a:pt x="13240" y="24921"/>
                  </a:cubicBezTo>
                  <a:cubicBezTo>
                    <a:pt x="14955" y="25207"/>
                    <a:pt x="17050" y="24826"/>
                    <a:pt x="18765" y="24731"/>
                  </a:cubicBezTo>
                  <a:cubicBezTo>
                    <a:pt x="22670" y="24540"/>
                    <a:pt x="26480" y="24350"/>
                    <a:pt x="30385" y="24159"/>
                  </a:cubicBezTo>
                  <a:cubicBezTo>
                    <a:pt x="30004" y="23778"/>
                    <a:pt x="29623" y="23397"/>
                    <a:pt x="29337" y="23112"/>
                  </a:cubicBezTo>
                  <a:cubicBezTo>
                    <a:pt x="29242" y="28922"/>
                    <a:pt x="25908" y="34351"/>
                    <a:pt x="20193" y="36161"/>
                  </a:cubicBezTo>
                  <a:cubicBezTo>
                    <a:pt x="14669" y="37875"/>
                    <a:pt x="8859" y="35208"/>
                    <a:pt x="5620" y="30636"/>
                  </a:cubicBezTo>
                  <a:cubicBezTo>
                    <a:pt x="2096" y="25683"/>
                    <a:pt x="1620" y="19206"/>
                    <a:pt x="2572" y="13301"/>
                  </a:cubicBezTo>
                  <a:cubicBezTo>
                    <a:pt x="3048" y="10443"/>
                    <a:pt x="3810" y="7586"/>
                    <a:pt x="4763" y="4919"/>
                  </a:cubicBezTo>
                  <a:cubicBezTo>
                    <a:pt x="5430" y="3109"/>
                    <a:pt x="6287" y="2061"/>
                    <a:pt x="8382" y="2061"/>
                  </a:cubicBezTo>
                  <a:cubicBezTo>
                    <a:pt x="9906" y="1966"/>
                    <a:pt x="11526" y="2252"/>
                    <a:pt x="12954" y="2538"/>
                  </a:cubicBezTo>
                  <a:cubicBezTo>
                    <a:pt x="14288" y="3014"/>
                    <a:pt x="14955" y="918"/>
                    <a:pt x="13526" y="633"/>
                  </a:cubicBezTo>
                  <a:lnTo>
                    <a:pt x="13526" y="633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568C76FC-1694-DDFA-7CAE-601C03CB6DF9}"/>
                </a:ext>
              </a:extLst>
            </p:cNvPr>
            <p:cNvSpPr/>
            <p:nvPr/>
          </p:nvSpPr>
          <p:spPr>
            <a:xfrm>
              <a:off x="5997853" y="4488829"/>
              <a:ext cx="21392" cy="32303"/>
            </a:xfrm>
            <a:custGeom>
              <a:avLst/>
              <a:gdLst>
                <a:gd name="connsiteX0" fmla="*/ 2208 w 14654"/>
                <a:gd name="connsiteY0" fmla="*/ 3174 h 22128"/>
                <a:gd name="connsiteX1" fmla="*/ 494 w 14654"/>
                <a:gd name="connsiteY1" fmla="*/ 16890 h 22128"/>
                <a:gd name="connsiteX2" fmla="*/ 18 w 14654"/>
                <a:gd name="connsiteY2" fmla="*/ 20224 h 22128"/>
                <a:gd name="connsiteX3" fmla="*/ 1065 w 14654"/>
                <a:gd name="connsiteY3" fmla="*/ 21938 h 22128"/>
                <a:gd name="connsiteX4" fmla="*/ 4304 w 14654"/>
                <a:gd name="connsiteY4" fmla="*/ 22129 h 22128"/>
                <a:gd name="connsiteX5" fmla="*/ 7923 w 14654"/>
                <a:gd name="connsiteY5" fmla="*/ 22034 h 22128"/>
                <a:gd name="connsiteX6" fmla="*/ 11162 w 14654"/>
                <a:gd name="connsiteY6" fmla="*/ 21748 h 22128"/>
                <a:gd name="connsiteX7" fmla="*/ 14019 w 14654"/>
                <a:gd name="connsiteY7" fmla="*/ 20986 h 22128"/>
                <a:gd name="connsiteX8" fmla="*/ 14591 w 14654"/>
                <a:gd name="connsiteY8" fmla="*/ 18509 h 22128"/>
                <a:gd name="connsiteX9" fmla="*/ 14400 w 14654"/>
                <a:gd name="connsiteY9" fmla="*/ 14795 h 22128"/>
                <a:gd name="connsiteX10" fmla="*/ 12019 w 14654"/>
                <a:gd name="connsiteY10" fmla="*/ 2698 h 22128"/>
                <a:gd name="connsiteX11" fmla="*/ 2113 w 14654"/>
                <a:gd name="connsiteY11" fmla="*/ 1079 h 22128"/>
                <a:gd name="connsiteX12" fmla="*/ 3161 w 14654"/>
                <a:gd name="connsiteY12" fmla="*/ 2984 h 22128"/>
                <a:gd name="connsiteX13" fmla="*/ 9543 w 14654"/>
                <a:gd name="connsiteY13" fmla="*/ 3365 h 22128"/>
                <a:gd name="connsiteX14" fmla="*/ 12114 w 14654"/>
                <a:gd name="connsiteY14" fmla="*/ 10985 h 22128"/>
                <a:gd name="connsiteX15" fmla="*/ 12305 w 14654"/>
                <a:gd name="connsiteY15" fmla="*/ 16033 h 22128"/>
                <a:gd name="connsiteX16" fmla="*/ 12400 w 14654"/>
                <a:gd name="connsiteY16" fmla="*/ 18605 h 22128"/>
                <a:gd name="connsiteX17" fmla="*/ 12495 w 14654"/>
                <a:gd name="connsiteY17" fmla="*/ 19557 h 22128"/>
                <a:gd name="connsiteX18" fmla="*/ 11543 w 14654"/>
                <a:gd name="connsiteY18" fmla="*/ 19652 h 22128"/>
                <a:gd name="connsiteX19" fmla="*/ 6399 w 14654"/>
                <a:gd name="connsiteY19" fmla="*/ 20129 h 22128"/>
                <a:gd name="connsiteX20" fmla="*/ 3828 w 14654"/>
                <a:gd name="connsiteY20" fmla="*/ 20129 h 22128"/>
                <a:gd name="connsiteX21" fmla="*/ 2684 w 14654"/>
                <a:gd name="connsiteY21" fmla="*/ 20129 h 22128"/>
                <a:gd name="connsiteX22" fmla="*/ 1541 w 14654"/>
                <a:gd name="connsiteY22" fmla="*/ 20129 h 22128"/>
                <a:gd name="connsiteX23" fmla="*/ 2018 w 14654"/>
                <a:gd name="connsiteY23" fmla="*/ 20795 h 22128"/>
                <a:gd name="connsiteX24" fmla="*/ 2303 w 14654"/>
                <a:gd name="connsiteY24" fmla="*/ 18795 h 22128"/>
                <a:gd name="connsiteX25" fmla="*/ 2684 w 14654"/>
                <a:gd name="connsiteY25" fmla="*/ 16700 h 22128"/>
                <a:gd name="connsiteX26" fmla="*/ 3542 w 14654"/>
                <a:gd name="connsiteY26" fmla="*/ 12318 h 22128"/>
                <a:gd name="connsiteX27" fmla="*/ 4304 w 14654"/>
                <a:gd name="connsiteY27" fmla="*/ 3555 h 22128"/>
                <a:gd name="connsiteX28" fmla="*/ 2208 w 14654"/>
                <a:gd name="connsiteY28" fmla="*/ 3174 h 22128"/>
                <a:gd name="connsiteX29" fmla="*/ 2208 w 14654"/>
                <a:gd name="connsiteY29" fmla="*/ 3174 h 22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4654" h="22128">
                  <a:moveTo>
                    <a:pt x="2208" y="3174"/>
                  </a:moveTo>
                  <a:cubicBezTo>
                    <a:pt x="2494" y="7841"/>
                    <a:pt x="1351" y="12318"/>
                    <a:pt x="494" y="16890"/>
                  </a:cubicBezTo>
                  <a:cubicBezTo>
                    <a:pt x="303" y="17938"/>
                    <a:pt x="113" y="19081"/>
                    <a:pt x="18" y="20224"/>
                  </a:cubicBezTo>
                  <a:cubicBezTo>
                    <a:pt x="-78" y="21081"/>
                    <a:pt x="208" y="21748"/>
                    <a:pt x="1065" y="21938"/>
                  </a:cubicBezTo>
                  <a:cubicBezTo>
                    <a:pt x="2113" y="22129"/>
                    <a:pt x="3256" y="22034"/>
                    <a:pt x="4304" y="22129"/>
                  </a:cubicBezTo>
                  <a:cubicBezTo>
                    <a:pt x="5542" y="22129"/>
                    <a:pt x="6780" y="22129"/>
                    <a:pt x="7923" y="22034"/>
                  </a:cubicBezTo>
                  <a:cubicBezTo>
                    <a:pt x="9066" y="21938"/>
                    <a:pt x="10114" y="21843"/>
                    <a:pt x="11162" y="21748"/>
                  </a:cubicBezTo>
                  <a:cubicBezTo>
                    <a:pt x="12114" y="21653"/>
                    <a:pt x="13257" y="21653"/>
                    <a:pt x="14019" y="20986"/>
                  </a:cubicBezTo>
                  <a:cubicBezTo>
                    <a:pt x="14781" y="20319"/>
                    <a:pt x="14686" y="19367"/>
                    <a:pt x="14591" y="18509"/>
                  </a:cubicBezTo>
                  <a:cubicBezTo>
                    <a:pt x="14495" y="17271"/>
                    <a:pt x="14495" y="16033"/>
                    <a:pt x="14400" y="14795"/>
                  </a:cubicBezTo>
                  <a:cubicBezTo>
                    <a:pt x="14210" y="10889"/>
                    <a:pt x="14686" y="5936"/>
                    <a:pt x="12019" y="2698"/>
                  </a:cubicBezTo>
                  <a:cubicBezTo>
                    <a:pt x="9638" y="-160"/>
                    <a:pt x="5256" y="-826"/>
                    <a:pt x="2113" y="1079"/>
                  </a:cubicBezTo>
                  <a:cubicBezTo>
                    <a:pt x="875" y="1745"/>
                    <a:pt x="2018" y="3650"/>
                    <a:pt x="3161" y="2984"/>
                  </a:cubicBezTo>
                  <a:cubicBezTo>
                    <a:pt x="5161" y="1841"/>
                    <a:pt x="7733" y="2031"/>
                    <a:pt x="9543" y="3365"/>
                  </a:cubicBezTo>
                  <a:cubicBezTo>
                    <a:pt x="11828" y="5079"/>
                    <a:pt x="11924" y="8318"/>
                    <a:pt x="12114" y="10985"/>
                  </a:cubicBezTo>
                  <a:cubicBezTo>
                    <a:pt x="12209" y="12699"/>
                    <a:pt x="12305" y="14318"/>
                    <a:pt x="12305" y="16033"/>
                  </a:cubicBezTo>
                  <a:cubicBezTo>
                    <a:pt x="12305" y="16890"/>
                    <a:pt x="12400" y="17747"/>
                    <a:pt x="12400" y="18605"/>
                  </a:cubicBezTo>
                  <a:cubicBezTo>
                    <a:pt x="12400" y="18890"/>
                    <a:pt x="12400" y="19557"/>
                    <a:pt x="12495" y="19557"/>
                  </a:cubicBezTo>
                  <a:cubicBezTo>
                    <a:pt x="12591" y="19462"/>
                    <a:pt x="11638" y="19652"/>
                    <a:pt x="11543" y="19652"/>
                  </a:cubicBezTo>
                  <a:cubicBezTo>
                    <a:pt x="9828" y="19938"/>
                    <a:pt x="8114" y="20033"/>
                    <a:pt x="6399" y="20129"/>
                  </a:cubicBezTo>
                  <a:cubicBezTo>
                    <a:pt x="5542" y="20129"/>
                    <a:pt x="4685" y="20129"/>
                    <a:pt x="3828" y="20129"/>
                  </a:cubicBezTo>
                  <a:cubicBezTo>
                    <a:pt x="3447" y="20129"/>
                    <a:pt x="3066" y="20129"/>
                    <a:pt x="2684" y="20129"/>
                  </a:cubicBezTo>
                  <a:cubicBezTo>
                    <a:pt x="2494" y="20129"/>
                    <a:pt x="1637" y="20224"/>
                    <a:pt x="1541" y="20129"/>
                  </a:cubicBezTo>
                  <a:cubicBezTo>
                    <a:pt x="1732" y="20319"/>
                    <a:pt x="1827" y="20605"/>
                    <a:pt x="2018" y="20795"/>
                  </a:cubicBezTo>
                  <a:cubicBezTo>
                    <a:pt x="1827" y="20414"/>
                    <a:pt x="2208" y="19271"/>
                    <a:pt x="2303" y="18795"/>
                  </a:cubicBezTo>
                  <a:cubicBezTo>
                    <a:pt x="2399" y="18128"/>
                    <a:pt x="2589" y="17366"/>
                    <a:pt x="2684" y="16700"/>
                  </a:cubicBezTo>
                  <a:cubicBezTo>
                    <a:pt x="2970" y="15271"/>
                    <a:pt x="3256" y="13747"/>
                    <a:pt x="3542" y="12318"/>
                  </a:cubicBezTo>
                  <a:cubicBezTo>
                    <a:pt x="4113" y="9461"/>
                    <a:pt x="4494" y="6508"/>
                    <a:pt x="4304" y="3555"/>
                  </a:cubicBezTo>
                  <a:cubicBezTo>
                    <a:pt x="4304" y="1745"/>
                    <a:pt x="2113" y="1745"/>
                    <a:pt x="2208" y="3174"/>
                  </a:cubicBezTo>
                  <a:lnTo>
                    <a:pt x="2208" y="3174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CA68565F-1760-D44D-243F-FB52FD15FD0E}"/>
                </a:ext>
              </a:extLst>
            </p:cNvPr>
            <p:cNvSpPr/>
            <p:nvPr/>
          </p:nvSpPr>
          <p:spPr>
            <a:xfrm>
              <a:off x="5986065" y="4554661"/>
              <a:ext cx="48002" cy="8917"/>
            </a:xfrm>
            <a:custGeom>
              <a:avLst/>
              <a:gdLst>
                <a:gd name="connsiteX0" fmla="*/ 1330 w 32882"/>
                <a:gd name="connsiteY0" fmla="*/ 6096 h 6108"/>
                <a:gd name="connsiteX1" fmla="*/ 16570 w 32882"/>
                <a:gd name="connsiteY1" fmla="*/ 3143 h 6108"/>
                <a:gd name="connsiteX2" fmla="*/ 31810 w 32882"/>
                <a:gd name="connsiteY2" fmla="*/ 2191 h 6108"/>
                <a:gd name="connsiteX3" fmla="*/ 31810 w 32882"/>
                <a:gd name="connsiteY3" fmla="*/ 0 h 6108"/>
                <a:gd name="connsiteX4" fmla="*/ 15999 w 32882"/>
                <a:gd name="connsiteY4" fmla="*/ 953 h 6108"/>
                <a:gd name="connsiteX5" fmla="*/ 759 w 32882"/>
                <a:gd name="connsiteY5" fmla="*/ 3905 h 6108"/>
                <a:gd name="connsiteX6" fmla="*/ 1330 w 32882"/>
                <a:gd name="connsiteY6" fmla="*/ 6096 h 6108"/>
                <a:gd name="connsiteX7" fmla="*/ 1330 w 32882"/>
                <a:gd name="connsiteY7" fmla="*/ 6096 h 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82" h="6108">
                  <a:moveTo>
                    <a:pt x="1330" y="6096"/>
                  </a:moveTo>
                  <a:cubicBezTo>
                    <a:pt x="6474" y="5239"/>
                    <a:pt x="11427" y="3715"/>
                    <a:pt x="16570" y="3143"/>
                  </a:cubicBezTo>
                  <a:cubicBezTo>
                    <a:pt x="21619" y="2572"/>
                    <a:pt x="26762" y="2381"/>
                    <a:pt x="31810" y="2191"/>
                  </a:cubicBezTo>
                  <a:cubicBezTo>
                    <a:pt x="33239" y="2191"/>
                    <a:pt x="33239" y="0"/>
                    <a:pt x="31810" y="0"/>
                  </a:cubicBezTo>
                  <a:cubicBezTo>
                    <a:pt x="26572" y="191"/>
                    <a:pt x="21238" y="381"/>
                    <a:pt x="15999" y="953"/>
                  </a:cubicBezTo>
                  <a:cubicBezTo>
                    <a:pt x="10855" y="1619"/>
                    <a:pt x="5902" y="3048"/>
                    <a:pt x="759" y="3905"/>
                  </a:cubicBezTo>
                  <a:cubicBezTo>
                    <a:pt x="-575" y="4286"/>
                    <a:pt x="-3" y="6287"/>
                    <a:pt x="1330" y="6096"/>
                  </a:cubicBezTo>
                  <a:lnTo>
                    <a:pt x="1330" y="6096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607029FF-C9B2-6AF9-9698-CF7970433BFD}"/>
                </a:ext>
              </a:extLst>
            </p:cNvPr>
            <p:cNvSpPr/>
            <p:nvPr/>
          </p:nvSpPr>
          <p:spPr>
            <a:xfrm>
              <a:off x="5990108" y="4567017"/>
              <a:ext cx="46419" cy="8934"/>
            </a:xfrm>
            <a:custGeom>
              <a:avLst/>
              <a:gdLst>
                <a:gd name="connsiteX0" fmla="*/ 1036 w 31798"/>
                <a:gd name="connsiteY0" fmla="*/ 6109 h 6120"/>
                <a:gd name="connsiteX1" fmla="*/ 31040 w 31798"/>
                <a:gd name="connsiteY1" fmla="*/ 2108 h 6120"/>
                <a:gd name="connsiteX2" fmla="*/ 30468 w 31798"/>
                <a:gd name="connsiteY2" fmla="*/ 13 h 6120"/>
                <a:gd name="connsiteX3" fmla="*/ 1036 w 31798"/>
                <a:gd name="connsiteY3" fmla="*/ 4013 h 6120"/>
                <a:gd name="connsiteX4" fmla="*/ 1036 w 31798"/>
                <a:gd name="connsiteY4" fmla="*/ 6109 h 6120"/>
                <a:gd name="connsiteX5" fmla="*/ 1036 w 31798"/>
                <a:gd name="connsiteY5" fmla="*/ 6109 h 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98" h="6120">
                  <a:moveTo>
                    <a:pt x="1036" y="6109"/>
                  </a:moveTo>
                  <a:cubicBezTo>
                    <a:pt x="11133" y="5156"/>
                    <a:pt x="21134" y="3823"/>
                    <a:pt x="31040" y="2108"/>
                  </a:cubicBezTo>
                  <a:cubicBezTo>
                    <a:pt x="32373" y="1823"/>
                    <a:pt x="31802" y="-178"/>
                    <a:pt x="30468" y="13"/>
                  </a:cubicBezTo>
                  <a:cubicBezTo>
                    <a:pt x="20753" y="1727"/>
                    <a:pt x="10847" y="3061"/>
                    <a:pt x="1036" y="4013"/>
                  </a:cubicBezTo>
                  <a:cubicBezTo>
                    <a:pt x="-297" y="4109"/>
                    <a:pt x="-393" y="6299"/>
                    <a:pt x="1036" y="6109"/>
                  </a:cubicBezTo>
                  <a:lnTo>
                    <a:pt x="1036" y="6109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4C415627-D39F-0B3C-E691-033D6CA4374D}"/>
                </a:ext>
              </a:extLst>
            </p:cNvPr>
            <p:cNvSpPr/>
            <p:nvPr/>
          </p:nvSpPr>
          <p:spPr>
            <a:xfrm>
              <a:off x="5991970" y="4576195"/>
              <a:ext cx="47202" cy="9490"/>
            </a:xfrm>
            <a:custGeom>
              <a:avLst/>
              <a:gdLst>
                <a:gd name="connsiteX0" fmla="*/ 1000 w 32334"/>
                <a:gd name="connsiteY0" fmla="*/ 6490 h 6501"/>
                <a:gd name="connsiteX1" fmla="*/ 31575 w 32334"/>
                <a:gd name="connsiteY1" fmla="*/ 2108 h 6501"/>
                <a:gd name="connsiteX2" fmla="*/ 31004 w 32334"/>
                <a:gd name="connsiteY2" fmla="*/ 13 h 6501"/>
                <a:gd name="connsiteX3" fmla="*/ 1000 w 32334"/>
                <a:gd name="connsiteY3" fmla="*/ 4299 h 6501"/>
                <a:gd name="connsiteX4" fmla="*/ 1000 w 32334"/>
                <a:gd name="connsiteY4" fmla="*/ 6490 h 6501"/>
                <a:gd name="connsiteX5" fmla="*/ 1000 w 32334"/>
                <a:gd name="connsiteY5" fmla="*/ 649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334" h="6501">
                  <a:moveTo>
                    <a:pt x="1000" y="6490"/>
                  </a:moveTo>
                  <a:cubicBezTo>
                    <a:pt x="11287" y="5442"/>
                    <a:pt x="21479" y="3918"/>
                    <a:pt x="31575" y="2108"/>
                  </a:cubicBezTo>
                  <a:cubicBezTo>
                    <a:pt x="32909" y="1823"/>
                    <a:pt x="32337" y="-178"/>
                    <a:pt x="31004" y="13"/>
                  </a:cubicBezTo>
                  <a:cubicBezTo>
                    <a:pt x="21003" y="1823"/>
                    <a:pt x="11001" y="3251"/>
                    <a:pt x="1000" y="4299"/>
                  </a:cubicBezTo>
                  <a:cubicBezTo>
                    <a:pt x="-333" y="4490"/>
                    <a:pt x="-333" y="6680"/>
                    <a:pt x="1000" y="6490"/>
                  </a:cubicBezTo>
                  <a:lnTo>
                    <a:pt x="1000" y="6490"/>
                  </a:lnTo>
                  <a:close/>
                </a:path>
              </a:pathLst>
            </a:custGeom>
            <a:solidFill>
              <a:srgbClr val="0059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58B29C36-B52C-5219-2DE8-94B09DC060C1}"/>
                </a:ext>
              </a:extLst>
            </p:cNvPr>
            <p:cNvGrpSpPr/>
            <p:nvPr/>
          </p:nvGrpSpPr>
          <p:grpSpPr>
            <a:xfrm>
              <a:off x="5361193" y="4832073"/>
              <a:ext cx="259428" cy="603527"/>
              <a:chOff x="5243718" y="4765398"/>
              <a:chExt cx="259428" cy="603527"/>
            </a:xfrm>
          </p:grpSpPr>
          <p:sp>
            <p:nvSpPr>
              <p:cNvPr id="518" name="Freeform: Shape 517">
                <a:extLst>
                  <a:ext uri="{FF2B5EF4-FFF2-40B4-BE49-F238E27FC236}">
                    <a16:creationId xmlns:a16="http://schemas.microsoft.com/office/drawing/2014/main" id="{08E10A59-4F1B-772C-30B5-88967267B2EB}"/>
                  </a:ext>
                </a:extLst>
              </p:cNvPr>
              <p:cNvSpPr/>
              <p:nvPr/>
            </p:nvSpPr>
            <p:spPr>
              <a:xfrm>
                <a:off x="5282616" y="4839709"/>
                <a:ext cx="117078" cy="156421"/>
              </a:xfrm>
              <a:custGeom>
                <a:avLst/>
                <a:gdLst>
                  <a:gd name="connsiteX0" fmla="*/ 8192 w 80200"/>
                  <a:gd name="connsiteY0" fmla="*/ 84201 h 107151"/>
                  <a:gd name="connsiteX1" fmla="*/ 13907 w 80200"/>
                  <a:gd name="connsiteY1" fmla="*/ 92964 h 107151"/>
                  <a:gd name="connsiteX2" fmla="*/ 20860 w 80200"/>
                  <a:gd name="connsiteY2" fmla="*/ 100775 h 107151"/>
                  <a:gd name="connsiteX3" fmla="*/ 30290 w 80200"/>
                  <a:gd name="connsiteY3" fmla="*/ 105061 h 107151"/>
                  <a:gd name="connsiteX4" fmla="*/ 40195 w 80200"/>
                  <a:gd name="connsiteY4" fmla="*/ 107061 h 107151"/>
                  <a:gd name="connsiteX5" fmla="*/ 50578 w 80200"/>
                  <a:gd name="connsiteY5" fmla="*/ 106299 h 107151"/>
                  <a:gd name="connsiteX6" fmla="*/ 59531 w 80200"/>
                  <a:gd name="connsiteY6" fmla="*/ 100775 h 107151"/>
                  <a:gd name="connsiteX7" fmla="*/ 66961 w 80200"/>
                  <a:gd name="connsiteY7" fmla="*/ 93250 h 107151"/>
                  <a:gd name="connsiteX8" fmla="*/ 72866 w 80200"/>
                  <a:gd name="connsiteY8" fmla="*/ 84677 h 107151"/>
                  <a:gd name="connsiteX9" fmla="*/ 77057 w 80200"/>
                  <a:gd name="connsiteY9" fmla="*/ 74867 h 107151"/>
                  <a:gd name="connsiteX10" fmla="*/ 79248 w 80200"/>
                  <a:gd name="connsiteY10" fmla="*/ 64294 h 107151"/>
                  <a:gd name="connsiteX11" fmla="*/ 80201 w 80200"/>
                  <a:gd name="connsiteY11" fmla="*/ 53721 h 107151"/>
                  <a:gd name="connsiteX12" fmla="*/ 78486 w 80200"/>
                  <a:gd name="connsiteY12" fmla="*/ 43148 h 107151"/>
                  <a:gd name="connsiteX13" fmla="*/ 76009 w 80200"/>
                  <a:gd name="connsiteY13" fmla="*/ 33147 h 107151"/>
                  <a:gd name="connsiteX14" fmla="*/ 72771 w 80200"/>
                  <a:gd name="connsiteY14" fmla="*/ 22860 h 107151"/>
                  <a:gd name="connsiteX15" fmla="*/ 66866 w 80200"/>
                  <a:gd name="connsiteY15" fmla="*/ 14288 h 107151"/>
                  <a:gd name="connsiteX16" fmla="*/ 59722 w 80200"/>
                  <a:gd name="connsiteY16" fmla="*/ 6763 h 107151"/>
                  <a:gd name="connsiteX17" fmla="*/ 50578 w 80200"/>
                  <a:gd name="connsiteY17" fmla="*/ 1238 h 107151"/>
                  <a:gd name="connsiteX18" fmla="*/ 40195 w 80200"/>
                  <a:gd name="connsiteY18" fmla="*/ 0 h 107151"/>
                  <a:gd name="connsiteX19" fmla="*/ 30004 w 80200"/>
                  <a:gd name="connsiteY19" fmla="*/ 1524 h 107151"/>
                  <a:gd name="connsiteX20" fmla="*/ 20860 w 80200"/>
                  <a:gd name="connsiteY20" fmla="*/ 6763 h 107151"/>
                  <a:gd name="connsiteX21" fmla="*/ 13430 w 80200"/>
                  <a:gd name="connsiteY21" fmla="*/ 14002 h 107151"/>
                  <a:gd name="connsiteX22" fmla="*/ 7715 w 80200"/>
                  <a:gd name="connsiteY22" fmla="*/ 23051 h 107151"/>
                  <a:gd name="connsiteX23" fmla="*/ 4001 w 80200"/>
                  <a:gd name="connsiteY23" fmla="*/ 32861 h 107151"/>
                  <a:gd name="connsiteX24" fmla="*/ 1238 w 80200"/>
                  <a:gd name="connsiteY24" fmla="*/ 43148 h 107151"/>
                  <a:gd name="connsiteX25" fmla="*/ 0 w 80200"/>
                  <a:gd name="connsiteY25" fmla="*/ 53721 h 107151"/>
                  <a:gd name="connsiteX26" fmla="*/ 1715 w 80200"/>
                  <a:gd name="connsiteY26" fmla="*/ 64294 h 107151"/>
                  <a:gd name="connsiteX27" fmla="*/ 3429 w 80200"/>
                  <a:gd name="connsiteY27" fmla="*/ 74867 h 107151"/>
                  <a:gd name="connsiteX28" fmla="*/ 8192 w 80200"/>
                  <a:gd name="connsiteY28" fmla="*/ 84201 h 10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0200" h="107151">
                    <a:moveTo>
                      <a:pt x="8192" y="84201"/>
                    </a:moveTo>
                    <a:cubicBezTo>
                      <a:pt x="9716" y="87440"/>
                      <a:pt x="11620" y="90488"/>
                      <a:pt x="13907" y="92964"/>
                    </a:cubicBezTo>
                    <a:cubicBezTo>
                      <a:pt x="16097" y="96012"/>
                      <a:pt x="18383" y="98489"/>
                      <a:pt x="20860" y="100775"/>
                    </a:cubicBezTo>
                    <a:cubicBezTo>
                      <a:pt x="23813" y="102775"/>
                      <a:pt x="27051" y="104013"/>
                      <a:pt x="30290" y="105061"/>
                    </a:cubicBezTo>
                    <a:cubicBezTo>
                      <a:pt x="33528" y="106299"/>
                      <a:pt x="36767" y="107061"/>
                      <a:pt x="40195" y="107061"/>
                    </a:cubicBezTo>
                    <a:cubicBezTo>
                      <a:pt x="43910" y="107061"/>
                      <a:pt x="47339" y="107537"/>
                      <a:pt x="50578" y="106299"/>
                    </a:cubicBezTo>
                    <a:cubicBezTo>
                      <a:pt x="53816" y="105061"/>
                      <a:pt x="56769" y="102775"/>
                      <a:pt x="59531" y="100775"/>
                    </a:cubicBezTo>
                    <a:cubicBezTo>
                      <a:pt x="62294" y="98489"/>
                      <a:pt x="64770" y="96298"/>
                      <a:pt x="66961" y="93250"/>
                    </a:cubicBezTo>
                    <a:cubicBezTo>
                      <a:pt x="69152" y="90773"/>
                      <a:pt x="71438" y="88011"/>
                      <a:pt x="72866" y="84677"/>
                    </a:cubicBezTo>
                    <a:cubicBezTo>
                      <a:pt x="74581" y="81629"/>
                      <a:pt x="76105" y="78391"/>
                      <a:pt x="77057" y="74867"/>
                    </a:cubicBezTo>
                    <a:cubicBezTo>
                      <a:pt x="78010" y="71628"/>
                      <a:pt x="78772" y="68104"/>
                      <a:pt x="79248" y="64294"/>
                    </a:cubicBezTo>
                    <a:cubicBezTo>
                      <a:pt x="79724" y="61055"/>
                      <a:pt x="80201" y="57245"/>
                      <a:pt x="80201" y="53721"/>
                    </a:cubicBezTo>
                    <a:cubicBezTo>
                      <a:pt x="80201" y="50197"/>
                      <a:pt x="78962" y="46673"/>
                      <a:pt x="78486" y="43148"/>
                    </a:cubicBezTo>
                    <a:cubicBezTo>
                      <a:pt x="78010" y="39624"/>
                      <a:pt x="76962" y="36385"/>
                      <a:pt x="76009" y="33147"/>
                    </a:cubicBezTo>
                    <a:cubicBezTo>
                      <a:pt x="74771" y="29623"/>
                      <a:pt x="74295" y="26099"/>
                      <a:pt x="72771" y="22860"/>
                    </a:cubicBezTo>
                    <a:cubicBezTo>
                      <a:pt x="71057" y="19812"/>
                      <a:pt x="68770" y="17050"/>
                      <a:pt x="66866" y="14288"/>
                    </a:cubicBezTo>
                    <a:cubicBezTo>
                      <a:pt x="64675" y="11525"/>
                      <a:pt x="62389" y="8763"/>
                      <a:pt x="59722" y="6763"/>
                    </a:cubicBezTo>
                    <a:cubicBezTo>
                      <a:pt x="56769" y="4477"/>
                      <a:pt x="53816" y="2477"/>
                      <a:pt x="50578" y="1238"/>
                    </a:cubicBezTo>
                    <a:cubicBezTo>
                      <a:pt x="47339" y="191"/>
                      <a:pt x="43910" y="0"/>
                      <a:pt x="40195" y="0"/>
                    </a:cubicBezTo>
                    <a:cubicBezTo>
                      <a:pt x="36767" y="0"/>
                      <a:pt x="33242" y="286"/>
                      <a:pt x="30004" y="1524"/>
                    </a:cubicBezTo>
                    <a:cubicBezTo>
                      <a:pt x="26765" y="2762"/>
                      <a:pt x="23813" y="4572"/>
                      <a:pt x="20860" y="6763"/>
                    </a:cubicBezTo>
                    <a:cubicBezTo>
                      <a:pt x="18097" y="8763"/>
                      <a:pt x="15621" y="11240"/>
                      <a:pt x="13430" y="14002"/>
                    </a:cubicBezTo>
                    <a:cubicBezTo>
                      <a:pt x="11240" y="16764"/>
                      <a:pt x="9239" y="19812"/>
                      <a:pt x="7715" y="23051"/>
                    </a:cubicBezTo>
                    <a:cubicBezTo>
                      <a:pt x="6001" y="26099"/>
                      <a:pt x="4953" y="29337"/>
                      <a:pt x="4001" y="32861"/>
                    </a:cubicBezTo>
                    <a:cubicBezTo>
                      <a:pt x="3048" y="36100"/>
                      <a:pt x="1810" y="39624"/>
                      <a:pt x="1238" y="43148"/>
                    </a:cubicBezTo>
                    <a:cubicBezTo>
                      <a:pt x="762" y="46387"/>
                      <a:pt x="0" y="50197"/>
                      <a:pt x="0" y="53721"/>
                    </a:cubicBezTo>
                    <a:cubicBezTo>
                      <a:pt x="0" y="57245"/>
                      <a:pt x="1238" y="60770"/>
                      <a:pt x="1715" y="64294"/>
                    </a:cubicBezTo>
                    <a:cubicBezTo>
                      <a:pt x="2477" y="67818"/>
                      <a:pt x="2191" y="71533"/>
                      <a:pt x="3429" y="74867"/>
                    </a:cubicBezTo>
                    <a:cubicBezTo>
                      <a:pt x="4477" y="78391"/>
                      <a:pt x="6763" y="81153"/>
                      <a:pt x="8192" y="84201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CA8D437C-A160-AAAD-611E-751AA2ACF58D}"/>
                  </a:ext>
                </a:extLst>
              </p:cNvPr>
              <p:cNvSpPr/>
              <p:nvPr/>
            </p:nvSpPr>
            <p:spPr>
              <a:xfrm>
                <a:off x="5243858" y="4767404"/>
                <a:ext cx="259288" cy="601521"/>
              </a:xfrm>
              <a:custGeom>
                <a:avLst/>
                <a:gdLst>
                  <a:gd name="connsiteX0" fmla="*/ 23407 w 177616"/>
                  <a:gd name="connsiteY0" fmla="*/ 225076 h 412051"/>
                  <a:gd name="connsiteX1" fmla="*/ 19978 w 177616"/>
                  <a:gd name="connsiteY1" fmla="*/ 235649 h 412051"/>
                  <a:gd name="connsiteX2" fmla="*/ 17787 w 177616"/>
                  <a:gd name="connsiteY2" fmla="*/ 246412 h 412051"/>
                  <a:gd name="connsiteX3" fmla="*/ 14358 w 177616"/>
                  <a:gd name="connsiteY3" fmla="*/ 256699 h 412051"/>
                  <a:gd name="connsiteX4" fmla="*/ 11882 w 177616"/>
                  <a:gd name="connsiteY4" fmla="*/ 267272 h 412051"/>
                  <a:gd name="connsiteX5" fmla="*/ 8929 w 177616"/>
                  <a:gd name="connsiteY5" fmla="*/ 277844 h 412051"/>
                  <a:gd name="connsiteX6" fmla="*/ 5214 w 177616"/>
                  <a:gd name="connsiteY6" fmla="*/ 288131 h 412051"/>
                  <a:gd name="connsiteX7" fmla="*/ 1785 w 177616"/>
                  <a:gd name="connsiteY7" fmla="*/ 298418 h 412051"/>
                  <a:gd name="connsiteX8" fmla="*/ 261 w 177616"/>
                  <a:gd name="connsiteY8" fmla="*/ 309182 h 412051"/>
                  <a:gd name="connsiteX9" fmla="*/ 5214 w 177616"/>
                  <a:gd name="connsiteY9" fmla="*/ 299371 h 412051"/>
                  <a:gd name="connsiteX10" fmla="*/ 10929 w 177616"/>
                  <a:gd name="connsiteY10" fmla="*/ 290036 h 412051"/>
                  <a:gd name="connsiteX11" fmla="*/ 15406 w 177616"/>
                  <a:gd name="connsiteY11" fmla="*/ 280035 h 412051"/>
                  <a:gd name="connsiteX12" fmla="*/ 19597 w 177616"/>
                  <a:gd name="connsiteY12" fmla="*/ 269748 h 412051"/>
                  <a:gd name="connsiteX13" fmla="*/ 25502 w 177616"/>
                  <a:gd name="connsiteY13" fmla="*/ 260699 h 412051"/>
                  <a:gd name="connsiteX14" fmla="*/ 28931 w 177616"/>
                  <a:gd name="connsiteY14" fmla="*/ 250127 h 412051"/>
                  <a:gd name="connsiteX15" fmla="*/ 34837 w 177616"/>
                  <a:gd name="connsiteY15" fmla="*/ 240792 h 412051"/>
                  <a:gd name="connsiteX16" fmla="*/ 38552 w 177616"/>
                  <a:gd name="connsiteY16" fmla="*/ 230219 h 412051"/>
                  <a:gd name="connsiteX17" fmla="*/ 44267 w 177616"/>
                  <a:gd name="connsiteY17" fmla="*/ 220885 h 412051"/>
                  <a:gd name="connsiteX18" fmla="*/ 49220 w 177616"/>
                  <a:gd name="connsiteY18" fmla="*/ 211360 h 412051"/>
                  <a:gd name="connsiteX19" fmla="*/ 53887 w 177616"/>
                  <a:gd name="connsiteY19" fmla="*/ 201073 h 412051"/>
                  <a:gd name="connsiteX20" fmla="*/ 52934 w 177616"/>
                  <a:gd name="connsiteY20" fmla="*/ 211836 h 412051"/>
                  <a:gd name="connsiteX21" fmla="*/ 50744 w 177616"/>
                  <a:gd name="connsiteY21" fmla="*/ 222409 h 412051"/>
                  <a:gd name="connsiteX22" fmla="*/ 50458 w 177616"/>
                  <a:gd name="connsiteY22" fmla="*/ 232982 h 412051"/>
                  <a:gd name="connsiteX23" fmla="*/ 48267 w 177616"/>
                  <a:gd name="connsiteY23" fmla="*/ 243554 h 412051"/>
                  <a:gd name="connsiteX24" fmla="*/ 47791 w 177616"/>
                  <a:gd name="connsiteY24" fmla="*/ 254127 h 412051"/>
                  <a:gd name="connsiteX25" fmla="*/ 46838 w 177616"/>
                  <a:gd name="connsiteY25" fmla="*/ 264890 h 412051"/>
                  <a:gd name="connsiteX26" fmla="*/ 46076 w 177616"/>
                  <a:gd name="connsiteY26" fmla="*/ 275463 h 412051"/>
                  <a:gd name="connsiteX27" fmla="*/ 43886 w 177616"/>
                  <a:gd name="connsiteY27" fmla="*/ 286036 h 412051"/>
                  <a:gd name="connsiteX28" fmla="*/ 42933 w 177616"/>
                  <a:gd name="connsiteY28" fmla="*/ 296609 h 412051"/>
                  <a:gd name="connsiteX29" fmla="*/ 41981 w 177616"/>
                  <a:gd name="connsiteY29" fmla="*/ 307181 h 412051"/>
                  <a:gd name="connsiteX30" fmla="*/ 41028 w 177616"/>
                  <a:gd name="connsiteY30" fmla="*/ 317754 h 412051"/>
                  <a:gd name="connsiteX31" fmla="*/ 39314 w 177616"/>
                  <a:gd name="connsiteY31" fmla="*/ 328041 h 412051"/>
                  <a:gd name="connsiteX32" fmla="*/ 39028 w 177616"/>
                  <a:gd name="connsiteY32" fmla="*/ 338614 h 412051"/>
                  <a:gd name="connsiteX33" fmla="*/ 37790 w 177616"/>
                  <a:gd name="connsiteY33" fmla="*/ 348901 h 412051"/>
                  <a:gd name="connsiteX34" fmla="*/ 37504 w 177616"/>
                  <a:gd name="connsiteY34" fmla="*/ 359474 h 412051"/>
                  <a:gd name="connsiteX35" fmla="*/ 35980 w 177616"/>
                  <a:gd name="connsiteY35" fmla="*/ 370046 h 412051"/>
                  <a:gd name="connsiteX36" fmla="*/ 34456 w 177616"/>
                  <a:gd name="connsiteY36" fmla="*/ 380333 h 412051"/>
                  <a:gd name="connsiteX37" fmla="*/ 34170 w 177616"/>
                  <a:gd name="connsiteY37" fmla="*/ 390906 h 412051"/>
                  <a:gd name="connsiteX38" fmla="*/ 32932 w 177616"/>
                  <a:gd name="connsiteY38" fmla="*/ 401193 h 412051"/>
                  <a:gd name="connsiteX39" fmla="*/ 32932 w 177616"/>
                  <a:gd name="connsiteY39" fmla="*/ 411766 h 412051"/>
                  <a:gd name="connsiteX40" fmla="*/ 49791 w 177616"/>
                  <a:gd name="connsiteY40" fmla="*/ 412051 h 412051"/>
                  <a:gd name="connsiteX41" fmla="*/ 52268 w 177616"/>
                  <a:gd name="connsiteY41" fmla="*/ 401003 h 412051"/>
                  <a:gd name="connsiteX42" fmla="*/ 55506 w 177616"/>
                  <a:gd name="connsiteY42" fmla="*/ 390239 h 412051"/>
                  <a:gd name="connsiteX43" fmla="*/ 57221 w 177616"/>
                  <a:gd name="connsiteY43" fmla="*/ 379190 h 412051"/>
                  <a:gd name="connsiteX44" fmla="*/ 60935 w 177616"/>
                  <a:gd name="connsiteY44" fmla="*/ 368618 h 412051"/>
                  <a:gd name="connsiteX45" fmla="*/ 62936 w 177616"/>
                  <a:gd name="connsiteY45" fmla="*/ 357569 h 412051"/>
                  <a:gd name="connsiteX46" fmla="*/ 66365 w 177616"/>
                  <a:gd name="connsiteY46" fmla="*/ 346996 h 412051"/>
                  <a:gd name="connsiteX47" fmla="*/ 68555 w 177616"/>
                  <a:gd name="connsiteY47" fmla="*/ 335947 h 412051"/>
                  <a:gd name="connsiteX48" fmla="*/ 70746 w 177616"/>
                  <a:gd name="connsiteY48" fmla="*/ 324898 h 412051"/>
                  <a:gd name="connsiteX49" fmla="*/ 73985 w 177616"/>
                  <a:gd name="connsiteY49" fmla="*/ 314611 h 412051"/>
                  <a:gd name="connsiteX50" fmla="*/ 74747 w 177616"/>
                  <a:gd name="connsiteY50" fmla="*/ 325184 h 412051"/>
                  <a:gd name="connsiteX51" fmla="*/ 75509 w 177616"/>
                  <a:gd name="connsiteY51" fmla="*/ 335947 h 412051"/>
                  <a:gd name="connsiteX52" fmla="*/ 76747 w 177616"/>
                  <a:gd name="connsiteY52" fmla="*/ 346710 h 412051"/>
                  <a:gd name="connsiteX53" fmla="*/ 78461 w 177616"/>
                  <a:gd name="connsiteY53" fmla="*/ 357473 h 412051"/>
                  <a:gd name="connsiteX54" fmla="*/ 79700 w 177616"/>
                  <a:gd name="connsiteY54" fmla="*/ 368237 h 412051"/>
                  <a:gd name="connsiteX55" fmla="*/ 81224 w 177616"/>
                  <a:gd name="connsiteY55" fmla="*/ 379000 h 412051"/>
                  <a:gd name="connsiteX56" fmla="*/ 81509 w 177616"/>
                  <a:gd name="connsiteY56" fmla="*/ 390049 h 412051"/>
                  <a:gd name="connsiteX57" fmla="*/ 83033 w 177616"/>
                  <a:gd name="connsiteY57" fmla="*/ 400812 h 412051"/>
                  <a:gd name="connsiteX58" fmla="*/ 83986 w 177616"/>
                  <a:gd name="connsiteY58" fmla="*/ 411575 h 412051"/>
                  <a:gd name="connsiteX59" fmla="*/ 109037 w 177616"/>
                  <a:gd name="connsiteY59" fmla="*/ 411575 h 412051"/>
                  <a:gd name="connsiteX60" fmla="*/ 108751 w 177616"/>
                  <a:gd name="connsiteY60" fmla="*/ 400526 h 412051"/>
                  <a:gd name="connsiteX61" fmla="*/ 109037 w 177616"/>
                  <a:gd name="connsiteY61" fmla="*/ 389477 h 412051"/>
                  <a:gd name="connsiteX62" fmla="*/ 108560 w 177616"/>
                  <a:gd name="connsiteY62" fmla="*/ 378428 h 412051"/>
                  <a:gd name="connsiteX63" fmla="*/ 108846 w 177616"/>
                  <a:gd name="connsiteY63" fmla="*/ 367379 h 412051"/>
                  <a:gd name="connsiteX64" fmla="*/ 109132 w 177616"/>
                  <a:gd name="connsiteY64" fmla="*/ 356330 h 412051"/>
                  <a:gd name="connsiteX65" fmla="*/ 108370 w 177616"/>
                  <a:gd name="connsiteY65" fmla="*/ 345281 h 412051"/>
                  <a:gd name="connsiteX66" fmla="*/ 109322 w 177616"/>
                  <a:gd name="connsiteY66" fmla="*/ 334232 h 412051"/>
                  <a:gd name="connsiteX67" fmla="*/ 109608 w 177616"/>
                  <a:gd name="connsiteY67" fmla="*/ 323183 h 412051"/>
                  <a:gd name="connsiteX68" fmla="*/ 108656 w 177616"/>
                  <a:gd name="connsiteY68" fmla="*/ 312134 h 412051"/>
                  <a:gd name="connsiteX69" fmla="*/ 109418 w 177616"/>
                  <a:gd name="connsiteY69" fmla="*/ 301085 h 412051"/>
                  <a:gd name="connsiteX70" fmla="*/ 109894 w 177616"/>
                  <a:gd name="connsiteY70" fmla="*/ 290036 h 412051"/>
                  <a:gd name="connsiteX71" fmla="*/ 109418 w 177616"/>
                  <a:gd name="connsiteY71" fmla="*/ 278987 h 412051"/>
                  <a:gd name="connsiteX72" fmla="*/ 109418 w 177616"/>
                  <a:gd name="connsiteY72" fmla="*/ 267938 h 412051"/>
                  <a:gd name="connsiteX73" fmla="*/ 108656 w 177616"/>
                  <a:gd name="connsiteY73" fmla="*/ 256889 h 412051"/>
                  <a:gd name="connsiteX74" fmla="*/ 109894 w 177616"/>
                  <a:gd name="connsiteY74" fmla="*/ 245840 h 412051"/>
                  <a:gd name="connsiteX75" fmla="*/ 109608 w 177616"/>
                  <a:gd name="connsiteY75" fmla="*/ 234791 h 412051"/>
                  <a:gd name="connsiteX76" fmla="*/ 109608 w 177616"/>
                  <a:gd name="connsiteY76" fmla="*/ 223742 h 412051"/>
                  <a:gd name="connsiteX77" fmla="*/ 108084 w 177616"/>
                  <a:gd name="connsiteY77" fmla="*/ 212979 h 412051"/>
                  <a:gd name="connsiteX78" fmla="*/ 109037 w 177616"/>
                  <a:gd name="connsiteY78" fmla="*/ 201644 h 412051"/>
                  <a:gd name="connsiteX79" fmla="*/ 110275 w 177616"/>
                  <a:gd name="connsiteY79" fmla="*/ 191357 h 412051"/>
                  <a:gd name="connsiteX80" fmla="*/ 112275 w 177616"/>
                  <a:gd name="connsiteY80" fmla="*/ 180785 h 412051"/>
                  <a:gd name="connsiteX81" fmla="*/ 115990 w 177616"/>
                  <a:gd name="connsiteY81" fmla="*/ 170783 h 412051"/>
                  <a:gd name="connsiteX82" fmla="*/ 118752 w 177616"/>
                  <a:gd name="connsiteY82" fmla="*/ 160211 h 412051"/>
                  <a:gd name="connsiteX83" fmla="*/ 122467 w 177616"/>
                  <a:gd name="connsiteY83" fmla="*/ 150209 h 412051"/>
                  <a:gd name="connsiteX84" fmla="*/ 125896 w 177616"/>
                  <a:gd name="connsiteY84" fmla="*/ 139922 h 412051"/>
                  <a:gd name="connsiteX85" fmla="*/ 130563 w 177616"/>
                  <a:gd name="connsiteY85" fmla="*/ 130112 h 412051"/>
                  <a:gd name="connsiteX86" fmla="*/ 133516 w 177616"/>
                  <a:gd name="connsiteY86" fmla="*/ 119825 h 412051"/>
                  <a:gd name="connsiteX87" fmla="*/ 137993 w 177616"/>
                  <a:gd name="connsiteY87" fmla="*/ 110014 h 412051"/>
                  <a:gd name="connsiteX88" fmla="*/ 140945 w 177616"/>
                  <a:gd name="connsiteY88" fmla="*/ 99441 h 412051"/>
                  <a:gd name="connsiteX89" fmla="*/ 141231 w 177616"/>
                  <a:gd name="connsiteY89" fmla="*/ 98870 h 412051"/>
                  <a:gd name="connsiteX90" fmla="*/ 177617 w 177616"/>
                  <a:gd name="connsiteY90" fmla="*/ 0 h 412051"/>
                  <a:gd name="connsiteX91" fmla="*/ 157995 w 177616"/>
                  <a:gd name="connsiteY91" fmla="*/ 27337 h 412051"/>
                  <a:gd name="connsiteX92" fmla="*/ 115799 w 177616"/>
                  <a:gd name="connsiteY92" fmla="*/ 98108 h 412051"/>
                  <a:gd name="connsiteX93" fmla="*/ 103322 w 177616"/>
                  <a:gd name="connsiteY93" fmla="*/ 126111 h 412051"/>
                  <a:gd name="connsiteX94" fmla="*/ 91892 w 177616"/>
                  <a:gd name="connsiteY94" fmla="*/ 144875 h 412051"/>
                  <a:gd name="connsiteX95" fmla="*/ 71318 w 177616"/>
                  <a:gd name="connsiteY95" fmla="*/ 156496 h 412051"/>
                  <a:gd name="connsiteX96" fmla="*/ 54173 w 177616"/>
                  <a:gd name="connsiteY96" fmla="*/ 153448 h 412051"/>
                  <a:gd name="connsiteX97" fmla="*/ 49315 w 177616"/>
                  <a:gd name="connsiteY97" fmla="*/ 153448 h 412051"/>
                  <a:gd name="connsiteX98" fmla="*/ 24359 w 177616"/>
                  <a:gd name="connsiteY98" fmla="*/ 222409 h 412051"/>
                  <a:gd name="connsiteX99" fmla="*/ 23407 w 177616"/>
                  <a:gd name="connsiteY99" fmla="*/ 225076 h 412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177616" h="412051">
                    <a:moveTo>
                      <a:pt x="23407" y="225076"/>
                    </a:moveTo>
                    <a:cubicBezTo>
                      <a:pt x="22169" y="228600"/>
                      <a:pt x="20930" y="232124"/>
                      <a:pt x="19978" y="235649"/>
                    </a:cubicBezTo>
                    <a:cubicBezTo>
                      <a:pt x="18740" y="239173"/>
                      <a:pt x="18740" y="242888"/>
                      <a:pt x="17787" y="246412"/>
                    </a:cubicBezTo>
                    <a:cubicBezTo>
                      <a:pt x="16835" y="249936"/>
                      <a:pt x="15311" y="253175"/>
                      <a:pt x="14358" y="256699"/>
                    </a:cubicBezTo>
                    <a:cubicBezTo>
                      <a:pt x="13406" y="260223"/>
                      <a:pt x="12834" y="263938"/>
                      <a:pt x="11882" y="267272"/>
                    </a:cubicBezTo>
                    <a:cubicBezTo>
                      <a:pt x="10929" y="271082"/>
                      <a:pt x="9881" y="274511"/>
                      <a:pt x="8929" y="277844"/>
                    </a:cubicBezTo>
                    <a:cubicBezTo>
                      <a:pt x="7691" y="281654"/>
                      <a:pt x="6167" y="284893"/>
                      <a:pt x="5214" y="288131"/>
                    </a:cubicBezTo>
                    <a:cubicBezTo>
                      <a:pt x="4262" y="292132"/>
                      <a:pt x="2452" y="295370"/>
                      <a:pt x="1785" y="298418"/>
                    </a:cubicBezTo>
                    <a:cubicBezTo>
                      <a:pt x="-215" y="305467"/>
                      <a:pt x="-215" y="309753"/>
                      <a:pt x="261" y="309182"/>
                    </a:cubicBezTo>
                    <a:cubicBezTo>
                      <a:pt x="737" y="308705"/>
                      <a:pt x="2452" y="304895"/>
                      <a:pt x="5214" y="299371"/>
                    </a:cubicBezTo>
                    <a:cubicBezTo>
                      <a:pt x="6738" y="296609"/>
                      <a:pt x="8929" y="293561"/>
                      <a:pt x="10929" y="290036"/>
                    </a:cubicBezTo>
                    <a:cubicBezTo>
                      <a:pt x="12453" y="286988"/>
                      <a:pt x="13691" y="283464"/>
                      <a:pt x="15406" y="280035"/>
                    </a:cubicBezTo>
                    <a:cubicBezTo>
                      <a:pt x="16930" y="276797"/>
                      <a:pt x="17882" y="273272"/>
                      <a:pt x="19597" y="269748"/>
                    </a:cubicBezTo>
                    <a:cubicBezTo>
                      <a:pt x="21121" y="266700"/>
                      <a:pt x="24074" y="263938"/>
                      <a:pt x="25502" y="260699"/>
                    </a:cubicBezTo>
                    <a:cubicBezTo>
                      <a:pt x="27217" y="257461"/>
                      <a:pt x="27503" y="253460"/>
                      <a:pt x="28931" y="250127"/>
                    </a:cubicBezTo>
                    <a:cubicBezTo>
                      <a:pt x="30646" y="246888"/>
                      <a:pt x="33122" y="244126"/>
                      <a:pt x="34837" y="240792"/>
                    </a:cubicBezTo>
                    <a:cubicBezTo>
                      <a:pt x="36361" y="237268"/>
                      <a:pt x="37028" y="233553"/>
                      <a:pt x="38552" y="230219"/>
                    </a:cubicBezTo>
                    <a:cubicBezTo>
                      <a:pt x="40266" y="226981"/>
                      <a:pt x="42743" y="223933"/>
                      <a:pt x="44267" y="220885"/>
                    </a:cubicBezTo>
                    <a:cubicBezTo>
                      <a:pt x="45981" y="217075"/>
                      <a:pt x="47981" y="214122"/>
                      <a:pt x="49220" y="211360"/>
                    </a:cubicBezTo>
                    <a:cubicBezTo>
                      <a:pt x="52172" y="205073"/>
                      <a:pt x="53411" y="195548"/>
                      <a:pt x="53887" y="201073"/>
                    </a:cubicBezTo>
                    <a:cubicBezTo>
                      <a:pt x="54363" y="206312"/>
                      <a:pt x="53601" y="206597"/>
                      <a:pt x="52934" y="211836"/>
                    </a:cubicBezTo>
                    <a:cubicBezTo>
                      <a:pt x="52458" y="217075"/>
                      <a:pt x="51220" y="216884"/>
                      <a:pt x="50744" y="222409"/>
                    </a:cubicBezTo>
                    <a:cubicBezTo>
                      <a:pt x="49982" y="227648"/>
                      <a:pt x="51220" y="227648"/>
                      <a:pt x="50458" y="232982"/>
                    </a:cubicBezTo>
                    <a:cubicBezTo>
                      <a:pt x="49982" y="238220"/>
                      <a:pt x="48934" y="238220"/>
                      <a:pt x="48267" y="243554"/>
                    </a:cubicBezTo>
                    <a:cubicBezTo>
                      <a:pt x="47791" y="248793"/>
                      <a:pt x="48553" y="248793"/>
                      <a:pt x="47791" y="254127"/>
                    </a:cubicBezTo>
                    <a:cubicBezTo>
                      <a:pt x="47315" y="259366"/>
                      <a:pt x="47315" y="259366"/>
                      <a:pt x="46838" y="264890"/>
                    </a:cubicBezTo>
                    <a:cubicBezTo>
                      <a:pt x="46362" y="270129"/>
                      <a:pt x="46553" y="270129"/>
                      <a:pt x="46076" y="275463"/>
                    </a:cubicBezTo>
                    <a:cubicBezTo>
                      <a:pt x="45314" y="280702"/>
                      <a:pt x="44552" y="280702"/>
                      <a:pt x="43886" y="286036"/>
                    </a:cubicBezTo>
                    <a:cubicBezTo>
                      <a:pt x="43409" y="291274"/>
                      <a:pt x="43409" y="291274"/>
                      <a:pt x="42933" y="296609"/>
                    </a:cubicBezTo>
                    <a:cubicBezTo>
                      <a:pt x="42457" y="301847"/>
                      <a:pt x="42457" y="301847"/>
                      <a:pt x="41981" y="307181"/>
                    </a:cubicBezTo>
                    <a:cubicBezTo>
                      <a:pt x="41504" y="312420"/>
                      <a:pt x="41504" y="312420"/>
                      <a:pt x="41028" y="317754"/>
                    </a:cubicBezTo>
                    <a:cubicBezTo>
                      <a:pt x="40552" y="322993"/>
                      <a:pt x="39790" y="322802"/>
                      <a:pt x="39314" y="328041"/>
                    </a:cubicBezTo>
                    <a:cubicBezTo>
                      <a:pt x="39028" y="333280"/>
                      <a:pt x="39599" y="333280"/>
                      <a:pt x="39028" y="338614"/>
                    </a:cubicBezTo>
                    <a:cubicBezTo>
                      <a:pt x="38552" y="343853"/>
                      <a:pt x="38266" y="343853"/>
                      <a:pt x="37790" y="348901"/>
                    </a:cubicBezTo>
                    <a:cubicBezTo>
                      <a:pt x="37313" y="354140"/>
                      <a:pt x="38075" y="354140"/>
                      <a:pt x="37504" y="359474"/>
                    </a:cubicBezTo>
                    <a:cubicBezTo>
                      <a:pt x="37218" y="364712"/>
                      <a:pt x="36266" y="364712"/>
                      <a:pt x="35980" y="370046"/>
                    </a:cubicBezTo>
                    <a:cubicBezTo>
                      <a:pt x="35504" y="375095"/>
                      <a:pt x="35027" y="375095"/>
                      <a:pt x="34456" y="380333"/>
                    </a:cubicBezTo>
                    <a:cubicBezTo>
                      <a:pt x="33980" y="385572"/>
                      <a:pt x="34742" y="385572"/>
                      <a:pt x="34170" y="390906"/>
                    </a:cubicBezTo>
                    <a:cubicBezTo>
                      <a:pt x="33694" y="396145"/>
                      <a:pt x="33408" y="395954"/>
                      <a:pt x="32932" y="401193"/>
                    </a:cubicBezTo>
                    <a:cubicBezTo>
                      <a:pt x="32456" y="406432"/>
                      <a:pt x="33408" y="406432"/>
                      <a:pt x="32932" y="411766"/>
                    </a:cubicBezTo>
                    <a:lnTo>
                      <a:pt x="49791" y="412051"/>
                    </a:lnTo>
                    <a:cubicBezTo>
                      <a:pt x="51315" y="406527"/>
                      <a:pt x="50744" y="406527"/>
                      <a:pt x="52268" y="401003"/>
                    </a:cubicBezTo>
                    <a:cubicBezTo>
                      <a:pt x="53506" y="395478"/>
                      <a:pt x="54268" y="395764"/>
                      <a:pt x="55506" y="390239"/>
                    </a:cubicBezTo>
                    <a:cubicBezTo>
                      <a:pt x="57030" y="385001"/>
                      <a:pt x="55792" y="384715"/>
                      <a:pt x="57221" y="379190"/>
                    </a:cubicBezTo>
                    <a:cubicBezTo>
                      <a:pt x="58745" y="373666"/>
                      <a:pt x="59411" y="373951"/>
                      <a:pt x="60935" y="368618"/>
                    </a:cubicBezTo>
                    <a:cubicBezTo>
                      <a:pt x="62174" y="363093"/>
                      <a:pt x="61697" y="363093"/>
                      <a:pt x="62936" y="357569"/>
                    </a:cubicBezTo>
                    <a:cubicBezTo>
                      <a:pt x="64460" y="352044"/>
                      <a:pt x="64936" y="352330"/>
                      <a:pt x="66365" y="346996"/>
                    </a:cubicBezTo>
                    <a:cubicBezTo>
                      <a:pt x="67603" y="341471"/>
                      <a:pt x="67127" y="341186"/>
                      <a:pt x="68555" y="335947"/>
                    </a:cubicBezTo>
                    <a:cubicBezTo>
                      <a:pt x="69794" y="330422"/>
                      <a:pt x="69317" y="330422"/>
                      <a:pt x="70746" y="324898"/>
                    </a:cubicBezTo>
                    <a:cubicBezTo>
                      <a:pt x="71984" y="319659"/>
                      <a:pt x="68555" y="314611"/>
                      <a:pt x="73985" y="314611"/>
                    </a:cubicBezTo>
                    <a:cubicBezTo>
                      <a:pt x="79414" y="314611"/>
                      <a:pt x="74270" y="319659"/>
                      <a:pt x="74747" y="325184"/>
                    </a:cubicBezTo>
                    <a:cubicBezTo>
                      <a:pt x="75223" y="330708"/>
                      <a:pt x="75032" y="330708"/>
                      <a:pt x="75509" y="335947"/>
                    </a:cubicBezTo>
                    <a:cubicBezTo>
                      <a:pt x="75985" y="341471"/>
                      <a:pt x="76271" y="341471"/>
                      <a:pt x="76747" y="346710"/>
                    </a:cubicBezTo>
                    <a:cubicBezTo>
                      <a:pt x="77223" y="352235"/>
                      <a:pt x="77985" y="352235"/>
                      <a:pt x="78461" y="357473"/>
                    </a:cubicBezTo>
                    <a:cubicBezTo>
                      <a:pt x="78938" y="362998"/>
                      <a:pt x="79223" y="362998"/>
                      <a:pt x="79700" y="368237"/>
                    </a:cubicBezTo>
                    <a:cubicBezTo>
                      <a:pt x="80176" y="373761"/>
                      <a:pt x="80462" y="373761"/>
                      <a:pt x="81224" y="379000"/>
                    </a:cubicBezTo>
                    <a:cubicBezTo>
                      <a:pt x="81700" y="384524"/>
                      <a:pt x="80938" y="384524"/>
                      <a:pt x="81509" y="390049"/>
                    </a:cubicBezTo>
                    <a:cubicBezTo>
                      <a:pt x="81986" y="395288"/>
                      <a:pt x="82462" y="395288"/>
                      <a:pt x="83033" y="400812"/>
                    </a:cubicBezTo>
                    <a:cubicBezTo>
                      <a:pt x="83510" y="406051"/>
                      <a:pt x="83319" y="406051"/>
                      <a:pt x="83986" y="411575"/>
                    </a:cubicBezTo>
                    <a:lnTo>
                      <a:pt x="109037" y="411575"/>
                    </a:lnTo>
                    <a:cubicBezTo>
                      <a:pt x="109037" y="406051"/>
                      <a:pt x="108751" y="407575"/>
                      <a:pt x="108751" y="400526"/>
                    </a:cubicBezTo>
                    <a:cubicBezTo>
                      <a:pt x="108751" y="397478"/>
                      <a:pt x="109037" y="393764"/>
                      <a:pt x="109037" y="389477"/>
                    </a:cubicBezTo>
                    <a:cubicBezTo>
                      <a:pt x="109037" y="386239"/>
                      <a:pt x="108560" y="382429"/>
                      <a:pt x="108560" y="378428"/>
                    </a:cubicBezTo>
                    <a:cubicBezTo>
                      <a:pt x="108560" y="374904"/>
                      <a:pt x="108846" y="371380"/>
                      <a:pt x="108846" y="367379"/>
                    </a:cubicBezTo>
                    <a:cubicBezTo>
                      <a:pt x="109132" y="363855"/>
                      <a:pt x="109132" y="360140"/>
                      <a:pt x="109132" y="356330"/>
                    </a:cubicBezTo>
                    <a:cubicBezTo>
                      <a:pt x="109132" y="352806"/>
                      <a:pt x="108370" y="349091"/>
                      <a:pt x="108370" y="345281"/>
                    </a:cubicBezTo>
                    <a:cubicBezTo>
                      <a:pt x="108370" y="341757"/>
                      <a:pt x="109132" y="338042"/>
                      <a:pt x="109322" y="334232"/>
                    </a:cubicBezTo>
                    <a:cubicBezTo>
                      <a:pt x="109322" y="330708"/>
                      <a:pt x="109608" y="326993"/>
                      <a:pt x="109608" y="323183"/>
                    </a:cubicBezTo>
                    <a:cubicBezTo>
                      <a:pt x="109608" y="319659"/>
                      <a:pt x="108656" y="315944"/>
                      <a:pt x="108656" y="312134"/>
                    </a:cubicBezTo>
                    <a:cubicBezTo>
                      <a:pt x="108941" y="308610"/>
                      <a:pt x="109418" y="304895"/>
                      <a:pt x="109418" y="301085"/>
                    </a:cubicBezTo>
                    <a:cubicBezTo>
                      <a:pt x="109418" y="297275"/>
                      <a:pt x="109894" y="293846"/>
                      <a:pt x="109894" y="290036"/>
                    </a:cubicBezTo>
                    <a:cubicBezTo>
                      <a:pt x="109894" y="286226"/>
                      <a:pt x="109418" y="282797"/>
                      <a:pt x="109418" y="278987"/>
                    </a:cubicBezTo>
                    <a:cubicBezTo>
                      <a:pt x="109703" y="275177"/>
                      <a:pt x="109418" y="271748"/>
                      <a:pt x="109418" y="267938"/>
                    </a:cubicBezTo>
                    <a:cubicBezTo>
                      <a:pt x="109418" y="264128"/>
                      <a:pt x="108656" y="260699"/>
                      <a:pt x="108656" y="256889"/>
                    </a:cubicBezTo>
                    <a:cubicBezTo>
                      <a:pt x="108656" y="253079"/>
                      <a:pt x="109894" y="249650"/>
                      <a:pt x="109894" y="245840"/>
                    </a:cubicBezTo>
                    <a:cubicBezTo>
                      <a:pt x="109894" y="242030"/>
                      <a:pt x="109608" y="238316"/>
                      <a:pt x="109608" y="234791"/>
                    </a:cubicBezTo>
                    <a:cubicBezTo>
                      <a:pt x="109608" y="230981"/>
                      <a:pt x="109894" y="227267"/>
                      <a:pt x="109608" y="223742"/>
                    </a:cubicBezTo>
                    <a:cubicBezTo>
                      <a:pt x="109608" y="219742"/>
                      <a:pt x="108370" y="215932"/>
                      <a:pt x="108084" y="212979"/>
                    </a:cubicBezTo>
                    <a:cubicBezTo>
                      <a:pt x="108084" y="207740"/>
                      <a:pt x="109322" y="203930"/>
                      <a:pt x="109037" y="201644"/>
                    </a:cubicBezTo>
                    <a:cubicBezTo>
                      <a:pt x="108751" y="199644"/>
                      <a:pt x="109037" y="196406"/>
                      <a:pt x="110275" y="191357"/>
                    </a:cubicBezTo>
                    <a:cubicBezTo>
                      <a:pt x="111037" y="188309"/>
                      <a:pt x="111037" y="184595"/>
                      <a:pt x="112275" y="180785"/>
                    </a:cubicBezTo>
                    <a:cubicBezTo>
                      <a:pt x="113037" y="177546"/>
                      <a:pt x="114752" y="174212"/>
                      <a:pt x="115990" y="170783"/>
                    </a:cubicBezTo>
                    <a:cubicBezTo>
                      <a:pt x="117228" y="167545"/>
                      <a:pt x="117514" y="163735"/>
                      <a:pt x="118752" y="160211"/>
                    </a:cubicBezTo>
                    <a:cubicBezTo>
                      <a:pt x="119990" y="156972"/>
                      <a:pt x="121229" y="153638"/>
                      <a:pt x="122467" y="150209"/>
                    </a:cubicBezTo>
                    <a:cubicBezTo>
                      <a:pt x="123705" y="146971"/>
                      <a:pt x="124658" y="143447"/>
                      <a:pt x="125896" y="139922"/>
                    </a:cubicBezTo>
                    <a:cubicBezTo>
                      <a:pt x="127134" y="136684"/>
                      <a:pt x="129325" y="133636"/>
                      <a:pt x="130563" y="130112"/>
                    </a:cubicBezTo>
                    <a:cubicBezTo>
                      <a:pt x="131801" y="126873"/>
                      <a:pt x="132278" y="123063"/>
                      <a:pt x="133516" y="119825"/>
                    </a:cubicBezTo>
                    <a:cubicBezTo>
                      <a:pt x="134754" y="116300"/>
                      <a:pt x="136754" y="113252"/>
                      <a:pt x="137993" y="110014"/>
                    </a:cubicBezTo>
                    <a:cubicBezTo>
                      <a:pt x="139231" y="106490"/>
                      <a:pt x="139707" y="102775"/>
                      <a:pt x="140945" y="99441"/>
                    </a:cubicBezTo>
                    <a:cubicBezTo>
                      <a:pt x="141041" y="99251"/>
                      <a:pt x="141136" y="99060"/>
                      <a:pt x="141231" y="98870"/>
                    </a:cubicBezTo>
                    <a:lnTo>
                      <a:pt x="177617" y="0"/>
                    </a:lnTo>
                    <a:lnTo>
                      <a:pt x="157995" y="27337"/>
                    </a:lnTo>
                    <a:lnTo>
                      <a:pt x="115799" y="98108"/>
                    </a:lnTo>
                    <a:lnTo>
                      <a:pt x="103322" y="126111"/>
                    </a:lnTo>
                    <a:lnTo>
                      <a:pt x="91892" y="144875"/>
                    </a:lnTo>
                    <a:lnTo>
                      <a:pt x="71318" y="156496"/>
                    </a:lnTo>
                    <a:lnTo>
                      <a:pt x="54173" y="153448"/>
                    </a:lnTo>
                    <a:lnTo>
                      <a:pt x="49315" y="153448"/>
                    </a:lnTo>
                    <a:lnTo>
                      <a:pt x="24359" y="222409"/>
                    </a:lnTo>
                    <a:cubicBezTo>
                      <a:pt x="23883" y="223361"/>
                      <a:pt x="23597" y="224219"/>
                      <a:pt x="23407" y="225076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51" name="Freeform: Shape 550">
                <a:extLst>
                  <a:ext uri="{FF2B5EF4-FFF2-40B4-BE49-F238E27FC236}">
                    <a16:creationId xmlns:a16="http://schemas.microsoft.com/office/drawing/2014/main" id="{D528B035-1C1D-66A3-5660-D93B9A1F3FF9}"/>
                  </a:ext>
                </a:extLst>
              </p:cNvPr>
              <p:cNvSpPr/>
              <p:nvPr/>
            </p:nvSpPr>
            <p:spPr>
              <a:xfrm>
                <a:off x="5316265" y="5226680"/>
                <a:ext cx="49917" cy="142245"/>
              </a:xfrm>
              <a:custGeom>
                <a:avLst/>
                <a:gdLst>
                  <a:gd name="connsiteX0" fmla="*/ 34195 w 34194"/>
                  <a:gd name="connsiteY0" fmla="*/ 96965 h 97440"/>
                  <a:gd name="connsiteX1" fmla="*/ 34195 w 34194"/>
                  <a:gd name="connsiteY1" fmla="*/ 96965 h 97440"/>
                  <a:gd name="connsiteX2" fmla="*/ 33242 w 34194"/>
                  <a:gd name="connsiteY2" fmla="*/ 86201 h 97440"/>
                  <a:gd name="connsiteX3" fmla="*/ 31718 w 34194"/>
                  <a:gd name="connsiteY3" fmla="*/ 75438 h 97440"/>
                  <a:gd name="connsiteX4" fmla="*/ 31432 w 34194"/>
                  <a:gd name="connsiteY4" fmla="*/ 64389 h 97440"/>
                  <a:gd name="connsiteX5" fmla="*/ 29908 w 34194"/>
                  <a:gd name="connsiteY5" fmla="*/ 53626 h 97440"/>
                  <a:gd name="connsiteX6" fmla="*/ 28670 w 34194"/>
                  <a:gd name="connsiteY6" fmla="*/ 42863 h 97440"/>
                  <a:gd name="connsiteX7" fmla="*/ 26956 w 34194"/>
                  <a:gd name="connsiteY7" fmla="*/ 32099 h 97440"/>
                  <a:gd name="connsiteX8" fmla="*/ 25718 w 34194"/>
                  <a:gd name="connsiteY8" fmla="*/ 21336 h 97440"/>
                  <a:gd name="connsiteX9" fmla="*/ 24956 w 34194"/>
                  <a:gd name="connsiteY9" fmla="*/ 10573 h 97440"/>
                  <a:gd name="connsiteX10" fmla="*/ 24194 w 34194"/>
                  <a:gd name="connsiteY10" fmla="*/ 0 h 97440"/>
                  <a:gd name="connsiteX11" fmla="*/ 20955 w 34194"/>
                  <a:gd name="connsiteY11" fmla="*/ 10287 h 97440"/>
                  <a:gd name="connsiteX12" fmla="*/ 18764 w 34194"/>
                  <a:gd name="connsiteY12" fmla="*/ 21336 h 97440"/>
                  <a:gd name="connsiteX13" fmla="*/ 16573 w 34194"/>
                  <a:gd name="connsiteY13" fmla="*/ 32385 h 97440"/>
                  <a:gd name="connsiteX14" fmla="*/ 13145 w 34194"/>
                  <a:gd name="connsiteY14" fmla="*/ 42958 h 97440"/>
                  <a:gd name="connsiteX15" fmla="*/ 11144 w 34194"/>
                  <a:gd name="connsiteY15" fmla="*/ 54007 h 97440"/>
                  <a:gd name="connsiteX16" fmla="*/ 7430 w 34194"/>
                  <a:gd name="connsiteY16" fmla="*/ 64579 h 97440"/>
                  <a:gd name="connsiteX17" fmla="*/ 5715 w 34194"/>
                  <a:gd name="connsiteY17" fmla="*/ 75629 h 97440"/>
                  <a:gd name="connsiteX18" fmla="*/ 2477 w 34194"/>
                  <a:gd name="connsiteY18" fmla="*/ 86392 h 97440"/>
                  <a:gd name="connsiteX19" fmla="*/ 0 w 34194"/>
                  <a:gd name="connsiteY19" fmla="*/ 97441 h 97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194" h="97440">
                    <a:moveTo>
                      <a:pt x="34195" y="96965"/>
                    </a:moveTo>
                    <a:lnTo>
                      <a:pt x="34195" y="96965"/>
                    </a:lnTo>
                    <a:cubicBezTo>
                      <a:pt x="33433" y="91440"/>
                      <a:pt x="33719" y="91440"/>
                      <a:pt x="33242" y="86201"/>
                    </a:cubicBezTo>
                    <a:cubicBezTo>
                      <a:pt x="32766" y="80677"/>
                      <a:pt x="32290" y="80677"/>
                      <a:pt x="31718" y="75438"/>
                    </a:cubicBezTo>
                    <a:cubicBezTo>
                      <a:pt x="31242" y="69913"/>
                      <a:pt x="32004" y="69913"/>
                      <a:pt x="31432" y="64389"/>
                    </a:cubicBezTo>
                    <a:cubicBezTo>
                      <a:pt x="30670" y="59150"/>
                      <a:pt x="30480" y="59150"/>
                      <a:pt x="29908" y="53626"/>
                    </a:cubicBezTo>
                    <a:cubicBezTo>
                      <a:pt x="29432" y="48387"/>
                      <a:pt x="29146" y="48387"/>
                      <a:pt x="28670" y="42863"/>
                    </a:cubicBezTo>
                    <a:cubicBezTo>
                      <a:pt x="28194" y="37624"/>
                      <a:pt x="27432" y="37624"/>
                      <a:pt x="26956" y="32099"/>
                    </a:cubicBezTo>
                    <a:cubicBezTo>
                      <a:pt x="26480" y="26860"/>
                      <a:pt x="26194" y="26860"/>
                      <a:pt x="25718" y="21336"/>
                    </a:cubicBezTo>
                    <a:cubicBezTo>
                      <a:pt x="25241" y="16097"/>
                      <a:pt x="25432" y="16097"/>
                      <a:pt x="24956" y="10573"/>
                    </a:cubicBezTo>
                    <a:cubicBezTo>
                      <a:pt x="24479" y="5048"/>
                      <a:pt x="29623" y="0"/>
                      <a:pt x="24194" y="0"/>
                    </a:cubicBezTo>
                    <a:cubicBezTo>
                      <a:pt x="18764" y="0"/>
                      <a:pt x="22193" y="5048"/>
                      <a:pt x="20955" y="10287"/>
                    </a:cubicBezTo>
                    <a:cubicBezTo>
                      <a:pt x="19431" y="15811"/>
                      <a:pt x="20003" y="15811"/>
                      <a:pt x="18764" y="21336"/>
                    </a:cubicBezTo>
                    <a:cubicBezTo>
                      <a:pt x="17240" y="26575"/>
                      <a:pt x="17812" y="26860"/>
                      <a:pt x="16573" y="32385"/>
                    </a:cubicBezTo>
                    <a:cubicBezTo>
                      <a:pt x="15049" y="37624"/>
                      <a:pt x="14573" y="37433"/>
                      <a:pt x="13145" y="42958"/>
                    </a:cubicBezTo>
                    <a:cubicBezTo>
                      <a:pt x="11906" y="48482"/>
                      <a:pt x="12382" y="48482"/>
                      <a:pt x="11144" y="54007"/>
                    </a:cubicBezTo>
                    <a:cubicBezTo>
                      <a:pt x="9620" y="59246"/>
                      <a:pt x="8954" y="59055"/>
                      <a:pt x="7430" y="64579"/>
                    </a:cubicBezTo>
                    <a:cubicBezTo>
                      <a:pt x="5906" y="70104"/>
                      <a:pt x="7144" y="70390"/>
                      <a:pt x="5715" y="75629"/>
                    </a:cubicBezTo>
                    <a:cubicBezTo>
                      <a:pt x="4477" y="81153"/>
                      <a:pt x="3715" y="80867"/>
                      <a:pt x="2477" y="86392"/>
                    </a:cubicBezTo>
                    <a:cubicBezTo>
                      <a:pt x="953" y="91916"/>
                      <a:pt x="1524" y="91916"/>
                      <a:pt x="0" y="97441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52" name="Freeform: Shape 551">
                <a:extLst>
                  <a:ext uri="{FF2B5EF4-FFF2-40B4-BE49-F238E27FC236}">
                    <a16:creationId xmlns:a16="http://schemas.microsoft.com/office/drawing/2014/main" id="{DF1F1091-5DB5-26E3-8982-33B9A9B8ECE4}"/>
                  </a:ext>
                </a:extLst>
              </p:cNvPr>
              <p:cNvSpPr/>
              <p:nvPr/>
            </p:nvSpPr>
            <p:spPr>
              <a:xfrm>
                <a:off x="5282893" y="4839849"/>
                <a:ext cx="116939" cy="156421"/>
              </a:xfrm>
              <a:custGeom>
                <a:avLst/>
                <a:gdLst>
                  <a:gd name="connsiteX0" fmla="*/ 80105 w 80105"/>
                  <a:gd name="connsiteY0" fmla="*/ 53721 h 107151"/>
                  <a:gd name="connsiteX1" fmla="*/ 80105 w 80105"/>
                  <a:gd name="connsiteY1" fmla="*/ 53721 h 107151"/>
                  <a:gd name="connsiteX2" fmla="*/ 79153 w 80105"/>
                  <a:gd name="connsiteY2" fmla="*/ 64294 h 107151"/>
                  <a:gd name="connsiteX3" fmla="*/ 76962 w 80105"/>
                  <a:gd name="connsiteY3" fmla="*/ 74867 h 107151"/>
                  <a:gd name="connsiteX4" fmla="*/ 72771 w 80105"/>
                  <a:gd name="connsiteY4" fmla="*/ 84677 h 107151"/>
                  <a:gd name="connsiteX5" fmla="*/ 66866 w 80105"/>
                  <a:gd name="connsiteY5" fmla="*/ 93250 h 107151"/>
                  <a:gd name="connsiteX6" fmla="*/ 59436 w 80105"/>
                  <a:gd name="connsiteY6" fmla="*/ 100774 h 107151"/>
                  <a:gd name="connsiteX7" fmla="*/ 50482 w 80105"/>
                  <a:gd name="connsiteY7" fmla="*/ 106299 h 107151"/>
                  <a:gd name="connsiteX8" fmla="*/ 40100 w 80105"/>
                  <a:gd name="connsiteY8" fmla="*/ 107061 h 107151"/>
                  <a:gd name="connsiteX9" fmla="*/ 30194 w 80105"/>
                  <a:gd name="connsiteY9" fmla="*/ 105061 h 107151"/>
                  <a:gd name="connsiteX10" fmla="*/ 20765 w 80105"/>
                  <a:gd name="connsiteY10" fmla="*/ 100774 h 107151"/>
                  <a:gd name="connsiteX11" fmla="*/ 13811 w 80105"/>
                  <a:gd name="connsiteY11" fmla="*/ 92964 h 107151"/>
                  <a:gd name="connsiteX12" fmla="*/ 8096 w 80105"/>
                  <a:gd name="connsiteY12" fmla="*/ 84201 h 107151"/>
                  <a:gd name="connsiteX13" fmla="*/ 3429 w 80105"/>
                  <a:gd name="connsiteY13" fmla="*/ 74867 h 107151"/>
                  <a:gd name="connsiteX14" fmla="*/ 1715 w 80105"/>
                  <a:gd name="connsiteY14" fmla="*/ 64294 h 107151"/>
                  <a:gd name="connsiteX15" fmla="*/ 0 w 80105"/>
                  <a:gd name="connsiteY15" fmla="*/ 53721 h 107151"/>
                  <a:gd name="connsiteX16" fmla="*/ 1238 w 80105"/>
                  <a:gd name="connsiteY16" fmla="*/ 43148 h 107151"/>
                  <a:gd name="connsiteX17" fmla="*/ 4001 w 80105"/>
                  <a:gd name="connsiteY17" fmla="*/ 32861 h 107151"/>
                  <a:gd name="connsiteX18" fmla="*/ 7715 w 80105"/>
                  <a:gd name="connsiteY18" fmla="*/ 23050 h 107151"/>
                  <a:gd name="connsiteX19" fmla="*/ 13430 w 80105"/>
                  <a:gd name="connsiteY19" fmla="*/ 14002 h 107151"/>
                  <a:gd name="connsiteX20" fmla="*/ 20860 w 80105"/>
                  <a:gd name="connsiteY20" fmla="*/ 6763 h 107151"/>
                  <a:gd name="connsiteX21" fmla="*/ 30004 w 80105"/>
                  <a:gd name="connsiteY21" fmla="*/ 1524 h 107151"/>
                  <a:gd name="connsiteX22" fmla="*/ 40195 w 80105"/>
                  <a:gd name="connsiteY22" fmla="*/ 0 h 107151"/>
                  <a:gd name="connsiteX23" fmla="*/ 50578 w 80105"/>
                  <a:gd name="connsiteY23" fmla="*/ 1238 h 107151"/>
                  <a:gd name="connsiteX24" fmla="*/ 59722 w 80105"/>
                  <a:gd name="connsiteY24" fmla="*/ 6763 h 107151"/>
                  <a:gd name="connsiteX25" fmla="*/ 66866 w 80105"/>
                  <a:gd name="connsiteY25" fmla="*/ 14288 h 107151"/>
                  <a:gd name="connsiteX26" fmla="*/ 72771 w 80105"/>
                  <a:gd name="connsiteY26" fmla="*/ 22860 h 107151"/>
                  <a:gd name="connsiteX27" fmla="*/ 76009 w 80105"/>
                  <a:gd name="connsiteY27" fmla="*/ 33147 h 107151"/>
                  <a:gd name="connsiteX28" fmla="*/ 78486 w 80105"/>
                  <a:gd name="connsiteY28" fmla="*/ 43148 h 107151"/>
                  <a:gd name="connsiteX29" fmla="*/ 80105 w 80105"/>
                  <a:gd name="connsiteY29" fmla="*/ 53721 h 107151"/>
                  <a:gd name="connsiteX30" fmla="*/ 80105 w 80105"/>
                  <a:gd name="connsiteY30" fmla="*/ 53721 h 107151"/>
                  <a:gd name="connsiteX31" fmla="*/ 80105 w 80105"/>
                  <a:gd name="connsiteY31" fmla="*/ 53721 h 107151"/>
                  <a:gd name="connsiteX32" fmla="*/ 80105 w 80105"/>
                  <a:gd name="connsiteY32" fmla="*/ 53721 h 10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0105" h="107151">
                    <a:moveTo>
                      <a:pt x="80105" y="53721"/>
                    </a:moveTo>
                    <a:lnTo>
                      <a:pt x="80105" y="53721"/>
                    </a:lnTo>
                    <a:cubicBezTo>
                      <a:pt x="80105" y="57245"/>
                      <a:pt x="79629" y="60960"/>
                      <a:pt x="79153" y="64294"/>
                    </a:cubicBezTo>
                    <a:cubicBezTo>
                      <a:pt x="78677" y="68104"/>
                      <a:pt x="77915" y="71533"/>
                      <a:pt x="76962" y="74867"/>
                    </a:cubicBezTo>
                    <a:cubicBezTo>
                      <a:pt x="76009" y="78391"/>
                      <a:pt x="74486" y="81629"/>
                      <a:pt x="72771" y="84677"/>
                    </a:cubicBezTo>
                    <a:cubicBezTo>
                      <a:pt x="71247" y="87916"/>
                      <a:pt x="69056" y="90678"/>
                      <a:pt x="66866" y="93250"/>
                    </a:cubicBezTo>
                    <a:cubicBezTo>
                      <a:pt x="64675" y="96298"/>
                      <a:pt x="62198" y="98489"/>
                      <a:pt x="59436" y="100774"/>
                    </a:cubicBezTo>
                    <a:cubicBezTo>
                      <a:pt x="56674" y="102775"/>
                      <a:pt x="53721" y="105061"/>
                      <a:pt x="50482" y="106299"/>
                    </a:cubicBezTo>
                    <a:cubicBezTo>
                      <a:pt x="47244" y="107537"/>
                      <a:pt x="43815" y="107061"/>
                      <a:pt x="40100" y="107061"/>
                    </a:cubicBezTo>
                    <a:cubicBezTo>
                      <a:pt x="36671" y="107061"/>
                      <a:pt x="33433" y="106299"/>
                      <a:pt x="30194" y="105061"/>
                    </a:cubicBezTo>
                    <a:cubicBezTo>
                      <a:pt x="26956" y="104013"/>
                      <a:pt x="23717" y="102775"/>
                      <a:pt x="20765" y="100774"/>
                    </a:cubicBezTo>
                    <a:cubicBezTo>
                      <a:pt x="18288" y="98489"/>
                      <a:pt x="16097" y="96012"/>
                      <a:pt x="13811" y="92964"/>
                    </a:cubicBezTo>
                    <a:cubicBezTo>
                      <a:pt x="11620" y="90488"/>
                      <a:pt x="9620" y="87440"/>
                      <a:pt x="8096" y="84201"/>
                    </a:cubicBezTo>
                    <a:cubicBezTo>
                      <a:pt x="6572" y="81153"/>
                      <a:pt x="4381" y="78391"/>
                      <a:pt x="3429" y="74867"/>
                    </a:cubicBezTo>
                    <a:cubicBezTo>
                      <a:pt x="2191" y="71628"/>
                      <a:pt x="2477" y="67818"/>
                      <a:pt x="1715" y="64294"/>
                    </a:cubicBezTo>
                    <a:cubicBezTo>
                      <a:pt x="1238" y="60769"/>
                      <a:pt x="0" y="57245"/>
                      <a:pt x="0" y="53721"/>
                    </a:cubicBezTo>
                    <a:cubicBezTo>
                      <a:pt x="0" y="50197"/>
                      <a:pt x="762" y="46482"/>
                      <a:pt x="1238" y="43148"/>
                    </a:cubicBezTo>
                    <a:cubicBezTo>
                      <a:pt x="1715" y="39624"/>
                      <a:pt x="2953" y="36100"/>
                      <a:pt x="4001" y="32861"/>
                    </a:cubicBezTo>
                    <a:cubicBezTo>
                      <a:pt x="4953" y="29337"/>
                      <a:pt x="6001" y="26098"/>
                      <a:pt x="7715" y="23050"/>
                    </a:cubicBezTo>
                    <a:cubicBezTo>
                      <a:pt x="9239" y="19812"/>
                      <a:pt x="11144" y="16764"/>
                      <a:pt x="13430" y="14002"/>
                    </a:cubicBezTo>
                    <a:cubicBezTo>
                      <a:pt x="15621" y="11240"/>
                      <a:pt x="18097" y="8763"/>
                      <a:pt x="20860" y="6763"/>
                    </a:cubicBezTo>
                    <a:cubicBezTo>
                      <a:pt x="23813" y="4477"/>
                      <a:pt x="26765" y="2762"/>
                      <a:pt x="30004" y="1524"/>
                    </a:cubicBezTo>
                    <a:cubicBezTo>
                      <a:pt x="33242" y="286"/>
                      <a:pt x="36671" y="0"/>
                      <a:pt x="40195" y="0"/>
                    </a:cubicBezTo>
                    <a:cubicBezTo>
                      <a:pt x="43910" y="0"/>
                      <a:pt x="47339" y="286"/>
                      <a:pt x="50578" y="1238"/>
                    </a:cubicBezTo>
                    <a:cubicBezTo>
                      <a:pt x="53816" y="2476"/>
                      <a:pt x="56769" y="4477"/>
                      <a:pt x="59722" y="6763"/>
                    </a:cubicBezTo>
                    <a:cubicBezTo>
                      <a:pt x="62484" y="8763"/>
                      <a:pt x="64675" y="11525"/>
                      <a:pt x="66866" y="14288"/>
                    </a:cubicBezTo>
                    <a:cubicBezTo>
                      <a:pt x="68866" y="17050"/>
                      <a:pt x="71056" y="19812"/>
                      <a:pt x="72771" y="22860"/>
                    </a:cubicBezTo>
                    <a:cubicBezTo>
                      <a:pt x="74295" y="26098"/>
                      <a:pt x="74771" y="29623"/>
                      <a:pt x="76009" y="33147"/>
                    </a:cubicBezTo>
                    <a:cubicBezTo>
                      <a:pt x="76962" y="36385"/>
                      <a:pt x="78010" y="39719"/>
                      <a:pt x="78486" y="43148"/>
                    </a:cubicBezTo>
                    <a:cubicBezTo>
                      <a:pt x="78867" y="46672"/>
                      <a:pt x="80105" y="50197"/>
                      <a:pt x="80105" y="53721"/>
                    </a:cubicBezTo>
                    <a:lnTo>
                      <a:pt x="80105" y="53721"/>
                    </a:lnTo>
                    <a:lnTo>
                      <a:pt x="80105" y="53721"/>
                    </a:lnTo>
                    <a:lnTo>
                      <a:pt x="80105" y="53721"/>
                    </a:lnTo>
                    <a:close/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53" name="Freeform: Shape 552">
                <a:extLst>
                  <a:ext uri="{FF2B5EF4-FFF2-40B4-BE49-F238E27FC236}">
                    <a16:creationId xmlns:a16="http://schemas.microsoft.com/office/drawing/2014/main" id="{B7555B3A-90BB-CDD5-E6FB-DA3E5BF75849}"/>
                  </a:ext>
                </a:extLst>
              </p:cNvPr>
              <p:cNvSpPr/>
              <p:nvPr/>
            </p:nvSpPr>
            <p:spPr>
              <a:xfrm>
                <a:off x="5243718" y="4991272"/>
                <a:ext cx="78956" cy="376958"/>
              </a:xfrm>
              <a:custGeom>
                <a:avLst/>
                <a:gdLst>
                  <a:gd name="connsiteX0" fmla="*/ 32932 w 54086"/>
                  <a:gd name="connsiteY0" fmla="*/ 258223 h 258222"/>
                  <a:gd name="connsiteX1" fmla="*/ 32932 w 54086"/>
                  <a:gd name="connsiteY1" fmla="*/ 258223 h 258222"/>
                  <a:gd name="connsiteX2" fmla="*/ 32932 w 54086"/>
                  <a:gd name="connsiteY2" fmla="*/ 247650 h 258222"/>
                  <a:gd name="connsiteX3" fmla="*/ 34170 w 54086"/>
                  <a:gd name="connsiteY3" fmla="*/ 237363 h 258222"/>
                  <a:gd name="connsiteX4" fmla="*/ 34456 w 54086"/>
                  <a:gd name="connsiteY4" fmla="*/ 226790 h 258222"/>
                  <a:gd name="connsiteX5" fmla="*/ 35980 w 54086"/>
                  <a:gd name="connsiteY5" fmla="*/ 216503 h 258222"/>
                  <a:gd name="connsiteX6" fmla="*/ 37504 w 54086"/>
                  <a:gd name="connsiteY6" fmla="*/ 205931 h 258222"/>
                  <a:gd name="connsiteX7" fmla="*/ 37790 w 54086"/>
                  <a:gd name="connsiteY7" fmla="*/ 195358 h 258222"/>
                  <a:gd name="connsiteX8" fmla="*/ 39028 w 54086"/>
                  <a:gd name="connsiteY8" fmla="*/ 185071 h 258222"/>
                  <a:gd name="connsiteX9" fmla="*/ 39314 w 54086"/>
                  <a:gd name="connsiteY9" fmla="*/ 174498 h 258222"/>
                  <a:gd name="connsiteX10" fmla="*/ 41028 w 54086"/>
                  <a:gd name="connsiteY10" fmla="*/ 164211 h 258222"/>
                  <a:gd name="connsiteX11" fmla="*/ 41981 w 54086"/>
                  <a:gd name="connsiteY11" fmla="*/ 153638 h 258222"/>
                  <a:gd name="connsiteX12" fmla="*/ 42933 w 54086"/>
                  <a:gd name="connsiteY12" fmla="*/ 143065 h 258222"/>
                  <a:gd name="connsiteX13" fmla="*/ 43886 w 54086"/>
                  <a:gd name="connsiteY13" fmla="*/ 132493 h 258222"/>
                  <a:gd name="connsiteX14" fmla="*/ 46076 w 54086"/>
                  <a:gd name="connsiteY14" fmla="*/ 121920 h 258222"/>
                  <a:gd name="connsiteX15" fmla="*/ 46838 w 54086"/>
                  <a:gd name="connsiteY15" fmla="*/ 111347 h 258222"/>
                  <a:gd name="connsiteX16" fmla="*/ 47791 w 54086"/>
                  <a:gd name="connsiteY16" fmla="*/ 100584 h 258222"/>
                  <a:gd name="connsiteX17" fmla="*/ 48267 w 54086"/>
                  <a:gd name="connsiteY17" fmla="*/ 90011 h 258222"/>
                  <a:gd name="connsiteX18" fmla="*/ 50458 w 54086"/>
                  <a:gd name="connsiteY18" fmla="*/ 79439 h 258222"/>
                  <a:gd name="connsiteX19" fmla="*/ 50744 w 54086"/>
                  <a:gd name="connsiteY19" fmla="*/ 68866 h 258222"/>
                  <a:gd name="connsiteX20" fmla="*/ 52934 w 54086"/>
                  <a:gd name="connsiteY20" fmla="*/ 58293 h 258222"/>
                  <a:gd name="connsiteX21" fmla="*/ 53887 w 54086"/>
                  <a:gd name="connsiteY21" fmla="*/ 47530 h 258222"/>
                  <a:gd name="connsiteX22" fmla="*/ 49220 w 54086"/>
                  <a:gd name="connsiteY22" fmla="*/ 57817 h 258222"/>
                  <a:gd name="connsiteX23" fmla="*/ 44267 w 54086"/>
                  <a:gd name="connsiteY23" fmla="*/ 67342 h 258222"/>
                  <a:gd name="connsiteX24" fmla="*/ 38552 w 54086"/>
                  <a:gd name="connsiteY24" fmla="*/ 76676 h 258222"/>
                  <a:gd name="connsiteX25" fmla="*/ 34837 w 54086"/>
                  <a:gd name="connsiteY25" fmla="*/ 87249 h 258222"/>
                  <a:gd name="connsiteX26" fmla="*/ 28931 w 54086"/>
                  <a:gd name="connsiteY26" fmla="*/ 96583 h 258222"/>
                  <a:gd name="connsiteX27" fmla="*/ 25502 w 54086"/>
                  <a:gd name="connsiteY27" fmla="*/ 107156 h 258222"/>
                  <a:gd name="connsiteX28" fmla="*/ 19597 w 54086"/>
                  <a:gd name="connsiteY28" fmla="*/ 116205 h 258222"/>
                  <a:gd name="connsiteX29" fmla="*/ 15406 w 54086"/>
                  <a:gd name="connsiteY29" fmla="*/ 126492 h 258222"/>
                  <a:gd name="connsiteX30" fmla="*/ 10929 w 54086"/>
                  <a:gd name="connsiteY30" fmla="*/ 136493 h 258222"/>
                  <a:gd name="connsiteX31" fmla="*/ 5214 w 54086"/>
                  <a:gd name="connsiteY31" fmla="*/ 145828 h 258222"/>
                  <a:gd name="connsiteX32" fmla="*/ 261 w 54086"/>
                  <a:gd name="connsiteY32" fmla="*/ 155638 h 258222"/>
                  <a:gd name="connsiteX33" fmla="*/ 1785 w 54086"/>
                  <a:gd name="connsiteY33" fmla="*/ 144875 h 258222"/>
                  <a:gd name="connsiteX34" fmla="*/ 5214 w 54086"/>
                  <a:gd name="connsiteY34" fmla="*/ 134588 h 258222"/>
                  <a:gd name="connsiteX35" fmla="*/ 8929 w 54086"/>
                  <a:gd name="connsiteY35" fmla="*/ 124301 h 258222"/>
                  <a:gd name="connsiteX36" fmla="*/ 11882 w 54086"/>
                  <a:gd name="connsiteY36" fmla="*/ 113729 h 258222"/>
                  <a:gd name="connsiteX37" fmla="*/ 14358 w 54086"/>
                  <a:gd name="connsiteY37" fmla="*/ 103156 h 258222"/>
                  <a:gd name="connsiteX38" fmla="*/ 17787 w 54086"/>
                  <a:gd name="connsiteY38" fmla="*/ 92869 h 258222"/>
                  <a:gd name="connsiteX39" fmla="*/ 19978 w 54086"/>
                  <a:gd name="connsiteY39" fmla="*/ 82105 h 258222"/>
                  <a:gd name="connsiteX40" fmla="*/ 23407 w 54086"/>
                  <a:gd name="connsiteY40" fmla="*/ 71533 h 258222"/>
                  <a:gd name="connsiteX41" fmla="*/ 26645 w 54086"/>
                  <a:gd name="connsiteY41" fmla="*/ 61246 h 258222"/>
                  <a:gd name="connsiteX42" fmla="*/ 30360 w 54086"/>
                  <a:gd name="connsiteY42" fmla="*/ 50959 h 258222"/>
                  <a:gd name="connsiteX43" fmla="*/ 33122 w 54086"/>
                  <a:gd name="connsiteY43" fmla="*/ 40386 h 258222"/>
                  <a:gd name="connsiteX44" fmla="*/ 37313 w 54086"/>
                  <a:gd name="connsiteY44" fmla="*/ 30099 h 258222"/>
                  <a:gd name="connsiteX45" fmla="*/ 40266 w 54086"/>
                  <a:gd name="connsiteY45" fmla="*/ 19812 h 258222"/>
                  <a:gd name="connsiteX46" fmla="*/ 44743 w 54086"/>
                  <a:gd name="connsiteY46" fmla="*/ 9811 h 258222"/>
                  <a:gd name="connsiteX47" fmla="*/ 49220 w 54086"/>
                  <a:gd name="connsiteY47" fmla="*/ 0 h 258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4086" h="258222">
                    <a:moveTo>
                      <a:pt x="32932" y="258223"/>
                    </a:moveTo>
                    <a:lnTo>
                      <a:pt x="32932" y="258223"/>
                    </a:lnTo>
                    <a:cubicBezTo>
                      <a:pt x="33408" y="252984"/>
                      <a:pt x="32456" y="252984"/>
                      <a:pt x="32932" y="247650"/>
                    </a:cubicBezTo>
                    <a:cubicBezTo>
                      <a:pt x="33408" y="242411"/>
                      <a:pt x="33694" y="242602"/>
                      <a:pt x="34170" y="237363"/>
                    </a:cubicBezTo>
                    <a:cubicBezTo>
                      <a:pt x="34646" y="232124"/>
                      <a:pt x="33884" y="232124"/>
                      <a:pt x="34456" y="226790"/>
                    </a:cubicBezTo>
                    <a:cubicBezTo>
                      <a:pt x="34932" y="221552"/>
                      <a:pt x="35408" y="221552"/>
                      <a:pt x="35980" y="216503"/>
                    </a:cubicBezTo>
                    <a:cubicBezTo>
                      <a:pt x="36266" y="211265"/>
                      <a:pt x="37218" y="211265"/>
                      <a:pt x="37504" y="205931"/>
                    </a:cubicBezTo>
                    <a:cubicBezTo>
                      <a:pt x="37980" y="200692"/>
                      <a:pt x="37218" y="200692"/>
                      <a:pt x="37790" y="195358"/>
                    </a:cubicBezTo>
                    <a:cubicBezTo>
                      <a:pt x="38266" y="190309"/>
                      <a:pt x="38552" y="190309"/>
                      <a:pt x="39028" y="185071"/>
                    </a:cubicBezTo>
                    <a:cubicBezTo>
                      <a:pt x="39504" y="179832"/>
                      <a:pt x="39028" y="179832"/>
                      <a:pt x="39314" y="174498"/>
                    </a:cubicBezTo>
                    <a:cubicBezTo>
                      <a:pt x="39790" y="169259"/>
                      <a:pt x="40552" y="169450"/>
                      <a:pt x="41028" y="164211"/>
                    </a:cubicBezTo>
                    <a:cubicBezTo>
                      <a:pt x="41504" y="158972"/>
                      <a:pt x="41504" y="158972"/>
                      <a:pt x="41981" y="153638"/>
                    </a:cubicBezTo>
                    <a:cubicBezTo>
                      <a:pt x="42457" y="148400"/>
                      <a:pt x="42457" y="148400"/>
                      <a:pt x="42933" y="143065"/>
                    </a:cubicBezTo>
                    <a:cubicBezTo>
                      <a:pt x="43409" y="137827"/>
                      <a:pt x="43409" y="137827"/>
                      <a:pt x="43886" y="132493"/>
                    </a:cubicBezTo>
                    <a:cubicBezTo>
                      <a:pt x="44648" y="127254"/>
                      <a:pt x="45410" y="127254"/>
                      <a:pt x="46076" y="121920"/>
                    </a:cubicBezTo>
                    <a:cubicBezTo>
                      <a:pt x="46553" y="116681"/>
                      <a:pt x="46362" y="116681"/>
                      <a:pt x="46838" y="111347"/>
                    </a:cubicBezTo>
                    <a:cubicBezTo>
                      <a:pt x="47315" y="105823"/>
                      <a:pt x="47315" y="105823"/>
                      <a:pt x="47791" y="100584"/>
                    </a:cubicBezTo>
                    <a:cubicBezTo>
                      <a:pt x="48553" y="95345"/>
                      <a:pt x="47791" y="95345"/>
                      <a:pt x="48267" y="90011"/>
                    </a:cubicBezTo>
                    <a:cubicBezTo>
                      <a:pt x="49029" y="84772"/>
                      <a:pt x="49982" y="84772"/>
                      <a:pt x="50458" y="79439"/>
                    </a:cubicBezTo>
                    <a:cubicBezTo>
                      <a:pt x="51220" y="74200"/>
                      <a:pt x="49982" y="74200"/>
                      <a:pt x="50744" y="68866"/>
                    </a:cubicBezTo>
                    <a:cubicBezTo>
                      <a:pt x="51220" y="63341"/>
                      <a:pt x="52458" y="63627"/>
                      <a:pt x="52934" y="58293"/>
                    </a:cubicBezTo>
                    <a:cubicBezTo>
                      <a:pt x="53696" y="53054"/>
                      <a:pt x="54458" y="52769"/>
                      <a:pt x="53887" y="47530"/>
                    </a:cubicBezTo>
                    <a:cubicBezTo>
                      <a:pt x="53411" y="42005"/>
                      <a:pt x="52172" y="51530"/>
                      <a:pt x="49220" y="57817"/>
                    </a:cubicBezTo>
                    <a:cubicBezTo>
                      <a:pt x="47981" y="60579"/>
                      <a:pt x="45981" y="63627"/>
                      <a:pt x="44267" y="67342"/>
                    </a:cubicBezTo>
                    <a:cubicBezTo>
                      <a:pt x="42743" y="70390"/>
                      <a:pt x="40266" y="73343"/>
                      <a:pt x="38552" y="76676"/>
                    </a:cubicBezTo>
                    <a:cubicBezTo>
                      <a:pt x="37028" y="79915"/>
                      <a:pt x="36361" y="83725"/>
                      <a:pt x="34837" y="87249"/>
                    </a:cubicBezTo>
                    <a:cubicBezTo>
                      <a:pt x="33122" y="90488"/>
                      <a:pt x="30646" y="93250"/>
                      <a:pt x="28931" y="96583"/>
                    </a:cubicBezTo>
                    <a:cubicBezTo>
                      <a:pt x="27407" y="99822"/>
                      <a:pt x="27217" y="103822"/>
                      <a:pt x="25502" y="107156"/>
                    </a:cubicBezTo>
                    <a:cubicBezTo>
                      <a:pt x="23978" y="110395"/>
                      <a:pt x="21026" y="113157"/>
                      <a:pt x="19597" y="116205"/>
                    </a:cubicBezTo>
                    <a:cubicBezTo>
                      <a:pt x="17882" y="119729"/>
                      <a:pt x="16835" y="123254"/>
                      <a:pt x="15406" y="126492"/>
                    </a:cubicBezTo>
                    <a:cubicBezTo>
                      <a:pt x="13691" y="130016"/>
                      <a:pt x="12453" y="133540"/>
                      <a:pt x="10929" y="136493"/>
                    </a:cubicBezTo>
                    <a:cubicBezTo>
                      <a:pt x="8929" y="140017"/>
                      <a:pt x="6738" y="143065"/>
                      <a:pt x="5214" y="145828"/>
                    </a:cubicBezTo>
                    <a:cubicBezTo>
                      <a:pt x="2452" y="151352"/>
                      <a:pt x="737" y="155162"/>
                      <a:pt x="261" y="155638"/>
                    </a:cubicBezTo>
                    <a:cubicBezTo>
                      <a:pt x="-215" y="156115"/>
                      <a:pt x="-215" y="151829"/>
                      <a:pt x="1785" y="144875"/>
                    </a:cubicBezTo>
                    <a:cubicBezTo>
                      <a:pt x="2547" y="141827"/>
                      <a:pt x="4262" y="138589"/>
                      <a:pt x="5214" y="134588"/>
                    </a:cubicBezTo>
                    <a:cubicBezTo>
                      <a:pt x="6167" y="131350"/>
                      <a:pt x="7691" y="128016"/>
                      <a:pt x="8929" y="124301"/>
                    </a:cubicBezTo>
                    <a:cubicBezTo>
                      <a:pt x="9881" y="121063"/>
                      <a:pt x="10929" y="117538"/>
                      <a:pt x="11882" y="113729"/>
                    </a:cubicBezTo>
                    <a:cubicBezTo>
                      <a:pt x="12834" y="110490"/>
                      <a:pt x="13406" y="106680"/>
                      <a:pt x="14358" y="103156"/>
                    </a:cubicBezTo>
                    <a:cubicBezTo>
                      <a:pt x="15311" y="99631"/>
                      <a:pt x="16835" y="96393"/>
                      <a:pt x="17787" y="92869"/>
                    </a:cubicBezTo>
                    <a:cubicBezTo>
                      <a:pt x="18740" y="89345"/>
                      <a:pt x="18740" y="85630"/>
                      <a:pt x="19978" y="82105"/>
                    </a:cubicBezTo>
                    <a:cubicBezTo>
                      <a:pt x="20930" y="78581"/>
                      <a:pt x="22169" y="75057"/>
                      <a:pt x="23407" y="71533"/>
                    </a:cubicBezTo>
                    <a:cubicBezTo>
                      <a:pt x="24359" y="68008"/>
                      <a:pt x="25598" y="64770"/>
                      <a:pt x="26645" y="61246"/>
                    </a:cubicBezTo>
                    <a:cubicBezTo>
                      <a:pt x="27884" y="57721"/>
                      <a:pt x="29408" y="54483"/>
                      <a:pt x="30360" y="50959"/>
                    </a:cubicBezTo>
                    <a:cubicBezTo>
                      <a:pt x="31598" y="47434"/>
                      <a:pt x="32075" y="43720"/>
                      <a:pt x="33122" y="40386"/>
                    </a:cubicBezTo>
                    <a:cubicBezTo>
                      <a:pt x="34361" y="36576"/>
                      <a:pt x="36075" y="33338"/>
                      <a:pt x="37313" y="30099"/>
                    </a:cubicBezTo>
                    <a:cubicBezTo>
                      <a:pt x="38552" y="26575"/>
                      <a:pt x="39314" y="22860"/>
                      <a:pt x="40266" y="19812"/>
                    </a:cubicBezTo>
                    <a:cubicBezTo>
                      <a:pt x="41790" y="15811"/>
                      <a:pt x="43505" y="12573"/>
                      <a:pt x="44743" y="9811"/>
                    </a:cubicBezTo>
                    <a:cubicBezTo>
                      <a:pt x="46934" y="4000"/>
                      <a:pt x="48172" y="476"/>
                      <a:pt x="49220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554" name="Freeform: Shape 553">
                <a:extLst>
                  <a:ext uri="{FF2B5EF4-FFF2-40B4-BE49-F238E27FC236}">
                    <a16:creationId xmlns:a16="http://schemas.microsoft.com/office/drawing/2014/main" id="{1716ABF7-7157-B2D4-4857-FC5A109F29EF}"/>
                  </a:ext>
                </a:extLst>
              </p:cNvPr>
              <p:cNvSpPr/>
              <p:nvPr/>
            </p:nvSpPr>
            <p:spPr>
              <a:xfrm>
                <a:off x="5401224" y="4765398"/>
                <a:ext cx="101665" cy="602555"/>
              </a:xfrm>
              <a:custGeom>
                <a:avLst/>
                <a:gdLst>
                  <a:gd name="connsiteX0" fmla="*/ 7715 w 69642"/>
                  <a:gd name="connsiteY0" fmla="*/ 99672 h 412759"/>
                  <a:gd name="connsiteX1" fmla="*/ 7715 w 69642"/>
                  <a:gd name="connsiteY1" fmla="*/ 99672 h 412759"/>
                  <a:gd name="connsiteX2" fmla="*/ 12954 w 69642"/>
                  <a:gd name="connsiteY2" fmla="*/ 90338 h 412759"/>
                  <a:gd name="connsiteX3" fmla="*/ 18383 w 69642"/>
                  <a:gd name="connsiteY3" fmla="*/ 81289 h 412759"/>
                  <a:gd name="connsiteX4" fmla="*/ 24860 w 69642"/>
                  <a:gd name="connsiteY4" fmla="*/ 72717 h 412759"/>
                  <a:gd name="connsiteX5" fmla="*/ 29051 w 69642"/>
                  <a:gd name="connsiteY5" fmla="*/ 62715 h 412759"/>
                  <a:gd name="connsiteX6" fmla="*/ 34766 w 69642"/>
                  <a:gd name="connsiteY6" fmla="*/ 53952 h 412759"/>
                  <a:gd name="connsiteX7" fmla="*/ 40672 w 69642"/>
                  <a:gd name="connsiteY7" fmla="*/ 44904 h 412759"/>
                  <a:gd name="connsiteX8" fmla="*/ 45910 w 69642"/>
                  <a:gd name="connsiteY8" fmla="*/ 35569 h 412759"/>
                  <a:gd name="connsiteX9" fmla="*/ 51340 w 69642"/>
                  <a:gd name="connsiteY9" fmla="*/ 26235 h 412759"/>
                  <a:gd name="connsiteX10" fmla="*/ 56578 w 69642"/>
                  <a:gd name="connsiteY10" fmla="*/ 17186 h 412759"/>
                  <a:gd name="connsiteX11" fmla="*/ 63246 w 69642"/>
                  <a:gd name="connsiteY11" fmla="*/ 8613 h 412759"/>
                  <a:gd name="connsiteX12" fmla="*/ 69151 w 69642"/>
                  <a:gd name="connsiteY12" fmla="*/ 41 h 412759"/>
                  <a:gd name="connsiteX13" fmla="*/ 66961 w 69642"/>
                  <a:gd name="connsiteY13" fmla="*/ 10042 h 412759"/>
                  <a:gd name="connsiteX14" fmla="*/ 63722 w 69642"/>
                  <a:gd name="connsiteY14" fmla="*/ 20329 h 412759"/>
                  <a:gd name="connsiteX15" fmla="*/ 60484 w 69642"/>
                  <a:gd name="connsiteY15" fmla="*/ 30616 h 412759"/>
                  <a:gd name="connsiteX16" fmla="*/ 57245 w 69642"/>
                  <a:gd name="connsiteY16" fmla="*/ 40903 h 412759"/>
                  <a:gd name="connsiteX17" fmla="*/ 52768 w 69642"/>
                  <a:gd name="connsiteY17" fmla="*/ 50714 h 412759"/>
                  <a:gd name="connsiteX18" fmla="*/ 49530 w 69642"/>
                  <a:gd name="connsiteY18" fmla="*/ 61001 h 412759"/>
                  <a:gd name="connsiteX19" fmla="*/ 45339 w 69642"/>
                  <a:gd name="connsiteY19" fmla="*/ 70812 h 412759"/>
                  <a:gd name="connsiteX20" fmla="*/ 41339 w 69642"/>
                  <a:gd name="connsiteY20" fmla="*/ 80813 h 412759"/>
                  <a:gd name="connsiteX21" fmla="*/ 37338 w 69642"/>
                  <a:gd name="connsiteY21" fmla="*/ 90814 h 412759"/>
                  <a:gd name="connsiteX22" fmla="*/ 32861 w 69642"/>
                  <a:gd name="connsiteY22" fmla="*/ 100625 h 412759"/>
                  <a:gd name="connsiteX23" fmla="*/ 29908 w 69642"/>
                  <a:gd name="connsiteY23" fmla="*/ 111198 h 412759"/>
                  <a:gd name="connsiteX24" fmla="*/ 25432 w 69642"/>
                  <a:gd name="connsiteY24" fmla="*/ 121008 h 412759"/>
                  <a:gd name="connsiteX25" fmla="*/ 22479 w 69642"/>
                  <a:gd name="connsiteY25" fmla="*/ 131295 h 412759"/>
                  <a:gd name="connsiteX26" fmla="*/ 17812 w 69642"/>
                  <a:gd name="connsiteY26" fmla="*/ 141106 h 412759"/>
                  <a:gd name="connsiteX27" fmla="*/ 14383 w 69642"/>
                  <a:gd name="connsiteY27" fmla="*/ 151393 h 412759"/>
                  <a:gd name="connsiteX28" fmla="*/ 10668 w 69642"/>
                  <a:gd name="connsiteY28" fmla="*/ 161394 h 412759"/>
                  <a:gd name="connsiteX29" fmla="*/ 7906 w 69642"/>
                  <a:gd name="connsiteY29" fmla="*/ 171967 h 412759"/>
                  <a:gd name="connsiteX30" fmla="*/ 4191 w 69642"/>
                  <a:gd name="connsiteY30" fmla="*/ 181968 h 412759"/>
                  <a:gd name="connsiteX31" fmla="*/ 2191 w 69642"/>
                  <a:gd name="connsiteY31" fmla="*/ 192541 h 412759"/>
                  <a:gd name="connsiteX32" fmla="*/ 953 w 69642"/>
                  <a:gd name="connsiteY32" fmla="*/ 202828 h 412759"/>
                  <a:gd name="connsiteX33" fmla="*/ 0 w 69642"/>
                  <a:gd name="connsiteY33" fmla="*/ 214163 h 412759"/>
                  <a:gd name="connsiteX34" fmla="*/ 1524 w 69642"/>
                  <a:gd name="connsiteY34" fmla="*/ 224926 h 412759"/>
                  <a:gd name="connsiteX35" fmla="*/ 1524 w 69642"/>
                  <a:gd name="connsiteY35" fmla="*/ 235975 h 412759"/>
                  <a:gd name="connsiteX36" fmla="*/ 1810 w 69642"/>
                  <a:gd name="connsiteY36" fmla="*/ 247024 h 412759"/>
                  <a:gd name="connsiteX37" fmla="*/ 571 w 69642"/>
                  <a:gd name="connsiteY37" fmla="*/ 258073 h 412759"/>
                  <a:gd name="connsiteX38" fmla="*/ 1333 w 69642"/>
                  <a:gd name="connsiteY38" fmla="*/ 269122 h 412759"/>
                  <a:gd name="connsiteX39" fmla="*/ 1333 w 69642"/>
                  <a:gd name="connsiteY39" fmla="*/ 280171 h 412759"/>
                  <a:gd name="connsiteX40" fmla="*/ 1810 w 69642"/>
                  <a:gd name="connsiteY40" fmla="*/ 291220 h 412759"/>
                  <a:gd name="connsiteX41" fmla="*/ 1333 w 69642"/>
                  <a:gd name="connsiteY41" fmla="*/ 302269 h 412759"/>
                  <a:gd name="connsiteX42" fmla="*/ 571 w 69642"/>
                  <a:gd name="connsiteY42" fmla="*/ 313318 h 412759"/>
                  <a:gd name="connsiteX43" fmla="*/ 1524 w 69642"/>
                  <a:gd name="connsiteY43" fmla="*/ 324367 h 412759"/>
                  <a:gd name="connsiteX44" fmla="*/ 1238 w 69642"/>
                  <a:gd name="connsiteY44" fmla="*/ 335416 h 412759"/>
                  <a:gd name="connsiteX45" fmla="*/ 286 w 69642"/>
                  <a:gd name="connsiteY45" fmla="*/ 346465 h 412759"/>
                  <a:gd name="connsiteX46" fmla="*/ 1048 w 69642"/>
                  <a:gd name="connsiteY46" fmla="*/ 357514 h 412759"/>
                  <a:gd name="connsiteX47" fmla="*/ 762 w 69642"/>
                  <a:gd name="connsiteY47" fmla="*/ 368563 h 412759"/>
                  <a:gd name="connsiteX48" fmla="*/ 476 w 69642"/>
                  <a:gd name="connsiteY48" fmla="*/ 379612 h 412759"/>
                  <a:gd name="connsiteX49" fmla="*/ 953 w 69642"/>
                  <a:gd name="connsiteY49" fmla="*/ 390661 h 412759"/>
                  <a:gd name="connsiteX50" fmla="*/ 667 w 69642"/>
                  <a:gd name="connsiteY50" fmla="*/ 401710 h 412759"/>
                  <a:gd name="connsiteX51" fmla="*/ 953 w 69642"/>
                  <a:gd name="connsiteY51" fmla="*/ 412759 h 412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9642" h="412759">
                    <a:moveTo>
                      <a:pt x="7715" y="99672"/>
                    </a:moveTo>
                    <a:lnTo>
                      <a:pt x="7715" y="99672"/>
                    </a:lnTo>
                    <a:cubicBezTo>
                      <a:pt x="9239" y="96624"/>
                      <a:pt x="11144" y="93672"/>
                      <a:pt x="12954" y="90338"/>
                    </a:cubicBezTo>
                    <a:cubicBezTo>
                      <a:pt x="14668" y="87290"/>
                      <a:pt x="16669" y="84337"/>
                      <a:pt x="18383" y="81289"/>
                    </a:cubicBezTo>
                    <a:cubicBezTo>
                      <a:pt x="20098" y="78241"/>
                      <a:pt x="23051" y="75765"/>
                      <a:pt x="24860" y="72717"/>
                    </a:cubicBezTo>
                    <a:cubicBezTo>
                      <a:pt x="26575" y="69478"/>
                      <a:pt x="27337" y="65668"/>
                      <a:pt x="29051" y="62715"/>
                    </a:cubicBezTo>
                    <a:cubicBezTo>
                      <a:pt x="30766" y="59667"/>
                      <a:pt x="33052" y="56905"/>
                      <a:pt x="34766" y="53952"/>
                    </a:cubicBezTo>
                    <a:cubicBezTo>
                      <a:pt x="36766" y="50714"/>
                      <a:pt x="38957" y="47952"/>
                      <a:pt x="40672" y="44904"/>
                    </a:cubicBezTo>
                    <a:cubicBezTo>
                      <a:pt x="42672" y="41856"/>
                      <a:pt x="44101" y="38617"/>
                      <a:pt x="45910" y="35569"/>
                    </a:cubicBezTo>
                    <a:cubicBezTo>
                      <a:pt x="47911" y="32521"/>
                      <a:pt x="49625" y="29283"/>
                      <a:pt x="51340" y="26235"/>
                    </a:cubicBezTo>
                    <a:cubicBezTo>
                      <a:pt x="53340" y="23187"/>
                      <a:pt x="54769" y="19948"/>
                      <a:pt x="56578" y="17186"/>
                    </a:cubicBezTo>
                    <a:cubicBezTo>
                      <a:pt x="58769" y="13662"/>
                      <a:pt x="61531" y="11185"/>
                      <a:pt x="63246" y="8613"/>
                    </a:cubicBezTo>
                    <a:cubicBezTo>
                      <a:pt x="66484" y="3851"/>
                      <a:pt x="68199" y="327"/>
                      <a:pt x="69151" y="41"/>
                    </a:cubicBezTo>
                    <a:cubicBezTo>
                      <a:pt x="70390" y="-435"/>
                      <a:pt x="69151" y="3279"/>
                      <a:pt x="66961" y="10042"/>
                    </a:cubicBezTo>
                    <a:cubicBezTo>
                      <a:pt x="66199" y="13090"/>
                      <a:pt x="65246" y="16614"/>
                      <a:pt x="63722" y="20329"/>
                    </a:cubicBezTo>
                    <a:cubicBezTo>
                      <a:pt x="62770" y="23377"/>
                      <a:pt x="61722" y="26901"/>
                      <a:pt x="60484" y="30616"/>
                    </a:cubicBezTo>
                    <a:cubicBezTo>
                      <a:pt x="59246" y="33855"/>
                      <a:pt x="58483" y="37379"/>
                      <a:pt x="57245" y="40903"/>
                    </a:cubicBezTo>
                    <a:cubicBezTo>
                      <a:pt x="56007" y="44142"/>
                      <a:pt x="54007" y="47190"/>
                      <a:pt x="52768" y="50714"/>
                    </a:cubicBezTo>
                    <a:cubicBezTo>
                      <a:pt x="51530" y="53952"/>
                      <a:pt x="51054" y="57477"/>
                      <a:pt x="49530" y="61001"/>
                    </a:cubicBezTo>
                    <a:cubicBezTo>
                      <a:pt x="48292" y="64239"/>
                      <a:pt x="46768" y="67573"/>
                      <a:pt x="45339" y="70812"/>
                    </a:cubicBezTo>
                    <a:cubicBezTo>
                      <a:pt x="44101" y="74336"/>
                      <a:pt x="42577" y="77574"/>
                      <a:pt x="41339" y="80813"/>
                    </a:cubicBezTo>
                    <a:cubicBezTo>
                      <a:pt x="40100" y="84051"/>
                      <a:pt x="38576" y="87576"/>
                      <a:pt x="37338" y="90814"/>
                    </a:cubicBezTo>
                    <a:cubicBezTo>
                      <a:pt x="36100" y="94053"/>
                      <a:pt x="34100" y="97386"/>
                      <a:pt x="32861" y="100625"/>
                    </a:cubicBezTo>
                    <a:cubicBezTo>
                      <a:pt x="31623" y="103863"/>
                      <a:pt x="31147" y="107673"/>
                      <a:pt x="29908" y="111198"/>
                    </a:cubicBezTo>
                    <a:cubicBezTo>
                      <a:pt x="28670" y="114436"/>
                      <a:pt x="26670" y="117484"/>
                      <a:pt x="25432" y="121008"/>
                    </a:cubicBezTo>
                    <a:cubicBezTo>
                      <a:pt x="24193" y="124247"/>
                      <a:pt x="23717" y="128057"/>
                      <a:pt x="22479" y="131295"/>
                    </a:cubicBezTo>
                    <a:cubicBezTo>
                      <a:pt x="21241" y="134820"/>
                      <a:pt x="19050" y="137868"/>
                      <a:pt x="17812" y="141106"/>
                    </a:cubicBezTo>
                    <a:cubicBezTo>
                      <a:pt x="16573" y="144630"/>
                      <a:pt x="15621" y="148155"/>
                      <a:pt x="14383" y="151393"/>
                    </a:cubicBezTo>
                    <a:cubicBezTo>
                      <a:pt x="13144" y="154917"/>
                      <a:pt x="11906" y="158156"/>
                      <a:pt x="10668" y="161394"/>
                    </a:cubicBezTo>
                    <a:cubicBezTo>
                      <a:pt x="9430" y="164919"/>
                      <a:pt x="9144" y="168633"/>
                      <a:pt x="7906" y="171967"/>
                    </a:cubicBezTo>
                    <a:cubicBezTo>
                      <a:pt x="6667" y="175491"/>
                      <a:pt x="4953" y="178730"/>
                      <a:pt x="4191" y="181968"/>
                    </a:cubicBezTo>
                    <a:cubicBezTo>
                      <a:pt x="2953" y="185778"/>
                      <a:pt x="2953" y="189493"/>
                      <a:pt x="2191" y="192541"/>
                    </a:cubicBezTo>
                    <a:cubicBezTo>
                      <a:pt x="953" y="197589"/>
                      <a:pt x="667" y="200828"/>
                      <a:pt x="953" y="202828"/>
                    </a:cubicBezTo>
                    <a:cubicBezTo>
                      <a:pt x="1238" y="205114"/>
                      <a:pt x="0" y="208829"/>
                      <a:pt x="0" y="214163"/>
                    </a:cubicBezTo>
                    <a:cubicBezTo>
                      <a:pt x="286" y="217211"/>
                      <a:pt x="1524" y="220926"/>
                      <a:pt x="1524" y="224926"/>
                    </a:cubicBezTo>
                    <a:cubicBezTo>
                      <a:pt x="1810" y="228450"/>
                      <a:pt x="1524" y="232165"/>
                      <a:pt x="1524" y="235975"/>
                    </a:cubicBezTo>
                    <a:cubicBezTo>
                      <a:pt x="1524" y="239499"/>
                      <a:pt x="1810" y="243214"/>
                      <a:pt x="1810" y="247024"/>
                    </a:cubicBezTo>
                    <a:cubicBezTo>
                      <a:pt x="1810" y="250834"/>
                      <a:pt x="571" y="254263"/>
                      <a:pt x="571" y="258073"/>
                    </a:cubicBezTo>
                    <a:cubicBezTo>
                      <a:pt x="571" y="261883"/>
                      <a:pt x="1333" y="265312"/>
                      <a:pt x="1333" y="269122"/>
                    </a:cubicBezTo>
                    <a:cubicBezTo>
                      <a:pt x="1333" y="272932"/>
                      <a:pt x="1619" y="276361"/>
                      <a:pt x="1333" y="280171"/>
                    </a:cubicBezTo>
                    <a:cubicBezTo>
                      <a:pt x="1333" y="283981"/>
                      <a:pt x="1810" y="287410"/>
                      <a:pt x="1810" y="291220"/>
                    </a:cubicBezTo>
                    <a:cubicBezTo>
                      <a:pt x="1810" y="295030"/>
                      <a:pt x="1333" y="298459"/>
                      <a:pt x="1333" y="302269"/>
                    </a:cubicBezTo>
                    <a:cubicBezTo>
                      <a:pt x="1333" y="306079"/>
                      <a:pt x="857" y="309794"/>
                      <a:pt x="571" y="313318"/>
                    </a:cubicBezTo>
                    <a:cubicBezTo>
                      <a:pt x="571" y="317128"/>
                      <a:pt x="1524" y="320843"/>
                      <a:pt x="1524" y="324367"/>
                    </a:cubicBezTo>
                    <a:cubicBezTo>
                      <a:pt x="1524" y="328177"/>
                      <a:pt x="1238" y="331892"/>
                      <a:pt x="1238" y="335416"/>
                    </a:cubicBezTo>
                    <a:cubicBezTo>
                      <a:pt x="953" y="339226"/>
                      <a:pt x="286" y="342941"/>
                      <a:pt x="286" y="346465"/>
                    </a:cubicBezTo>
                    <a:cubicBezTo>
                      <a:pt x="286" y="350275"/>
                      <a:pt x="1048" y="353990"/>
                      <a:pt x="1048" y="357514"/>
                    </a:cubicBezTo>
                    <a:cubicBezTo>
                      <a:pt x="1048" y="361324"/>
                      <a:pt x="1048" y="365039"/>
                      <a:pt x="762" y="368563"/>
                    </a:cubicBezTo>
                    <a:cubicBezTo>
                      <a:pt x="762" y="372564"/>
                      <a:pt x="476" y="376088"/>
                      <a:pt x="476" y="379612"/>
                    </a:cubicBezTo>
                    <a:cubicBezTo>
                      <a:pt x="476" y="383613"/>
                      <a:pt x="953" y="387423"/>
                      <a:pt x="953" y="390661"/>
                    </a:cubicBezTo>
                    <a:cubicBezTo>
                      <a:pt x="953" y="394947"/>
                      <a:pt x="667" y="398662"/>
                      <a:pt x="667" y="401710"/>
                    </a:cubicBezTo>
                    <a:cubicBezTo>
                      <a:pt x="667" y="408759"/>
                      <a:pt x="953" y="407235"/>
                      <a:pt x="953" y="412759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</p:grpSp>
        <p:grpSp>
          <p:nvGrpSpPr>
            <p:cNvPr id="652" name="Group 651">
              <a:extLst>
                <a:ext uri="{FF2B5EF4-FFF2-40B4-BE49-F238E27FC236}">
                  <a16:creationId xmlns:a16="http://schemas.microsoft.com/office/drawing/2014/main" id="{B3E0D61C-44D3-DA46-3F1D-296C8CA4A0B5}"/>
                </a:ext>
              </a:extLst>
            </p:cNvPr>
            <p:cNvGrpSpPr/>
            <p:nvPr/>
          </p:nvGrpSpPr>
          <p:grpSpPr>
            <a:xfrm flipH="1">
              <a:off x="5653293" y="4838423"/>
              <a:ext cx="259428" cy="603527"/>
              <a:chOff x="5243718" y="4765398"/>
              <a:chExt cx="259428" cy="603527"/>
            </a:xfrm>
          </p:grpSpPr>
          <p:sp>
            <p:nvSpPr>
              <p:cNvPr id="653" name="Freeform: Shape 652">
                <a:extLst>
                  <a:ext uri="{FF2B5EF4-FFF2-40B4-BE49-F238E27FC236}">
                    <a16:creationId xmlns:a16="http://schemas.microsoft.com/office/drawing/2014/main" id="{2F994235-AE3A-FBB2-CE04-7EE6401897D9}"/>
                  </a:ext>
                </a:extLst>
              </p:cNvPr>
              <p:cNvSpPr/>
              <p:nvPr/>
            </p:nvSpPr>
            <p:spPr>
              <a:xfrm>
                <a:off x="5282616" y="4839709"/>
                <a:ext cx="117078" cy="156421"/>
              </a:xfrm>
              <a:custGeom>
                <a:avLst/>
                <a:gdLst>
                  <a:gd name="connsiteX0" fmla="*/ 8192 w 80200"/>
                  <a:gd name="connsiteY0" fmla="*/ 84201 h 107151"/>
                  <a:gd name="connsiteX1" fmla="*/ 13907 w 80200"/>
                  <a:gd name="connsiteY1" fmla="*/ 92964 h 107151"/>
                  <a:gd name="connsiteX2" fmla="*/ 20860 w 80200"/>
                  <a:gd name="connsiteY2" fmla="*/ 100775 h 107151"/>
                  <a:gd name="connsiteX3" fmla="*/ 30290 w 80200"/>
                  <a:gd name="connsiteY3" fmla="*/ 105061 h 107151"/>
                  <a:gd name="connsiteX4" fmla="*/ 40195 w 80200"/>
                  <a:gd name="connsiteY4" fmla="*/ 107061 h 107151"/>
                  <a:gd name="connsiteX5" fmla="*/ 50578 w 80200"/>
                  <a:gd name="connsiteY5" fmla="*/ 106299 h 107151"/>
                  <a:gd name="connsiteX6" fmla="*/ 59531 w 80200"/>
                  <a:gd name="connsiteY6" fmla="*/ 100775 h 107151"/>
                  <a:gd name="connsiteX7" fmla="*/ 66961 w 80200"/>
                  <a:gd name="connsiteY7" fmla="*/ 93250 h 107151"/>
                  <a:gd name="connsiteX8" fmla="*/ 72866 w 80200"/>
                  <a:gd name="connsiteY8" fmla="*/ 84677 h 107151"/>
                  <a:gd name="connsiteX9" fmla="*/ 77057 w 80200"/>
                  <a:gd name="connsiteY9" fmla="*/ 74867 h 107151"/>
                  <a:gd name="connsiteX10" fmla="*/ 79248 w 80200"/>
                  <a:gd name="connsiteY10" fmla="*/ 64294 h 107151"/>
                  <a:gd name="connsiteX11" fmla="*/ 80201 w 80200"/>
                  <a:gd name="connsiteY11" fmla="*/ 53721 h 107151"/>
                  <a:gd name="connsiteX12" fmla="*/ 78486 w 80200"/>
                  <a:gd name="connsiteY12" fmla="*/ 43148 h 107151"/>
                  <a:gd name="connsiteX13" fmla="*/ 76009 w 80200"/>
                  <a:gd name="connsiteY13" fmla="*/ 33147 h 107151"/>
                  <a:gd name="connsiteX14" fmla="*/ 72771 w 80200"/>
                  <a:gd name="connsiteY14" fmla="*/ 22860 h 107151"/>
                  <a:gd name="connsiteX15" fmla="*/ 66866 w 80200"/>
                  <a:gd name="connsiteY15" fmla="*/ 14288 h 107151"/>
                  <a:gd name="connsiteX16" fmla="*/ 59722 w 80200"/>
                  <a:gd name="connsiteY16" fmla="*/ 6763 h 107151"/>
                  <a:gd name="connsiteX17" fmla="*/ 50578 w 80200"/>
                  <a:gd name="connsiteY17" fmla="*/ 1238 h 107151"/>
                  <a:gd name="connsiteX18" fmla="*/ 40195 w 80200"/>
                  <a:gd name="connsiteY18" fmla="*/ 0 h 107151"/>
                  <a:gd name="connsiteX19" fmla="*/ 30004 w 80200"/>
                  <a:gd name="connsiteY19" fmla="*/ 1524 h 107151"/>
                  <a:gd name="connsiteX20" fmla="*/ 20860 w 80200"/>
                  <a:gd name="connsiteY20" fmla="*/ 6763 h 107151"/>
                  <a:gd name="connsiteX21" fmla="*/ 13430 w 80200"/>
                  <a:gd name="connsiteY21" fmla="*/ 14002 h 107151"/>
                  <a:gd name="connsiteX22" fmla="*/ 7715 w 80200"/>
                  <a:gd name="connsiteY22" fmla="*/ 23051 h 107151"/>
                  <a:gd name="connsiteX23" fmla="*/ 4001 w 80200"/>
                  <a:gd name="connsiteY23" fmla="*/ 32861 h 107151"/>
                  <a:gd name="connsiteX24" fmla="*/ 1238 w 80200"/>
                  <a:gd name="connsiteY24" fmla="*/ 43148 h 107151"/>
                  <a:gd name="connsiteX25" fmla="*/ 0 w 80200"/>
                  <a:gd name="connsiteY25" fmla="*/ 53721 h 107151"/>
                  <a:gd name="connsiteX26" fmla="*/ 1715 w 80200"/>
                  <a:gd name="connsiteY26" fmla="*/ 64294 h 107151"/>
                  <a:gd name="connsiteX27" fmla="*/ 3429 w 80200"/>
                  <a:gd name="connsiteY27" fmla="*/ 74867 h 107151"/>
                  <a:gd name="connsiteX28" fmla="*/ 8192 w 80200"/>
                  <a:gd name="connsiteY28" fmla="*/ 84201 h 10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0200" h="107151">
                    <a:moveTo>
                      <a:pt x="8192" y="84201"/>
                    </a:moveTo>
                    <a:cubicBezTo>
                      <a:pt x="9716" y="87440"/>
                      <a:pt x="11620" y="90488"/>
                      <a:pt x="13907" y="92964"/>
                    </a:cubicBezTo>
                    <a:cubicBezTo>
                      <a:pt x="16097" y="96012"/>
                      <a:pt x="18383" y="98489"/>
                      <a:pt x="20860" y="100775"/>
                    </a:cubicBezTo>
                    <a:cubicBezTo>
                      <a:pt x="23813" y="102775"/>
                      <a:pt x="27051" y="104013"/>
                      <a:pt x="30290" y="105061"/>
                    </a:cubicBezTo>
                    <a:cubicBezTo>
                      <a:pt x="33528" y="106299"/>
                      <a:pt x="36767" y="107061"/>
                      <a:pt x="40195" y="107061"/>
                    </a:cubicBezTo>
                    <a:cubicBezTo>
                      <a:pt x="43910" y="107061"/>
                      <a:pt x="47339" y="107537"/>
                      <a:pt x="50578" y="106299"/>
                    </a:cubicBezTo>
                    <a:cubicBezTo>
                      <a:pt x="53816" y="105061"/>
                      <a:pt x="56769" y="102775"/>
                      <a:pt x="59531" y="100775"/>
                    </a:cubicBezTo>
                    <a:cubicBezTo>
                      <a:pt x="62294" y="98489"/>
                      <a:pt x="64770" y="96298"/>
                      <a:pt x="66961" y="93250"/>
                    </a:cubicBezTo>
                    <a:cubicBezTo>
                      <a:pt x="69152" y="90773"/>
                      <a:pt x="71438" y="88011"/>
                      <a:pt x="72866" y="84677"/>
                    </a:cubicBezTo>
                    <a:cubicBezTo>
                      <a:pt x="74581" y="81629"/>
                      <a:pt x="76105" y="78391"/>
                      <a:pt x="77057" y="74867"/>
                    </a:cubicBezTo>
                    <a:cubicBezTo>
                      <a:pt x="78010" y="71628"/>
                      <a:pt x="78772" y="68104"/>
                      <a:pt x="79248" y="64294"/>
                    </a:cubicBezTo>
                    <a:cubicBezTo>
                      <a:pt x="79724" y="61055"/>
                      <a:pt x="80201" y="57245"/>
                      <a:pt x="80201" y="53721"/>
                    </a:cubicBezTo>
                    <a:cubicBezTo>
                      <a:pt x="80201" y="50197"/>
                      <a:pt x="78962" y="46673"/>
                      <a:pt x="78486" y="43148"/>
                    </a:cubicBezTo>
                    <a:cubicBezTo>
                      <a:pt x="78010" y="39624"/>
                      <a:pt x="76962" y="36385"/>
                      <a:pt x="76009" y="33147"/>
                    </a:cubicBezTo>
                    <a:cubicBezTo>
                      <a:pt x="74771" y="29623"/>
                      <a:pt x="74295" y="26099"/>
                      <a:pt x="72771" y="22860"/>
                    </a:cubicBezTo>
                    <a:cubicBezTo>
                      <a:pt x="71057" y="19812"/>
                      <a:pt x="68770" y="17050"/>
                      <a:pt x="66866" y="14288"/>
                    </a:cubicBezTo>
                    <a:cubicBezTo>
                      <a:pt x="64675" y="11525"/>
                      <a:pt x="62389" y="8763"/>
                      <a:pt x="59722" y="6763"/>
                    </a:cubicBezTo>
                    <a:cubicBezTo>
                      <a:pt x="56769" y="4477"/>
                      <a:pt x="53816" y="2477"/>
                      <a:pt x="50578" y="1238"/>
                    </a:cubicBezTo>
                    <a:cubicBezTo>
                      <a:pt x="47339" y="191"/>
                      <a:pt x="43910" y="0"/>
                      <a:pt x="40195" y="0"/>
                    </a:cubicBezTo>
                    <a:cubicBezTo>
                      <a:pt x="36767" y="0"/>
                      <a:pt x="33242" y="286"/>
                      <a:pt x="30004" y="1524"/>
                    </a:cubicBezTo>
                    <a:cubicBezTo>
                      <a:pt x="26765" y="2762"/>
                      <a:pt x="23813" y="4572"/>
                      <a:pt x="20860" y="6763"/>
                    </a:cubicBezTo>
                    <a:cubicBezTo>
                      <a:pt x="18097" y="8763"/>
                      <a:pt x="15621" y="11240"/>
                      <a:pt x="13430" y="14002"/>
                    </a:cubicBezTo>
                    <a:cubicBezTo>
                      <a:pt x="11240" y="16764"/>
                      <a:pt x="9239" y="19812"/>
                      <a:pt x="7715" y="23051"/>
                    </a:cubicBezTo>
                    <a:cubicBezTo>
                      <a:pt x="6001" y="26099"/>
                      <a:pt x="4953" y="29337"/>
                      <a:pt x="4001" y="32861"/>
                    </a:cubicBezTo>
                    <a:cubicBezTo>
                      <a:pt x="3048" y="36100"/>
                      <a:pt x="1810" y="39624"/>
                      <a:pt x="1238" y="43148"/>
                    </a:cubicBezTo>
                    <a:cubicBezTo>
                      <a:pt x="762" y="46387"/>
                      <a:pt x="0" y="50197"/>
                      <a:pt x="0" y="53721"/>
                    </a:cubicBezTo>
                    <a:cubicBezTo>
                      <a:pt x="0" y="57245"/>
                      <a:pt x="1238" y="60770"/>
                      <a:pt x="1715" y="64294"/>
                    </a:cubicBezTo>
                    <a:cubicBezTo>
                      <a:pt x="2477" y="67818"/>
                      <a:pt x="2191" y="71533"/>
                      <a:pt x="3429" y="74867"/>
                    </a:cubicBezTo>
                    <a:cubicBezTo>
                      <a:pt x="4477" y="78391"/>
                      <a:pt x="6763" y="81153"/>
                      <a:pt x="8192" y="84201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654" name="Freeform: Shape 653">
                <a:extLst>
                  <a:ext uri="{FF2B5EF4-FFF2-40B4-BE49-F238E27FC236}">
                    <a16:creationId xmlns:a16="http://schemas.microsoft.com/office/drawing/2014/main" id="{DC0CEEC5-0A74-9863-61E3-356DCFCD64DC}"/>
                  </a:ext>
                </a:extLst>
              </p:cNvPr>
              <p:cNvSpPr/>
              <p:nvPr/>
            </p:nvSpPr>
            <p:spPr>
              <a:xfrm>
                <a:off x="5243858" y="4767404"/>
                <a:ext cx="259288" cy="601521"/>
              </a:xfrm>
              <a:custGeom>
                <a:avLst/>
                <a:gdLst>
                  <a:gd name="connsiteX0" fmla="*/ 23407 w 177616"/>
                  <a:gd name="connsiteY0" fmla="*/ 225076 h 412051"/>
                  <a:gd name="connsiteX1" fmla="*/ 19978 w 177616"/>
                  <a:gd name="connsiteY1" fmla="*/ 235649 h 412051"/>
                  <a:gd name="connsiteX2" fmla="*/ 17787 w 177616"/>
                  <a:gd name="connsiteY2" fmla="*/ 246412 h 412051"/>
                  <a:gd name="connsiteX3" fmla="*/ 14358 w 177616"/>
                  <a:gd name="connsiteY3" fmla="*/ 256699 h 412051"/>
                  <a:gd name="connsiteX4" fmla="*/ 11882 w 177616"/>
                  <a:gd name="connsiteY4" fmla="*/ 267272 h 412051"/>
                  <a:gd name="connsiteX5" fmla="*/ 8929 w 177616"/>
                  <a:gd name="connsiteY5" fmla="*/ 277844 h 412051"/>
                  <a:gd name="connsiteX6" fmla="*/ 5214 w 177616"/>
                  <a:gd name="connsiteY6" fmla="*/ 288131 h 412051"/>
                  <a:gd name="connsiteX7" fmla="*/ 1785 w 177616"/>
                  <a:gd name="connsiteY7" fmla="*/ 298418 h 412051"/>
                  <a:gd name="connsiteX8" fmla="*/ 261 w 177616"/>
                  <a:gd name="connsiteY8" fmla="*/ 309182 h 412051"/>
                  <a:gd name="connsiteX9" fmla="*/ 5214 w 177616"/>
                  <a:gd name="connsiteY9" fmla="*/ 299371 h 412051"/>
                  <a:gd name="connsiteX10" fmla="*/ 10929 w 177616"/>
                  <a:gd name="connsiteY10" fmla="*/ 290036 h 412051"/>
                  <a:gd name="connsiteX11" fmla="*/ 15406 w 177616"/>
                  <a:gd name="connsiteY11" fmla="*/ 280035 h 412051"/>
                  <a:gd name="connsiteX12" fmla="*/ 19597 w 177616"/>
                  <a:gd name="connsiteY12" fmla="*/ 269748 h 412051"/>
                  <a:gd name="connsiteX13" fmla="*/ 25502 w 177616"/>
                  <a:gd name="connsiteY13" fmla="*/ 260699 h 412051"/>
                  <a:gd name="connsiteX14" fmla="*/ 28931 w 177616"/>
                  <a:gd name="connsiteY14" fmla="*/ 250127 h 412051"/>
                  <a:gd name="connsiteX15" fmla="*/ 34837 w 177616"/>
                  <a:gd name="connsiteY15" fmla="*/ 240792 h 412051"/>
                  <a:gd name="connsiteX16" fmla="*/ 38552 w 177616"/>
                  <a:gd name="connsiteY16" fmla="*/ 230219 h 412051"/>
                  <a:gd name="connsiteX17" fmla="*/ 44267 w 177616"/>
                  <a:gd name="connsiteY17" fmla="*/ 220885 h 412051"/>
                  <a:gd name="connsiteX18" fmla="*/ 49220 w 177616"/>
                  <a:gd name="connsiteY18" fmla="*/ 211360 h 412051"/>
                  <a:gd name="connsiteX19" fmla="*/ 53887 w 177616"/>
                  <a:gd name="connsiteY19" fmla="*/ 201073 h 412051"/>
                  <a:gd name="connsiteX20" fmla="*/ 52934 w 177616"/>
                  <a:gd name="connsiteY20" fmla="*/ 211836 h 412051"/>
                  <a:gd name="connsiteX21" fmla="*/ 50744 w 177616"/>
                  <a:gd name="connsiteY21" fmla="*/ 222409 h 412051"/>
                  <a:gd name="connsiteX22" fmla="*/ 50458 w 177616"/>
                  <a:gd name="connsiteY22" fmla="*/ 232982 h 412051"/>
                  <a:gd name="connsiteX23" fmla="*/ 48267 w 177616"/>
                  <a:gd name="connsiteY23" fmla="*/ 243554 h 412051"/>
                  <a:gd name="connsiteX24" fmla="*/ 47791 w 177616"/>
                  <a:gd name="connsiteY24" fmla="*/ 254127 h 412051"/>
                  <a:gd name="connsiteX25" fmla="*/ 46838 w 177616"/>
                  <a:gd name="connsiteY25" fmla="*/ 264890 h 412051"/>
                  <a:gd name="connsiteX26" fmla="*/ 46076 w 177616"/>
                  <a:gd name="connsiteY26" fmla="*/ 275463 h 412051"/>
                  <a:gd name="connsiteX27" fmla="*/ 43886 w 177616"/>
                  <a:gd name="connsiteY27" fmla="*/ 286036 h 412051"/>
                  <a:gd name="connsiteX28" fmla="*/ 42933 w 177616"/>
                  <a:gd name="connsiteY28" fmla="*/ 296609 h 412051"/>
                  <a:gd name="connsiteX29" fmla="*/ 41981 w 177616"/>
                  <a:gd name="connsiteY29" fmla="*/ 307181 h 412051"/>
                  <a:gd name="connsiteX30" fmla="*/ 41028 w 177616"/>
                  <a:gd name="connsiteY30" fmla="*/ 317754 h 412051"/>
                  <a:gd name="connsiteX31" fmla="*/ 39314 w 177616"/>
                  <a:gd name="connsiteY31" fmla="*/ 328041 h 412051"/>
                  <a:gd name="connsiteX32" fmla="*/ 39028 w 177616"/>
                  <a:gd name="connsiteY32" fmla="*/ 338614 h 412051"/>
                  <a:gd name="connsiteX33" fmla="*/ 37790 w 177616"/>
                  <a:gd name="connsiteY33" fmla="*/ 348901 h 412051"/>
                  <a:gd name="connsiteX34" fmla="*/ 37504 w 177616"/>
                  <a:gd name="connsiteY34" fmla="*/ 359474 h 412051"/>
                  <a:gd name="connsiteX35" fmla="*/ 35980 w 177616"/>
                  <a:gd name="connsiteY35" fmla="*/ 370046 h 412051"/>
                  <a:gd name="connsiteX36" fmla="*/ 34456 w 177616"/>
                  <a:gd name="connsiteY36" fmla="*/ 380333 h 412051"/>
                  <a:gd name="connsiteX37" fmla="*/ 34170 w 177616"/>
                  <a:gd name="connsiteY37" fmla="*/ 390906 h 412051"/>
                  <a:gd name="connsiteX38" fmla="*/ 32932 w 177616"/>
                  <a:gd name="connsiteY38" fmla="*/ 401193 h 412051"/>
                  <a:gd name="connsiteX39" fmla="*/ 32932 w 177616"/>
                  <a:gd name="connsiteY39" fmla="*/ 411766 h 412051"/>
                  <a:gd name="connsiteX40" fmla="*/ 49791 w 177616"/>
                  <a:gd name="connsiteY40" fmla="*/ 412051 h 412051"/>
                  <a:gd name="connsiteX41" fmla="*/ 52268 w 177616"/>
                  <a:gd name="connsiteY41" fmla="*/ 401003 h 412051"/>
                  <a:gd name="connsiteX42" fmla="*/ 55506 w 177616"/>
                  <a:gd name="connsiteY42" fmla="*/ 390239 h 412051"/>
                  <a:gd name="connsiteX43" fmla="*/ 57221 w 177616"/>
                  <a:gd name="connsiteY43" fmla="*/ 379190 h 412051"/>
                  <a:gd name="connsiteX44" fmla="*/ 60935 w 177616"/>
                  <a:gd name="connsiteY44" fmla="*/ 368618 h 412051"/>
                  <a:gd name="connsiteX45" fmla="*/ 62936 w 177616"/>
                  <a:gd name="connsiteY45" fmla="*/ 357569 h 412051"/>
                  <a:gd name="connsiteX46" fmla="*/ 66365 w 177616"/>
                  <a:gd name="connsiteY46" fmla="*/ 346996 h 412051"/>
                  <a:gd name="connsiteX47" fmla="*/ 68555 w 177616"/>
                  <a:gd name="connsiteY47" fmla="*/ 335947 h 412051"/>
                  <a:gd name="connsiteX48" fmla="*/ 70746 w 177616"/>
                  <a:gd name="connsiteY48" fmla="*/ 324898 h 412051"/>
                  <a:gd name="connsiteX49" fmla="*/ 73985 w 177616"/>
                  <a:gd name="connsiteY49" fmla="*/ 314611 h 412051"/>
                  <a:gd name="connsiteX50" fmla="*/ 74747 w 177616"/>
                  <a:gd name="connsiteY50" fmla="*/ 325184 h 412051"/>
                  <a:gd name="connsiteX51" fmla="*/ 75509 w 177616"/>
                  <a:gd name="connsiteY51" fmla="*/ 335947 h 412051"/>
                  <a:gd name="connsiteX52" fmla="*/ 76747 w 177616"/>
                  <a:gd name="connsiteY52" fmla="*/ 346710 h 412051"/>
                  <a:gd name="connsiteX53" fmla="*/ 78461 w 177616"/>
                  <a:gd name="connsiteY53" fmla="*/ 357473 h 412051"/>
                  <a:gd name="connsiteX54" fmla="*/ 79700 w 177616"/>
                  <a:gd name="connsiteY54" fmla="*/ 368237 h 412051"/>
                  <a:gd name="connsiteX55" fmla="*/ 81224 w 177616"/>
                  <a:gd name="connsiteY55" fmla="*/ 379000 h 412051"/>
                  <a:gd name="connsiteX56" fmla="*/ 81509 w 177616"/>
                  <a:gd name="connsiteY56" fmla="*/ 390049 h 412051"/>
                  <a:gd name="connsiteX57" fmla="*/ 83033 w 177616"/>
                  <a:gd name="connsiteY57" fmla="*/ 400812 h 412051"/>
                  <a:gd name="connsiteX58" fmla="*/ 83986 w 177616"/>
                  <a:gd name="connsiteY58" fmla="*/ 411575 h 412051"/>
                  <a:gd name="connsiteX59" fmla="*/ 109037 w 177616"/>
                  <a:gd name="connsiteY59" fmla="*/ 411575 h 412051"/>
                  <a:gd name="connsiteX60" fmla="*/ 108751 w 177616"/>
                  <a:gd name="connsiteY60" fmla="*/ 400526 h 412051"/>
                  <a:gd name="connsiteX61" fmla="*/ 109037 w 177616"/>
                  <a:gd name="connsiteY61" fmla="*/ 389477 h 412051"/>
                  <a:gd name="connsiteX62" fmla="*/ 108560 w 177616"/>
                  <a:gd name="connsiteY62" fmla="*/ 378428 h 412051"/>
                  <a:gd name="connsiteX63" fmla="*/ 108846 w 177616"/>
                  <a:gd name="connsiteY63" fmla="*/ 367379 h 412051"/>
                  <a:gd name="connsiteX64" fmla="*/ 109132 w 177616"/>
                  <a:gd name="connsiteY64" fmla="*/ 356330 h 412051"/>
                  <a:gd name="connsiteX65" fmla="*/ 108370 w 177616"/>
                  <a:gd name="connsiteY65" fmla="*/ 345281 h 412051"/>
                  <a:gd name="connsiteX66" fmla="*/ 109322 w 177616"/>
                  <a:gd name="connsiteY66" fmla="*/ 334232 h 412051"/>
                  <a:gd name="connsiteX67" fmla="*/ 109608 w 177616"/>
                  <a:gd name="connsiteY67" fmla="*/ 323183 h 412051"/>
                  <a:gd name="connsiteX68" fmla="*/ 108656 w 177616"/>
                  <a:gd name="connsiteY68" fmla="*/ 312134 h 412051"/>
                  <a:gd name="connsiteX69" fmla="*/ 109418 w 177616"/>
                  <a:gd name="connsiteY69" fmla="*/ 301085 h 412051"/>
                  <a:gd name="connsiteX70" fmla="*/ 109894 w 177616"/>
                  <a:gd name="connsiteY70" fmla="*/ 290036 h 412051"/>
                  <a:gd name="connsiteX71" fmla="*/ 109418 w 177616"/>
                  <a:gd name="connsiteY71" fmla="*/ 278987 h 412051"/>
                  <a:gd name="connsiteX72" fmla="*/ 109418 w 177616"/>
                  <a:gd name="connsiteY72" fmla="*/ 267938 h 412051"/>
                  <a:gd name="connsiteX73" fmla="*/ 108656 w 177616"/>
                  <a:gd name="connsiteY73" fmla="*/ 256889 h 412051"/>
                  <a:gd name="connsiteX74" fmla="*/ 109894 w 177616"/>
                  <a:gd name="connsiteY74" fmla="*/ 245840 h 412051"/>
                  <a:gd name="connsiteX75" fmla="*/ 109608 w 177616"/>
                  <a:gd name="connsiteY75" fmla="*/ 234791 h 412051"/>
                  <a:gd name="connsiteX76" fmla="*/ 109608 w 177616"/>
                  <a:gd name="connsiteY76" fmla="*/ 223742 h 412051"/>
                  <a:gd name="connsiteX77" fmla="*/ 108084 w 177616"/>
                  <a:gd name="connsiteY77" fmla="*/ 212979 h 412051"/>
                  <a:gd name="connsiteX78" fmla="*/ 109037 w 177616"/>
                  <a:gd name="connsiteY78" fmla="*/ 201644 h 412051"/>
                  <a:gd name="connsiteX79" fmla="*/ 110275 w 177616"/>
                  <a:gd name="connsiteY79" fmla="*/ 191357 h 412051"/>
                  <a:gd name="connsiteX80" fmla="*/ 112275 w 177616"/>
                  <a:gd name="connsiteY80" fmla="*/ 180785 h 412051"/>
                  <a:gd name="connsiteX81" fmla="*/ 115990 w 177616"/>
                  <a:gd name="connsiteY81" fmla="*/ 170783 h 412051"/>
                  <a:gd name="connsiteX82" fmla="*/ 118752 w 177616"/>
                  <a:gd name="connsiteY82" fmla="*/ 160211 h 412051"/>
                  <a:gd name="connsiteX83" fmla="*/ 122467 w 177616"/>
                  <a:gd name="connsiteY83" fmla="*/ 150209 h 412051"/>
                  <a:gd name="connsiteX84" fmla="*/ 125896 w 177616"/>
                  <a:gd name="connsiteY84" fmla="*/ 139922 h 412051"/>
                  <a:gd name="connsiteX85" fmla="*/ 130563 w 177616"/>
                  <a:gd name="connsiteY85" fmla="*/ 130112 h 412051"/>
                  <a:gd name="connsiteX86" fmla="*/ 133516 w 177616"/>
                  <a:gd name="connsiteY86" fmla="*/ 119825 h 412051"/>
                  <a:gd name="connsiteX87" fmla="*/ 137993 w 177616"/>
                  <a:gd name="connsiteY87" fmla="*/ 110014 h 412051"/>
                  <a:gd name="connsiteX88" fmla="*/ 140945 w 177616"/>
                  <a:gd name="connsiteY88" fmla="*/ 99441 h 412051"/>
                  <a:gd name="connsiteX89" fmla="*/ 141231 w 177616"/>
                  <a:gd name="connsiteY89" fmla="*/ 98870 h 412051"/>
                  <a:gd name="connsiteX90" fmla="*/ 177617 w 177616"/>
                  <a:gd name="connsiteY90" fmla="*/ 0 h 412051"/>
                  <a:gd name="connsiteX91" fmla="*/ 157995 w 177616"/>
                  <a:gd name="connsiteY91" fmla="*/ 27337 h 412051"/>
                  <a:gd name="connsiteX92" fmla="*/ 115799 w 177616"/>
                  <a:gd name="connsiteY92" fmla="*/ 98108 h 412051"/>
                  <a:gd name="connsiteX93" fmla="*/ 103322 w 177616"/>
                  <a:gd name="connsiteY93" fmla="*/ 126111 h 412051"/>
                  <a:gd name="connsiteX94" fmla="*/ 91892 w 177616"/>
                  <a:gd name="connsiteY94" fmla="*/ 144875 h 412051"/>
                  <a:gd name="connsiteX95" fmla="*/ 71318 w 177616"/>
                  <a:gd name="connsiteY95" fmla="*/ 156496 h 412051"/>
                  <a:gd name="connsiteX96" fmla="*/ 54173 w 177616"/>
                  <a:gd name="connsiteY96" fmla="*/ 153448 h 412051"/>
                  <a:gd name="connsiteX97" fmla="*/ 49315 w 177616"/>
                  <a:gd name="connsiteY97" fmla="*/ 153448 h 412051"/>
                  <a:gd name="connsiteX98" fmla="*/ 24359 w 177616"/>
                  <a:gd name="connsiteY98" fmla="*/ 222409 h 412051"/>
                  <a:gd name="connsiteX99" fmla="*/ 23407 w 177616"/>
                  <a:gd name="connsiteY99" fmla="*/ 225076 h 412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177616" h="412051">
                    <a:moveTo>
                      <a:pt x="23407" y="225076"/>
                    </a:moveTo>
                    <a:cubicBezTo>
                      <a:pt x="22169" y="228600"/>
                      <a:pt x="20930" y="232124"/>
                      <a:pt x="19978" y="235649"/>
                    </a:cubicBezTo>
                    <a:cubicBezTo>
                      <a:pt x="18740" y="239173"/>
                      <a:pt x="18740" y="242888"/>
                      <a:pt x="17787" y="246412"/>
                    </a:cubicBezTo>
                    <a:cubicBezTo>
                      <a:pt x="16835" y="249936"/>
                      <a:pt x="15311" y="253175"/>
                      <a:pt x="14358" y="256699"/>
                    </a:cubicBezTo>
                    <a:cubicBezTo>
                      <a:pt x="13406" y="260223"/>
                      <a:pt x="12834" y="263938"/>
                      <a:pt x="11882" y="267272"/>
                    </a:cubicBezTo>
                    <a:cubicBezTo>
                      <a:pt x="10929" y="271082"/>
                      <a:pt x="9881" y="274511"/>
                      <a:pt x="8929" y="277844"/>
                    </a:cubicBezTo>
                    <a:cubicBezTo>
                      <a:pt x="7691" y="281654"/>
                      <a:pt x="6167" y="284893"/>
                      <a:pt x="5214" y="288131"/>
                    </a:cubicBezTo>
                    <a:cubicBezTo>
                      <a:pt x="4262" y="292132"/>
                      <a:pt x="2452" y="295370"/>
                      <a:pt x="1785" y="298418"/>
                    </a:cubicBezTo>
                    <a:cubicBezTo>
                      <a:pt x="-215" y="305467"/>
                      <a:pt x="-215" y="309753"/>
                      <a:pt x="261" y="309182"/>
                    </a:cubicBezTo>
                    <a:cubicBezTo>
                      <a:pt x="737" y="308705"/>
                      <a:pt x="2452" y="304895"/>
                      <a:pt x="5214" y="299371"/>
                    </a:cubicBezTo>
                    <a:cubicBezTo>
                      <a:pt x="6738" y="296609"/>
                      <a:pt x="8929" y="293561"/>
                      <a:pt x="10929" y="290036"/>
                    </a:cubicBezTo>
                    <a:cubicBezTo>
                      <a:pt x="12453" y="286988"/>
                      <a:pt x="13691" y="283464"/>
                      <a:pt x="15406" y="280035"/>
                    </a:cubicBezTo>
                    <a:cubicBezTo>
                      <a:pt x="16930" y="276797"/>
                      <a:pt x="17882" y="273272"/>
                      <a:pt x="19597" y="269748"/>
                    </a:cubicBezTo>
                    <a:cubicBezTo>
                      <a:pt x="21121" y="266700"/>
                      <a:pt x="24074" y="263938"/>
                      <a:pt x="25502" y="260699"/>
                    </a:cubicBezTo>
                    <a:cubicBezTo>
                      <a:pt x="27217" y="257461"/>
                      <a:pt x="27503" y="253460"/>
                      <a:pt x="28931" y="250127"/>
                    </a:cubicBezTo>
                    <a:cubicBezTo>
                      <a:pt x="30646" y="246888"/>
                      <a:pt x="33122" y="244126"/>
                      <a:pt x="34837" y="240792"/>
                    </a:cubicBezTo>
                    <a:cubicBezTo>
                      <a:pt x="36361" y="237268"/>
                      <a:pt x="37028" y="233553"/>
                      <a:pt x="38552" y="230219"/>
                    </a:cubicBezTo>
                    <a:cubicBezTo>
                      <a:pt x="40266" y="226981"/>
                      <a:pt x="42743" y="223933"/>
                      <a:pt x="44267" y="220885"/>
                    </a:cubicBezTo>
                    <a:cubicBezTo>
                      <a:pt x="45981" y="217075"/>
                      <a:pt x="47981" y="214122"/>
                      <a:pt x="49220" y="211360"/>
                    </a:cubicBezTo>
                    <a:cubicBezTo>
                      <a:pt x="52172" y="205073"/>
                      <a:pt x="53411" y="195548"/>
                      <a:pt x="53887" y="201073"/>
                    </a:cubicBezTo>
                    <a:cubicBezTo>
                      <a:pt x="54363" y="206312"/>
                      <a:pt x="53601" y="206597"/>
                      <a:pt x="52934" y="211836"/>
                    </a:cubicBezTo>
                    <a:cubicBezTo>
                      <a:pt x="52458" y="217075"/>
                      <a:pt x="51220" y="216884"/>
                      <a:pt x="50744" y="222409"/>
                    </a:cubicBezTo>
                    <a:cubicBezTo>
                      <a:pt x="49982" y="227648"/>
                      <a:pt x="51220" y="227648"/>
                      <a:pt x="50458" y="232982"/>
                    </a:cubicBezTo>
                    <a:cubicBezTo>
                      <a:pt x="49982" y="238220"/>
                      <a:pt x="48934" y="238220"/>
                      <a:pt x="48267" y="243554"/>
                    </a:cubicBezTo>
                    <a:cubicBezTo>
                      <a:pt x="47791" y="248793"/>
                      <a:pt x="48553" y="248793"/>
                      <a:pt x="47791" y="254127"/>
                    </a:cubicBezTo>
                    <a:cubicBezTo>
                      <a:pt x="47315" y="259366"/>
                      <a:pt x="47315" y="259366"/>
                      <a:pt x="46838" y="264890"/>
                    </a:cubicBezTo>
                    <a:cubicBezTo>
                      <a:pt x="46362" y="270129"/>
                      <a:pt x="46553" y="270129"/>
                      <a:pt x="46076" y="275463"/>
                    </a:cubicBezTo>
                    <a:cubicBezTo>
                      <a:pt x="45314" y="280702"/>
                      <a:pt x="44552" y="280702"/>
                      <a:pt x="43886" y="286036"/>
                    </a:cubicBezTo>
                    <a:cubicBezTo>
                      <a:pt x="43409" y="291274"/>
                      <a:pt x="43409" y="291274"/>
                      <a:pt x="42933" y="296609"/>
                    </a:cubicBezTo>
                    <a:cubicBezTo>
                      <a:pt x="42457" y="301847"/>
                      <a:pt x="42457" y="301847"/>
                      <a:pt x="41981" y="307181"/>
                    </a:cubicBezTo>
                    <a:cubicBezTo>
                      <a:pt x="41504" y="312420"/>
                      <a:pt x="41504" y="312420"/>
                      <a:pt x="41028" y="317754"/>
                    </a:cubicBezTo>
                    <a:cubicBezTo>
                      <a:pt x="40552" y="322993"/>
                      <a:pt x="39790" y="322802"/>
                      <a:pt x="39314" y="328041"/>
                    </a:cubicBezTo>
                    <a:cubicBezTo>
                      <a:pt x="39028" y="333280"/>
                      <a:pt x="39599" y="333280"/>
                      <a:pt x="39028" y="338614"/>
                    </a:cubicBezTo>
                    <a:cubicBezTo>
                      <a:pt x="38552" y="343853"/>
                      <a:pt x="38266" y="343853"/>
                      <a:pt x="37790" y="348901"/>
                    </a:cubicBezTo>
                    <a:cubicBezTo>
                      <a:pt x="37313" y="354140"/>
                      <a:pt x="38075" y="354140"/>
                      <a:pt x="37504" y="359474"/>
                    </a:cubicBezTo>
                    <a:cubicBezTo>
                      <a:pt x="37218" y="364712"/>
                      <a:pt x="36266" y="364712"/>
                      <a:pt x="35980" y="370046"/>
                    </a:cubicBezTo>
                    <a:cubicBezTo>
                      <a:pt x="35504" y="375095"/>
                      <a:pt x="35027" y="375095"/>
                      <a:pt x="34456" y="380333"/>
                    </a:cubicBezTo>
                    <a:cubicBezTo>
                      <a:pt x="33980" y="385572"/>
                      <a:pt x="34742" y="385572"/>
                      <a:pt x="34170" y="390906"/>
                    </a:cubicBezTo>
                    <a:cubicBezTo>
                      <a:pt x="33694" y="396145"/>
                      <a:pt x="33408" y="395954"/>
                      <a:pt x="32932" y="401193"/>
                    </a:cubicBezTo>
                    <a:cubicBezTo>
                      <a:pt x="32456" y="406432"/>
                      <a:pt x="33408" y="406432"/>
                      <a:pt x="32932" y="411766"/>
                    </a:cubicBezTo>
                    <a:lnTo>
                      <a:pt x="49791" y="412051"/>
                    </a:lnTo>
                    <a:cubicBezTo>
                      <a:pt x="51315" y="406527"/>
                      <a:pt x="50744" y="406527"/>
                      <a:pt x="52268" y="401003"/>
                    </a:cubicBezTo>
                    <a:cubicBezTo>
                      <a:pt x="53506" y="395478"/>
                      <a:pt x="54268" y="395764"/>
                      <a:pt x="55506" y="390239"/>
                    </a:cubicBezTo>
                    <a:cubicBezTo>
                      <a:pt x="57030" y="385001"/>
                      <a:pt x="55792" y="384715"/>
                      <a:pt x="57221" y="379190"/>
                    </a:cubicBezTo>
                    <a:cubicBezTo>
                      <a:pt x="58745" y="373666"/>
                      <a:pt x="59411" y="373951"/>
                      <a:pt x="60935" y="368618"/>
                    </a:cubicBezTo>
                    <a:cubicBezTo>
                      <a:pt x="62174" y="363093"/>
                      <a:pt x="61697" y="363093"/>
                      <a:pt x="62936" y="357569"/>
                    </a:cubicBezTo>
                    <a:cubicBezTo>
                      <a:pt x="64460" y="352044"/>
                      <a:pt x="64936" y="352330"/>
                      <a:pt x="66365" y="346996"/>
                    </a:cubicBezTo>
                    <a:cubicBezTo>
                      <a:pt x="67603" y="341471"/>
                      <a:pt x="67127" y="341186"/>
                      <a:pt x="68555" y="335947"/>
                    </a:cubicBezTo>
                    <a:cubicBezTo>
                      <a:pt x="69794" y="330422"/>
                      <a:pt x="69317" y="330422"/>
                      <a:pt x="70746" y="324898"/>
                    </a:cubicBezTo>
                    <a:cubicBezTo>
                      <a:pt x="71984" y="319659"/>
                      <a:pt x="68555" y="314611"/>
                      <a:pt x="73985" y="314611"/>
                    </a:cubicBezTo>
                    <a:cubicBezTo>
                      <a:pt x="79414" y="314611"/>
                      <a:pt x="74270" y="319659"/>
                      <a:pt x="74747" y="325184"/>
                    </a:cubicBezTo>
                    <a:cubicBezTo>
                      <a:pt x="75223" y="330708"/>
                      <a:pt x="75032" y="330708"/>
                      <a:pt x="75509" y="335947"/>
                    </a:cubicBezTo>
                    <a:cubicBezTo>
                      <a:pt x="75985" y="341471"/>
                      <a:pt x="76271" y="341471"/>
                      <a:pt x="76747" y="346710"/>
                    </a:cubicBezTo>
                    <a:cubicBezTo>
                      <a:pt x="77223" y="352235"/>
                      <a:pt x="77985" y="352235"/>
                      <a:pt x="78461" y="357473"/>
                    </a:cubicBezTo>
                    <a:cubicBezTo>
                      <a:pt x="78938" y="362998"/>
                      <a:pt x="79223" y="362998"/>
                      <a:pt x="79700" y="368237"/>
                    </a:cubicBezTo>
                    <a:cubicBezTo>
                      <a:pt x="80176" y="373761"/>
                      <a:pt x="80462" y="373761"/>
                      <a:pt x="81224" y="379000"/>
                    </a:cubicBezTo>
                    <a:cubicBezTo>
                      <a:pt x="81700" y="384524"/>
                      <a:pt x="80938" y="384524"/>
                      <a:pt x="81509" y="390049"/>
                    </a:cubicBezTo>
                    <a:cubicBezTo>
                      <a:pt x="81986" y="395288"/>
                      <a:pt x="82462" y="395288"/>
                      <a:pt x="83033" y="400812"/>
                    </a:cubicBezTo>
                    <a:cubicBezTo>
                      <a:pt x="83510" y="406051"/>
                      <a:pt x="83319" y="406051"/>
                      <a:pt x="83986" y="411575"/>
                    </a:cubicBezTo>
                    <a:lnTo>
                      <a:pt x="109037" y="411575"/>
                    </a:lnTo>
                    <a:cubicBezTo>
                      <a:pt x="109037" y="406051"/>
                      <a:pt x="108751" y="407575"/>
                      <a:pt x="108751" y="400526"/>
                    </a:cubicBezTo>
                    <a:cubicBezTo>
                      <a:pt x="108751" y="397478"/>
                      <a:pt x="109037" y="393764"/>
                      <a:pt x="109037" y="389477"/>
                    </a:cubicBezTo>
                    <a:cubicBezTo>
                      <a:pt x="109037" y="386239"/>
                      <a:pt x="108560" y="382429"/>
                      <a:pt x="108560" y="378428"/>
                    </a:cubicBezTo>
                    <a:cubicBezTo>
                      <a:pt x="108560" y="374904"/>
                      <a:pt x="108846" y="371380"/>
                      <a:pt x="108846" y="367379"/>
                    </a:cubicBezTo>
                    <a:cubicBezTo>
                      <a:pt x="109132" y="363855"/>
                      <a:pt x="109132" y="360140"/>
                      <a:pt x="109132" y="356330"/>
                    </a:cubicBezTo>
                    <a:cubicBezTo>
                      <a:pt x="109132" y="352806"/>
                      <a:pt x="108370" y="349091"/>
                      <a:pt x="108370" y="345281"/>
                    </a:cubicBezTo>
                    <a:cubicBezTo>
                      <a:pt x="108370" y="341757"/>
                      <a:pt x="109132" y="338042"/>
                      <a:pt x="109322" y="334232"/>
                    </a:cubicBezTo>
                    <a:cubicBezTo>
                      <a:pt x="109322" y="330708"/>
                      <a:pt x="109608" y="326993"/>
                      <a:pt x="109608" y="323183"/>
                    </a:cubicBezTo>
                    <a:cubicBezTo>
                      <a:pt x="109608" y="319659"/>
                      <a:pt x="108656" y="315944"/>
                      <a:pt x="108656" y="312134"/>
                    </a:cubicBezTo>
                    <a:cubicBezTo>
                      <a:pt x="108941" y="308610"/>
                      <a:pt x="109418" y="304895"/>
                      <a:pt x="109418" y="301085"/>
                    </a:cubicBezTo>
                    <a:cubicBezTo>
                      <a:pt x="109418" y="297275"/>
                      <a:pt x="109894" y="293846"/>
                      <a:pt x="109894" y="290036"/>
                    </a:cubicBezTo>
                    <a:cubicBezTo>
                      <a:pt x="109894" y="286226"/>
                      <a:pt x="109418" y="282797"/>
                      <a:pt x="109418" y="278987"/>
                    </a:cubicBezTo>
                    <a:cubicBezTo>
                      <a:pt x="109703" y="275177"/>
                      <a:pt x="109418" y="271748"/>
                      <a:pt x="109418" y="267938"/>
                    </a:cubicBezTo>
                    <a:cubicBezTo>
                      <a:pt x="109418" y="264128"/>
                      <a:pt x="108656" y="260699"/>
                      <a:pt x="108656" y="256889"/>
                    </a:cubicBezTo>
                    <a:cubicBezTo>
                      <a:pt x="108656" y="253079"/>
                      <a:pt x="109894" y="249650"/>
                      <a:pt x="109894" y="245840"/>
                    </a:cubicBezTo>
                    <a:cubicBezTo>
                      <a:pt x="109894" y="242030"/>
                      <a:pt x="109608" y="238316"/>
                      <a:pt x="109608" y="234791"/>
                    </a:cubicBezTo>
                    <a:cubicBezTo>
                      <a:pt x="109608" y="230981"/>
                      <a:pt x="109894" y="227267"/>
                      <a:pt x="109608" y="223742"/>
                    </a:cubicBezTo>
                    <a:cubicBezTo>
                      <a:pt x="109608" y="219742"/>
                      <a:pt x="108370" y="215932"/>
                      <a:pt x="108084" y="212979"/>
                    </a:cubicBezTo>
                    <a:cubicBezTo>
                      <a:pt x="108084" y="207740"/>
                      <a:pt x="109322" y="203930"/>
                      <a:pt x="109037" y="201644"/>
                    </a:cubicBezTo>
                    <a:cubicBezTo>
                      <a:pt x="108751" y="199644"/>
                      <a:pt x="109037" y="196406"/>
                      <a:pt x="110275" y="191357"/>
                    </a:cubicBezTo>
                    <a:cubicBezTo>
                      <a:pt x="111037" y="188309"/>
                      <a:pt x="111037" y="184595"/>
                      <a:pt x="112275" y="180785"/>
                    </a:cubicBezTo>
                    <a:cubicBezTo>
                      <a:pt x="113037" y="177546"/>
                      <a:pt x="114752" y="174212"/>
                      <a:pt x="115990" y="170783"/>
                    </a:cubicBezTo>
                    <a:cubicBezTo>
                      <a:pt x="117228" y="167545"/>
                      <a:pt x="117514" y="163735"/>
                      <a:pt x="118752" y="160211"/>
                    </a:cubicBezTo>
                    <a:cubicBezTo>
                      <a:pt x="119990" y="156972"/>
                      <a:pt x="121229" y="153638"/>
                      <a:pt x="122467" y="150209"/>
                    </a:cubicBezTo>
                    <a:cubicBezTo>
                      <a:pt x="123705" y="146971"/>
                      <a:pt x="124658" y="143447"/>
                      <a:pt x="125896" y="139922"/>
                    </a:cubicBezTo>
                    <a:cubicBezTo>
                      <a:pt x="127134" y="136684"/>
                      <a:pt x="129325" y="133636"/>
                      <a:pt x="130563" y="130112"/>
                    </a:cubicBezTo>
                    <a:cubicBezTo>
                      <a:pt x="131801" y="126873"/>
                      <a:pt x="132278" y="123063"/>
                      <a:pt x="133516" y="119825"/>
                    </a:cubicBezTo>
                    <a:cubicBezTo>
                      <a:pt x="134754" y="116300"/>
                      <a:pt x="136754" y="113252"/>
                      <a:pt x="137993" y="110014"/>
                    </a:cubicBezTo>
                    <a:cubicBezTo>
                      <a:pt x="139231" y="106490"/>
                      <a:pt x="139707" y="102775"/>
                      <a:pt x="140945" y="99441"/>
                    </a:cubicBezTo>
                    <a:cubicBezTo>
                      <a:pt x="141041" y="99251"/>
                      <a:pt x="141136" y="99060"/>
                      <a:pt x="141231" y="98870"/>
                    </a:cubicBezTo>
                    <a:lnTo>
                      <a:pt x="177617" y="0"/>
                    </a:lnTo>
                    <a:lnTo>
                      <a:pt x="157995" y="27337"/>
                    </a:lnTo>
                    <a:lnTo>
                      <a:pt x="115799" y="98108"/>
                    </a:lnTo>
                    <a:lnTo>
                      <a:pt x="103322" y="126111"/>
                    </a:lnTo>
                    <a:lnTo>
                      <a:pt x="91892" y="144875"/>
                    </a:lnTo>
                    <a:lnTo>
                      <a:pt x="71318" y="156496"/>
                    </a:lnTo>
                    <a:lnTo>
                      <a:pt x="54173" y="153448"/>
                    </a:lnTo>
                    <a:lnTo>
                      <a:pt x="49315" y="153448"/>
                    </a:lnTo>
                    <a:lnTo>
                      <a:pt x="24359" y="222409"/>
                    </a:lnTo>
                    <a:cubicBezTo>
                      <a:pt x="23883" y="223361"/>
                      <a:pt x="23597" y="224219"/>
                      <a:pt x="23407" y="225076"/>
                    </a:cubicBezTo>
                    <a:close/>
                  </a:path>
                </a:pathLst>
              </a:custGeom>
              <a:solidFill>
                <a:srgbClr val="E1EB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655" name="Freeform: Shape 654">
                <a:extLst>
                  <a:ext uri="{FF2B5EF4-FFF2-40B4-BE49-F238E27FC236}">
                    <a16:creationId xmlns:a16="http://schemas.microsoft.com/office/drawing/2014/main" id="{179F7AFA-1CC0-7124-AFFA-5EE7E6302E24}"/>
                  </a:ext>
                </a:extLst>
              </p:cNvPr>
              <p:cNvSpPr/>
              <p:nvPr/>
            </p:nvSpPr>
            <p:spPr>
              <a:xfrm>
                <a:off x="5316265" y="5226680"/>
                <a:ext cx="49917" cy="142245"/>
              </a:xfrm>
              <a:custGeom>
                <a:avLst/>
                <a:gdLst>
                  <a:gd name="connsiteX0" fmla="*/ 34195 w 34194"/>
                  <a:gd name="connsiteY0" fmla="*/ 96965 h 97440"/>
                  <a:gd name="connsiteX1" fmla="*/ 34195 w 34194"/>
                  <a:gd name="connsiteY1" fmla="*/ 96965 h 97440"/>
                  <a:gd name="connsiteX2" fmla="*/ 33242 w 34194"/>
                  <a:gd name="connsiteY2" fmla="*/ 86201 h 97440"/>
                  <a:gd name="connsiteX3" fmla="*/ 31718 w 34194"/>
                  <a:gd name="connsiteY3" fmla="*/ 75438 h 97440"/>
                  <a:gd name="connsiteX4" fmla="*/ 31432 w 34194"/>
                  <a:gd name="connsiteY4" fmla="*/ 64389 h 97440"/>
                  <a:gd name="connsiteX5" fmla="*/ 29908 w 34194"/>
                  <a:gd name="connsiteY5" fmla="*/ 53626 h 97440"/>
                  <a:gd name="connsiteX6" fmla="*/ 28670 w 34194"/>
                  <a:gd name="connsiteY6" fmla="*/ 42863 h 97440"/>
                  <a:gd name="connsiteX7" fmla="*/ 26956 w 34194"/>
                  <a:gd name="connsiteY7" fmla="*/ 32099 h 97440"/>
                  <a:gd name="connsiteX8" fmla="*/ 25718 w 34194"/>
                  <a:gd name="connsiteY8" fmla="*/ 21336 h 97440"/>
                  <a:gd name="connsiteX9" fmla="*/ 24956 w 34194"/>
                  <a:gd name="connsiteY9" fmla="*/ 10573 h 97440"/>
                  <a:gd name="connsiteX10" fmla="*/ 24194 w 34194"/>
                  <a:gd name="connsiteY10" fmla="*/ 0 h 97440"/>
                  <a:gd name="connsiteX11" fmla="*/ 20955 w 34194"/>
                  <a:gd name="connsiteY11" fmla="*/ 10287 h 97440"/>
                  <a:gd name="connsiteX12" fmla="*/ 18764 w 34194"/>
                  <a:gd name="connsiteY12" fmla="*/ 21336 h 97440"/>
                  <a:gd name="connsiteX13" fmla="*/ 16573 w 34194"/>
                  <a:gd name="connsiteY13" fmla="*/ 32385 h 97440"/>
                  <a:gd name="connsiteX14" fmla="*/ 13145 w 34194"/>
                  <a:gd name="connsiteY14" fmla="*/ 42958 h 97440"/>
                  <a:gd name="connsiteX15" fmla="*/ 11144 w 34194"/>
                  <a:gd name="connsiteY15" fmla="*/ 54007 h 97440"/>
                  <a:gd name="connsiteX16" fmla="*/ 7430 w 34194"/>
                  <a:gd name="connsiteY16" fmla="*/ 64579 h 97440"/>
                  <a:gd name="connsiteX17" fmla="*/ 5715 w 34194"/>
                  <a:gd name="connsiteY17" fmla="*/ 75629 h 97440"/>
                  <a:gd name="connsiteX18" fmla="*/ 2477 w 34194"/>
                  <a:gd name="connsiteY18" fmla="*/ 86392 h 97440"/>
                  <a:gd name="connsiteX19" fmla="*/ 0 w 34194"/>
                  <a:gd name="connsiteY19" fmla="*/ 97441 h 97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194" h="97440">
                    <a:moveTo>
                      <a:pt x="34195" y="96965"/>
                    </a:moveTo>
                    <a:lnTo>
                      <a:pt x="34195" y="96965"/>
                    </a:lnTo>
                    <a:cubicBezTo>
                      <a:pt x="33433" y="91440"/>
                      <a:pt x="33719" y="91440"/>
                      <a:pt x="33242" y="86201"/>
                    </a:cubicBezTo>
                    <a:cubicBezTo>
                      <a:pt x="32766" y="80677"/>
                      <a:pt x="32290" y="80677"/>
                      <a:pt x="31718" y="75438"/>
                    </a:cubicBezTo>
                    <a:cubicBezTo>
                      <a:pt x="31242" y="69913"/>
                      <a:pt x="32004" y="69913"/>
                      <a:pt x="31432" y="64389"/>
                    </a:cubicBezTo>
                    <a:cubicBezTo>
                      <a:pt x="30670" y="59150"/>
                      <a:pt x="30480" y="59150"/>
                      <a:pt x="29908" y="53626"/>
                    </a:cubicBezTo>
                    <a:cubicBezTo>
                      <a:pt x="29432" y="48387"/>
                      <a:pt x="29146" y="48387"/>
                      <a:pt x="28670" y="42863"/>
                    </a:cubicBezTo>
                    <a:cubicBezTo>
                      <a:pt x="28194" y="37624"/>
                      <a:pt x="27432" y="37624"/>
                      <a:pt x="26956" y="32099"/>
                    </a:cubicBezTo>
                    <a:cubicBezTo>
                      <a:pt x="26480" y="26860"/>
                      <a:pt x="26194" y="26860"/>
                      <a:pt x="25718" y="21336"/>
                    </a:cubicBezTo>
                    <a:cubicBezTo>
                      <a:pt x="25241" y="16097"/>
                      <a:pt x="25432" y="16097"/>
                      <a:pt x="24956" y="10573"/>
                    </a:cubicBezTo>
                    <a:cubicBezTo>
                      <a:pt x="24479" y="5048"/>
                      <a:pt x="29623" y="0"/>
                      <a:pt x="24194" y="0"/>
                    </a:cubicBezTo>
                    <a:cubicBezTo>
                      <a:pt x="18764" y="0"/>
                      <a:pt x="22193" y="5048"/>
                      <a:pt x="20955" y="10287"/>
                    </a:cubicBezTo>
                    <a:cubicBezTo>
                      <a:pt x="19431" y="15811"/>
                      <a:pt x="20003" y="15811"/>
                      <a:pt x="18764" y="21336"/>
                    </a:cubicBezTo>
                    <a:cubicBezTo>
                      <a:pt x="17240" y="26575"/>
                      <a:pt x="17812" y="26860"/>
                      <a:pt x="16573" y="32385"/>
                    </a:cubicBezTo>
                    <a:cubicBezTo>
                      <a:pt x="15049" y="37624"/>
                      <a:pt x="14573" y="37433"/>
                      <a:pt x="13145" y="42958"/>
                    </a:cubicBezTo>
                    <a:cubicBezTo>
                      <a:pt x="11906" y="48482"/>
                      <a:pt x="12382" y="48482"/>
                      <a:pt x="11144" y="54007"/>
                    </a:cubicBezTo>
                    <a:cubicBezTo>
                      <a:pt x="9620" y="59246"/>
                      <a:pt x="8954" y="59055"/>
                      <a:pt x="7430" y="64579"/>
                    </a:cubicBezTo>
                    <a:cubicBezTo>
                      <a:pt x="5906" y="70104"/>
                      <a:pt x="7144" y="70390"/>
                      <a:pt x="5715" y="75629"/>
                    </a:cubicBezTo>
                    <a:cubicBezTo>
                      <a:pt x="4477" y="81153"/>
                      <a:pt x="3715" y="80867"/>
                      <a:pt x="2477" y="86392"/>
                    </a:cubicBezTo>
                    <a:cubicBezTo>
                      <a:pt x="953" y="91916"/>
                      <a:pt x="1524" y="91916"/>
                      <a:pt x="0" y="97441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656" name="Freeform: Shape 655">
                <a:extLst>
                  <a:ext uri="{FF2B5EF4-FFF2-40B4-BE49-F238E27FC236}">
                    <a16:creationId xmlns:a16="http://schemas.microsoft.com/office/drawing/2014/main" id="{365B17BD-F722-578A-B78B-0A2E8D4B6BD7}"/>
                  </a:ext>
                </a:extLst>
              </p:cNvPr>
              <p:cNvSpPr/>
              <p:nvPr/>
            </p:nvSpPr>
            <p:spPr>
              <a:xfrm>
                <a:off x="5282893" y="4839849"/>
                <a:ext cx="116939" cy="156421"/>
              </a:xfrm>
              <a:custGeom>
                <a:avLst/>
                <a:gdLst>
                  <a:gd name="connsiteX0" fmla="*/ 80105 w 80105"/>
                  <a:gd name="connsiteY0" fmla="*/ 53721 h 107151"/>
                  <a:gd name="connsiteX1" fmla="*/ 80105 w 80105"/>
                  <a:gd name="connsiteY1" fmla="*/ 53721 h 107151"/>
                  <a:gd name="connsiteX2" fmla="*/ 79153 w 80105"/>
                  <a:gd name="connsiteY2" fmla="*/ 64294 h 107151"/>
                  <a:gd name="connsiteX3" fmla="*/ 76962 w 80105"/>
                  <a:gd name="connsiteY3" fmla="*/ 74867 h 107151"/>
                  <a:gd name="connsiteX4" fmla="*/ 72771 w 80105"/>
                  <a:gd name="connsiteY4" fmla="*/ 84677 h 107151"/>
                  <a:gd name="connsiteX5" fmla="*/ 66866 w 80105"/>
                  <a:gd name="connsiteY5" fmla="*/ 93250 h 107151"/>
                  <a:gd name="connsiteX6" fmla="*/ 59436 w 80105"/>
                  <a:gd name="connsiteY6" fmla="*/ 100774 h 107151"/>
                  <a:gd name="connsiteX7" fmla="*/ 50482 w 80105"/>
                  <a:gd name="connsiteY7" fmla="*/ 106299 h 107151"/>
                  <a:gd name="connsiteX8" fmla="*/ 40100 w 80105"/>
                  <a:gd name="connsiteY8" fmla="*/ 107061 h 107151"/>
                  <a:gd name="connsiteX9" fmla="*/ 30194 w 80105"/>
                  <a:gd name="connsiteY9" fmla="*/ 105061 h 107151"/>
                  <a:gd name="connsiteX10" fmla="*/ 20765 w 80105"/>
                  <a:gd name="connsiteY10" fmla="*/ 100774 h 107151"/>
                  <a:gd name="connsiteX11" fmla="*/ 13811 w 80105"/>
                  <a:gd name="connsiteY11" fmla="*/ 92964 h 107151"/>
                  <a:gd name="connsiteX12" fmla="*/ 8096 w 80105"/>
                  <a:gd name="connsiteY12" fmla="*/ 84201 h 107151"/>
                  <a:gd name="connsiteX13" fmla="*/ 3429 w 80105"/>
                  <a:gd name="connsiteY13" fmla="*/ 74867 h 107151"/>
                  <a:gd name="connsiteX14" fmla="*/ 1715 w 80105"/>
                  <a:gd name="connsiteY14" fmla="*/ 64294 h 107151"/>
                  <a:gd name="connsiteX15" fmla="*/ 0 w 80105"/>
                  <a:gd name="connsiteY15" fmla="*/ 53721 h 107151"/>
                  <a:gd name="connsiteX16" fmla="*/ 1238 w 80105"/>
                  <a:gd name="connsiteY16" fmla="*/ 43148 h 107151"/>
                  <a:gd name="connsiteX17" fmla="*/ 4001 w 80105"/>
                  <a:gd name="connsiteY17" fmla="*/ 32861 h 107151"/>
                  <a:gd name="connsiteX18" fmla="*/ 7715 w 80105"/>
                  <a:gd name="connsiteY18" fmla="*/ 23050 h 107151"/>
                  <a:gd name="connsiteX19" fmla="*/ 13430 w 80105"/>
                  <a:gd name="connsiteY19" fmla="*/ 14002 h 107151"/>
                  <a:gd name="connsiteX20" fmla="*/ 20860 w 80105"/>
                  <a:gd name="connsiteY20" fmla="*/ 6763 h 107151"/>
                  <a:gd name="connsiteX21" fmla="*/ 30004 w 80105"/>
                  <a:gd name="connsiteY21" fmla="*/ 1524 h 107151"/>
                  <a:gd name="connsiteX22" fmla="*/ 40195 w 80105"/>
                  <a:gd name="connsiteY22" fmla="*/ 0 h 107151"/>
                  <a:gd name="connsiteX23" fmla="*/ 50578 w 80105"/>
                  <a:gd name="connsiteY23" fmla="*/ 1238 h 107151"/>
                  <a:gd name="connsiteX24" fmla="*/ 59722 w 80105"/>
                  <a:gd name="connsiteY24" fmla="*/ 6763 h 107151"/>
                  <a:gd name="connsiteX25" fmla="*/ 66866 w 80105"/>
                  <a:gd name="connsiteY25" fmla="*/ 14288 h 107151"/>
                  <a:gd name="connsiteX26" fmla="*/ 72771 w 80105"/>
                  <a:gd name="connsiteY26" fmla="*/ 22860 h 107151"/>
                  <a:gd name="connsiteX27" fmla="*/ 76009 w 80105"/>
                  <a:gd name="connsiteY27" fmla="*/ 33147 h 107151"/>
                  <a:gd name="connsiteX28" fmla="*/ 78486 w 80105"/>
                  <a:gd name="connsiteY28" fmla="*/ 43148 h 107151"/>
                  <a:gd name="connsiteX29" fmla="*/ 80105 w 80105"/>
                  <a:gd name="connsiteY29" fmla="*/ 53721 h 107151"/>
                  <a:gd name="connsiteX30" fmla="*/ 80105 w 80105"/>
                  <a:gd name="connsiteY30" fmla="*/ 53721 h 107151"/>
                  <a:gd name="connsiteX31" fmla="*/ 80105 w 80105"/>
                  <a:gd name="connsiteY31" fmla="*/ 53721 h 107151"/>
                  <a:gd name="connsiteX32" fmla="*/ 80105 w 80105"/>
                  <a:gd name="connsiteY32" fmla="*/ 53721 h 10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0105" h="107151">
                    <a:moveTo>
                      <a:pt x="80105" y="53721"/>
                    </a:moveTo>
                    <a:lnTo>
                      <a:pt x="80105" y="53721"/>
                    </a:lnTo>
                    <a:cubicBezTo>
                      <a:pt x="80105" y="57245"/>
                      <a:pt x="79629" y="60960"/>
                      <a:pt x="79153" y="64294"/>
                    </a:cubicBezTo>
                    <a:cubicBezTo>
                      <a:pt x="78677" y="68104"/>
                      <a:pt x="77915" y="71533"/>
                      <a:pt x="76962" y="74867"/>
                    </a:cubicBezTo>
                    <a:cubicBezTo>
                      <a:pt x="76009" y="78391"/>
                      <a:pt x="74486" y="81629"/>
                      <a:pt x="72771" y="84677"/>
                    </a:cubicBezTo>
                    <a:cubicBezTo>
                      <a:pt x="71247" y="87916"/>
                      <a:pt x="69056" y="90678"/>
                      <a:pt x="66866" y="93250"/>
                    </a:cubicBezTo>
                    <a:cubicBezTo>
                      <a:pt x="64675" y="96298"/>
                      <a:pt x="62198" y="98489"/>
                      <a:pt x="59436" y="100774"/>
                    </a:cubicBezTo>
                    <a:cubicBezTo>
                      <a:pt x="56674" y="102775"/>
                      <a:pt x="53721" y="105061"/>
                      <a:pt x="50482" y="106299"/>
                    </a:cubicBezTo>
                    <a:cubicBezTo>
                      <a:pt x="47244" y="107537"/>
                      <a:pt x="43815" y="107061"/>
                      <a:pt x="40100" y="107061"/>
                    </a:cubicBezTo>
                    <a:cubicBezTo>
                      <a:pt x="36671" y="107061"/>
                      <a:pt x="33433" y="106299"/>
                      <a:pt x="30194" y="105061"/>
                    </a:cubicBezTo>
                    <a:cubicBezTo>
                      <a:pt x="26956" y="104013"/>
                      <a:pt x="23717" y="102775"/>
                      <a:pt x="20765" y="100774"/>
                    </a:cubicBezTo>
                    <a:cubicBezTo>
                      <a:pt x="18288" y="98489"/>
                      <a:pt x="16097" y="96012"/>
                      <a:pt x="13811" y="92964"/>
                    </a:cubicBezTo>
                    <a:cubicBezTo>
                      <a:pt x="11620" y="90488"/>
                      <a:pt x="9620" y="87440"/>
                      <a:pt x="8096" y="84201"/>
                    </a:cubicBezTo>
                    <a:cubicBezTo>
                      <a:pt x="6572" y="81153"/>
                      <a:pt x="4381" y="78391"/>
                      <a:pt x="3429" y="74867"/>
                    </a:cubicBezTo>
                    <a:cubicBezTo>
                      <a:pt x="2191" y="71628"/>
                      <a:pt x="2477" y="67818"/>
                      <a:pt x="1715" y="64294"/>
                    </a:cubicBezTo>
                    <a:cubicBezTo>
                      <a:pt x="1238" y="60769"/>
                      <a:pt x="0" y="57245"/>
                      <a:pt x="0" y="53721"/>
                    </a:cubicBezTo>
                    <a:cubicBezTo>
                      <a:pt x="0" y="50197"/>
                      <a:pt x="762" y="46482"/>
                      <a:pt x="1238" y="43148"/>
                    </a:cubicBezTo>
                    <a:cubicBezTo>
                      <a:pt x="1715" y="39624"/>
                      <a:pt x="2953" y="36100"/>
                      <a:pt x="4001" y="32861"/>
                    </a:cubicBezTo>
                    <a:cubicBezTo>
                      <a:pt x="4953" y="29337"/>
                      <a:pt x="6001" y="26098"/>
                      <a:pt x="7715" y="23050"/>
                    </a:cubicBezTo>
                    <a:cubicBezTo>
                      <a:pt x="9239" y="19812"/>
                      <a:pt x="11144" y="16764"/>
                      <a:pt x="13430" y="14002"/>
                    </a:cubicBezTo>
                    <a:cubicBezTo>
                      <a:pt x="15621" y="11240"/>
                      <a:pt x="18097" y="8763"/>
                      <a:pt x="20860" y="6763"/>
                    </a:cubicBezTo>
                    <a:cubicBezTo>
                      <a:pt x="23813" y="4477"/>
                      <a:pt x="26765" y="2762"/>
                      <a:pt x="30004" y="1524"/>
                    </a:cubicBezTo>
                    <a:cubicBezTo>
                      <a:pt x="33242" y="286"/>
                      <a:pt x="36671" y="0"/>
                      <a:pt x="40195" y="0"/>
                    </a:cubicBezTo>
                    <a:cubicBezTo>
                      <a:pt x="43910" y="0"/>
                      <a:pt x="47339" y="286"/>
                      <a:pt x="50578" y="1238"/>
                    </a:cubicBezTo>
                    <a:cubicBezTo>
                      <a:pt x="53816" y="2476"/>
                      <a:pt x="56769" y="4477"/>
                      <a:pt x="59722" y="6763"/>
                    </a:cubicBezTo>
                    <a:cubicBezTo>
                      <a:pt x="62484" y="8763"/>
                      <a:pt x="64675" y="11525"/>
                      <a:pt x="66866" y="14288"/>
                    </a:cubicBezTo>
                    <a:cubicBezTo>
                      <a:pt x="68866" y="17050"/>
                      <a:pt x="71056" y="19812"/>
                      <a:pt x="72771" y="22860"/>
                    </a:cubicBezTo>
                    <a:cubicBezTo>
                      <a:pt x="74295" y="26098"/>
                      <a:pt x="74771" y="29623"/>
                      <a:pt x="76009" y="33147"/>
                    </a:cubicBezTo>
                    <a:cubicBezTo>
                      <a:pt x="76962" y="36385"/>
                      <a:pt x="78010" y="39719"/>
                      <a:pt x="78486" y="43148"/>
                    </a:cubicBezTo>
                    <a:cubicBezTo>
                      <a:pt x="78867" y="46672"/>
                      <a:pt x="80105" y="50197"/>
                      <a:pt x="80105" y="53721"/>
                    </a:cubicBezTo>
                    <a:lnTo>
                      <a:pt x="80105" y="53721"/>
                    </a:lnTo>
                    <a:lnTo>
                      <a:pt x="80105" y="53721"/>
                    </a:lnTo>
                    <a:lnTo>
                      <a:pt x="80105" y="53721"/>
                    </a:lnTo>
                    <a:close/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657" name="Freeform: Shape 656">
                <a:extLst>
                  <a:ext uri="{FF2B5EF4-FFF2-40B4-BE49-F238E27FC236}">
                    <a16:creationId xmlns:a16="http://schemas.microsoft.com/office/drawing/2014/main" id="{EA504253-0BFB-29CA-6FFC-946A509FDC03}"/>
                  </a:ext>
                </a:extLst>
              </p:cNvPr>
              <p:cNvSpPr/>
              <p:nvPr/>
            </p:nvSpPr>
            <p:spPr>
              <a:xfrm>
                <a:off x="5243718" y="4991272"/>
                <a:ext cx="78956" cy="376958"/>
              </a:xfrm>
              <a:custGeom>
                <a:avLst/>
                <a:gdLst>
                  <a:gd name="connsiteX0" fmla="*/ 32932 w 54086"/>
                  <a:gd name="connsiteY0" fmla="*/ 258223 h 258222"/>
                  <a:gd name="connsiteX1" fmla="*/ 32932 w 54086"/>
                  <a:gd name="connsiteY1" fmla="*/ 258223 h 258222"/>
                  <a:gd name="connsiteX2" fmla="*/ 32932 w 54086"/>
                  <a:gd name="connsiteY2" fmla="*/ 247650 h 258222"/>
                  <a:gd name="connsiteX3" fmla="*/ 34170 w 54086"/>
                  <a:gd name="connsiteY3" fmla="*/ 237363 h 258222"/>
                  <a:gd name="connsiteX4" fmla="*/ 34456 w 54086"/>
                  <a:gd name="connsiteY4" fmla="*/ 226790 h 258222"/>
                  <a:gd name="connsiteX5" fmla="*/ 35980 w 54086"/>
                  <a:gd name="connsiteY5" fmla="*/ 216503 h 258222"/>
                  <a:gd name="connsiteX6" fmla="*/ 37504 w 54086"/>
                  <a:gd name="connsiteY6" fmla="*/ 205931 h 258222"/>
                  <a:gd name="connsiteX7" fmla="*/ 37790 w 54086"/>
                  <a:gd name="connsiteY7" fmla="*/ 195358 h 258222"/>
                  <a:gd name="connsiteX8" fmla="*/ 39028 w 54086"/>
                  <a:gd name="connsiteY8" fmla="*/ 185071 h 258222"/>
                  <a:gd name="connsiteX9" fmla="*/ 39314 w 54086"/>
                  <a:gd name="connsiteY9" fmla="*/ 174498 h 258222"/>
                  <a:gd name="connsiteX10" fmla="*/ 41028 w 54086"/>
                  <a:gd name="connsiteY10" fmla="*/ 164211 h 258222"/>
                  <a:gd name="connsiteX11" fmla="*/ 41981 w 54086"/>
                  <a:gd name="connsiteY11" fmla="*/ 153638 h 258222"/>
                  <a:gd name="connsiteX12" fmla="*/ 42933 w 54086"/>
                  <a:gd name="connsiteY12" fmla="*/ 143065 h 258222"/>
                  <a:gd name="connsiteX13" fmla="*/ 43886 w 54086"/>
                  <a:gd name="connsiteY13" fmla="*/ 132493 h 258222"/>
                  <a:gd name="connsiteX14" fmla="*/ 46076 w 54086"/>
                  <a:gd name="connsiteY14" fmla="*/ 121920 h 258222"/>
                  <a:gd name="connsiteX15" fmla="*/ 46838 w 54086"/>
                  <a:gd name="connsiteY15" fmla="*/ 111347 h 258222"/>
                  <a:gd name="connsiteX16" fmla="*/ 47791 w 54086"/>
                  <a:gd name="connsiteY16" fmla="*/ 100584 h 258222"/>
                  <a:gd name="connsiteX17" fmla="*/ 48267 w 54086"/>
                  <a:gd name="connsiteY17" fmla="*/ 90011 h 258222"/>
                  <a:gd name="connsiteX18" fmla="*/ 50458 w 54086"/>
                  <a:gd name="connsiteY18" fmla="*/ 79439 h 258222"/>
                  <a:gd name="connsiteX19" fmla="*/ 50744 w 54086"/>
                  <a:gd name="connsiteY19" fmla="*/ 68866 h 258222"/>
                  <a:gd name="connsiteX20" fmla="*/ 52934 w 54086"/>
                  <a:gd name="connsiteY20" fmla="*/ 58293 h 258222"/>
                  <a:gd name="connsiteX21" fmla="*/ 53887 w 54086"/>
                  <a:gd name="connsiteY21" fmla="*/ 47530 h 258222"/>
                  <a:gd name="connsiteX22" fmla="*/ 49220 w 54086"/>
                  <a:gd name="connsiteY22" fmla="*/ 57817 h 258222"/>
                  <a:gd name="connsiteX23" fmla="*/ 44267 w 54086"/>
                  <a:gd name="connsiteY23" fmla="*/ 67342 h 258222"/>
                  <a:gd name="connsiteX24" fmla="*/ 38552 w 54086"/>
                  <a:gd name="connsiteY24" fmla="*/ 76676 h 258222"/>
                  <a:gd name="connsiteX25" fmla="*/ 34837 w 54086"/>
                  <a:gd name="connsiteY25" fmla="*/ 87249 h 258222"/>
                  <a:gd name="connsiteX26" fmla="*/ 28931 w 54086"/>
                  <a:gd name="connsiteY26" fmla="*/ 96583 h 258222"/>
                  <a:gd name="connsiteX27" fmla="*/ 25502 w 54086"/>
                  <a:gd name="connsiteY27" fmla="*/ 107156 h 258222"/>
                  <a:gd name="connsiteX28" fmla="*/ 19597 w 54086"/>
                  <a:gd name="connsiteY28" fmla="*/ 116205 h 258222"/>
                  <a:gd name="connsiteX29" fmla="*/ 15406 w 54086"/>
                  <a:gd name="connsiteY29" fmla="*/ 126492 h 258222"/>
                  <a:gd name="connsiteX30" fmla="*/ 10929 w 54086"/>
                  <a:gd name="connsiteY30" fmla="*/ 136493 h 258222"/>
                  <a:gd name="connsiteX31" fmla="*/ 5214 w 54086"/>
                  <a:gd name="connsiteY31" fmla="*/ 145828 h 258222"/>
                  <a:gd name="connsiteX32" fmla="*/ 261 w 54086"/>
                  <a:gd name="connsiteY32" fmla="*/ 155638 h 258222"/>
                  <a:gd name="connsiteX33" fmla="*/ 1785 w 54086"/>
                  <a:gd name="connsiteY33" fmla="*/ 144875 h 258222"/>
                  <a:gd name="connsiteX34" fmla="*/ 5214 w 54086"/>
                  <a:gd name="connsiteY34" fmla="*/ 134588 h 258222"/>
                  <a:gd name="connsiteX35" fmla="*/ 8929 w 54086"/>
                  <a:gd name="connsiteY35" fmla="*/ 124301 h 258222"/>
                  <a:gd name="connsiteX36" fmla="*/ 11882 w 54086"/>
                  <a:gd name="connsiteY36" fmla="*/ 113729 h 258222"/>
                  <a:gd name="connsiteX37" fmla="*/ 14358 w 54086"/>
                  <a:gd name="connsiteY37" fmla="*/ 103156 h 258222"/>
                  <a:gd name="connsiteX38" fmla="*/ 17787 w 54086"/>
                  <a:gd name="connsiteY38" fmla="*/ 92869 h 258222"/>
                  <a:gd name="connsiteX39" fmla="*/ 19978 w 54086"/>
                  <a:gd name="connsiteY39" fmla="*/ 82105 h 258222"/>
                  <a:gd name="connsiteX40" fmla="*/ 23407 w 54086"/>
                  <a:gd name="connsiteY40" fmla="*/ 71533 h 258222"/>
                  <a:gd name="connsiteX41" fmla="*/ 26645 w 54086"/>
                  <a:gd name="connsiteY41" fmla="*/ 61246 h 258222"/>
                  <a:gd name="connsiteX42" fmla="*/ 30360 w 54086"/>
                  <a:gd name="connsiteY42" fmla="*/ 50959 h 258222"/>
                  <a:gd name="connsiteX43" fmla="*/ 33122 w 54086"/>
                  <a:gd name="connsiteY43" fmla="*/ 40386 h 258222"/>
                  <a:gd name="connsiteX44" fmla="*/ 37313 w 54086"/>
                  <a:gd name="connsiteY44" fmla="*/ 30099 h 258222"/>
                  <a:gd name="connsiteX45" fmla="*/ 40266 w 54086"/>
                  <a:gd name="connsiteY45" fmla="*/ 19812 h 258222"/>
                  <a:gd name="connsiteX46" fmla="*/ 44743 w 54086"/>
                  <a:gd name="connsiteY46" fmla="*/ 9811 h 258222"/>
                  <a:gd name="connsiteX47" fmla="*/ 49220 w 54086"/>
                  <a:gd name="connsiteY47" fmla="*/ 0 h 258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4086" h="258222">
                    <a:moveTo>
                      <a:pt x="32932" y="258223"/>
                    </a:moveTo>
                    <a:lnTo>
                      <a:pt x="32932" y="258223"/>
                    </a:lnTo>
                    <a:cubicBezTo>
                      <a:pt x="33408" y="252984"/>
                      <a:pt x="32456" y="252984"/>
                      <a:pt x="32932" y="247650"/>
                    </a:cubicBezTo>
                    <a:cubicBezTo>
                      <a:pt x="33408" y="242411"/>
                      <a:pt x="33694" y="242602"/>
                      <a:pt x="34170" y="237363"/>
                    </a:cubicBezTo>
                    <a:cubicBezTo>
                      <a:pt x="34646" y="232124"/>
                      <a:pt x="33884" y="232124"/>
                      <a:pt x="34456" y="226790"/>
                    </a:cubicBezTo>
                    <a:cubicBezTo>
                      <a:pt x="34932" y="221552"/>
                      <a:pt x="35408" y="221552"/>
                      <a:pt x="35980" y="216503"/>
                    </a:cubicBezTo>
                    <a:cubicBezTo>
                      <a:pt x="36266" y="211265"/>
                      <a:pt x="37218" y="211265"/>
                      <a:pt x="37504" y="205931"/>
                    </a:cubicBezTo>
                    <a:cubicBezTo>
                      <a:pt x="37980" y="200692"/>
                      <a:pt x="37218" y="200692"/>
                      <a:pt x="37790" y="195358"/>
                    </a:cubicBezTo>
                    <a:cubicBezTo>
                      <a:pt x="38266" y="190309"/>
                      <a:pt x="38552" y="190309"/>
                      <a:pt x="39028" y="185071"/>
                    </a:cubicBezTo>
                    <a:cubicBezTo>
                      <a:pt x="39504" y="179832"/>
                      <a:pt x="39028" y="179832"/>
                      <a:pt x="39314" y="174498"/>
                    </a:cubicBezTo>
                    <a:cubicBezTo>
                      <a:pt x="39790" y="169259"/>
                      <a:pt x="40552" y="169450"/>
                      <a:pt x="41028" y="164211"/>
                    </a:cubicBezTo>
                    <a:cubicBezTo>
                      <a:pt x="41504" y="158972"/>
                      <a:pt x="41504" y="158972"/>
                      <a:pt x="41981" y="153638"/>
                    </a:cubicBezTo>
                    <a:cubicBezTo>
                      <a:pt x="42457" y="148400"/>
                      <a:pt x="42457" y="148400"/>
                      <a:pt x="42933" y="143065"/>
                    </a:cubicBezTo>
                    <a:cubicBezTo>
                      <a:pt x="43409" y="137827"/>
                      <a:pt x="43409" y="137827"/>
                      <a:pt x="43886" y="132493"/>
                    </a:cubicBezTo>
                    <a:cubicBezTo>
                      <a:pt x="44648" y="127254"/>
                      <a:pt x="45410" y="127254"/>
                      <a:pt x="46076" y="121920"/>
                    </a:cubicBezTo>
                    <a:cubicBezTo>
                      <a:pt x="46553" y="116681"/>
                      <a:pt x="46362" y="116681"/>
                      <a:pt x="46838" y="111347"/>
                    </a:cubicBezTo>
                    <a:cubicBezTo>
                      <a:pt x="47315" y="105823"/>
                      <a:pt x="47315" y="105823"/>
                      <a:pt x="47791" y="100584"/>
                    </a:cubicBezTo>
                    <a:cubicBezTo>
                      <a:pt x="48553" y="95345"/>
                      <a:pt x="47791" y="95345"/>
                      <a:pt x="48267" y="90011"/>
                    </a:cubicBezTo>
                    <a:cubicBezTo>
                      <a:pt x="49029" y="84772"/>
                      <a:pt x="49982" y="84772"/>
                      <a:pt x="50458" y="79439"/>
                    </a:cubicBezTo>
                    <a:cubicBezTo>
                      <a:pt x="51220" y="74200"/>
                      <a:pt x="49982" y="74200"/>
                      <a:pt x="50744" y="68866"/>
                    </a:cubicBezTo>
                    <a:cubicBezTo>
                      <a:pt x="51220" y="63341"/>
                      <a:pt x="52458" y="63627"/>
                      <a:pt x="52934" y="58293"/>
                    </a:cubicBezTo>
                    <a:cubicBezTo>
                      <a:pt x="53696" y="53054"/>
                      <a:pt x="54458" y="52769"/>
                      <a:pt x="53887" y="47530"/>
                    </a:cubicBezTo>
                    <a:cubicBezTo>
                      <a:pt x="53411" y="42005"/>
                      <a:pt x="52172" y="51530"/>
                      <a:pt x="49220" y="57817"/>
                    </a:cubicBezTo>
                    <a:cubicBezTo>
                      <a:pt x="47981" y="60579"/>
                      <a:pt x="45981" y="63627"/>
                      <a:pt x="44267" y="67342"/>
                    </a:cubicBezTo>
                    <a:cubicBezTo>
                      <a:pt x="42743" y="70390"/>
                      <a:pt x="40266" y="73343"/>
                      <a:pt x="38552" y="76676"/>
                    </a:cubicBezTo>
                    <a:cubicBezTo>
                      <a:pt x="37028" y="79915"/>
                      <a:pt x="36361" y="83725"/>
                      <a:pt x="34837" y="87249"/>
                    </a:cubicBezTo>
                    <a:cubicBezTo>
                      <a:pt x="33122" y="90488"/>
                      <a:pt x="30646" y="93250"/>
                      <a:pt x="28931" y="96583"/>
                    </a:cubicBezTo>
                    <a:cubicBezTo>
                      <a:pt x="27407" y="99822"/>
                      <a:pt x="27217" y="103822"/>
                      <a:pt x="25502" y="107156"/>
                    </a:cubicBezTo>
                    <a:cubicBezTo>
                      <a:pt x="23978" y="110395"/>
                      <a:pt x="21026" y="113157"/>
                      <a:pt x="19597" y="116205"/>
                    </a:cubicBezTo>
                    <a:cubicBezTo>
                      <a:pt x="17882" y="119729"/>
                      <a:pt x="16835" y="123254"/>
                      <a:pt x="15406" y="126492"/>
                    </a:cubicBezTo>
                    <a:cubicBezTo>
                      <a:pt x="13691" y="130016"/>
                      <a:pt x="12453" y="133540"/>
                      <a:pt x="10929" y="136493"/>
                    </a:cubicBezTo>
                    <a:cubicBezTo>
                      <a:pt x="8929" y="140017"/>
                      <a:pt x="6738" y="143065"/>
                      <a:pt x="5214" y="145828"/>
                    </a:cubicBezTo>
                    <a:cubicBezTo>
                      <a:pt x="2452" y="151352"/>
                      <a:pt x="737" y="155162"/>
                      <a:pt x="261" y="155638"/>
                    </a:cubicBezTo>
                    <a:cubicBezTo>
                      <a:pt x="-215" y="156115"/>
                      <a:pt x="-215" y="151829"/>
                      <a:pt x="1785" y="144875"/>
                    </a:cubicBezTo>
                    <a:cubicBezTo>
                      <a:pt x="2547" y="141827"/>
                      <a:pt x="4262" y="138589"/>
                      <a:pt x="5214" y="134588"/>
                    </a:cubicBezTo>
                    <a:cubicBezTo>
                      <a:pt x="6167" y="131350"/>
                      <a:pt x="7691" y="128016"/>
                      <a:pt x="8929" y="124301"/>
                    </a:cubicBezTo>
                    <a:cubicBezTo>
                      <a:pt x="9881" y="121063"/>
                      <a:pt x="10929" y="117538"/>
                      <a:pt x="11882" y="113729"/>
                    </a:cubicBezTo>
                    <a:cubicBezTo>
                      <a:pt x="12834" y="110490"/>
                      <a:pt x="13406" y="106680"/>
                      <a:pt x="14358" y="103156"/>
                    </a:cubicBezTo>
                    <a:cubicBezTo>
                      <a:pt x="15311" y="99631"/>
                      <a:pt x="16835" y="96393"/>
                      <a:pt x="17787" y="92869"/>
                    </a:cubicBezTo>
                    <a:cubicBezTo>
                      <a:pt x="18740" y="89345"/>
                      <a:pt x="18740" y="85630"/>
                      <a:pt x="19978" y="82105"/>
                    </a:cubicBezTo>
                    <a:cubicBezTo>
                      <a:pt x="20930" y="78581"/>
                      <a:pt x="22169" y="75057"/>
                      <a:pt x="23407" y="71533"/>
                    </a:cubicBezTo>
                    <a:cubicBezTo>
                      <a:pt x="24359" y="68008"/>
                      <a:pt x="25598" y="64770"/>
                      <a:pt x="26645" y="61246"/>
                    </a:cubicBezTo>
                    <a:cubicBezTo>
                      <a:pt x="27884" y="57721"/>
                      <a:pt x="29408" y="54483"/>
                      <a:pt x="30360" y="50959"/>
                    </a:cubicBezTo>
                    <a:cubicBezTo>
                      <a:pt x="31598" y="47434"/>
                      <a:pt x="32075" y="43720"/>
                      <a:pt x="33122" y="40386"/>
                    </a:cubicBezTo>
                    <a:cubicBezTo>
                      <a:pt x="34361" y="36576"/>
                      <a:pt x="36075" y="33338"/>
                      <a:pt x="37313" y="30099"/>
                    </a:cubicBezTo>
                    <a:cubicBezTo>
                      <a:pt x="38552" y="26575"/>
                      <a:pt x="39314" y="22860"/>
                      <a:pt x="40266" y="19812"/>
                    </a:cubicBezTo>
                    <a:cubicBezTo>
                      <a:pt x="41790" y="15811"/>
                      <a:pt x="43505" y="12573"/>
                      <a:pt x="44743" y="9811"/>
                    </a:cubicBezTo>
                    <a:cubicBezTo>
                      <a:pt x="46934" y="4000"/>
                      <a:pt x="48172" y="476"/>
                      <a:pt x="49220" y="0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  <p:sp>
            <p:nvSpPr>
              <p:cNvPr id="658" name="Freeform: Shape 657">
                <a:extLst>
                  <a:ext uri="{FF2B5EF4-FFF2-40B4-BE49-F238E27FC236}">
                    <a16:creationId xmlns:a16="http://schemas.microsoft.com/office/drawing/2014/main" id="{05E31A32-D7E2-EFF1-3EAB-AA06DFF5D581}"/>
                  </a:ext>
                </a:extLst>
              </p:cNvPr>
              <p:cNvSpPr/>
              <p:nvPr/>
            </p:nvSpPr>
            <p:spPr>
              <a:xfrm>
                <a:off x="5401224" y="4765398"/>
                <a:ext cx="101665" cy="602555"/>
              </a:xfrm>
              <a:custGeom>
                <a:avLst/>
                <a:gdLst>
                  <a:gd name="connsiteX0" fmla="*/ 7715 w 69642"/>
                  <a:gd name="connsiteY0" fmla="*/ 99672 h 412759"/>
                  <a:gd name="connsiteX1" fmla="*/ 7715 w 69642"/>
                  <a:gd name="connsiteY1" fmla="*/ 99672 h 412759"/>
                  <a:gd name="connsiteX2" fmla="*/ 12954 w 69642"/>
                  <a:gd name="connsiteY2" fmla="*/ 90338 h 412759"/>
                  <a:gd name="connsiteX3" fmla="*/ 18383 w 69642"/>
                  <a:gd name="connsiteY3" fmla="*/ 81289 h 412759"/>
                  <a:gd name="connsiteX4" fmla="*/ 24860 w 69642"/>
                  <a:gd name="connsiteY4" fmla="*/ 72717 h 412759"/>
                  <a:gd name="connsiteX5" fmla="*/ 29051 w 69642"/>
                  <a:gd name="connsiteY5" fmla="*/ 62715 h 412759"/>
                  <a:gd name="connsiteX6" fmla="*/ 34766 w 69642"/>
                  <a:gd name="connsiteY6" fmla="*/ 53952 h 412759"/>
                  <a:gd name="connsiteX7" fmla="*/ 40672 w 69642"/>
                  <a:gd name="connsiteY7" fmla="*/ 44904 h 412759"/>
                  <a:gd name="connsiteX8" fmla="*/ 45910 w 69642"/>
                  <a:gd name="connsiteY8" fmla="*/ 35569 h 412759"/>
                  <a:gd name="connsiteX9" fmla="*/ 51340 w 69642"/>
                  <a:gd name="connsiteY9" fmla="*/ 26235 h 412759"/>
                  <a:gd name="connsiteX10" fmla="*/ 56578 w 69642"/>
                  <a:gd name="connsiteY10" fmla="*/ 17186 h 412759"/>
                  <a:gd name="connsiteX11" fmla="*/ 63246 w 69642"/>
                  <a:gd name="connsiteY11" fmla="*/ 8613 h 412759"/>
                  <a:gd name="connsiteX12" fmla="*/ 69151 w 69642"/>
                  <a:gd name="connsiteY12" fmla="*/ 41 h 412759"/>
                  <a:gd name="connsiteX13" fmla="*/ 66961 w 69642"/>
                  <a:gd name="connsiteY13" fmla="*/ 10042 h 412759"/>
                  <a:gd name="connsiteX14" fmla="*/ 63722 w 69642"/>
                  <a:gd name="connsiteY14" fmla="*/ 20329 h 412759"/>
                  <a:gd name="connsiteX15" fmla="*/ 60484 w 69642"/>
                  <a:gd name="connsiteY15" fmla="*/ 30616 h 412759"/>
                  <a:gd name="connsiteX16" fmla="*/ 57245 w 69642"/>
                  <a:gd name="connsiteY16" fmla="*/ 40903 h 412759"/>
                  <a:gd name="connsiteX17" fmla="*/ 52768 w 69642"/>
                  <a:gd name="connsiteY17" fmla="*/ 50714 h 412759"/>
                  <a:gd name="connsiteX18" fmla="*/ 49530 w 69642"/>
                  <a:gd name="connsiteY18" fmla="*/ 61001 h 412759"/>
                  <a:gd name="connsiteX19" fmla="*/ 45339 w 69642"/>
                  <a:gd name="connsiteY19" fmla="*/ 70812 h 412759"/>
                  <a:gd name="connsiteX20" fmla="*/ 41339 w 69642"/>
                  <a:gd name="connsiteY20" fmla="*/ 80813 h 412759"/>
                  <a:gd name="connsiteX21" fmla="*/ 37338 w 69642"/>
                  <a:gd name="connsiteY21" fmla="*/ 90814 h 412759"/>
                  <a:gd name="connsiteX22" fmla="*/ 32861 w 69642"/>
                  <a:gd name="connsiteY22" fmla="*/ 100625 h 412759"/>
                  <a:gd name="connsiteX23" fmla="*/ 29908 w 69642"/>
                  <a:gd name="connsiteY23" fmla="*/ 111198 h 412759"/>
                  <a:gd name="connsiteX24" fmla="*/ 25432 w 69642"/>
                  <a:gd name="connsiteY24" fmla="*/ 121008 h 412759"/>
                  <a:gd name="connsiteX25" fmla="*/ 22479 w 69642"/>
                  <a:gd name="connsiteY25" fmla="*/ 131295 h 412759"/>
                  <a:gd name="connsiteX26" fmla="*/ 17812 w 69642"/>
                  <a:gd name="connsiteY26" fmla="*/ 141106 h 412759"/>
                  <a:gd name="connsiteX27" fmla="*/ 14383 w 69642"/>
                  <a:gd name="connsiteY27" fmla="*/ 151393 h 412759"/>
                  <a:gd name="connsiteX28" fmla="*/ 10668 w 69642"/>
                  <a:gd name="connsiteY28" fmla="*/ 161394 h 412759"/>
                  <a:gd name="connsiteX29" fmla="*/ 7906 w 69642"/>
                  <a:gd name="connsiteY29" fmla="*/ 171967 h 412759"/>
                  <a:gd name="connsiteX30" fmla="*/ 4191 w 69642"/>
                  <a:gd name="connsiteY30" fmla="*/ 181968 h 412759"/>
                  <a:gd name="connsiteX31" fmla="*/ 2191 w 69642"/>
                  <a:gd name="connsiteY31" fmla="*/ 192541 h 412759"/>
                  <a:gd name="connsiteX32" fmla="*/ 953 w 69642"/>
                  <a:gd name="connsiteY32" fmla="*/ 202828 h 412759"/>
                  <a:gd name="connsiteX33" fmla="*/ 0 w 69642"/>
                  <a:gd name="connsiteY33" fmla="*/ 214163 h 412759"/>
                  <a:gd name="connsiteX34" fmla="*/ 1524 w 69642"/>
                  <a:gd name="connsiteY34" fmla="*/ 224926 h 412759"/>
                  <a:gd name="connsiteX35" fmla="*/ 1524 w 69642"/>
                  <a:gd name="connsiteY35" fmla="*/ 235975 h 412759"/>
                  <a:gd name="connsiteX36" fmla="*/ 1810 w 69642"/>
                  <a:gd name="connsiteY36" fmla="*/ 247024 h 412759"/>
                  <a:gd name="connsiteX37" fmla="*/ 571 w 69642"/>
                  <a:gd name="connsiteY37" fmla="*/ 258073 h 412759"/>
                  <a:gd name="connsiteX38" fmla="*/ 1333 w 69642"/>
                  <a:gd name="connsiteY38" fmla="*/ 269122 h 412759"/>
                  <a:gd name="connsiteX39" fmla="*/ 1333 w 69642"/>
                  <a:gd name="connsiteY39" fmla="*/ 280171 h 412759"/>
                  <a:gd name="connsiteX40" fmla="*/ 1810 w 69642"/>
                  <a:gd name="connsiteY40" fmla="*/ 291220 h 412759"/>
                  <a:gd name="connsiteX41" fmla="*/ 1333 w 69642"/>
                  <a:gd name="connsiteY41" fmla="*/ 302269 h 412759"/>
                  <a:gd name="connsiteX42" fmla="*/ 571 w 69642"/>
                  <a:gd name="connsiteY42" fmla="*/ 313318 h 412759"/>
                  <a:gd name="connsiteX43" fmla="*/ 1524 w 69642"/>
                  <a:gd name="connsiteY43" fmla="*/ 324367 h 412759"/>
                  <a:gd name="connsiteX44" fmla="*/ 1238 w 69642"/>
                  <a:gd name="connsiteY44" fmla="*/ 335416 h 412759"/>
                  <a:gd name="connsiteX45" fmla="*/ 286 w 69642"/>
                  <a:gd name="connsiteY45" fmla="*/ 346465 h 412759"/>
                  <a:gd name="connsiteX46" fmla="*/ 1048 w 69642"/>
                  <a:gd name="connsiteY46" fmla="*/ 357514 h 412759"/>
                  <a:gd name="connsiteX47" fmla="*/ 762 w 69642"/>
                  <a:gd name="connsiteY47" fmla="*/ 368563 h 412759"/>
                  <a:gd name="connsiteX48" fmla="*/ 476 w 69642"/>
                  <a:gd name="connsiteY48" fmla="*/ 379612 h 412759"/>
                  <a:gd name="connsiteX49" fmla="*/ 953 w 69642"/>
                  <a:gd name="connsiteY49" fmla="*/ 390661 h 412759"/>
                  <a:gd name="connsiteX50" fmla="*/ 667 w 69642"/>
                  <a:gd name="connsiteY50" fmla="*/ 401710 h 412759"/>
                  <a:gd name="connsiteX51" fmla="*/ 953 w 69642"/>
                  <a:gd name="connsiteY51" fmla="*/ 412759 h 412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9642" h="412759">
                    <a:moveTo>
                      <a:pt x="7715" y="99672"/>
                    </a:moveTo>
                    <a:lnTo>
                      <a:pt x="7715" y="99672"/>
                    </a:lnTo>
                    <a:cubicBezTo>
                      <a:pt x="9239" y="96624"/>
                      <a:pt x="11144" y="93672"/>
                      <a:pt x="12954" y="90338"/>
                    </a:cubicBezTo>
                    <a:cubicBezTo>
                      <a:pt x="14668" y="87290"/>
                      <a:pt x="16669" y="84337"/>
                      <a:pt x="18383" y="81289"/>
                    </a:cubicBezTo>
                    <a:cubicBezTo>
                      <a:pt x="20098" y="78241"/>
                      <a:pt x="23051" y="75765"/>
                      <a:pt x="24860" y="72717"/>
                    </a:cubicBezTo>
                    <a:cubicBezTo>
                      <a:pt x="26575" y="69478"/>
                      <a:pt x="27337" y="65668"/>
                      <a:pt x="29051" y="62715"/>
                    </a:cubicBezTo>
                    <a:cubicBezTo>
                      <a:pt x="30766" y="59667"/>
                      <a:pt x="33052" y="56905"/>
                      <a:pt x="34766" y="53952"/>
                    </a:cubicBezTo>
                    <a:cubicBezTo>
                      <a:pt x="36766" y="50714"/>
                      <a:pt x="38957" y="47952"/>
                      <a:pt x="40672" y="44904"/>
                    </a:cubicBezTo>
                    <a:cubicBezTo>
                      <a:pt x="42672" y="41856"/>
                      <a:pt x="44101" y="38617"/>
                      <a:pt x="45910" y="35569"/>
                    </a:cubicBezTo>
                    <a:cubicBezTo>
                      <a:pt x="47911" y="32521"/>
                      <a:pt x="49625" y="29283"/>
                      <a:pt x="51340" y="26235"/>
                    </a:cubicBezTo>
                    <a:cubicBezTo>
                      <a:pt x="53340" y="23187"/>
                      <a:pt x="54769" y="19948"/>
                      <a:pt x="56578" y="17186"/>
                    </a:cubicBezTo>
                    <a:cubicBezTo>
                      <a:pt x="58769" y="13662"/>
                      <a:pt x="61531" y="11185"/>
                      <a:pt x="63246" y="8613"/>
                    </a:cubicBezTo>
                    <a:cubicBezTo>
                      <a:pt x="66484" y="3851"/>
                      <a:pt x="68199" y="327"/>
                      <a:pt x="69151" y="41"/>
                    </a:cubicBezTo>
                    <a:cubicBezTo>
                      <a:pt x="70390" y="-435"/>
                      <a:pt x="69151" y="3279"/>
                      <a:pt x="66961" y="10042"/>
                    </a:cubicBezTo>
                    <a:cubicBezTo>
                      <a:pt x="66199" y="13090"/>
                      <a:pt x="65246" y="16614"/>
                      <a:pt x="63722" y="20329"/>
                    </a:cubicBezTo>
                    <a:cubicBezTo>
                      <a:pt x="62770" y="23377"/>
                      <a:pt x="61722" y="26901"/>
                      <a:pt x="60484" y="30616"/>
                    </a:cubicBezTo>
                    <a:cubicBezTo>
                      <a:pt x="59246" y="33855"/>
                      <a:pt x="58483" y="37379"/>
                      <a:pt x="57245" y="40903"/>
                    </a:cubicBezTo>
                    <a:cubicBezTo>
                      <a:pt x="56007" y="44142"/>
                      <a:pt x="54007" y="47190"/>
                      <a:pt x="52768" y="50714"/>
                    </a:cubicBezTo>
                    <a:cubicBezTo>
                      <a:pt x="51530" y="53952"/>
                      <a:pt x="51054" y="57477"/>
                      <a:pt x="49530" y="61001"/>
                    </a:cubicBezTo>
                    <a:cubicBezTo>
                      <a:pt x="48292" y="64239"/>
                      <a:pt x="46768" y="67573"/>
                      <a:pt x="45339" y="70812"/>
                    </a:cubicBezTo>
                    <a:cubicBezTo>
                      <a:pt x="44101" y="74336"/>
                      <a:pt x="42577" y="77574"/>
                      <a:pt x="41339" y="80813"/>
                    </a:cubicBezTo>
                    <a:cubicBezTo>
                      <a:pt x="40100" y="84051"/>
                      <a:pt x="38576" y="87576"/>
                      <a:pt x="37338" y="90814"/>
                    </a:cubicBezTo>
                    <a:cubicBezTo>
                      <a:pt x="36100" y="94053"/>
                      <a:pt x="34100" y="97386"/>
                      <a:pt x="32861" y="100625"/>
                    </a:cubicBezTo>
                    <a:cubicBezTo>
                      <a:pt x="31623" y="103863"/>
                      <a:pt x="31147" y="107673"/>
                      <a:pt x="29908" y="111198"/>
                    </a:cubicBezTo>
                    <a:cubicBezTo>
                      <a:pt x="28670" y="114436"/>
                      <a:pt x="26670" y="117484"/>
                      <a:pt x="25432" y="121008"/>
                    </a:cubicBezTo>
                    <a:cubicBezTo>
                      <a:pt x="24193" y="124247"/>
                      <a:pt x="23717" y="128057"/>
                      <a:pt x="22479" y="131295"/>
                    </a:cubicBezTo>
                    <a:cubicBezTo>
                      <a:pt x="21241" y="134820"/>
                      <a:pt x="19050" y="137868"/>
                      <a:pt x="17812" y="141106"/>
                    </a:cubicBezTo>
                    <a:cubicBezTo>
                      <a:pt x="16573" y="144630"/>
                      <a:pt x="15621" y="148155"/>
                      <a:pt x="14383" y="151393"/>
                    </a:cubicBezTo>
                    <a:cubicBezTo>
                      <a:pt x="13144" y="154917"/>
                      <a:pt x="11906" y="158156"/>
                      <a:pt x="10668" y="161394"/>
                    </a:cubicBezTo>
                    <a:cubicBezTo>
                      <a:pt x="9430" y="164919"/>
                      <a:pt x="9144" y="168633"/>
                      <a:pt x="7906" y="171967"/>
                    </a:cubicBezTo>
                    <a:cubicBezTo>
                      <a:pt x="6667" y="175491"/>
                      <a:pt x="4953" y="178730"/>
                      <a:pt x="4191" y="181968"/>
                    </a:cubicBezTo>
                    <a:cubicBezTo>
                      <a:pt x="2953" y="185778"/>
                      <a:pt x="2953" y="189493"/>
                      <a:pt x="2191" y="192541"/>
                    </a:cubicBezTo>
                    <a:cubicBezTo>
                      <a:pt x="953" y="197589"/>
                      <a:pt x="667" y="200828"/>
                      <a:pt x="953" y="202828"/>
                    </a:cubicBezTo>
                    <a:cubicBezTo>
                      <a:pt x="1238" y="205114"/>
                      <a:pt x="0" y="208829"/>
                      <a:pt x="0" y="214163"/>
                    </a:cubicBezTo>
                    <a:cubicBezTo>
                      <a:pt x="286" y="217211"/>
                      <a:pt x="1524" y="220926"/>
                      <a:pt x="1524" y="224926"/>
                    </a:cubicBezTo>
                    <a:cubicBezTo>
                      <a:pt x="1810" y="228450"/>
                      <a:pt x="1524" y="232165"/>
                      <a:pt x="1524" y="235975"/>
                    </a:cubicBezTo>
                    <a:cubicBezTo>
                      <a:pt x="1524" y="239499"/>
                      <a:pt x="1810" y="243214"/>
                      <a:pt x="1810" y="247024"/>
                    </a:cubicBezTo>
                    <a:cubicBezTo>
                      <a:pt x="1810" y="250834"/>
                      <a:pt x="571" y="254263"/>
                      <a:pt x="571" y="258073"/>
                    </a:cubicBezTo>
                    <a:cubicBezTo>
                      <a:pt x="571" y="261883"/>
                      <a:pt x="1333" y="265312"/>
                      <a:pt x="1333" y="269122"/>
                    </a:cubicBezTo>
                    <a:cubicBezTo>
                      <a:pt x="1333" y="272932"/>
                      <a:pt x="1619" y="276361"/>
                      <a:pt x="1333" y="280171"/>
                    </a:cubicBezTo>
                    <a:cubicBezTo>
                      <a:pt x="1333" y="283981"/>
                      <a:pt x="1810" y="287410"/>
                      <a:pt x="1810" y="291220"/>
                    </a:cubicBezTo>
                    <a:cubicBezTo>
                      <a:pt x="1810" y="295030"/>
                      <a:pt x="1333" y="298459"/>
                      <a:pt x="1333" y="302269"/>
                    </a:cubicBezTo>
                    <a:cubicBezTo>
                      <a:pt x="1333" y="306079"/>
                      <a:pt x="857" y="309794"/>
                      <a:pt x="571" y="313318"/>
                    </a:cubicBezTo>
                    <a:cubicBezTo>
                      <a:pt x="571" y="317128"/>
                      <a:pt x="1524" y="320843"/>
                      <a:pt x="1524" y="324367"/>
                    </a:cubicBezTo>
                    <a:cubicBezTo>
                      <a:pt x="1524" y="328177"/>
                      <a:pt x="1238" y="331892"/>
                      <a:pt x="1238" y="335416"/>
                    </a:cubicBezTo>
                    <a:cubicBezTo>
                      <a:pt x="953" y="339226"/>
                      <a:pt x="286" y="342941"/>
                      <a:pt x="286" y="346465"/>
                    </a:cubicBezTo>
                    <a:cubicBezTo>
                      <a:pt x="286" y="350275"/>
                      <a:pt x="1048" y="353990"/>
                      <a:pt x="1048" y="357514"/>
                    </a:cubicBezTo>
                    <a:cubicBezTo>
                      <a:pt x="1048" y="361324"/>
                      <a:pt x="1048" y="365039"/>
                      <a:pt x="762" y="368563"/>
                    </a:cubicBezTo>
                    <a:cubicBezTo>
                      <a:pt x="762" y="372564"/>
                      <a:pt x="476" y="376088"/>
                      <a:pt x="476" y="379612"/>
                    </a:cubicBezTo>
                    <a:cubicBezTo>
                      <a:pt x="476" y="383613"/>
                      <a:pt x="953" y="387423"/>
                      <a:pt x="953" y="390661"/>
                    </a:cubicBezTo>
                    <a:cubicBezTo>
                      <a:pt x="953" y="394947"/>
                      <a:pt x="667" y="398662"/>
                      <a:pt x="667" y="401710"/>
                    </a:cubicBezTo>
                    <a:cubicBezTo>
                      <a:pt x="667" y="408759"/>
                      <a:pt x="953" y="407235"/>
                      <a:pt x="953" y="412759"/>
                    </a:cubicBezTo>
                  </a:path>
                </a:pathLst>
              </a:custGeom>
              <a:noFill/>
              <a:ln w="215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>
                  <a:latin typeface="Verdana" panose="020B0604030504040204" pitchFamily="34" charset="0"/>
                </a:endParaRPr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62BA5F2-D638-6E70-4CCF-B6DAF77252FD}"/>
              </a:ext>
            </a:extLst>
          </p:cNvPr>
          <p:cNvGrpSpPr/>
          <p:nvPr/>
        </p:nvGrpSpPr>
        <p:grpSpPr>
          <a:xfrm>
            <a:off x="5236374" y="3102796"/>
            <a:ext cx="1719252" cy="1713198"/>
            <a:chOff x="3004491" y="3690053"/>
            <a:chExt cx="2625652" cy="2616409"/>
          </a:xfrm>
        </p:grpSpPr>
        <p:sp>
          <p:nvSpPr>
            <p:cNvPr id="37" name="Graphic 9">
              <a:extLst>
                <a:ext uri="{FF2B5EF4-FFF2-40B4-BE49-F238E27FC236}">
                  <a16:creationId xmlns:a16="http://schemas.microsoft.com/office/drawing/2014/main" id="{B1E1D969-F191-9A0B-28A3-969107BD9C70}"/>
                </a:ext>
              </a:extLst>
            </p:cNvPr>
            <p:cNvSpPr/>
            <p:nvPr/>
          </p:nvSpPr>
          <p:spPr>
            <a:xfrm>
              <a:off x="3004491" y="3690053"/>
              <a:ext cx="2625652" cy="2616409"/>
            </a:xfrm>
            <a:custGeom>
              <a:avLst/>
              <a:gdLst>
                <a:gd name="connsiteX0" fmla="*/ 1045115 w 2090225"/>
                <a:gd name="connsiteY0" fmla="*/ 2082868 h 2082867"/>
                <a:gd name="connsiteX1" fmla="*/ 2090226 w 2090225"/>
                <a:gd name="connsiteY1" fmla="*/ 1041435 h 2082867"/>
                <a:gd name="connsiteX2" fmla="*/ 1045115 w 2090225"/>
                <a:gd name="connsiteY2" fmla="*/ 0 h 2082867"/>
                <a:gd name="connsiteX3" fmla="*/ 0 w 2090225"/>
                <a:gd name="connsiteY3" fmla="*/ 1041435 h 2082867"/>
                <a:gd name="connsiteX4" fmla="*/ 1045115 w 2090225"/>
                <a:gd name="connsiteY4" fmla="*/ 2082868 h 208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0225" h="2082867">
                  <a:moveTo>
                    <a:pt x="1045115" y="2082868"/>
                  </a:moveTo>
                  <a:cubicBezTo>
                    <a:pt x="1622314" y="2082868"/>
                    <a:pt x="2090226" y="1616600"/>
                    <a:pt x="2090226" y="1041435"/>
                  </a:cubicBezTo>
                  <a:cubicBezTo>
                    <a:pt x="2090226" y="466266"/>
                    <a:pt x="1622314" y="0"/>
                    <a:pt x="1045115" y="0"/>
                  </a:cubicBezTo>
                  <a:cubicBezTo>
                    <a:pt x="467913" y="0"/>
                    <a:pt x="0" y="466266"/>
                    <a:pt x="0" y="1041435"/>
                  </a:cubicBezTo>
                  <a:cubicBezTo>
                    <a:pt x="0" y="1616600"/>
                    <a:pt x="467913" y="2082868"/>
                    <a:pt x="1045115" y="2082868"/>
                  </a:cubicBezTo>
                  <a:close/>
                </a:path>
              </a:pathLst>
            </a:custGeom>
            <a:solidFill>
              <a:schemeClr val="bg1">
                <a:alpha val="58000"/>
              </a:schemeClr>
            </a:solidFill>
            <a:ln w="28575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" name="Graphic 9">
              <a:extLst>
                <a:ext uri="{FF2B5EF4-FFF2-40B4-BE49-F238E27FC236}">
                  <a16:creationId xmlns:a16="http://schemas.microsoft.com/office/drawing/2014/main" id="{A65DB564-9002-FAEF-2EAD-FDF7840BED8A}"/>
                </a:ext>
              </a:extLst>
            </p:cNvPr>
            <p:cNvSpPr/>
            <p:nvPr/>
          </p:nvSpPr>
          <p:spPr>
            <a:xfrm>
              <a:off x="3145278" y="3830346"/>
              <a:ext cx="2344078" cy="2335826"/>
            </a:xfrm>
            <a:custGeom>
              <a:avLst/>
              <a:gdLst>
                <a:gd name="connsiteX0" fmla="*/ 1045115 w 2090225"/>
                <a:gd name="connsiteY0" fmla="*/ 2082868 h 2082867"/>
                <a:gd name="connsiteX1" fmla="*/ 2090226 w 2090225"/>
                <a:gd name="connsiteY1" fmla="*/ 1041435 h 2082867"/>
                <a:gd name="connsiteX2" fmla="*/ 1045115 w 2090225"/>
                <a:gd name="connsiteY2" fmla="*/ 0 h 2082867"/>
                <a:gd name="connsiteX3" fmla="*/ 0 w 2090225"/>
                <a:gd name="connsiteY3" fmla="*/ 1041435 h 2082867"/>
                <a:gd name="connsiteX4" fmla="*/ 1045115 w 2090225"/>
                <a:gd name="connsiteY4" fmla="*/ 2082868 h 208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0225" h="2082867">
                  <a:moveTo>
                    <a:pt x="1045115" y="2082868"/>
                  </a:moveTo>
                  <a:cubicBezTo>
                    <a:pt x="1622314" y="2082868"/>
                    <a:pt x="2090226" y="1616600"/>
                    <a:pt x="2090226" y="1041435"/>
                  </a:cubicBezTo>
                  <a:cubicBezTo>
                    <a:pt x="2090226" y="466266"/>
                    <a:pt x="1622314" y="0"/>
                    <a:pt x="1045115" y="0"/>
                  </a:cubicBezTo>
                  <a:cubicBezTo>
                    <a:pt x="467913" y="0"/>
                    <a:pt x="0" y="466266"/>
                    <a:pt x="0" y="1041435"/>
                  </a:cubicBezTo>
                  <a:cubicBezTo>
                    <a:pt x="0" y="1616600"/>
                    <a:pt x="467913" y="2082868"/>
                    <a:pt x="1045115" y="2082868"/>
                  </a:cubicBezTo>
                  <a:close/>
                </a:path>
              </a:pathLst>
            </a:custGeom>
            <a:solidFill>
              <a:schemeClr val="bg1"/>
            </a:solidFill>
            <a:ln w="5213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ctr"/>
              <a:endParaRPr lang="da-DK" sz="3200" b="1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9" name="Group 99">
            <a:extLst>
              <a:ext uri="{FF2B5EF4-FFF2-40B4-BE49-F238E27FC236}">
                <a16:creationId xmlns:a16="http://schemas.microsoft.com/office/drawing/2014/main" id="{D884FDB9-3005-C719-7B78-7230FF8363CA}"/>
              </a:ext>
            </a:extLst>
          </p:cNvPr>
          <p:cNvGrpSpPr/>
          <p:nvPr/>
        </p:nvGrpSpPr>
        <p:grpSpPr>
          <a:xfrm>
            <a:off x="5692129" y="3318236"/>
            <a:ext cx="903388" cy="1285328"/>
            <a:chOff x="1812950" y="1639609"/>
            <a:chExt cx="3101338" cy="4273873"/>
          </a:xfrm>
        </p:grpSpPr>
        <p:grpSp>
          <p:nvGrpSpPr>
            <p:cNvPr id="505" name="Group 91">
              <a:extLst>
                <a:ext uri="{FF2B5EF4-FFF2-40B4-BE49-F238E27FC236}">
                  <a16:creationId xmlns:a16="http://schemas.microsoft.com/office/drawing/2014/main" id="{7E34548B-17F6-41B8-CB54-37F2B832997F}"/>
                </a:ext>
              </a:extLst>
            </p:cNvPr>
            <p:cNvGrpSpPr/>
            <p:nvPr/>
          </p:nvGrpSpPr>
          <p:grpSpPr>
            <a:xfrm>
              <a:off x="1812950" y="1639609"/>
              <a:ext cx="3101338" cy="4273873"/>
              <a:chOff x="3663419" y="1790700"/>
              <a:chExt cx="3453700" cy="4759454"/>
            </a:xfrm>
          </p:grpSpPr>
          <p:sp>
            <p:nvSpPr>
              <p:cNvPr id="71" name="Freeform: Shape 56">
                <a:extLst>
                  <a:ext uri="{FF2B5EF4-FFF2-40B4-BE49-F238E27FC236}">
                    <a16:creationId xmlns:a16="http://schemas.microsoft.com/office/drawing/2014/main" id="{00CF67B9-4562-244B-183C-3B39DA8DF5D0}"/>
                  </a:ext>
                </a:extLst>
              </p:cNvPr>
              <p:cNvSpPr/>
              <p:nvPr/>
            </p:nvSpPr>
            <p:spPr>
              <a:xfrm>
                <a:off x="3778842" y="2056060"/>
                <a:ext cx="1739754" cy="2666451"/>
              </a:xfrm>
              <a:custGeom>
                <a:avLst/>
                <a:gdLst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938414 w 1739754"/>
                  <a:gd name="connsiteY62" fmla="*/ 1799183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112" fmla="*/ 1202733 w 1739754"/>
                  <a:gd name="connsiteY112" fmla="*/ 10864 h 2666451"/>
                  <a:gd name="connsiteX113" fmla="*/ 1202733 w 1739754"/>
                  <a:gd name="connsiteY113" fmla="*/ 10864 h 2666451"/>
                  <a:gd name="connsiteX114" fmla="*/ 1202733 w 1739754"/>
                  <a:gd name="connsiteY114" fmla="*/ 10864 h 2666451"/>
                  <a:gd name="connsiteX115" fmla="*/ 1202733 w 1739754"/>
                  <a:gd name="connsiteY115" fmla="*/ 10864 h 2666451"/>
                  <a:gd name="connsiteX116" fmla="*/ 1202733 w 1739754"/>
                  <a:gd name="connsiteY116" fmla="*/ 10864 h 2666451"/>
                  <a:gd name="connsiteX117" fmla="*/ 1202733 w 1739754"/>
                  <a:gd name="connsiteY117" fmla="*/ 10864 h 2666451"/>
                  <a:gd name="connsiteX118" fmla="*/ 1202733 w 1739754"/>
                  <a:gd name="connsiteY118" fmla="*/ 10864 h 2666451"/>
                  <a:gd name="connsiteX119" fmla="*/ 1202733 w 1739754"/>
                  <a:gd name="connsiteY119" fmla="*/ 10864 h 2666451"/>
                  <a:gd name="connsiteX120" fmla="*/ 1202733 w 1739754"/>
                  <a:gd name="connsiteY120" fmla="*/ 10864 h 2666451"/>
                  <a:gd name="connsiteX121" fmla="*/ 1202733 w 1739754"/>
                  <a:gd name="connsiteY121" fmla="*/ 10864 h 2673102"/>
                  <a:gd name="connsiteX122" fmla="*/ 1202733 w 1739754"/>
                  <a:gd name="connsiteY122" fmla="*/ 10864 h 2673102"/>
                  <a:gd name="connsiteX123" fmla="*/ 1202733 w 1739754"/>
                  <a:gd name="connsiteY123" fmla="*/ 10864 h 2673102"/>
                  <a:gd name="connsiteX124" fmla="*/ 1202733 w 1739754"/>
                  <a:gd name="connsiteY124" fmla="*/ 10864 h 2673102"/>
                  <a:gd name="connsiteX125" fmla="*/ 1202733 w 1739754"/>
                  <a:gd name="connsiteY125" fmla="*/ 10864 h 2673102"/>
                  <a:gd name="connsiteX126" fmla="*/ 1202733 w 1739754"/>
                  <a:gd name="connsiteY126" fmla="*/ 10864 h 2673102"/>
                  <a:gd name="connsiteX127" fmla="*/ 1202733 w 1739754"/>
                  <a:gd name="connsiteY127" fmla="*/ 10864 h 2673102"/>
                  <a:gd name="connsiteX128" fmla="*/ 1202733 w 1739754"/>
                  <a:gd name="connsiteY128" fmla="*/ 10864 h 2673102"/>
                  <a:gd name="connsiteX129" fmla="*/ 1202733 w 1739754"/>
                  <a:gd name="connsiteY129" fmla="*/ 10864 h 2673102"/>
                  <a:gd name="connsiteX130" fmla="*/ 1202733 w 1739754"/>
                  <a:gd name="connsiteY130" fmla="*/ 10864 h 2673102"/>
                  <a:gd name="connsiteX131" fmla="*/ 1202733 w 1739754"/>
                  <a:gd name="connsiteY131" fmla="*/ 10864 h 2673102"/>
                  <a:gd name="connsiteX132" fmla="*/ 1202733 w 1739754"/>
                  <a:gd name="connsiteY132" fmla="*/ 10864 h 2673102"/>
                  <a:gd name="connsiteX133" fmla="*/ 1202733 w 1739754"/>
                  <a:gd name="connsiteY133" fmla="*/ 10864 h 2673102"/>
                  <a:gd name="connsiteX134" fmla="*/ 1202733 w 1739754"/>
                  <a:gd name="connsiteY134" fmla="*/ 10864 h 2673102"/>
                  <a:gd name="connsiteX135" fmla="*/ 1202733 w 1739754"/>
                  <a:gd name="connsiteY135" fmla="*/ 10864 h 2673102"/>
                  <a:gd name="connsiteX136" fmla="*/ 1202733 w 1739754"/>
                  <a:gd name="connsiteY136" fmla="*/ 10864 h 2673102"/>
                  <a:gd name="connsiteX137" fmla="*/ 1202733 w 1739754"/>
                  <a:gd name="connsiteY137" fmla="*/ 10864 h 2673102"/>
                  <a:gd name="connsiteX138" fmla="*/ 1202733 w 1739754"/>
                  <a:gd name="connsiteY138" fmla="*/ 10864 h 2673102"/>
                  <a:gd name="connsiteX139" fmla="*/ 1202733 w 1739754"/>
                  <a:gd name="connsiteY139" fmla="*/ 10864 h 2673102"/>
                  <a:gd name="connsiteX140" fmla="*/ 1202733 w 1739754"/>
                  <a:gd name="connsiteY140" fmla="*/ 10864 h 2673102"/>
                  <a:gd name="connsiteX141" fmla="*/ 1202733 w 1739754"/>
                  <a:gd name="connsiteY141" fmla="*/ 10864 h 2673102"/>
                  <a:gd name="connsiteX142" fmla="*/ 1202733 w 1739754"/>
                  <a:gd name="connsiteY142" fmla="*/ 10864 h 2673102"/>
                  <a:gd name="connsiteX143" fmla="*/ 1202733 w 1739754"/>
                  <a:gd name="connsiteY143" fmla="*/ 10864 h 2673102"/>
                  <a:gd name="connsiteX144" fmla="*/ 1202733 w 1739754"/>
                  <a:gd name="connsiteY144" fmla="*/ 10864 h 2673102"/>
                  <a:gd name="connsiteX145" fmla="*/ 1202733 w 1739754"/>
                  <a:gd name="connsiteY145" fmla="*/ 10864 h 2673102"/>
                  <a:gd name="connsiteX146" fmla="*/ 1202733 w 1739754"/>
                  <a:gd name="connsiteY146" fmla="*/ 10864 h 2673102"/>
                  <a:gd name="connsiteX147" fmla="*/ 1202733 w 1739754"/>
                  <a:gd name="connsiteY147" fmla="*/ 10864 h 2673102"/>
                  <a:gd name="connsiteX148" fmla="*/ 1202733 w 1739754"/>
                  <a:gd name="connsiteY148" fmla="*/ 10864 h 2673102"/>
                  <a:gd name="connsiteX149" fmla="*/ 1202733 w 1739754"/>
                  <a:gd name="connsiteY149" fmla="*/ 10864 h 2673102"/>
                  <a:gd name="connsiteX150" fmla="*/ 1202733 w 1739754"/>
                  <a:gd name="connsiteY150" fmla="*/ 10864 h 2673102"/>
                  <a:gd name="connsiteX151" fmla="*/ 1202733 w 1739754"/>
                  <a:gd name="connsiteY151" fmla="*/ 10864 h 2673102"/>
                  <a:gd name="connsiteX152" fmla="*/ 1202733 w 1739754"/>
                  <a:gd name="connsiteY152" fmla="*/ 10864 h 2673102"/>
                  <a:gd name="connsiteX153" fmla="*/ 1202733 w 1739754"/>
                  <a:gd name="connsiteY153" fmla="*/ 10864 h 2673102"/>
                  <a:gd name="connsiteX154" fmla="*/ 1202733 w 1739754"/>
                  <a:gd name="connsiteY154" fmla="*/ 10864 h 2673102"/>
                  <a:gd name="connsiteX155" fmla="*/ 1202733 w 1739754"/>
                  <a:gd name="connsiteY155" fmla="*/ 10864 h 2673102"/>
                  <a:gd name="connsiteX156" fmla="*/ 1202733 w 1739754"/>
                  <a:gd name="connsiteY156" fmla="*/ 10864 h 2673102"/>
                  <a:gd name="connsiteX157" fmla="*/ 1202733 w 1739754"/>
                  <a:gd name="connsiteY157" fmla="*/ 10864 h 2673102"/>
                  <a:gd name="connsiteX158" fmla="*/ 1202733 w 1739754"/>
                  <a:gd name="connsiteY158" fmla="*/ 10864 h 2673102"/>
                  <a:gd name="connsiteX159" fmla="*/ 1202733 w 1739754"/>
                  <a:gd name="connsiteY159" fmla="*/ 10864 h 2673102"/>
                  <a:gd name="connsiteX160" fmla="*/ 1202733 w 1739754"/>
                  <a:gd name="connsiteY160" fmla="*/ 10864 h 2673102"/>
                  <a:gd name="connsiteX161" fmla="*/ 1202733 w 1739754"/>
                  <a:gd name="connsiteY161" fmla="*/ 10864 h 2673102"/>
                  <a:gd name="connsiteX162" fmla="*/ 1202733 w 1739754"/>
                  <a:gd name="connsiteY162" fmla="*/ 10864 h 2673102"/>
                  <a:gd name="connsiteX163" fmla="*/ 1202733 w 1739754"/>
                  <a:gd name="connsiteY163" fmla="*/ 10864 h 2673102"/>
                  <a:gd name="connsiteX164" fmla="*/ 1202733 w 1739754"/>
                  <a:gd name="connsiteY164" fmla="*/ 10864 h 2673102"/>
                  <a:gd name="connsiteX165" fmla="*/ 1202733 w 1739754"/>
                  <a:gd name="connsiteY165" fmla="*/ 10864 h 2673102"/>
                  <a:gd name="connsiteX166" fmla="*/ 1202733 w 1739754"/>
                  <a:gd name="connsiteY166" fmla="*/ 10864 h 2673102"/>
                  <a:gd name="connsiteX167" fmla="*/ 1202733 w 1739754"/>
                  <a:gd name="connsiteY167" fmla="*/ 10864 h 2673102"/>
                  <a:gd name="connsiteX168" fmla="*/ 1202733 w 1708284"/>
                  <a:gd name="connsiteY168" fmla="*/ 10864 h 2673102"/>
                  <a:gd name="connsiteX169" fmla="*/ 1202733 w 1712321"/>
                  <a:gd name="connsiteY169" fmla="*/ 10864 h 2673102"/>
                  <a:gd name="connsiteX170" fmla="*/ 1202733 w 1712321"/>
                  <a:gd name="connsiteY170" fmla="*/ 10864 h 2673102"/>
                  <a:gd name="connsiteX171" fmla="*/ 1195674 w 1705262"/>
                  <a:gd name="connsiteY171" fmla="*/ 10864 h 2673102"/>
                  <a:gd name="connsiteX172" fmla="*/ 1195494 w 1705082"/>
                  <a:gd name="connsiteY172" fmla="*/ 10864 h 2673102"/>
                  <a:gd name="connsiteX173" fmla="*/ 1195494 w 1705082"/>
                  <a:gd name="connsiteY173" fmla="*/ 10864 h 2673102"/>
                  <a:gd name="connsiteX174" fmla="*/ 1195494 w 1705082"/>
                  <a:gd name="connsiteY174" fmla="*/ 10864 h 2673102"/>
                  <a:gd name="connsiteX175" fmla="*/ 1195494 w 1705082"/>
                  <a:gd name="connsiteY175" fmla="*/ 10864 h 2673102"/>
                  <a:gd name="connsiteX176" fmla="*/ 1195494 w 1705082"/>
                  <a:gd name="connsiteY176" fmla="*/ 10864 h 2673102"/>
                  <a:gd name="connsiteX177" fmla="*/ 1195494 w 1705082"/>
                  <a:gd name="connsiteY177" fmla="*/ 10864 h 2673102"/>
                  <a:gd name="connsiteX178" fmla="*/ 1195494 w 1705082"/>
                  <a:gd name="connsiteY178" fmla="*/ 10864 h 2673102"/>
                  <a:gd name="connsiteX179" fmla="*/ 1195494 w 1705082"/>
                  <a:gd name="connsiteY179" fmla="*/ 10864 h 2673102"/>
                  <a:gd name="connsiteX180" fmla="*/ 1195494 w 1705082"/>
                  <a:gd name="connsiteY180" fmla="*/ 10864 h 2673102"/>
                  <a:gd name="connsiteX181" fmla="*/ 1195494 w 1705082"/>
                  <a:gd name="connsiteY181" fmla="*/ 10864 h 2673102"/>
                  <a:gd name="connsiteX182" fmla="*/ 1195494 w 1705082"/>
                  <a:gd name="connsiteY182" fmla="*/ 10864 h 2673102"/>
                  <a:gd name="connsiteX183" fmla="*/ 1195494 w 1705082"/>
                  <a:gd name="connsiteY183" fmla="*/ 10864 h 2673102"/>
                  <a:gd name="connsiteX184" fmla="*/ 1195494 w 1705082"/>
                  <a:gd name="connsiteY184" fmla="*/ 10864 h 2673102"/>
                  <a:gd name="connsiteX185" fmla="*/ 1195494 w 1705082"/>
                  <a:gd name="connsiteY185" fmla="*/ 10864 h 2673102"/>
                  <a:gd name="connsiteX186" fmla="*/ 1195494 w 1705082"/>
                  <a:gd name="connsiteY186" fmla="*/ 10864 h 2673102"/>
                  <a:gd name="connsiteX187" fmla="*/ 1195494 w 1705082"/>
                  <a:gd name="connsiteY187" fmla="*/ 10864 h 2673102"/>
                  <a:gd name="connsiteX188" fmla="*/ 1195494 w 1705082"/>
                  <a:gd name="connsiteY188" fmla="*/ 10864 h 2673102"/>
                  <a:gd name="connsiteX189" fmla="*/ 1195494 w 1705082"/>
                  <a:gd name="connsiteY189" fmla="*/ 10864 h 2673102"/>
                  <a:gd name="connsiteX190" fmla="*/ 1195494 w 1705082"/>
                  <a:gd name="connsiteY190" fmla="*/ 10864 h 2673102"/>
                  <a:gd name="connsiteX191" fmla="*/ 1195494 w 1705082"/>
                  <a:gd name="connsiteY191" fmla="*/ 10864 h 2673102"/>
                  <a:gd name="connsiteX192" fmla="*/ 1195494 w 1705082"/>
                  <a:gd name="connsiteY192" fmla="*/ 10864 h 2673102"/>
                  <a:gd name="connsiteX193" fmla="*/ 1195494 w 1705082"/>
                  <a:gd name="connsiteY193" fmla="*/ 10864 h 2673102"/>
                  <a:gd name="connsiteX194" fmla="*/ 1195494 w 1705082"/>
                  <a:gd name="connsiteY194" fmla="*/ 10864 h 2673102"/>
                  <a:gd name="connsiteX195" fmla="*/ 1195494 w 1705082"/>
                  <a:gd name="connsiteY195" fmla="*/ 10864 h 2673102"/>
                  <a:gd name="connsiteX196" fmla="*/ 1195494 w 1705082"/>
                  <a:gd name="connsiteY196" fmla="*/ 790 h 2663028"/>
                  <a:gd name="connsiteX197" fmla="*/ 1195494 w 1705082"/>
                  <a:gd name="connsiteY197" fmla="*/ 790 h 2663028"/>
                  <a:gd name="connsiteX198" fmla="*/ 1195494 w 1705082"/>
                  <a:gd name="connsiteY198" fmla="*/ 790 h 2663028"/>
                  <a:gd name="connsiteX199" fmla="*/ 1195494 w 1705082"/>
                  <a:gd name="connsiteY199" fmla="*/ 790 h 2663028"/>
                  <a:gd name="connsiteX200" fmla="*/ 1195494 w 1705082"/>
                  <a:gd name="connsiteY200" fmla="*/ 790 h 2663028"/>
                  <a:gd name="connsiteX201" fmla="*/ 1195494 w 1705082"/>
                  <a:gd name="connsiteY201" fmla="*/ 790 h 2663028"/>
                  <a:gd name="connsiteX202" fmla="*/ 1195494 w 1705082"/>
                  <a:gd name="connsiteY202" fmla="*/ 790 h 2663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1739753" h="2666451">
                    <a:moveTo>
                      <a:pt x="1202733" y="10864"/>
                    </a:moveTo>
                    <a:cubicBezTo>
                      <a:pt x="1209083" y="21183"/>
                      <a:pt x="1204321" y="48170"/>
                      <a:pt x="1197971" y="68014"/>
                    </a:cubicBezTo>
                    <a:cubicBezTo>
                      <a:pt x="1191621" y="87858"/>
                      <a:pt x="1170189" y="106908"/>
                      <a:pt x="1164633" y="129927"/>
                    </a:cubicBezTo>
                    <a:cubicBezTo>
                      <a:pt x="1159077" y="152946"/>
                      <a:pt x="1158283" y="184696"/>
                      <a:pt x="1164633" y="206127"/>
                    </a:cubicBezTo>
                    <a:cubicBezTo>
                      <a:pt x="1170983" y="227558"/>
                      <a:pt x="1189239" y="243433"/>
                      <a:pt x="1202733" y="258514"/>
                    </a:cubicBezTo>
                    <a:cubicBezTo>
                      <a:pt x="1216227" y="273595"/>
                      <a:pt x="1236865" y="287089"/>
                      <a:pt x="1245596" y="296614"/>
                    </a:cubicBezTo>
                    <a:cubicBezTo>
                      <a:pt x="1254327" y="306139"/>
                      <a:pt x="1251946" y="309314"/>
                      <a:pt x="1255121" y="315664"/>
                    </a:cubicBezTo>
                    <a:cubicBezTo>
                      <a:pt x="1253533" y="325189"/>
                      <a:pt x="1251152" y="325983"/>
                      <a:pt x="1250358" y="344239"/>
                    </a:cubicBezTo>
                    <a:cubicBezTo>
                      <a:pt x="1249564" y="362495"/>
                      <a:pt x="1247183" y="405358"/>
                      <a:pt x="1250358" y="425202"/>
                    </a:cubicBezTo>
                    <a:cubicBezTo>
                      <a:pt x="1253533" y="445046"/>
                      <a:pt x="1247977" y="447427"/>
                      <a:pt x="1269408" y="463302"/>
                    </a:cubicBezTo>
                    <a:cubicBezTo>
                      <a:pt x="1290839" y="479177"/>
                      <a:pt x="1355927" y="507752"/>
                      <a:pt x="1378946" y="520452"/>
                    </a:cubicBezTo>
                    <a:cubicBezTo>
                      <a:pt x="1401965" y="533152"/>
                      <a:pt x="1383709" y="528390"/>
                      <a:pt x="1407521" y="539502"/>
                    </a:cubicBezTo>
                    <a:cubicBezTo>
                      <a:pt x="1431334" y="550615"/>
                      <a:pt x="1499596" y="577602"/>
                      <a:pt x="1521821" y="587127"/>
                    </a:cubicBezTo>
                    <a:cubicBezTo>
                      <a:pt x="1547221" y="597446"/>
                      <a:pt x="1545634" y="592683"/>
                      <a:pt x="1559921" y="601414"/>
                    </a:cubicBezTo>
                    <a:cubicBezTo>
                      <a:pt x="1574208" y="610145"/>
                      <a:pt x="1607059" y="639027"/>
                      <a:pt x="1607546" y="639514"/>
                    </a:cubicBezTo>
                    <a:cubicBezTo>
                      <a:pt x="1617895" y="649863"/>
                      <a:pt x="1623421" y="661740"/>
                      <a:pt x="1636121" y="672852"/>
                    </a:cubicBezTo>
                    <a:cubicBezTo>
                      <a:pt x="1648821" y="683964"/>
                      <a:pt x="1671443" y="693489"/>
                      <a:pt x="1683746" y="706189"/>
                    </a:cubicBezTo>
                    <a:cubicBezTo>
                      <a:pt x="1701544" y="732887"/>
                      <a:pt x="1692397" y="731509"/>
                      <a:pt x="1709940" y="749052"/>
                    </a:cubicBezTo>
                    <a:cubicBezTo>
                      <a:pt x="1777409" y="816520"/>
                      <a:pt x="1710337" y="830808"/>
                      <a:pt x="1702796" y="853827"/>
                    </a:cubicBezTo>
                    <a:cubicBezTo>
                      <a:pt x="1695255" y="876846"/>
                      <a:pt x="1682158" y="878433"/>
                      <a:pt x="1664696" y="887164"/>
                    </a:cubicBezTo>
                    <a:cubicBezTo>
                      <a:pt x="1647234" y="895895"/>
                      <a:pt x="1616277" y="899864"/>
                      <a:pt x="1598021" y="906214"/>
                    </a:cubicBezTo>
                    <a:cubicBezTo>
                      <a:pt x="1575796" y="914945"/>
                      <a:pt x="1548015" y="926058"/>
                      <a:pt x="1531346" y="939552"/>
                    </a:cubicBezTo>
                    <a:cubicBezTo>
                      <a:pt x="1507893" y="974731"/>
                      <a:pt x="1519165" y="958969"/>
                      <a:pt x="1498008" y="987177"/>
                    </a:cubicBezTo>
                    <a:cubicBezTo>
                      <a:pt x="1419427" y="1078458"/>
                      <a:pt x="1378945" y="1018927"/>
                      <a:pt x="1345608" y="1030039"/>
                    </a:cubicBezTo>
                    <a:cubicBezTo>
                      <a:pt x="1329733" y="1037977"/>
                      <a:pt x="1313203" y="1044720"/>
                      <a:pt x="1297983" y="1053852"/>
                    </a:cubicBezTo>
                    <a:cubicBezTo>
                      <a:pt x="1274742" y="1067796"/>
                      <a:pt x="1256708" y="1076077"/>
                      <a:pt x="1231308" y="1082427"/>
                    </a:cubicBezTo>
                    <a:cubicBezTo>
                      <a:pt x="1205908" y="1088777"/>
                      <a:pt x="1170983" y="1084014"/>
                      <a:pt x="1145583" y="1091951"/>
                    </a:cubicBezTo>
                    <a:cubicBezTo>
                      <a:pt x="1120183" y="1099888"/>
                      <a:pt x="1108673" y="1124893"/>
                      <a:pt x="1078908" y="1130052"/>
                    </a:cubicBezTo>
                    <a:cubicBezTo>
                      <a:pt x="1049143" y="1135211"/>
                      <a:pt x="1003502" y="1134814"/>
                      <a:pt x="966990" y="1122908"/>
                    </a:cubicBezTo>
                    <a:cubicBezTo>
                      <a:pt x="930478" y="1111002"/>
                      <a:pt x="885630" y="1073298"/>
                      <a:pt x="859833" y="1058614"/>
                    </a:cubicBezTo>
                    <a:cubicBezTo>
                      <a:pt x="834036" y="1043930"/>
                      <a:pt x="827289" y="1043533"/>
                      <a:pt x="812208" y="1034802"/>
                    </a:cubicBezTo>
                    <a:cubicBezTo>
                      <a:pt x="797127" y="1026071"/>
                      <a:pt x="791571" y="1018927"/>
                      <a:pt x="769346" y="1006227"/>
                    </a:cubicBezTo>
                    <a:cubicBezTo>
                      <a:pt x="747121" y="993527"/>
                      <a:pt x="712968" y="976555"/>
                      <a:pt x="678858" y="958602"/>
                    </a:cubicBezTo>
                    <a:cubicBezTo>
                      <a:pt x="667532" y="952641"/>
                      <a:pt x="657609" y="943757"/>
                      <a:pt x="645521" y="939552"/>
                    </a:cubicBezTo>
                    <a:cubicBezTo>
                      <a:pt x="625528" y="932598"/>
                      <a:pt x="555521" y="917435"/>
                      <a:pt x="526458" y="910977"/>
                    </a:cubicBezTo>
                    <a:cubicBezTo>
                      <a:pt x="489152" y="901452"/>
                      <a:pt x="455814" y="884783"/>
                      <a:pt x="421683" y="882402"/>
                    </a:cubicBezTo>
                    <a:cubicBezTo>
                      <a:pt x="388346" y="887164"/>
                      <a:pt x="344690" y="885576"/>
                      <a:pt x="321671" y="896689"/>
                    </a:cubicBezTo>
                    <a:cubicBezTo>
                      <a:pt x="298652" y="907802"/>
                      <a:pt x="293096" y="925265"/>
                      <a:pt x="283571" y="949077"/>
                    </a:cubicBezTo>
                    <a:cubicBezTo>
                      <a:pt x="274046" y="972890"/>
                      <a:pt x="267696" y="1010989"/>
                      <a:pt x="264521" y="1039564"/>
                    </a:cubicBezTo>
                    <a:cubicBezTo>
                      <a:pt x="261346" y="1068139"/>
                      <a:pt x="254202" y="1099890"/>
                      <a:pt x="264521" y="1120527"/>
                    </a:cubicBezTo>
                    <a:cubicBezTo>
                      <a:pt x="274840" y="1141165"/>
                      <a:pt x="316114" y="1142752"/>
                      <a:pt x="326433" y="1163389"/>
                    </a:cubicBezTo>
                    <a:cubicBezTo>
                      <a:pt x="336752" y="1184027"/>
                      <a:pt x="334767" y="1217365"/>
                      <a:pt x="326433" y="1244352"/>
                    </a:cubicBezTo>
                    <a:cubicBezTo>
                      <a:pt x="318099" y="1271339"/>
                      <a:pt x="289127" y="1295152"/>
                      <a:pt x="276427" y="1325314"/>
                    </a:cubicBezTo>
                    <a:cubicBezTo>
                      <a:pt x="263727" y="1355477"/>
                      <a:pt x="249836" y="1400721"/>
                      <a:pt x="250233" y="1425327"/>
                    </a:cubicBezTo>
                    <a:cubicBezTo>
                      <a:pt x="250630" y="1449933"/>
                      <a:pt x="259361" y="1456680"/>
                      <a:pt x="278808" y="1472952"/>
                    </a:cubicBezTo>
                    <a:cubicBezTo>
                      <a:pt x="298255" y="1489224"/>
                      <a:pt x="345484" y="1519783"/>
                      <a:pt x="366915" y="1522958"/>
                    </a:cubicBezTo>
                    <a:cubicBezTo>
                      <a:pt x="389140" y="1522164"/>
                      <a:pt x="360961" y="1492398"/>
                      <a:pt x="369295" y="1480095"/>
                    </a:cubicBezTo>
                    <a:cubicBezTo>
                      <a:pt x="377629" y="1467792"/>
                      <a:pt x="404221" y="1455886"/>
                      <a:pt x="416921" y="1449139"/>
                    </a:cubicBezTo>
                    <a:cubicBezTo>
                      <a:pt x="429621" y="1442392"/>
                      <a:pt x="435971" y="1442789"/>
                      <a:pt x="445496" y="1439614"/>
                    </a:cubicBezTo>
                    <a:cubicBezTo>
                      <a:pt x="478833" y="1445964"/>
                      <a:pt x="513905" y="1446297"/>
                      <a:pt x="545508" y="1458664"/>
                    </a:cubicBezTo>
                    <a:cubicBezTo>
                      <a:pt x="553469" y="1461779"/>
                      <a:pt x="554239" y="1469777"/>
                      <a:pt x="555033" y="1482477"/>
                    </a:cubicBezTo>
                    <a:cubicBezTo>
                      <a:pt x="555827" y="1495177"/>
                      <a:pt x="551065" y="1515020"/>
                      <a:pt x="550271" y="1534864"/>
                    </a:cubicBezTo>
                    <a:cubicBezTo>
                      <a:pt x="549477" y="1554708"/>
                      <a:pt x="546837" y="1585515"/>
                      <a:pt x="550271" y="1601539"/>
                    </a:cubicBezTo>
                    <a:cubicBezTo>
                      <a:pt x="551759" y="1608481"/>
                      <a:pt x="553806" y="1616777"/>
                      <a:pt x="559796" y="1620589"/>
                    </a:cubicBezTo>
                    <a:cubicBezTo>
                      <a:pt x="575242" y="1630419"/>
                      <a:pt x="606754" y="1635696"/>
                      <a:pt x="626471" y="1639639"/>
                    </a:cubicBezTo>
                    <a:cubicBezTo>
                      <a:pt x="632821" y="1623764"/>
                      <a:pt x="630228" y="1584368"/>
                      <a:pt x="645521" y="1592014"/>
                    </a:cubicBezTo>
                    <a:cubicBezTo>
                      <a:pt x="664571" y="1601539"/>
                      <a:pt x="683208" y="1611939"/>
                      <a:pt x="702671" y="1620589"/>
                    </a:cubicBezTo>
                    <a:cubicBezTo>
                      <a:pt x="711846" y="1624667"/>
                      <a:pt x="722373" y="1625416"/>
                      <a:pt x="731246" y="1630114"/>
                    </a:cubicBezTo>
                    <a:cubicBezTo>
                      <a:pt x="749539" y="1639799"/>
                      <a:pt x="764415" y="1655765"/>
                      <a:pt x="783633" y="1663452"/>
                    </a:cubicBezTo>
                    <a:cubicBezTo>
                      <a:pt x="840224" y="1686088"/>
                      <a:pt x="814393" y="1679691"/>
                      <a:pt x="859833" y="1687264"/>
                    </a:cubicBezTo>
                    <a:cubicBezTo>
                      <a:pt x="866183" y="1692027"/>
                      <a:pt x="875082" y="1694584"/>
                      <a:pt x="878883" y="1701552"/>
                    </a:cubicBezTo>
                    <a:cubicBezTo>
                      <a:pt x="885152" y="1713044"/>
                      <a:pt x="878486" y="1723380"/>
                      <a:pt x="888408" y="1739652"/>
                    </a:cubicBezTo>
                    <a:cubicBezTo>
                      <a:pt x="898330" y="1755924"/>
                      <a:pt x="940583" y="1788781"/>
                      <a:pt x="938414" y="1799183"/>
                    </a:cubicBezTo>
                    <a:cubicBezTo>
                      <a:pt x="924670" y="1865106"/>
                      <a:pt x="932065" y="1862683"/>
                      <a:pt x="940796" y="1892052"/>
                    </a:cubicBezTo>
                    <a:cubicBezTo>
                      <a:pt x="949527" y="1921421"/>
                      <a:pt x="984848" y="1944043"/>
                      <a:pt x="990801" y="1975396"/>
                    </a:cubicBezTo>
                    <a:cubicBezTo>
                      <a:pt x="996754" y="2006749"/>
                      <a:pt x="987230" y="2051993"/>
                      <a:pt x="976514" y="2080171"/>
                    </a:cubicBezTo>
                    <a:cubicBezTo>
                      <a:pt x="965799" y="2108349"/>
                      <a:pt x="940398" y="2117874"/>
                      <a:pt x="926508" y="2144464"/>
                    </a:cubicBezTo>
                    <a:cubicBezTo>
                      <a:pt x="912618" y="2171054"/>
                      <a:pt x="897933" y="2215902"/>
                      <a:pt x="893171" y="2239714"/>
                    </a:cubicBezTo>
                    <a:cubicBezTo>
                      <a:pt x="894758" y="2255589"/>
                      <a:pt x="895507" y="2271570"/>
                      <a:pt x="897933" y="2287339"/>
                    </a:cubicBezTo>
                    <a:cubicBezTo>
                      <a:pt x="904013" y="2326860"/>
                      <a:pt x="958961" y="2328651"/>
                      <a:pt x="893171" y="2396877"/>
                    </a:cubicBezTo>
                    <a:cubicBezTo>
                      <a:pt x="867334" y="2423671"/>
                      <a:pt x="752650" y="2477844"/>
                      <a:pt x="688383" y="2449264"/>
                    </a:cubicBezTo>
                    <a:cubicBezTo>
                      <a:pt x="640758" y="2468314"/>
                      <a:pt x="632027" y="2493715"/>
                      <a:pt x="607421" y="2511177"/>
                    </a:cubicBezTo>
                    <a:cubicBezTo>
                      <a:pt x="582815" y="2528639"/>
                      <a:pt x="559002" y="2541339"/>
                      <a:pt x="540746" y="2554039"/>
                    </a:cubicBezTo>
                    <a:cubicBezTo>
                      <a:pt x="522490" y="2566739"/>
                      <a:pt x="531289" y="2576241"/>
                      <a:pt x="497883" y="2587377"/>
                    </a:cubicBezTo>
                    <a:cubicBezTo>
                      <a:pt x="482802" y="2600871"/>
                      <a:pt x="463752" y="2623890"/>
                      <a:pt x="450258" y="2635002"/>
                    </a:cubicBezTo>
                    <a:cubicBezTo>
                      <a:pt x="436764" y="2646115"/>
                      <a:pt x="432002" y="2649290"/>
                      <a:pt x="416921" y="2654052"/>
                    </a:cubicBezTo>
                    <a:cubicBezTo>
                      <a:pt x="401840" y="2658814"/>
                      <a:pt x="379615" y="2672308"/>
                      <a:pt x="359771" y="2663577"/>
                    </a:cubicBezTo>
                    <a:cubicBezTo>
                      <a:pt x="339927" y="2654846"/>
                      <a:pt x="327624" y="2636192"/>
                      <a:pt x="297858" y="2601664"/>
                    </a:cubicBezTo>
                    <a:cubicBezTo>
                      <a:pt x="268092" y="2567136"/>
                      <a:pt x="215308" y="2531814"/>
                      <a:pt x="181177" y="2456408"/>
                    </a:cubicBezTo>
                    <a:cubicBezTo>
                      <a:pt x="179590" y="2448471"/>
                      <a:pt x="157762" y="2432199"/>
                      <a:pt x="150221" y="2415927"/>
                    </a:cubicBezTo>
                    <a:cubicBezTo>
                      <a:pt x="142680" y="2399655"/>
                      <a:pt x="139784" y="2378032"/>
                      <a:pt x="135933" y="2358777"/>
                    </a:cubicBezTo>
                    <a:cubicBezTo>
                      <a:pt x="129779" y="2328002"/>
                      <a:pt x="134791" y="2342204"/>
                      <a:pt x="121646" y="2315914"/>
                    </a:cubicBezTo>
                    <a:cubicBezTo>
                      <a:pt x="113708" y="2287339"/>
                      <a:pt x="95452" y="2221458"/>
                      <a:pt x="88308" y="2187327"/>
                    </a:cubicBezTo>
                    <a:cubicBezTo>
                      <a:pt x="81164" y="2153196"/>
                      <a:pt x="81882" y="2139014"/>
                      <a:pt x="78783" y="2111127"/>
                    </a:cubicBezTo>
                    <a:cubicBezTo>
                      <a:pt x="84776" y="2018230"/>
                      <a:pt x="88308" y="1984920"/>
                      <a:pt x="97833" y="1944439"/>
                    </a:cubicBezTo>
                    <a:cubicBezTo>
                      <a:pt x="107358" y="1903958"/>
                      <a:pt x="130377" y="1888083"/>
                      <a:pt x="135933" y="1868239"/>
                    </a:cubicBezTo>
                    <a:cubicBezTo>
                      <a:pt x="134346" y="1853952"/>
                      <a:pt x="137600" y="1838235"/>
                      <a:pt x="131171" y="1825377"/>
                    </a:cubicBezTo>
                    <a:cubicBezTo>
                      <a:pt x="128244" y="1819523"/>
                      <a:pt x="117567" y="1824245"/>
                      <a:pt x="112121" y="1820614"/>
                    </a:cubicBezTo>
                    <a:cubicBezTo>
                      <a:pt x="107359" y="1817439"/>
                      <a:pt x="105771" y="1811089"/>
                      <a:pt x="102596" y="1806327"/>
                    </a:cubicBezTo>
                    <a:cubicBezTo>
                      <a:pt x="116733" y="1740350"/>
                      <a:pt x="131171" y="1740446"/>
                      <a:pt x="145458" y="1720602"/>
                    </a:cubicBezTo>
                    <a:cubicBezTo>
                      <a:pt x="159745" y="1700758"/>
                      <a:pt x="178796" y="1698377"/>
                      <a:pt x="188321" y="1687264"/>
                    </a:cubicBezTo>
                    <a:cubicBezTo>
                      <a:pt x="197846" y="1676152"/>
                      <a:pt x="199299" y="1663853"/>
                      <a:pt x="202608" y="1653927"/>
                    </a:cubicBezTo>
                    <a:cubicBezTo>
                      <a:pt x="199433" y="1638052"/>
                      <a:pt x="201020" y="1623764"/>
                      <a:pt x="193083" y="1606302"/>
                    </a:cubicBezTo>
                    <a:cubicBezTo>
                      <a:pt x="185146" y="1588840"/>
                      <a:pt x="163714" y="1587252"/>
                      <a:pt x="154983" y="1549152"/>
                    </a:cubicBezTo>
                    <a:cubicBezTo>
                      <a:pt x="146252" y="1511052"/>
                      <a:pt x="146252" y="1417390"/>
                      <a:pt x="140696" y="1377702"/>
                    </a:cubicBezTo>
                    <a:cubicBezTo>
                      <a:pt x="135140" y="1338015"/>
                      <a:pt x="146718" y="1361173"/>
                      <a:pt x="121646" y="1311027"/>
                    </a:cubicBezTo>
                    <a:cubicBezTo>
                      <a:pt x="116090" y="1288802"/>
                      <a:pt x="114502" y="1266577"/>
                      <a:pt x="107358" y="1244352"/>
                    </a:cubicBezTo>
                    <a:cubicBezTo>
                      <a:pt x="100214" y="1222127"/>
                      <a:pt x="86720" y="1195139"/>
                      <a:pt x="78783" y="1177677"/>
                    </a:cubicBezTo>
                    <a:cubicBezTo>
                      <a:pt x="68464" y="1153071"/>
                      <a:pt x="54971" y="1122114"/>
                      <a:pt x="45446" y="1096714"/>
                    </a:cubicBezTo>
                    <a:cubicBezTo>
                      <a:pt x="35921" y="1071314"/>
                      <a:pt x="42051" y="1055902"/>
                      <a:pt x="21633" y="1025277"/>
                    </a:cubicBezTo>
                    <a:cubicBezTo>
                      <a:pt x="18458" y="1014164"/>
                      <a:pt x="1393" y="995908"/>
                      <a:pt x="202" y="980033"/>
                    </a:cubicBezTo>
                    <a:cubicBezTo>
                      <a:pt x="-988" y="964158"/>
                      <a:pt x="2981" y="958205"/>
                      <a:pt x="14490" y="930027"/>
                    </a:cubicBezTo>
                    <a:cubicBezTo>
                      <a:pt x="25999" y="901849"/>
                      <a:pt x="34731" y="865733"/>
                      <a:pt x="69259" y="810964"/>
                    </a:cubicBezTo>
                    <a:cubicBezTo>
                      <a:pt x="103787" y="756195"/>
                      <a:pt x="185146" y="650626"/>
                      <a:pt x="221658" y="601414"/>
                    </a:cubicBezTo>
                    <a:cubicBezTo>
                      <a:pt x="258170" y="552202"/>
                      <a:pt x="256583" y="548232"/>
                      <a:pt x="288333" y="515689"/>
                    </a:cubicBezTo>
                    <a:cubicBezTo>
                      <a:pt x="320083" y="483146"/>
                      <a:pt x="370883" y="443458"/>
                      <a:pt x="412158" y="406152"/>
                    </a:cubicBezTo>
                    <a:cubicBezTo>
                      <a:pt x="453433" y="368846"/>
                      <a:pt x="497883" y="321220"/>
                      <a:pt x="535983" y="291851"/>
                    </a:cubicBezTo>
                    <a:cubicBezTo>
                      <a:pt x="574083" y="262482"/>
                      <a:pt x="607817" y="250576"/>
                      <a:pt x="640758" y="229939"/>
                    </a:cubicBezTo>
                    <a:cubicBezTo>
                      <a:pt x="673699" y="209302"/>
                      <a:pt x="684933" y="207732"/>
                      <a:pt x="733628" y="168026"/>
                    </a:cubicBezTo>
                    <a:cubicBezTo>
                      <a:pt x="785222" y="125957"/>
                      <a:pt x="907856" y="90238"/>
                      <a:pt x="978896" y="63251"/>
                    </a:cubicBezTo>
                    <a:cubicBezTo>
                      <a:pt x="1049937" y="36264"/>
                      <a:pt x="1017790" y="41028"/>
                      <a:pt x="1159871" y="6102"/>
                    </a:cubicBezTo>
                    <a:cubicBezTo>
                      <a:pt x="1182890" y="-5011"/>
                      <a:pt x="1196383" y="545"/>
                      <a:pt x="1202733" y="10864"/>
                    </a:cubicBezTo>
                    <a:close/>
                  </a:path>
                </a:pathLst>
              </a:custGeom>
              <a:solidFill>
                <a:srgbClr val="88BCA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9pPr>
              </a:lstStyle>
              <a:p>
                <a:pPr algn="ctr"/>
                <a:endParaRPr lang="da-DK" sz="1400">
                  <a:latin typeface="Verdana" panose="020B0604030504040204" pitchFamily="34" charset="0"/>
                </a:endParaRPr>
              </a:p>
            </p:txBody>
          </p:sp>
          <p:sp>
            <p:nvSpPr>
              <p:cNvPr id="72" name="Freeform: Shape 57">
                <a:extLst>
                  <a:ext uri="{FF2B5EF4-FFF2-40B4-BE49-F238E27FC236}">
                    <a16:creationId xmlns:a16="http://schemas.microsoft.com/office/drawing/2014/main" id="{2D3CC09B-F8CC-F4C2-7062-52B491ABC4EF}"/>
                  </a:ext>
                </a:extLst>
              </p:cNvPr>
              <p:cNvSpPr/>
              <p:nvPr/>
            </p:nvSpPr>
            <p:spPr>
              <a:xfrm>
                <a:off x="5210175" y="2875261"/>
                <a:ext cx="1596224" cy="2249189"/>
              </a:xfrm>
              <a:custGeom>
                <a:avLst/>
                <a:gdLst>
                  <a:gd name="connsiteX0" fmla="*/ 1408113 w 1596224"/>
                  <a:gd name="connsiteY0" fmla="*/ 1289 h 2249189"/>
                  <a:gd name="connsiteX1" fmla="*/ 1381125 w 1596224"/>
                  <a:gd name="connsiteY1" fmla="*/ 25102 h 2249189"/>
                  <a:gd name="connsiteX2" fmla="*/ 1371600 w 1596224"/>
                  <a:gd name="connsiteY2" fmla="*/ 39389 h 2249189"/>
                  <a:gd name="connsiteX3" fmla="*/ 1347788 w 1596224"/>
                  <a:gd name="connsiteY3" fmla="*/ 58439 h 2249189"/>
                  <a:gd name="connsiteX4" fmla="*/ 1333500 w 1596224"/>
                  <a:gd name="connsiteY4" fmla="*/ 67964 h 2249189"/>
                  <a:gd name="connsiteX5" fmla="*/ 1304925 w 1596224"/>
                  <a:gd name="connsiteY5" fmla="*/ 72727 h 2249189"/>
                  <a:gd name="connsiteX6" fmla="*/ 1281113 w 1596224"/>
                  <a:gd name="connsiteY6" fmla="*/ 82252 h 2249189"/>
                  <a:gd name="connsiteX7" fmla="*/ 1195388 w 1596224"/>
                  <a:gd name="connsiteY7" fmla="*/ 63202 h 2249189"/>
                  <a:gd name="connsiteX8" fmla="*/ 1076325 w 1596224"/>
                  <a:gd name="connsiteY8" fmla="*/ 67964 h 2249189"/>
                  <a:gd name="connsiteX9" fmla="*/ 1052513 w 1596224"/>
                  <a:gd name="connsiteY9" fmla="*/ 96539 h 2249189"/>
                  <a:gd name="connsiteX10" fmla="*/ 1038225 w 1596224"/>
                  <a:gd name="connsiteY10" fmla="*/ 120352 h 2249189"/>
                  <a:gd name="connsiteX11" fmla="*/ 1023938 w 1596224"/>
                  <a:gd name="connsiteY11" fmla="*/ 139402 h 2249189"/>
                  <a:gd name="connsiteX12" fmla="*/ 1019175 w 1596224"/>
                  <a:gd name="connsiteY12" fmla="*/ 153689 h 2249189"/>
                  <a:gd name="connsiteX13" fmla="*/ 981075 w 1596224"/>
                  <a:gd name="connsiteY13" fmla="*/ 148927 h 2249189"/>
                  <a:gd name="connsiteX14" fmla="*/ 966788 w 1596224"/>
                  <a:gd name="connsiteY14" fmla="*/ 144164 h 2249189"/>
                  <a:gd name="connsiteX15" fmla="*/ 919163 w 1596224"/>
                  <a:gd name="connsiteY15" fmla="*/ 172739 h 2249189"/>
                  <a:gd name="connsiteX16" fmla="*/ 900113 w 1596224"/>
                  <a:gd name="connsiteY16" fmla="*/ 187027 h 2249189"/>
                  <a:gd name="connsiteX17" fmla="*/ 881063 w 1596224"/>
                  <a:gd name="connsiteY17" fmla="*/ 215602 h 2249189"/>
                  <a:gd name="connsiteX18" fmla="*/ 876300 w 1596224"/>
                  <a:gd name="connsiteY18" fmla="*/ 229889 h 2249189"/>
                  <a:gd name="connsiteX19" fmla="*/ 857250 w 1596224"/>
                  <a:gd name="connsiteY19" fmla="*/ 248939 h 2249189"/>
                  <a:gd name="connsiteX20" fmla="*/ 809625 w 1596224"/>
                  <a:gd name="connsiteY20" fmla="*/ 296564 h 2249189"/>
                  <a:gd name="connsiteX21" fmla="*/ 795338 w 1596224"/>
                  <a:gd name="connsiteY21" fmla="*/ 310852 h 2249189"/>
                  <a:gd name="connsiteX22" fmla="*/ 752475 w 1596224"/>
                  <a:gd name="connsiteY22" fmla="*/ 334664 h 2249189"/>
                  <a:gd name="connsiteX23" fmla="*/ 685800 w 1596224"/>
                  <a:gd name="connsiteY23" fmla="*/ 372764 h 2249189"/>
                  <a:gd name="connsiteX24" fmla="*/ 628650 w 1596224"/>
                  <a:gd name="connsiteY24" fmla="*/ 391814 h 2249189"/>
                  <a:gd name="connsiteX25" fmla="*/ 619125 w 1596224"/>
                  <a:gd name="connsiteY25" fmla="*/ 410864 h 2249189"/>
                  <a:gd name="connsiteX26" fmla="*/ 623888 w 1596224"/>
                  <a:gd name="connsiteY26" fmla="*/ 434677 h 2249189"/>
                  <a:gd name="connsiteX27" fmla="*/ 647700 w 1596224"/>
                  <a:gd name="connsiteY27" fmla="*/ 468014 h 2249189"/>
                  <a:gd name="connsiteX28" fmla="*/ 661988 w 1596224"/>
                  <a:gd name="connsiteY28" fmla="*/ 477539 h 2249189"/>
                  <a:gd name="connsiteX29" fmla="*/ 695325 w 1596224"/>
                  <a:gd name="connsiteY29" fmla="*/ 472777 h 2249189"/>
                  <a:gd name="connsiteX30" fmla="*/ 742950 w 1596224"/>
                  <a:gd name="connsiteY30" fmla="*/ 468014 h 2249189"/>
                  <a:gd name="connsiteX31" fmla="*/ 762000 w 1596224"/>
                  <a:gd name="connsiteY31" fmla="*/ 453727 h 2249189"/>
                  <a:gd name="connsiteX32" fmla="*/ 766763 w 1596224"/>
                  <a:gd name="connsiteY32" fmla="*/ 439439 h 2249189"/>
                  <a:gd name="connsiteX33" fmla="*/ 781050 w 1596224"/>
                  <a:gd name="connsiteY33" fmla="*/ 434677 h 2249189"/>
                  <a:gd name="connsiteX34" fmla="*/ 847725 w 1596224"/>
                  <a:gd name="connsiteY34" fmla="*/ 477539 h 2249189"/>
                  <a:gd name="connsiteX35" fmla="*/ 862013 w 1596224"/>
                  <a:gd name="connsiteY35" fmla="*/ 487064 h 2249189"/>
                  <a:gd name="connsiteX36" fmla="*/ 933450 w 1596224"/>
                  <a:gd name="connsiteY36" fmla="*/ 496589 h 2249189"/>
                  <a:gd name="connsiteX37" fmla="*/ 966788 w 1596224"/>
                  <a:gd name="connsiteY37" fmla="*/ 491827 h 2249189"/>
                  <a:gd name="connsiteX38" fmla="*/ 981075 w 1596224"/>
                  <a:gd name="connsiteY38" fmla="*/ 482302 h 2249189"/>
                  <a:gd name="connsiteX39" fmla="*/ 1004888 w 1596224"/>
                  <a:gd name="connsiteY39" fmla="*/ 472777 h 2249189"/>
                  <a:gd name="connsiteX40" fmla="*/ 1081088 w 1596224"/>
                  <a:gd name="connsiteY40" fmla="*/ 487064 h 2249189"/>
                  <a:gd name="connsiteX41" fmla="*/ 1100138 w 1596224"/>
                  <a:gd name="connsiteY41" fmla="*/ 506114 h 2249189"/>
                  <a:gd name="connsiteX42" fmla="*/ 1119188 w 1596224"/>
                  <a:gd name="connsiteY42" fmla="*/ 529927 h 2249189"/>
                  <a:gd name="connsiteX43" fmla="*/ 1133475 w 1596224"/>
                  <a:gd name="connsiteY43" fmla="*/ 568027 h 2249189"/>
                  <a:gd name="connsiteX44" fmla="*/ 1147763 w 1596224"/>
                  <a:gd name="connsiteY44" fmla="*/ 596602 h 2249189"/>
                  <a:gd name="connsiteX45" fmla="*/ 1162050 w 1596224"/>
                  <a:gd name="connsiteY45" fmla="*/ 625177 h 2249189"/>
                  <a:gd name="connsiteX46" fmla="*/ 1166813 w 1596224"/>
                  <a:gd name="connsiteY46" fmla="*/ 648989 h 2249189"/>
                  <a:gd name="connsiteX47" fmla="*/ 1176338 w 1596224"/>
                  <a:gd name="connsiteY47" fmla="*/ 729952 h 2249189"/>
                  <a:gd name="connsiteX48" fmla="*/ 1100138 w 1596224"/>
                  <a:gd name="connsiteY48" fmla="*/ 734714 h 2249189"/>
                  <a:gd name="connsiteX49" fmla="*/ 1085850 w 1596224"/>
                  <a:gd name="connsiteY49" fmla="*/ 725189 h 2249189"/>
                  <a:gd name="connsiteX50" fmla="*/ 1052513 w 1596224"/>
                  <a:gd name="connsiteY50" fmla="*/ 687089 h 2249189"/>
                  <a:gd name="connsiteX51" fmla="*/ 966788 w 1596224"/>
                  <a:gd name="connsiteY51" fmla="*/ 691852 h 2249189"/>
                  <a:gd name="connsiteX52" fmla="*/ 866775 w 1596224"/>
                  <a:gd name="connsiteY52" fmla="*/ 677564 h 2249189"/>
                  <a:gd name="connsiteX53" fmla="*/ 766763 w 1596224"/>
                  <a:gd name="connsiteY53" fmla="*/ 682327 h 2249189"/>
                  <a:gd name="connsiteX54" fmla="*/ 704850 w 1596224"/>
                  <a:gd name="connsiteY54" fmla="*/ 691852 h 2249189"/>
                  <a:gd name="connsiteX55" fmla="*/ 661988 w 1596224"/>
                  <a:gd name="connsiteY55" fmla="*/ 696614 h 2249189"/>
                  <a:gd name="connsiteX56" fmla="*/ 619125 w 1596224"/>
                  <a:gd name="connsiteY56" fmla="*/ 677564 h 2249189"/>
                  <a:gd name="connsiteX57" fmla="*/ 585788 w 1596224"/>
                  <a:gd name="connsiteY57" fmla="*/ 648989 h 2249189"/>
                  <a:gd name="connsiteX58" fmla="*/ 481013 w 1596224"/>
                  <a:gd name="connsiteY58" fmla="*/ 672802 h 2249189"/>
                  <a:gd name="connsiteX59" fmla="*/ 442913 w 1596224"/>
                  <a:gd name="connsiteY59" fmla="*/ 701377 h 2249189"/>
                  <a:gd name="connsiteX60" fmla="*/ 428625 w 1596224"/>
                  <a:gd name="connsiteY60" fmla="*/ 710902 h 2249189"/>
                  <a:gd name="connsiteX61" fmla="*/ 395288 w 1596224"/>
                  <a:gd name="connsiteY61" fmla="*/ 734714 h 2249189"/>
                  <a:gd name="connsiteX62" fmla="*/ 357188 w 1596224"/>
                  <a:gd name="connsiteY62" fmla="*/ 777577 h 2249189"/>
                  <a:gd name="connsiteX63" fmla="*/ 328613 w 1596224"/>
                  <a:gd name="connsiteY63" fmla="*/ 801389 h 2249189"/>
                  <a:gd name="connsiteX64" fmla="*/ 309563 w 1596224"/>
                  <a:gd name="connsiteY64" fmla="*/ 820439 h 2249189"/>
                  <a:gd name="connsiteX65" fmla="*/ 290513 w 1596224"/>
                  <a:gd name="connsiteY65" fmla="*/ 829964 h 2249189"/>
                  <a:gd name="connsiteX66" fmla="*/ 247650 w 1596224"/>
                  <a:gd name="connsiteY66" fmla="*/ 863302 h 2249189"/>
                  <a:gd name="connsiteX67" fmla="*/ 223838 w 1596224"/>
                  <a:gd name="connsiteY67" fmla="*/ 882352 h 2249189"/>
                  <a:gd name="connsiteX68" fmla="*/ 200025 w 1596224"/>
                  <a:gd name="connsiteY68" fmla="*/ 910927 h 2249189"/>
                  <a:gd name="connsiteX69" fmla="*/ 166688 w 1596224"/>
                  <a:gd name="connsiteY69" fmla="*/ 958552 h 2249189"/>
                  <a:gd name="connsiteX70" fmla="*/ 133350 w 1596224"/>
                  <a:gd name="connsiteY70" fmla="*/ 991889 h 2249189"/>
                  <a:gd name="connsiteX71" fmla="*/ 114300 w 1596224"/>
                  <a:gd name="connsiteY71" fmla="*/ 1025227 h 2249189"/>
                  <a:gd name="connsiteX72" fmla="*/ 85725 w 1596224"/>
                  <a:gd name="connsiteY72" fmla="*/ 1063327 h 2249189"/>
                  <a:gd name="connsiteX73" fmla="*/ 66675 w 1596224"/>
                  <a:gd name="connsiteY73" fmla="*/ 1082377 h 2249189"/>
                  <a:gd name="connsiteX74" fmla="*/ 57150 w 1596224"/>
                  <a:gd name="connsiteY74" fmla="*/ 1101427 h 2249189"/>
                  <a:gd name="connsiteX75" fmla="*/ 33338 w 1596224"/>
                  <a:gd name="connsiteY75" fmla="*/ 1139527 h 2249189"/>
                  <a:gd name="connsiteX76" fmla="*/ 23813 w 1596224"/>
                  <a:gd name="connsiteY76" fmla="*/ 1163339 h 2249189"/>
                  <a:gd name="connsiteX77" fmla="*/ 14288 w 1596224"/>
                  <a:gd name="connsiteY77" fmla="*/ 1182389 h 2249189"/>
                  <a:gd name="connsiteX78" fmla="*/ 9525 w 1596224"/>
                  <a:gd name="connsiteY78" fmla="*/ 1215727 h 2249189"/>
                  <a:gd name="connsiteX79" fmla="*/ 0 w 1596224"/>
                  <a:gd name="connsiteY79" fmla="*/ 1258589 h 2249189"/>
                  <a:gd name="connsiteX80" fmla="*/ 4763 w 1596224"/>
                  <a:gd name="connsiteY80" fmla="*/ 1320502 h 2249189"/>
                  <a:gd name="connsiteX81" fmla="*/ 33338 w 1596224"/>
                  <a:gd name="connsiteY81" fmla="*/ 1363364 h 2249189"/>
                  <a:gd name="connsiteX82" fmla="*/ 100013 w 1596224"/>
                  <a:gd name="connsiteY82" fmla="*/ 1410989 h 2249189"/>
                  <a:gd name="connsiteX83" fmla="*/ 157163 w 1596224"/>
                  <a:gd name="connsiteY83" fmla="*/ 1425277 h 2249189"/>
                  <a:gd name="connsiteX84" fmla="*/ 338138 w 1596224"/>
                  <a:gd name="connsiteY84" fmla="*/ 1420514 h 2249189"/>
                  <a:gd name="connsiteX85" fmla="*/ 361950 w 1596224"/>
                  <a:gd name="connsiteY85" fmla="*/ 1415752 h 2249189"/>
                  <a:gd name="connsiteX86" fmla="*/ 476250 w 1596224"/>
                  <a:gd name="connsiteY86" fmla="*/ 1425277 h 2249189"/>
                  <a:gd name="connsiteX87" fmla="*/ 495300 w 1596224"/>
                  <a:gd name="connsiteY87" fmla="*/ 1434802 h 2249189"/>
                  <a:gd name="connsiteX88" fmla="*/ 519113 w 1596224"/>
                  <a:gd name="connsiteY88" fmla="*/ 1491952 h 2249189"/>
                  <a:gd name="connsiteX89" fmla="*/ 528638 w 1596224"/>
                  <a:gd name="connsiteY89" fmla="*/ 1506239 h 2249189"/>
                  <a:gd name="connsiteX90" fmla="*/ 523875 w 1596224"/>
                  <a:gd name="connsiteY90" fmla="*/ 1606252 h 2249189"/>
                  <a:gd name="connsiteX91" fmla="*/ 514350 w 1596224"/>
                  <a:gd name="connsiteY91" fmla="*/ 1620539 h 2249189"/>
                  <a:gd name="connsiteX92" fmla="*/ 504825 w 1596224"/>
                  <a:gd name="connsiteY92" fmla="*/ 1653877 h 2249189"/>
                  <a:gd name="connsiteX93" fmla="*/ 533400 w 1596224"/>
                  <a:gd name="connsiteY93" fmla="*/ 1715789 h 2249189"/>
                  <a:gd name="connsiteX94" fmla="*/ 547688 w 1596224"/>
                  <a:gd name="connsiteY94" fmla="*/ 1725314 h 2249189"/>
                  <a:gd name="connsiteX95" fmla="*/ 566738 w 1596224"/>
                  <a:gd name="connsiteY95" fmla="*/ 1763414 h 2249189"/>
                  <a:gd name="connsiteX96" fmla="*/ 581025 w 1596224"/>
                  <a:gd name="connsiteY96" fmla="*/ 1806277 h 2249189"/>
                  <a:gd name="connsiteX97" fmla="*/ 557213 w 1596224"/>
                  <a:gd name="connsiteY97" fmla="*/ 1853902 h 2249189"/>
                  <a:gd name="connsiteX98" fmla="*/ 533400 w 1596224"/>
                  <a:gd name="connsiteY98" fmla="*/ 1858664 h 2249189"/>
                  <a:gd name="connsiteX99" fmla="*/ 490538 w 1596224"/>
                  <a:gd name="connsiteY99" fmla="*/ 1877714 h 2249189"/>
                  <a:gd name="connsiteX100" fmla="*/ 452438 w 1596224"/>
                  <a:gd name="connsiteY100" fmla="*/ 1892002 h 2249189"/>
                  <a:gd name="connsiteX101" fmla="*/ 447675 w 1596224"/>
                  <a:gd name="connsiteY101" fmla="*/ 1925339 h 2249189"/>
                  <a:gd name="connsiteX102" fmla="*/ 438150 w 1596224"/>
                  <a:gd name="connsiteY102" fmla="*/ 1939627 h 2249189"/>
                  <a:gd name="connsiteX103" fmla="*/ 428625 w 1596224"/>
                  <a:gd name="connsiteY103" fmla="*/ 1958677 h 2249189"/>
                  <a:gd name="connsiteX104" fmla="*/ 414338 w 1596224"/>
                  <a:gd name="connsiteY104" fmla="*/ 1977727 h 2249189"/>
                  <a:gd name="connsiteX105" fmla="*/ 404813 w 1596224"/>
                  <a:gd name="connsiteY105" fmla="*/ 1992014 h 2249189"/>
                  <a:gd name="connsiteX106" fmla="*/ 385763 w 1596224"/>
                  <a:gd name="connsiteY106" fmla="*/ 2011064 h 2249189"/>
                  <a:gd name="connsiteX107" fmla="*/ 352425 w 1596224"/>
                  <a:gd name="connsiteY107" fmla="*/ 2053927 h 2249189"/>
                  <a:gd name="connsiteX108" fmla="*/ 314325 w 1596224"/>
                  <a:gd name="connsiteY108" fmla="*/ 2096789 h 2249189"/>
                  <a:gd name="connsiteX109" fmla="*/ 300038 w 1596224"/>
                  <a:gd name="connsiteY109" fmla="*/ 2115839 h 2249189"/>
                  <a:gd name="connsiteX110" fmla="*/ 276225 w 1596224"/>
                  <a:gd name="connsiteY110" fmla="*/ 2130127 h 2249189"/>
                  <a:gd name="connsiteX111" fmla="*/ 261938 w 1596224"/>
                  <a:gd name="connsiteY111" fmla="*/ 2144414 h 2249189"/>
                  <a:gd name="connsiteX112" fmla="*/ 252413 w 1596224"/>
                  <a:gd name="connsiteY112" fmla="*/ 2168227 h 2249189"/>
                  <a:gd name="connsiteX113" fmla="*/ 252413 w 1596224"/>
                  <a:gd name="connsiteY113" fmla="*/ 2234902 h 2249189"/>
                  <a:gd name="connsiteX114" fmla="*/ 280988 w 1596224"/>
                  <a:gd name="connsiteY114" fmla="*/ 2249189 h 2249189"/>
                  <a:gd name="connsiteX115" fmla="*/ 400050 w 1596224"/>
                  <a:gd name="connsiteY115" fmla="*/ 2244427 h 2249189"/>
                  <a:gd name="connsiteX116" fmla="*/ 423863 w 1596224"/>
                  <a:gd name="connsiteY116" fmla="*/ 2230139 h 2249189"/>
                  <a:gd name="connsiteX117" fmla="*/ 471488 w 1596224"/>
                  <a:gd name="connsiteY117" fmla="*/ 2187277 h 2249189"/>
                  <a:gd name="connsiteX118" fmla="*/ 509588 w 1596224"/>
                  <a:gd name="connsiteY118" fmla="*/ 2163464 h 2249189"/>
                  <a:gd name="connsiteX119" fmla="*/ 533400 w 1596224"/>
                  <a:gd name="connsiteY119" fmla="*/ 2144414 h 2249189"/>
                  <a:gd name="connsiteX120" fmla="*/ 581025 w 1596224"/>
                  <a:gd name="connsiteY120" fmla="*/ 2120602 h 2249189"/>
                  <a:gd name="connsiteX121" fmla="*/ 604838 w 1596224"/>
                  <a:gd name="connsiteY121" fmla="*/ 2106314 h 2249189"/>
                  <a:gd name="connsiteX122" fmla="*/ 642938 w 1596224"/>
                  <a:gd name="connsiteY122" fmla="*/ 2082502 h 2249189"/>
                  <a:gd name="connsiteX123" fmla="*/ 666750 w 1596224"/>
                  <a:gd name="connsiteY123" fmla="*/ 2072977 h 2249189"/>
                  <a:gd name="connsiteX124" fmla="*/ 685800 w 1596224"/>
                  <a:gd name="connsiteY124" fmla="*/ 2063452 h 2249189"/>
                  <a:gd name="connsiteX125" fmla="*/ 728663 w 1596224"/>
                  <a:gd name="connsiteY125" fmla="*/ 2049164 h 2249189"/>
                  <a:gd name="connsiteX126" fmla="*/ 747713 w 1596224"/>
                  <a:gd name="connsiteY126" fmla="*/ 2034877 h 2249189"/>
                  <a:gd name="connsiteX127" fmla="*/ 762000 w 1596224"/>
                  <a:gd name="connsiteY127" fmla="*/ 2025352 h 2249189"/>
                  <a:gd name="connsiteX128" fmla="*/ 776288 w 1596224"/>
                  <a:gd name="connsiteY128" fmla="*/ 2011064 h 2249189"/>
                  <a:gd name="connsiteX129" fmla="*/ 790575 w 1596224"/>
                  <a:gd name="connsiteY129" fmla="*/ 2006302 h 2249189"/>
                  <a:gd name="connsiteX130" fmla="*/ 833438 w 1596224"/>
                  <a:gd name="connsiteY130" fmla="*/ 1996777 h 2249189"/>
                  <a:gd name="connsiteX131" fmla="*/ 881063 w 1596224"/>
                  <a:gd name="connsiteY131" fmla="*/ 1972964 h 2249189"/>
                  <a:gd name="connsiteX132" fmla="*/ 904875 w 1596224"/>
                  <a:gd name="connsiteY132" fmla="*/ 1963439 h 2249189"/>
                  <a:gd name="connsiteX133" fmla="*/ 966788 w 1596224"/>
                  <a:gd name="connsiteY133" fmla="*/ 1911052 h 2249189"/>
                  <a:gd name="connsiteX134" fmla="*/ 981075 w 1596224"/>
                  <a:gd name="connsiteY134" fmla="*/ 1887239 h 2249189"/>
                  <a:gd name="connsiteX135" fmla="*/ 995363 w 1596224"/>
                  <a:gd name="connsiteY135" fmla="*/ 1872952 h 2249189"/>
                  <a:gd name="connsiteX136" fmla="*/ 1000125 w 1596224"/>
                  <a:gd name="connsiteY136" fmla="*/ 1858664 h 2249189"/>
                  <a:gd name="connsiteX137" fmla="*/ 1033463 w 1596224"/>
                  <a:gd name="connsiteY137" fmla="*/ 1834852 h 2249189"/>
                  <a:gd name="connsiteX138" fmla="*/ 1095375 w 1596224"/>
                  <a:gd name="connsiteY138" fmla="*/ 1801514 h 2249189"/>
                  <a:gd name="connsiteX139" fmla="*/ 1114425 w 1596224"/>
                  <a:gd name="connsiteY139" fmla="*/ 1791989 h 2249189"/>
                  <a:gd name="connsiteX140" fmla="*/ 1204913 w 1596224"/>
                  <a:gd name="connsiteY140" fmla="*/ 1790402 h 2249189"/>
                  <a:gd name="connsiteX141" fmla="*/ 1254125 w 1596224"/>
                  <a:gd name="connsiteY141" fmla="*/ 1731664 h 2249189"/>
                  <a:gd name="connsiteX142" fmla="*/ 1352550 w 1596224"/>
                  <a:gd name="connsiteY142" fmla="*/ 1596727 h 2249189"/>
                  <a:gd name="connsiteX143" fmla="*/ 1433513 w 1596224"/>
                  <a:gd name="connsiteY143" fmla="*/ 1434802 h 2249189"/>
                  <a:gd name="connsiteX144" fmla="*/ 1471613 w 1596224"/>
                  <a:gd name="connsiteY144" fmla="*/ 1334789 h 2249189"/>
                  <a:gd name="connsiteX145" fmla="*/ 1490663 w 1596224"/>
                  <a:gd name="connsiteY145" fmla="*/ 1282402 h 2249189"/>
                  <a:gd name="connsiteX146" fmla="*/ 1514475 w 1596224"/>
                  <a:gd name="connsiteY146" fmla="*/ 1210964 h 2249189"/>
                  <a:gd name="connsiteX147" fmla="*/ 1528763 w 1596224"/>
                  <a:gd name="connsiteY147" fmla="*/ 1149052 h 2249189"/>
                  <a:gd name="connsiteX148" fmla="*/ 1566863 w 1596224"/>
                  <a:gd name="connsiteY148" fmla="*/ 987127 h 2249189"/>
                  <a:gd name="connsiteX149" fmla="*/ 1590675 w 1596224"/>
                  <a:gd name="connsiteY149" fmla="*/ 868064 h 2249189"/>
                  <a:gd name="connsiteX150" fmla="*/ 1590675 w 1596224"/>
                  <a:gd name="connsiteY150" fmla="*/ 596602 h 2249189"/>
                  <a:gd name="connsiteX151" fmla="*/ 1581150 w 1596224"/>
                  <a:gd name="connsiteY151" fmla="*/ 525164 h 2249189"/>
                  <a:gd name="connsiteX152" fmla="*/ 1576388 w 1596224"/>
                  <a:gd name="connsiteY152" fmla="*/ 510877 h 2249189"/>
                  <a:gd name="connsiteX153" fmla="*/ 1408113 w 1596224"/>
                  <a:gd name="connsiteY153" fmla="*/ 1289 h 2249189"/>
                  <a:gd name="connsiteX154" fmla="*/ 1395413 w 1602771"/>
                  <a:gd name="connsiteY154" fmla="*/ 1352 h 2249252"/>
                  <a:gd name="connsiteX155" fmla="*/ 1395413 w 1602771"/>
                  <a:gd name="connsiteY155" fmla="*/ 1352 h 2249252"/>
                  <a:gd name="connsiteX156" fmla="*/ 1395413 w 1602771"/>
                  <a:gd name="connsiteY156" fmla="*/ 1352 h 2249252"/>
                  <a:gd name="connsiteX157" fmla="*/ 1395413 w 1602771"/>
                  <a:gd name="connsiteY157" fmla="*/ 1352 h 2249252"/>
                  <a:gd name="connsiteX158" fmla="*/ 1395413 w 1602771"/>
                  <a:gd name="connsiteY158" fmla="*/ 1352 h 2249252"/>
                  <a:gd name="connsiteX159" fmla="*/ 1395413 w 1602771"/>
                  <a:gd name="connsiteY159" fmla="*/ 1352 h 2249252"/>
                  <a:gd name="connsiteX160" fmla="*/ 1395413 w 1602771"/>
                  <a:gd name="connsiteY160" fmla="*/ 1352 h 2249252"/>
                  <a:gd name="connsiteX161" fmla="*/ 1395413 w 1602771"/>
                  <a:gd name="connsiteY161" fmla="*/ 1352 h 2249252"/>
                  <a:gd name="connsiteX162" fmla="*/ 1395413 w 1602771"/>
                  <a:gd name="connsiteY162" fmla="*/ 1352 h 2249252"/>
                  <a:gd name="connsiteX163" fmla="*/ 1395413 w 1602771"/>
                  <a:gd name="connsiteY163" fmla="*/ 1352 h 2249252"/>
                  <a:gd name="connsiteX164" fmla="*/ 1395413 w 1602771"/>
                  <a:gd name="connsiteY164" fmla="*/ 1352 h 2249252"/>
                  <a:gd name="connsiteX165" fmla="*/ 1395413 w 1602771"/>
                  <a:gd name="connsiteY165" fmla="*/ 1352 h 2249252"/>
                  <a:gd name="connsiteX166" fmla="*/ 1395413 w 1602771"/>
                  <a:gd name="connsiteY166" fmla="*/ 1352 h 2249252"/>
                  <a:gd name="connsiteX167" fmla="*/ 1395413 w 1602771"/>
                  <a:gd name="connsiteY167" fmla="*/ 1352 h 2249252"/>
                  <a:gd name="connsiteX168" fmla="*/ 1395413 w 1602771"/>
                  <a:gd name="connsiteY168" fmla="*/ 1352 h 2249252"/>
                  <a:gd name="connsiteX169" fmla="*/ 1395413 w 1602771"/>
                  <a:gd name="connsiteY169" fmla="*/ 1352 h 2249252"/>
                  <a:gd name="connsiteX170" fmla="*/ 1395413 w 1602771"/>
                  <a:gd name="connsiteY170" fmla="*/ 1352 h 2249252"/>
                  <a:gd name="connsiteX171" fmla="*/ 1395413 w 1602771"/>
                  <a:gd name="connsiteY171" fmla="*/ 1352 h 2249252"/>
                  <a:gd name="connsiteX172" fmla="*/ 1395413 w 1602771"/>
                  <a:gd name="connsiteY172" fmla="*/ 1352 h 2249252"/>
                  <a:gd name="connsiteX173" fmla="*/ 1395413 w 1602771"/>
                  <a:gd name="connsiteY173" fmla="*/ 1352 h 2249252"/>
                  <a:gd name="connsiteX174" fmla="*/ 1395413 w 1602771"/>
                  <a:gd name="connsiteY174" fmla="*/ 1352 h 2249252"/>
                  <a:gd name="connsiteX175" fmla="*/ 1395413 w 1602771"/>
                  <a:gd name="connsiteY175" fmla="*/ 1352 h 2249252"/>
                  <a:gd name="connsiteX176" fmla="*/ 1395413 w 1602771"/>
                  <a:gd name="connsiteY176" fmla="*/ 1352 h 2249252"/>
                  <a:gd name="connsiteX177" fmla="*/ 1395413 w 1602771"/>
                  <a:gd name="connsiteY177" fmla="*/ 1352 h 2249252"/>
                  <a:gd name="connsiteX178" fmla="*/ 1395413 w 1602771"/>
                  <a:gd name="connsiteY178" fmla="*/ 1352 h 2249252"/>
                  <a:gd name="connsiteX179" fmla="*/ 1395413 w 1602771"/>
                  <a:gd name="connsiteY179" fmla="*/ 1352 h 2249252"/>
                  <a:gd name="connsiteX180" fmla="*/ 1395413 w 1602771"/>
                  <a:gd name="connsiteY180" fmla="*/ 1352 h 2249252"/>
                  <a:gd name="connsiteX181" fmla="*/ 1395413 w 1602771"/>
                  <a:gd name="connsiteY181" fmla="*/ 1352 h 2249252"/>
                  <a:gd name="connsiteX182" fmla="*/ 1395413 w 1602771"/>
                  <a:gd name="connsiteY182" fmla="*/ 1352 h 2249252"/>
                  <a:gd name="connsiteX183" fmla="*/ 1395413 w 1602771"/>
                  <a:gd name="connsiteY183" fmla="*/ 1352 h 2249252"/>
                  <a:gd name="connsiteX184" fmla="*/ 1395413 w 1602771"/>
                  <a:gd name="connsiteY184" fmla="*/ 1352 h 2249252"/>
                  <a:gd name="connsiteX185" fmla="*/ 1395413 w 1602771"/>
                  <a:gd name="connsiteY185" fmla="*/ 1352 h 2249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596224" h="2249189">
                    <a:moveTo>
                      <a:pt x="1408113" y="1289"/>
                    </a:moveTo>
                    <a:cubicBezTo>
                      <a:pt x="1401763" y="-5855"/>
                      <a:pt x="1387211" y="18752"/>
                      <a:pt x="1381125" y="25102"/>
                    </a:cubicBezTo>
                    <a:cubicBezTo>
                      <a:pt x="1375040" y="31452"/>
                      <a:pt x="1375647" y="35342"/>
                      <a:pt x="1371600" y="39389"/>
                    </a:cubicBezTo>
                    <a:cubicBezTo>
                      <a:pt x="1364412" y="46577"/>
                      <a:pt x="1355920" y="52340"/>
                      <a:pt x="1347788" y="58439"/>
                    </a:cubicBezTo>
                    <a:cubicBezTo>
                      <a:pt x="1343209" y="61873"/>
                      <a:pt x="1338930" y="66154"/>
                      <a:pt x="1333500" y="67964"/>
                    </a:cubicBezTo>
                    <a:cubicBezTo>
                      <a:pt x="1324339" y="71018"/>
                      <a:pt x="1314450" y="71139"/>
                      <a:pt x="1304925" y="72727"/>
                    </a:cubicBezTo>
                    <a:cubicBezTo>
                      <a:pt x="1296988" y="75902"/>
                      <a:pt x="1289632" y="81542"/>
                      <a:pt x="1281113" y="82252"/>
                    </a:cubicBezTo>
                    <a:cubicBezTo>
                      <a:pt x="1262420" y="83810"/>
                      <a:pt x="1206100" y="66123"/>
                      <a:pt x="1195388" y="63202"/>
                    </a:cubicBezTo>
                    <a:cubicBezTo>
                      <a:pt x="1155700" y="64789"/>
                      <a:pt x="1115005" y="58939"/>
                      <a:pt x="1076325" y="67964"/>
                    </a:cubicBezTo>
                    <a:cubicBezTo>
                      <a:pt x="1064251" y="70781"/>
                      <a:pt x="1059805" y="86512"/>
                      <a:pt x="1052513" y="96539"/>
                    </a:cubicBezTo>
                    <a:cubicBezTo>
                      <a:pt x="1047068" y="104025"/>
                      <a:pt x="1043360" y="112650"/>
                      <a:pt x="1038225" y="120352"/>
                    </a:cubicBezTo>
                    <a:cubicBezTo>
                      <a:pt x="1033822" y="126956"/>
                      <a:pt x="1028700" y="133052"/>
                      <a:pt x="1023938" y="139402"/>
                    </a:cubicBezTo>
                    <a:cubicBezTo>
                      <a:pt x="1022350" y="144164"/>
                      <a:pt x="1022725" y="150139"/>
                      <a:pt x="1019175" y="153689"/>
                    </a:cubicBezTo>
                    <a:cubicBezTo>
                      <a:pt x="1007332" y="165532"/>
                      <a:pt x="991574" y="152864"/>
                      <a:pt x="981075" y="148927"/>
                    </a:cubicBezTo>
                    <a:cubicBezTo>
                      <a:pt x="976375" y="147164"/>
                      <a:pt x="971550" y="145752"/>
                      <a:pt x="966788" y="144164"/>
                    </a:cubicBezTo>
                    <a:cubicBezTo>
                      <a:pt x="913596" y="166961"/>
                      <a:pt x="949610" y="146641"/>
                      <a:pt x="919163" y="172739"/>
                    </a:cubicBezTo>
                    <a:cubicBezTo>
                      <a:pt x="913136" y="177905"/>
                      <a:pt x="905386" y="181094"/>
                      <a:pt x="900113" y="187027"/>
                    </a:cubicBezTo>
                    <a:cubicBezTo>
                      <a:pt x="892508" y="195583"/>
                      <a:pt x="884684" y="204742"/>
                      <a:pt x="881063" y="215602"/>
                    </a:cubicBezTo>
                    <a:cubicBezTo>
                      <a:pt x="879475" y="220364"/>
                      <a:pt x="879218" y="225804"/>
                      <a:pt x="876300" y="229889"/>
                    </a:cubicBezTo>
                    <a:cubicBezTo>
                      <a:pt x="871080" y="237196"/>
                      <a:pt x="863216" y="242227"/>
                      <a:pt x="857250" y="248939"/>
                    </a:cubicBezTo>
                    <a:cubicBezTo>
                      <a:pt x="809245" y="302945"/>
                      <a:pt x="871879" y="241227"/>
                      <a:pt x="809625" y="296564"/>
                    </a:cubicBezTo>
                    <a:cubicBezTo>
                      <a:pt x="804591" y="301039"/>
                      <a:pt x="800942" y="307116"/>
                      <a:pt x="795338" y="310852"/>
                    </a:cubicBezTo>
                    <a:cubicBezTo>
                      <a:pt x="781739" y="319918"/>
                      <a:pt x="766490" y="326255"/>
                      <a:pt x="752475" y="334664"/>
                    </a:cubicBezTo>
                    <a:cubicBezTo>
                      <a:pt x="726345" y="350342"/>
                      <a:pt x="716453" y="362546"/>
                      <a:pt x="685800" y="372764"/>
                    </a:cubicBezTo>
                    <a:lnTo>
                      <a:pt x="628650" y="391814"/>
                    </a:lnTo>
                    <a:cubicBezTo>
                      <a:pt x="625475" y="398164"/>
                      <a:pt x="619909" y="403808"/>
                      <a:pt x="619125" y="410864"/>
                    </a:cubicBezTo>
                    <a:cubicBezTo>
                      <a:pt x="618231" y="418909"/>
                      <a:pt x="621328" y="426998"/>
                      <a:pt x="623888" y="434677"/>
                    </a:cubicBezTo>
                    <a:cubicBezTo>
                      <a:pt x="629073" y="450232"/>
                      <a:pt x="635367" y="457737"/>
                      <a:pt x="647700" y="468014"/>
                    </a:cubicBezTo>
                    <a:cubicBezTo>
                      <a:pt x="652097" y="471678"/>
                      <a:pt x="657225" y="474364"/>
                      <a:pt x="661988" y="477539"/>
                    </a:cubicBezTo>
                    <a:cubicBezTo>
                      <a:pt x="673100" y="475952"/>
                      <a:pt x="684177" y="474089"/>
                      <a:pt x="695325" y="472777"/>
                    </a:cubicBezTo>
                    <a:cubicBezTo>
                      <a:pt x="711170" y="470913"/>
                      <a:pt x="727610" y="472397"/>
                      <a:pt x="742950" y="468014"/>
                    </a:cubicBezTo>
                    <a:cubicBezTo>
                      <a:pt x="750582" y="465833"/>
                      <a:pt x="755650" y="458489"/>
                      <a:pt x="762000" y="453727"/>
                    </a:cubicBezTo>
                    <a:cubicBezTo>
                      <a:pt x="763588" y="448964"/>
                      <a:pt x="763213" y="442989"/>
                      <a:pt x="766763" y="439439"/>
                    </a:cubicBezTo>
                    <a:cubicBezTo>
                      <a:pt x="770313" y="435889"/>
                      <a:pt x="776150" y="433588"/>
                      <a:pt x="781050" y="434677"/>
                    </a:cubicBezTo>
                    <a:cubicBezTo>
                      <a:pt x="801707" y="439268"/>
                      <a:pt x="834076" y="467612"/>
                      <a:pt x="847725" y="477539"/>
                    </a:cubicBezTo>
                    <a:cubicBezTo>
                      <a:pt x="852354" y="480906"/>
                      <a:pt x="856530" y="485419"/>
                      <a:pt x="862013" y="487064"/>
                    </a:cubicBezTo>
                    <a:cubicBezTo>
                      <a:pt x="866715" y="488475"/>
                      <a:pt x="931307" y="496321"/>
                      <a:pt x="933450" y="496589"/>
                    </a:cubicBezTo>
                    <a:cubicBezTo>
                      <a:pt x="944563" y="495002"/>
                      <a:pt x="956036" y="495053"/>
                      <a:pt x="966788" y="491827"/>
                    </a:cubicBezTo>
                    <a:cubicBezTo>
                      <a:pt x="972270" y="490182"/>
                      <a:pt x="975956" y="484862"/>
                      <a:pt x="981075" y="482302"/>
                    </a:cubicBezTo>
                    <a:cubicBezTo>
                      <a:pt x="988722" y="478479"/>
                      <a:pt x="996950" y="475952"/>
                      <a:pt x="1004888" y="472777"/>
                    </a:cubicBezTo>
                    <a:cubicBezTo>
                      <a:pt x="1030288" y="477539"/>
                      <a:pt x="1056696" y="478527"/>
                      <a:pt x="1081088" y="487064"/>
                    </a:cubicBezTo>
                    <a:cubicBezTo>
                      <a:pt x="1089564" y="490031"/>
                      <a:pt x="1094172" y="499402"/>
                      <a:pt x="1100138" y="506114"/>
                    </a:cubicBezTo>
                    <a:cubicBezTo>
                      <a:pt x="1106891" y="513712"/>
                      <a:pt x="1113958" y="521211"/>
                      <a:pt x="1119188" y="529927"/>
                    </a:cubicBezTo>
                    <a:cubicBezTo>
                      <a:pt x="1130660" y="549048"/>
                      <a:pt x="1125961" y="551121"/>
                      <a:pt x="1133475" y="568027"/>
                    </a:cubicBezTo>
                    <a:cubicBezTo>
                      <a:pt x="1137800" y="577759"/>
                      <a:pt x="1143438" y="586871"/>
                      <a:pt x="1147763" y="596602"/>
                    </a:cubicBezTo>
                    <a:cubicBezTo>
                      <a:pt x="1160910" y="626182"/>
                      <a:pt x="1142244" y="595467"/>
                      <a:pt x="1162050" y="625177"/>
                    </a:cubicBezTo>
                    <a:cubicBezTo>
                      <a:pt x="1163638" y="633114"/>
                      <a:pt x="1163807" y="641473"/>
                      <a:pt x="1166813" y="648989"/>
                    </a:cubicBezTo>
                    <a:cubicBezTo>
                      <a:pt x="1175560" y="670858"/>
                      <a:pt x="1213618" y="701444"/>
                      <a:pt x="1176338" y="729952"/>
                    </a:cubicBezTo>
                    <a:cubicBezTo>
                      <a:pt x="1156122" y="745411"/>
                      <a:pt x="1125538" y="733127"/>
                      <a:pt x="1100138" y="734714"/>
                    </a:cubicBezTo>
                    <a:cubicBezTo>
                      <a:pt x="1095375" y="731539"/>
                      <a:pt x="1090247" y="728853"/>
                      <a:pt x="1085850" y="725189"/>
                    </a:cubicBezTo>
                    <a:cubicBezTo>
                      <a:pt x="1072965" y="714452"/>
                      <a:pt x="1062805" y="699955"/>
                      <a:pt x="1052513" y="687089"/>
                    </a:cubicBezTo>
                    <a:cubicBezTo>
                      <a:pt x="1023938" y="688677"/>
                      <a:pt x="995395" y="692669"/>
                      <a:pt x="966788" y="691852"/>
                    </a:cubicBezTo>
                    <a:cubicBezTo>
                      <a:pt x="914505" y="690358"/>
                      <a:pt x="903713" y="686799"/>
                      <a:pt x="866775" y="677564"/>
                    </a:cubicBezTo>
                    <a:cubicBezTo>
                      <a:pt x="833438" y="679152"/>
                      <a:pt x="800009" y="679393"/>
                      <a:pt x="766763" y="682327"/>
                    </a:cubicBezTo>
                    <a:cubicBezTo>
                      <a:pt x="745963" y="684162"/>
                      <a:pt x="725539" y="689031"/>
                      <a:pt x="704850" y="691852"/>
                    </a:cubicBezTo>
                    <a:cubicBezTo>
                      <a:pt x="690607" y="693794"/>
                      <a:pt x="676275" y="695027"/>
                      <a:pt x="661988" y="696614"/>
                    </a:cubicBezTo>
                    <a:cubicBezTo>
                      <a:pt x="647842" y="691899"/>
                      <a:pt x="630445" y="688884"/>
                      <a:pt x="619125" y="677564"/>
                    </a:cubicBezTo>
                    <a:cubicBezTo>
                      <a:pt x="588212" y="646651"/>
                      <a:pt x="622998" y="667594"/>
                      <a:pt x="585788" y="648989"/>
                    </a:cubicBezTo>
                    <a:cubicBezTo>
                      <a:pt x="550863" y="656927"/>
                      <a:pt x="515353" y="662627"/>
                      <a:pt x="481013" y="672802"/>
                    </a:cubicBezTo>
                    <a:cubicBezTo>
                      <a:pt x="459267" y="679245"/>
                      <a:pt x="458039" y="688772"/>
                      <a:pt x="442913" y="701377"/>
                    </a:cubicBezTo>
                    <a:cubicBezTo>
                      <a:pt x="438516" y="705041"/>
                      <a:pt x="432971" y="707177"/>
                      <a:pt x="428625" y="710902"/>
                    </a:cubicBezTo>
                    <a:cubicBezTo>
                      <a:pt x="399861" y="735556"/>
                      <a:pt x="421540" y="725964"/>
                      <a:pt x="395288" y="734714"/>
                    </a:cubicBezTo>
                    <a:cubicBezTo>
                      <a:pt x="382330" y="750263"/>
                      <a:pt x="372003" y="764408"/>
                      <a:pt x="357188" y="777577"/>
                    </a:cubicBezTo>
                    <a:cubicBezTo>
                      <a:pt x="347921" y="785814"/>
                      <a:pt x="337829" y="793095"/>
                      <a:pt x="328613" y="801389"/>
                    </a:cubicBezTo>
                    <a:cubicBezTo>
                      <a:pt x="321938" y="807396"/>
                      <a:pt x="316747" y="815051"/>
                      <a:pt x="309563" y="820439"/>
                    </a:cubicBezTo>
                    <a:cubicBezTo>
                      <a:pt x="303883" y="824699"/>
                      <a:pt x="296350" y="825923"/>
                      <a:pt x="290513" y="829964"/>
                    </a:cubicBezTo>
                    <a:cubicBezTo>
                      <a:pt x="275631" y="840267"/>
                      <a:pt x="261883" y="852119"/>
                      <a:pt x="247650" y="863302"/>
                    </a:cubicBezTo>
                    <a:cubicBezTo>
                      <a:pt x="239657" y="869582"/>
                      <a:pt x="229477" y="873894"/>
                      <a:pt x="223838" y="882352"/>
                    </a:cubicBezTo>
                    <a:cubicBezTo>
                      <a:pt x="189798" y="933411"/>
                      <a:pt x="242812" y="855915"/>
                      <a:pt x="200025" y="910927"/>
                    </a:cubicBezTo>
                    <a:cubicBezTo>
                      <a:pt x="187854" y="926575"/>
                      <a:pt x="180021" y="943886"/>
                      <a:pt x="166688" y="958552"/>
                    </a:cubicBezTo>
                    <a:cubicBezTo>
                      <a:pt x="156117" y="970180"/>
                      <a:pt x="143059" y="979532"/>
                      <a:pt x="133350" y="991889"/>
                    </a:cubicBezTo>
                    <a:cubicBezTo>
                      <a:pt x="125442" y="1001953"/>
                      <a:pt x="121400" y="1014578"/>
                      <a:pt x="114300" y="1025227"/>
                    </a:cubicBezTo>
                    <a:cubicBezTo>
                      <a:pt x="105494" y="1038436"/>
                      <a:pt x="95888" y="1051131"/>
                      <a:pt x="85725" y="1063327"/>
                    </a:cubicBezTo>
                    <a:cubicBezTo>
                      <a:pt x="79976" y="1070226"/>
                      <a:pt x="72063" y="1075193"/>
                      <a:pt x="66675" y="1082377"/>
                    </a:cubicBezTo>
                    <a:cubicBezTo>
                      <a:pt x="62415" y="1088057"/>
                      <a:pt x="60672" y="1095263"/>
                      <a:pt x="57150" y="1101427"/>
                    </a:cubicBezTo>
                    <a:cubicBezTo>
                      <a:pt x="42033" y="1127881"/>
                      <a:pt x="51309" y="1103585"/>
                      <a:pt x="33338" y="1139527"/>
                    </a:cubicBezTo>
                    <a:cubicBezTo>
                      <a:pt x="29515" y="1147173"/>
                      <a:pt x="27285" y="1155527"/>
                      <a:pt x="23813" y="1163339"/>
                    </a:cubicBezTo>
                    <a:cubicBezTo>
                      <a:pt x="20930" y="1169827"/>
                      <a:pt x="17463" y="1176039"/>
                      <a:pt x="14288" y="1182389"/>
                    </a:cubicBezTo>
                    <a:cubicBezTo>
                      <a:pt x="12700" y="1193502"/>
                      <a:pt x="11370" y="1204654"/>
                      <a:pt x="9525" y="1215727"/>
                    </a:cubicBezTo>
                    <a:cubicBezTo>
                      <a:pt x="6500" y="1233875"/>
                      <a:pt x="4284" y="1241456"/>
                      <a:pt x="0" y="1258589"/>
                    </a:cubicBezTo>
                    <a:cubicBezTo>
                      <a:pt x="1588" y="1279227"/>
                      <a:pt x="1166" y="1300118"/>
                      <a:pt x="4763" y="1320502"/>
                    </a:cubicBezTo>
                    <a:cubicBezTo>
                      <a:pt x="7023" y="1333306"/>
                      <a:pt x="26764" y="1355968"/>
                      <a:pt x="33338" y="1363364"/>
                    </a:cubicBezTo>
                    <a:cubicBezTo>
                      <a:pt x="49152" y="1381155"/>
                      <a:pt x="78346" y="1407377"/>
                      <a:pt x="100013" y="1410989"/>
                    </a:cubicBezTo>
                    <a:cubicBezTo>
                      <a:pt x="138492" y="1417403"/>
                      <a:pt x="119427" y="1412698"/>
                      <a:pt x="157163" y="1425277"/>
                    </a:cubicBezTo>
                    <a:cubicBezTo>
                      <a:pt x="217488" y="1423689"/>
                      <a:pt x="277857" y="1423318"/>
                      <a:pt x="338138" y="1420514"/>
                    </a:cubicBezTo>
                    <a:cubicBezTo>
                      <a:pt x="346224" y="1420138"/>
                      <a:pt x="353860" y="1415473"/>
                      <a:pt x="361950" y="1415752"/>
                    </a:cubicBezTo>
                    <a:cubicBezTo>
                      <a:pt x="400159" y="1417070"/>
                      <a:pt x="438150" y="1422102"/>
                      <a:pt x="476250" y="1425277"/>
                    </a:cubicBezTo>
                    <a:cubicBezTo>
                      <a:pt x="482600" y="1428452"/>
                      <a:pt x="490280" y="1429782"/>
                      <a:pt x="495300" y="1434802"/>
                    </a:cubicBezTo>
                    <a:cubicBezTo>
                      <a:pt x="512986" y="1452488"/>
                      <a:pt x="510227" y="1469736"/>
                      <a:pt x="519113" y="1491952"/>
                    </a:cubicBezTo>
                    <a:cubicBezTo>
                      <a:pt x="521239" y="1497266"/>
                      <a:pt x="525463" y="1501477"/>
                      <a:pt x="528638" y="1506239"/>
                    </a:cubicBezTo>
                    <a:cubicBezTo>
                      <a:pt x="534525" y="1553339"/>
                      <a:pt x="537736" y="1550809"/>
                      <a:pt x="523875" y="1606252"/>
                    </a:cubicBezTo>
                    <a:cubicBezTo>
                      <a:pt x="522487" y="1611805"/>
                      <a:pt x="517525" y="1615777"/>
                      <a:pt x="514350" y="1620539"/>
                    </a:cubicBezTo>
                    <a:cubicBezTo>
                      <a:pt x="512615" y="1625746"/>
                      <a:pt x="504161" y="1649893"/>
                      <a:pt x="504825" y="1653877"/>
                    </a:cubicBezTo>
                    <a:cubicBezTo>
                      <a:pt x="507044" y="1667190"/>
                      <a:pt x="522589" y="1703177"/>
                      <a:pt x="533400" y="1715789"/>
                    </a:cubicBezTo>
                    <a:cubicBezTo>
                      <a:pt x="537125" y="1720135"/>
                      <a:pt x="542925" y="1722139"/>
                      <a:pt x="547688" y="1725314"/>
                    </a:cubicBezTo>
                    <a:cubicBezTo>
                      <a:pt x="558426" y="1757532"/>
                      <a:pt x="544245" y="1718429"/>
                      <a:pt x="566738" y="1763414"/>
                    </a:cubicBezTo>
                    <a:cubicBezTo>
                      <a:pt x="575705" y="1781348"/>
                      <a:pt x="576478" y="1788087"/>
                      <a:pt x="581025" y="1806277"/>
                    </a:cubicBezTo>
                    <a:cubicBezTo>
                      <a:pt x="576653" y="1819393"/>
                      <a:pt x="571466" y="1844994"/>
                      <a:pt x="557213" y="1853902"/>
                    </a:cubicBezTo>
                    <a:cubicBezTo>
                      <a:pt x="550349" y="1858192"/>
                      <a:pt x="541338" y="1857077"/>
                      <a:pt x="533400" y="1858664"/>
                    </a:cubicBezTo>
                    <a:cubicBezTo>
                      <a:pt x="508821" y="1875051"/>
                      <a:pt x="527943" y="1864112"/>
                      <a:pt x="490538" y="1877714"/>
                    </a:cubicBezTo>
                    <a:cubicBezTo>
                      <a:pt x="427843" y="1900512"/>
                      <a:pt x="494930" y="1877836"/>
                      <a:pt x="452438" y="1892002"/>
                    </a:cubicBezTo>
                    <a:cubicBezTo>
                      <a:pt x="450850" y="1903114"/>
                      <a:pt x="450901" y="1914587"/>
                      <a:pt x="447675" y="1925339"/>
                    </a:cubicBezTo>
                    <a:cubicBezTo>
                      <a:pt x="446030" y="1930822"/>
                      <a:pt x="440990" y="1934657"/>
                      <a:pt x="438150" y="1939627"/>
                    </a:cubicBezTo>
                    <a:cubicBezTo>
                      <a:pt x="434628" y="1945791"/>
                      <a:pt x="432388" y="1952657"/>
                      <a:pt x="428625" y="1958677"/>
                    </a:cubicBezTo>
                    <a:cubicBezTo>
                      <a:pt x="424418" y="1965408"/>
                      <a:pt x="418952" y="1971268"/>
                      <a:pt x="414338" y="1977727"/>
                    </a:cubicBezTo>
                    <a:cubicBezTo>
                      <a:pt x="411011" y="1982385"/>
                      <a:pt x="408538" y="1987668"/>
                      <a:pt x="404813" y="1992014"/>
                    </a:cubicBezTo>
                    <a:cubicBezTo>
                      <a:pt x="398969" y="1998832"/>
                      <a:pt x="391564" y="2004209"/>
                      <a:pt x="385763" y="2011064"/>
                    </a:cubicBezTo>
                    <a:cubicBezTo>
                      <a:pt x="374071" y="2024882"/>
                      <a:pt x="365224" y="2041128"/>
                      <a:pt x="352425" y="2053927"/>
                    </a:cubicBezTo>
                    <a:cubicBezTo>
                      <a:pt x="332428" y="2073924"/>
                      <a:pt x="336822" y="2068668"/>
                      <a:pt x="314325" y="2096789"/>
                    </a:cubicBezTo>
                    <a:cubicBezTo>
                      <a:pt x="309367" y="2102987"/>
                      <a:pt x="306011" y="2110612"/>
                      <a:pt x="300038" y="2115839"/>
                    </a:cubicBezTo>
                    <a:cubicBezTo>
                      <a:pt x="293072" y="2121935"/>
                      <a:pt x="283630" y="2124573"/>
                      <a:pt x="276225" y="2130127"/>
                    </a:cubicBezTo>
                    <a:cubicBezTo>
                      <a:pt x="270837" y="2134168"/>
                      <a:pt x="266700" y="2139652"/>
                      <a:pt x="261938" y="2144414"/>
                    </a:cubicBezTo>
                    <a:cubicBezTo>
                      <a:pt x="258763" y="2152352"/>
                      <a:pt x="255117" y="2160117"/>
                      <a:pt x="252413" y="2168227"/>
                    </a:cubicBezTo>
                    <a:cubicBezTo>
                      <a:pt x="244933" y="2190666"/>
                      <a:pt x="244189" y="2210229"/>
                      <a:pt x="252413" y="2234902"/>
                    </a:cubicBezTo>
                    <a:cubicBezTo>
                      <a:pt x="254721" y="2241827"/>
                      <a:pt x="275440" y="2247340"/>
                      <a:pt x="280988" y="2249189"/>
                    </a:cubicBezTo>
                    <a:cubicBezTo>
                      <a:pt x="320675" y="2247602"/>
                      <a:pt x="360679" y="2249676"/>
                      <a:pt x="400050" y="2244427"/>
                    </a:cubicBezTo>
                    <a:cubicBezTo>
                      <a:pt x="409226" y="2243204"/>
                      <a:pt x="416161" y="2235274"/>
                      <a:pt x="423863" y="2230139"/>
                    </a:cubicBezTo>
                    <a:cubicBezTo>
                      <a:pt x="484286" y="2189858"/>
                      <a:pt x="385376" y="2251863"/>
                      <a:pt x="471488" y="2187277"/>
                    </a:cubicBezTo>
                    <a:cubicBezTo>
                      <a:pt x="554680" y="2124881"/>
                      <a:pt x="431148" y="2215758"/>
                      <a:pt x="509588" y="2163464"/>
                    </a:cubicBezTo>
                    <a:cubicBezTo>
                      <a:pt x="518046" y="2157826"/>
                      <a:pt x="524684" y="2149644"/>
                      <a:pt x="533400" y="2144414"/>
                    </a:cubicBezTo>
                    <a:cubicBezTo>
                      <a:pt x="548619" y="2135282"/>
                      <a:pt x="565806" y="2129734"/>
                      <a:pt x="581025" y="2120602"/>
                    </a:cubicBezTo>
                    <a:cubicBezTo>
                      <a:pt x="588963" y="2115839"/>
                      <a:pt x="596988" y="2111220"/>
                      <a:pt x="604838" y="2106314"/>
                    </a:cubicBezTo>
                    <a:cubicBezTo>
                      <a:pt x="619956" y="2096865"/>
                      <a:pt x="625329" y="2091306"/>
                      <a:pt x="642938" y="2082502"/>
                    </a:cubicBezTo>
                    <a:cubicBezTo>
                      <a:pt x="650584" y="2078679"/>
                      <a:pt x="658938" y="2076449"/>
                      <a:pt x="666750" y="2072977"/>
                    </a:cubicBezTo>
                    <a:cubicBezTo>
                      <a:pt x="673238" y="2070094"/>
                      <a:pt x="679174" y="2066001"/>
                      <a:pt x="685800" y="2063452"/>
                    </a:cubicBezTo>
                    <a:cubicBezTo>
                      <a:pt x="699857" y="2058046"/>
                      <a:pt x="728663" y="2049164"/>
                      <a:pt x="728663" y="2049164"/>
                    </a:cubicBezTo>
                    <a:cubicBezTo>
                      <a:pt x="735013" y="2044402"/>
                      <a:pt x="741254" y="2039491"/>
                      <a:pt x="747713" y="2034877"/>
                    </a:cubicBezTo>
                    <a:cubicBezTo>
                      <a:pt x="752371" y="2031550"/>
                      <a:pt x="757603" y="2029016"/>
                      <a:pt x="762000" y="2025352"/>
                    </a:cubicBezTo>
                    <a:cubicBezTo>
                      <a:pt x="767174" y="2021040"/>
                      <a:pt x="770684" y="2014800"/>
                      <a:pt x="776288" y="2011064"/>
                    </a:cubicBezTo>
                    <a:cubicBezTo>
                      <a:pt x="780465" y="2008279"/>
                      <a:pt x="785705" y="2007519"/>
                      <a:pt x="790575" y="2006302"/>
                    </a:cubicBezTo>
                    <a:cubicBezTo>
                      <a:pt x="804774" y="2002752"/>
                      <a:pt x="819239" y="2000327"/>
                      <a:pt x="833438" y="1996777"/>
                    </a:cubicBezTo>
                    <a:cubicBezTo>
                      <a:pt x="855277" y="1991317"/>
                      <a:pt x="855069" y="1985961"/>
                      <a:pt x="881063" y="1972964"/>
                    </a:cubicBezTo>
                    <a:cubicBezTo>
                      <a:pt x="888709" y="1969141"/>
                      <a:pt x="896938" y="1966614"/>
                      <a:pt x="904875" y="1963439"/>
                    </a:cubicBezTo>
                    <a:cubicBezTo>
                      <a:pt x="946308" y="1922007"/>
                      <a:pt x="925137" y="1938819"/>
                      <a:pt x="966788" y="1911052"/>
                    </a:cubicBezTo>
                    <a:cubicBezTo>
                      <a:pt x="971550" y="1903114"/>
                      <a:pt x="975521" y="1894644"/>
                      <a:pt x="981075" y="1887239"/>
                    </a:cubicBezTo>
                    <a:cubicBezTo>
                      <a:pt x="985116" y="1881851"/>
                      <a:pt x="991627" y="1878556"/>
                      <a:pt x="995363" y="1872952"/>
                    </a:cubicBezTo>
                    <a:cubicBezTo>
                      <a:pt x="998148" y="1868775"/>
                      <a:pt x="997340" y="1862841"/>
                      <a:pt x="1000125" y="1858664"/>
                    </a:cubicBezTo>
                    <a:cubicBezTo>
                      <a:pt x="1009778" y="1844185"/>
                      <a:pt x="1018567" y="1842300"/>
                      <a:pt x="1033463" y="1834852"/>
                    </a:cubicBezTo>
                    <a:cubicBezTo>
                      <a:pt x="1064084" y="1804229"/>
                      <a:pt x="1030722" y="1833840"/>
                      <a:pt x="1095375" y="1801514"/>
                    </a:cubicBezTo>
                    <a:cubicBezTo>
                      <a:pt x="1101725" y="1798339"/>
                      <a:pt x="1096169" y="1793841"/>
                      <a:pt x="1114425" y="1791989"/>
                    </a:cubicBezTo>
                    <a:cubicBezTo>
                      <a:pt x="1132681" y="1790137"/>
                      <a:pt x="1171575" y="1791989"/>
                      <a:pt x="1204913" y="1790402"/>
                    </a:cubicBezTo>
                    <a:cubicBezTo>
                      <a:pt x="1245742" y="1729159"/>
                      <a:pt x="1229519" y="1763943"/>
                      <a:pt x="1254125" y="1731664"/>
                    </a:cubicBezTo>
                    <a:cubicBezTo>
                      <a:pt x="1278731" y="1699385"/>
                      <a:pt x="1322652" y="1646204"/>
                      <a:pt x="1352550" y="1596727"/>
                    </a:cubicBezTo>
                    <a:cubicBezTo>
                      <a:pt x="1382448" y="1547250"/>
                      <a:pt x="1415257" y="1472902"/>
                      <a:pt x="1433513" y="1434802"/>
                    </a:cubicBezTo>
                    <a:cubicBezTo>
                      <a:pt x="1453357" y="1391146"/>
                      <a:pt x="1462088" y="1360189"/>
                      <a:pt x="1471613" y="1334789"/>
                    </a:cubicBezTo>
                    <a:cubicBezTo>
                      <a:pt x="1481138" y="1309389"/>
                      <a:pt x="1485107" y="1300658"/>
                      <a:pt x="1490663" y="1282402"/>
                    </a:cubicBezTo>
                    <a:cubicBezTo>
                      <a:pt x="1497807" y="1261765"/>
                      <a:pt x="1508125" y="1233189"/>
                      <a:pt x="1514475" y="1210964"/>
                    </a:cubicBezTo>
                    <a:cubicBezTo>
                      <a:pt x="1525533" y="1133568"/>
                      <a:pt x="1520032" y="1186358"/>
                      <a:pt x="1528763" y="1149052"/>
                    </a:cubicBezTo>
                    <a:cubicBezTo>
                      <a:pt x="1537494" y="1111746"/>
                      <a:pt x="1556544" y="1033958"/>
                      <a:pt x="1566863" y="987127"/>
                    </a:cubicBezTo>
                    <a:cubicBezTo>
                      <a:pt x="1577182" y="940296"/>
                      <a:pt x="1586706" y="933151"/>
                      <a:pt x="1590675" y="868064"/>
                    </a:cubicBezTo>
                    <a:cubicBezTo>
                      <a:pt x="1591272" y="781636"/>
                      <a:pt x="1602858" y="815898"/>
                      <a:pt x="1590675" y="596602"/>
                    </a:cubicBezTo>
                    <a:cubicBezTo>
                      <a:pt x="1589399" y="573637"/>
                      <a:pt x="1586865" y="548023"/>
                      <a:pt x="1581150" y="525164"/>
                    </a:cubicBezTo>
                    <a:cubicBezTo>
                      <a:pt x="1579932" y="520294"/>
                      <a:pt x="1582456" y="602628"/>
                      <a:pt x="1576388" y="510877"/>
                    </a:cubicBezTo>
                    <a:cubicBezTo>
                      <a:pt x="1569774" y="410865"/>
                      <a:pt x="1468438" y="171152"/>
                      <a:pt x="1408113" y="1289"/>
                    </a:cubicBezTo>
                    <a:close/>
                  </a:path>
                </a:pathLst>
              </a:custGeom>
              <a:solidFill>
                <a:srgbClr val="E1EBE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rgbClr val="FFFFFF"/>
                    </a:solidFill>
                    <a:latin typeface="DM Sans 14pt"/>
                    <a:ea typeface="+mn-ea"/>
                    <a:cs typeface="+mn-cs"/>
                  </a:defRPr>
                </a:lvl9pPr>
              </a:lstStyle>
              <a:p>
                <a:pPr algn="ctr"/>
                <a:endParaRPr lang="da-DK" sz="1400">
                  <a:latin typeface="Verdana" panose="020B0604030504040204" pitchFamily="34" charset="0"/>
                </a:endParaRPr>
              </a:p>
            </p:txBody>
          </p:sp>
          <p:sp>
            <p:nvSpPr>
              <p:cNvPr id="73" name="Freeform: Shape 40">
                <a:extLst>
                  <a:ext uri="{FF2B5EF4-FFF2-40B4-BE49-F238E27FC236}">
                    <a16:creationId xmlns:a16="http://schemas.microsoft.com/office/drawing/2014/main" id="{87C56983-0C3B-0F79-3EF6-E2F6B8A1FD3E}"/>
                  </a:ext>
                </a:extLst>
              </p:cNvPr>
              <p:cNvSpPr/>
              <p:nvPr/>
            </p:nvSpPr>
            <p:spPr>
              <a:xfrm>
                <a:off x="3663419" y="2034541"/>
                <a:ext cx="3142643" cy="3131365"/>
              </a:xfrm>
              <a:custGeom>
                <a:avLst/>
                <a:gdLst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950741 w 3142643"/>
                  <a:gd name="connsiteY7" fmla="*/ 845820 h 3131365"/>
                  <a:gd name="connsiteX8" fmla="*/ 3011701 w 3142643"/>
                  <a:gd name="connsiteY8" fmla="*/ 998220 h 3131365"/>
                  <a:gd name="connsiteX9" fmla="*/ 3034561 w 3142643"/>
                  <a:gd name="connsiteY9" fmla="*/ 1066800 h 3131365"/>
                  <a:gd name="connsiteX10" fmla="*/ 3103141 w 3142643"/>
                  <a:gd name="connsiteY10" fmla="*/ 1280160 h 3131365"/>
                  <a:gd name="connsiteX11" fmla="*/ 3141241 w 3142643"/>
                  <a:gd name="connsiteY11" fmla="*/ 1485900 h 3131365"/>
                  <a:gd name="connsiteX12" fmla="*/ 3133621 w 3142643"/>
                  <a:gd name="connsiteY12" fmla="*/ 1691640 h 3131365"/>
                  <a:gd name="connsiteX13" fmla="*/ 3126001 w 3142643"/>
                  <a:gd name="connsiteY13" fmla="*/ 1767840 h 3131365"/>
                  <a:gd name="connsiteX14" fmla="*/ 3062183 w 3142643"/>
                  <a:gd name="connsiteY14" fmla="*/ 2038350 h 3131365"/>
                  <a:gd name="connsiteX15" fmla="*/ 2950741 w 3142643"/>
                  <a:gd name="connsiteY15" fmla="*/ 2331720 h 3131365"/>
                  <a:gd name="connsiteX16" fmla="*/ 2845014 w 3142643"/>
                  <a:gd name="connsiteY16" fmla="*/ 2504122 h 3131365"/>
                  <a:gd name="connsiteX17" fmla="*/ 2706901 w 3142643"/>
                  <a:gd name="connsiteY17" fmla="*/ 2667000 h 3131365"/>
                  <a:gd name="connsiteX18" fmla="*/ 2303041 w 3142643"/>
                  <a:gd name="connsiteY18" fmla="*/ 2971800 h 3131365"/>
                  <a:gd name="connsiteX19" fmla="*/ 2097301 w 3142643"/>
                  <a:gd name="connsiteY19" fmla="*/ 3055620 h 3131365"/>
                  <a:gd name="connsiteX20" fmla="*/ 1809646 w 3142643"/>
                  <a:gd name="connsiteY20" fmla="*/ 3123247 h 3131365"/>
                  <a:gd name="connsiteX21" fmla="*/ 1335301 w 3142643"/>
                  <a:gd name="connsiteY21" fmla="*/ 3108960 h 3131365"/>
                  <a:gd name="connsiteX22" fmla="*/ 794281 w 3142643"/>
                  <a:gd name="connsiteY22" fmla="*/ 2933700 h 3131365"/>
                  <a:gd name="connsiteX23" fmla="*/ 420901 w 3142643"/>
                  <a:gd name="connsiteY23" fmla="*/ 2644140 h 3131365"/>
                  <a:gd name="connsiteX24" fmla="*/ 298981 w 3142643"/>
                  <a:gd name="connsiteY24" fmla="*/ 2499360 h 3131365"/>
                  <a:gd name="connsiteX25" fmla="*/ 184681 w 3142643"/>
                  <a:gd name="connsiteY25" fmla="*/ 2308860 h 3131365"/>
                  <a:gd name="connsiteX26" fmla="*/ 39901 w 3142643"/>
                  <a:gd name="connsiteY26" fmla="*/ 1943100 h 3131365"/>
                  <a:gd name="connsiteX27" fmla="*/ 1801 w 3142643"/>
                  <a:gd name="connsiteY27" fmla="*/ 1562100 h 3131365"/>
                  <a:gd name="connsiteX28" fmla="*/ 55141 w 3142643"/>
                  <a:gd name="connsiteY28" fmla="*/ 1135380 h 3131365"/>
                  <a:gd name="connsiteX29" fmla="*/ 161821 w 3142643"/>
                  <a:gd name="connsiteY29" fmla="*/ 861060 h 3131365"/>
                  <a:gd name="connsiteX30" fmla="*/ 260881 w 3142643"/>
                  <a:gd name="connsiteY30" fmla="*/ 708660 h 3131365"/>
                  <a:gd name="connsiteX31" fmla="*/ 420901 w 3142643"/>
                  <a:gd name="connsiteY31" fmla="*/ 510540 h 3131365"/>
                  <a:gd name="connsiteX32" fmla="*/ 512341 w 3142643"/>
                  <a:gd name="connsiteY32" fmla="*/ 434340 h 3131365"/>
                  <a:gd name="connsiteX33" fmla="*/ 657121 w 3142643"/>
                  <a:gd name="connsiteY33" fmla="*/ 312420 h 3131365"/>
                  <a:gd name="connsiteX34" fmla="*/ 870481 w 3142643"/>
                  <a:gd name="connsiteY34" fmla="*/ 175260 h 3131365"/>
                  <a:gd name="connsiteX35" fmla="*/ 1106701 w 3142643"/>
                  <a:gd name="connsiteY35" fmla="*/ 76200 h 3131365"/>
                  <a:gd name="connsiteX36" fmla="*/ 1243861 w 3142643"/>
                  <a:gd name="connsiteY36" fmla="*/ 38100 h 3131365"/>
                  <a:gd name="connsiteX37" fmla="*/ 1388641 w 3142643"/>
                  <a:gd name="connsiteY37" fmla="*/ 15240 h 3131365"/>
                  <a:gd name="connsiteX38" fmla="*/ 1464841 w 3142643"/>
                  <a:gd name="connsiteY38" fmla="*/ 0 h 3131365"/>
                  <a:gd name="connsiteX39" fmla="*/ 1746781 w 3142643"/>
                  <a:gd name="connsiteY39" fmla="*/ 0 h 3131365"/>
                  <a:gd name="connsiteX40" fmla="*/ 2165881 w 3142643"/>
                  <a:gd name="connsiteY40" fmla="*/ 99060 h 3131365"/>
                  <a:gd name="connsiteX41" fmla="*/ 2341141 w 3142643"/>
                  <a:gd name="connsiteY41" fmla="*/ 182880 h 3131365"/>
                  <a:gd name="connsiteX42" fmla="*/ 2371621 w 3142643"/>
                  <a:gd name="connsiteY42" fmla="*/ 190500 h 3131365"/>
                  <a:gd name="connsiteX43" fmla="*/ 2371621 w 3142643"/>
                  <a:gd name="connsiteY43" fmla="*/ 190500 h 3131365"/>
                  <a:gd name="connsiteX44" fmla="*/ 2371621 w 3142643"/>
                  <a:gd name="connsiteY44" fmla="*/ 190500 h 3131365"/>
                  <a:gd name="connsiteX45" fmla="*/ 2371621 w 3142643"/>
                  <a:gd name="connsiteY45" fmla="*/ 190500 h 3131365"/>
                  <a:gd name="connsiteX46" fmla="*/ 2371621 w 3142643"/>
                  <a:gd name="connsiteY46" fmla="*/ 190500 h 3131365"/>
                  <a:gd name="connsiteX47" fmla="*/ 2371621 w 3142643"/>
                  <a:gd name="connsiteY47" fmla="*/ 190500 h 3131365"/>
                  <a:gd name="connsiteX48" fmla="*/ 2371621 w 3141752"/>
                  <a:gd name="connsiteY48" fmla="*/ 190500 h 3131365"/>
                  <a:gd name="connsiteX49" fmla="*/ 2371621 w 3141752"/>
                  <a:gd name="connsiteY49" fmla="*/ 190500 h 3131365"/>
                  <a:gd name="connsiteX50" fmla="*/ 2371621 w 3141752"/>
                  <a:gd name="connsiteY50" fmla="*/ 190500 h 3131365"/>
                  <a:gd name="connsiteX51" fmla="*/ 2371621 w 3141752"/>
                  <a:gd name="connsiteY51" fmla="*/ 190500 h 3131365"/>
                  <a:gd name="connsiteX52" fmla="*/ 2371621 w 3141752"/>
                  <a:gd name="connsiteY52" fmla="*/ 190500 h 3131365"/>
                  <a:gd name="connsiteX53" fmla="*/ 2371621 w 3141752"/>
                  <a:gd name="connsiteY53" fmla="*/ 190500 h 3131365"/>
                  <a:gd name="connsiteX54" fmla="*/ 2371621 w 3141752"/>
                  <a:gd name="connsiteY54" fmla="*/ 190500 h 3131365"/>
                  <a:gd name="connsiteX55" fmla="*/ 2371621 w 3141752"/>
                  <a:gd name="connsiteY55" fmla="*/ 190500 h 3131365"/>
                  <a:gd name="connsiteX56" fmla="*/ 2371621 w 3141752"/>
                  <a:gd name="connsiteY56" fmla="*/ 190500 h 3147261"/>
                  <a:gd name="connsiteX57" fmla="*/ 2371621 w 3141752"/>
                  <a:gd name="connsiteY57" fmla="*/ 190500 h 3147261"/>
                  <a:gd name="connsiteX58" fmla="*/ 2371621 w 3141752"/>
                  <a:gd name="connsiteY58" fmla="*/ 190500 h 3147261"/>
                  <a:gd name="connsiteX59" fmla="*/ 2371621 w 3141752"/>
                  <a:gd name="connsiteY59" fmla="*/ 190500 h 3147261"/>
                  <a:gd name="connsiteX60" fmla="*/ 2371621 w 3141752"/>
                  <a:gd name="connsiteY60" fmla="*/ 190500 h 3147261"/>
                  <a:gd name="connsiteX61" fmla="*/ 2371621 w 3141752"/>
                  <a:gd name="connsiteY61" fmla="*/ 190500 h 3147261"/>
                  <a:gd name="connsiteX62" fmla="*/ 2371621 w 3141752"/>
                  <a:gd name="connsiteY62" fmla="*/ 190500 h 3147261"/>
                  <a:gd name="connsiteX63" fmla="*/ 2370829 w 3140960"/>
                  <a:gd name="connsiteY63" fmla="*/ 190500 h 3147261"/>
                  <a:gd name="connsiteX64" fmla="*/ 2370829 w 3140960"/>
                  <a:gd name="connsiteY64" fmla="*/ 190500 h 3147261"/>
                  <a:gd name="connsiteX65" fmla="*/ 2370829 w 3140960"/>
                  <a:gd name="connsiteY65" fmla="*/ 190500 h 3147261"/>
                  <a:gd name="connsiteX66" fmla="*/ 2370829 w 3140960"/>
                  <a:gd name="connsiteY66" fmla="*/ 190500 h 3147261"/>
                  <a:gd name="connsiteX67" fmla="*/ 2370829 w 3140960"/>
                  <a:gd name="connsiteY67" fmla="*/ 190500 h 3147261"/>
                  <a:gd name="connsiteX68" fmla="*/ 2370829 w 3140960"/>
                  <a:gd name="connsiteY68" fmla="*/ 190500 h 3147261"/>
                  <a:gd name="connsiteX69" fmla="*/ 2370829 w 3140960"/>
                  <a:gd name="connsiteY69" fmla="*/ 190500 h 3147261"/>
                  <a:gd name="connsiteX70" fmla="*/ 2370829 w 3140960"/>
                  <a:gd name="connsiteY70" fmla="*/ 190500 h 3147261"/>
                  <a:gd name="connsiteX71" fmla="*/ 2370829 w 3140960"/>
                  <a:gd name="connsiteY71" fmla="*/ 190500 h 3147261"/>
                  <a:gd name="connsiteX72" fmla="*/ 2370829 w 3140960"/>
                  <a:gd name="connsiteY72" fmla="*/ 190500 h 3147261"/>
                  <a:gd name="connsiteX73" fmla="*/ 2370829 w 3140960"/>
                  <a:gd name="connsiteY73" fmla="*/ 190500 h 3147261"/>
                  <a:gd name="connsiteX74" fmla="*/ 2370829 w 3140960"/>
                  <a:gd name="connsiteY74" fmla="*/ 190500 h 3147261"/>
                  <a:gd name="connsiteX75" fmla="*/ 2370829 w 3140960"/>
                  <a:gd name="connsiteY75" fmla="*/ 190500 h 3147261"/>
                  <a:gd name="connsiteX76" fmla="*/ 2370829 w 3140960"/>
                  <a:gd name="connsiteY76" fmla="*/ 190500 h 3147261"/>
                  <a:gd name="connsiteX77" fmla="*/ 2370829 w 3140960"/>
                  <a:gd name="connsiteY77" fmla="*/ 190500 h 3147261"/>
                  <a:gd name="connsiteX78" fmla="*/ 2370829 w 3140960"/>
                  <a:gd name="connsiteY78" fmla="*/ 190500 h 3147261"/>
                  <a:gd name="connsiteX79" fmla="*/ 2370829 w 3140960"/>
                  <a:gd name="connsiteY79" fmla="*/ 190500 h 3147261"/>
                  <a:gd name="connsiteX80" fmla="*/ 2370829 w 3140960"/>
                  <a:gd name="connsiteY80" fmla="*/ 190500 h 3147261"/>
                  <a:gd name="connsiteX81" fmla="*/ 2370829 w 3140960"/>
                  <a:gd name="connsiteY81" fmla="*/ 190500 h 3147261"/>
                  <a:gd name="connsiteX82" fmla="*/ 2370829 w 3140960"/>
                  <a:gd name="connsiteY82" fmla="*/ 190500 h 3147261"/>
                  <a:gd name="connsiteX83" fmla="*/ 2370829 w 3148171"/>
                  <a:gd name="connsiteY83" fmla="*/ 190500 h 3147261"/>
                  <a:gd name="connsiteX84" fmla="*/ 2370829 w 3148171"/>
                  <a:gd name="connsiteY84" fmla="*/ 190500 h 3147261"/>
                  <a:gd name="connsiteX85" fmla="*/ 2370829 w 3148171"/>
                  <a:gd name="connsiteY85" fmla="*/ 190500 h 3147261"/>
                  <a:gd name="connsiteX86" fmla="*/ 2370829 w 3148171"/>
                  <a:gd name="connsiteY86" fmla="*/ 190500 h 3147261"/>
                  <a:gd name="connsiteX87" fmla="*/ 2370829 w 3148171"/>
                  <a:gd name="connsiteY87" fmla="*/ 190500 h 3147261"/>
                  <a:gd name="connsiteX88" fmla="*/ 2370829 w 3148171"/>
                  <a:gd name="connsiteY88" fmla="*/ 190500 h 3147261"/>
                  <a:gd name="connsiteX89" fmla="*/ 2370829 w 3148171"/>
                  <a:gd name="connsiteY89" fmla="*/ 190500 h 3147261"/>
                  <a:gd name="connsiteX90" fmla="*/ 2370829 w 3148171"/>
                  <a:gd name="connsiteY90" fmla="*/ 190500 h 3147261"/>
                  <a:gd name="connsiteX91" fmla="*/ 2370829 w 3148171"/>
                  <a:gd name="connsiteY91" fmla="*/ 190500 h 3147261"/>
                  <a:gd name="connsiteX92" fmla="*/ 2370829 w 3148171"/>
                  <a:gd name="connsiteY92" fmla="*/ 190500 h 3147261"/>
                  <a:gd name="connsiteX93" fmla="*/ 2370829 w 3148171"/>
                  <a:gd name="connsiteY93" fmla="*/ 19050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97" fmla="*/ 2447029 w 3148171"/>
                  <a:gd name="connsiteY97" fmla="*/ 266700 h 3147261"/>
                  <a:gd name="connsiteX98" fmla="*/ 2447029 w 3148171"/>
                  <a:gd name="connsiteY98" fmla="*/ 266700 h 3147261"/>
                  <a:gd name="connsiteX99" fmla="*/ 2447029 w 3148171"/>
                  <a:gd name="connsiteY99" fmla="*/ 266700 h 3147261"/>
                  <a:gd name="connsiteX100" fmla="*/ 2447029 w 3148171"/>
                  <a:gd name="connsiteY100" fmla="*/ 266700 h 3147261"/>
                  <a:gd name="connsiteX101" fmla="*/ 2447029 w 3148171"/>
                  <a:gd name="connsiteY101" fmla="*/ 266700 h 3147261"/>
                  <a:gd name="connsiteX102" fmla="*/ 2447029 w 3148171"/>
                  <a:gd name="connsiteY102" fmla="*/ 266700 h 3147261"/>
                  <a:gd name="connsiteX103" fmla="*/ 2447029 w 3148171"/>
                  <a:gd name="connsiteY103" fmla="*/ 266700 h 3147261"/>
                  <a:gd name="connsiteX104" fmla="*/ 2447029 w 3148171"/>
                  <a:gd name="connsiteY104" fmla="*/ 266700 h 3147261"/>
                  <a:gd name="connsiteX105" fmla="*/ 2447029 w 3148171"/>
                  <a:gd name="connsiteY105" fmla="*/ 266700 h 3147261"/>
                  <a:gd name="connsiteX106" fmla="*/ 2447029 w 3148171"/>
                  <a:gd name="connsiteY106" fmla="*/ 266700 h 3147261"/>
                  <a:gd name="connsiteX107" fmla="*/ 2447029 w 3148171"/>
                  <a:gd name="connsiteY107" fmla="*/ 266700 h 3147261"/>
                  <a:gd name="connsiteX108" fmla="*/ 2448781 w 3149923"/>
                  <a:gd name="connsiteY108" fmla="*/ 266700 h 3147261"/>
                  <a:gd name="connsiteX109" fmla="*/ 2446137 w 3147279"/>
                  <a:gd name="connsiteY109" fmla="*/ 266700 h 3147261"/>
                  <a:gd name="connsiteX110" fmla="*/ 2446137 w 3147279"/>
                  <a:gd name="connsiteY110" fmla="*/ 266700 h 3147261"/>
                  <a:gd name="connsiteX111" fmla="*/ 2446137 w 3147279"/>
                  <a:gd name="connsiteY111" fmla="*/ 266700 h 3147261"/>
                  <a:gd name="connsiteX112" fmla="*/ 2446137 w 3147279"/>
                  <a:gd name="connsiteY112" fmla="*/ 266700 h 3147261"/>
                  <a:gd name="connsiteX113" fmla="*/ 2446137 w 3147279"/>
                  <a:gd name="connsiteY113" fmla="*/ 266700 h 3147261"/>
                  <a:gd name="connsiteX114" fmla="*/ 2446137 w 3147279"/>
                  <a:gd name="connsiteY114" fmla="*/ 266700 h 3147261"/>
                  <a:gd name="connsiteX115" fmla="*/ 2446137 w 3147279"/>
                  <a:gd name="connsiteY115" fmla="*/ 266700 h 3147261"/>
                  <a:gd name="connsiteX116" fmla="*/ 2446137 w 3147279"/>
                  <a:gd name="connsiteY116" fmla="*/ 266700 h 3147261"/>
                  <a:gd name="connsiteX117" fmla="*/ 2446137 w 3147279"/>
                  <a:gd name="connsiteY117" fmla="*/ 266700 h 3147261"/>
                  <a:gd name="connsiteX118" fmla="*/ 2446137 w 3147279"/>
                  <a:gd name="connsiteY118" fmla="*/ 266700 h 3147261"/>
                  <a:gd name="connsiteX119" fmla="*/ 2446137 w 3147279"/>
                  <a:gd name="connsiteY119" fmla="*/ 266700 h 3147261"/>
                  <a:gd name="connsiteX120" fmla="*/ 2446137 w 3147279"/>
                  <a:gd name="connsiteY120" fmla="*/ 266700 h 3147261"/>
                  <a:gd name="connsiteX121" fmla="*/ 2446137 w 3147279"/>
                  <a:gd name="connsiteY121" fmla="*/ 266700 h 3147261"/>
                  <a:gd name="connsiteX122" fmla="*/ 2446137 w 3147279"/>
                  <a:gd name="connsiteY122" fmla="*/ 266700 h 3147261"/>
                  <a:gd name="connsiteX123" fmla="*/ 2446137 w 3147279"/>
                  <a:gd name="connsiteY123" fmla="*/ 266700 h 3147261"/>
                  <a:gd name="connsiteX124" fmla="*/ 2446137 w 3147279"/>
                  <a:gd name="connsiteY124" fmla="*/ 266700 h 3147060"/>
                  <a:gd name="connsiteX125" fmla="*/ 2446137 w 3147279"/>
                  <a:gd name="connsiteY125" fmla="*/ 266700 h 3158149"/>
                  <a:gd name="connsiteX126" fmla="*/ 2446137 w 3147279"/>
                  <a:gd name="connsiteY126" fmla="*/ 266700 h 3147060"/>
                  <a:gd name="connsiteX127" fmla="*/ 2446137 w 3147279"/>
                  <a:gd name="connsiteY127" fmla="*/ 266700 h 3147060"/>
                  <a:gd name="connsiteX128" fmla="*/ 2446137 w 3147279"/>
                  <a:gd name="connsiteY128" fmla="*/ 266700 h 3147060"/>
                  <a:gd name="connsiteX129" fmla="*/ 2446137 w 3147279"/>
                  <a:gd name="connsiteY129" fmla="*/ 266700 h 3147060"/>
                  <a:gd name="connsiteX130" fmla="*/ 2446137 w 3147279"/>
                  <a:gd name="connsiteY130" fmla="*/ 266700 h 3147060"/>
                  <a:gd name="connsiteX131" fmla="*/ 2446137 w 3147279"/>
                  <a:gd name="connsiteY131" fmla="*/ 266700 h 3147060"/>
                  <a:gd name="connsiteX132" fmla="*/ 2446137 w 3147279"/>
                  <a:gd name="connsiteY132" fmla="*/ 266700 h 3147060"/>
                  <a:gd name="connsiteX133" fmla="*/ 2446137 w 3147279"/>
                  <a:gd name="connsiteY133" fmla="*/ 266700 h 3147060"/>
                  <a:gd name="connsiteX134" fmla="*/ 2446137 w 3147279"/>
                  <a:gd name="connsiteY134" fmla="*/ 266700 h 3147060"/>
                  <a:gd name="connsiteX135" fmla="*/ 2446137 w 3147279"/>
                  <a:gd name="connsiteY135" fmla="*/ 266700 h 3147060"/>
                  <a:gd name="connsiteX136" fmla="*/ 2446137 w 3147279"/>
                  <a:gd name="connsiteY136" fmla="*/ 266700 h 3147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3142643" h="3131365">
                    <a:moveTo>
                      <a:pt x="2371621" y="190500"/>
                    </a:moveTo>
                    <a:cubicBezTo>
                      <a:pt x="2397021" y="209550"/>
                      <a:pt x="2454171" y="265430"/>
                      <a:pt x="2493541" y="297180"/>
                    </a:cubicBezTo>
                    <a:cubicBezTo>
                      <a:pt x="2532911" y="328930"/>
                      <a:pt x="2572281" y="349250"/>
                      <a:pt x="2607841" y="381000"/>
                    </a:cubicBezTo>
                    <a:cubicBezTo>
                      <a:pt x="2643401" y="412750"/>
                      <a:pt x="2686581" y="466090"/>
                      <a:pt x="2706901" y="487680"/>
                    </a:cubicBezTo>
                    <a:cubicBezTo>
                      <a:pt x="2727221" y="509270"/>
                      <a:pt x="2722748" y="502358"/>
                      <a:pt x="2729761" y="510540"/>
                    </a:cubicBezTo>
                    <a:cubicBezTo>
                      <a:pt x="2752356" y="536901"/>
                      <a:pt x="2768126" y="567999"/>
                      <a:pt x="2790721" y="594360"/>
                    </a:cubicBezTo>
                    <a:cubicBezTo>
                      <a:pt x="2836586" y="647869"/>
                      <a:pt x="2825011" y="621030"/>
                      <a:pt x="2851681" y="662940"/>
                    </a:cubicBezTo>
                    <a:cubicBezTo>
                      <a:pt x="2878351" y="704850"/>
                      <a:pt x="2924071" y="789940"/>
                      <a:pt x="2950741" y="845820"/>
                    </a:cubicBezTo>
                    <a:cubicBezTo>
                      <a:pt x="2977411" y="901700"/>
                      <a:pt x="2997731" y="961390"/>
                      <a:pt x="3011701" y="998220"/>
                    </a:cubicBezTo>
                    <a:cubicBezTo>
                      <a:pt x="3025671" y="1035050"/>
                      <a:pt x="3019321" y="1019810"/>
                      <a:pt x="3034561" y="1066800"/>
                    </a:cubicBezTo>
                    <a:cubicBezTo>
                      <a:pt x="3049801" y="1113790"/>
                      <a:pt x="3085361" y="1210310"/>
                      <a:pt x="3103141" y="1280160"/>
                    </a:cubicBezTo>
                    <a:cubicBezTo>
                      <a:pt x="3120921" y="1350010"/>
                      <a:pt x="3136161" y="1417320"/>
                      <a:pt x="3141241" y="1485900"/>
                    </a:cubicBezTo>
                    <a:cubicBezTo>
                      <a:pt x="3146321" y="1554480"/>
                      <a:pt x="3136161" y="1644650"/>
                      <a:pt x="3133621" y="1691640"/>
                    </a:cubicBezTo>
                    <a:cubicBezTo>
                      <a:pt x="3131081" y="1717040"/>
                      <a:pt x="3137907" y="1710055"/>
                      <a:pt x="3126001" y="1767840"/>
                    </a:cubicBezTo>
                    <a:cubicBezTo>
                      <a:pt x="3114095" y="1825625"/>
                      <a:pt x="3091393" y="1944370"/>
                      <a:pt x="3062183" y="2038350"/>
                    </a:cubicBezTo>
                    <a:cubicBezTo>
                      <a:pt x="3032973" y="2132330"/>
                      <a:pt x="2986936" y="2254091"/>
                      <a:pt x="2950741" y="2331720"/>
                    </a:cubicBezTo>
                    <a:cubicBezTo>
                      <a:pt x="2914546" y="2409349"/>
                      <a:pt x="2885654" y="2448242"/>
                      <a:pt x="2845014" y="2504122"/>
                    </a:cubicBezTo>
                    <a:cubicBezTo>
                      <a:pt x="2804374" y="2560002"/>
                      <a:pt x="2797230" y="2589054"/>
                      <a:pt x="2706901" y="2667000"/>
                    </a:cubicBezTo>
                    <a:cubicBezTo>
                      <a:pt x="2616572" y="2744946"/>
                      <a:pt x="2404641" y="2907030"/>
                      <a:pt x="2303041" y="2971800"/>
                    </a:cubicBezTo>
                    <a:cubicBezTo>
                      <a:pt x="2201441" y="3036570"/>
                      <a:pt x="2179533" y="3030379"/>
                      <a:pt x="2097301" y="3055620"/>
                    </a:cubicBezTo>
                    <a:cubicBezTo>
                      <a:pt x="2015069" y="3080861"/>
                      <a:pt x="1936646" y="3114357"/>
                      <a:pt x="1809646" y="3123247"/>
                    </a:cubicBezTo>
                    <a:cubicBezTo>
                      <a:pt x="1682646" y="3132137"/>
                      <a:pt x="1504528" y="3140551"/>
                      <a:pt x="1335301" y="3108960"/>
                    </a:cubicBezTo>
                    <a:cubicBezTo>
                      <a:pt x="1166074" y="3077369"/>
                      <a:pt x="946681" y="3011170"/>
                      <a:pt x="794281" y="2933700"/>
                    </a:cubicBezTo>
                    <a:cubicBezTo>
                      <a:pt x="641881" y="2856230"/>
                      <a:pt x="503451" y="2716530"/>
                      <a:pt x="420901" y="2644140"/>
                    </a:cubicBezTo>
                    <a:cubicBezTo>
                      <a:pt x="338351" y="2571750"/>
                      <a:pt x="338351" y="2555240"/>
                      <a:pt x="298981" y="2499360"/>
                    </a:cubicBezTo>
                    <a:cubicBezTo>
                      <a:pt x="259611" y="2443480"/>
                      <a:pt x="227861" y="2401570"/>
                      <a:pt x="184681" y="2308860"/>
                    </a:cubicBezTo>
                    <a:cubicBezTo>
                      <a:pt x="141501" y="2216150"/>
                      <a:pt x="70381" y="2067560"/>
                      <a:pt x="39901" y="1943100"/>
                    </a:cubicBezTo>
                    <a:cubicBezTo>
                      <a:pt x="27201" y="1816100"/>
                      <a:pt x="-8359" y="1734820"/>
                      <a:pt x="1801" y="1562100"/>
                    </a:cubicBezTo>
                    <a:cubicBezTo>
                      <a:pt x="9265" y="1435218"/>
                      <a:pt x="28471" y="1252220"/>
                      <a:pt x="55141" y="1135380"/>
                    </a:cubicBezTo>
                    <a:cubicBezTo>
                      <a:pt x="81811" y="1018540"/>
                      <a:pt x="127531" y="932180"/>
                      <a:pt x="161821" y="861060"/>
                    </a:cubicBezTo>
                    <a:cubicBezTo>
                      <a:pt x="196111" y="789940"/>
                      <a:pt x="217701" y="767080"/>
                      <a:pt x="260881" y="708660"/>
                    </a:cubicBezTo>
                    <a:cubicBezTo>
                      <a:pt x="304061" y="650240"/>
                      <a:pt x="378991" y="556260"/>
                      <a:pt x="420901" y="510540"/>
                    </a:cubicBezTo>
                    <a:cubicBezTo>
                      <a:pt x="462811" y="464820"/>
                      <a:pt x="472971" y="467360"/>
                      <a:pt x="512341" y="434340"/>
                    </a:cubicBezTo>
                    <a:cubicBezTo>
                      <a:pt x="551711" y="401320"/>
                      <a:pt x="597431" y="355600"/>
                      <a:pt x="657121" y="312420"/>
                    </a:cubicBezTo>
                    <a:cubicBezTo>
                      <a:pt x="716811" y="269240"/>
                      <a:pt x="820951" y="205740"/>
                      <a:pt x="870481" y="175260"/>
                    </a:cubicBezTo>
                    <a:cubicBezTo>
                      <a:pt x="945411" y="135890"/>
                      <a:pt x="1044471" y="99060"/>
                      <a:pt x="1106701" y="76200"/>
                    </a:cubicBezTo>
                    <a:cubicBezTo>
                      <a:pt x="1168931" y="53340"/>
                      <a:pt x="1196871" y="48260"/>
                      <a:pt x="1243861" y="38100"/>
                    </a:cubicBezTo>
                    <a:cubicBezTo>
                      <a:pt x="1290851" y="27940"/>
                      <a:pt x="1351811" y="21590"/>
                      <a:pt x="1388641" y="15240"/>
                    </a:cubicBezTo>
                    <a:cubicBezTo>
                      <a:pt x="1425471" y="8890"/>
                      <a:pt x="1464841" y="0"/>
                      <a:pt x="1464841" y="0"/>
                    </a:cubicBezTo>
                    <a:lnTo>
                      <a:pt x="1746781" y="0"/>
                    </a:lnTo>
                    <a:cubicBezTo>
                      <a:pt x="1863621" y="16510"/>
                      <a:pt x="2066821" y="68580"/>
                      <a:pt x="2165881" y="99060"/>
                    </a:cubicBezTo>
                    <a:cubicBezTo>
                      <a:pt x="2264941" y="129540"/>
                      <a:pt x="2282524" y="168226"/>
                      <a:pt x="2341141" y="182880"/>
                    </a:cubicBezTo>
                    <a:lnTo>
                      <a:pt x="2371621" y="190500"/>
                    </a:ln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74" name="Freeform: Shape 41">
                <a:extLst>
                  <a:ext uri="{FF2B5EF4-FFF2-40B4-BE49-F238E27FC236}">
                    <a16:creationId xmlns:a16="http://schemas.microsoft.com/office/drawing/2014/main" id="{A553759F-37B4-D742-F259-5D8CE81057E5}"/>
                  </a:ext>
                </a:extLst>
              </p:cNvPr>
              <p:cNvSpPr/>
              <p:nvPr/>
            </p:nvSpPr>
            <p:spPr>
              <a:xfrm>
                <a:off x="4610100" y="2186941"/>
                <a:ext cx="2056448" cy="917172"/>
              </a:xfrm>
              <a:custGeom>
                <a:avLst/>
                <a:gdLst>
                  <a:gd name="connsiteX0" fmla="*/ 0 w 2056448"/>
                  <a:gd name="connsiteY0" fmla="*/ 0 h 917172"/>
                  <a:gd name="connsiteX1" fmla="*/ 83820 w 2056448"/>
                  <a:gd name="connsiteY1" fmla="*/ 137160 h 917172"/>
                  <a:gd name="connsiteX2" fmla="*/ 106680 w 2056448"/>
                  <a:gd name="connsiteY2" fmla="*/ 175260 h 917172"/>
                  <a:gd name="connsiteX3" fmla="*/ 144780 w 2056448"/>
                  <a:gd name="connsiteY3" fmla="*/ 236220 h 917172"/>
                  <a:gd name="connsiteX4" fmla="*/ 297180 w 2056448"/>
                  <a:gd name="connsiteY4" fmla="*/ 392430 h 917172"/>
                  <a:gd name="connsiteX5" fmla="*/ 442913 w 2056448"/>
                  <a:gd name="connsiteY5" fmla="*/ 496252 h 917172"/>
                  <a:gd name="connsiteX6" fmla="*/ 541020 w 2056448"/>
                  <a:gd name="connsiteY6" fmla="*/ 556260 h 917172"/>
                  <a:gd name="connsiteX7" fmla="*/ 724852 w 2056448"/>
                  <a:gd name="connsiteY7" fmla="*/ 678180 h 917172"/>
                  <a:gd name="connsiteX8" fmla="*/ 882015 w 2056448"/>
                  <a:gd name="connsiteY8" fmla="*/ 748665 h 917172"/>
                  <a:gd name="connsiteX9" fmla="*/ 1039178 w 2056448"/>
                  <a:gd name="connsiteY9" fmla="*/ 808672 h 917172"/>
                  <a:gd name="connsiteX10" fmla="*/ 1211580 w 2056448"/>
                  <a:gd name="connsiteY10" fmla="*/ 868680 h 917172"/>
                  <a:gd name="connsiteX11" fmla="*/ 1502093 w 2056448"/>
                  <a:gd name="connsiteY11" fmla="*/ 913448 h 917172"/>
                  <a:gd name="connsiteX12" fmla="*/ 1646872 w 2056448"/>
                  <a:gd name="connsiteY12" fmla="*/ 916305 h 917172"/>
                  <a:gd name="connsiteX13" fmla="*/ 1953578 w 2056448"/>
                  <a:gd name="connsiteY13" fmla="*/ 880110 h 917172"/>
                  <a:gd name="connsiteX14" fmla="*/ 2056448 w 2056448"/>
                  <a:gd name="connsiteY14" fmla="*/ 822008 h 917172"/>
                  <a:gd name="connsiteX15" fmla="*/ 2056448 w 2056448"/>
                  <a:gd name="connsiteY15" fmla="*/ 822008 h 917172"/>
                  <a:gd name="connsiteX16" fmla="*/ 2056448 w 2056448"/>
                  <a:gd name="connsiteY16" fmla="*/ 822008 h 917172"/>
                  <a:gd name="connsiteX17" fmla="*/ 2056448 w 2056448"/>
                  <a:gd name="connsiteY17" fmla="*/ 822008 h 917172"/>
                  <a:gd name="connsiteX18" fmla="*/ 2056448 w 2056448"/>
                  <a:gd name="connsiteY18" fmla="*/ 822008 h 906780"/>
                  <a:gd name="connsiteX19" fmla="*/ 2056448 w 2056448"/>
                  <a:gd name="connsiteY19" fmla="*/ 822008 h 906780"/>
                  <a:gd name="connsiteX20" fmla="*/ 2056448 w 2056448"/>
                  <a:gd name="connsiteY20" fmla="*/ 822008 h 906780"/>
                  <a:gd name="connsiteX21" fmla="*/ 2056448 w 2056448"/>
                  <a:gd name="connsiteY21" fmla="*/ 822008 h 906780"/>
                  <a:gd name="connsiteX22" fmla="*/ 2056448 w 2056448"/>
                  <a:gd name="connsiteY22" fmla="*/ 822008 h 906780"/>
                  <a:gd name="connsiteX23" fmla="*/ 2056448 w 2056448"/>
                  <a:gd name="connsiteY23" fmla="*/ 822008 h 906780"/>
                  <a:gd name="connsiteX24" fmla="*/ 2056448 w 2056448"/>
                  <a:gd name="connsiteY24" fmla="*/ 822008 h 906780"/>
                  <a:gd name="connsiteX25" fmla="*/ 2056448 w 2056448"/>
                  <a:gd name="connsiteY25" fmla="*/ 822008 h 906780"/>
                  <a:gd name="connsiteX26" fmla="*/ 2080260 w 2080260"/>
                  <a:gd name="connsiteY26" fmla="*/ 845820 h 906780"/>
                  <a:gd name="connsiteX27" fmla="*/ 2080260 w 2080260"/>
                  <a:gd name="connsiteY27" fmla="*/ 845820 h 932460"/>
                  <a:gd name="connsiteX28" fmla="*/ 2080260 w 2080260"/>
                  <a:gd name="connsiteY28" fmla="*/ 845820 h 932460"/>
                  <a:gd name="connsiteX29" fmla="*/ 2080260 w 2080260"/>
                  <a:gd name="connsiteY29" fmla="*/ 845820 h 932460"/>
                  <a:gd name="connsiteX30" fmla="*/ 2080260 w 2080260"/>
                  <a:gd name="connsiteY30" fmla="*/ 845820 h 932460"/>
                  <a:gd name="connsiteX31" fmla="*/ 2080260 w 2080260"/>
                  <a:gd name="connsiteY31" fmla="*/ 845820 h 932460"/>
                  <a:gd name="connsiteX32" fmla="*/ 2080260 w 2080260"/>
                  <a:gd name="connsiteY32" fmla="*/ 845820 h 932460"/>
                  <a:gd name="connsiteX33" fmla="*/ 2080260 w 2080260"/>
                  <a:gd name="connsiteY33" fmla="*/ 845820 h 932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56448" h="917172">
                    <a:moveTo>
                      <a:pt x="0" y="0"/>
                    </a:moveTo>
                    <a:lnTo>
                      <a:pt x="83820" y="137160"/>
                    </a:lnTo>
                    <a:cubicBezTo>
                      <a:pt x="101600" y="166370"/>
                      <a:pt x="99487" y="162313"/>
                      <a:pt x="106680" y="175260"/>
                    </a:cubicBezTo>
                    <a:cubicBezTo>
                      <a:pt x="116319" y="192611"/>
                      <a:pt x="113030" y="200025"/>
                      <a:pt x="144780" y="236220"/>
                    </a:cubicBezTo>
                    <a:cubicBezTo>
                      <a:pt x="176530" y="272415"/>
                      <a:pt x="247491" y="349091"/>
                      <a:pt x="297180" y="392430"/>
                    </a:cubicBezTo>
                    <a:cubicBezTo>
                      <a:pt x="346869" y="435769"/>
                      <a:pt x="402273" y="468947"/>
                      <a:pt x="442913" y="496252"/>
                    </a:cubicBezTo>
                    <a:cubicBezTo>
                      <a:pt x="483553" y="523557"/>
                      <a:pt x="494030" y="525939"/>
                      <a:pt x="541020" y="556260"/>
                    </a:cubicBezTo>
                    <a:cubicBezTo>
                      <a:pt x="588010" y="586581"/>
                      <a:pt x="668020" y="646113"/>
                      <a:pt x="724852" y="678180"/>
                    </a:cubicBezTo>
                    <a:cubicBezTo>
                      <a:pt x="781685" y="710248"/>
                      <a:pt x="829627" y="726916"/>
                      <a:pt x="882015" y="748665"/>
                    </a:cubicBezTo>
                    <a:cubicBezTo>
                      <a:pt x="934403" y="770414"/>
                      <a:pt x="984251" y="788670"/>
                      <a:pt x="1039178" y="808672"/>
                    </a:cubicBezTo>
                    <a:cubicBezTo>
                      <a:pt x="1094105" y="828674"/>
                      <a:pt x="1134428" y="851217"/>
                      <a:pt x="1211580" y="868680"/>
                    </a:cubicBezTo>
                    <a:cubicBezTo>
                      <a:pt x="1288732" y="886143"/>
                      <a:pt x="1429544" y="905511"/>
                      <a:pt x="1502093" y="913448"/>
                    </a:cubicBezTo>
                    <a:cubicBezTo>
                      <a:pt x="1574642" y="921386"/>
                      <a:pt x="1624012" y="913765"/>
                      <a:pt x="1646872" y="916305"/>
                    </a:cubicBezTo>
                    <a:cubicBezTo>
                      <a:pt x="1726882" y="916305"/>
                      <a:pt x="1885315" y="895826"/>
                      <a:pt x="1953578" y="880110"/>
                    </a:cubicBezTo>
                    <a:cubicBezTo>
                      <a:pt x="2021841" y="864394"/>
                      <a:pt x="2031683" y="835025"/>
                      <a:pt x="2056448" y="822008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75" name="Freeform: Shape 48">
                <a:extLst>
                  <a:ext uri="{FF2B5EF4-FFF2-40B4-BE49-F238E27FC236}">
                    <a16:creationId xmlns:a16="http://schemas.microsoft.com/office/drawing/2014/main" id="{ACE08297-8F97-BB6D-7BF1-703138B2E785}"/>
                  </a:ext>
                </a:extLst>
              </p:cNvPr>
              <p:cNvSpPr/>
              <p:nvPr/>
            </p:nvSpPr>
            <p:spPr>
              <a:xfrm>
                <a:off x="3787140" y="3009900"/>
                <a:ext cx="2944177" cy="1234440"/>
              </a:xfrm>
              <a:custGeom>
                <a:avLst/>
                <a:gdLst>
                  <a:gd name="connsiteX0" fmla="*/ 0 w 2944177"/>
                  <a:gd name="connsiteY0" fmla="*/ 0 h 1234440"/>
                  <a:gd name="connsiteX1" fmla="*/ 45720 w 2944177"/>
                  <a:gd name="connsiteY1" fmla="*/ 76200 h 1234440"/>
                  <a:gd name="connsiteX2" fmla="*/ 121920 w 2944177"/>
                  <a:gd name="connsiteY2" fmla="*/ 198120 h 1234440"/>
                  <a:gd name="connsiteX3" fmla="*/ 198120 w 2944177"/>
                  <a:gd name="connsiteY3" fmla="*/ 289560 h 1234440"/>
                  <a:gd name="connsiteX4" fmla="*/ 251460 w 2944177"/>
                  <a:gd name="connsiteY4" fmla="*/ 358140 h 1234440"/>
                  <a:gd name="connsiteX5" fmla="*/ 312420 w 2944177"/>
                  <a:gd name="connsiteY5" fmla="*/ 419100 h 1234440"/>
                  <a:gd name="connsiteX6" fmla="*/ 396240 w 2944177"/>
                  <a:gd name="connsiteY6" fmla="*/ 510540 h 1234440"/>
                  <a:gd name="connsiteX7" fmla="*/ 464820 w 2944177"/>
                  <a:gd name="connsiteY7" fmla="*/ 579120 h 1234440"/>
                  <a:gd name="connsiteX8" fmla="*/ 533400 w 2944177"/>
                  <a:gd name="connsiteY8" fmla="*/ 624840 h 1234440"/>
                  <a:gd name="connsiteX9" fmla="*/ 617220 w 2944177"/>
                  <a:gd name="connsiteY9" fmla="*/ 693420 h 1234440"/>
                  <a:gd name="connsiteX10" fmla="*/ 670560 w 2944177"/>
                  <a:gd name="connsiteY10" fmla="*/ 746760 h 1234440"/>
                  <a:gd name="connsiteX11" fmla="*/ 769620 w 2944177"/>
                  <a:gd name="connsiteY11" fmla="*/ 830580 h 1234440"/>
                  <a:gd name="connsiteX12" fmla="*/ 967740 w 2944177"/>
                  <a:gd name="connsiteY12" fmla="*/ 937260 h 1234440"/>
                  <a:gd name="connsiteX13" fmla="*/ 1074420 w 2944177"/>
                  <a:gd name="connsiteY13" fmla="*/ 998220 h 1234440"/>
                  <a:gd name="connsiteX14" fmla="*/ 1158240 w 2944177"/>
                  <a:gd name="connsiteY14" fmla="*/ 1036320 h 1234440"/>
                  <a:gd name="connsiteX15" fmla="*/ 1447800 w 2944177"/>
                  <a:gd name="connsiteY15" fmla="*/ 1152525 h 1234440"/>
                  <a:gd name="connsiteX16" fmla="*/ 1760220 w 2944177"/>
                  <a:gd name="connsiteY16" fmla="*/ 1201103 h 1234440"/>
                  <a:gd name="connsiteX17" fmla="*/ 1988820 w 2944177"/>
                  <a:gd name="connsiteY17" fmla="*/ 1226820 h 1234440"/>
                  <a:gd name="connsiteX18" fmla="*/ 2098358 w 2944177"/>
                  <a:gd name="connsiteY18" fmla="*/ 1234440 h 1234440"/>
                  <a:gd name="connsiteX19" fmla="*/ 2423160 w 2944177"/>
                  <a:gd name="connsiteY19" fmla="*/ 1196340 h 1234440"/>
                  <a:gd name="connsiteX20" fmla="*/ 2506980 w 2944177"/>
                  <a:gd name="connsiteY20" fmla="*/ 1165860 h 1234440"/>
                  <a:gd name="connsiteX21" fmla="*/ 2621280 w 2944177"/>
                  <a:gd name="connsiteY21" fmla="*/ 1127760 h 1234440"/>
                  <a:gd name="connsiteX22" fmla="*/ 2781300 w 2944177"/>
                  <a:gd name="connsiteY22" fmla="*/ 1066800 h 1234440"/>
                  <a:gd name="connsiteX23" fmla="*/ 2944177 w 2944177"/>
                  <a:gd name="connsiteY23" fmla="*/ 992505 h 1234440"/>
                  <a:gd name="connsiteX24" fmla="*/ 2944177 w 2944177"/>
                  <a:gd name="connsiteY24" fmla="*/ 992505 h 1234440"/>
                  <a:gd name="connsiteX25" fmla="*/ 2956560 w 2956560"/>
                  <a:gd name="connsiteY25" fmla="*/ 998220 h 1234440"/>
                  <a:gd name="connsiteX26" fmla="*/ 2956560 w 2956560"/>
                  <a:gd name="connsiteY26" fmla="*/ 998220 h 1234440"/>
                  <a:gd name="connsiteX27" fmla="*/ 2956560 w 2956560"/>
                  <a:gd name="connsiteY27" fmla="*/ 998220 h 1234440"/>
                  <a:gd name="connsiteX28" fmla="*/ 2956560 w 2956560"/>
                  <a:gd name="connsiteY28" fmla="*/ 998220 h 1234440"/>
                  <a:gd name="connsiteX29" fmla="*/ 2956560 w 2956560"/>
                  <a:gd name="connsiteY29" fmla="*/ 998220 h 1234440"/>
                  <a:gd name="connsiteX30" fmla="*/ 2956560 w 2956560"/>
                  <a:gd name="connsiteY30" fmla="*/ 998220 h 1234440"/>
                  <a:gd name="connsiteX31" fmla="*/ 2956560 w 2956560"/>
                  <a:gd name="connsiteY31" fmla="*/ 998220 h 1234440"/>
                  <a:gd name="connsiteX32" fmla="*/ 2956560 w 2956560"/>
                  <a:gd name="connsiteY32" fmla="*/ 998220 h 1234440"/>
                  <a:gd name="connsiteX33" fmla="*/ 2956560 w 2956560"/>
                  <a:gd name="connsiteY33" fmla="*/ 998220 h 1234440"/>
                  <a:gd name="connsiteX34" fmla="*/ 2956560 w 2956560"/>
                  <a:gd name="connsiteY34" fmla="*/ 998220 h 1234440"/>
                  <a:gd name="connsiteX35" fmla="*/ 2956560 w 2956560"/>
                  <a:gd name="connsiteY35" fmla="*/ 998220 h 1234440"/>
                  <a:gd name="connsiteX36" fmla="*/ 2956560 w 2956560"/>
                  <a:gd name="connsiteY36" fmla="*/ 998220 h 1234440"/>
                  <a:gd name="connsiteX37" fmla="*/ 2956560 w 2956560"/>
                  <a:gd name="connsiteY37" fmla="*/ 998220 h 1234440"/>
                  <a:gd name="connsiteX38" fmla="*/ 2956560 w 2956560"/>
                  <a:gd name="connsiteY38" fmla="*/ 998220 h 1234440"/>
                  <a:gd name="connsiteX39" fmla="*/ 2956560 w 2956560"/>
                  <a:gd name="connsiteY39" fmla="*/ 998220 h 1234440"/>
                  <a:gd name="connsiteX40" fmla="*/ 2956560 w 2956560"/>
                  <a:gd name="connsiteY40" fmla="*/ 998220 h 1234440"/>
                  <a:gd name="connsiteX41" fmla="*/ 2956560 w 2956560"/>
                  <a:gd name="connsiteY41" fmla="*/ 998220 h 1234440"/>
                  <a:gd name="connsiteX42" fmla="*/ 2956560 w 2956560"/>
                  <a:gd name="connsiteY42" fmla="*/ 998220 h 1234440"/>
                  <a:gd name="connsiteX43" fmla="*/ 2956560 w 2956560"/>
                  <a:gd name="connsiteY43" fmla="*/ 998220 h 1249680"/>
                  <a:gd name="connsiteX44" fmla="*/ 2956560 w 2956560"/>
                  <a:gd name="connsiteY44" fmla="*/ 998220 h 1249680"/>
                  <a:gd name="connsiteX45" fmla="*/ 2956560 w 2956560"/>
                  <a:gd name="connsiteY45" fmla="*/ 998220 h 1249680"/>
                  <a:gd name="connsiteX46" fmla="*/ 2956560 w 2956560"/>
                  <a:gd name="connsiteY46" fmla="*/ 998220 h 1249680"/>
                  <a:gd name="connsiteX47" fmla="*/ 2956560 w 2956560"/>
                  <a:gd name="connsiteY47" fmla="*/ 998220 h 1249680"/>
                  <a:gd name="connsiteX48" fmla="*/ 2956560 w 2956560"/>
                  <a:gd name="connsiteY48" fmla="*/ 998220 h 1249680"/>
                  <a:gd name="connsiteX49" fmla="*/ 2956560 w 2956560"/>
                  <a:gd name="connsiteY49" fmla="*/ 998220 h 1249680"/>
                  <a:gd name="connsiteX50" fmla="*/ 2956560 w 2956560"/>
                  <a:gd name="connsiteY50" fmla="*/ 998220 h 1249680"/>
                  <a:gd name="connsiteX51" fmla="*/ 2956560 w 2956560"/>
                  <a:gd name="connsiteY51" fmla="*/ 998220 h 1249680"/>
                  <a:gd name="connsiteX52" fmla="*/ 2956560 w 2956560"/>
                  <a:gd name="connsiteY52" fmla="*/ 998220 h 1249680"/>
                  <a:gd name="connsiteX53" fmla="*/ 2956560 w 2956560"/>
                  <a:gd name="connsiteY53" fmla="*/ 998220 h 1249680"/>
                  <a:gd name="connsiteX54" fmla="*/ 2956560 w 2956560"/>
                  <a:gd name="connsiteY54" fmla="*/ 998220 h 1249680"/>
                  <a:gd name="connsiteX55" fmla="*/ 2956560 w 2956560"/>
                  <a:gd name="connsiteY55" fmla="*/ 998220 h 1249680"/>
                  <a:gd name="connsiteX56" fmla="*/ 2956560 w 2956560"/>
                  <a:gd name="connsiteY56" fmla="*/ 998220 h 1249680"/>
                  <a:gd name="connsiteX57" fmla="*/ 2956560 w 2956560"/>
                  <a:gd name="connsiteY57" fmla="*/ 998220 h 124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944177" h="1234440">
                    <a:moveTo>
                      <a:pt x="0" y="0"/>
                    </a:moveTo>
                    <a:cubicBezTo>
                      <a:pt x="67942" y="84928"/>
                      <a:pt x="25400" y="43180"/>
                      <a:pt x="45720" y="76200"/>
                    </a:cubicBezTo>
                    <a:cubicBezTo>
                      <a:pt x="66040" y="109220"/>
                      <a:pt x="96520" y="162560"/>
                      <a:pt x="121920" y="198120"/>
                    </a:cubicBezTo>
                    <a:cubicBezTo>
                      <a:pt x="147320" y="233680"/>
                      <a:pt x="176530" y="262890"/>
                      <a:pt x="198120" y="289560"/>
                    </a:cubicBezTo>
                    <a:cubicBezTo>
                      <a:pt x="219710" y="316230"/>
                      <a:pt x="232410" y="336550"/>
                      <a:pt x="251460" y="358140"/>
                    </a:cubicBezTo>
                    <a:cubicBezTo>
                      <a:pt x="270510" y="379730"/>
                      <a:pt x="288290" y="393700"/>
                      <a:pt x="312420" y="419100"/>
                    </a:cubicBezTo>
                    <a:cubicBezTo>
                      <a:pt x="336550" y="444500"/>
                      <a:pt x="370840" y="483870"/>
                      <a:pt x="396240" y="510540"/>
                    </a:cubicBezTo>
                    <a:cubicBezTo>
                      <a:pt x="421640" y="537210"/>
                      <a:pt x="441960" y="560070"/>
                      <a:pt x="464820" y="579120"/>
                    </a:cubicBezTo>
                    <a:cubicBezTo>
                      <a:pt x="487680" y="598170"/>
                      <a:pt x="508000" y="605790"/>
                      <a:pt x="533400" y="624840"/>
                    </a:cubicBezTo>
                    <a:cubicBezTo>
                      <a:pt x="558800" y="643890"/>
                      <a:pt x="594360" y="673100"/>
                      <a:pt x="617220" y="693420"/>
                    </a:cubicBezTo>
                    <a:cubicBezTo>
                      <a:pt x="640080" y="713740"/>
                      <a:pt x="645160" y="723900"/>
                      <a:pt x="670560" y="746760"/>
                    </a:cubicBezTo>
                    <a:cubicBezTo>
                      <a:pt x="695960" y="769620"/>
                      <a:pt x="720090" y="798830"/>
                      <a:pt x="769620" y="830580"/>
                    </a:cubicBezTo>
                    <a:cubicBezTo>
                      <a:pt x="819150" y="862330"/>
                      <a:pt x="916940" y="909320"/>
                      <a:pt x="967740" y="937260"/>
                    </a:cubicBezTo>
                    <a:cubicBezTo>
                      <a:pt x="1018540" y="965200"/>
                      <a:pt x="1042670" y="981710"/>
                      <a:pt x="1074420" y="998220"/>
                    </a:cubicBezTo>
                    <a:cubicBezTo>
                      <a:pt x="1106170" y="1014730"/>
                      <a:pt x="1096010" y="1010603"/>
                      <a:pt x="1158240" y="1036320"/>
                    </a:cubicBezTo>
                    <a:cubicBezTo>
                      <a:pt x="1220470" y="1062038"/>
                      <a:pt x="1345883" y="1121886"/>
                      <a:pt x="1447800" y="1152525"/>
                    </a:cubicBezTo>
                    <a:cubicBezTo>
                      <a:pt x="1549717" y="1183164"/>
                      <a:pt x="1670050" y="1188721"/>
                      <a:pt x="1760220" y="1201103"/>
                    </a:cubicBezTo>
                    <a:cubicBezTo>
                      <a:pt x="1850390" y="1213485"/>
                      <a:pt x="1932464" y="1221264"/>
                      <a:pt x="1988820" y="1226820"/>
                    </a:cubicBezTo>
                    <a:cubicBezTo>
                      <a:pt x="2045176" y="1232376"/>
                      <a:pt x="2061845" y="1231900"/>
                      <a:pt x="2098358" y="1234440"/>
                    </a:cubicBezTo>
                    <a:cubicBezTo>
                      <a:pt x="2217738" y="1221740"/>
                      <a:pt x="2355056" y="1207770"/>
                      <a:pt x="2423160" y="1196340"/>
                    </a:cubicBezTo>
                    <a:cubicBezTo>
                      <a:pt x="2491264" y="1184910"/>
                      <a:pt x="2473960" y="1177290"/>
                      <a:pt x="2506980" y="1165860"/>
                    </a:cubicBezTo>
                    <a:cubicBezTo>
                      <a:pt x="2540000" y="1154430"/>
                      <a:pt x="2575560" y="1144270"/>
                      <a:pt x="2621280" y="1127760"/>
                    </a:cubicBezTo>
                    <a:cubicBezTo>
                      <a:pt x="2667000" y="1111250"/>
                      <a:pt x="2727484" y="1089343"/>
                      <a:pt x="2781300" y="1066800"/>
                    </a:cubicBezTo>
                    <a:cubicBezTo>
                      <a:pt x="2835116" y="1044258"/>
                      <a:pt x="2910244" y="1007983"/>
                      <a:pt x="2944177" y="992505"/>
                    </a:cubicBezTo>
                  </a:path>
                </a:pathLst>
              </a:custGeom>
              <a:noFill/>
              <a:ln w="3175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79" name="Freeform: Shape 49">
                <a:extLst>
                  <a:ext uri="{FF2B5EF4-FFF2-40B4-BE49-F238E27FC236}">
                    <a16:creationId xmlns:a16="http://schemas.microsoft.com/office/drawing/2014/main" id="{A1FCDD6A-58DD-2FD5-5410-9D10ACC4BBC2}"/>
                  </a:ext>
                </a:extLst>
              </p:cNvPr>
              <p:cNvSpPr/>
              <p:nvPr/>
            </p:nvSpPr>
            <p:spPr>
              <a:xfrm>
                <a:off x="5813581" y="1990894"/>
                <a:ext cx="389411" cy="442575"/>
              </a:xfrm>
              <a:custGeom>
                <a:avLst/>
                <a:gdLst>
                  <a:gd name="connsiteX0" fmla="*/ 298600 w 389411"/>
                  <a:gd name="connsiteY0" fmla="*/ 267315 h 442575"/>
                  <a:gd name="connsiteX1" fmla="*/ 329080 w 389411"/>
                  <a:gd name="connsiteY1" fmla="*/ 206355 h 442575"/>
                  <a:gd name="connsiteX2" fmla="*/ 336700 w 389411"/>
                  <a:gd name="connsiteY2" fmla="*/ 183495 h 442575"/>
                  <a:gd name="connsiteX3" fmla="*/ 374800 w 389411"/>
                  <a:gd name="connsiteY3" fmla="*/ 130155 h 442575"/>
                  <a:gd name="connsiteX4" fmla="*/ 382420 w 389411"/>
                  <a:gd name="connsiteY4" fmla="*/ 107295 h 442575"/>
                  <a:gd name="connsiteX5" fmla="*/ 264310 w 389411"/>
                  <a:gd name="connsiteY5" fmla="*/ 44430 h 442575"/>
                  <a:gd name="connsiteX6" fmla="*/ 191920 w 389411"/>
                  <a:gd name="connsiteY6" fmla="*/ 615 h 442575"/>
                  <a:gd name="connsiteX7" fmla="*/ 146200 w 389411"/>
                  <a:gd name="connsiteY7" fmla="*/ 76815 h 442575"/>
                  <a:gd name="connsiteX8" fmla="*/ 54760 w 389411"/>
                  <a:gd name="connsiteY8" fmla="*/ 183495 h 442575"/>
                  <a:gd name="connsiteX9" fmla="*/ 39520 w 389411"/>
                  <a:gd name="connsiteY9" fmla="*/ 206355 h 442575"/>
                  <a:gd name="connsiteX10" fmla="*/ 9992 w 389411"/>
                  <a:gd name="connsiteY10" fmla="*/ 267315 h 442575"/>
                  <a:gd name="connsiteX11" fmla="*/ 10945 w 389411"/>
                  <a:gd name="connsiteY11" fmla="*/ 328275 h 442575"/>
                  <a:gd name="connsiteX12" fmla="*/ 169060 w 389411"/>
                  <a:gd name="connsiteY12" fmla="*/ 442575 h 442575"/>
                  <a:gd name="connsiteX13" fmla="*/ 169060 w 389411"/>
                  <a:gd name="connsiteY13" fmla="*/ 442575 h 450195"/>
                  <a:gd name="connsiteX14" fmla="*/ 169060 w 389411"/>
                  <a:gd name="connsiteY14" fmla="*/ 442575 h 457714"/>
                  <a:gd name="connsiteX15" fmla="*/ 290980 w 389411"/>
                  <a:gd name="connsiteY15" fmla="*/ 541635 h 541635"/>
                  <a:gd name="connsiteX16" fmla="*/ 183823 w 381314"/>
                  <a:gd name="connsiteY16" fmla="*/ 615 h 452239"/>
                  <a:gd name="connsiteX17" fmla="*/ 183823 w 381314"/>
                  <a:gd name="connsiteY17" fmla="*/ 615 h 450195"/>
                  <a:gd name="connsiteX18" fmla="*/ 183823 w 381314"/>
                  <a:gd name="connsiteY18" fmla="*/ 615 h 450195"/>
                  <a:gd name="connsiteX19" fmla="*/ 167640 w 365131"/>
                  <a:gd name="connsiteY19" fmla="*/ 615 h 450195"/>
                  <a:gd name="connsiteX20" fmla="*/ 167640 w 365131"/>
                  <a:gd name="connsiteY20" fmla="*/ 615 h 450195"/>
                  <a:gd name="connsiteX21" fmla="*/ 167640 w 358712"/>
                  <a:gd name="connsiteY21" fmla="*/ 3883 h 453463"/>
                  <a:gd name="connsiteX22" fmla="*/ 167640 w 358317"/>
                  <a:gd name="connsiteY22" fmla="*/ 2549 h 452129"/>
                  <a:gd name="connsiteX23" fmla="*/ 167640 w 358317"/>
                  <a:gd name="connsiteY23" fmla="*/ 2549 h 452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9411" h="442575">
                    <a:moveTo>
                      <a:pt x="298600" y="267315"/>
                    </a:moveTo>
                    <a:cubicBezTo>
                      <a:pt x="320190" y="226675"/>
                      <a:pt x="321896" y="227908"/>
                      <a:pt x="329080" y="206355"/>
                    </a:cubicBezTo>
                    <a:cubicBezTo>
                      <a:pt x="331620" y="198735"/>
                      <a:pt x="333108" y="190679"/>
                      <a:pt x="336700" y="183495"/>
                    </a:cubicBezTo>
                    <a:cubicBezTo>
                      <a:pt x="342271" y="172353"/>
                      <a:pt x="369623" y="137058"/>
                      <a:pt x="374800" y="130155"/>
                    </a:cubicBezTo>
                    <a:cubicBezTo>
                      <a:pt x="377340" y="122535"/>
                      <a:pt x="400835" y="121583"/>
                      <a:pt x="382420" y="107295"/>
                    </a:cubicBezTo>
                    <a:cubicBezTo>
                      <a:pt x="364005" y="93008"/>
                      <a:pt x="296060" y="62210"/>
                      <a:pt x="264310" y="44430"/>
                    </a:cubicBezTo>
                    <a:cubicBezTo>
                      <a:pt x="232560" y="26650"/>
                      <a:pt x="211605" y="-4782"/>
                      <a:pt x="191920" y="615"/>
                    </a:cubicBezTo>
                    <a:cubicBezTo>
                      <a:pt x="172235" y="6012"/>
                      <a:pt x="169060" y="46335"/>
                      <a:pt x="146200" y="76815"/>
                    </a:cubicBezTo>
                    <a:cubicBezTo>
                      <a:pt x="123340" y="107295"/>
                      <a:pt x="72540" y="161905"/>
                      <a:pt x="54760" y="183495"/>
                    </a:cubicBezTo>
                    <a:cubicBezTo>
                      <a:pt x="36980" y="205085"/>
                      <a:pt x="46981" y="192385"/>
                      <a:pt x="39520" y="206355"/>
                    </a:cubicBezTo>
                    <a:cubicBezTo>
                      <a:pt x="32059" y="220325"/>
                      <a:pt x="12890" y="252824"/>
                      <a:pt x="9992" y="267315"/>
                    </a:cubicBezTo>
                    <a:cubicBezTo>
                      <a:pt x="15072" y="300335"/>
                      <a:pt x="-15566" y="299065"/>
                      <a:pt x="10945" y="328275"/>
                    </a:cubicBezTo>
                    <a:cubicBezTo>
                      <a:pt x="37456" y="357485"/>
                      <a:pt x="142390" y="428605"/>
                      <a:pt x="169060" y="442575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80" name="Freeform: Shape 50">
                <a:extLst>
                  <a:ext uri="{FF2B5EF4-FFF2-40B4-BE49-F238E27FC236}">
                    <a16:creationId xmlns:a16="http://schemas.microsoft.com/office/drawing/2014/main" id="{FA37676B-88E1-5955-EB17-BC3B203A12B8}"/>
                  </a:ext>
                </a:extLst>
              </p:cNvPr>
              <p:cNvSpPr/>
              <p:nvPr/>
            </p:nvSpPr>
            <p:spPr>
              <a:xfrm>
                <a:off x="4302959" y="4952838"/>
                <a:ext cx="368334" cy="368304"/>
              </a:xfrm>
              <a:custGeom>
                <a:avLst/>
                <a:gdLst>
                  <a:gd name="connsiteX0" fmla="*/ 124261 w 368334"/>
                  <a:gd name="connsiteY0" fmla="*/ 162 h 368304"/>
                  <a:gd name="connsiteX1" fmla="*/ 109021 w 368334"/>
                  <a:gd name="connsiteY1" fmla="*/ 38262 h 368304"/>
                  <a:gd name="connsiteX2" fmla="*/ 101401 w 368334"/>
                  <a:gd name="connsiteY2" fmla="*/ 61122 h 368304"/>
                  <a:gd name="connsiteX3" fmla="*/ 85684 w 368334"/>
                  <a:gd name="connsiteY3" fmla="*/ 107794 h 368304"/>
                  <a:gd name="connsiteX4" fmla="*/ 39489 w 368334"/>
                  <a:gd name="connsiteY4" fmla="*/ 211617 h 368304"/>
                  <a:gd name="connsiteX5" fmla="*/ 26630 w 368334"/>
                  <a:gd name="connsiteY5" fmla="*/ 242097 h 368304"/>
                  <a:gd name="connsiteX6" fmla="*/ 8056 w 368334"/>
                  <a:gd name="connsiteY6" fmla="*/ 290674 h 368304"/>
                  <a:gd name="connsiteX7" fmla="*/ 185697 w 368334"/>
                  <a:gd name="connsiteY7" fmla="*/ 368304 h 368304"/>
                  <a:gd name="connsiteX8" fmla="*/ 215701 w 368334"/>
                  <a:gd name="connsiteY8" fmla="*/ 350682 h 368304"/>
                  <a:gd name="connsiteX9" fmla="*/ 253801 w 368334"/>
                  <a:gd name="connsiteY9" fmla="*/ 289722 h 368304"/>
                  <a:gd name="connsiteX10" fmla="*/ 309046 w 368334"/>
                  <a:gd name="connsiteY10" fmla="*/ 191614 h 368304"/>
                  <a:gd name="connsiteX11" fmla="*/ 368101 w 368334"/>
                  <a:gd name="connsiteY11" fmla="*/ 105414 h 368304"/>
                  <a:gd name="connsiteX12" fmla="*/ 276661 w 368334"/>
                  <a:gd name="connsiteY12" fmla="*/ 68742 h 368304"/>
                  <a:gd name="connsiteX13" fmla="*/ 124261 w 368334"/>
                  <a:gd name="connsiteY13" fmla="*/ 162 h 368304"/>
                  <a:gd name="connsiteX14" fmla="*/ 124261 w 368674"/>
                  <a:gd name="connsiteY14" fmla="*/ 162 h 368304"/>
                  <a:gd name="connsiteX15" fmla="*/ 124261 w 368101"/>
                  <a:gd name="connsiteY15" fmla="*/ 162 h 368304"/>
                  <a:gd name="connsiteX16" fmla="*/ 124261 w 330001"/>
                  <a:gd name="connsiteY16" fmla="*/ 162 h 368304"/>
                  <a:gd name="connsiteX17" fmla="*/ 124261 w 330001"/>
                  <a:gd name="connsiteY17" fmla="*/ 162 h 368304"/>
                  <a:gd name="connsiteX18" fmla="*/ 116808 w 322548"/>
                  <a:gd name="connsiteY18" fmla="*/ 162 h 365922"/>
                  <a:gd name="connsiteX19" fmla="*/ 106698 w 312438"/>
                  <a:gd name="connsiteY19" fmla="*/ 162 h 365922"/>
                  <a:gd name="connsiteX20" fmla="*/ 114300 w 320040"/>
                  <a:gd name="connsiteY20" fmla="*/ 162 h 365922"/>
                  <a:gd name="connsiteX21" fmla="*/ 114300 w 320040"/>
                  <a:gd name="connsiteY21" fmla="*/ 162 h 365922"/>
                  <a:gd name="connsiteX22" fmla="*/ 114300 w 320040"/>
                  <a:gd name="connsiteY22" fmla="*/ 162 h 365922"/>
                  <a:gd name="connsiteX23" fmla="*/ 114300 w 320040"/>
                  <a:gd name="connsiteY23" fmla="*/ 162 h 365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8334" h="368304">
                    <a:moveTo>
                      <a:pt x="124261" y="162"/>
                    </a:moveTo>
                    <a:cubicBezTo>
                      <a:pt x="115371" y="-2378"/>
                      <a:pt x="113824" y="25455"/>
                      <a:pt x="109021" y="38262"/>
                    </a:cubicBezTo>
                    <a:cubicBezTo>
                      <a:pt x="106201" y="45783"/>
                      <a:pt x="105290" y="49533"/>
                      <a:pt x="101401" y="61122"/>
                    </a:cubicBezTo>
                    <a:cubicBezTo>
                      <a:pt x="97512" y="72711"/>
                      <a:pt x="96003" y="82712"/>
                      <a:pt x="85684" y="107794"/>
                    </a:cubicBezTo>
                    <a:cubicBezTo>
                      <a:pt x="75365" y="132876"/>
                      <a:pt x="49331" y="189233"/>
                      <a:pt x="39489" y="211617"/>
                    </a:cubicBezTo>
                    <a:cubicBezTo>
                      <a:pt x="29647" y="234001"/>
                      <a:pt x="31710" y="231937"/>
                      <a:pt x="26630" y="242097"/>
                    </a:cubicBezTo>
                    <a:cubicBezTo>
                      <a:pt x="29170" y="259877"/>
                      <a:pt x="-18455" y="269640"/>
                      <a:pt x="8056" y="290674"/>
                    </a:cubicBezTo>
                    <a:cubicBezTo>
                      <a:pt x="34567" y="311708"/>
                      <a:pt x="151090" y="358303"/>
                      <a:pt x="185697" y="368304"/>
                    </a:cubicBezTo>
                    <a:cubicBezTo>
                      <a:pt x="206017" y="363224"/>
                      <a:pt x="204350" y="363779"/>
                      <a:pt x="215701" y="350682"/>
                    </a:cubicBezTo>
                    <a:cubicBezTo>
                      <a:pt x="227052" y="337585"/>
                      <a:pt x="238244" y="316233"/>
                      <a:pt x="253801" y="289722"/>
                    </a:cubicBezTo>
                    <a:cubicBezTo>
                      <a:pt x="269358" y="263211"/>
                      <a:pt x="289996" y="222332"/>
                      <a:pt x="309046" y="191614"/>
                    </a:cubicBezTo>
                    <a:cubicBezTo>
                      <a:pt x="328096" y="160896"/>
                      <a:pt x="371911" y="121924"/>
                      <a:pt x="368101" y="105414"/>
                    </a:cubicBezTo>
                    <a:cubicBezTo>
                      <a:pt x="350716" y="99619"/>
                      <a:pt x="294840" y="71612"/>
                      <a:pt x="276661" y="68742"/>
                    </a:cubicBezTo>
                    <a:cubicBezTo>
                      <a:pt x="242371" y="54772"/>
                      <a:pt x="152201" y="5242"/>
                      <a:pt x="124261" y="162"/>
                    </a:cubicBez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latin typeface="Verdana" panose="020B0604030504040204" pitchFamily="34" charset="0"/>
                </a:endParaRPr>
              </a:p>
            </p:txBody>
          </p:sp>
          <p:sp>
            <p:nvSpPr>
              <p:cNvPr id="81" name="Freeform: Shape 51">
                <a:extLst>
                  <a:ext uri="{FF2B5EF4-FFF2-40B4-BE49-F238E27FC236}">
                    <a16:creationId xmlns:a16="http://schemas.microsoft.com/office/drawing/2014/main" id="{A2D39CF7-578B-2A76-D7BC-79A97C1E6A4C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85" fmla="*/ 1887855 w 3008034"/>
                  <a:gd name="connsiteY85" fmla="*/ 182880 h 3680460"/>
                  <a:gd name="connsiteX86" fmla="*/ 1887855 w 3008034"/>
                  <a:gd name="connsiteY86" fmla="*/ 182880 h 3680460"/>
                  <a:gd name="connsiteX87" fmla="*/ 1887855 w 3008034"/>
                  <a:gd name="connsiteY87" fmla="*/ 182880 h 3680460"/>
                  <a:gd name="connsiteX88" fmla="*/ 1887855 w 3008034"/>
                  <a:gd name="connsiteY88" fmla="*/ 182880 h 3680460"/>
                  <a:gd name="connsiteX89" fmla="*/ 1887855 w 3008034"/>
                  <a:gd name="connsiteY89" fmla="*/ 182880 h 3680460"/>
                  <a:gd name="connsiteX90" fmla="*/ 1887855 w 3008034"/>
                  <a:gd name="connsiteY90" fmla="*/ 182880 h 3680460"/>
                  <a:gd name="connsiteX91" fmla="*/ 1887855 w 3008034"/>
                  <a:gd name="connsiteY91" fmla="*/ 182880 h 3680460"/>
                  <a:gd name="connsiteX92" fmla="*/ 1887855 w 3008034"/>
                  <a:gd name="connsiteY92" fmla="*/ 182880 h 3680460"/>
                  <a:gd name="connsiteX93" fmla="*/ 1887855 w 3008034"/>
                  <a:gd name="connsiteY93" fmla="*/ 182880 h 3680460"/>
                  <a:gd name="connsiteX94" fmla="*/ 1887855 w 3008034"/>
                  <a:gd name="connsiteY94" fmla="*/ 182880 h 3680460"/>
                  <a:gd name="connsiteX95" fmla="*/ 1887855 w 3008034"/>
                  <a:gd name="connsiteY95" fmla="*/ 182880 h 3680460"/>
                  <a:gd name="connsiteX96" fmla="*/ 1887855 w 3008034"/>
                  <a:gd name="connsiteY96" fmla="*/ 182880 h 3680460"/>
                  <a:gd name="connsiteX97" fmla="*/ 1887855 w 3008034"/>
                  <a:gd name="connsiteY97" fmla="*/ 182880 h 3680460"/>
                  <a:gd name="connsiteX98" fmla="*/ 1887855 w 3008034"/>
                  <a:gd name="connsiteY98" fmla="*/ 182880 h 3680460"/>
                  <a:gd name="connsiteX99" fmla="*/ 1887855 w 3008034"/>
                  <a:gd name="connsiteY99" fmla="*/ 182880 h 3680460"/>
                  <a:gd name="connsiteX100" fmla="*/ 1887855 w 3008034"/>
                  <a:gd name="connsiteY100" fmla="*/ 182880 h 3680460"/>
                  <a:gd name="connsiteX101" fmla="*/ 1887855 w 3008034"/>
                  <a:gd name="connsiteY101" fmla="*/ 182880 h 3680460"/>
                  <a:gd name="connsiteX102" fmla="*/ 1887855 w 3008034"/>
                  <a:gd name="connsiteY102" fmla="*/ 182880 h 3680460"/>
                  <a:gd name="connsiteX103" fmla="*/ 1887855 w 3008034"/>
                  <a:gd name="connsiteY103" fmla="*/ 182880 h 3680460"/>
                  <a:gd name="connsiteX104" fmla="*/ 1887855 w 3008034"/>
                  <a:gd name="connsiteY104" fmla="*/ 182880 h 3680460"/>
                  <a:gd name="connsiteX105" fmla="*/ 1887855 w 3008034"/>
                  <a:gd name="connsiteY105" fmla="*/ 182880 h 3680460"/>
                  <a:gd name="connsiteX106" fmla="*/ 1887855 w 3008034"/>
                  <a:gd name="connsiteY106" fmla="*/ 182880 h 3680460"/>
                  <a:gd name="connsiteX107" fmla="*/ 1887855 w 3008034"/>
                  <a:gd name="connsiteY107" fmla="*/ 182880 h 3680460"/>
                  <a:gd name="connsiteX108" fmla="*/ 1887855 w 3008034"/>
                  <a:gd name="connsiteY108" fmla="*/ 182880 h 3680460"/>
                  <a:gd name="connsiteX109" fmla="*/ 1887855 w 3008034"/>
                  <a:gd name="connsiteY109" fmla="*/ 182880 h 3680460"/>
                  <a:gd name="connsiteX110" fmla="*/ 1887855 w 3008034"/>
                  <a:gd name="connsiteY110" fmla="*/ 182880 h 3680460"/>
                  <a:gd name="connsiteX111" fmla="*/ 1887855 w 3008034"/>
                  <a:gd name="connsiteY111" fmla="*/ 182880 h 3680460"/>
                  <a:gd name="connsiteX112" fmla="*/ 1887855 w 3008034"/>
                  <a:gd name="connsiteY112" fmla="*/ 182880 h 3680460"/>
                  <a:gd name="connsiteX113" fmla="*/ 1887855 w 3008034"/>
                  <a:gd name="connsiteY113" fmla="*/ 182880 h 3680460"/>
                  <a:gd name="connsiteX114" fmla="*/ 1887855 w 3008034"/>
                  <a:gd name="connsiteY114" fmla="*/ 182880 h 3680460"/>
                  <a:gd name="connsiteX115" fmla="*/ 1887855 w 3008034"/>
                  <a:gd name="connsiteY115" fmla="*/ 182880 h 3680460"/>
                  <a:gd name="connsiteX116" fmla="*/ 1887855 w 3008034"/>
                  <a:gd name="connsiteY116" fmla="*/ 182880 h 3680460"/>
                  <a:gd name="connsiteX117" fmla="*/ 1887855 w 3008034"/>
                  <a:gd name="connsiteY117" fmla="*/ 182880 h 3680460"/>
                  <a:gd name="connsiteX118" fmla="*/ 1887855 w 3008034"/>
                  <a:gd name="connsiteY118" fmla="*/ 182880 h 3680460"/>
                  <a:gd name="connsiteX119" fmla="*/ 1887855 w 3008034"/>
                  <a:gd name="connsiteY119" fmla="*/ 182880 h 3680460"/>
                  <a:gd name="connsiteX120" fmla="*/ 1887855 w 3008034"/>
                  <a:gd name="connsiteY120" fmla="*/ 182880 h 3680460"/>
                  <a:gd name="connsiteX121" fmla="*/ 1887855 w 3008034"/>
                  <a:gd name="connsiteY121" fmla="*/ 182880 h 3680460"/>
                  <a:gd name="connsiteX122" fmla="*/ 1887855 w 3008034"/>
                  <a:gd name="connsiteY122" fmla="*/ 182880 h 3680460"/>
                  <a:gd name="connsiteX123" fmla="*/ 1887855 w 3008034"/>
                  <a:gd name="connsiteY123" fmla="*/ 182880 h 3680460"/>
                  <a:gd name="connsiteX124" fmla="*/ 1887855 w 3008034"/>
                  <a:gd name="connsiteY124" fmla="*/ 182880 h 3680460"/>
                  <a:gd name="connsiteX125" fmla="*/ 1887855 w 3008034"/>
                  <a:gd name="connsiteY125" fmla="*/ 182880 h 3680460"/>
                  <a:gd name="connsiteX126" fmla="*/ 1887855 w 3008034"/>
                  <a:gd name="connsiteY126" fmla="*/ 182880 h 3680460"/>
                  <a:gd name="connsiteX127" fmla="*/ 1887855 w 3008034"/>
                  <a:gd name="connsiteY127" fmla="*/ 182880 h 3680460"/>
                  <a:gd name="connsiteX128" fmla="*/ 1887855 w 3008034"/>
                  <a:gd name="connsiteY128" fmla="*/ 182880 h 3680460"/>
                  <a:gd name="connsiteX129" fmla="*/ 1887855 w 3008034"/>
                  <a:gd name="connsiteY129" fmla="*/ 182880 h 3680460"/>
                  <a:gd name="connsiteX130" fmla="*/ 1887855 w 3008034"/>
                  <a:gd name="connsiteY130" fmla="*/ 182880 h 3680460"/>
                  <a:gd name="connsiteX131" fmla="*/ 1887855 w 3008034"/>
                  <a:gd name="connsiteY131" fmla="*/ 182880 h 3680460"/>
                  <a:gd name="connsiteX132" fmla="*/ 1887855 w 3008034"/>
                  <a:gd name="connsiteY132" fmla="*/ 182880 h 3680460"/>
                  <a:gd name="connsiteX133" fmla="*/ 1887855 w 3008034"/>
                  <a:gd name="connsiteY133" fmla="*/ 182880 h 3680460"/>
                  <a:gd name="connsiteX134" fmla="*/ 1897380 w 3017559"/>
                  <a:gd name="connsiteY134" fmla="*/ 182880 h 3680460"/>
                  <a:gd name="connsiteX135" fmla="*/ 1897380 w 3017559"/>
                  <a:gd name="connsiteY135" fmla="*/ 182880 h 3680460"/>
                  <a:gd name="connsiteX136" fmla="*/ 1897380 w 3017559"/>
                  <a:gd name="connsiteY136" fmla="*/ 182880 h 3680460"/>
                  <a:gd name="connsiteX137" fmla="*/ 1897380 w 3017559"/>
                  <a:gd name="connsiteY137" fmla="*/ 182880 h 3680460"/>
                  <a:gd name="connsiteX138" fmla="*/ 1897380 w 3017559"/>
                  <a:gd name="connsiteY138" fmla="*/ 182880 h 3680460"/>
                  <a:gd name="connsiteX139" fmla="*/ 1897380 w 3017559"/>
                  <a:gd name="connsiteY139" fmla="*/ 182880 h 3680460"/>
                  <a:gd name="connsiteX140" fmla="*/ 1897380 w 3017559"/>
                  <a:gd name="connsiteY140" fmla="*/ 182880 h 3680460"/>
                  <a:gd name="connsiteX141" fmla="*/ 1897380 w 3017559"/>
                  <a:gd name="connsiteY141" fmla="*/ 182880 h 3680460"/>
                  <a:gd name="connsiteX142" fmla="*/ 1897380 w 3017559"/>
                  <a:gd name="connsiteY142" fmla="*/ 182880 h 3680460"/>
                  <a:gd name="connsiteX143" fmla="*/ 1897380 w 3017559"/>
                  <a:gd name="connsiteY143" fmla="*/ 182880 h 3680460"/>
                  <a:gd name="connsiteX144" fmla="*/ 1897380 w 3017559"/>
                  <a:gd name="connsiteY144" fmla="*/ 182880 h 3680460"/>
                  <a:gd name="connsiteX145" fmla="*/ 1897380 w 3018472"/>
                  <a:gd name="connsiteY145" fmla="*/ 182880 h 3680460"/>
                  <a:gd name="connsiteX146" fmla="*/ 1897380 w 3018472"/>
                  <a:gd name="connsiteY146" fmla="*/ 182880 h 3680460"/>
                  <a:gd name="connsiteX147" fmla="*/ 1897380 w 3018472"/>
                  <a:gd name="connsiteY147" fmla="*/ 182880 h 3680460"/>
                  <a:gd name="connsiteX148" fmla="*/ 1897380 w 3018472"/>
                  <a:gd name="connsiteY148" fmla="*/ 182880 h 3680460"/>
                  <a:gd name="connsiteX149" fmla="*/ 1897380 w 3018472"/>
                  <a:gd name="connsiteY149" fmla="*/ 182880 h 3680460"/>
                  <a:gd name="connsiteX150" fmla="*/ 1897380 w 3018472"/>
                  <a:gd name="connsiteY150" fmla="*/ 182880 h 3680460"/>
                  <a:gd name="connsiteX151" fmla="*/ 1897380 w 3018472"/>
                  <a:gd name="connsiteY151" fmla="*/ 182880 h 3680460"/>
                  <a:gd name="connsiteX152" fmla="*/ 1897380 w 3018472"/>
                  <a:gd name="connsiteY152" fmla="*/ 182880 h 3680460"/>
                  <a:gd name="connsiteX153" fmla="*/ 1897380 w 3018472"/>
                  <a:gd name="connsiteY153" fmla="*/ 182880 h 3680460"/>
                  <a:gd name="connsiteX154" fmla="*/ 1897380 w 3018472"/>
                  <a:gd name="connsiteY154" fmla="*/ 182880 h 3680460"/>
                  <a:gd name="connsiteX155" fmla="*/ 1897380 w 3018472"/>
                  <a:gd name="connsiteY155" fmla="*/ 182880 h 3680460"/>
                  <a:gd name="connsiteX156" fmla="*/ 1897380 w 3018472"/>
                  <a:gd name="connsiteY156" fmla="*/ 182880 h 3680460"/>
                  <a:gd name="connsiteX157" fmla="*/ 1897380 w 3018472"/>
                  <a:gd name="connsiteY157" fmla="*/ 182880 h 3680460"/>
                  <a:gd name="connsiteX158" fmla="*/ 1897380 w 3018472"/>
                  <a:gd name="connsiteY158" fmla="*/ 182880 h 3680460"/>
                  <a:gd name="connsiteX159" fmla="*/ 1897380 w 3025140"/>
                  <a:gd name="connsiteY159" fmla="*/ 182880 h 3680460"/>
                  <a:gd name="connsiteX160" fmla="*/ 1897380 w 3025140"/>
                  <a:gd name="connsiteY160" fmla="*/ 182880 h 3680460"/>
                  <a:gd name="connsiteX161" fmla="*/ 1897380 w 3025140"/>
                  <a:gd name="connsiteY161" fmla="*/ 182880 h 3680460"/>
                  <a:gd name="connsiteX162" fmla="*/ 1897380 w 3025140"/>
                  <a:gd name="connsiteY162" fmla="*/ 182880 h 3680460"/>
                  <a:gd name="connsiteX163" fmla="*/ 1897380 w 3025140"/>
                  <a:gd name="connsiteY163" fmla="*/ 182880 h 3680460"/>
                  <a:gd name="connsiteX164" fmla="*/ 1897380 w 3025140"/>
                  <a:gd name="connsiteY164" fmla="*/ 182880 h 3680460"/>
                  <a:gd name="connsiteX165" fmla="*/ 1897380 w 3025140"/>
                  <a:gd name="connsiteY165" fmla="*/ 182880 h 3680460"/>
                  <a:gd name="connsiteX166" fmla="*/ 1897380 w 3025140"/>
                  <a:gd name="connsiteY166" fmla="*/ 182880 h 3680460"/>
                  <a:gd name="connsiteX167" fmla="*/ 1897380 w 3025140"/>
                  <a:gd name="connsiteY167" fmla="*/ 182880 h 3680460"/>
                  <a:gd name="connsiteX168" fmla="*/ 1897380 w 3025140"/>
                  <a:gd name="connsiteY168" fmla="*/ 182880 h 3680460"/>
                  <a:gd name="connsiteX169" fmla="*/ 1897380 w 3025140"/>
                  <a:gd name="connsiteY169" fmla="*/ 182880 h 3680460"/>
                  <a:gd name="connsiteX170" fmla="*/ 1897380 w 3025140"/>
                  <a:gd name="connsiteY170" fmla="*/ 182880 h 3680460"/>
                  <a:gd name="connsiteX171" fmla="*/ 1897380 w 3025140"/>
                  <a:gd name="connsiteY171" fmla="*/ 182880 h 3680460"/>
                  <a:gd name="connsiteX172" fmla="*/ 1897380 w 3025140"/>
                  <a:gd name="connsiteY172" fmla="*/ 182880 h 3680460"/>
                  <a:gd name="connsiteX173" fmla="*/ 1897380 w 3025140"/>
                  <a:gd name="connsiteY173" fmla="*/ 182880 h 3680460"/>
                  <a:gd name="connsiteX174" fmla="*/ 1897380 w 3025140"/>
                  <a:gd name="connsiteY174" fmla="*/ 182880 h 3680460"/>
                  <a:gd name="connsiteX175" fmla="*/ 1897380 w 3025140"/>
                  <a:gd name="connsiteY175" fmla="*/ 182880 h 3680460"/>
                  <a:gd name="connsiteX176" fmla="*/ 1897380 w 3025140"/>
                  <a:gd name="connsiteY176" fmla="*/ 182880 h 3680460"/>
                  <a:gd name="connsiteX177" fmla="*/ 1897380 w 3025140"/>
                  <a:gd name="connsiteY177" fmla="*/ 18288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3008034" h="3680460">
                    <a:moveTo>
                      <a:pt x="1887855" y="182880"/>
                    </a:moveTo>
                    <a:cubicBezTo>
                      <a:pt x="1863725" y="167640"/>
                      <a:pt x="1870075" y="175260"/>
                      <a:pt x="1849755" y="160020"/>
                    </a:cubicBezTo>
                    <a:cubicBezTo>
                      <a:pt x="1829435" y="144780"/>
                      <a:pt x="1782445" y="106680"/>
                      <a:pt x="1765935" y="91440"/>
                    </a:cubicBezTo>
                    <a:cubicBezTo>
                      <a:pt x="1749425" y="76200"/>
                      <a:pt x="1758315" y="81121"/>
                      <a:pt x="1750695" y="68580"/>
                    </a:cubicBezTo>
                    <a:cubicBezTo>
                      <a:pt x="1743075" y="56039"/>
                      <a:pt x="1683385" y="27623"/>
                      <a:pt x="1720215" y="16193"/>
                    </a:cubicBez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  <a:cubicBezTo>
                      <a:pt x="553244" y="3538379"/>
                      <a:pt x="581025" y="3553460"/>
                      <a:pt x="721995" y="3558540"/>
                    </a:cubicBezTo>
                    <a:cubicBezTo>
                      <a:pt x="949007" y="3594100"/>
                      <a:pt x="1128395" y="3553460"/>
                      <a:pt x="1331595" y="3550920"/>
                    </a:cubicBezTo>
                    <a:cubicBezTo>
                      <a:pt x="1466215" y="3544570"/>
                      <a:pt x="1492885" y="3526790"/>
                      <a:pt x="1529715" y="3520440"/>
                    </a:cubicBezTo>
                    <a:cubicBezTo>
                      <a:pt x="1577975" y="3511550"/>
                      <a:pt x="1579245" y="3509010"/>
                      <a:pt x="1621155" y="3497580"/>
                    </a:cubicBezTo>
                    <a:cubicBezTo>
                      <a:pt x="1663065" y="3486150"/>
                      <a:pt x="1740535" y="3464560"/>
                      <a:pt x="1781175" y="3451860"/>
                    </a:cubicBezTo>
                    <a:lnTo>
                      <a:pt x="1864995" y="3421380"/>
                    </a:lnTo>
                    <a:cubicBezTo>
                      <a:pt x="1891665" y="3411220"/>
                      <a:pt x="1903730" y="3409632"/>
                      <a:pt x="1941195" y="3390900"/>
                    </a:cubicBezTo>
                    <a:cubicBezTo>
                      <a:pt x="1978660" y="3372168"/>
                      <a:pt x="2048351" y="3332162"/>
                      <a:pt x="2089785" y="3308985"/>
                    </a:cubicBezTo>
                    <a:cubicBezTo>
                      <a:pt x="2131219" y="3285808"/>
                      <a:pt x="2148522" y="3277552"/>
                      <a:pt x="2189797" y="3251835"/>
                    </a:cubicBezTo>
                    <a:cubicBezTo>
                      <a:pt x="2231072" y="3226118"/>
                      <a:pt x="2292509" y="3195002"/>
                      <a:pt x="2337435" y="3154680"/>
                    </a:cubicBezTo>
                    <a:cubicBezTo>
                      <a:pt x="2382361" y="3114358"/>
                      <a:pt x="2427605" y="3048000"/>
                      <a:pt x="2459355" y="3009900"/>
                    </a:cubicBezTo>
                    <a:cubicBezTo>
                      <a:pt x="2491105" y="2971800"/>
                      <a:pt x="2501265" y="2959100"/>
                      <a:pt x="2527935" y="2926080"/>
                    </a:cubicBezTo>
                    <a:cubicBezTo>
                      <a:pt x="2554605" y="2893060"/>
                      <a:pt x="2596515" y="2844800"/>
                      <a:pt x="2619375" y="2811780"/>
                    </a:cubicBezTo>
                    <a:cubicBezTo>
                      <a:pt x="2642235" y="2778760"/>
                      <a:pt x="2652395" y="2752090"/>
                      <a:pt x="2665095" y="2727960"/>
                    </a:cubicBezTo>
                    <a:cubicBezTo>
                      <a:pt x="2677795" y="2703830"/>
                      <a:pt x="2676525" y="2707640"/>
                      <a:pt x="2695575" y="2667000"/>
                    </a:cubicBezTo>
                    <a:cubicBezTo>
                      <a:pt x="2714625" y="2626360"/>
                      <a:pt x="2761615" y="2527300"/>
                      <a:pt x="2779395" y="2484120"/>
                    </a:cubicBezTo>
                    <a:cubicBezTo>
                      <a:pt x="2797834" y="2391926"/>
                      <a:pt x="2780665" y="2480310"/>
                      <a:pt x="2802255" y="2407920"/>
                    </a:cubicBezTo>
                    <a:cubicBezTo>
                      <a:pt x="2823845" y="2335530"/>
                      <a:pt x="2888615" y="2143760"/>
                      <a:pt x="2908935" y="2049780"/>
                    </a:cubicBezTo>
                    <a:cubicBezTo>
                      <a:pt x="2929255" y="1955800"/>
                      <a:pt x="2901071" y="1936456"/>
                      <a:pt x="2924175" y="1844040"/>
                    </a:cubicBezTo>
                    <a:cubicBezTo>
                      <a:pt x="2919095" y="1719580"/>
                      <a:pt x="2915719" y="1595039"/>
                      <a:pt x="2908935" y="1470660"/>
                    </a:cubicBezTo>
                    <a:cubicBezTo>
                      <a:pt x="2907495" y="1444266"/>
                      <a:pt x="2896235" y="1404620"/>
                      <a:pt x="2886075" y="1371600"/>
                    </a:cubicBezTo>
                    <a:cubicBezTo>
                      <a:pt x="2875915" y="1338580"/>
                      <a:pt x="2855595" y="1295400"/>
                      <a:pt x="2847975" y="1272540"/>
                    </a:cubicBezTo>
                    <a:cubicBezTo>
                      <a:pt x="2840355" y="1249680"/>
                      <a:pt x="2855595" y="1264920"/>
                      <a:pt x="2840355" y="1234440"/>
                    </a:cubicBezTo>
                    <a:cubicBezTo>
                      <a:pt x="2825115" y="1203960"/>
                      <a:pt x="2775585" y="1121410"/>
                      <a:pt x="2756535" y="1089660"/>
                    </a:cubicBezTo>
                    <a:cubicBezTo>
                      <a:pt x="2737485" y="1057910"/>
                      <a:pt x="2731847" y="1061316"/>
                      <a:pt x="2726055" y="1043940"/>
                    </a:cubicBezTo>
                    <a:cubicBezTo>
                      <a:pt x="2723515" y="1036320"/>
                      <a:pt x="2722027" y="1028264"/>
                      <a:pt x="2718435" y="1021080"/>
                    </a:cubicBezTo>
                    <a:cubicBezTo>
                      <a:pt x="2680810" y="945830"/>
                      <a:pt x="2690495" y="974090"/>
                      <a:pt x="2672715" y="937260"/>
                    </a:cubicBezTo>
                    <a:cubicBezTo>
                      <a:pt x="2654935" y="900430"/>
                      <a:pt x="2649061" y="852646"/>
                      <a:pt x="2611755" y="800100"/>
                    </a:cubicBezTo>
                    <a:cubicBezTo>
                      <a:pt x="2574449" y="747554"/>
                      <a:pt x="2502218" y="678974"/>
                      <a:pt x="2448878" y="621983"/>
                    </a:cubicBezTo>
                    <a:cubicBezTo>
                      <a:pt x="2395538" y="564992"/>
                      <a:pt x="2328545" y="494030"/>
                      <a:pt x="2291715" y="458152"/>
                    </a:cubicBezTo>
                    <a:cubicBezTo>
                      <a:pt x="2254885" y="422274"/>
                      <a:pt x="2260918" y="431006"/>
                      <a:pt x="2227898" y="406717"/>
                    </a:cubicBezTo>
                    <a:cubicBezTo>
                      <a:pt x="2194878" y="382428"/>
                      <a:pt x="2126139" y="335756"/>
                      <a:pt x="2093595" y="312420"/>
                    </a:cubicBezTo>
                    <a:cubicBezTo>
                      <a:pt x="2061051" y="289084"/>
                      <a:pt x="2054267" y="280012"/>
                      <a:pt x="2032635" y="266700"/>
                    </a:cubicBezTo>
                    <a:cubicBezTo>
                      <a:pt x="2020986" y="259531"/>
                      <a:pt x="2006543" y="258010"/>
                      <a:pt x="1994535" y="251460"/>
                    </a:cubicBezTo>
                    <a:cubicBezTo>
                      <a:pt x="1970405" y="237490"/>
                      <a:pt x="1911985" y="198120"/>
                      <a:pt x="1887855" y="182880"/>
                    </a:cubicBezTo>
                    <a:close/>
                  </a:path>
                </a:pathLst>
              </a:custGeom>
              <a:solidFill>
                <a:srgbClr val="FBCCD0"/>
              </a:solidFill>
              <a:ln w="5406" cap="rnd">
                <a:noFill/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82" name="Freeform: Shape 53">
                <a:extLst>
                  <a:ext uri="{FF2B5EF4-FFF2-40B4-BE49-F238E27FC236}">
                    <a16:creationId xmlns:a16="http://schemas.microsoft.com/office/drawing/2014/main" id="{1E6141D6-7030-F267-17C6-C025941F1F93}"/>
                  </a:ext>
                </a:extLst>
              </p:cNvPr>
              <p:cNvSpPr/>
              <p:nvPr/>
            </p:nvSpPr>
            <p:spPr>
              <a:xfrm>
                <a:off x="3948704" y="5798370"/>
                <a:ext cx="2383532" cy="648150"/>
              </a:xfrm>
              <a:custGeom>
                <a:avLst/>
                <a:gdLst>
                  <a:gd name="connsiteX0" fmla="*/ 1019537 w 2383532"/>
                  <a:gd name="connsiteY0" fmla="*/ 7435 h 648150"/>
                  <a:gd name="connsiteX1" fmla="*/ 1065257 w 2383532"/>
                  <a:gd name="connsiteY1" fmla="*/ 8070 h 648150"/>
                  <a:gd name="connsiteX2" fmla="*/ 1530077 w 2383532"/>
                  <a:gd name="connsiteY2" fmla="*/ 450 h 648150"/>
                  <a:gd name="connsiteX3" fmla="*/ 1659617 w 2383532"/>
                  <a:gd name="connsiteY3" fmla="*/ 23310 h 648150"/>
                  <a:gd name="connsiteX4" fmla="*/ 1762487 w 2383532"/>
                  <a:gd name="connsiteY4" fmla="*/ 33470 h 648150"/>
                  <a:gd name="connsiteX5" fmla="*/ 2040617 w 2383532"/>
                  <a:gd name="connsiteY5" fmla="*/ 91890 h 648150"/>
                  <a:gd name="connsiteX6" fmla="*/ 2119992 w 2383532"/>
                  <a:gd name="connsiteY6" fmla="*/ 109670 h 648150"/>
                  <a:gd name="connsiteX7" fmla="*/ 2273027 w 2383532"/>
                  <a:gd name="connsiteY7" fmla="*/ 173805 h 648150"/>
                  <a:gd name="connsiteX8" fmla="*/ 2360657 w 2383532"/>
                  <a:gd name="connsiteY8" fmla="*/ 236670 h 648150"/>
                  <a:gd name="connsiteX9" fmla="*/ 2383517 w 2383532"/>
                  <a:gd name="connsiteY9" fmla="*/ 282390 h 648150"/>
                  <a:gd name="connsiteX10" fmla="*/ 2360657 w 2383532"/>
                  <a:gd name="connsiteY10" fmla="*/ 396690 h 648150"/>
                  <a:gd name="connsiteX11" fmla="*/ 2276837 w 2383532"/>
                  <a:gd name="connsiteY11" fmla="*/ 450030 h 648150"/>
                  <a:gd name="connsiteX12" fmla="*/ 2238737 w 2383532"/>
                  <a:gd name="connsiteY12" fmla="*/ 472890 h 648150"/>
                  <a:gd name="connsiteX13" fmla="*/ 2162537 w 2383532"/>
                  <a:gd name="connsiteY13" fmla="*/ 503370 h 648150"/>
                  <a:gd name="connsiteX14" fmla="*/ 2078717 w 2383532"/>
                  <a:gd name="connsiteY14" fmla="*/ 541470 h 648150"/>
                  <a:gd name="connsiteX15" fmla="*/ 2002517 w 2383532"/>
                  <a:gd name="connsiteY15" fmla="*/ 571950 h 648150"/>
                  <a:gd name="connsiteX16" fmla="*/ 1872977 w 2383532"/>
                  <a:gd name="connsiteY16" fmla="*/ 602430 h 648150"/>
                  <a:gd name="connsiteX17" fmla="*/ 1796777 w 2383532"/>
                  <a:gd name="connsiteY17" fmla="*/ 617670 h 648150"/>
                  <a:gd name="connsiteX18" fmla="*/ 1377677 w 2383532"/>
                  <a:gd name="connsiteY18" fmla="*/ 640530 h 648150"/>
                  <a:gd name="connsiteX19" fmla="*/ 1263377 w 2383532"/>
                  <a:gd name="connsiteY19" fmla="*/ 648150 h 648150"/>
                  <a:gd name="connsiteX20" fmla="*/ 928097 w 2383532"/>
                  <a:gd name="connsiteY20" fmla="*/ 632910 h 648150"/>
                  <a:gd name="connsiteX21" fmla="*/ 859517 w 2383532"/>
                  <a:gd name="connsiteY21" fmla="*/ 617670 h 648150"/>
                  <a:gd name="connsiteX22" fmla="*/ 501377 w 2383532"/>
                  <a:gd name="connsiteY22" fmla="*/ 587190 h 648150"/>
                  <a:gd name="connsiteX23" fmla="*/ 265157 w 2383532"/>
                  <a:gd name="connsiteY23" fmla="*/ 541470 h 648150"/>
                  <a:gd name="connsiteX24" fmla="*/ 204197 w 2383532"/>
                  <a:gd name="connsiteY24" fmla="*/ 518610 h 648150"/>
                  <a:gd name="connsiteX25" fmla="*/ 97517 w 2383532"/>
                  <a:gd name="connsiteY25" fmla="*/ 472890 h 648150"/>
                  <a:gd name="connsiteX26" fmla="*/ 59417 w 2383532"/>
                  <a:gd name="connsiteY26" fmla="*/ 450030 h 648150"/>
                  <a:gd name="connsiteX27" fmla="*/ 6077 w 2383532"/>
                  <a:gd name="connsiteY27" fmla="*/ 396690 h 648150"/>
                  <a:gd name="connsiteX28" fmla="*/ 3537 w 2383532"/>
                  <a:gd name="connsiteY28" fmla="*/ 345890 h 648150"/>
                  <a:gd name="connsiteX29" fmla="*/ 27032 w 2383532"/>
                  <a:gd name="connsiteY29" fmla="*/ 251910 h 648150"/>
                  <a:gd name="connsiteX30" fmla="*/ 79102 w 2383532"/>
                  <a:gd name="connsiteY30" fmla="*/ 192220 h 648150"/>
                  <a:gd name="connsiteX31" fmla="*/ 173717 w 2383532"/>
                  <a:gd name="connsiteY31" fmla="*/ 137610 h 648150"/>
                  <a:gd name="connsiteX32" fmla="*/ 211817 w 2383532"/>
                  <a:gd name="connsiteY32" fmla="*/ 122370 h 648150"/>
                  <a:gd name="connsiteX33" fmla="*/ 394697 w 2383532"/>
                  <a:gd name="connsiteY33" fmla="*/ 66490 h 648150"/>
                  <a:gd name="connsiteX34" fmla="*/ 615677 w 2383532"/>
                  <a:gd name="connsiteY34" fmla="*/ 38550 h 648150"/>
                  <a:gd name="connsiteX35" fmla="*/ 737597 w 2383532"/>
                  <a:gd name="connsiteY35" fmla="*/ 15690 h 648150"/>
                  <a:gd name="connsiteX36" fmla="*/ 1019537 w 2383532"/>
                  <a:gd name="connsiteY36" fmla="*/ 7435 h 648150"/>
                  <a:gd name="connsiteX37" fmla="*/ 1019537 w 2383532"/>
                  <a:gd name="connsiteY37" fmla="*/ 14605 h 655320"/>
                  <a:gd name="connsiteX38" fmla="*/ 1019537 w 2383532"/>
                  <a:gd name="connsiteY38" fmla="*/ 14605 h 655320"/>
                  <a:gd name="connsiteX39" fmla="*/ 1019537 w 2383532"/>
                  <a:gd name="connsiteY39" fmla="*/ 30480 h 655320"/>
                  <a:gd name="connsiteX40" fmla="*/ 1019537 w 2383532"/>
                  <a:gd name="connsiteY40" fmla="*/ 30480 h 655320"/>
                  <a:gd name="connsiteX41" fmla="*/ 1019537 w 2383532"/>
                  <a:gd name="connsiteY41" fmla="*/ 30480 h 655320"/>
                  <a:gd name="connsiteX42" fmla="*/ 1019537 w 2383532"/>
                  <a:gd name="connsiteY42" fmla="*/ 30480 h 655320"/>
                  <a:gd name="connsiteX43" fmla="*/ 1019537 w 2383532"/>
                  <a:gd name="connsiteY43" fmla="*/ 30480 h 655320"/>
                  <a:gd name="connsiteX44" fmla="*/ 1019537 w 2383532"/>
                  <a:gd name="connsiteY44" fmla="*/ 30480 h 655320"/>
                  <a:gd name="connsiteX45" fmla="*/ 1019537 w 2383532"/>
                  <a:gd name="connsiteY45" fmla="*/ 30480 h 655320"/>
                  <a:gd name="connsiteX46" fmla="*/ 1019537 w 2383532"/>
                  <a:gd name="connsiteY46" fmla="*/ 30480 h 655320"/>
                  <a:gd name="connsiteX47" fmla="*/ 1019537 w 2383532"/>
                  <a:gd name="connsiteY47" fmla="*/ 30480 h 655320"/>
                  <a:gd name="connsiteX48" fmla="*/ 1019537 w 2383532"/>
                  <a:gd name="connsiteY48" fmla="*/ 30480 h 655320"/>
                  <a:gd name="connsiteX49" fmla="*/ 1019537 w 2383532"/>
                  <a:gd name="connsiteY49" fmla="*/ 30480 h 655320"/>
                  <a:gd name="connsiteX50" fmla="*/ 1019537 w 2383532"/>
                  <a:gd name="connsiteY50" fmla="*/ 30480 h 655320"/>
                  <a:gd name="connsiteX51" fmla="*/ 1019537 w 2383532"/>
                  <a:gd name="connsiteY51" fmla="*/ 30480 h 655320"/>
                  <a:gd name="connsiteX52" fmla="*/ 1019537 w 2383532"/>
                  <a:gd name="connsiteY52" fmla="*/ 30480 h 655320"/>
                  <a:gd name="connsiteX53" fmla="*/ 1019537 w 2383532"/>
                  <a:gd name="connsiteY53" fmla="*/ 30480 h 655320"/>
                  <a:gd name="connsiteX54" fmla="*/ 1019537 w 2383532"/>
                  <a:gd name="connsiteY54" fmla="*/ 30480 h 655320"/>
                  <a:gd name="connsiteX55" fmla="*/ 1019537 w 2383532"/>
                  <a:gd name="connsiteY55" fmla="*/ 30480 h 655320"/>
                  <a:gd name="connsiteX56" fmla="*/ 1019537 w 2383532"/>
                  <a:gd name="connsiteY56" fmla="*/ 30480 h 655320"/>
                  <a:gd name="connsiteX57" fmla="*/ 1019537 w 2383532"/>
                  <a:gd name="connsiteY57" fmla="*/ 30480 h 655320"/>
                  <a:gd name="connsiteX58" fmla="*/ 1028711 w 2392706"/>
                  <a:gd name="connsiteY58" fmla="*/ 30480 h 65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383532" h="648150">
                    <a:moveTo>
                      <a:pt x="1019537" y="7435"/>
                    </a:moveTo>
                    <a:cubicBezTo>
                      <a:pt x="1074147" y="6165"/>
                      <a:pt x="980167" y="9234"/>
                      <a:pt x="1065257" y="8070"/>
                    </a:cubicBezTo>
                    <a:cubicBezTo>
                      <a:pt x="1150347" y="6906"/>
                      <a:pt x="1431017" y="-2090"/>
                      <a:pt x="1530077" y="450"/>
                    </a:cubicBezTo>
                    <a:cubicBezTo>
                      <a:pt x="1629137" y="2990"/>
                      <a:pt x="1624057" y="15690"/>
                      <a:pt x="1659617" y="23310"/>
                    </a:cubicBezTo>
                    <a:cubicBezTo>
                      <a:pt x="1695177" y="30930"/>
                      <a:pt x="1698987" y="22040"/>
                      <a:pt x="1762487" y="33470"/>
                    </a:cubicBezTo>
                    <a:cubicBezTo>
                      <a:pt x="1825987" y="44900"/>
                      <a:pt x="1962512" y="53790"/>
                      <a:pt x="2040617" y="91890"/>
                    </a:cubicBezTo>
                    <a:cubicBezTo>
                      <a:pt x="2066017" y="102050"/>
                      <a:pt x="2081257" y="96018"/>
                      <a:pt x="2119992" y="109670"/>
                    </a:cubicBezTo>
                    <a:cubicBezTo>
                      <a:pt x="2158727" y="123323"/>
                      <a:pt x="2232916" y="152638"/>
                      <a:pt x="2273027" y="173805"/>
                    </a:cubicBezTo>
                    <a:cubicBezTo>
                      <a:pt x="2313138" y="194972"/>
                      <a:pt x="2339067" y="220160"/>
                      <a:pt x="2360657" y="236670"/>
                    </a:cubicBezTo>
                    <a:cubicBezTo>
                      <a:pt x="2368362" y="248228"/>
                      <a:pt x="2383517" y="266616"/>
                      <a:pt x="2383517" y="282390"/>
                    </a:cubicBezTo>
                    <a:cubicBezTo>
                      <a:pt x="2383517" y="308815"/>
                      <a:pt x="2384942" y="368936"/>
                      <a:pt x="2360657" y="396690"/>
                    </a:cubicBezTo>
                    <a:cubicBezTo>
                      <a:pt x="2334377" y="426724"/>
                      <a:pt x="2310782" y="431515"/>
                      <a:pt x="2276837" y="450030"/>
                    </a:cubicBezTo>
                    <a:cubicBezTo>
                      <a:pt x="2263835" y="457122"/>
                      <a:pt x="2257787" y="464000"/>
                      <a:pt x="2238737" y="472890"/>
                    </a:cubicBezTo>
                    <a:cubicBezTo>
                      <a:pt x="2219687" y="481780"/>
                      <a:pt x="2189207" y="491940"/>
                      <a:pt x="2162537" y="503370"/>
                    </a:cubicBezTo>
                    <a:cubicBezTo>
                      <a:pt x="2135867" y="514800"/>
                      <a:pt x="2105387" y="530040"/>
                      <a:pt x="2078717" y="541470"/>
                    </a:cubicBezTo>
                    <a:cubicBezTo>
                      <a:pt x="2052047" y="552900"/>
                      <a:pt x="2036807" y="561790"/>
                      <a:pt x="2002517" y="571950"/>
                    </a:cubicBezTo>
                    <a:cubicBezTo>
                      <a:pt x="1968227" y="582110"/>
                      <a:pt x="1919803" y="593511"/>
                      <a:pt x="1872977" y="602430"/>
                    </a:cubicBezTo>
                    <a:cubicBezTo>
                      <a:pt x="1847531" y="607277"/>
                      <a:pt x="1822503" y="614643"/>
                      <a:pt x="1796777" y="617670"/>
                    </a:cubicBezTo>
                    <a:cubicBezTo>
                      <a:pt x="1640428" y="636064"/>
                      <a:pt x="1539759" y="635302"/>
                      <a:pt x="1377677" y="640530"/>
                    </a:cubicBezTo>
                    <a:cubicBezTo>
                      <a:pt x="1339577" y="643070"/>
                      <a:pt x="1301562" y="648150"/>
                      <a:pt x="1263377" y="648150"/>
                    </a:cubicBezTo>
                    <a:cubicBezTo>
                      <a:pt x="1154497" y="648150"/>
                      <a:pt x="1037979" y="639778"/>
                      <a:pt x="928097" y="632910"/>
                    </a:cubicBezTo>
                    <a:cubicBezTo>
                      <a:pt x="905237" y="627830"/>
                      <a:pt x="930637" y="625290"/>
                      <a:pt x="859517" y="617670"/>
                    </a:cubicBezTo>
                    <a:cubicBezTo>
                      <a:pt x="788397" y="610050"/>
                      <a:pt x="583927" y="596080"/>
                      <a:pt x="501377" y="587190"/>
                    </a:cubicBezTo>
                    <a:cubicBezTo>
                      <a:pt x="402317" y="574490"/>
                      <a:pt x="314687" y="552900"/>
                      <a:pt x="265157" y="541470"/>
                    </a:cubicBezTo>
                    <a:cubicBezTo>
                      <a:pt x="215627" y="530040"/>
                      <a:pt x="232137" y="530040"/>
                      <a:pt x="204197" y="518610"/>
                    </a:cubicBezTo>
                    <a:cubicBezTo>
                      <a:pt x="176257" y="507180"/>
                      <a:pt x="121647" y="484320"/>
                      <a:pt x="97517" y="472890"/>
                    </a:cubicBezTo>
                    <a:cubicBezTo>
                      <a:pt x="73387" y="461460"/>
                      <a:pt x="70795" y="459512"/>
                      <a:pt x="59417" y="450030"/>
                    </a:cubicBezTo>
                    <a:cubicBezTo>
                      <a:pt x="40100" y="433933"/>
                      <a:pt x="15390" y="414047"/>
                      <a:pt x="6077" y="396690"/>
                    </a:cubicBezTo>
                    <a:cubicBezTo>
                      <a:pt x="-3236" y="379333"/>
                      <a:pt x="44" y="370020"/>
                      <a:pt x="3537" y="345890"/>
                    </a:cubicBezTo>
                    <a:cubicBezTo>
                      <a:pt x="7030" y="321760"/>
                      <a:pt x="14438" y="277522"/>
                      <a:pt x="27032" y="251910"/>
                    </a:cubicBezTo>
                    <a:cubicBezTo>
                      <a:pt x="39626" y="226298"/>
                      <a:pt x="54655" y="211270"/>
                      <a:pt x="79102" y="192220"/>
                    </a:cubicBezTo>
                    <a:cubicBezTo>
                      <a:pt x="103550" y="173170"/>
                      <a:pt x="151598" y="149252"/>
                      <a:pt x="173717" y="137610"/>
                    </a:cubicBezTo>
                    <a:cubicBezTo>
                      <a:pt x="195836" y="125968"/>
                      <a:pt x="199117" y="127450"/>
                      <a:pt x="211817" y="122370"/>
                    </a:cubicBezTo>
                    <a:cubicBezTo>
                      <a:pt x="254997" y="108400"/>
                      <a:pt x="327387" y="80460"/>
                      <a:pt x="394697" y="66490"/>
                    </a:cubicBezTo>
                    <a:cubicBezTo>
                      <a:pt x="462007" y="52520"/>
                      <a:pt x="558527" y="47017"/>
                      <a:pt x="615677" y="38550"/>
                    </a:cubicBezTo>
                    <a:cubicBezTo>
                      <a:pt x="658857" y="33470"/>
                      <a:pt x="670287" y="18230"/>
                      <a:pt x="737597" y="15690"/>
                    </a:cubicBezTo>
                    <a:lnTo>
                      <a:pt x="1019537" y="7435"/>
                    </a:lnTo>
                    <a:close/>
                  </a:path>
                </a:pathLst>
              </a:custGeom>
              <a:solidFill>
                <a:srgbClr val="E1EBE5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83" name="Freeform: Shape 54">
                <a:extLst>
                  <a:ext uri="{FF2B5EF4-FFF2-40B4-BE49-F238E27FC236}">
                    <a16:creationId xmlns:a16="http://schemas.microsoft.com/office/drawing/2014/main" id="{C4388A2E-5300-A71E-519F-27EDCC40EAB9}"/>
                  </a:ext>
                </a:extLst>
              </p:cNvPr>
              <p:cNvSpPr/>
              <p:nvPr/>
            </p:nvSpPr>
            <p:spPr>
              <a:xfrm>
                <a:off x="3913673" y="6116953"/>
                <a:ext cx="2481692" cy="433201"/>
              </a:xfrm>
              <a:custGeom>
                <a:avLst/>
                <a:gdLst>
                  <a:gd name="connsiteX0" fmla="*/ 30947 w 2481692"/>
                  <a:gd name="connsiteY0" fmla="*/ 16510 h 433201"/>
                  <a:gd name="connsiteX1" fmla="*/ 6817 w 2481692"/>
                  <a:gd name="connsiteY1" fmla="*/ 67310 h 433201"/>
                  <a:gd name="connsiteX2" fmla="*/ 33487 w 2481692"/>
                  <a:gd name="connsiteY2" fmla="*/ 177165 h 433201"/>
                  <a:gd name="connsiteX3" fmla="*/ 79207 w 2481692"/>
                  <a:gd name="connsiteY3" fmla="*/ 230505 h 433201"/>
                  <a:gd name="connsiteX4" fmla="*/ 189697 w 2481692"/>
                  <a:gd name="connsiteY4" fmla="*/ 289560 h 433201"/>
                  <a:gd name="connsiteX5" fmla="*/ 384007 w 2481692"/>
                  <a:gd name="connsiteY5" fmla="*/ 352425 h 433201"/>
                  <a:gd name="connsiteX6" fmla="*/ 483067 w 2481692"/>
                  <a:gd name="connsiteY6" fmla="*/ 375285 h 433201"/>
                  <a:gd name="connsiteX7" fmla="*/ 597367 w 2481692"/>
                  <a:gd name="connsiteY7" fmla="*/ 390525 h 433201"/>
                  <a:gd name="connsiteX8" fmla="*/ 869147 w 2481692"/>
                  <a:gd name="connsiteY8" fmla="*/ 419100 h 433201"/>
                  <a:gd name="connsiteX9" fmla="*/ 1584157 w 2481692"/>
                  <a:gd name="connsiteY9" fmla="*/ 433070 h 433201"/>
                  <a:gd name="connsiteX10" fmla="*/ 1685757 w 2481692"/>
                  <a:gd name="connsiteY10" fmla="*/ 424180 h 433201"/>
                  <a:gd name="connsiteX11" fmla="*/ 1829902 w 2481692"/>
                  <a:gd name="connsiteY11" fmla="*/ 400685 h 433201"/>
                  <a:gd name="connsiteX12" fmla="*/ 1945472 w 2481692"/>
                  <a:gd name="connsiteY12" fmla="*/ 384810 h 433201"/>
                  <a:gd name="connsiteX13" fmla="*/ 2090887 w 2481692"/>
                  <a:gd name="connsiteY13" fmla="*/ 360045 h 433201"/>
                  <a:gd name="connsiteX14" fmla="*/ 2182327 w 2481692"/>
                  <a:gd name="connsiteY14" fmla="*/ 335280 h 433201"/>
                  <a:gd name="connsiteX15" fmla="*/ 2327107 w 2481692"/>
                  <a:gd name="connsiteY15" fmla="*/ 272415 h 433201"/>
                  <a:gd name="connsiteX16" fmla="*/ 2428707 w 2481692"/>
                  <a:gd name="connsiteY16" fmla="*/ 202565 h 433201"/>
                  <a:gd name="connsiteX17" fmla="*/ 2479507 w 2481692"/>
                  <a:gd name="connsiteY17" fmla="*/ 123825 h 433201"/>
                  <a:gd name="connsiteX18" fmla="*/ 2467442 w 2481692"/>
                  <a:gd name="connsiteY18" fmla="*/ 65405 h 433201"/>
                  <a:gd name="connsiteX19" fmla="*/ 2422357 w 2481692"/>
                  <a:gd name="connsiteY19" fmla="*/ 0 h 433201"/>
                  <a:gd name="connsiteX20" fmla="*/ 2400300 w 2462688"/>
                  <a:gd name="connsiteY20" fmla="*/ 0 h 408436"/>
                  <a:gd name="connsiteX21" fmla="*/ 2400300 w 2461364"/>
                  <a:gd name="connsiteY21" fmla="*/ 0 h 408436"/>
                  <a:gd name="connsiteX22" fmla="*/ 2400300 w 2461364"/>
                  <a:gd name="connsiteY22" fmla="*/ 0 h 408436"/>
                  <a:gd name="connsiteX23" fmla="*/ 2400300 w 2461364"/>
                  <a:gd name="connsiteY23" fmla="*/ 0 h 408436"/>
                  <a:gd name="connsiteX24" fmla="*/ 2400300 w 2461364"/>
                  <a:gd name="connsiteY24" fmla="*/ 0 h 408436"/>
                  <a:gd name="connsiteX25" fmla="*/ 2400300 w 2461364"/>
                  <a:gd name="connsiteY25" fmla="*/ 0 h 419100"/>
                  <a:gd name="connsiteX26" fmla="*/ 2400300 w 2461364"/>
                  <a:gd name="connsiteY26" fmla="*/ 0 h 419100"/>
                  <a:gd name="connsiteX27" fmla="*/ 2400300 w 2461364"/>
                  <a:gd name="connsiteY27" fmla="*/ 0 h 419100"/>
                  <a:gd name="connsiteX28" fmla="*/ 2400300 w 2461364"/>
                  <a:gd name="connsiteY28" fmla="*/ 0 h 419100"/>
                  <a:gd name="connsiteX29" fmla="*/ 2400300 w 2461364"/>
                  <a:gd name="connsiteY29" fmla="*/ 0 h 419100"/>
                  <a:gd name="connsiteX30" fmla="*/ 2400300 w 2461364"/>
                  <a:gd name="connsiteY30" fmla="*/ 0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81692" h="433201">
                    <a:moveTo>
                      <a:pt x="30947" y="16510"/>
                    </a:moveTo>
                    <a:cubicBezTo>
                      <a:pt x="33487" y="29210"/>
                      <a:pt x="14987" y="41808"/>
                      <a:pt x="6817" y="67310"/>
                    </a:cubicBezTo>
                    <a:cubicBezTo>
                      <a:pt x="-14985" y="135361"/>
                      <a:pt x="21422" y="149966"/>
                      <a:pt x="33487" y="177165"/>
                    </a:cubicBezTo>
                    <a:cubicBezTo>
                      <a:pt x="45552" y="204364"/>
                      <a:pt x="53172" y="211773"/>
                      <a:pt x="79207" y="230505"/>
                    </a:cubicBezTo>
                    <a:cubicBezTo>
                      <a:pt x="105242" y="249237"/>
                      <a:pt x="138897" y="269240"/>
                      <a:pt x="189697" y="289560"/>
                    </a:cubicBezTo>
                    <a:cubicBezTo>
                      <a:pt x="240497" y="309880"/>
                      <a:pt x="335112" y="338138"/>
                      <a:pt x="384007" y="352425"/>
                    </a:cubicBezTo>
                    <a:cubicBezTo>
                      <a:pt x="432902" y="366713"/>
                      <a:pt x="447507" y="368935"/>
                      <a:pt x="483067" y="375285"/>
                    </a:cubicBezTo>
                    <a:cubicBezTo>
                      <a:pt x="518627" y="381635"/>
                      <a:pt x="574507" y="386715"/>
                      <a:pt x="597367" y="390525"/>
                    </a:cubicBezTo>
                    <a:cubicBezTo>
                      <a:pt x="640547" y="399415"/>
                      <a:pt x="704682" y="412009"/>
                      <a:pt x="869147" y="419100"/>
                    </a:cubicBezTo>
                    <a:cubicBezTo>
                      <a:pt x="1033612" y="426191"/>
                      <a:pt x="1421597" y="434340"/>
                      <a:pt x="1584157" y="433070"/>
                    </a:cubicBezTo>
                    <a:cubicBezTo>
                      <a:pt x="1597831" y="432713"/>
                      <a:pt x="1644800" y="429577"/>
                      <a:pt x="1685757" y="424180"/>
                    </a:cubicBezTo>
                    <a:cubicBezTo>
                      <a:pt x="1726714" y="418783"/>
                      <a:pt x="1814662" y="403225"/>
                      <a:pt x="1829902" y="400685"/>
                    </a:cubicBezTo>
                    <a:cubicBezTo>
                      <a:pt x="1869484" y="392536"/>
                      <a:pt x="1901975" y="391583"/>
                      <a:pt x="1945472" y="384810"/>
                    </a:cubicBezTo>
                    <a:cubicBezTo>
                      <a:pt x="1988970" y="378037"/>
                      <a:pt x="2051411" y="368300"/>
                      <a:pt x="2090887" y="360045"/>
                    </a:cubicBezTo>
                    <a:cubicBezTo>
                      <a:pt x="2130363" y="351790"/>
                      <a:pt x="2152220" y="339581"/>
                      <a:pt x="2182327" y="335280"/>
                    </a:cubicBezTo>
                    <a:cubicBezTo>
                      <a:pt x="2209880" y="326096"/>
                      <a:pt x="2286044" y="294534"/>
                      <a:pt x="2327107" y="272415"/>
                    </a:cubicBezTo>
                    <a:cubicBezTo>
                      <a:pt x="2368170" y="250296"/>
                      <a:pt x="2403307" y="227330"/>
                      <a:pt x="2428707" y="202565"/>
                    </a:cubicBezTo>
                    <a:cubicBezTo>
                      <a:pt x="2454107" y="177800"/>
                      <a:pt x="2473051" y="146685"/>
                      <a:pt x="2479507" y="123825"/>
                    </a:cubicBezTo>
                    <a:cubicBezTo>
                      <a:pt x="2485963" y="100965"/>
                      <a:pt x="2476967" y="86042"/>
                      <a:pt x="2467442" y="65405"/>
                    </a:cubicBezTo>
                    <a:cubicBezTo>
                      <a:pt x="2457917" y="44768"/>
                      <a:pt x="2430622" y="9643"/>
                      <a:pt x="2422357" y="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84" name="Freeform: Shape 55">
                <a:extLst>
                  <a:ext uri="{FF2B5EF4-FFF2-40B4-BE49-F238E27FC236}">
                    <a16:creationId xmlns:a16="http://schemas.microsoft.com/office/drawing/2014/main" id="{CC31C53B-716A-5B66-6EC8-9DADF39965A1}"/>
                  </a:ext>
                </a:extLst>
              </p:cNvPr>
              <p:cNvSpPr/>
              <p:nvPr/>
            </p:nvSpPr>
            <p:spPr>
              <a:xfrm>
                <a:off x="3771600" y="3990677"/>
                <a:ext cx="2262487" cy="970709"/>
              </a:xfrm>
              <a:custGeom>
                <a:avLst/>
                <a:gdLst>
                  <a:gd name="connsiteX0" fmla="*/ 299 w 2262487"/>
                  <a:gd name="connsiteY0" fmla="*/ 298 h 970709"/>
                  <a:gd name="connsiteX1" fmla="*/ 19349 w 2262487"/>
                  <a:gd name="connsiteY1" fmla="*/ 24111 h 970709"/>
                  <a:gd name="connsiteX2" fmla="*/ 195562 w 2262487"/>
                  <a:gd name="connsiteY2" fmla="*/ 243186 h 970709"/>
                  <a:gd name="connsiteX3" fmla="*/ 271762 w 2262487"/>
                  <a:gd name="connsiteY3" fmla="*/ 347961 h 970709"/>
                  <a:gd name="connsiteX4" fmla="*/ 338437 w 2262487"/>
                  <a:gd name="connsiteY4" fmla="*/ 419398 h 970709"/>
                  <a:gd name="connsiteX5" fmla="*/ 371774 w 2262487"/>
                  <a:gd name="connsiteY5" fmla="*/ 438448 h 970709"/>
                  <a:gd name="connsiteX6" fmla="*/ 395587 w 2262487"/>
                  <a:gd name="connsiteY6" fmla="*/ 457498 h 970709"/>
                  <a:gd name="connsiteX7" fmla="*/ 605137 w 2262487"/>
                  <a:gd name="connsiteY7" fmla="*/ 633711 h 970709"/>
                  <a:gd name="connsiteX8" fmla="*/ 757537 w 2262487"/>
                  <a:gd name="connsiteY8" fmla="*/ 714673 h 970709"/>
                  <a:gd name="connsiteX9" fmla="*/ 776587 w 2262487"/>
                  <a:gd name="connsiteY9" fmla="*/ 728961 h 970709"/>
                  <a:gd name="connsiteX10" fmla="*/ 828974 w 2262487"/>
                  <a:gd name="connsiteY10" fmla="*/ 752773 h 970709"/>
                  <a:gd name="connsiteX11" fmla="*/ 967087 w 2262487"/>
                  <a:gd name="connsiteY11" fmla="*/ 824211 h 970709"/>
                  <a:gd name="connsiteX12" fmla="*/ 1000424 w 2262487"/>
                  <a:gd name="connsiteY12" fmla="*/ 838498 h 970709"/>
                  <a:gd name="connsiteX13" fmla="*/ 1205212 w 2262487"/>
                  <a:gd name="connsiteY13" fmla="*/ 909936 h 970709"/>
                  <a:gd name="connsiteX14" fmla="*/ 1281412 w 2262487"/>
                  <a:gd name="connsiteY14" fmla="*/ 928986 h 970709"/>
                  <a:gd name="connsiteX15" fmla="*/ 1538587 w 2262487"/>
                  <a:gd name="connsiteY15" fmla="*/ 962323 h 970709"/>
                  <a:gd name="connsiteX16" fmla="*/ 1919587 w 2262487"/>
                  <a:gd name="connsiteY16" fmla="*/ 967086 h 970709"/>
                  <a:gd name="connsiteX17" fmla="*/ 2262487 w 2262487"/>
                  <a:gd name="connsiteY17" fmla="*/ 957561 h 970709"/>
                  <a:gd name="connsiteX18" fmla="*/ 2262188 w 2262188"/>
                  <a:gd name="connsiteY18" fmla="*/ 957263 h 970411"/>
                  <a:gd name="connsiteX19" fmla="*/ 2262188 w 2262188"/>
                  <a:gd name="connsiteY19" fmla="*/ 957263 h 970411"/>
                  <a:gd name="connsiteX20" fmla="*/ 2262188 w 2262188"/>
                  <a:gd name="connsiteY20" fmla="*/ 957263 h 982971"/>
                  <a:gd name="connsiteX21" fmla="*/ 2262188 w 2262188"/>
                  <a:gd name="connsiteY21" fmla="*/ 957263 h 982971"/>
                  <a:gd name="connsiteX22" fmla="*/ 2262188 w 2262188"/>
                  <a:gd name="connsiteY22" fmla="*/ 957263 h 982971"/>
                  <a:gd name="connsiteX23" fmla="*/ 2262188 w 2262188"/>
                  <a:gd name="connsiteY23" fmla="*/ 957263 h 982971"/>
                  <a:gd name="connsiteX24" fmla="*/ 2262188 w 2262188"/>
                  <a:gd name="connsiteY24" fmla="*/ 957263 h 982971"/>
                  <a:gd name="connsiteX25" fmla="*/ 2262188 w 2262188"/>
                  <a:gd name="connsiteY25" fmla="*/ 957263 h 982971"/>
                  <a:gd name="connsiteX26" fmla="*/ 2262188 w 2262188"/>
                  <a:gd name="connsiteY26" fmla="*/ 957263 h 982971"/>
                  <a:gd name="connsiteX27" fmla="*/ 2262188 w 2262188"/>
                  <a:gd name="connsiteY27" fmla="*/ 957263 h 982971"/>
                  <a:gd name="connsiteX28" fmla="*/ 2262188 w 2262188"/>
                  <a:gd name="connsiteY28" fmla="*/ 957263 h 982971"/>
                  <a:gd name="connsiteX29" fmla="*/ 2262188 w 2262188"/>
                  <a:gd name="connsiteY29" fmla="*/ 957263 h 982971"/>
                  <a:gd name="connsiteX30" fmla="*/ 2262188 w 2262188"/>
                  <a:gd name="connsiteY30" fmla="*/ 957263 h 982971"/>
                  <a:gd name="connsiteX31" fmla="*/ 2262188 w 2262188"/>
                  <a:gd name="connsiteY31" fmla="*/ 957263 h 982971"/>
                  <a:gd name="connsiteX32" fmla="*/ 2262188 w 2262188"/>
                  <a:gd name="connsiteY32" fmla="*/ 957263 h 982971"/>
                  <a:gd name="connsiteX33" fmla="*/ 2262188 w 2262188"/>
                  <a:gd name="connsiteY33" fmla="*/ 957263 h 982971"/>
                  <a:gd name="connsiteX34" fmla="*/ 2262188 w 2262188"/>
                  <a:gd name="connsiteY34" fmla="*/ 957263 h 982971"/>
                  <a:gd name="connsiteX35" fmla="*/ 2262188 w 2262188"/>
                  <a:gd name="connsiteY35" fmla="*/ 957263 h 982971"/>
                  <a:gd name="connsiteX36" fmla="*/ 2262188 w 2262188"/>
                  <a:gd name="connsiteY36" fmla="*/ 957263 h 982971"/>
                  <a:gd name="connsiteX37" fmla="*/ 2262188 w 2262188"/>
                  <a:gd name="connsiteY37" fmla="*/ 957263 h 982971"/>
                  <a:gd name="connsiteX38" fmla="*/ 2262188 w 2262188"/>
                  <a:gd name="connsiteY38" fmla="*/ 957263 h 982971"/>
                  <a:gd name="connsiteX39" fmla="*/ 2262188 w 2262188"/>
                  <a:gd name="connsiteY39" fmla="*/ 957263 h 982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62487" h="970709">
                    <a:moveTo>
                      <a:pt x="299" y="298"/>
                    </a:moveTo>
                    <a:cubicBezTo>
                      <a:pt x="6649" y="8236"/>
                      <a:pt x="-13195" y="-16370"/>
                      <a:pt x="19349" y="24111"/>
                    </a:cubicBezTo>
                    <a:cubicBezTo>
                      <a:pt x="51893" y="64592"/>
                      <a:pt x="153493" y="189211"/>
                      <a:pt x="195562" y="243186"/>
                    </a:cubicBezTo>
                    <a:cubicBezTo>
                      <a:pt x="237631" y="297161"/>
                      <a:pt x="247950" y="318592"/>
                      <a:pt x="271762" y="347961"/>
                    </a:cubicBezTo>
                    <a:cubicBezTo>
                      <a:pt x="295574" y="377330"/>
                      <a:pt x="321768" y="404317"/>
                      <a:pt x="338437" y="419398"/>
                    </a:cubicBezTo>
                    <a:cubicBezTo>
                      <a:pt x="355106" y="434479"/>
                      <a:pt x="361125" y="431349"/>
                      <a:pt x="371774" y="438448"/>
                    </a:cubicBezTo>
                    <a:cubicBezTo>
                      <a:pt x="380232" y="444087"/>
                      <a:pt x="356693" y="424954"/>
                      <a:pt x="395587" y="457498"/>
                    </a:cubicBezTo>
                    <a:cubicBezTo>
                      <a:pt x="434481" y="490042"/>
                      <a:pt x="544812" y="590849"/>
                      <a:pt x="605137" y="633711"/>
                    </a:cubicBezTo>
                    <a:cubicBezTo>
                      <a:pt x="665462" y="676573"/>
                      <a:pt x="728962" y="698798"/>
                      <a:pt x="757537" y="714673"/>
                    </a:cubicBezTo>
                    <a:cubicBezTo>
                      <a:pt x="786112" y="730548"/>
                      <a:pt x="769781" y="724877"/>
                      <a:pt x="776587" y="728961"/>
                    </a:cubicBezTo>
                    <a:cubicBezTo>
                      <a:pt x="878260" y="789965"/>
                      <a:pt x="797224" y="736898"/>
                      <a:pt x="828974" y="752773"/>
                    </a:cubicBezTo>
                    <a:cubicBezTo>
                      <a:pt x="860724" y="768648"/>
                      <a:pt x="938512" y="809924"/>
                      <a:pt x="967087" y="824211"/>
                    </a:cubicBezTo>
                    <a:cubicBezTo>
                      <a:pt x="995662" y="838498"/>
                      <a:pt x="960737" y="824211"/>
                      <a:pt x="1000424" y="838498"/>
                    </a:cubicBezTo>
                    <a:cubicBezTo>
                      <a:pt x="1040111" y="852785"/>
                      <a:pt x="1158381" y="894855"/>
                      <a:pt x="1205212" y="909936"/>
                    </a:cubicBezTo>
                    <a:cubicBezTo>
                      <a:pt x="1252043" y="925017"/>
                      <a:pt x="1225850" y="920255"/>
                      <a:pt x="1281412" y="928986"/>
                    </a:cubicBezTo>
                    <a:cubicBezTo>
                      <a:pt x="1336975" y="937717"/>
                      <a:pt x="1432225" y="955973"/>
                      <a:pt x="1538587" y="962323"/>
                    </a:cubicBezTo>
                    <a:cubicBezTo>
                      <a:pt x="1644949" y="968673"/>
                      <a:pt x="1792587" y="965498"/>
                      <a:pt x="1919587" y="967086"/>
                    </a:cubicBezTo>
                    <a:cubicBezTo>
                      <a:pt x="2256511" y="962272"/>
                      <a:pt x="2158319" y="983446"/>
                      <a:pt x="2262487" y="957561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85" name="Freeform: Shape 90">
                <a:extLst>
                  <a:ext uri="{FF2B5EF4-FFF2-40B4-BE49-F238E27FC236}">
                    <a16:creationId xmlns:a16="http://schemas.microsoft.com/office/drawing/2014/main" id="{D73B5389-6939-511F-3977-9CB4F170B19F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32635 w 3008034"/>
                  <a:gd name="connsiteY77" fmla="*/ 26670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83" fmla="*/ 1811655 w 3008034"/>
                  <a:gd name="connsiteY83" fmla="*/ 107633 h 3680460"/>
                  <a:gd name="connsiteX84" fmla="*/ 1811655 w 3008034"/>
                  <a:gd name="connsiteY84" fmla="*/ 107633 h 3680460"/>
                  <a:gd name="connsiteX85" fmla="*/ 1887855 w 3008034"/>
                  <a:gd name="connsiteY85" fmla="*/ 182880 h 3680460"/>
                  <a:gd name="connsiteX86" fmla="*/ 1887855 w 3008034"/>
                  <a:gd name="connsiteY86" fmla="*/ 182880 h 3680460"/>
                  <a:gd name="connsiteX87" fmla="*/ 1887855 w 3008034"/>
                  <a:gd name="connsiteY87" fmla="*/ 182880 h 3680460"/>
                  <a:gd name="connsiteX88" fmla="*/ 1887855 w 3008034"/>
                  <a:gd name="connsiteY88" fmla="*/ 182880 h 3680460"/>
                  <a:gd name="connsiteX89" fmla="*/ 1887855 w 3008034"/>
                  <a:gd name="connsiteY89" fmla="*/ 182880 h 3680460"/>
                  <a:gd name="connsiteX90" fmla="*/ 1887855 w 3008034"/>
                  <a:gd name="connsiteY90" fmla="*/ 182880 h 3680460"/>
                  <a:gd name="connsiteX91" fmla="*/ 1887855 w 3008034"/>
                  <a:gd name="connsiteY91" fmla="*/ 182880 h 3680460"/>
                  <a:gd name="connsiteX92" fmla="*/ 1887855 w 3008034"/>
                  <a:gd name="connsiteY92" fmla="*/ 182880 h 3680460"/>
                  <a:gd name="connsiteX93" fmla="*/ 1887855 w 3008034"/>
                  <a:gd name="connsiteY93" fmla="*/ 182880 h 3680460"/>
                  <a:gd name="connsiteX94" fmla="*/ 1887855 w 3008034"/>
                  <a:gd name="connsiteY94" fmla="*/ 182880 h 3680460"/>
                  <a:gd name="connsiteX95" fmla="*/ 1887855 w 3008034"/>
                  <a:gd name="connsiteY95" fmla="*/ 182880 h 3680460"/>
                  <a:gd name="connsiteX96" fmla="*/ 1887855 w 3008034"/>
                  <a:gd name="connsiteY96" fmla="*/ 182880 h 3680460"/>
                  <a:gd name="connsiteX97" fmla="*/ 1887855 w 3008034"/>
                  <a:gd name="connsiteY97" fmla="*/ 182880 h 3680460"/>
                  <a:gd name="connsiteX98" fmla="*/ 1887855 w 3008034"/>
                  <a:gd name="connsiteY98" fmla="*/ 182880 h 3680460"/>
                  <a:gd name="connsiteX99" fmla="*/ 1887855 w 3008034"/>
                  <a:gd name="connsiteY99" fmla="*/ 182880 h 3680460"/>
                  <a:gd name="connsiteX100" fmla="*/ 1887855 w 3008034"/>
                  <a:gd name="connsiteY100" fmla="*/ 182880 h 3680460"/>
                  <a:gd name="connsiteX101" fmla="*/ 1887855 w 3008034"/>
                  <a:gd name="connsiteY101" fmla="*/ 182880 h 3680460"/>
                  <a:gd name="connsiteX102" fmla="*/ 1887855 w 3008034"/>
                  <a:gd name="connsiteY102" fmla="*/ 182880 h 3680460"/>
                  <a:gd name="connsiteX103" fmla="*/ 1887855 w 3008034"/>
                  <a:gd name="connsiteY103" fmla="*/ 182880 h 3680460"/>
                  <a:gd name="connsiteX104" fmla="*/ 1887855 w 3008034"/>
                  <a:gd name="connsiteY104" fmla="*/ 182880 h 3680460"/>
                  <a:gd name="connsiteX105" fmla="*/ 1887855 w 3008034"/>
                  <a:gd name="connsiteY105" fmla="*/ 182880 h 3680460"/>
                  <a:gd name="connsiteX106" fmla="*/ 1887855 w 3008034"/>
                  <a:gd name="connsiteY106" fmla="*/ 182880 h 3680460"/>
                  <a:gd name="connsiteX107" fmla="*/ 1887855 w 3008034"/>
                  <a:gd name="connsiteY107" fmla="*/ 182880 h 3680460"/>
                  <a:gd name="connsiteX108" fmla="*/ 1887855 w 3008034"/>
                  <a:gd name="connsiteY108" fmla="*/ 182880 h 3680460"/>
                  <a:gd name="connsiteX109" fmla="*/ 1887855 w 3008034"/>
                  <a:gd name="connsiteY109" fmla="*/ 182880 h 3680460"/>
                  <a:gd name="connsiteX110" fmla="*/ 1887855 w 3008034"/>
                  <a:gd name="connsiteY110" fmla="*/ 182880 h 3680460"/>
                  <a:gd name="connsiteX111" fmla="*/ 1887855 w 3008034"/>
                  <a:gd name="connsiteY111" fmla="*/ 182880 h 3680460"/>
                  <a:gd name="connsiteX112" fmla="*/ 1887855 w 3008034"/>
                  <a:gd name="connsiteY112" fmla="*/ 182880 h 3680460"/>
                  <a:gd name="connsiteX113" fmla="*/ 1887855 w 3008034"/>
                  <a:gd name="connsiteY113" fmla="*/ 182880 h 3680460"/>
                  <a:gd name="connsiteX114" fmla="*/ 1887855 w 3008034"/>
                  <a:gd name="connsiteY114" fmla="*/ 182880 h 3680460"/>
                  <a:gd name="connsiteX115" fmla="*/ 1887855 w 3008034"/>
                  <a:gd name="connsiteY115" fmla="*/ 182880 h 3680460"/>
                  <a:gd name="connsiteX116" fmla="*/ 1887855 w 3008034"/>
                  <a:gd name="connsiteY116" fmla="*/ 182880 h 3680460"/>
                  <a:gd name="connsiteX117" fmla="*/ 1887855 w 3008034"/>
                  <a:gd name="connsiteY117" fmla="*/ 182880 h 3680460"/>
                  <a:gd name="connsiteX118" fmla="*/ 1887855 w 3008034"/>
                  <a:gd name="connsiteY118" fmla="*/ 182880 h 3680460"/>
                  <a:gd name="connsiteX119" fmla="*/ 1887855 w 3008034"/>
                  <a:gd name="connsiteY119" fmla="*/ 182880 h 3680460"/>
                  <a:gd name="connsiteX120" fmla="*/ 1887855 w 3008034"/>
                  <a:gd name="connsiteY120" fmla="*/ 182880 h 3680460"/>
                  <a:gd name="connsiteX121" fmla="*/ 1887855 w 3008034"/>
                  <a:gd name="connsiteY121" fmla="*/ 182880 h 3680460"/>
                  <a:gd name="connsiteX122" fmla="*/ 1887855 w 3008034"/>
                  <a:gd name="connsiteY122" fmla="*/ 182880 h 3680460"/>
                  <a:gd name="connsiteX123" fmla="*/ 1887855 w 3008034"/>
                  <a:gd name="connsiteY123" fmla="*/ 182880 h 3680460"/>
                  <a:gd name="connsiteX124" fmla="*/ 1887855 w 3008034"/>
                  <a:gd name="connsiteY124" fmla="*/ 182880 h 3680460"/>
                  <a:gd name="connsiteX125" fmla="*/ 1887855 w 3008034"/>
                  <a:gd name="connsiteY125" fmla="*/ 182880 h 3680460"/>
                  <a:gd name="connsiteX126" fmla="*/ 1887855 w 3008034"/>
                  <a:gd name="connsiteY126" fmla="*/ 182880 h 3680460"/>
                  <a:gd name="connsiteX127" fmla="*/ 1887855 w 3008034"/>
                  <a:gd name="connsiteY127" fmla="*/ 182880 h 3680460"/>
                  <a:gd name="connsiteX128" fmla="*/ 1887855 w 3008034"/>
                  <a:gd name="connsiteY128" fmla="*/ 182880 h 3680460"/>
                  <a:gd name="connsiteX129" fmla="*/ 1887855 w 3008034"/>
                  <a:gd name="connsiteY129" fmla="*/ 182880 h 3680460"/>
                  <a:gd name="connsiteX130" fmla="*/ 1887855 w 3008034"/>
                  <a:gd name="connsiteY130" fmla="*/ 182880 h 3680460"/>
                  <a:gd name="connsiteX131" fmla="*/ 1887855 w 3008034"/>
                  <a:gd name="connsiteY131" fmla="*/ 182880 h 3680460"/>
                  <a:gd name="connsiteX132" fmla="*/ 1887855 w 3008034"/>
                  <a:gd name="connsiteY132" fmla="*/ 182880 h 3680460"/>
                  <a:gd name="connsiteX133" fmla="*/ 1887855 w 3008034"/>
                  <a:gd name="connsiteY133" fmla="*/ 182880 h 3680460"/>
                  <a:gd name="connsiteX134" fmla="*/ 1897380 w 3017559"/>
                  <a:gd name="connsiteY134" fmla="*/ 182880 h 3680460"/>
                  <a:gd name="connsiteX135" fmla="*/ 1897380 w 3017559"/>
                  <a:gd name="connsiteY135" fmla="*/ 182880 h 3680460"/>
                  <a:gd name="connsiteX136" fmla="*/ 1897380 w 3017559"/>
                  <a:gd name="connsiteY136" fmla="*/ 182880 h 3680460"/>
                  <a:gd name="connsiteX137" fmla="*/ 1897380 w 3017559"/>
                  <a:gd name="connsiteY137" fmla="*/ 182880 h 3680460"/>
                  <a:gd name="connsiteX138" fmla="*/ 1897380 w 3017559"/>
                  <a:gd name="connsiteY138" fmla="*/ 182880 h 3680460"/>
                  <a:gd name="connsiteX139" fmla="*/ 1897380 w 3017559"/>
                  <a:gd name="connsiteY139" fmla="*/ 182880 h 3680460"/>
                  <a:gd name="connsiteX140" fmla="*/ 1897380 w 3017559"/>
                  <a:gd name="connsiteY140" fmla="*/ 182880 h 3680460"/>
                  <a:gd name="connsiteX141" fmla="*/ 1897380 w 3017559"/>
                  <a:gd name="connsiteY141" fmla="*/ 182880 h 3680460"/>
                  <a:gd name="connsiteX142" fmla="*/ 1897380 w 3017559"/>
                  <a:gd name="connsiteY142" fmla="*/ 182880 h 3680460"/>
                  <a:gd name="connsiteX143" fmla="*/ 1897380 w 3017559"/>
                  <a:gd name="connsiteY143" fmla="*/ 182880 h 3680460"/>
                  <a:gd name="connsiteX144" fmla="*/ 1897380 w 3017559"/>
                  <a:gd name="connsiteY144" fmla="*/ 182880 h 3680460"/>
                  <a:gd name="connsiteX145" fmla="*/ 1897380 w 3018472"/>
                  <a:gd name="connsiteY145" fmla="*/ 182880 h 3680460"/>
                  <a:gd name="connsiteX146" fmla="*/ 1897380 w 3018472"/>
                  <a:gd name="connsiteY146" fmla="*/ 182880 h 3680460"/>
                  <a:gd name="connsiteX147" fmla="*/ 1897380 w 3018472"/>
                  <a:gd name="connsiteY147" fmla="*/ 182880 h 3680460"/>
                  <a:gd name="connsiteX148" fmla="*/ 1897380 w 3018472"/>
                  <a:gd name="connsiteY148" fmla="*/ 182880 h 3680460"/>
                  <a:gd name="connsiteX149" fmla="*/ 1897380 w 3018472"/>
                  <a:gd name="connsiteY149" fmla="*/ 182880 h 3680460"/>
                  <a:gd name="connsiteX150" fmla="*/ 1897380 w 3018472"/>
                  <a:gd name="connsiteY150" fmla="*/ 182880 h 3680460"/>
                  <a:gd name="connsiteX151" fmla="*/ 1897380 w 3018472"/>
                  <a:gd name="connsiteY151" fmla="*/ 182880 h 3680460"/>
                  <a:gd name="connsiteX152" fmla="*/ 1897380 w 3018472"/>
                  <a:gd name="connsiteY152" fmla="*/ 182880 h 3680460"/>
                  <a:gd name="connsiteX153" fmla="*/ 1897380 w 3018472"/>
                  <a:gd name="connsiteY153" fmla="*/ 182880 h 3680460"/>
                  <a:gd name="connsiteX154" fmla="*/ 1897380 w 3018472"/>
                  <a:gd name="connsiteY154" fmla="*/ 182880 h 3680460"/>
                  <a:gd name="connsiteX155" fmla="*/ 1897380 w 3018472"/>
                  <a:gd name="connsiteY155" fmla="*/ 182880 h 3680460"/>
                  <a:gd name="connsiteX156" fmla="*/ 1897380 w 3018472"/>
                  <a:gd name="connsiteY156" fmla="*/ 182880 h 3680460"/>
                  <a:gd name="connsiteX157" fmla="*/ 1897380 w 3018472"/>
                  <a:gd name="connsiteY157" fmla="*/ 182880 h 3680460"/>
                  <a:gd name="connsiteX158" fmla="*/ 1897380 w 3018472"/>
                  <a:gd name="connsiteY158" fmla="*/ 182880 h 3680460"/>
                  <a:gd name="connsiteX159" fmla="*/ 1897380 w 3025140"/>
                  <a:gd name="connsiteY159" fmla="*/ 182880 h 3680460"/>
                  <a:gd name="connsiteX160" fmla="*/ 1897380 w 3025140"/>
                  <a:gd name="connsiteY160" fmla="*/ 182880 h 3680460"/>
                  <a:gd name="connsiteX161" fmla="*/ 1897380 w 3025140"/>
                  <a:gd name="connsiteY161" fmla="*/ 182880 h 3680460"/>
                  <a:gd name="connsiteX162" fmla="*/ 1897380 w 3025140"/>
                  <a:gd name="connsiteY162" fmla="*/ 182880 h 3680460"/>
                  <a:gd name="connsiteX163" fmla="*/ 1897380 w 3025140"/>
                  <a:gd name="connsiteY163" fmla="*/ 182880 h 3680460"/>
                  <a:gd name="connsiteX164" fmla="*/ 1897380 w 3025140"/>
                  <a:gd name="connsiteY164" fmla="*/ 182880 h 3680460"/>
                  <a:gd name="connsiteX165" fmla="*/ 1897380 w 3025140"/>
                  <a:gd name="connsiteY165" fmla="*/ 182880 h 3680460"/>
                  <a:gd name="connsiteX166" fmla="*/ 1897380 w 3025140"/>
                  <a:gd name="connsiteY166" fmla="*/ 182880 h 3680460"/>
                  <a:gd name="connsiteX167" fmla="*/ 1897380 w 3025140"/>
                  <a:gd name="connsiteY167" fmla="*/ 182880 h 3680460"/>
                  <a:gd name="connsiteX168" fmla="*/ 1897380 w 3025140"/>
                  <a:gd name="connsiteY168" fmla="*/ 182880 h 3680460"/>
                  <a:gd name="connsiteX169" fmla="*/ 1897380 w 3025140"/>
                  <a:gd name="connsiteY169" fmla="*/ 182880 h 3680460"/>
                  <a:gd name="connsiteX170" fmla="*/ 1897380 w 3025140"/>
                  <a:gd name="connsiteY170" fmla="*/ 182880 h 3680460"/>
                  <a:gd name="connsiteX171" fmla="*/ 1897380 w 3025140"/>
                  <a:gd name="connsiteY171" fmla="*/ 182880 h 3680460"/>
                  <a:gd name="connsiteX172" fmla="*/ 1897380 w 3025140"/>
                  <a:gd name="connsiteY172" fmla="*/ 182880 h 3680460"/>
                  <a:gd name="connsiteX173" fmla="*/ 1897380 w 3025140"/>
                  <a:gd name="connsiteY173" fmla="*/ 182880 h 3680460"/>
                  <a:gd name="connsiteX174" fmla="*/ 1897380 w 3025140"/>
                  <a:gd name="connsiteY174" fmla="*/ 182880 h 3680460"/>
                  <a:gd name="connsiteX175" fmla="*/ 1897380 w 3025140"/>
                  <a:gd name="connsiteY175" fmla="*/ 182880 h 3680460"/>
                  <a:gd name="connsiteX176" fmla="*/ 1897380 w 3025140"/>
                  <a:gd name="connsiteY176" fmla="*/ 182880 h 3680460"/>
                  <a:gd name="connsiteX177" fmla="*/ 1897380 w 3025140"/>
                  <a:gd name="connsiteY177" fmla="*/ 18288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3008034" h="3680460">
                    <a:moveTo>
                      <a:pt x="1720215" y="16193"/>
                    </a:move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86" name="Freeform: Shape 52">
                <a:extLst>
                  <a:ext uri="{FF2B5EF4-FFF2-40B4-BE49-F238E27FC236}">
                    <a16:creationId xmlns:a16="http://schemas.microsoft.com/office/drawing/2014/main" id="{E05DC29F-CF99-6C22-62FC-4084BF7662FB}"/>
                  </a:ext>
                </a:extLst>
              </p:cNvPr>
              <p:cNvSpPr/>
              <p:nvPr/>
            </p:nvSpPr>
            <p:spPr>
              <a:xfrm>
                <a:off x="4966195" y="5466716"/>
                <a:ext cx="372213" cy="756362"/>
              </a:xfrm>
              <a:custGeom>
                <a:avLst/>
                <a:gdLst>
                  <a:gd name="connsiteX0" fmla="*/ 24904 w 372213"/>
                  <a:gd name="connsiteY0" fmla="*/ 4445 h 756362"/>
                  <a:gd name="connsiteX1" fmla="*/ 17284 w 372213"/>
                  <a:gd name="connsiteY1" fmla="*/ 133985 h 756362"/>
                  <a:gd name="connsiteX2" fmla="*/ 2044 w 372213"/>
                  <a:gd name="connsiteY2" fmla="*/ 507365 h 756362"/>
                  <a:gd name="connsiteX3" fmla="*/ 9664 w 372213"/>
                  <a:gd name="connsiteY3" fmla="*/ 667385 h 756362"/>
                  <a:gd name="connsiteX4" fmla="*/ 108724 w 372213"/>
                  <a:gd name="connsiteY4" fmla="*/ 751205 h 756362"/>
                  <a:gd name="connsiteX5" fmla="*/ 314464 w 372213"/>
                  <a:gd name="connsiteY5" fmla="*/ 743585 h 756362"/>
                  <a:gd name="connsiteX6" fmla="*/ 367804 w 372213"/>
                  <a:gd name="connsiteY6" fmla="*/ 713105 h 756362"/>
                  <a:gd name="connsiteX7" fmla="*/ 367804 w 372213"/>
                  <a:gd name="connsiteY7" fmla="*/ 568325 h 756362"/>
                  <a:gd name="connsiteX8" fmla="*/ 356374 w 372213"/>
                  <a:gd name="connsiteY8" fmla="*/ 409575 h 756362"/>
                  <a:gd name="connsiteX9" fmla="*/ 327164 w 372213"/>
                  <a:gd name="connsiteY9" fmla="*/ 212090 h 756362"/>
                  <a:gd name="connsiteX10" fmla="*/ 311924 w 372213"/>
                  <a:gd name="connsiteY10" fmla="*/ 0 h 756362"/>
                  <a:gd name="connsiteX11" fmla="*/ 310146 w 370435"/>
                  <a:gd name="connsiteY11" fmla="*/ 0 h 751205"/>
                  <a:gd name="connsiteX12" fmla="*/ 310146 w 375245"/>
                  <a:gd name="connsiteY12" fmla="*/ 0 h 751205"/>
                  <a:gd name="connsiteX13" fmla="*/ 297446 w 378064"/>
                  <a:gd name="connsiteY13" fmla="*/ 0 h 754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2213" h="756362">
                    <a:moveTo>
                      <a:pt x="24904" y="4445"/>
                    </a:moveTo>
                    <a:cubicBezTo>
                      <a:pt x="22364" y="47625"/>
                      <a:pt x="18801" y="90757"/>
                      <a:pt x="17284" y="133985"/>
                    </a:cubicBezTo>
                    <a:cubicBezTo>
                      <a:pt x="4256" y="505274"/>
                      <a:pt x="21981" y="327931"/>
                      <a:pt x="2044" y="507365"/>
                    </a:cubicBezTo>
                    <a:cubicBezTo>
                      <a:pt x="4584" y="560705"/>
                      <a:pt x="-8116" y="626745"/>
                      <a:pt x="9664" y="667385"/>
                    </a:cubicBezTo>
                    <a:cubicBezTo>
                      <a:pt x="27444" y="708025"/>
                      <a:pt x="57924" y="738505"/>
                      <a:pt x="108724" y="751205"/>
                    </a:cubicBezTo>
                    <a:cubicBezTo>
                      <a:pt x="159524" y="763905"/>
                      <a:pt x="271284" y="749935"/>
                      <a:pt x="314464" y="743585"/>
                    </a:cubicBezTo>
                    <a:cubicBezTo>
                      <a:pt x="357644" y="737235"/>
                      <a:pt x="358914" y="742315"/>
                      <a:pt x="367804" y="713105"/>
                    </a:cubicBezTo>
                    <a:cubicBezTo>
                      <a:pt x="376694" y="683895"/>
                      <a:pt x="369709" y="618913"/>
                      <a:pt x="367804" y="568325"/>
                    </a:cubicBezTo>
                    <a:cubicBezTo>
                      <a:pt x="365899" y="517737"/>
                      <a:pt x="363147" y="468947"/>
                      <a:pt x="356374" y="409575"/>
                    </a:cubicBezTo>
                    <a:cubicBezTo>
                      <a:pt x="349601" y="350203"/>
                      <a:pt x="334572" y="280353"/>
                      <a:pt x="327164" y="212090"/>
                    </a:cubicBezTo>
                    <a:cubicBezTo>
                      <a:pt x="319756" y="143828"/>
                      <a:pt x="315099" y="58738"/>
                      <a:pt x="311924" y="0"/>
                    </a:cubicBezTo>
                  </a:path>
                </a:pathLst>
              </a:custGeom>
              <a:solidFill>
                <a:srgbClr val="FBCCD0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>
                <a:defPPr>
                  <a:defRPr lang="en-DK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chemeClr val="tx1"/>
                  </a:solidFill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66" name="Freeform: Shape 93">
              <a:extLst>
                <a:ext uri="{FF2B5EF4-FFF2-40B4-BE49-F238E27FC236}">
                  <a16:creationId xmlns:a16="http://schemas.microsoft.com/office/drawing/2014/main" id="{3B2B7405-EF02-FB68-C519-B7CB9E4ED9CC}"/>
                </a:ext>
              </a:extLst>
            </p:cNvPr>
            <p:cNvSpPr/>
            <p:nvPr/>
          </p:nvSpPr>
          <p:spPr>
            <a:xfrm>
              <a:off x="2188411" y="2055119"/>
              <a:ext cx="1031704" cy="2174539"/>
            </a:xfrm>
            <a:custGeom>
              <a:avLst/>
              <a:gdLst>
                <a:gd name="connsiteX0" fmla="*/ 67984 w 1125259"/>
                <a:gd name="connsiteY0" fmla="*/ 2371725 h 2371725"/>
                <a:gd name="connsiteX1" fmla="*/ 58459 w 1125259"/>
                <a:gd name="connsiteY1" fmla="*/ 2324100 h 2371725"/>
                <a:gd name="connsiteX2" fmla="*/ 1309 w 1125259"/>
                <a:gd name="connsiteY2" fmla="*/ 1895475 h 2371725"/>
                <a:gd name="connsiteX3" fmla="*/ 39409 w 1125259"/>
                <a:gd name="connsiteY3" fmla="*/ 1552575 h 2371725"/>
                <a:gd name="connsiteX4" fmla="*/ 144184 w 1125259"/>
                <a:gd name="connsiteY4" fmla="*/ 1228725 h 2371725"/>
                <a:gd name="connsiteX5" fmla="*/ 201334 w 1125259"/>
                <a:gd name="connsiteY5" fmla="*/ 1085850 h 2371725"/>
                <a:gd name="connsiteX6" fmla="*/ 248959 w 1125259"/>
                <a:gd name="connsiteY6" fmla="*/ 952500 h 2371725"/>
                <a:gd name="connsiteX7" fmla="*/ 420409 w 1125259"/>
                <a:gd name="connsiteY7" fmla="*/ 666750 h 2371725"/>
                <a:gd name="connsiteX8" fmla="*/ 448984 w 1125259"/>
                <a:gd name="connsiteY8" fmla="*/ 638175 h 2371725"/>
                <a:gd name="connsiteX9" fmla="*/ 601384 w 1125259"/>
                <a:gd name="connsiteY9" fmla="*/ 409575 h 2371725"/>
                <a:gd name="connsiteX10" fmla="*/ 706159 w 1125259"/>
                <a:gd name="connsiteY10" fmla="*/ 276225 h 2371725"/>
                <a:gd name="connsiteX11" fmla="*/ 1010959 w 1125259"/>
                <a:gd name="connsiteY11" fmla="*/ 57150 h 2371725"/>
                <a:gd name="connsiteX12" fmla="*/ 1125259 w 1125259"/>
                <a:gd name="connsiteY12" fmla="*/ 0 h 2371725"/>
                <a:gd name="connsiteX13" fmla="*/ 1169223 w 1169223"/>
                <a:gd name="connsiteY13" fmla="*/ 0 h 2381250"/>
                <a:gd name="connsiteX14" fmla="*/ 1169223 w 1169223"/>
                <a:gd name="connsiteY14" fmla="*/ 0 h 2381250"/>
                <a:gd name="connsiteX15" fmla="*/ 1169223 w 1169223"/>
                <a:gd name="connsiteY15" fmla="*/ 0 h 2381250"/>
                <a:gd name="connsiteX16" fmla="*/ 1169223 w 1169223"/>
                <a:gd name="connsiteY16" fmla="*/ 0 h 2381250"/>
                <a:gd name="connsiteX17" fmla="*/ 1169223 w 1169223"/>
                <a:gd name="connsiteY17" fmla="*/ 0 h 2381250"/>
                <a:gd name="connsiteX18" fmla="*/ 1169223 w 1169223"/>
                <a:gd name="connsiteY18" fmla="*/ 0 h 2381250"/>
                <a:gd name="connsiteX19" fmla="*/ 1169223 w 1169223"/>
                <a:gd name="connsiteY19" fmla="*/ 0 h 2381250"/>
                <a:gd name="connsiteX20" fmla="*/ 1169223 w 1169223"/>
                <a:gd name="connsiteY20" fmla="*/ 0 h 2381250"/>
                <a:gd name="connsiteX21" fmla="*/ 1169223 w 1169223"/>
                <a:gd name="connsiteY21" fmla="*/ 0 h 2381250"/>
                <a:gd name="connsiteX22" fmla="*/ 1169223 w 1169223"/>
                <a:gd name="connsiteY22" fmla="*/ 0 h 2381250"/>
                <a:gd name="connsiteX23" fmla="*/ 1169223 w 1169223"/>
                <a:gd name="connsiteY23" fmla="*/ 0 h 2381250"/>
                <a:gd name="connsiteX24" fmla="*/ 1169223 w 1169223"/>
                <a:gd name="connsiteY24" fmla="*/ 0 h 2381250"/>
                <a:gd name="connsiteX25" fmla="*/ 1169223 w 1169223"/>
                <a:gd name="connsiteY25" fmla="*/ 0 h 2381250"/>
                <a:gd name="connsiteX26" fmla="*/ 1169223 w 1169223"/>
                <a:gd name="connsiteY26" fmla="*/ 0 h 2381250"/>
                <a:gd name="connsiteX27" fmla="*/ 1169223 w 1169223"/>
                <a:gd name="connsiteY27" fmla="*/ 0 h 2381250"/>
                <a:gd name="connsiteX28" fmla="*/ 1169223 w 1169223"/>
                <a:gd name="connsiteY28" fmla="*/ 0 h 2381250"/>
                <a:gd name="connsiteX29" fmla="*/ 1169223 w 1169223"/>
                <a:gd name="connsiteY29" fmla="*/ 0 h 2381250"/>
                <a:gd name="connsiteX30" fmla="*/ 1166710 w 1166710"/>
                <a:gd name="connsiteY30" fmla="*/ 0 h 2381250"/>
                <a:gd name="connsiteX31" fmla="*/ 1166710 w 1166710"/>
                <a:gd name="connsiteY31" fmla="*/ 0 h 2381250"/>
                <a:gd name="connsiteX32" fmla="*/ 1166710 w 1166710"/>
                <a:gd name="connsiteY32" fmla="*/ 0 h 2381250"/>
                <a:gd name="connsiteX33" fmla="*/ 1165326 w 1165326"/>
                <a:gd name="connsiteY33" fmla="*/ 0 h 2381250"/>
                <a:gd name="connsiteX34" fmla="*/ 1164642 w 1164642"/>
                <a:gd name="connsiteY34" fmla="*/ 0 h 2381250"/>
                <a:gd name="connsiteX35" fmla="*/ 1163966 w 1163966"/>
                <a:gd name="connsiteY35" fmla="*/ 0 h 2381250"/>
                <a:gd name="connsiteX36" fmla="*/ 1162050 w 1162050"/>
                <a:gd name="connsiteY36" fmla="*/ 0 h 2381250"/>
                <a:gd name="connsiteX37" fmla="*/ 1162050 w 1162050"/>
                <a:gd name="connsiteY37" fmla="*/ 0 h 2381250"/>
                <a:gd name="connsiteX38" fmla="*/ 1162050 w 1162050"/>
                <a:gd name="connsiteY38" fmla="*/ 0 h 2381250"/>
                <a:gd name="connsiteX39" fmla="*/ 1162050 w 1162050"/>
                <a:gd name="connsiteY39" fmla="*/ 0 h 2381250"/>
                <a:gd name="connsiteX40" fmla="*/ 1162050 w 1162050"/>
                <a:gd name="connsiteY40" fmla="*/ 0 h 238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5259" h="2371725">
                  <a:moveTo>
                    <a:pt x="67984" y="2371725"/>
                  </a:moveTo>
                  <a:cubicBezTo>
                    <a:pt x="64809" y="2355850"/>
                    <a:pt x="69571" y="2403475"/>
                    <a:pt x="58459" y="2324100"/>
                  </a:cubicBezTo>
                  <a:cubicBezTo>
                    <a:pt x="47347" y="2244725"/>
                    <a:pt x="9246" y="2014537"/>
                    <a:pt x="1309" y="1895475"/>
                  </a:cubicBezTo>
                  <a:cubicBezTo>
                    <a:pt x="-6628" y="1776413"/>
                    <a:pt x="23485" y="1665102"/>
                    <a:pt x="39409" y="1552575"/>
                  </a:cubicBezTo>
                  <a:cubicBezTo>
                    <a:pt x="63222" y="1384300"/>
                    <a:pt x="117197" y="1306512"/>
                    <a:pt x="144184" y="1228725"/>
                  </a:cubicBezTo>
                  <a:cubicBezTo>
                    <a:pt x="171171" y="1150938"/>
                    <a:pt x="183872" y="1131887"/>
                    <a:pt x="201334" y="1085850"/>
                  </a:cubicBezTo>
                  <a:cubicBezTo>
                    <a:pt x="218796" y="1039813"/>
                    <a:pt x="212446" y="1022350"/>
                    <a:pt x="248959" y="952500"/>
                  </a:cubicBezTo>
                  <a:cubicBezTo>
                    <a:pt x="285472" y="882650"/>
                    <a:pt x="387071" y="719138"/>
                    <a:pt x="420409" y="666750"/>
                  </a:cubicBezTo>
                  <a:cubicBezTo>
                    <a:pt x="453747" y="614362"/>
                    <a:pt x="439459" y="647700"/>
                    <a:pt x="448984" y="638175"/>
                  </a:cubicBezTo>
                  <a:cubicBezTo>
                    <a:pt x="479146" y="595313"/>
                    <a:pt x="558522" y="469900"/>
                    <a:pt x="601384" y="409575"/>
                  </a:cubicBezTo>
                  <a:cubicBezTo>
                    <a:pt x="644246" y="349250"/>
                    <a:pt x="637897" y="334963"/>
                    <a:pt x="706159" y="276225"/>
                  </a:cubicBezTo>
                  <a:cubicBezTo>
                    <a:pt x="774422" y="217488"/>
                    <a:pt x="941109" y="103187"/>
                    <a:pt x="1010959" y="57150"/>
                  </a:cubicBezTo>
                  <a:cubicBezTo>
                    <a:pt x="1080809" y="11113"/>
                    <a:pt x="1099859" y="11112"/>
                    <a:pt x="1125259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chemeClr val="tx1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68" name="Freeform: Shape 96">
              <a:extLst>
                <a:ext uri="{FF2B5EF4-FFF2-40B4-BE49-F238E27FC236}">
                  <a16:creationId xmlns:a16="http://schemas.microsoft.com/office/drawing/2014/main" id="{728FAF53-BB9C-28B9-4E3B-D728FD7EA127}"/>
                </a:ext>
              </a:extLst>
            </p:cNvPr>
            <p:cNvSpPr/>
            <p:nvPr/>
          </p:nvSpPr>
          <p:spPr>
            <a:xfrm>
              <a:off x="2827127" y="2465574"/>
              <a:ext cx="1266298" cy="2087208"/>
            </a:xfrm>
            <a:custGeom>
              <a:avLst/>
              <a:gdLst>
                <a:gd name="connsiteX0" fmla="*/ 1381125 w 1381125"/>
                <a:gd name="connsiteY0" fmla="*/ 0 h 2276475"/>
                <a:gd name="connsiteX1" fmla="*/ 1371600 w 1381125"/>
                <a:gd name="connsiteY1" fmla="*/ 352425 h 2276475"/>
                <a:gd name="connsiteX2" fmla="*/ 1352550 w 1381125"/>
                <a:gd name="connsiteY2" fmla="*/ 504825 h 2276475"/>
                <a:gd name="connsiteX3" fmla="*/ 1276350 w 1381125"/>
                <a:gd name="connsiteY3" fmla="*/ 876300 h 2276475"/>
                <a:gd name="connsiteX4" fmla="*/ 1171575 w 1381125"/>
                <a:gd name="connsiteY4" fmla="*/ 1133475 h 2276475"/>
                <a:gd name="connsiteX5" fmla="*/ 1085850 w 1381125"/>
                <a:gd name="connsiteY5" fmla="*/ 1343025 h 2276475"/>
                <a:gd name="connsiteX6" fmla="*/ 723900 w 1381125"/>
                <a:gd name="connsiteY6" fmla="*/ 1828800 h 2276475"/>
                <a:gd name="connsiteX7" fmla="*/ 476250 w 1381125"/>
                <a:gd name="connsiteY7" fmla="*/ 2028825 h 2276475"/>
                <a:gd name="connsiteX8" fmla="*/ 276225 w 1381125"/>
                <a:gd name="connsiteY8" fmla="*/ 2171700 h 2276475"/>
                <a:gd name="connsiteX9" fmla="*/ 0 w 1381125"/>
                <a:gd name="connsiteY9" fmla="*/ 2276475 h 2276475"/>
                <a:gd name="connsiteX10" fmla="*/ 0 w 1381125"/>
                <a:gd name="connsiteY10" fmla="*/ 2276475 h 2276475"/>
                <a:gd name="connsiteX11" fmla="*/ 0 w 1381125"/>
                <a:gd name="connsiteY11" fmla="*/ 2276475 h 2277341"/>
                <a:gd name="connsiteX12" fmla="*/ 0 w 1381125"/>
                <a:gd name="connsiteY12" fmla="*/ 2276475 h 2277341"/>
                <a:gd name="connsiteX13" fmla="*/ 0 w 1381125"/>
                <a:gd name="connsiteY13" fmla="*/ 2276475 h 2277341"/>
                <a:gd name="connsiteX14" fmla="*/ 0 w 1381125"/>
                <a:gd name="connsiteY14" fmla="*/ 2276475 h 2277341"/>
                <a:gd name="connsiteX15" fmla="*/ 0 w 1381125"/>
                <a:gd name="connsiteY15" fmla="*/ 2276475 h 2277341"/>
                <a:gd name="connsiteX16" fmla="*/ 0 w 1381125"/>
                <a:gd name="connsiteY16" fmla="*/ 2276475 h 2277341"/>
                <a:gd name="connsiteX17" fmla="*/ 0 w 1381125"/>
                <a:gd name="connsiteY17" fmla="*/ 2276475 h 2277341"/>
                <a:gd name="connsiteX18" fmla="*/ 0 w 1381125"/>
                <a:gd name="connsiteY18" fmla="*/ 2276475 h 2277341"/>
                <a:gd name="connsiteX19" fmla="*/ 0 w 1381125"/>
                <a:gd name="connsiteY19" fmla="*/ 2276475 h 2277341"/>
                <a:gd name="connsiteX20" fmla="*/ 0 w 1381125"/>
                <a:gd name="connsiteY20" fmla="*/ 2276475 h 2277341"/>
                <a:gd name="connsiteX21" fmla="*/ 0 w 1381125"/>
                <a:gd name="connsiteY21" fmla="*/ 2276475 h 2277341"/>
                <a:gd name="connsiteX22" fmla="*/ 0 w 1381125"/>
                <a:gd name="connsiteY22" fmla="*/ 2276475 h 2277341"/>
                <a:gd name="connsiteX23" fmla="*/ 0 w 1381125"/>
                <a:gd name="connsiteY23" fmla="*/ 2276475 h 2277341"/>
                <a:gd name="connsiteX24" fmla="*/ 0 w 1381125"/>
                <a:gd name="connsiteY24" fmla="*/ 2276475 h 2277341"/>
                <a:gd name="connsiteX25" fmla="*/ 0 w 1381125"/>
                <a:gd name="connsiteY25" fmla="*/ 2276475 h 2277341"/>
                <a:gd name="connsiteX26" fmla="*/ 0 w 1381125"/>
                <a:gd name="connsiteY26" fmla="*/ 2276475 h 2277341"/>
                <a:gd name="connsiteX27" fmla="*/ 0 w 1381125"/>
                <a:gd name="connsiteY27" fmla="*/ 2276475 h 2277341"/>
                <a:gd name="connsiteX28" fmla="*/ 0 w 1381125"/>
                <a:gd name="connsiteY28" fmla="*/ 2276475 h 2277341"/>
                <a:gd name="connsiteX29" fmla="*/ 0 w 1381125"/>
                <a:gd name="connsiteY29" fmla="*/ 2276475 h 2277341"/>
                <a:gd name="connsiteX30" fmla="*/ 0 w 1381125"/>
                <a:gd name="connsiteY30" fmla="*/ 2276475 h 2277341"/>
                <a:gd name="connsiteX31" fmla="*/ 0 w 1381125"/>
                <a:gd name="connsiteY31" fmla="*/ 2276475 h 2277341"/>
                <a:gd name="connsiteX32" fmla="*/ 0 w 1381125"/>
                <a:gd name="connsiteY32" fmla="*/ 2276475 h 2277341"/>
                <a:gd name="connsiteX33" fmla="*/ 0 w 1381125"/>
                <a:gd name="connsiteY33" fmla="*/ 2276475 h 2277341"/>
                <a:gd name="connsiteX34" fmla="*/ 0 w 1381125"/>
                <a:gd name="connsiteY34" fmla="*/ 2276475 h 2277341"/>
                <a:gd name="connsiteX35" fmla="*/ 0 w 1381125"/>
                <a:gd name="connsiteY35" fmla="*/ 2276475 h 2277341"/>
                <a:gd name="connsiteX36" fmla="*/ 0 w 1381125"/>
                <a:gd name="connsiteY36" fmla="*/ 2276475 h 2277341"/>
                <a:gd name="connsiteX37" fmla="*/ 0 w 1381125"/>
                <a:gd name="connsiteY37" fmla="*/ 2276475 h 2277341"/>
                <a:gd name="connsiteX38" fmla="*/ 0 w 1381125"/>
                <a:gd name="connsiteY38" fmla="*/ 2276475 h 2277341"/>
                <a:gd name="connsiteX39" fmla="*/ 0 w 1381125"/>
                <a:gd name="connsiteY39" fmla="*/ 2276475 h 2277341"/>
                <a:gd name="connsiteX40" fmla="*/ 0 w 1381125"/>
                <a:gd name="connsiteY40" fmla="*/ 2276475 h 2277341"/>
                <a:gd name="connsiteX41" fmla="*/ 0 w 1381125"/>
                <a:gd name="connsiteY41" fmla="*/ 2276475 h 2277341"/>
                <a:gd name="connsiteX42" fmla="*/ 0 w 1381125"/>
                <a:gd name="connsiteY42" fmla="*/ 2276475 h 227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1125" h="2276475">
                  <a:moveTo>
                    <a:pt x="1381125" y="0"/>
                  </a:moveTo>
                  <a:cubicBezTo>
                    <a:pt x="1377950" y="117475"/>
                    <a:pt x="1376362" y="268288"/>
                    <a:pt x="1371600" y="352425"/>
                  </a:cubicBezTo>
                  <a:cubicBezTo>
                    <a:pt x="1366838" y="436562"/>
                    <a:pt x="1368425" y="417513"/>
                    <a:pt x="1352550" y="504825"/>
                  </a:cubicBezTo>
                  <a:cubicBezTo>
                    <a:pt x="1336675" y="592137"/>
                    <a:pt x="1306512" y="771525"/>
                    <a:pt x="1276350" y="876300"/>
                  </a:cubicBezTo>
                  <a:cubicBezTo>
                    <a:pt x="1246188" y="981075"/>
                    <a:pt x="1203325" y="1055688"/>
                    <a:pt x="1171575" y="1133475"/>
                  </a:cubicBezTo>
                  <a:cubicBezTo>
                    <a:pt x="1139825" y="1211262"/>
                    <a:pt x="1160462" y="1227138"/>
                    <a:pt x="1085850" y="1343025"/>
                  </a:cubicBezTo>
                  <a:cubicBezTo>
                    <a:pt x="1011238" y="1458912"/>
                    <a:pt x="825500" y="1714500"/>
                    <a:pt x="723900" y="1828800"/>
                  </a:cubicBezTo>
                  <a:cubicBezTo>
                    <a:pt x="622300" y="1943100"/>
                    <a:pt x="550863" y="1971675"/>
                    <a:pt x="476250" y="2028825"/>
                  </a:cubicBezTo>
                  <a:cubicBezTo>
                    <a:pt x="401638" y="2085975"/>
                    <a:pt x="355600" y="2130425"/>
                    <a:pt x="276225" y="2171700"/>
                  </a:cubicBezTo>
                  <a:cubicBezTo>
                    <a:pt x="196850" y="2212975"/>
                    <a:pt x="57547" y="2254647"/>
                    <a:pt x="0" y="227647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chemeClr val="tx1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70" name="Freeform: Shape 98">
              <a:extLst>
                <a:ext uri="{FF2B5EF4-FFF2-40B4-BE49-F238E27FC236}">
                  <a16:creationId xmlns:a16="http://schemas.microsoft.com/office/drawing/2014/main" id="{128B3FAF-E7A5-8293-239C-B1380866AE80}"/>
                </a:ext>
              </a:extLst>
            </p:cNvPr>
            <p:cNvSpPr/>
            <p:nvPr/>
          </p:nvSpPr>
          <p:spPr>
            <a:xfrm>
              <a:off x="3397523" y="1888382"/>
              <a:ext cx="793477" cy="429608"/>
            </a:xfrm>
            <a:custGeom>
              <a:avLst/>
              <a:gdLst>
                <a:gd name="connsiteX0" fmla="*/ 282302 w 793477"/>
                <a:gd name="connsiteY0" fmla="*/ 32495 h 429608"/>
                <a:gd name="connsiteX1" fmla="*/ 12427 w 793477"/>
                <a:gd name="connsiteY1" fmla="*/ 7095 h 429608"/>
                <a:gd name="connsiteX2" fmla="*/ 56877 w 793477"/>
                <a:gd name="connsiteY2" fmla="*/ 178545 h 429608"/>
                <a:gd name="connsiteX3" fmla="*/ 187052 w 793477"/>
                <a:gd name="connsiteY3" fmla="*/ 280145 h 429608"/>
                <a:gd name="connsiteX4" fmla="*/ 364852 w 793477"/>
                <a:gd name="connsiteY4" fmla="*/ 378570 h 429608"/>
                <a:gd name="connsiteX5" fmla="*/ 612502 w 793477"/>
                <a:gd name="connsiteY5" fmla="*/ 429370 h 429608"/>
                <a:gd name="connsiteX6" fmla="*/ 793477 w 793477"/>
                <a:gd name="connsiteY6" fmla="*/ 359520 h 429608"/>
                <a:gd name="connsiteX7" fmla="*/ 794302 w 794302"/>
                <a:gd name="connsiteY7" fmla="*/ 359520 h 416902"/>
                <a:gd name="connsiteX8" fmla="*/ 807724 w 807724"/>
                <a:gd name="connsiteY8" fmla="*/ 359168 h 416321"/>
                <a:gd name="connsiteX9" fmla="*/ 807724 w 807724"/>
                <a:gd name="connsiteY9" fmla="*/ 359168 h 416318"/>
                <a:gd name="connsiteX10" fmla="*/ 807724 w 807724"/>
                <a:gd name="connsiteY10" fmla="*/ 359168 h 416318"/>
                <a:gd name="connsiteX11" fmla="*/ 801274 w 801274"/>
                <a:gd name="connsiteY11" fmla="*/ 359168 h 416318"/>
                <a:gd name="connsiteX12" fmla="*/ 801274 w 801274"/>
                <a:gd name="connsiteY12" fmla="*/ 359168 h 416318"/>
                <a:gd name="connsiteX13" fmla="*/ 801274 w 801274"/>
                <a:gd name="connsiteY13" fmla="*/ 359168 h 416318"/>
                <a:gd name="connsiteX14" fmla="*/ 806044 w 806044"/>
                <a:gd name="connsiteY14" fmla="*/ 359168 h 416318"/>
                <a:gd name="connsiteX15" fmla="*/ 806044 w 806044"/>
                <a:gd name="connsiteY15" fmla="*/ 35242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477" h="429608">
                  <a:moveTo>
                    <a:pt x="282302" y="32495"/>
                  </a:moveTo>
                  <a:cubicBezTo>
                    <a:pt x="230708" y="26542"/>
                    <a:pt x="53702" y="-16717"/>
                    <a:pt x="12427" y="7095"/>
                  </a:cubicBezTo>
                  <a:cubicBezTo>
                    <a:pt x="-23773" y="79496"/>
                    <a:pt x="27773" y="133037"/>
                    <a:pt x="56877" y="178545"/>
                  </a:cubicBezTo>
                  <a:cubicBezTo>
                    <a:pt x="85981" y="224053"/>
                    <a:pt x="135723" y="246807"/>
                    <a:pt x="187052" y="280145"/>
                  </a:cubicBezTo>
                  <a:cubicBezTo>
                    <a:pt x="238381" y="313483"/>
                    <a:pt x="293944" y="353699"/>
                    <a:pt x="364852" y="378570"/>
                  </a:cubicBezTo>
                  <a:cubicBezTo>
                    <a:pt x="435760" y="403441"/>
                    <a:pt x="541065" y="432545"/>
                    <a:pt x="612502" y="429370"/>
                  </a:cubicBezTo>
                  <a:cubicBezTo>
                    <a:pt x="668064" y="421433"/>
                    <a:pt x="761330" y="441276"/>
                    <a:pt x="793477" y="35952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chemeClr val="tx1"/>
                </a:solidFill>
                <a:latin typeface="Verdana" panose="020B0604030504040204" pitchFamily="34" charset="0"/>
              </a:endParaRPr>
            </a:p>
          </p:txBody>
        </p:sp>
      </p:grpSp>
      <p:sp>
        <p:nvSpPr>
          <p:cNvPr id="3" name="Rektangel: afrundede hjørner 19">
            <a:extLst>
              <a:ext uri="{FF2B5EF4-FFF2-40B4-BE49-F238E27FC236}">
                <a16:creationId xmlns:a16="http://schemas.microsoft.com/office/drawing/2014/main" id="{7FF6EB37-700E-BEA1-0A27-8B33283BDBD8}"/>
              </a:ext>
            </a:extLst>
          </p:cNvPr>
          <p:cNvSpPr/>
          <p:nvPr/>
        </p:nvSpPr>
        <p:spPr>
          <a:xfrm>
            <a:off x="367576" y="1721302"/>
            <a:ext cx="3229507" cy="39159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en-DK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algn="ctr" defTabSz="914218">
              <a:defRPr/>
            </a:pPr>
            <a:r>
              <a:rPr lang="da-DK" sz="12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 fælles, meningsfuld ramme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45A58D0A-DD1D-528D-C216-939AF3654C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02" y="2159668"/>
            <a:ext cx="3149318" cy="215746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nsartede </a:t>
            </a: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målepunkter sikrer sammenlignelighed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I stedet for at hver boligorganisation udvikler egne metoder, kan vi fokusere på implementering og reel handling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a-DK" altLang="da-DK" sz="1200">
                <a:latin typeface="Verdana" panose="020B0604030504040204" pitchFamily="34" charset="0"/>
                <a:ea typeface="Verdana" panose="020B0604030504040204" pitchFamily="34" charset="0"/>
              </a:rPr>
              <a:t>Det fælles sprog g</a:t>
            </a: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ør det muligt at sammenligne på tværs af boligorganisationer og lære af hinandens erfaringer</a:t>
            </a:r>
          </a:p>
        </p:txBody>
      </p:sp>
      <p:sp>
        <p:nvSpPr>
          <p:cNvPr id="13" name="Rektangel: afrundede hjørner 19">
            <a:extLst>
              <a:ext uri="{FF2B5EF4-FFF2-40B4-BE49-F238E27FC236}">
                <a16:creationId xmlns:a16="http://schemas.microsoft.com/office/drawing/2014/main" id="{6801F5AA-E184-2349-D830-3DA1999447FF}"/>
              </a:ext>
            </a:extLst>
          </p:cNvPr>
          <p:cNvSpPr/>
          <p:nvPr/>
        </p:nvSpPr>
        <p:spPr>
          <a:xfrm>
            <a:off x="367576" y="4350741"/>
            <a:ext cx="3229507" cy="3915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en-DK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algn="ctr" defTabSz="914218">
              <a:defRPr/>
            </a:pPr>
            <a:r>
              <a:rPr lang="da-DK" sz="1200" b="1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Økonomiske fordele</a:t>
            </a: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F6A17442-BAE4-D8CF-D18C-9CF04ED9F1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02" y="4800258"/>
            <a:ext cx="3149318" cy="159945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effectLst/>
                <a:latin typeface="Verdana"/>
                <a:ea typeface="Verdana"/>
              </a:rPr>
              <a:t>En fælles </a:t>
            </a:r>
            <a:r>
              <a:rPr lang="da-DK" altLang="da-DK" sz="1200">
                <a:latin typeface="Verdana"/>
                <a:ea typeface="Verdana"/>
              </a:rPr>
              <a:t>ESG-ramme</a:t>
            </a:r>
            <a:r>
              <a:rPr kumimoji="0" lang="da-DK" altLang="da-DK" sz="1200" b="0" i="0" u="none" strike="noStrike" cap="none" normalizeH="0" baseline="0">
                <a:ln>
                  <a:noFill/>
                </a:ln>
                <a:effectLst/>
                <a:latin typeface="Verdana"/>
                <a:ea typeface="Verdana"/>
              </a:rPr>
              <a:t> kan lette adgang til grønne lå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Vi kan stå stærkere i forhandlinger med fonde og kommuner om støtte til bæredygtige initiativer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t fælles datasæt gør det lettere at påvirke lovgivning og rammevilkår til fordel for sektoren</a:t>
            </a:r>
          </a:p>
        </p:txBody>
      </p:sp>
      <p:sp>
        <p:nvSpPr>
          <p:cNvPr id="15" name="Rektangel: afrundede hjørner 19">
            <a:extLst>
              <a:ext uri="{FF2B5EF4-FFF2-40B4-BE49-F238E27FC236}">
                <a16:creationId xmlns:a16="http://schemas.microsoft.com/office/drawing/2014/main" id="{C1B99DE6-E339-378E-D454-88E4C3DF53EB}"/>
              </a:ext>
            </a:extLst>
          </p:cNvPr>
          <p:cNvSpPr/>
          <p:nvPr/>
        </p:nvSpPr>
        <p:spPr>
          <a:xfrm>
            <a:off x="8594917" y="1721302"/>
            <a:ext cx="3229507" cy="3915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en-DK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Datadrevet beslutningstagning</a:t>
            </a:r>
            <a:endParaRPr kumimoji="0" lang="da-DK" altLang="da-DK" sz="12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Rectangle 1">
            <a:extLst>
              <a:ext uri="{FF2B5EF4-FFF2-40B4-BE49-F238E27FC236}">
                <a16:creationId xmlns:a16="http://schemas.microsoft.com/office/drawing/2014/main" id="{FA3EDFDC-D980-2EFA-FFF5-91A15C353D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7614" y="2159668"/>
            <a:ext cx="3244657" cy="215746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Vi får et troværdigt datagrundlag via Landsbyggefonde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Beslutninger kan baseres på fakt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Klare ESG-målepunkter gør dialogen nemmere og I kan prioritere, hvad der er vigtigst for jer at gøre noget ved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a-DK" altLang="da-DK" sz="1200">
                <a:latin typeface="Verdana" panose="020B0604030504040204" pitchFamily="34" charset="0"/>
                <a:ea typeface="Verdana" panose="020B0604030504040204" pitchFamily="34" charset="0"/>
              </a:rPr>
              <a:t>Sikrer et godt fundament til effektfuld handling!</a:t>
            </a:r>
            <a:endParaRPr kumimoji="0" lang="da-DK" alt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Rektangel: afrundede hjørner 19">
            <a:extLst>
              <a:ext uri="{FF2B5EF4-FFF2-40B4-BE49-F238E27FC236}">
                <a16:creationId xmlns:a16="http://schemas.microsoft.com/office/drawing/2014/main" id="{AABE7B92-9A6B-4B83-50F8-7E828F051AF7}"/>
              </a:ext>
            </a:extLst>
          </p:cNvPr>
          <p:cNvSpPr/>
          <p:nvPr/>
        </p:nvSpPr>
        <p:spPr>
          <a:xfrm>
            <a:off x="8594917" y="4350741"/>
            <a:ext cx="3229507" cy="39159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en-DK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DM Sans 14pt"/>
                <a:ea typeface="+mn-ea"/>
                <a:cs typeface="+mn-cs"/>
              </a:defRPr>
            </a:lvl9pPr>
          </a:lstStyle>
          <a:p>
            <a:pPr algn="ctr" defTabSz="914218">
              <a:defRPr/>
            </a:pPr>
            <a:r>
              <a:rPr lang="da-DK" sz="14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yrket kommunikation</a:t>
            </a: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2A8B1954-6C29-4F8E-9E7F-0B3D599A95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7614" y="4800258"/>
            <a:ext cx="3244657" cy="159945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I kan dokumentere </a:t>
            </a:r>
            <a:r>
              <a:rPr lang="da-DK" altLang="da-DK" sz="1200">
                <a:latin typeface="Verdana" panose="020B0604030504040204" pitchFamily="34" charset="0"/>
                <a:ea typeface="Verdana" panose="020B0604030504040204" pitchFamily="34" charset="0"/>
              </a:rPr>
              <a:t>j</a:t>
            </a:r>
            <a:r>
              <a:rPr kumimoji="0" lang="da-DK" altLang="da-DK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res bæredygtighedsarbejde korrekt og lovligt uden risiko for </a:t>
            </a:r>
            <a:r>
              <a:rPr kumimoji="0" lang="da-DK" altLang="da-DK" sz="12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greenwashing</a:t>
            </a:r>
            <a:endParaRPr kumimoji="0" lang="da-DK" alt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a-DK" altLang="da-DK" sz="1200">
                <a:latin typeface="Verdana" panose="020B0604030504040204" pitchFamily="34" charset="0"/>
                <a:ea typeface="Verdana" panose="020B0604030504040204" pitchFamily="34" charset="0"/>
              </a:rPr>
              <a:t>Og har mulighed for at fortælle alle jeres gode historier bakket op af den reelle effekt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F614F1C2-97B8-857A-D666-4798601C24DF}"/>
              </a:ext>
            </a:extLst>
          </p:cNvPr>
          <p:cNvSpPr txBox="1">
            <a:spLocks/>
          </p:cNvSpPr>
          <p:nvPr/>
        </p:nvSpPr>
        <p:spPr>
          <a:xfrm>
            <a:off x="360002" y="956252"/>
            <a:ext cx="11487150" cy="60843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/>
              <a:t>Fordele for j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58906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86832F-0604-886B-CB34-5D6712EF7D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: Rounded Corners 1049">
            <a:extLst>
              <a:ext uri="{FF2B5EF4-FFF2-40B4-BE49-F238E27FC236}">
                <a16:creationId xmlns:a16="http://schemas.microsoft.com/office/drawing/2014/main" id="{7DD34062-FF0E-1850-37BA-DDAD533F9A80}"/>
              </a:ext>
            </a:extLst>
          </p:cNvPr>
          <p:cNvSpPr>
            <a:spLocks/>
          </p:cNvSpPr>
          <p:nvPr/>
        </p:nvSpPr>
        <p:spPr>
          <a:xfrm>
            <a:off x="3564136" y="1824760"/>
            <a:ext cx="5063724" cy="4240518"/>
          </a:xfrm>
          <a:custGeom>
            <a:avLst/>
            <a:gdLst>
              <a:gd name="csX0" fmla="*/ 0 w 5063724"/>
              <a:gd name="csY0" fmla="*/ 261174 h 4240518"/>
              <a:gd name="csX1" fmla="*/ 261174 w 5063724"/>
              <a:gd name="csY1" fmla="*/ 0 h 4240518"/>
              <a:gd name="csX2" fmla="*/ 864528 w 5063724"/>
              <a:gd name="csY2" fmla="*/ 0 h 4240518"/>
              <a:gd name="csX3" fmla="*/ 1422469 w 5063724"/>
              <a:gd name="csY3" fmla="*/ 0 h 4240518"/>
              <a:gd name="csX4" fmla="*/ 2116650 w 5063724"/>
              <a:gd name="csY4" fmla="*/ 0 h 4240518"/>
              <a:gd name="csX5" fmla="*/ 2674591 w 5063724"/>
              <a:gd name="csY5" fmla="*/ 0 h 4240518"/>
              <a:gd name="csX6" fmla="*/ 3187118 w 5063724"/>
              <a:gd name="csY6" fmla="*/ 0 h 4240518"/>
              <a:gd name="csX7" fmla="*/ 3745058 w 5063724"/>
              <a:gd name="csY7" fmla="*/ 0 h 4240518"/>
              <a:gd name="csX8" fmla="*/ 4802550 w 5063724"/>
              <a:gd name="csY8" fmla="*/ 0 h 4240518"/>
              <a:gd name="csX9" fmla="*/ 5063724 w 5063724"/>
              <a:gd name="csY9" fmla="*/ 261174 h 4240518"/>
              <a:gd name="csX10" fmla="*/ 5063724 w 5063724"/>
              <a:gd name="csY10" fmla="*/ 769324 h 4240518"/>
              <a:gd name="csX11" fmla="*/ 5063724 w 5063724"/>
              <a:gd name="csY11" fmla="*/ 1389019 h 4240518"/>
              <a:gd name="csX12" fmla="*/ 5063724 w 5063724"/>
              <a:gd name="csY12" fmla="*/ 2083077 h 4240518"/>
              <a:gd name="csX13" fmla="*/ 5063724 w 5063724"/>
              <a:gd name="csY13" fmla="*/ 2739954 h 4240518"/>
              <a:gd name="csX14" fmla="*/ 5063724 w 5063724"/>
              <a:gd name="csY14" fmla="*/ 3322467 h 4240518"/>
              <a:gd name="csX15" fmla="*/ 5063724 w 5063724"/>
              <a:gd name="csY15" fmla="*/ 3979344 h 4240518"/>
              <a:gd name="csX16" fmla="*/ 4802550 w 5063724"/>
              <a:gd name="csY16" fmla="*/ 4240518 h 4240518"/>
              <a:gd name="csX17" fmla="*/ 4153782 w 5063724"/>
              <a:gd name="csY17" fmla="*/ 4240518 h 4240518"/>
              <a:gd name="csX18" fmla="*/ 3414186 w 5063724"/>
              <a:gd name="csY18" fmla="*/ 4240518 h 4240518"/>
              <a:gd name="csX19" fmla="*/ 2765418 w 5063724"/>
              <a:gd name="csY19" fmla="*/ 4240518 h 4240518"/>
              <a:gd name="csX20" fmla="*/ 2025823 w 5063724"/>
              <a:gd name="csY20" fmla="*/ 4240518 h 4240518"/>
              <a:gd name="csX21" fmla="*/ 1422469 w 5063724"/>
              <a:gd name="csY21" fmla="*/ 4240518 h 4240518"/>
              <a:gd name="csX22" fmla="*/ 864528 w 5063724"/>
              <a:gd name="csY22" fmla="*/ 4240518 h 4240518"/>
              <a:gd name="csX23" fmla="*/ 261174 w 5063724"/>
              <a:gd name="csY23" fmla="*/ 4240518 h 4240518"/>
              <a:gd name="csX24" fmla="*/ 0 w 5063724"/>
              <a:gd name="csY24" fmla="*/ 3979344 h 4240518"/>
              <a:gd name="csX25" fmla="*/ 0 w 5063724"/>
              <a:gd name="csY25" fmla="*/ 3359649 h 4240518"/>
              <a:gd name="csX26" fmla="*/ 0 w 5063724"/>
              <a:gd name="csY26" fmla="*/ 2665591 h 4240518"/>
              <a:gd name="csX27" fmla="*/ 0 w 5063724"/>
              <a:gd name="csY27" fmla="*/ 2008714 h 4240518"/>
              <a:gd name="csX28" fmla="*/ 0 w 5063724"/>
              <a:gd name="csY28" fmla="*/ 1463382 h 4240518"/>
              <a:gd name="csX29" fmla="*/ 0 w 5063724"/>
              <a:gd name="csY29" fmla="*/ 806506 h 4240518"/>
              <a:gd name="csX30" fmla="*/ 0 w 5063724"/>
              <a:gd name="csY30" fmla="*/ 261174 h 424051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</a:cxnLst>
            <a:rect l="l" t="t" r="r" b="b"/>
            <a:pathLst>
              <a:path w="5063724" h="4240518" fill="none" extrusionOk="0">
                <a:moveTo>
                  <a:pt x="0" y="261174"/>
                </a:moveTo>
                <a:cubicBezTo>
                  <a:pt x="14931" y="91010"/>
                  <a:pt x="94990" y="-8411"/>
                  <a:pt x="261174" y="0"/>
                </a:cubicBezTo>
                <a:cubicBezTo>
                  <a:pt x="434275" y="555"/>
                  <a:pt x="716146" y="13720"/>
                  <a:pt x="864528" y="0"/>
                </a:cubicBezTo>
                <a:cubicBezTo>
                  <a:pt x="1012910" y="-13720"/>
                  <a:pt x="1304855" y="15200"/>
                  <a:pt x="1422469" y="0"/>
                </a:cubicBezTo>
                <a:cubicBezTo>
                  <a:pt x="1540083" y="-15200"/>
                  <a:pt x="1779985" y="19313"/>
                  <a:pt x="2116650" y="0"/>
                </a:cubicBezTo>
                <a:cubicBezTo>
                  <a:pt x="2453315" y="-19313"/>
                  <a:pt x="2535882" y="9924"/>
                  <a:pt x="2674591" y="0"/>
                </a:cubicBezTo>
                <a:cubicBezTo>
                  <a:pt x="2813300" y="-9924"/>
                  <a:pt x="2990978" y="15805"/>
                  <a:pt x="3187118" y="0"/>
                </a:cubicBezTo>
                <a:cubicBezTo>
                  <a:pt x="3383258" y="-15805"/>
                  <a:pt x="3492912" y="-26175"/>
                  <a:pt x="3745058" y="0"/>
                </a:cubicBezTo>
                <a:cubicBezTo>
                  <a:pt x="3997204" y="26175"/>
                  <a:pt x="4496547" y="-14882"/>
                  <a:pt x="4802550" y="0"/>
                </a:cubicBezTo>
                <a:cubicBezTo>
                  <a:pt x="4931726" y="1806"/>
                  <a:pt x="5083381" y="137578"/>
                  <a:pt x="5063724" y="261174"/>
                </a:cubicBezTo>
                <a:cubicBezTo>
                  <a:pt x="5087172" y="438851"/>
                  <a:pt x="5047861" y="634062"/>
                  <a:pt x="5063724" y="769324"/>
                </a:cubicBezTo>
                <a:cubicBezTo>
                  <a:pt x="5079588" y="904586"/>
                  <a:pt x="5064167" y="1251430"/>
                  <a:pt x="5063724" y="1389019"/>
                </a:cubicBezTo>
                <a:cubicBezTo>
                  <a:pt x="5063281" y="1526608"/>
                  <a:pt x="5087123" y="1838677"/>
                  <a:pt x="5063724" y="2083077"/>
                </a:cubicBezTo>
                <a:cubicBezTo>
                  <a:pt x="5040325" y="2327477"/>
                  <a:pt x="5090038" y="2414239"/>
                  <a:pt x="5063724" y="2739954"/>
                </a:cubicBezTo>
                <a:cubicBezTo>
                  <a:pt x="5037410" y="3065669"/>
                  <a:pt x="5045773" y="3146605"/>
                  <a:pt x="5063724" y="3322467"/>
                </a:cubicBezTo>
                <a:cubicBezTo>
                  <a:pt x="5081675" y="3498329"/>
                  <a:pt x="5095822" y="3802603"/>
                  <a:pt x="5063724" y="3979344"/>
                </a:cubicBezTo>
                <a:cubicBezTo>
                  <a:pt x="5063919" y="4132459"/>
                  <a:pt x="4960039" y="4228631"/>
                  <a:pt x="4802550" y="4240518"/>
                </a:cubicBezTo>
                <a:cubicBezTo>
                  <a:pt x="4660679" y="4247272"/>
                  <a:pt x="4342558" y="4258691"/>
                  <a:pt x="4153782" y="4240518"/>
                </a:cubicBezTo>
                <a:cubicBezTo>
                  <a:pt x="3965006" y="4222345"/>
                  <a:pt x="3705660" y="4254282"/>
                  <a:pt x="3414186" y="4240518"/>
                </a:cubicBezTo>
                <a:cubicBezTo>
                  <a:pt x="3122712" y="4226754"/>
                  <a:pt x="3087750" y="4208487"/>
                  <a:pt x="2765418" y="4240518"/>
                </a:cubicBezTo>
                <a:cubicBezTo>
                  <a:pt x="2443086" y="4272549"/>
                  <a:pt x="2328344" y="4232024"/>
                  <a:pt x="2025823" y="4240518"/>
                </a:cubicBezTo>
                <a:cubicBezTo>
                  <a:pt x="1723302" y="4249012"/>
                  <a:pt x="1553467" y="4226174"/>
                  <a:pt x="1422469" y="4240518"/>
                </a:cubicBezTo>
                <a:cubicBezTo>
                  <a:pt x="1291471" y="4254862"/>
                  <a:pt x="1001612" y="4243466"/>
                  <a:pt x="864528" y="4240518"/>
                </a:cubicBezTo>
                <a:cubicBezTo>
                  <a:pt x="727444" y="4237570"/>
                  <a:pt x="474671" y="4259565"/>
                  <a:pt x="261174" y="4240518"/>
                </a:cubicBezTo>
                <a:cubicBezTo>
                  <a:pt x="97726" y="4247255"/>
                  <a:pt x="-600" y="4093627"/>
                  <a:pt x="0" y="3979344"/>
                </a:cubicBezTo>
                <a:cubicBezTo>
                  <a:pt x="-15754" y="3700184"/>
                  <a:pt x="5752" y="3494281"/>
                  <a:pt x="0" y="3359649"/>
                </a:cubicBezTo>
                <a:cubicBezTo>
                  <a:pt x="-5752" y="3225018"/>
                  <a:pt x="21935" y="3000648"/>
                  <a:pt x="0" y="2665591"/>
                </a:cubicBezTo>
                <a:cubicBezTo>
                  <a:pt x="-21935" y="2330534"/>
                  <a:pt x="-11806" y="2305035"/>
                  <a:pt x="0" y="2008714"/>
                </a:cubicBezTo>
                <a:cubicBezTo>
                  <a:pt x="11806" y="1712393"/>
                  <a:pt x="25401" y="1721786"/>
                  <a:pt x="0" y="1463382"/>
                </a:cubicBezTo>
                <a:cubicBezTo>
                  <a:pt x="-25401" y="1204978"/>
                  <a:pt x="-29106" y="1056378"/>
                  <a:pt x="0" y="806506"/>
                </a:cubicBezTo>
                <a:cubicBezTo>
                  <a:pt x="29106" y="556634"/>
                  <a:pt x="-6742" y="443101"/>
                  <a:pt x="0" y="261174"/>
                </a:cubicBezTo>
                <a:close/>
              </a:path>
              <a:path w="5063724" h="4240518" stroke="0" extrusionOk="0">
                <a:moveTo>
                  <a:pt x="0" y="261174"/>
                </a:moveTo>
                <a:cubicBezTo>
                  <a:pt x="-24439" y="101857"/>
                  <a:pt x="97299" y="7368"/>
                  <a:pt x="261174" y="0"/>
                </a:cubicBezTo>
                <a:cubicBezTo>
                  <a:pt x="434863" y="2994"/>
                  <a:pt x="736280" y="19936"/>
                  <a:pt x="1000770" y="0"/>
                </a:cubicBezTo>
                <a:cubicBezTo>
                  <a:pt x="1265260" y="-19936"/>
                  <a:pt x="1472832" y="-12252"/>
                  <a:pt x="1604124" y="0"/>
                </a:cubicBezTo>
                <a:cubicBezTo>
                  <a:pt x="1735416" y="12252"/>
                  <a:pt x="2027778" y="-16327"/>
                  <a:pt x="2162064" y="0"/>
                </a:cubicBezTo>
                <a:cubicBezTo>
                  <a:pt x="2296350" y="16327"/>
                  <a:pt x="2673638" y="-13547"/>
                  <a:pt x="2856246" y="0"/>
                </a:cubicBezTo>
                <a:cubicBezTo>
                  <a:pt x="3038854" y="13547"/>
                  <a:pt x="3283668" y="7012"/>
                  <a:pt x="3459600" y="0"/>
                </a:cubicBezTo>
                <a:cubicBezTo>
                  <a:pt x="3635532" y="-7012"/>
                  <a:pt x="3854617" y="-12806"/>
                  <a:pt x="4199196" y="0"/>
                </a:cubicBezTo>
                <a:cubicBezTo>
                  <a:pt x="4543775" y="12806"/>
                  <a:pt x="4672628" y="-983"/>
                  <a:pt x="4802550" y="0"/>
                </a:cubicBezTo>
                <a:cubicBezTo>
                  <a:pt x="4935211" y="19157"/>
                  <a:pt x="5049700" y="100666"/>
                  <a:pt x="5063724" y="261174"/>
                </a:cubicBezTo>
                <a:cubicBezTo>
                  <a:pt x="5073308" y="532347"/>
                  <a:pt x="5053651" y="574773"/>
                  <a:pt x="5063724" y="806506"/>
                </a:cubicBezTo>
                <a:cubicBezTo>
                  <a:pt x="5073797" y="1038239"/>
                  <a:pt x="5060994" y="1119704"/>
                  <a:pt x="5063724" y="1426201"/>
                </a:cubicBezTo>
                <a:cubicBezTo>
                  <a:pt x="5066454" y="1732699"/>
                  <a:pt x="5073195" y="1812661"/>
                  <a:pt x="5063724" y="2008714"/>
                </a:cubicBezTo>
                <a:cubicBezTo>
                  <a:pt x="5054253" y="2204767"/>
                  <a:pt x="5069482" y="2459108"/>
                  <a:pt x="5063724" y="2702772"/>
                </a:cubicBezTo>
                <a:cubicBezTo>
                  <a:pt x="5057966" y="2946436"/>
                  <a:pt x="5061789" y="3157923"/>
                  <a:pt x="5063724" y="3396831"/>
                </a:cubicBezTo>
                <a:cubicBezTo>
                  <a:pt x="5065659" y="3635739"/>
                  <a:pt x="5047951" y="3781131"/>
                  <a:pt x="5063724" y="3979344"/>
                </a:cubicBezTo>
                <a:cubicBezTo>
                  <a:pt x="5051388" y="4111964"/>
                  <a:pt x="4928602" y="4213326"/>
                  <a:pt x="4802550" y="4240518"/>
                </a:cubicBezTo>
                <a:cubicBezTo>
                  <a:pt x="4641718" y="4218912"/>
                  <a:pt x="4436267" y="4230270"/>
                  <a:pt x="4108368" y="4240518"/>
                </a:cubicBezTo>
                <a:cubicBezTo>
                  <a:pt x="3780469" y="4250766"/>
                  <a:pt x="3766609" y="4216414"/>
                  <a:pt x="3595842" y="4240518"/>
                </a:cubicBezTo>
                <a:cubicBezTo>
                  <a:pt x="3425075" y="4264622"/>
                  <a:pt x="3280096" y="4258114"/>
                  <a:pt x="3037901" y="4240518"/>
                </a:cubicBezTo>
                <a:cubicBezTo>
                  <a:pt x="2795706" y="4222922"/>
                  <a:pt x="2605235" y="4250547"/>
                  <a:pt x="2298306" y="4240518"/>
                </a:cubicBezTo>
                <a:cubicBezTo>
                  <a:pt x="1991378" y="4230489"/>
                  <a:pt x="1899044" y="4257441"/>
                  <a:pt x="1649538" y="4240518"/>
                </a:cubicBezTo>
                <a:cubicBezTo>
                  <a:pt x="1400032" y="4223595"/>
                  <a:pt x="1224578" y="4224353"/>
                  <a:pt x="1091597" y="4240518"/>
                </a:cubicBezTo>
                <a:cubicBezTo>
                  <a:pt x="958616" y="4256683"/>
                  <a:pt x="643107" y="4219573"/>
                  <a:pt x="261174" y="4240518"/>
                </a:cubicBezTo>
                <a:cubicBezTo>
                  <a:pt x="88198" y="4238892"/>
                  <a:pt x="4852" y="4127763"/>
                  <a:pt x="0" y="3979344"/>
                </a:cubicBezTo>
                <a:cubicBezTo>
                  <a:pt x="8746" y="3836616"/>
                  <a:pt x="12897" y="3524371"/>
                  <a:pt x="0" y="3359649"/>
                </a:cubicBezTo>
                <a:cubicBezTo>
                  <a:pt x="-12897" y="3194928"/>
                  <a:pt x="-7664" y="2946221"/>
                  <a:pt x="0" y="2814317"/>
                </a:cubicBezTo>
                <a:cubicBezTo>
                  <a:pt x="7664" y="2682413"/>
                  <a:pt x="18488" y="2313767"/>
                  <a:pt x="0" y="2157441"/>
                </a:cubicBezTo>
                <a:cubicBezTo>
                  <a:pt x="-18488" y="2001115"/>
                  <a:pt x="17731" y="1799737"/>
                  <a:pt x="0" y="1612109"/>
                </a:cubicBezTo>
                <a:cubicBezTo>
                  <a:pt x="-17731" y="1424481"/>
                  <a:pt x="27717" y="1239273"/>
                  <a:pt x="0" y="955232"/>
                </a:cubicBezTo>
                <a:cubicBezTo>
                  <a:pt x="-27717" y="671191"/>
                  <a:pt x="2138" y="572312"/>
                  <a:pt x="0" y="261174"/>
                </a:cubicBezTo>
                <a:close/>
              </a:path>
            </a:pathLst>
          </a:custGeom>
          <a:solidFill>
            <a:schemeClr val="bg1"/>
          </a:solidFill>
          <a:ln w="22225" cap="rnd">
            <a:solidFill>
              <a:schemeClr val="accent1">
                <a:lumMod val="90000"/>
                <a:lumOff val="10000"/>
              </a:schemeClr>
            </a:solidFill>
            <a:prstDash val="solid"/>
            <a:round/>
            <a:headEnd type="oval"/>
            <a:tailEnd type="oval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159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rtlCol="0" anchor="ctr"/>
          <a:lstStyle/>
          <a:p>
            <a:endParaRPr lang="da-DK">
              <a:solidFill>
                <a:schemeClr val="tx1"/>
              </a:solidFill>
              <a:latin typeface="Verdana" panose="020B0604030504040204" pitchFamily="34" charset="0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C190A43-D52C-E859-3E03-E1DD21FE01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190A43-D52C-E859-3E03-E1DD21FE0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CAA56B-221B-A1DE-A7B9-7BCD9CC9D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2" y="371471"/>
            <a:ext cx="11472000" cy="1030292"/>
          </a:xfrm>
        </p:spPr>
        <p:txBody>
          <a:bodyPr vert="horz"/>
          <a:lstStyle/>
          <a:p>
            <a:r>
              <a:rPr lang="da-DK"/>
              <a:t>Vi er en del af et større landska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03B049-E94D-5019-527E-754BF984C1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23</a:t>
            </a:fld>
            <a:endParaRPr lang="da-DK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534F238-8383-FA19-1CC0-109B6AC2C1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5AC56-3B0A-F413-D769-1D216E9AECD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2" y="956252"/>
            <a:ext cx="11487150" cy="608437"/>
          </a:xfrm>
        </p:spPr>
        <p:txBody>
          <a:bodyPr/>
          <a:lstStyle/>
          <a:p>
            <a:r>
              <a:rPr lang="da-DK"/>
              <a:t>Mange aktører – fælles målepunkt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60C6E6-E3E4-2E83-915B-17A29E1C7BBB}"/>
              </a:ext>
            </a:extLst>
          </p:cNvPr>
          <p:cNvSpPr>
            <a:spLocks/>
          </p:cNvSpPr>
          <p:nvPr/>
        </p:nvSpPr>
        <p:spPr>
          <a:xfrm>
            <a:off x="284502" y="1743075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ndsbyggefond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DBEB14-2AA3-3B39-6897-BF997D83C398}"/>
              </a:ext>
            </a:extLst>
          </p:cNvPr>
          <p:cNvSpPr/>
          <p:nvPr/>
        </p:nvSpPr>
        <p:spPr>
          <a:xfrm>
            <a:off x="284502" y="2854637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ank og fond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A4F302-F2B4-2DE5-F8D3-D138A9E5B266}"/>
              </a:ext>
            </a:extLst>
          </p:cNvPr>
          <p:cNvSpPr/>
          <p:nvPr/>
        </p:nvSpPr>
        <p:spPr>
          <a:xfrm>
            <a:off x="284502" y="3978752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vgiv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111D0F-F906-BED3-CE95-5C7D4A1E6B14}"/>
              </a:ext>
            </a:extLst>
          </p:cNvPr>
          <p:cNvSpPr/>
          <p:nvPr/>
        </p:nvSpPr>
        <p:spPr>
          <a:xfrm>
            <a:off x="284501" y="5096589"/>
            <a:ext cx="1369449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ommune(r)</a:t>
            </a:r>
          </a:p>
          <a:p>
            <a:pPr>
              <a:spcAft>
                <a:spcPts val="300"/>
              </a:spcAft>
            </a:pPr>
            <a:endParaRPr lang="da-DK" sz="14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EF157C-E1A7-3636-42BE-08752E761398}"/>
              </a:ext>
            </a:extLst>
          </p:cNvPr>
          <p:cNvSpPr>
            <a:spLocks/>
          </p:cNvSpPr>
          <p:nvPr/>
        </p:nvSpPr>
        <p:spPr>
          <a:xfrm>
            <a:off x="10702955" y="1743075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L og forening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8EDD6C7-BCBC-A41A-36A9-3CDF4ABBDA3D}"/>
              </a:ext>
            </a:extLst>
          </p:cNvPr>
          <p:cNvSpPr>
            <a:spLocks/>
          </p:cNvSpPr>
          <p:nvPr/>
        </p:nvSpPr>
        <p:spPr>
          <a:xfrm>
            <a:off x="10702954" y="2854553"/>
            <a:ext cx="1489046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/>
                <a:ea typeface="Verdana"/>
              </a:rPr>
              <a:t>Leverandører</a:t>
            </a:r>
            <a:endParaRPr lang="en-US" sz="1400">
              <a:solidFill>
                <a:schemeClr val="tx1"/>
              </a:solidFill>
              <a:latin typeface="Verdana"/>
              <a:ea typeface="Verdan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08CCA5-F7B5-F41C-A6D8-EAEF306EBC89}"/>
              </a:ext>
            </a:extLst>
          </p:cNvPr>
          <p:cNvSpPr>
            <a:spLocks/>
          </p:cNvSpPr>
          <p:nvPr/>
        </p:nvSpPr>
        <p:spPr>
          <a:xfrm>
            <a:off x="10702954" y="3978752"/>
            <a:ext cx="123783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mverde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32BD69F-7879-A94D-B29A-A64C5B1E24F8}"/>
              </a:ext>
            </a:extLst>
          </p:cNvPr>
          <p:cNvSpPr>
            <a:spLocks/>
          </p:cNvSpPr>
          <p:nvPr/>
        </p:nvSpPr>
        <p:spPr>
          <a:xfrm>
            <a:off x="10671915" y="5092159"/>
            <a:ext cx="1457785" cy="102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>
              <a:spcAft>
                <a:spcPts val="300"/>
              </a:spcAft>
            </a:pPr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kalsamfund</a:t>
            </a:r>
          </a:p>
        </p:txBody>
      </p:sp>
      <p:sp>
        <p:nvSpPr>
          <p:cNvPr id="114" name="Rektangel: afrundede hjørner 19">
            <a:extLst>
              <a:ext uri="{FF2B5EF4-FFF2-40B4-BE49-F238E27FC236}">
                <a16:creationId xmlns:a16="http://schemas.microsoft.com/office/drawing/2014/main" id="{067449DE-6B99-FE23-FBF2-B67C773D590C}"/>
              </a:ext>
            </a:extLst>
          </p:cNvPr>
          <p:cNvSpPr/>
          <p:nvPr/>
        </p:nvSpPr>
        <p:spPr>
          <a:xfrm>
            <a:off x="2029552" y="5626732"/>
            <a:ext cx="1622055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914218" fontAlgn="t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i styringsdialog</a:t>
            </a:r>
          </a:p>
        </p:txBody>
      </p:sp>
      <p:sp>
        <p:nvSpPr>
          <p:cNvPr id="115" name="Rektangel: afrundede hjørner 19">
            <a:extLst>
              <a:ext uri="{FF2B5EF4-FFF2-40B4-BE49-F238E27FC236}">
                <a16:creationId xmlns:a16="http://schemas.microsoft.com/office/drawing/2014/main" id="{D682BD1C-307C-DED2-C701-C30D7B69AFFB}"/>
              </a:ext>
            </a:extLst>
          </p:cNvPr>
          <p:cNvSpPr/>
          <p:nvPr/>
        </p:nvSpPr>
        <p:spPr>
          <a:xfrm>
            <a:off x="2056258" y="4523957"/>
            <a:ext cx="1452027" cy="4154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914218" fontAlgn="t">
              <a:defRPr/>
            </a:pPr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i egenkontrol og forvaltningsrevision mv.</a:t>
            </a:r>
          </a:p>
        </p:txBody>
      </p:sp>
      <p:sp>
        <p:nvSpPr>
          <p:cNvPr id="116" name="Rektangel: afrundede hjørner 19">
            <a:extLst>
              <a:ext uri="{FF2B5EF4-FFF2-40B4-BE49-F238E27FC236}">
                <a16:creationId xmlns:a16="http://schemas.microsoft.com/office/drawing/2014/main" id="{E60E9722-EED3-41F5-1CD8-089D3AAA9323}"/>
              </a:ext>
            </a:extLst>
          </p:cNvPr>
          <p:cNvSpPr/>
          <p:nvPr/>
        </p:nvSpPr>
        <p:spPr>
          <a:xfrm>
            <a:off x="2079817" y="2399646"/>
            <a:ext cx="1415639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914218">
              <a:defRPr/>
            </a:pPr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&amp; værktøjer</a:t>
            </a:r>
          </a:p>
        </p:txBody>
      </p:sp>
      <p:sp>
        <p:nvSpPr>
          <p:cNvPr id="117" name="Rektangel: afrundede hjørner 19">
            <a:extLst>
              <a:ext uri="{FF2B5EF4-FFF2-40B4-BE49-F238E27FC236}">
                <a16:creationId xmlns:a16="http://schemas.microsoft.com/office/drawing/2014/main" id="{4971D8BE-0208-0DAE-D58E-A5774AE39573}"/>
              </a:ext>
            </a:extLst>
          </p:cNvPr>
          <p:cNvSpPr/>
          <p:nvPr/>
        </p:nvSpPr>
        <p:spPr>
          <a:xfrm>
            <a:off x="2377267" y="3471957"/>
            <a:ext cx="820738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nøgletal</a:t>
            </a:r>
          </a:p>
        </p:txBody>
      </p:sp>
      <p:sp>
        <p:nvSpPr>
          <p:cNvPr id="37" name="Rektangel: afrundede hjørner 19">
            <a:extLst>
              <a:ext uri="{FF2B5EF4-FFF2-40B4-BE49-F238E27FC236}">
                <a16:creationId xmlns:a16="http://schemas.microsoft.com/office/drawing/2014/main" id="{BBED7BBF-FF23-9F56-56DC-FCA717DDC3D3}"/>
              </a:ext>
            </a:extLst>
          </p:cNvPr>
          <p:cNvSpPr/>
          <p:nvPr/>
        </p:nvSpPr>
        <p:spPr>
          <a:xfrm>
            <a:off x="4740609" y="5412603"/>
            <a:ext cx="2710778" cy="340519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spAutoFit/>
          </a:bodyPr>
          <a:lstStyle/>
          <a:p>
            <a:pPr algn="ctr" defTabSz="914218">
              <a:defRPr/>
            </a:pPr>
            <a:r>
              <a:rPr lang="da-DK" sz="1400" b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oligorganisation</a:t>
            </a:r>
          </a:p>
        </p:txBody>
      </p:sp>
      <p:sp>
        <p:nvSpPr>
          <p:cNvPr id="1030" name="Rektangel: afrundede hjørner 19">
            <a:extLst>
              <a:ext uri="{FF2B5EF4-FFF2-40B4-BE49-F238E27FC236}">
                <a16:creationId xmlns:a16="http://schemas.microsoft.com/office/drawing/2014/main" id="{73A7C026-F131-B002-38E5-671F0F452019}"/>
              </a:ext>
            </a:extLst>
          </p:cNvPr>
          <p:cNvSpPr/>
          <p:nvPr/>
        </p:nvSpPr>
        <p:spPr>
          <a:xfrm>
            <a:off x="8948169" y="5608814"/>
            <a:ext cx="1005083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æsentationer</a:t>
            </a:r>
          </a:p>
        </p:txBody>
      </p:sp>
      <p:sp>
        <p:nvSpPr>
          <p:cNvPr id="1031" name="Rektangel: afrundede hjørner 19">
            <a:extLst>
              <a:ext uri="{FF2B5EF4-FFF2-40B4-BE49-F238E27FC236}">
                <a16:creationId xmlns:a16="http://schemas.microsoft.com/office/drawing/2014/main" id="{4F2C8F8F-BD68-5330-40DF-621F7CBE37B3}"/>
              </a:ext>
            </a:extLst>
          </p:cNvPr>
          <p:cNvSpPr/>
          <p:nvPr/>
        </p:nvSpPr>
        <p:spPr>
          <a:xfrm>
            <a:off x="8974517" y="3497894"/>
            <a:ext cx="97500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krav og politikker</a:t>
            </a:r>
          </a:p>
        </p:txBody>
      </p:sp>
      <p:sp>
        <p:nvSpPr>
          <p:cNvPr id="1032" name="Rektangel: afrundede hjørner 19">
            <a:extLst>
              <a:ext uri="{FF2B5EF4-FFF2-40B4-BE49-F238E27FC236}">
                <a16:creationId xmlns:a16="http://schemas.microsoft.com/office/drawing/2014/main" id="{D6A01EA3-FA38-13A3-0C20-D535BDA8EAB7}"/>
              </a:ext>
            </a:extLst>
          </p:cNvPr>
          <p:cNvSpPr/>
          <p:nvPr/>
        </p:nvSpPr>
        <p:spPr>
          <a:xfrm>
            <a:off x="8892033" y="4475183"/>
            <a:ext cx="1114088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rapportering</a:t>
            </a:r>
          </a:p>
        </p:txBody>
      </p:sp>
      <p:sp>
        <p:nvSpPr>
          <p:cNvPr id="1033" name="Rektangel: afrundede hjørner 19">
            <a:extLst>
              <a:ext uri="{FF2B5EF4-FFF2-40B4-BE49-F238E27FC236}">
                <a16:creationId xmlns:a16="http://schemas.microsoft.com/office/drawing/2014/main" id="{17A2884B-4449-1F1D-1AF9-2D397F585E27}"/>
              </a:ext>
            </a:extLst>
          </p:cNvPr>
          <p:cNvSpPr/>
          <p:nvPr/>
        </p:nvSpPr>
        <p:spPr>
          <a:xfrm>
            <a:off x="9073888" y="2336081"/>
            <a:ext cx="713337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 kurser</a:t>
            </a:r>
          </a:p>
        </p:txBody>
      </p:sp>
      <p:sp>
        <p:nvSpPr>
          <p:cNvPr id="1034" name="Rektangel: afrundede hjørner 19">
            <a:extLst>
              <a:ext uri="{FF2B5EF4-FFF2-40B4-BE49-F238E27FC236}">
                <a16:creationId xmlns:a16="http://schemas.microsoft.com/office/drawing/2014/main" id="{AE57E905-3AD9-CDFD-4CCB-E92C16AD1B97}"/>
              </a:ext>
            </a:extLst>
          </p:cNvPr>
          <p:cNvSpPr/>
          <p:nvPr/>
        </p:nvSpPr>
        <p:spPr>
          <a:xfrm>
            <a:off x="9036920" y="2468896"/>
            <a:ext cx="835164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914218"/>
            <a:r>
              <a:rPr lang="da-DK" sz="9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densdeling</a:t>
            </a:r>
          </a:p>
        </p:txBody>
      </p:sp>
      <p:pic>
        <p:nvPicPr>
          <p:cNvPr id="3" name="Billede 52">
            <a:extLst>
              <a:ext uri="{FF2B5EF4-FFF2-40B4-BE49-F238E27FC236}">
                <a16:creationId xmlns:a16="http://schemas.microsoft.com/office/drawing/2014/main" id="{7DC8C6F5-1AF0-1014-6B98-AD52DD8C00F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987" r="6122"/>
          <a:stretch/>
        </p:blipFill>
        <p:spPr>
          <a:xfrm>
            <a:off x="1513890" y="1933488"/>
            <a:ext cx="400215" cy="558181"/>
          </a:xfrm>
          <a:prstGeom prst="rect">
            <a:avLst/>
          </a:prstGeom>
        </p:spPr>
      </p:pic>
      <p:pic>
        <p:nvPicPr>
          <p:cNvPr id="5" name="Graphic 1023">
            <a:extLst>
              <a:ext uri="{FF2B5EF4-FFF2-40B4-BE49-F238E27FC236}">
                <a16:creationId xmlns:a16="http://schemas.microsoft.com/office/drawing/2014/main" id="{418A7ADC-0F9E-999A-ACBD-C77B47705E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88932" y="2955685"/>
            <a:ext cx="641466" cy="642831"/>
          </a:xfrm>
          <a:prstGeom prst="rect">
            <a:avLst/>
          </a:prstGeom>
        </p:spPr>
      </p:pic>
      <p:pic>
        <p:nvPicPr>
          <p:cNvPr id="7" name="Graphic 1027">
            <a:extLst>
              <a:ext uri="{FF2B5EF4-FFF2-40B4-BE49-F238E27FC236}">
                <a16:creationId xmlns:a16="http://schemas.microsoft.com/office/drawing/2014/main" id="{25C5549A-03E4-568C-69BC-78D23E09E0E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25550" y="4163981"/>
            <a:ext cx="783669" cy="622785"/>
          </a:xfrm>
          <a:prstGeom prst="rect">
            <a:avLst/>
          </a:prstGeom>
        </p:spPr>
      </p:pic>
      <p:pic>
        <p:nvPicPr>
          <p:cNvPr id="8" name="Graphic 1044">
            <a:extLst>
              <a:ext uri="{FF2B5EF4-FFF2-40B4-BE49-F238E27FC236}">
                <a16:creationId xmlns:a16="http://schemas.microsoft.com/office/drawing/2014/main" id="{AD4BD55D-57C6-FE77-FEFD-CDAAB4FF6D1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77557" y="5288096"/>
            <a:ext cx="845173" cy="589535"/>
          </a:xfrm>
          <a:prstGeom prst="rect">
            <a:avLst/>
          </a:prstGeom>
        </p:spPr>
      </p:pic>
      <p:pic>
        <p:nvPicPr>
          <p:cNvPr id="9" name="Graphic 1032">
            <a:extLst>
              <a:ext uri="{FF2B5EF4-FFF2-40B4-BE49-F238E27FC236}">
                <a16:creationId xmlns:a16="http://schemas.microsoft.com/office/drawing/2014/main" id="{7A48E199-73A4-53EC-43C8-89E83CB57AD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967859" y="1836881"/>
            <a:ext cx="855785" cy="722689"/>
          </a:xfrm>
          <a:prstGeom prst="rect">
            <a:avLst/>
          </a:prstGeom>
        </p:spPr>
      </p:pic>
      <p:pic>
        <p:nvPicPr>
          <p:cNvPr id="21" name="Graphic 1028">
            <a:extLst>
              <a:ext uri="{FF2B5EF4-FFF2-40B4-BE49-F238E27FC236}">
                <a16:creationId xmlns:a16="http://schemas.microsoft.com/office/drawing/2014/main" id="{FD915B59-7B81-8622-E996-27426D189C7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195548" y="3189927"/>
            <a:ext cx="485291" cy="403961"/>
          </a:xfrm>
          <a:prstGeom prst="rect">
            <a:avLst/>
          </a:prstGeom>
        </p:spPr>
      </p:pic>
      <p:grpSp>
        <p:nvGrpSpPr>
          <p:cNvPr id="22" name="Group 99">
            <a:extLst>
              <a:ext uri="{FF2B5EF4-FFF2-40B4-BE49-F238E27FC236}">
                <a16:creationId xmlns:a16="http://schemas.microsoft.com/office/drawing/2014/main" id="{2DD97B76-AB74-D85E-E54A-497CBD3DE1B7}"/>
              </a:ext>
            </a:extLst>
          </p:cNvPr>
          <p:cNvGrpSpPr/>
          <p:nvPr/>
        </p:nvGrpSpPr>
        <p:grpSpPr>
          <a:xfrm>
            <a:off x="10241864" y="4148127"/>
            <a:ext cx="437458" cy="585363"/>
            <a:chOff x="1812950" y="1639609"/>
            <a:chExt cx="3101338" cy="4273873"/>
          </a:xfrm>
        </p:grpSpPr>
        <p:grpSp>
          <p:nvGrpSpPr>
            <p:cNvPr id="23" name="Group 91">
              <a:extLst>
                <a:ext uri="{FF2B5EF4-FFF2-40B4-BE49-F238E27FC236}">
                  <a16:creationId xmlns:a16="http://schemas.microsoft.com/office/drawing/2014/main" id="{00E5C265-5DEA-5ACC-CCE9-786675CC9510}"/>
                </a:ext>
              </a:extLst>
            </p:cNvPr>
            <p:cNvGrpSpPr/>
            <p:nvPr/>
          </p:nvGrpSpPr>
          <p:grpSpPr>
            <a:xfrm>
              <a:off x="1812950" y="1639609"/>
              <a:ext cx="3101338" cy="4273873"/>
              <a:chOff x="3663419" y="1790700"/>
              <a:chExt cx="3453700" cy="4759454"/>
            </a:xfrm>
          </p:grpSpPr>
          <p:sp>
            <p:nvSpPr>
              <p:cNvPr id="39" name="Freeform: Shape 56">
                <a:extLst>
                  <a:ext uri="{FF2B5EF4-FFF2-40B4-BE49-F238E27FC236}">
                    <a16:creationId xmlns:a16="http://schemas.microsoft.com/office/drawing/2014/main" id="{CA6E9BE9-2F9D-BA3A-5CB1-96CF0343D138}"/>
                  </a:ext>
                </a:extLst>
              </p:cNvPr>
              <p:cNvSpPr/>
              <p:nvPr/>
            </p:nvSpPr>
            <p:spPr>
              <a:xfrm>
                <a:off x="3778842" y="2056060"/>
                <a:ext cx="1739754" cy="2666451"/>
              </a:xfrm>
              <a:custGeom>
                <a:avLst/>
                <a:gdLst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866882 w 1705082"/>
                  <a:gd name="connsiteY194" fmla="*/ 129378 h 2663028"/>
                  <a:gd name="connsiteX195" fmla="*/ 900219 w 1705082"/>
                  <a:gd name="connsiteY195" fmla="*/ 119853 h 2663028"/>
                  <a:gd name="connsiteX196" fmla="*/ 976419 w 1705082"/>
                  <a:gd name="connsiteY196" fmla="*/ 100803 h 2663028"/>
                  <a:gd name="connsiteX197" fmla="*/ 1019282 w 1705082"/>
                  <a:gd name="connsiteY197" fmla="*/ 81753 h 2663028"/>
                  <a:gd name="connsiteX198" fmla="*/ 1057382 w 1705082"/>
                  <a:gd name="connsiteY198" fmla="*/ 67465 h 2663028"/>
                  <a:gd name="connsiteX199" fmla="*/ 1100244 w 1705082"/>
                  <a:gd name="connsiteY199" fmla="*/ 38890 h 2663028"/>
                  <a:gd name="connsiteX200" fmla="*/ 1133582 w 1705082"/>
                  <a:gd name="connsiteY200" fmla="*/ 29365 h 2663028"/>
                  <a:gd name="connsiteX201" fmla="*/ 1152632 w 1705082"/>
                  <a:gd name="connsiteY201" fmla="*/ 24603 h 2663028"/>
                  <a:gd name="connsiteX202" fmla="*/ 1195494 w 1705082"/>
                  <a:gd name="connsiteY202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866882 w 1705082"/>
                  <a:gd name="connsiteY194" fmla="*/ 129378 h 2663028"/>
                  <a:gd name="connsiteX195" fmla="*/ 976419 w 1705082"/>
                  <a:gd name="connsiteY195" fmla="*/ 100803 h 2663028"/>
                  <a:gd name="connsiteX196" fmla="*/ 1019282 w 1705082"/>
                  <a:gd name="connsiteY196" fmla="*/ 81753 h 2663028"/>
                  <a:gd name="connsiteX197" fmla="*/ 1057382 w 1705082"/>
                  <a:gd name="connsiteY197" fmla="*/ 67465 h 2663028"/>
                  <a:gd name="connsiteX198" fmla="*/ 1100244 w 1705082"/>
                  <a:gd name="connsiteY198" fmla="*/ 38890 h 2663028"/>
                  <a:gd name="connsiteX199" fmla="*/ 1133582 w 1705082"/>
                  <a:gd name="connsiteY199" fmla="*/ 29365 h 2663028"/>
                  <a:gd name="connsiteX200" fmla="*/ 1152632 w 1705082"/>
                  <a:gd name="connsiteY200" fmla="*/ 24603 h 2663028"/>
                  <a:gd name="connsiteX201" fmla="*/ 1195494 w 1705082"/>
                  <a:gd name="connsiteY201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976419 w 1705082"/>
                  <a:gd name="connsiteY194" fmla="*/ 100803 h 2663028"/>
                  <a:gd name="connsiteX195" fmla="*/ 1019282 w 1705082"/>
                  <a:gd name="connsiteY195" fmla="*/ 81753 h 2663028"/>
                  <a:gd name="connsiteX196" fmla="*/ 1057382 w 1705082"/>
                  <a:gd name="connsiteY196" fmla="*/ 67465 h 2663028"/>
                  <a:gd name="connsiteX197" fmla="*/ 1100244 w 1705082"/>
                  <a:gd name="connsiteY197" fmla="*/ 38890 h 2663028"/>
                  <a:gd name="connsiteX198" fmla="*/ 1133582 w 1705082"/>
                  <a:gd name="connsiteY198" fmla="*/ 29365 h 2663028"/>
                  <a:gd name="connsiteX199" fmla="*/ 1152632 w 1705082"/>
                  <a:gd name="connsiteY199" fmla="*/ 24603 h 2663028"/>
                  <a:gd name="connsiteX200" fmla="*/ 1195494 w 1705082"/>
                  <a:gd name="connsiteY200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976419 w 1705082"/>
                  <a:gd name="connsiteY194" fmla="*/ 100803 h 2663028"/>
                  <a:gd name="connsiteX195" fmla="*/ 1057382 w 1705082"/>
                  <a:gd name="connsiteY195" fmla="*/ 67465 h 2663028"/>
                  <a:gd name="connsiteX196" fmla="*/ 1100244 w 1705082"/>
                  <a:gd name="connsiteY196" fmla="*/ 38890 h 2663028"/>
                  <a:gd name="connsiteX197" fmla="*/ 1133582 w 1705082"/>
                  <a:gd name="connsiteY197" fmla="*/ 29365 h 2663028"/>
                  <a:gd name="connsiteX198" fmla="*/ 1152632 w 1705082"/>
                  <a:gd name="connsiteY198" fmla="*/ 24603 h 2663028"/>
                  <a:gd name="connsiteX199" fmla="*/ 1195494 w 1705082"/>
                  <a:gd name="connsiteY199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1057382 w 1705082"/>
                  <a:gd name="connsiteY194" fmla="*/ 67465 h 2663028"/>
                  <a:gd name="connsiteX195" fmla="*/ 1100244 w 1705082"/>
                  <a:gd name="connsiteY195" fmla="*/ 38890 h 2663028"/>
                  <a:gd name="connsiteX196" fmla="*/ 1133582 w 1705082"/>
                  <a:gd name="connsiteY196" fmla="*/ 29365 h 2663028"/>
                  <a:gd name="connsiteX197" fmla="*/ 1152632 w 1705082"/>
                  <a:gd name="connsiteY197" fmla="*/ 24603 h 2663028"/>
                  <a:gd name="connsiteX198" fmla="*/ 1195494 w 1705082"/>
                  <a:gd name="connsiteY198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1057382 w 1705082"/>
                  <a:gd name="connsiteY193" fmla="*/ 67465 h 2663028"/>
                  <a:gd name="connsiteX194" fmla="*/ 1100244 w 1705082"/>
                  <a:gd name="connsiteY194" fmla="*/ 38890 h 2663028"/>
                  <a:gd name="connsiteX195" fmla="*/ 1133582 w 1705082"/>
                  <a:gd name="connsiteY195" fmla="*/ 29365 h 2663028"/>
                  <a:gd name="connsiteX196" fmla="*/ 1152632 w 1705082"/>
                  <a:gd name="connsiteY196" fmla="*/ 24603 h 2663028"/>
                  <a:gd name="connsiteX197" fmla="*/ 1195494 w 1705082"/>
                  <a:gd name="connsiteY197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1057382 w 1705082"/>
                  <a:gd name="connsiteY193" fmla="*/ 67465 h 2663028"/>
                  <a:gd name="connsiteX194" fmla="*/ 1133582 w 1705082"/>
                  <a:gd name="connsiteY194" fmla="*/ 29365 h 2663028"/>
                  <a:gd name="connsiteX195" fmla="*/ 1152632 w 1705082"/>
                  <a:gd name="connsiteY195" fmla="*/ 24603 h 2663028"/>
                  <a:gd name="connsiteX196" fmla="*/ 1195494 w 1705082"/>
                  <a:gd name="connsiteY196" fmla="*/ 790 h 2663028"/>
                  <a:gd name="connsiteX0" fmla="*/ 1195494 w 1705082"/>
                  <a:gd name="connsiteY0" fmla="*/ 1028 h 2663266"/>
                  <a:gd name="connsiteX1" fmla="*/ 1190732 w 1705082"/>
                  <a:gd name="connsiteY1" fmla="*/ 58178 h 2663266"/>
                  <a:gd name="connsiteX2" fmla="*/ 1166919 w 1705082"/>
                  <a:gd name="connsiteY2" fmla="*/ 101041 h 2663266"/>
                  <a:gd name="connsiteX3" fmla="*/ 1157394 w 1705082"/>
                  <a:gd name="connsiteY3" fmla="*/ 120091 h 2663266"/>
                  <a:gd name="connsiteX4" fmla="*/ 1157394 w 1705082"/>
                  <a:gd name="connsiteY4" fmla="*/ 196291 h 2663266"/>
                  <a:gd name="connsiteX5" fmla="*/ 1176444 w 1705082"/>
                  <a:gd name="connsiteY5" fmla="*/ 215341 h 2663266"/>
                  <a:gd name="connsiteX6" fmla="*/ 1195494 w 1705082"/>
                  <a:gd name="connsiteY6" fmla="*/ 248678 h 2663266"/>
                  <a:gd name="connsiteX7" fmla="*/ 1214544 w 1705082"/>
                  <a:gd name="connsiteY7" fmla="*/ 258203 h 2663266"/>
                  <a:gd name="connsiteX8" fmla="*/ 1224069 w 1705082"/>
                  <a:gd name="connsiteY8" fmla="*/ 272491 h 2663266"/>
                  <a:gd name="connsiteX9" fmla="*/ 1238357 w 1705082"/>
                  <a:gd name="connsiteY9" fmla="*/ 286778 h 2663266"/>
                  <a:gd name="connsiteX10" fmla="*/ 1247882 w 1705082"/>
                  <a:gd name="connsiteY10" fmla="*/ 305828 h 2663266"/>
                  <a:gd name="connsiteX11" fmla="*/ 1243119 w 1705082"/>
                  <a:gd name="connsiteY11" fmla="*/ 334403 h 2663266"/>
                  <a:gd name="connsiteX12" fmla="*/ 1238357 w 1705082"/>
                  <a:gd name="connsiteY12" fmla="*/ 353453 h 2663266"/>
                  <a:gd name="connsiteX13" fmla="*/ 1243119 w 1705082"/>
                  <a:gd name="connsiteY13" fmla="*/ 415366 h 2663266"/>
                  <a:gd name="connsiteX14" fmla="*/ 1262169 w 1705082"/>
                  <a:gd name="connsiteY14" fmla="*/ 453466 h 2663266"/>
                  <a:gd name="connsiteX15" fmla="*/ 1271694 w 1705082"/>
                  <a:gd name="connsiteY15" fmla="*/ 467753 h 2663266"/>
                  <a:gd name="connsiteX16" fmla="*/ 1285982 w 1705082"/>
                  <a:gd name="connsiteY16" fmla="*/ 477278 h 2663266"/>
                  <a:gd name="connsiteX17" fmla="*/ 1343132 w 1705082"/>
                  <a:gd name="connsiteY17" fmla="*/ 501091 h 2663266"/>
                  <a:gd name="connsiteX18" fmla="*/ 1371707 w 1705082"/>
                  <a:gd name="connsiteY18" fmla="*/ 510616 h 2663266"/>
                  <a:gd name="connsiteX19" fmla="*/ 1400282 w 1705082"/>
                  <a:gd name="connsiteY19" fmla="*/ 529666 h 2663266"/>
                  <a:gd name="connsiteX20" fmla="*/ 1462194 w 1705082"/>
                  <a:gd name="connsiteY20" fmla="*/ 558241 h 2663266"/>
                  <a:gd name="connsiteX21" fmla="*/ 1514582 w 1705082"/>
                  <a:gd name="connsiteY21" fmla="*/ 577291 h 2663266"/>
                  <a:gd name="connsiteX22" fmla="*/ 1533632 w 1705082"/>
                  <a:gd name="connsiteY22" fmla="*/ 586816 h 2663266"/>
                  <a:gd name="connsiteX23" fmla="*/ 1552682 w 1705082"/>
                  <a:gd name="connsiteY23" fmla="*/ 591578 h 2663266"/>
                  <a:gd name="connsiteX24" fmla="*/ 1600307 w 1705082"/>
                  <a:gd name="connsiteY24" fmla="*/ 629678 h 2663266"/>
                  <a:gd name="connsiteX25" fmla="*/ 1628882 w 1705082"/>
                  <a:gd name="connsiteY25" fmla="*/ 663016 h 2663266"/>
                  <a:gd name="connsiteX26" fmla="*/ 1643169 w 1705082"/>
                  <a:gd name="connsiteY26" fmla="*/ 677303 h 2663266"/>
                  <a:gd name="connsiteX27" fmla="*/ 1662219 w 1705082"/>
                  <a:gd name="connsiteY27" fmla="*/ 686828 h 2663266"/>
                  <a:gd name="connsiteX28" fmla="*/ 1676507 w 1705082"/>
                  <a:gd name="connsiteY28" fmla="*/ 696353 h 2663266"/>
                  <a:gd name="connsiteX29" fmla="*/ 1690794 w 1705082"/>
                  <a:gd name="connsiteY29" fmla="*/ 734453 h 2663266"/>
                  <a:gd name="connsiteX30" fmla="*/ 1700319 w 1705082"/>
                  <a:gd name="connsiteY30" fmla="*/ 758266 h 2663266"/>
                  <a:gd name="connsiteX31" fmla="*/ 1705082 w 1705082"/>
                  <a:gd name="connsiteY31" fmla="*/ 772553 h 2663266"/>
                  <a:gd name="connsiteX32" fmla="*/ 1695557 w 1705082"/>
                  <a:gd name="connsiteY32" fmla="*/ 843991 h 2663266"/>
                  <a:gd name="connsiteX33" fmla="*/ 1657457 w 1705082"/>
                  <a:gd name="connsiteY33" fmla="*/ 877328 h 2663266"/>
                  <a:gd name="connsiteX34" fmla="*/ 1643169 w 1705082"/>
                  <a:gd name="connsiteY34" fmla="*/ 891616 h 2663266"/>
                  <a:gd name="connsiteX35" fmla="*/ 1590782 w 1705082"/>
                  <a:gd name="connsiteY35" fmla="*/ 896378 h 2663266"/>
                  <a:gd name="connsiteX36" fmla="*/ 1547919 w 1705082"/>
                  <a:gd name="connsiteY36" fmla="*/ 915428 h 2663266"/>
                  <a:gd name="connsiteX37" fmla="*/ 1524107 w 1705082"/>
                  <a:gd name="connsiteY37" fmla="*/ 929716 h 2663266"/>
                  <a:gd name="connsiteX38" fmla="*/ 1490769 w 1705082"/>
                  <a:gd name="connsiteY38" fmla="*/ 977341 h 2663266"/>
                  <a:gd name="connsiteX39" fmla="*/ 1471719 w 1705082"/>
                  <a:gd name="connsiteY39" fmla="*/ 996391 h 2663266"/>
                  <a:gd name="connsiteX40" fmla="*/ 1338369 w 1705082"/>
                  <a:gd name="connsiteY40" fmla="*/ 1020203 h 2663266"/>
                  <a:gd name="connsiteX41" fmla="*/ 1290744 w 1705082"/>
                  <a:gd name="connsiteY41" fmla="*/ 1044016 h 2663266"/>
                  <a:gd name="connsiteX42" fmla="*/ 1224069 w 1705082"/>
                  <a:gd name="connsiteY42" fmla="*/ 1072591 h 2663266"/>
                  <a:gd name="connsiteX43" fmla="*/ 1119294 w 1705082"/>
                  <a:gd name="connsiteY43" fmla="*/ 1086878 h 2663266"/>
                  <a:gd name="connsiteX44" fmla="*/ 1095482 w 1705082"/>
                  <a:gd name="connsiteY44" fmla="*/ 1091641 h 2663266"/>
                  <a:gd name="connsiteX45" fmla="*/ 1071669 w 1705082"/>
                  <a:gd name="connsiteY45" fmla="*/ 1101166 h 2663266"/>
                  <a:gd name="connsiteX46" fmla="*/ 957369 w 1705082"/>
                  <a:gd name="connsiteY46" fmla="*/ 1096403 h 2663266"/>
                  <a:gd name="connsiteX47" fmla="*/ 852594 w 1705082"/>
                  <a:gd name="connsiteY47" fmla="*/ 1048778 h 2663266"/>
                  <a:gd name="connsiteX48" fmla="*/ 804969 w 1705082"/>
                  <a:gd name="connsiteY48" fmla="*/ 1024966 h 2663266"/>
                  <a:gd name="connsiteX49" fmla="*/ 781157 w 1705082"/>
                  <a:gd name="connsiteY49" fmla="*/ 1010678 h 2663266"/>
                  <a:gd name="connsiteX50" fmla="*/ 762107 w 1705082"/>
                  <a:gd name="connsiteY50" fmla="*/ 996391 h 2663266"/>
                  <a:gd name="connsiteX51" fmla="*/ 671619 w 1705082"/>
                  <a:gd name="connsiteY51" fmla="*/ 948766 h 2663266"/>
                  <a:gd name="connsiteX52" fmla="*/ 638282 w 1705082"/>
                  <a:gd name="connsiteY52" fmla="*/ 929716 h 2663266"/>
                  <a:gd name="connsiteX53" fmla="*/ 519219 w 1705082"/>
                  <a:gd name="connsiteY53" fmla="*/ 901141 h 2663266"/>
                  <a:gd name="connsiteX54" fmla="*/ 476357 w 1705082"/>
                  <a:gd name="connsiteY54" fmla="*/ 882091 h 2663266"/>
                  <a:gd name="connsiteX55" fmla="*/ 414444 w 1705082"/>
                  <a:gd name="connsiteY55" fmla="*/ 872566 h 2663266"/>
                  <a:gd name="connsiteX56" fmla="*/ 314432 w 1705082"/>
                  <a:gd name="connsiteY56" fmla="*/ 886853 h 2663266"/>
                  <a:gd name="connsiteX57" fmla="*/ 300144 w 1705082"/>
                  <a:gd name="connsiteY57" fmla="*/ 901141 h 2663266"/>
                  <a:gd name="connsiteX58" fmla="*/ 276332 w 1705082"/>
                  <a:gd name="connsiteY58" fmla="*/ 939241 h 2663266"/>
                  <a:gd name="connsiteX59" fmla="*/ 262044 w 1705082"/>
                  <a:gd name="connsiteY59" fmla="*/ 977341 h 2663266"/>
                  <a:gd name="connsiteX60" fmla="*/ 257282 w 1705082"/>
                  <a:gd name="connsiteY60" fmla="*/ 1029728 h 2663266"/>
                  <a:gd name="connsiteX61" fmla="*/ 257282 w 1705082"/>
                  <a:gd name="connsiteY61" fmla="*/ 1110691 h 2663266"/>
                  <a:gd name="connsiteX62" fmla="*/ 290619 w 1705082"/>
                  <a:gd name="connsiteY62" fmla="*/ 1144028 h 2663266"/>
                  <a:gd name="connsiteX63" fmla="*/ 319194 w 1705082"/>
                  <a:gd name="connsiteY63" fmla="*/ 1153553 h 2663266"/>
                  <a:gd name="connsiteX64" fmla="*/ 319194 w 1705082"/>
                  <a:gd name="connsiteY64" fmla="*/ 1234516 h 2663266"/>
                  <a:gd name="connsiteX65" fmla="*/ 304907 w 1705082"/>
                  <a:gd name="connsiteY65" fmla="*/ 1248803 h 2663266"/>
                  <a:gd name="connsiteX66" fmla="*/ 252519 w 1705082"/>
                  <a:gd name="connsiteY66" fmla="*/ 1286903 h 2663266"/>
                  <a:gd name="connsiteX67" fmla="*/ 233469 w 1705082"/>
                  <a:gd name="connsiteY67" fmla="*/ 1315478 h 2663266"/>
                  <a:gd name="connsiteX68" fmla="*/ 242994 w 1705082"/>
                  <a:gd name="connsiteY68" fmla="*/ 1415491 h 2663266"/>
                  <a:gd name="connsiteX69" fmla="*/ 271569 w 1705082"/>
                  <a:gd name="connsiteY69" fmla="*/ 1463116 h 2663266"/>
                  <a:gd name="connsiteX70" fmla="*/ 285857 w 1705082"/>
                  <a:gd name="connsiteY70" fmla="*/ 1482166 h 2663266"/>
                  <a:gd name="connsiteX71" fmla="*/ 376344 w 1705082"/>
                  <a:gd name="connsiteY71" fmla="*/ 1515503 h 2663266"/>
                  <a:gd name="connsiteX72" fmla="*/ 400157 w 1705082"/>
                  <a:gd name="connsiteY72" fmla="*/ 1482166 h 2663266"/>
                  <a:gd name="connsiteX73" fmla="*/ 404919 w 1705082"/>
                  <a:gd name="connsiteY73" fmla="*/ 1458353 h 2663266"/>
                  <a:gd name="connsiteX74" fmla="*/ 409682 w 1705082"/>
                  <a:gd name="connsiteY74" fmla="*/ 1439303 h 2663266"/>
                  <a:gd name="connsiteX75" fmla="*/ 438257 w 1705082"/>
                  <a:gd name="connsiteY75" fmla="*/ 1429778 h 2663266"/>
                  <a:gd name="connsiteX76" fmla="*/ 538269 w 1705082"/>
                  <a:gd name="connsiteY76" fmla="*/ 1448828 h 2663266"/>
                  <a:gd name="connsiteX77" fmla="*/ 547794 w 1705082"/>
                  <a:gd name="connsiteY77" fmla="*/ 1472641 h 2663266"/>
                  <a:gd name="connsiteX78" fmla="*/ 557319 w 1705082"/>
                  <a:gd name="connsiteY78" fmla="*/ 1505978 h 2663266"/>
                  <a:gd name="connsiteX79" fmla="*/ 543032 w 1705082"/>
                  <a:gd name="connsiteY79" fmla="*/ 1525028 h 2663266"/>
                  <a:gd name="connsiteX80" fmla="*/ 543032 w 1705082"/>
                  <a:gd name="connsiteY80" fmla="*/ 1591703 h 2663266"/>
                  <a:gd name="connsiteX81" fmla="*/ 552557 w 1705082"/>
                  <a:gd name="connsiteY81" fmla="*/ 1610753 h 2663266"/>
                  <a:gd name="connsiteX82" fmla="*/ 619232 w 1705082"/>
                  <a:gd name="connsiteY82" fmla="*/ 1629803 h 2663266"/>
                  <a:gd name="connsiteX83" fmla="*/ 638282 w 1705082"/>
                  <a:gd name="connsiteY83" fmla="*/ 1582178 h 2663266"/>
                  <a:gd name="connsiteX84" fmla="*/ 695432 w 1705082"/>
                  <a:gd name="connsiteY84" fmla="*/ 1610753 h 2663266"/>
                  <a:gd name="connsiteX85" fmla="*/ 724007 w 1705082"/>
                  <a:gd name="connsiteY85" fmla="*/ 1620278 h 2663266"/>
                  <a:gd name="connsiteX86" fmla="*/ 776394 w 1705082"/>
                  <a:gd name="connsiteY86" fmla="*/ 1653616 h 2663266"/>
                  <a:gd name="connsiteX87" fmla="*/ 852594 w 1705082"/>
                  <a:gd name="connsiteY87" fmla="*/ 1677428 h 2663266"/>
                  <a:gd name="connsiteX88" fmla="*/ 871644 w 1705082"/>
                  <a:gd name="connsiteY88" fmla="*/ 1691716 h 2663266"/>
                  <a:gd name="connsiteX89" fmla="*/ 881169 w 1705082"/>
                  <a:gd name="connsiteY89" fmla="*/ 1729816 h 2663266"/>
                  <a:gd name="connsiteX90" fmla="*/ 890694 w 1705082"/>
                  <a:gd name="connsiteY90" fmla="*/ 1772678 h 2663266"/>
                  <a:gd name="connsiteX91" fmla="*/ 933557 w 1705082"/>
                  <a:gd name="connsiteY91" fmla="*/ 1882216 h 2663266"/>
                  <a:gd name="connsiteX92" fmla="*/ 943082 w 1705082"/>
                  <a:gd name="connsiteY92" fmla="*/ 1896503 h 2663266"/>
                  <a:gd name="connsiteX93" fmla="*/ 952607 w 1705082"/>
                  <a:gd name="connsiteY93" fmla="*/ 1929841 h 2663266"/>
                  <a:gd name="connsiteX94" fmla="*/ 966894 w 1705082"/>
                  <a:gd name="connsiteY94" fmla="*/ 1967941 h 2663266"/>
                  <a:gd name="connsiteX95" fmla="*/ 957369 w 1705082"/>
                  <a:gd name="connsiteY95" fmla="*/ 2072716 h 2663266"/>
                  <a:gd name="connsiteX96" fmla="*/ 947844 w 1705082"/>
                  <a:gd name="connsiteY96" fmla="*/ 2091766 h 2663266"/>
                  <a:gd name="connsiteX97" fmla="*/ 919269 w 1705082"/>
                  <a:gd name="connsiteY97" fmla="*/ 2134628 h 2663266"/>
                  <a:gd name="connsiteX98" fmla="*/ 900219 w 1705082"/>
                  <a:gd name="connsiteY98" fmla="*/ 2182253 h 2663266"/>
                  <a:gd name="connsiteX99" fmla="*/ 895457 w 1705082"/>
                  <a:gd name="connsiteY99" fmla="*/ 2201303 h 2663266"/>
                  <a:gd name="connsiteX100" fmla="*/ 885932 w 1705082"/>
                  <a:gd name="connsiteY100" fmla="*/ 2229878 h 2663266"/>
                  <a:gd name="connsiteX101" fmla="*/ 890694 w 1705082"/>
                  <a:gd name="connsiteY101" fmla="*/ 2277503 h 2663266"/>
                  <a:gd name="connsiteX102" fmla="*/ 885932 w 1705082"/>
                  <a:gd name="connsiteY102" fmla="*/ 2387041 h 2663266"/>
                  <a:gd name="connsiteX103" fmla="*/ 681144 w 1705082"/>
                  <a:gd name="connsiteY103" fmla="*/ 2439428 h 2663266"/>
                  <a:gd name="connsiteX104" fmla="*/ 647807 w 1705082"/>
                  <a:gd name="connsiteY104" fmla="*/ 2463241 h 2663266"/>
                  <a:gd name="connsiteX105" fmla="*/ 600182 w 1705082"/>
                  <a:gd name="connsiteY105" fmla="*/ 2501341 h 2663266"/>
                  <a:gd name="connsiteX106" fmla="*/ 566844 w 1705082"/>
                  <a:gd name="connsiteY106" fmla="*/ 2525153 h 2663266"/>
                  <a:gd name="connsiteX107" fmla="*/ 533507 w 1705082"/>
                  <a:gd name="connsiteY107" fmla="*/ 2544203 h 2663266"/>
                  <a:gd name="connsiteX108" fmla="*/ 490644 w 1705082"/>
                  <a:gd name="connsiteY108" fmla="*/ 2577541 h 2663266"/>
                  <a:gd name="connsiteX109" fmla="*/ 476357 w 1705082"/>
                  <a:gd name="connsiteY109" fmla="*/ 2591828 h 2663266"/>
                  <a:gd name="connsiteX110" fmla="*/ 452544 w 1705082"/>
                  <a:gd name="connsiteY110" fmla="*/ 2610878 h 2663266"/>
                  <a:gd name="connsiteX111" fmla="*/ 443019 w 1705082"/>
                  <a:gd name="connsiteY111" fmla="*/ 2625166 h 2663266"/>
                  <a:gd name="connsiteX112" fmla="*/ 409682 w 1705082"/>
                  <a:gd name="connsiteY112" fmla="*/ 2644216 h 2663266"/>
                  <a:gd name="connsiteX113" fmla="*/ 366819 w 1705082"/>
                  <a:gd name="connsiteY113" fmla="*/ 2663266 h 2663266"/>
                  <a:gd name="connsiteX114" fmla="*/ 352532 w 1705082"/>
                  <a:gd name="connsiteY114" fmla="*/ 2653741 h 2663266"/>
                  <a:gd name="connsiteX115" fmla="*/ 338244 w 1705082"/>
                  <a:gd name="connsiteY115" fmla="*/ 2625166 h 2663266"/>
                  <a:gd name="connsiteX116" fmla="*/ 328719 w 1705082"/>
                  <a:gd name="connsiteY116" fmla="*/ 2610878 h 2663266"/>
                  <a:gd name="connsiteX117" fmla="*/ 290619 w 1705082"/>
                  <a:gd name="connsiteY117" fmla="*/ 2601353 h 2663266"/>
                  <a:gd name="connsiteX118" fmla="*/ 271569 w 1705082"/>
                  <a:gd name="connsiteY118" fmla="*/ 2582303 h 2663266"/>
                  <a:gd name="connsiteX119" fmla="*/ 266807 w 1705082"/>
                  <a:gd name="connsiteY119" fmla="*/ 2563253 h 2663266"/>
                  <a:gd name="connsiteX120" fmla="*/ 228707 w 1705082"/>
                  <a:gd name="connsiteY120" fmla="*/ 2529916 h 2663266"/>
                  <a:gd name="connsiteX121" fmla="*/ 223944 w 1705082"/>
                  <a:gd name="connsiteY121" fmla="*/ 2515628 h 2663266"/>
                  <a:gd name="connsiteX122" fmla="*/ 219182 w 1705082"/>
                  <a:gd name="connsiteY122" fmla="*/ 2496578 h 2663266"/>
                  <a:gd name="connsiteX123" fmla="*/ 204894 w 1705082"/>
                  <a:gd name="connsiteY123" fmla="*/ 2482291 h 2663266"/>
                  <a:gd name="connsiteX124" fmla="*/ 147744 w 1705082"/>
                  <a:gd name="connsiteY124" fmla="*/ 2429903 h 2663266"/>
                  <a:gd name="connsiteX125" fmla="*/ 142982 w 1705082"/>
                  <a:gd name="connsiteY125" fmla="*/ 2406091 h 2663266"/>
                  <a:gd name="connsiteX126" fmla="*/ 128694 w 1705082"/>
                  <a:gd name="connsiteY126" fmla="*/ 2348941 h 2663266"/>
                  <a:gd name="connsiteX127" fmla="*/ 114407 w 1705082"/>
                  <a:gd name="connsiteY127" fmla="*/ 2306078 h 2663266"/>
                  <a:gd name="connsiteX128" fmla="*/ 100119 w 1705082"/>
                  <a:gd name="connsiteY128" fmla="*/ 2248928 h 2663266"/>
                  <a:gd name="connsiteX129" fmla="*/ 95357 w 1705082"/>
                  <a:gd name="connsiteY129" fmla="*/ 2225116 h 2663266"/>
                  <a:gd name="connsiteX130" fmla="*/ 85832 w 1705082"/>
                  <a:gd name="connsiteY130" fmla="*/ 2201303 h 2663266"/>
                  <a:gd name="connsiteX131" fmla="*/ 81069 w 1705082"/>
                  <a:gd name="connsiteY131" fmla="*/ 2177491 h 2663266"/>
                  <a:gd name="connsiteX132" fmla="*/ 71544 w 1705082"/>
                  <a:gd name="connsiteY132" fmla="*/ 2101291 h 2663266"/>
                  <a:gd name="connsiteX133" fmla="*/ 90594 w 1705082"/>
                  <a:gd name="connsiteY133" fmla="*/ 1934603 h 2663266"/>
                  <a:gd name="connsiteX134" fmla="*/ 100119 w 1705082"/>
                  <a:gd name="connsiteY134" fmla="*/ 1920316 h 2663266"/>
                  <a:gd name="connsiteX135" fmla="*/ 119169 w 1705082"/>
                  <a:gd name="connsiteY135" fmla="*/ 1891741 h 2663266"/>
                  <a:gd name="connsiteX136" fmla="*/ 128694 w 1705082"/>
                  <a:gd name="connsiteY136" fmla="*/ 1858403 h 2663266"/>
                  <a:gd name="connsiteX137" fmla="*/ 123932 w 1705082"/>
                  <a:gd name="connsiteY137" fmla="*/ 1815541 h 2663266"/>
                  <a:gd name="connsiteX138" fmla="*/ 104882 w 1705082"/>
                  <a:gd name="connsiteY138" fmla="*/ 1810778 h 2663266"/>
                  <a:gd name="connsiteX139" fmla="*/ 95357 w 1705082"/>
                  <a:gd name="connsiteY139" fmla="*/ 1796491 h 2663266"/>
                  <a:gd name="connsiteX140" fmla="*/ 138219 w 1705082"/>
                  <a:gd name="connsiteY140" fmla="*/ 1710766 h 2663266"/>
                  <a:gd name="connsiteX141" fmla="*/ 152507 w 1705082"/>
                  <a:gd name="connsiteY141" fmla="*/ 1706003 h 2663266"/>
                  <a:gd name="connsiteX142" fmla="*/ 166794 w 1705082"/>
                  <a:gd name="connsiteY142" fmla="*/ 1686953 h 2663266"/>
                  <a:gd name="connsiteX143" fmla="*/ 181082 w 1705082"/>
                  <a:gd name="connsiteY143" fmla="*/ 1677428 h 2663266"/>
                  <a:gd name="connsiteX144" fmla="*/ 195369 w 1705082"/>
                  <a:gd name="connsiteY144" fmla="*/ 1644091 h 2663266"/>
                  <a:gd name="connsiteX145" fmla="*/ 185844 w 1705082"/>
                  <a:gd name="connsiteY145" fmla="*/ 1596466 h 2663266"/>
                  <a:gd name="connsiteX146" fmla="*/ 157269 w 1705082"/>
                  <a:gd name="connsiteY146" fmla="*/ 1586941 h 2663266"/>
                  <a:gd name="connsiteX147" fmla="*/ 147744 w 1705082"/>
                  <a:gd name="connsiteY147" fmla="*/ 1539316 h 2663266"/>
                  <a:gd name="connsiteX148" fmla="*/ 142982 w 1705082"/>
                  <a:gd name="connsiteY148" fmla="*/ 1401203 h 2663266"/>
                  <a:gd name="connsiteX149" fmla="*/ 133457 w 1705082"/>
                  <a:gd name="connsiteY149" fmla="*/ 1367866 h 2663266"/>
                  <a:gd name="connsiteX150" fmla="*/ 114407 w 1705082"/>
                  <a:gd name="connsiteY150" fmla="*/ 1301191 h 2663266"/>
                  <a:gd name="connsiteX151" fmla="*/ 109644 w 1705082"/>
                  <a:gd name="connsiteY151" fmla="*/ 1248803 h 2663266"/>
                  <a:gd name="connsiteX152" fmla="*/ 100119 w 1705082"/>
                  <a:gd name="connsiteY152" fmla="*/ 1234516 h 2663266"/>
                  <a:gd name="connsiteX153" fmla="*/ 85832 w 1705082"/>
                  <a:gd name="connsiteY153" fmla="*/ 1186891 h 2663266"/>
                  <a:gd name="connsiteX154" fmla="*/ 71544 w 1705082"/>
                  <a:gd name="connsiteY154" fmla="*/ 1167841 h 2663266"/>
                  <a:gd name="connsiteX155" fmla="*/ 52494 w 1705082"/>
                  <a:gd name="connsiteY155" fmla="*/ 1129741 h 2663266"/>
                  <a:gd name="connsiteX156" fmla="*/ 42969 w 1705082"/>
                  <a:gd name="connsiteY156" fmla="*/ 1101166 h 2663266"/>
                  <a:gd name="connsiteX157" fmla="*/ 38207 w 1705082"/>
                  <a:gd name="connsiteY157" fmla="*/ 1086878 h 2663266"/>
                  <a:gd name="connsiteX158" fmla="*/ 14394 w 1705082"/>
                  <a:gd name="connsiteY158" fmla="*/ 1015441 h 2663266"/>
                  <a:gd name="connsiteX159" fmla="*/ 4869 w 1705082"/>
                  <a:gd name="connsiteY159" fmla="*/ 982103 h 2663266"/>
                  <a:gd name="connsiteX160" fmla="*/ 107 w 1705082"/>
                  <a:gd name="connsiteY160" fmla="*/ 967816 h 2663266"/>
                  <a:gd name="connsiteX161" fmla="*/ 14394 w 1705082"/>
                  <a:gd name="connsiteY161" fmla="*/ 924953 h 2663266"/>
                  <a:gd name="connsiteX162" fmla="*/ 38207 w 1705082"/>
                  <a:gd name="connsiteY162" fmla="*/ 872566 h 2663266"/>
                  <a:gd name="connsiteX163" fmla="*/ 52494 w 1705082"/>
                  <a:gd name="connsiteY163" fmla="*/ 858278 h 2663266"/>
                  <a:gd name="connsiteX164" fmla="*/ 62019 w 1705082"/>
                  <a:gd name="connsiteY164" fmla="*/ 843991 h 2663266"/>
                  <a:gd name="connsiteX165" fmla="*/ 66782 w 1705082"/>
                  <a:gd name="connsiteY165" fmla="*/ 824941 h 2663266"/>
                  <a:gd name="connsiteX166" fmla="*/ 100119 w 1705082"/>
                  <a:gd name="connsiteY166" fmla="*/ 782078 h 2663266"/>
                  <a:gd name="connsiteX167" fmla="*/ 123932 w 1705082"/>
                  <a:gd name="connsiteY167" fmla="*/ 743978 h 2663266"/>
                  <a:gd name="connsiteX168" fmla="*/ 138219 w 1705082"/>
                  <a:gd name="connsiteY168" fmla="*/ 710641 h 2663266"/>
                  <a:gd name="connsiteX169" fmla="*/ 147744 w 1705082"/>
                  <a:gd name="connsiteY169" fmla="*/ 696353 h 2663266"/>
                  <a:gd name="connsiteX170" fmla="*/ 152507 w 1705082"/>
                  <a:gd name="connsiteY170" fmla="*/ 677303 h 2663266"/>
                  <a:gd name="connsiteX171" fmla="*/ 162032 w 1705082"/>
                  <a:gd name="connsiteY171" fmla="*/ 663016 h 2663266"/>
                  <a:gd name="connsiteX172" fmla="*/ 195369 w 1705082"/>
                  <a:gd name="connsiteY172" fmla="*/ 620153 h 2663266"/>
                  <a:gd name="connsiteX173" fmla="*/ 214419 w 1705082"/>
                  <a:gd name="connsiteY173" fmla="*/ 591578 h 2663266"/>
                  <a:gd name="connsiteX174" fmla="*/ 266807 w 1705082"/>
                  <a:gd name="connsiteY174" fmla="*/ 534428 h 2663266"/>
                  <a:gd name="connsiteX175" fmla="*/ 281094 w 1705082"/>
                  <a:gd name="connsiteY175" fmla="*/ 520141 h 2663266"/>
                  <a:gd name="connsiteX176" fmla="*/ 304907 w 1705082"/>
                  <a:gd name="connsiteY176" fmla="*/ 505853 h 2663266"/>
                  <a:gd name="connsiteX177" fmla="*/ 319194 w 1705082"/>
                  <a:gd name="connsiteY177" fmla="*/ 496328 h 2663266"/>
                  <a:gd name="connsiteX178" fmla="*/ 362057 w 1705082"/>
                  <a:gd name="connsiteY178" fmla="*/ 472516 h 2663266"/>
                  <a:gd name="connsiteX179" fmla="*/ 371582 w 1705082"/>
                  <a:gd name="connsiteY179" fmla="*/ 448703 h 2663266"/>
                  <a:gd name="connsiteX180" fmla="*/ 381107 w 1705082"/>
                  <a:gd name="connsiteY180" fmla="*/ 429653 h 2663266"/>
                  <a:gd name="connsiteX181" fmla="*/ 385869 w 1705082"/>
                  <a:gd name="connsiteY181" fmla="*/ 415366 h 2663266"/>
                  <a:gd name="connsiteX182" fmla="*/ 404919 w 1705082"/>
                  <a:gd name="connsiteY182" fmla="*/ 396316 h 2663266"/>
                  <a:gd name="connsiteX183" fmla="*/ 457307 w 1705082"/>
                  <a:gd name="connsiteY183" fmla="*/ 358216 h 2663266"/>
                  <a:gd name="connsiteX184" fmla="*/ 504932 w 1705082"/>
                  <a:gd name="connsiteY184" fmla="*/ 334403 h 2663266"/>
                  <a:gd name="connsiteX185" fmla="*/ 523982 w 1705082"/>
                  <a:gd name="connsiteY185" fmla="*/ 315353 h 2663266"/>
                  <a:gd name="connsiteX186" fmla="*/ 585894 w 1705082"/>
                  <a:gd name="connsiteY186" fmla="*/ 267728 h 2663266"/>
                  <a:gd name="connsiteX187" fmla="*/ 600182 w 1705082"/>
                  <a:gd name="connsiteY187" fmla="*/ 253441 h 2663266"/>
                  <a:gd name="connsiteX188" fmla="*/ 633519 w 1705082"/>
                  <a:gd name="connsiteY188" fmla="*/ 220103 h 2663266"/>
                  <a:gd name="connsiteX189" fmla="*/ 647807 w 1705082"/>
                  <a:gd name="connsiteY189" fmla="*/ 215341 h 2663266"/>
                  <a:gd name="connsiteX190" fmla="*/ 671619 w 1705082"/>
                  <a:gd name="connsiteY190" fmla="*/ 201053 h 2663266"/>
                  <a:gd name="connsiteX191" fmla="*/ 695432 w 1705082"/>
                  <a:gd name="connsiteY191" fmla="*/ 191528 h 2663266"/>
                  <a:gd name="connsiteX192" fmla="*/ 733532 w 1705082"/>
                  <a:gd name="connsiteY192" fmla="*/ 172478 h 2663266"/>
                  <a:gd name="connsiteX193" fmla="*/ 1057382 w 1705082"/>
                  <a:gd name="connsiteY193" fmla="*/ 67703 h 2663266"/>
                  <a:gd name="connsiteX194" fmla="*/ 1152632 w 1705082"/>
                  <a:gd name="connsiteY194" fmla="*/ 24841 h 2663266"/>
                  <a:gd name="connsiteX195" fmla="*/ 1195494 w 1705082"/>
                  <a:gd name="connsiteY195" fmla="*/ 1028 h 2663266"/>
                  <a:gd name="connsiteX0" fmla="*/ 1195494 w 1705082"/>
                  <a:gd name="connsiteY0" fmla="*/ 1028 h 2663266"/>
                  <a:gd name="connsiteX1" fmla="*/ 1190732 w 1705082"/>
                  <a:gd name="connsiteY1" fmla="*/ 58178 h 2663266"/>
                  <a:gd name="connsiteX2" fmla="*/ 1166919 w 1705082"/>
                  <a:gd name="connsiteY2" fmla="*/ 101041 h 2663266"/>
                  <a:gd name="connsiteX3" fmla="*/ 1157394 w 1705082"/>
                  <a:gd name="connsiteY3" fmla="*/ 120091 h 2663266"/>
                  <a:gd name="connsiteX4" fmla="*/ 1157394 w 1705082"/>
                  <a:gd name="connsiteY4" fmla="*/ 196291 h 2663266"/>
                  <a:gd name="connsiteX5" fmla="*/ 1176444 w 1705082"/>
                  <a:gd name="connsiteY5" fmla="*/ 215341 h 2663266"/>
                  <a:gd name="connsiteX6" fmla="*/ 1195494 w 1705082"/>
                  <a:gd name="connsiteY6" fmla="*/ 248678 h 2663266"/>
                  <a:gd name="connsiteX7" fmla="*/ 1214544 w 1705082"/>
                  <a:gd name="connsiteY7" fmla="*/ 258203 h 2663266"/>
                  <a:gd name="connsiteX8" fmla="*/ 1224069 w 1705082"/>
                  <a:gd name="connsiteY8" fmla="*/ 272491 h 2663266"/>
                  <a:gd name="connsiteX9" fmla="*/ 1238357 w 1705082"/>
                  <a:gd name="connsiteY9" fmla="*/ 286778 h 2663266"/>
                  <a:gd name="connsiteX10" fmla="*/ 1247882 w 1705082"/>
                  <a:gd name="connsiteY10" fmla="*/ 305828 h 2663266"/>
                  <a:gd name="connsiteX11" fmla="*/ 1243119 w 1705082"/>
                  <a:gd name="connsiteY11" fmla="*/ 334403 h 2663266"/>
                  <a:gd name="connsiteX12" fmla="*/ 1238357 w 1705082"/>
                  <a:gd name="connsiteY12" fmla="*/ 353453 h 2663266"/>
                  <a:gd name="connsiteX13" fmla="*/ 1243119 w 1705082"/>
                  <a:gd name="connsiteY13" fmla="*/ 415366 h 2663266"/>
                  <a:gd name="connsiteX14" fmla="*/ 1262169 w 1705082"/>
                  <a:gd name="connsiteY14" fmla="*/ 453466 h 2663266"/>
                  <a:gd name="connsiteX15" fmla="*/ 1271694 w 1705082"/>
                  <a:gd name="connsiteY15" fmla="*/ 467753 h 2663266"/>
                  <a:gd name="connsiteX16" fmla="*/ 1285982 w 1705082"/>
                  <a:gd name="connsiteY16" fmla="*/ 477278 h 2663266"/>
                  <a:gd name="connsiteX17" fmla="*/ 1343132 w 1705082"/>
                  <a:gd name="connsiteY17" fmla="*/ 501091 h 2663266"/>
                  <a:gd name="connsiteX18" fmla="*/ 1371707 w 1705082"/>
                  <a:gd name="connsiteY18" fmla="*/ 510616 h 2663266"/>
                  <a:gd name="connsiteX19" fmla="*/ 1400282 w 1705082"/>
                  <a:gd name="connsiteY19" fmla="*/ 529666 h 2663266"/>
                  <a:gd name="connsiteX20" fmla="*/ 1462194 w 1705082"/>
                  <a:gd name="connsiteY20" fmla="*/ 558241 h 2663266"/>
                  <a:gd name="connsiteX21" fmla="*/ 1514582 w 1705082"/>
                  <a:gd name="connsiteY21" fmla="*/ 577291 h 2663266"/>
                  <a:gd name="connsiteX22" fmla="*/ 1533632 w 1705082"/>
                  <a:gd name="connsiteY22" fmla="*/ 586816 h 2663266"/>
                  <a:gd name="connsiteX23" fmla="*/ 1552682 w 1705082"/>
                  <a:gd name="connsiteY23" fmla="*/ 591578 h 2663266"/>
                  <a:gd name="connsiteX24" fmla="*/ 1600307 w 1705082"/>
                  <a:gd name="connsiteY24" fmla="*/ 629678 h 2663266"/>
                  <a:gd name="connsiteX25" fmla="*/ 1628882 w 1705082"/>
                  <a:gd name="connsiteY25" fmla="*/ 663016 h 2663266"/>
                  <a:gd name="connsiteX26" fmla="*/ 1643169 w 1705082"/>
                  <a:gd name="connsiteY26" fmla="*/ 677303 h 2663266"/>
                  <a:gd name="connsiteX27" fmla="*/ 1662219 w 1705082"/>
                  <a:gd name="connsiteY27" fmla="*/ 686828 h 2663266"/>
                  <a:gd name="connsiteX28" fmla="*/ 1676507 w 1705082"/>
                  <a:gd name="connsiteY28" fmla="*/ 696353 h 2663266"/>
                  <a:gd name="connsiteX29" fmla="*/ 1690794 w 1705082"/>
                  <a:gd name="connsiteY29" fmla="*/ 734453 h 2663266"/>
                  <a:gd name="connsiteX30" fmla="*/ 1700319 w 1705082"/>
                  <a:gd name="connsiteY30" fmla="*/ 758266 h 2663266"/>
                  <a:gd name="connsiteX31" fmla="*/ 1705082 w 1705082"/>
                  <a:gd name="connsiteY31" fmla="*/ 772553 h 2663266"/>
                  <a:gd name="connsiteX32" fmla="*/ 1695557 w 1705082"/>
                  <a:gd name="connsiteY32" fmla="*/ 843991 h 2663266"/>
                  <a:gd name="connsiteX33" fmla="*/ 1657457 w 1705082"/>
                  <a:gd name="connsiteY33" fmla="*/ 877328 h 2663266"/>
                  <a:gd name="connsiteX34" fmla="*/ 1643169 w 1705082"/>
                  <a:gd name="connsiteY34" fmla="*/ 891616 h 2663266"/>
                  <a:gd name="connsiteX35" fmla="*/ 1590782 w 1705082"/>
                  <a:gd name="connsiteY35" fmla="*/ 896378 h 2663266"/>
                  <a:gd name="connsiteX36" fmla="*/ 1547919 w 1705082"/>
                  <a:gd name="connsiteY36" fmla="*/ 915428 h 2663266"/>
                  <a:gd name="connsiteX37" fmla="*/ 1524107 w 1705082"/>
                  <a:gd name="connsiteY37" fmla="*/ 929716 h 2663266"/>
                  <a:gd name="connsiteX38" fmla="*/ 1490769 w 1705082"/>
                  <a:gd name="connsiteY38" fmla="*/ 977341 h 2663266"/>
                  <a:gd name="connsiteX39" fmla="*/ 1471719 w 1705082"/>
                  <a:gd name="connsiteY39" fmla="*/ 996391 h 2663266"/>
                  <a:gd name="connsiteX40" fmla="*/ 1338369 w 1705082"/>
                  <a:gd name="connsiteY40" fmla="*/ 1020203 h 2663266"/>
                  <a:gd name="connsiteX41" fmla="*/ 1290744 w 1705082"/>
                  <a:gd name="connsiteY41" fmla="*/ 1044016 h 2663266"/>
                  <a:gd name="connsiteX42" fmla="*/ 1224069 w 1705082"/>
                  <a:gd name="connsiteY42" fmla="*/ 1072591 h 2663266"/>
                  <a:gd name="connsiteX43" fmla="*/ 1119294 w 1705082"/>
                  <a:gd name="connsiteY43" fmla="*/ 1086878 h 2663266"/>
                  <a:gd name="connsiteX44" fmla="*/ 1095482 w 1705082"/>
                  <a:gd name="connsiteY44" fmla="*/ 1091641 h 2663266"/>
                  <a:gd name="connsiteX45" fmla="*/ 1071669 w 1705082"/>
                  <a:gd name="connsiteY45" fmla="*/ 1101166 h 2663266"/>
                  <a:gd name="connsiteX46" fmla="*/ 957369 w 1705082"/>
                  <a:gd name="connsiteY46" fmla="*/ 1096403 h 2663266"/>
                  <a:gd name="connsiteX47" fmla="*/ 852594 w 1705082"/>
                  <a:gd name="connsiteY47" fmla="*/ 1048778 h 2663266"/>
                  <a:gd name="connsiteX48" fmla="*/ 804969 w 1705082"/>
                  <a:gd name="connsiteY48" fmla="*/ 1024966 h 2663266"/>
                  <a:gd name="connsiteX49" fmla="*/ 781157 w 1705082"/>
                  <a:gd name="connsiteY49" fmla="*/ 1010678 h 2663266"/>
                  <a:gd name="connsiteX50" fmla="*/ 762107 w 1705082"/>
                  <a:gd name="connsiteY50" fmla="*/ 996391 h 2663266"/>
                  <a:gd name="connsiteX51" fmla="*/ 671619 w 1705082"/>
                  <a:gd name="connsiteY51" fmla="*/ 948766 h 2663266"/>
                  <a:gd name="connsiteX52" fmla="*/ 638282 w 1705082"/>
                  <a:gd name="connsiteY52" fmla="*/ 929716 h 2663266"/>
                  <a:gd name="connsiteX53" fmla="*/ 519219 w 1705082"/>
                  <a:gd name="connsiteY53" fmla="*/ 901141 h 2663266"/>
                  <a:gd name="connsiteX54" fmla="*/ 476357 w 1705082"/>
                  <a:gd name="connsiteY54" fmla="*/ 882091 h 2663266"/>
                  <a:gd name="connsiteX55" fmla="*/ 414444 w 1705082"/>
                  <a:gd name="connsiteY55" fmla="*/ 872566 h 2663266"/>
                  <a:gd name="connsiteX56" fmla="*/ 314432 w 1705082"/>
                  <a:gd name="connsiteY56" fmla="*/ 886853 h 2663266"/>
                  <a:gd name="connsiteX57" fmla="*/ 300144 w 1705082"/>
                  <a:gd name="connsiteY57" fmla="*/ 901141 h 2663266"/>
                  <a:gd name="connsiteX58" fmla="*/ 276332 w 1705082"/>
                  <a:gd name="connsiteY58" fmla="*/ 939241 h 2663266"/>
                  <a:gd name="connsiteX59" fmla="*/ 262044 w 1705082"/>
                  <a:gd name="connsiteY59" fmla="*/ 977341 h 2663266"/>
                  <a:gd name="connsiteX60" fmla="*/ 257282 w 1705082"/>
                  <a:gd name="connsiteY60" fmla="*/ 1029728 h 2663266"/>
                  <a:gd name="connsiteX61" fmla="*/ 257282 w 1705082"/>
                  <a:gd name="connsiteY61" fmla="*/ 1110691 h 2663266"/>
                  <a:gd name="connsiteX62" fmla="*/ 290619 w 1705082"/>
                  <a:gd name="connsiteY62" fmla="*/ 1144028 h 2663266"/>
                  <a:gd name="connsiteX63" fmla="*/ 319194 w 1705082"/>
                  <a:gd name="connsiteY63" fmla="*/ 1153553 h 2663266"/>
                  <a:gd name="connsiteX64" fmla="*/ 319194 w 1705082"/>
                  <a:gd name="connsiteY64" fmla="*/ 1234516 h 2663266"/>
                  <a:gd name="connsiteX65" fmla="*/ 304907 w 1705082"/>
                  <a:gd name="connsiteY65" fmla="*/ 1248803 h 2663266"/>
                  <a:gd name="connsiteX66" fmla="*/ 252519 w 1705082"/>
                  <a:gd name="connsiteY66" fmla="*/ 1286903 h 2663266"/>
                  <a:gd name="connsiteX67" fmla="*/ 233469 w 1705082"/>
                  <a:gd name="connsiteY67" fmla="*/ 1315478 h 2663266"/>
                  <a:gd name="connsiteX68" fmla="*/ 242994 w 1705082"/>
                  <a:gd name="connsiteY68" fmla="*/ 1415491 h 2663266"/>
                  <a:gd name="connsiteX69" fmla="*/ 271569 w 1705082"/>
                  <a:gd name="connsiteY69" fmla="*/ 1463116 h 2663266"/>
                  <a:gd name="connsiteX70" fmla="*/ 285857 w 1705082"/>
                  <a:gd name="connsiteY70" fmla="*/ 1482166 h 2663266"/>
                  <a:gd name="connsiteX71" fmla="*/ 376344 w 1705082"/>
                  <a:gd name="connsiteY71" fmla="*/ 1515503 h 2663266"/>
                  <a:gd name="connsiteX72" fmla="*/ 400157 w 1705082"/>
                  <a:gd name="connsiteY72" fmla="*/ 1482166 h 2663266"/>
                  <a:gd name="connsiteX73" fmla="*/ 404919 w 1705082"/>
                  <a:gd name="connsiteY73" fmla="*/ 1458353 h 2663266"/>
                  <a:gd name="connsiteX74" fmla="*/ 409682 w 1705082"/>
                  <a:gd name="connsiteY74" fmla="*/ 1439303 h 2663266"/>
                  <a:gd name="connsiteX75" fmla="*/ 438257 w 1705082"/>
                  <a:gd name="connsiteY75" fmla="*/ 1429778 h 2663266"/>
                  <a:gd name="connsiteX76" fmla="*/ 538269 w 1705082"/>
                  <a:gd name="connsiteY76" fmla="*/ 1448828 h 2663266"/>
                  <a:gd name="connsiteX77" fmla="*/ 547794 w 1705082"/>
                  <a:gd name="connsiteY77" fmla="*/ 1472641 h 2663266"/>
                  <a:gd name="connsiteX78" fmla="*/ 557319 w 1705082"/>
                  <a:gd name="connsiteY78" fmla="*/ 1505978 h 2663266"/>
                  <a:gd name="connsiteX79" fmla="*/ 543032 w 1705082"/>
                  <a:gd name="connsiteY79" fmla="*/ 1525028 h 2663266"/>
                  <a:gd name="connsiteX80" fmla="*/ 543032 w 1705082"/>
                  <a:gd name="connsiteY80" fmla="*/ 1591703 h 2663266"/>
                  <a:gd name="connsiteX81" fmla="*/ 552557 w 1705082"/>
                  <a:gd name="connsiteY81" fmla="*/ 1610753 h 2663266"/>
                  <a:gd name="connsiteX82" fmla="*/ 619232 w 1705082"/>
                  <a:gd name="connsiteY82" fmla="*/ 1629803 h 2663266"/>
                  <a:gd name="connsiteX83" fmla="*/ 638282 w 1705082"/>
                  <a:gd name="connsiteY83" fmla="*/ 1582178 h 2663266"/>
                  <a:gd name="connsiteX84" fmla="*/ 695432 w 1705082"/>
                  <a:gd name="connsiteY84" fmla="*/ 1610753 h 2663266"/>
                  <a:gd name="connsiteX85" fmla="*/ 724007 w 1705082"/>
                  <a:gd name="connsiteY85" fmla="*/ 1620278 h 2663266"/>
                  <a:gd name="connsiteX86" fmla="*/ 776394 w 1705082"/>
                  <a:gd name="connsiteY86" fmla="*/ 1653616 h 2663266"/>
                  <a:gd name="connsiteX87" fmla="*/ 852594 w 1705082"/>
                  <a:gd name="connsiteY87" fmla="*/ 1677428 h 2663266"/>
                  <a:gd name="connsiteX88" fmla="*/ 871644 w 1705082"/>
                  <a:gd name="connsiteY88" fmla="*/ 1691716 h 2663266"/>
                  <a:gd name="connsiteX89" fmla="*/ 881169 w 1705082"/>
                  <a:gd name="connsiteY89" fmla="*/ 1729816 h 2663266"/>
                  <a:gd name="connsiteX90" fmla="*/ 890694 w 1705082"/>
                  <a:gd name="connsiteY90" fmla="*/ 1772678 h 2663266"/>
                  <a:gd name="connsiteX91" fmla="*/ 933557 w 1705082"/>
                  <a:gd name="connsiteY91" fmla="*/ 1882216 h 2663266"/>
                  <a:gd name="connsiteX92" fmla="*/ 943082 w 1705082"/>
                  <a:gd name="connsiteY92" fmla="*/ 1896503 h 2663266"/>
                  <a:gd name="connsiteX93" fmla="*/ 952607 w 1705082"/>
                  <a:gd name="connsiteY93" fmla="*/ 1929841 h 2663266"/>
                  <a:gd name="connsiteX94" fmla="*/ 966894 w 1705082"/>
                  <a:gd name="connsiteY94" fmla="*/ 1967941 h 2663266"/>
                  <a:gd name="connsiteX95" fmla="*/ 957369 w 1705082"/>
                  <a:gd name="connsiteY95" fmla="*/ 2072716 h 2663266"/>
                  <a:gd name="connsiteX96" fmla="*/ 947844 w 1705082"/>
                  <a:gd name="connsiteY96" fmla="*/ 2091766 h 2663266"/>
                  <a:gd name="connsiteX97" fmla="*/ 919269 w 1705082"/>
                  <a:gd name="connsiteY97" fmla="*/ 2134628 h 2663266"/>
                  <a:gd name="connsiteX98" fmla="*/ 900219 w 1705082"/>
                  <a:gd name="connsiteY98" fmla="*/ 2182253 h 2663266"/>
                  <a:gd name="connsiteX99" fmla="*/ 895457 w 1705082"/>
                  <a:gd name="connsiteY99" fmla="*/ 2201303 h 2663266"/>
                  <a:gd name="connsiteX100" fmla="*/ 885932 w 1705082"/>
                  <a:gd name="connsiteY100" fmla="*/ 2229878 h 2663266"/>
                  <a:gd name="connsiteX101" fmla="*/ 890694 w 1705082"/>
                  <a:gd name="connsiteY101" fmla="*/ 2277503 h 2663266"/>
                  <a:gd name="connsiteX102" fmla="*/ 885932 w 1705082"/>
                  <a:gd name="connsiteY102" fmla="*/ 2387041 h 2663266"/>
                  <a:gd name="connsiteX103" fmla="*/ 681144 w 1705082"/>
                  <a:gd name="connsiteY103" fmla="*/ 2439428 h 2663266"/>
                  <a:gd name="connsiteX104" fmla="*/ 647807 w 1705082"/>
                  <a:gd name="connsiteY104" fmla="*/ 2463241 h 2663266"/>
                  <a:gd name="connsiteX105" fmla="*/ 600182 w 1705082"/>
                  <a:gd name="connsiteY105" fmla="*/ 2501341 h 2663266"/>
                  <a:gd name="connsiteX106" fmla="*/ 566844 w 1705082"/>
                  <a:gd name="connsiteY106" fmla="*/ 2525153 h 2663266"/>
                  <a:gd name="connsiteX107" fmla="*/ 533507 w 1705082"/>
                  <a:gd name="connsiteY107" fmla="*/ 2544203 h 2663266"/>
                  <a:gd name="connsiteX108" fmla="*/ 490644 w 1705082"/>
                  <a:gd name="connsiteY108" fmla="*/ 2577541 h 2663266"/>
                  <a:gd name="connsiteX109" fmla="*/ 476357 w 1705082"/>
                  <a:gd name="connsiteY109" fmla="*/ 2591828 h 2663266"/>
                  <a:gd name="connsiteX110" fmla="*/ 452544 w 1705082"/>
                  <a:gd name="connsiteY110" fmla="*/ 2610878 h 2663266"/>
                  <a:gd name="connsiteX111" fmla="*/ 443019 w 1705082"/>
                  <a:gd name="connsiteY111" fmla="*/ 2625166 h 2663266"/>
                  <a:gd name="connsiteX112" fmla="*/ 409682 w 1705082"/>
                  <a:gd name="connsiteY112" fmla="*/ 2644216 h 2663266"/>
                  <a:gd name="connsiteX113" fmla="*/ 366819 w 1705082"/>
                  <a:gd name="connsiteY113" fmla="*/ 2663266 h 2663266"/>
                  <a:gd name="connsiteX114" fmla="*/ 352532 w 1705082"/>
                  <a:gd name="connsiteY114" fmla="*/ 2653741 h 2663266"/>
                  <a:gd name="connsiteX115" fmla="*/ 338244 w 1705082"/>
                  <a:gd name="connsiteY115" fmla="*/ 2625166 h 2663266"/>
                  <a:gd name="connsiteX116" fmla="*/ 328719 w 1705082"/>
                  <a:gd name="connsiteY116" fmla="*/ 2610878 h 2663266"/>
                  <a:gd name="connsiteX117" fmla="*/ 290619 w 1705082"/>
                  <a:gd name="connsiteY117" fmla="*/ 2601353 h 2663266"/>
                  <a:gd name="connsiteX118" fmla="*/ 271569 w 1705082"/>
                  <a:gd name="connsiteY118" fmla="*/ 2582303 h 2663266"/>
                  <a:gd name="connsiteX119" fmla="*/ 266807 w 1705082"/>
                  <a:gd name="connsiteY119" fmla="*/ 2563253 h 2663266"/>
                  <a:gd name="connsiteX120" fmla="*/ 228707 w 1705082"/>
                  <a:gd name="connsiteY120" fmla="*/ 2529916 h 2663266"/>
                  <a:gd name="connsiteX121" fmla="*/ 223944 w 1705082"/>
                  <a:gd name="connsiteY121" fmla="*/ 2515628 h 2663266"/>
                  <a:gd name="connsiteX122" fmla="*/ 219182 w 1705082"/>
                  <a:gd name="connsiteY122" fmla="*/ 2496578 h 2663266"/>
                  <a:gd name="connsiteX123" fmla="*/ 204894 w 1705082"/>
                  <a:gd name="connsiteY123" fmla="*/ 2482291 h 2663266"/>
                  <a:gd name="connsiteX124" fmla="*/ 147744 w 1705082"/>
                  <a:gd name="connsiteY124" fmla="*/ 2429903 h 2663266"/>
                  <a:gd name="connsiteX125" fmla="*/ 142982 w 1705082"/>
                  <a:gd name="connsiteY125" fmla="*/ 2406091 h 2663266"/>
                  <a:gd name="connsiteX126" fmla="*/ 128694 w 1705082"/>
                  <a:gd name="connsiteY126" fmla="*/ 2348941 h 2663266"/>
                  <a:gd name="connsiteX127" fmla="*/ 114407 w 1705082"/>
                  <a:gd name="connsiteY127" fmla="*/ 2306078 h 2663266"/>
                  <a:gd name="connsiteX128" fmla="*/ 100119 w 1705082"/>
                  <a:gd name="connsiteY128" fmla="*/ 2248928 h 2663266"/>
                  <a:gd name="connsiteX129" fmla="*/ 95357 w 1705082"/>
                  <a:gd name="connsiteY129" fmla="*/ 2225116 h 2663266"/>
                  <a:gd name="connsiteX130" fmla="*/ 85832 w 1705082"/>
                  <a:gd name="connsiteY130" fmla="*/ 2201303 h 2663266"/>
                  <a:gd name="connsiteX131" fmla="*/ 81069 w 1705082"/>
                  <a:gd name="connsiteY131" fmla="*/ 2177491 h 2663266"/>
                  <a:gd name="connsiteX132" fmla="*/ 71544 w 1705082"/>
                  <a:gd name="connsiteY132" fmla="*/ 2101291 h 2663266"/>
                  <a:gd name="connsiteX133" fmla="*/ 90594 w 1705082"/>
                  <a:gd name="connsiteY133" fmla="*/ 1934603 h 2663266"/>
                  <a:gd name="connsiteX134" fmla="*/ 100119 w 1705082"/>
                  <a:gd name="connsiteY134" fmla="*/ 1920316 h 2663266"/>
                  <a:gd name="connsiteX135" fmla="*/ 119169 w 1705082"/>
                  <a:gd name="connsiteY135" fmla="*/ 1891741 h 2663266"/>
                  <a:gd name="connsiteX136" fmla="*/ 128694 w 1705082"/>
                  <a:gd name="connsiteY136" fmla="*/ 1858403 h 2663266"/>
                  <a:gd name="connsiteX137" fmla="*/ 123932 w 1705082"/>
                  <a:gd name="connsiteY137" fmla="*/ 1815541 h 2663266"/>
                  <a:gd name="connsiteX138" fmla="*/ 104882 w 1705082"/>
                  <a:gd name="connsiteY138" fmla="*/ 1810778 h 2663266"/>
                  <a:gd name="connsiteX139" fmla="*/ 95357 w 1705082"/>
                  <a:gd name="connsiteY139" fmla="*/ 1796491 h 2663266"/>
                  <a:gd name="connsiteX140" fmla="*/ 138219 w 1705082"/>
                  <a:gd name="connsiteY140" fmla="*/ 1710766 h 2663266"/>
                  <a:gd name="connsiteX141" fmla="*/ 152507 w 1705082"/>
                  <a:gd name="connsiteY141" fmla="*/ 1706003 h 2663266"/>
                  <a:gd name="connsiteX142" fmla="*/ 166794 w 1705082"/>
                  <a:gd name="connsiteY142" fmla="*/ 1686953 h 2663266"/>
                  <a:gd name="connsiteX143" fmla="*/ 181082 w 1705082"/>
                  <a:gd name="connsiteY143" fmla="*/ 1677428 h 2663266"/>
                  <a:gd name="connsiteX144" fmla="*/ 195369 w 1705082"/>
                  <a:gd name="connsiteY144" fmla="*/ 1644091 h 2663266"/>
                  <a:gd name="connsiteX145" fmla="*/ 185844 w 1705082"/>
                  <a:gd name="connsiteY145" fmla="*/ 1596466 h 2663266"/>
                  <a:gd name="connsiteX146" fmla="*/ 157269 w 1705082"/>
                  <a:gd name="connsiteY146" fmla="*/ 1586941 h 2663266"/>
                  <a:gd name="connsiteX147" fmla="*/ 147744 w 1705082"/>
                  <a:gd name="connsiteY147" fmla="*/ 1539316 h 2663266"/>
                  <a:gd name="connsiteX148" fmla="*/ 142982 w 1705082"/>
                  <a:gd name="connsiteY148" fmla="*/ 1401203 h 2663266"/>
                  <a:gd name="connsiteX149" fmla="*/ 133457 w 1705082"/>
                  <a:gd name="connsiteY149" fmla="*/ 1367866 h 2663266"/>
                  <a:gd name="connsiteX150" fmla="*/ 114407 w 1705082"/>
                  <a:gd name="connsiteY150" fmla="*/ 1301191 h 2663266"/>
                  <a:gd name="connsiteX151" fmla="*/ 109644 w 1705082"/>
                  <a:gd name="connsiteY151" fmla="*/ 1248803 h 2663266"/>
                  <a:gd name="connsiteX152" fmla="*/ 100119 w 1705082"/>
                  <a:gd name="connsiteY152" fmla="*/ 1234516 h 2663266"/>
                  <a:gd name="connsiteX153" fmla="*/ 85832 w 1705082"/>
                  <a:gd name="connsiteY153" fmla="*/ 1186891 h 2663266"/>
                  <a:gd name="connsiteX154" fmla="*/ 71544 w 1705082"/>
                  <a:gd name="connsiteY154" fmla="*/ 1167841 h 2663266"/>
                  <a:gd name="connsiteX155" fmla="*/ 52494 w 1705082"/>
                  <a:gd name="connsiteY155" fmla="*/ 1129741 h 2663266"/>
                  <a:gd name="connsiteX156" fmla="*/ 42969 w 1705082"/>
                  <a:gd name="connsiteY156" fmla="*/ 1101166 h 2663266"/>
                  <a:gd name="connsiteX157" fmla="*/ 38207 w 1705082"/>
                  <a:gd name="connsiteY157" fmla="*/ 1086878 h 2663266"/>
                  <a:gd name="connsiteX158" fmla="*/ 14394 w 1705082"/>
                  <a:gd name="connsiteY158" fmla="*/ 1015441 h 2663266"/>
                  <a:gd name="connsiteX159" fmla="*/ 4869 w 1705082"/>
                  <a:gd name="connsiteY159" fmla="*/ 982103 h 2663266"/>
                  <a:gd name="connsiteX160" fmla="*/ 107 w 1705082"/>
                  <a:gd name="connsiteY160" fmla="*/ 967816 h 2663266"/>
                  <a:gd name="connsiteX161" fmla="*/ 14394 w 1705082"/>
                  <a:gd name="connsiteY161" fmla="*/ 924953 h 2663266"/>
                  <a:gd name="connsiteX162" fmla="*/ 38207 w 1705082"/>
                  <a:gd name="connsiteY162" fmla="*/ 872566 h 2663266"/>
                  <a:gd name="connsiteX163" fmla="*/ 52494 w 1705082"/>
                  <a:gd name="connsiteY163" fmla="*/ 858278 h 2663266"/>
                  <a:gd name="connsiteX164" fmla="*/ 62019 w 1705082"/>
                  <a:gd name="connsiteY164" fmla="*/ 843991 h 2663266"/>
                  <a:gd name="connsiteX165" fmla="*/ 66782 w 1705082"/>
                  <a:gd name="connsiteY165" fmla="*/ 824941 h 2663266"/>
                  <a:gd name="connsiteX166" fmla="*/ 100119 w 1705082"/>
                  <a:gd name="connsiteY166" fmla="*/ 782078 h 2663266"/>
                  <a:gd name="connsiteX167" fmla="*/ 123932 w 1705082"/>
                  <a:gd name="connsiteY167" fmla="*/ 743978 h 2663266"/>
                  <a:gd name="connsiteX168" fmla="*/ 138219 w 1705082"/>
                  <a:gd name="connsiteY168" fmla="*/ 710641 h 2663266"/>
                  <a:gd name="connsiteX169" fmla="*/ 147744 w 1705082"/>
                  <a:gd name="connsiteY169" fmla="*/ 696353 h 2663266"/>
                  <a:gd name="connsiteX170" fmla="*/ 152507 w 1705082"/>
                  <a:gd name="connsiteY170" fmla="*/ 677303 h 2663266"/>
                  <a:gd name="connsiteX171" fmla="*/ 162032 w 1705082"/>
                  <a:gd name="connsiteY171" fmla="*/ 663016 h 2663266"/>
                  <a:gd name="connsiteX172" fmla="*/ 195369 w 1705082"/>
                  <a:gd name="connsiteY172" fmla="*/ 620153 h 2663266"/>
                  <a:gd name="connsiteX173" fmla="*/ 214419 w 1705082"/>
                  <a:gd name="connsiteY173" fmla="*/ 591578 h 2663266"/>
                  <a:gd name="connsiteX174" fmla="*/ 266807 w 1705082"/>
                  <a:gd name="connsiteY174" fmla="*/ 534428 h 2663266"/>
                  <a:gd name="connsiteX175" fmla="*/ 281094 w 1705082"/>
                  <a:gd name="connsiteY175" fmla="*/ 520141 h 2663266"/>
                  <a:gd name="connsiteX176" fmla="*/ 304907 w 1705082"/>
                  <a:gd name="connsiteY176" fmla="*/ 505853 h 2663266"/>
                  <a:gd name="connsiteX177" fmla="*/ 319194 w 1705082"/>
                  <a:gd name="connsiteY177" fmla="*/ 496328 h 2663266"/>
                  <a:gd name="connsiteX178" fmla="*/ 362057 w 1705082"/>
                  <a:gd name="connsiteY178" fmla="*/ 472516 h 2663266"/>
                  <a:gd name="connsiteX179" fmla="*/ 371582 w 1705082"/>
                  <a:gd name="connsiteY179" fmla="*/ 448703 h 2663266"/>
                  <a:gd name="connsiteX180" fmla="*/ 381107 w 1705082"/>
                  <a:gd name="connsiteY180" fmla="*/ 429653 h 2663266"/>
                  <a:gd name="connsiteX181" fmla="*/ 385869 w 1705082"/>
                  <a:gd name="connsiteY181" fmla="*/ 415366 h 2663266"/>
                  <a:gd name="connsiteX182" fmla="*/ 404919 w 1705082"/>
                  <a:gd name="connsiteY182" fmla="*/ 396316 h 2663266"/>
                  <a:gd name="connsiteX183" fmla="*/ 457307 w 1705082"/>
                  <a:gd name="connsiteY183" fmla="*/ 358216 h 2663266"/>
                  <a:gd name="connsiteX184" fmla="*/ 504932 w 1705082"/>
                  <a:gd name="connsiteY184" fmla="*/ 334403 h 2663266"/>
                  <a:gd name="connsiteX185" fmla="*/ 523982 w 1705082"/>
                  <a:gd name="connsiteY185" fmla="*/ 315353 h 2663266"/>
                  <a:gd name="connsiteX186" fmla="*/ 585894 w 1705082"/>
                  <a:gd name="connsiteY186" fmla="*/ 267728 h 2663266"/>
                  <a:gd name="connsiteX187" fmla="*/ 600182 w 1705082"/>
                  <a:gd name="connsiteY187" fmla="*/ 253441 h 2663266"/>
                  <a:gd name="connsiteX188" fmla="*/ 633519 w 1705082"/>
                  <a:gd name="connsiteY188" fmla="*/ 220103 h 2663266"/>
                  <a:gd name="connsiteX189" fmla="*/ 647807 w 1705082"/>
                  <a:gd name="connsiteY189" fmla="*/ 215341 h 2663266"/>
                  <a:gd name="connsiteX190" fmla="*/ 671619 w 1705082"/>
                  <a:gd name="connsiteY190" fmla="*/ 201053 h 2663266"/>
                  <a:gd name="connsiteX191" fmla="*/ 695432 w 1705082"/>
                  <a:gd name="connsiteY191" fmla="*/ 191528 h 2663266"/>
                  <a:gd name="connsiteX192" fmla="*/ 733532 w 1705082"/>
                  <a:gd name="connsiteY192" fmla="*/ 172478 h 2663266"/>
                  <a:gd name="connsiteX193" fmla="*/ 981182 w 1705082"/>
                  <a:gd name="connsiteY193" fmla="*/ 53415 h 2663266"/>
                  <a:gd name="connsiteX194" fmla="*/ 1152632 w 1705082"/>
                  <a:gd name="connsiteY194" fmla="*/ 24841 h 2663266"/>
                  <a:gd name="connsiteX195" fmla="*/ 1195494 w 1705082"/>
                  <a:gd name="connsiteY195" fmla="*/ 1028 h 2663266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647807 w 1705082"/>
                  <a:gd name="connsiteY189" fmla="*/ 225177 h 2673102"/>
                  <a:gd name="connsiteX190" fmla="*/ 671619 w 1705082"/>
                  <a:gd name="connsiteY190" fmla="*/ 210889 h 2673102"/>
                  <a:gd name="connsiteX191" fmla="*/ 695432 w 1705082"/>
                  <a:gd name="connsiteY191" fmla="*/ 201364 h 2673102"/>
                  <a:gd name="connsiteX192" fmla="*/ 733532 w 1705082"/>
                  <a:gd name="connsiteY192" fmla="*/ 182314 h 2673102"/>
                  <a:gd name="connsiteX193" fmla="*/ 981182 w 1705082"/>
                  <a:gd name="connsiteY193" fmla="*/ 63251 h 2673102"/>
                  <a:gd name="connsiteX194" fmla="*/ 1152632 w 1705082"/>
                  <a:gd name="connsiteY194" fmla="*/ 6102 h 2673102"/>
                  <a:gd name="connsiteX195" fmla="*/ 1195494 w 1705082"/>
                  <a:gd name="connsiteY19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647807 w 1705082"/>
                  <a:gd name="connsiteY189" fmla="*/ 225177 h 2673102"/>
                  <a:gd name="connsiteX190" fmla="*/ 671619 w 1705082"/>
                  <a:gd name="connsiteY190" fmla="*/ 210889 h 2673102"/>
                  <a:gd name="connsiteX191" fmla="*/ 733532 w 1705082"/>
                  <a:gd name="connsiteY191" fmla="*/ 182314 h 2673102"/>
                  <a:gd name="connsiteX192" fmla="*/ 981182 w 1705082"/>
                  <a:gd name="connsiteY192" fmla="*/ 63251 h 2673102"/>
                  <a:gd name="connsiteX193" fmla="*/ 1152632 w 1705082"/>
                  <a:gd name="connsiteY193" fmla="*/ 6102 h 2673102"/>
                  <a:gd name="connsiteX194" fmla="*/ 1195494 w 1705082"/>
                  <a:gd name="connsiteY194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647807 w 1705082"/>
                  <a:gd name="connsiteY189" fmla="*/ 225177 h 2673102"/>
                  <a:gd name="connsiteX190" fmla="*/ 733532 w 1705082"/>
                  <a:gd name="connsiteY190" fmla="*/ 182314 h 2673102"/>
                  <a:gd name="connsiteX191" fmla="*/ 981182 w 1705082"/>
                  <a:gd name="connsiteY191" fmla="*/ 63251 h 2673102"/>
                  <a:gd name="connsiteX192" fmla="*/ 1152632 w 1705082"/>
                  <a:gd name="connsiteY192" fmla="*/ 6102 h 2673102"/>
                  <a:gd name="connsiteX193" fmla="*/ 1195494 w 1705082"/>
                  <a:gd name="connsiteY19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733532 w 1705082"/>
                  <a:gd name="connsiteY189" fmla="*/ 182314 h 2673102"/>
                  <a:gd name="connsiteX190" fmla="*/ 981182 w 1705082"/>
                  <a:gd name="connsiteY190" fmla="*/ 63251 h 2673102"/>
                  <a:gd name="connsiteX191" fmla="*/ 1152632 w 1705082"/>
                  <a:gd name="connsiteY191" fmla="*/ 6102 h 2673102"/>
                  <a:gd name="connsiteX192" fmla="*/ 1195494 w 1705082"/>
                  <a:gd name="connsiteY19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85894 w 1705082"/>
                  <a:gd name="connsiteY185" fmla="*/ 277564 h 2673102"/>
                  <a:gd name="connsiteX186" fmla="*/ 600182 w 1705082"/>
                  <a:gd name="connsiteY186" fmla="*/ 263277 h 2673102"/>
                  <a:gd name="connsiteX187" fmla="*/ 633519 w 1705082"/>
                  <a:gd name="connsiteY187" fmla="*/ 229939 h 2673102"/>
                  <a:gd name="connsiteX188" fmla="*/ 733532 w 1705082"/>
                  <a:gd name="connsiteY188" fmla="*/ 182314 h 2673102"/>
                  <a:gd name="connsiteX189" fmla="*/ 981182 w 1705082"/>
                  <a:gd name="connsiteY189" fmla="*/ 63251 h 2673102"/>
                  <a:gd name="connsiteX190" fmla="*/ 1152632 w 1705082"/>
                  <a:gd name="connsiteY190" fmla="*/ 6102 h 2673102"/>
                  <a:gd name="connsiteX191" fmla="*/ 1195494 w 1705082"/>
                  <a:gd name="connsiteY191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504932 w 1705082"/>
                  <a:gd name="connsiteY183" fmla="*/ 344239 h 2673102"/>
                  <a:gd name="connsiteX184" fmla="*/ 585894 w 1705082"/>
                  <a:gd name="connsiteY184" fmla="*/ 277564 h 2673102"/>
                  <a:gd name="connsiteX185" fmla="*/ 600182 w 1705082"/>
                  <a:gd name="connsiteY185" fmla="*/ 263277 h 2673102"/>
                  <a:gd name="connsiteX186" fmla="*/ 633519 w 1705082"/>
                  <a:gd name="connsiteY186" fmla="*/ 229939 h 2673102"/>
                  <a:gd name="connsiteX187" fmla="*/ 733532 w 1705082"/>
                  <a:gd name="connsiteY187" fmla="*/ 182314 h 2673102"/>
                  <a:gd name="connsiteX188" fmla="*/ 981182 w 1705082"/>
                  <a:gd name="connsiteY188" fmla="*/ 63251 h 2673102"/>
                  <a:gd name="connsiteX189" fmla="*/ 1152632 w 1705082"/>
                  <a:gd name="connsiteY189" fmla="*/ 6102 h 2673102"/>
                  <a:gd name="connsiteX190" fmla="*/ 1195494 w 1705082"/>
                  <a:gd name="connsiteY190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81107 w 1705082"/>
                  <a:gd name="connsiteY179" fmla="*/ 439489 h 2673102"/>
                  <a:gd name="connsiteX180" fmla="*/ 385869 w 1705082"/>
                  <a:gd name="connsiteY180" fmla="*/ 425202 h 2673102"/>
                  <a:gd name="connsiteX181" fmla="*/ 404919 w 1705082"/>
                  <a:gd name="connsiteY181" fmla="*/ 406152 h 2673102"/>
                  <a:gd name="connsiteX182" fmla="*/ 504932 w 1705082"/>
                  <a:gd name="connsiteY182" fmla="*/ 344239 h 2673102"/>
                  <a:gd name="connsiteX183" fmla="*/ 585894 w 1705082"/>
                  <a:gd name="connsiteY183" fmla="*/ 277564 h 2673102"/>
                  <a:gd name="connsiteX184" fmla="*/ 600182 w 1705082"/>
                  <a:gd name="connsiteY184" fmla="*/ 263277 h 2673102"/>
                  <a:gd name="connsiteX185" fmla="*/ 633519 w 1705082"/>
                  <a:gd name="connsiteY185" fmla="*/ 229939 h 2673102"/>
                  <a:gd name="connsiteX186" fmla="*/ 733532 w 1705082"/>
                  <a:gd name="connsiteY186" fmla="*/ 182314 h 2673102"/>
                  <a:gd name="connsiteX187" fmla="*/ 981182 w 1705082"/>
                  <a:gd name="connsiteY187" fmla="*/ 63251 h 2673102"/>
                  <a:gd name="connsiteX188" fmla="*/ 1152632 w 1705082"/>
                  <a:gd name="connsiteY188" fmla="*/ 6102 h 2673102"/>
                  <a:gd name="connsiteX189" fmla="*/ 1195494 w 1705082"/>
                  <a:gd name="connsiteY18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62057 w 1705082"/>
                  <a:gd name="connsiteY177" fmla="*/ 482352 h 2673102"/>
                  <a:gd name="connsiteX178" fmla="*/ 381107 w 1705082"/>
                  <a:gd name="connsiteY178" fmla="*/ 439489 h 2673102"/>
                  <a:gd name="connsiteX179" fmla="*/ 385869 w 1705082"/>
                  <a:gd name="connsiteY179" fmla="*/ 425202 h 2673102"/>
                  <a:gd name="connsiteX180" fmla="*/ 404919 w 1705082"/>
                  <a:gd name="connsiteY180" fmla="*/ 406152 h 2673102"/>
                  <a:gd name="connsiteX181" fmla="*/ 504932 w 1705082"/>
                  <a:gd name="connsiteY181" fmla="*/ 344239 h 2673102"/>
                  <a:gd name="connsiteX182" fmla="*/ 585894 w 1705082"/>
                  <a:gd name="connsiteY182" fmla="*/ 277564 h 2673102"/>
                  <a:gd name="connsiteX183" fmla="*/ 600182 w 1705082"/>
                  <a:gd name="connsiteY183" fmla="*/ 263277 h 2673102"/>
                  <a:gd name="connsiteX184" fmla="*/ 633519 w 1705082"/>
                  <a:gd name="connsiteY184" fmla="*/ 229939 h 2673102"/>
                  <a:gd name="connsiteX185" fmla="*/ 733532 w 1705082"/>
                  <a:gd name="connsiteY185" fmla="*/ 182314 h 2673102"/>
                  <a:gd name="connsiteX186" fmla="*/ 981182 w 1705082"/>
                  <a:gd name="connsiteY186" fmla="*/ 63251 h 2673102"/>
                  <a:gd name="connsiteX187" fmla="*/ 1152632 w 1705082"/>
                  <a:gd name="connsiteY187" fmla="*/ 6102 h 2673102"/>
                  <a:gd name="connsiteX188" fmla="*/ 1195494 w 1705082"/>
                  <a:gd name="connsiteY188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81107 w 1705082"/>
                  <a:gd name="connsiteY177" fmla="*/ 439489 h 2673102"/>
                  <a:gd name="connsiteX178" fmla="*/ 385869 w 1705082"/>
                  <a:gd name="connsiteY178" fmla="*/ 425202 h 2673102"/>
                  <a:gd name="connsiteX179" fmla="*/ 404919 w 1705082"/>
                  <a:gd name="connsiteY179" fmla="*/ 406152 h 2673102"/>
                  <a:gd name="connsiteX180" fmla="*/ 504932 w 1705082"/>
                  <a:gd name="connsiteY180" fmla="*/ 344239 h 2673102"/>
                  <a:gd name="connsiteX181" fmla="*/ 585894 w 1705082"/>
                  <a:gd name="connsiteY181" fmla="*/ 277564 h 2673102"/>
                  <a:gd name="connsiteX182" fmla="*/ 600182 w 1705082"/>
                  <a:gd name="connsiteY182" fmla="*/ 263277 h 2673102"/>
                  <a:gd name="connsiteX183" fmla="*/ 633519 w 1705082"/>
                  <a:gd name="connsiteY183" fmla="*/ 229939 h 2673102"/>
                  <a:gd name="connsiteX184" fmla="*/ 733532 w 1705082"/>
                  <a:gd name="connsiteY184" fmla="*/ 182314 h 2673102"/>
                  <a:gd name="connsiteX185" fmla="*/ 981182 w 1705082"/>
                  <a:gd name="connsiteY185" fmla="*/ 63251 h 2673102"/>
                  <a:gd name="connsiteX186" fmla="*/ 1152632 w 1705082"/>
                  <a:gd name="connsiteY186" fmla="*/ 6102 h 2673102"/>
                  <a:gd name="connsiteX187" fmla="*/ 1195494 w 1705082"/>
                  <a:gd name="connsiteY187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81107 w 1705082"/>
                  <a:gd name="connsiteY176" fmla="*/ 439489 h 2673102"/>
                  <a:gd name="connsiteX177" fmla="*/ 385869 w 1705082"/>
                  <a:gd name="connsiteY177" fmla="*/ 425202 h 2673102"/>
                  <a:gd name="connsiteX178" fmla="*/ 404919 w 1705082"/>
                  <a:gd name="connsiteY178" fmla="*/ 406152 h 2673102"/>
                  <a:gd name="connsiteX179" fmla="*/ 504932 w 1705082"/>
                  <a:gd name="connsiteY179" fmla="*/ 344239 h 2673102"/>
                  <a:gd name="connsiteX180" fmla="*/ 585894 w 1705082"/>
                  <a:gd name="connsiteY180" fmla="*/ 277564 h 2673102"/>
                  <a:gd name="connsiteX181" fmla="*/ 600182 w 1705082"/>
                  <a:gd name="connsiteY181" fmla="*/ 263277 h 2673102"/>
                  <a:gd name="connsiteX182" fmla="*/ 633519 w 1705082"/>
                  <a:gd name="connsiteY182" fmla="*/ 229939 h 2673102"/>
                  <a:gd name="connsiteX183" fmla="*/ 733532 w 1705082"/>
                  <a:gd name="connsiteY183" fmla="*/ 182314 h 2673102"/>
                  <a:gd name="connsiteX184" fmla="*/ 981182 w 1705082"/>
                  <a:gd name="connsiteY184" fmla="*/ 63251 h 2673102"/>
                  <a:gd name="connsiteX185" fmla="*/ 1152632 w 1705082"/>
                  <a:gd name="connsiteY185" fmla="*/ 6102 h 2673102"/>
                  <a:gd name="connsiteX186" fmla="*/ 1195494 w 1705082"/>
                  <a:gd name="connsiteY18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81107 w 1705082"/>
                  <a:gd name="connsiteY176" fmla="*/ 439489 h 2673102"/>
                  <a:gd name="connsiteX177" fmla="*/ 404919 w 1705082"/>
                  <a:gd name="connsiteY177" fmla="*/ 406152 h 2673102"/>
                  <a:gd name="connsiteX178" fmla="*/ 504932 w 1705082"/>
                  <a:gd name="connsiteY178" fmla="*/ 344239 h 2673102"/>
                  <a:gd name="connsiteX179" fmla="*/ 585894 w 1705082"/>
                  <a:gd name="connsiteY179" fmla="*/ 277564 h 2673102"/>
                  <a:gd name="connsiteX180" fmla="*/ 600182 w 1705082"/>
                  <a:gd name="connsiteY180" fmla="*/ 263277 h 2673102"/>
                  <a:gd name="connsiteX181" fmla="*/ 633519 w 1705082"/>
                  <a:gd name="connsiteY181" fmla="*/ 229939 h 2673102"/>
                  <a:gd name="connsiteX182" fmla="*/ 733532 w 1705082"/>
                  <a:gd name="connsiteY182" fmla="*/ 182314 h 2673102"/>
                  <a:gd name="connsiteX183" fmla="*/ 981182 w 1705082"/>
                  <a:gd name="connsiteY183" fmla="*/ 63251 h 2673102"/>
                  <a:gd name="connsiteX184" fmla="*/ 1152632 w 1705082"/>
                  <a:gd name="connsiteY184" fmla="*/ 6102 h 2673102"/>
                  <a:gd name="connsiteX185" fmla="*/ 1195494 w 1705082"/>
                  <a:gd name="connsiteY18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52507 w 1705082"/>
                  <a:gd name="connsiteY169" fmla="*/ 687139 h 2673102"/>
                  <a:gd name="connsiteX170" fmla="*/ 162032 w 1705082"/>
                  <a:gd name="connsiteY170" fmla="*/ 672852 h 2673102"/>
                  <a:gd name="connsiteX171" fmla="*/ 195369 w 1705082"/>
                  <a:gd name="connsiteY171" fmla="*/ 629989 h 2673102"/>
                  <a:gd name="connsiteX172" fmla="*/ 214419 w 1705082"/>
                  <a:gd name="connsiteY172" fmla="*/ 601414 h 2673102"/>
                  <a:gd name="connsiteX173" fmla="*/ 266807 w 1705082"/>
                  <a:gd name="connsiteY173" fmla="*/ 544264 h 2673102"/>
                  <a:gd name="connsiteX174" fmla="*/ 281094 w 1705082"/>
                  <a:gd name="connsiteY174" fmla="*/ 529977 h 2673102"/>
                  <a:gd name="connsiteX175" fmla="*/ 381107 w 1705082"/>
                  <a:gd name="connsiteY175" fmla="*/ 439489 h 2673102"/>
                  <a:gd name="connsiteX176" fmla="*/ 404919 w 1705082"/>
                  <a:gd name="connsiteY176" fmla="*/ 406152 h 2673102"/>
                  <a:gd name="connsiteX177" fmla="*/ 504932 w 1705082"/>
                  <a:gd name="connsiteY177" fmla="*/ 344239 h 2673102"/>
                  <a:gd name="connsiteX178" fmla="*/ 585894 w 1705082"/>
                  <a:gd name="connsiteY178" fmla="*/ 277564 h 2673102"/>
                  <a:gd name="connsiteX179" fmla="*/ 600182 w 1705082"/>
                  <a:gd name="connsiteY179" fmla="*/ 263277 h 2673102"/>
                  <a:gd name="connsiteX180" fmla="*/ 633519 w 1705082"/>
                  <a:gd name="connsiteY180" fmla="*/ 229939 h 2673102"/>
                  <a:gd name="connsiteX181" fmla="*/ 733532 w 1705082"/>
                  <a:gd name="connsiteY181" fmla="*/ 182314 h 2673102"/>
                  <a:gd name="connsiteX182" fmla="*/ 981182 w 1705082"/>
                  <a:gd name="connsiteY182" fmla="*/ 63251 h 2673102"/>
                  <a:gd name="connsiteX183" fmla="*/ 1152632 w 1705082"/>
                  <a:gd name="connsiteY183" fmla="*/ 6102 h 2673102"/>
                  <a:gd name="connsiteX184" fmla="*/ 1195494 w 1705082"/>
                  <a:gd name="connsiteY184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38219 w 1705082"/>
                  <a:gd name="connsiteY167" fmla="*/ 720477 h 2673102"/>
                  <a:gd name="connsiteX168" fmla="*/ 152507 w 1705082"/>
                  <a:gd name="connsiteY168" fmla="*/ 687139 h 2673102"/>
                  <a:gd name="connsiteX169" fmla="*/ 162032 w 1705082"/>
                  <a:gd name="connsiteY169" fmla="*/ 672852 h 2673102"/>
                  <a:gd name="connsiteX170" fmla="*/ 195369 w 1705082"/>
                  <a:gd name="connsiteY170" fmla="*/ 629989 h 2673102"/>
                  <a:gd name="connsiteX171" fmla="*/ 214419 w 1705082"/>
                  <a:gd name="connsiteY171" fmla="*/ 601414 h 2673102"/>
                  <a:gd name="connsiteX172" fmla="*/ 266807 w 1705082"/>
                  <a:gd name="connsiteY172" fmla="*/ 544264 h 2673102"/>
                  <a:gd name="connsiteX173" fmla="*/ 281094 w 1705082"/>
                  <a:gd name="connsiteY173" fmla="*/ 529977 h 2673102"/>
                  <a:gd name="connsiteX174" fmla="*/ 381107 w 1705082"/>
                  <a:gd name="connsiteY174" fmla="*/ 439489 h 2673102"/>
                  <a:gd name="connsiteX175" fmla="*/ 404919 w 1705082"/>
                  <a:gd name="connsiteY175" fmla="*/ 406152 h 2673102"/>
                  <a:gd name="connsiteX176" fmla="*/ 504932 w 1705082"/>
                  <a:gd name="connsiteY176" fmla="*/ 344239 h 2673102"/>
                  <a:gd name="connsiteX177" fmla="*/ 585894 w 1705082"/>
                  <a:gd name="connsiteY177" fmla="*/ 277564 h 2673102"/>
                  <a:gd name="connsiteX178" fmla="*/ 600182 w 1705082"/>
                  <a:gd name="connsiteY178" fmla="*/ 263277 h 2673102"/>
                  <a:gd name="connsiteX179" fmla="*/ 633519 w 1705082"/>
                  <a:gd name="connsiteY179" fmla="*/ 229939 h 2673102"/>
                  <a:gd name="connsiteX180" fmla="*/ 733532 w 1705082"/>
                  <a:gd name="connsiteY180" fmla="*/ 182314 h 2673102"/>
                  <a:gd name="connsiteX181" fmla="*/ 981182 w 1705082"/>
                  <a:gd name="connsiteY181" fmla="*/ 63251 h 2673102"/>
                  <a:gd name="connsiteX182" fmla="*/ 1152632 w 1705082"/>
                  <a:gd name="connsiteY182" fmla="*/ 6102 h 2673102"/>
                  <a:gd name="connsiteX183" fmla="*/ 1195494 w 1705082"/>
                  <a:gd name="connsiteY18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38219 w 1705082"/>
                  <a:gd name="connsiteY166" fmla="*/ 720477 h 2673102"/>
                  <a:gd name="connsiteX167" fmla="*/ 152507 w 1705082"/>
                  <a:gd name="connsiteY167" fmla="*/ 687139 h 2673102"/>
                  <a:gd name="connsiteX168" fmla="*/ 162032 w 1705082"/>
                  <a:gd name="connsiteY168" fmla="*/ 672852 h 2673102"/>
                  <a:gd name="connsiteX169" fmla="*/ 195369 w 1705082"/>
                  <a:gd name="connsiteY169" fmla="*/ 629989 h 2673102"/>
                  <a:gd name="connsiteX170" fmla="*/ 214419 w 1705082"/>
                  <a:gd name="connsiteY170" fmla="*/ 601414 h 2673102"/>
                  <a:gd name="connsiteX171" fmla="*/ 266807 w 1705082"/>
                  <a:gd name="connsiteY171" fmla="*/ 544264 h 2673102"/>
                  <a:gd name="connsiteX172" fmla="*/ 281094 w 1705082"/>
                  <a:gd name="connsiteY172" fmla="*/ 529977 h 2673102"/>
                  <a:gd name="connsiteX173" fmla="*/ 381107 w 1705082"/>
                  <a:gd name="connsiteY173" fmla="*/ 439489 h 2673102"/>
                  <a:gd name="connsiteX174" fmla="*/ 404919 w 1705082"/>
                  <a:gd name="connsiteY174" fmla="*/ 406152 h 2673102"/>
                  <a:gd name="connsiteX175" fmla="*/ 504932 w 1705082"/>
                  <a:gd name="connsiteY175" fmla="*/ 344239 h 2673102"/>
                  <a:gd name="connsiteX176" fmla="*/ 585894 w 1705082"/>
                  <a:gd name="connsiteY176" fmla="*/ 277564 h 2673102"/>
                  <a:gd name="connsiteX177" fmla="*/ 600182 w 1705082"/>
                  <a:gd name="connsiteY177" fmla="*/ 263277 h 2673102"/>
                  <a:gd name="connsiteX178" fmla="*/ 633519 w 1705082"/>
                  <a:gd name="connsiteY178" fmla="*/ 229939 h 2673102"/>
                  <a:gd name="connsiteX179" fmla="*/ 733532 w 1705082"/>
                  <a:gd name="connsiteY179" fmla="*/ 182314 h 2673102"/>
                  <a:gd name="connsiteX180" fmla="*/ 981182 w 1705082"/>
                  <a:gd name="connsiteY180" fmla="*/ 63251 h 2673102"/>
                  <a:gd name="connsiteX181" fmla="*/ 1152632 w 1705082"/>
                  <a:gd name="connsiteY181" fmla="*/ 6102 h 2673102"/>
                  <a:gd name="connsiteX182" fmla="*/ 1195494 w 1705082"/>
                  <a:gd name="connsiteY18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82389 h 2673102"/>
                  <a:gd name="connsiteX167" fmla="*/ 138219 w 1705082"/>
                  <a:gd name="connsiteY167" fmla="*/ 720477 h 2673102"/>
                  <a:gd name="connsiteX168" fmla="*/ 152507 w 1705082"/>
                  <a:gd name="connsiteY168" fmla="*/ 687139 h 2673102"/>
                  <a:gd name="connsiteX169" fmla="*/ 162032 w 1705082"/>
                  <a:gd name="connsiteY169" fmla="*/ 672852 h 2673102"/>
                  <a:gd name="connsiteX170" fmla="*/ 195369 w 1705082"/>
                  <a:gd name="connsiteY170" fmla="*/ 629989 h 2673102"/>
                  <a:gd name="connsiteX171" fmla="*/ 214419 w 1705082"/>
                  <a:gd name="connsiteY171" fmla="*/ 601414 h 2673102"/>
                  <a:gd name="connsiteX172" fmla="*/ 266807 w 1705082"/>
                  <a:gd name="connsiteY172" fmla="*/ 544264 h 2673102"/>
                  <a:gd name="connsiteX173" fmla="*/ 281094 w 1705082"/>
                  <a:gd name="connsiteY173" fmla="*/ 529977 h 2673102"/>
                  <a:gd name="connsiteX174" fmla="*/ 381107 w 1705082"/>
                  <a:gd name="connsiteY174" fmla="*/ 439489 h 2673102"/>
                  <a:gd name="connsiteX175" fmla="*/ 404919 w 1705082"/>
                  <a:gd name="connsiteY175" fmla="*/ 406152 h 2673102"/>
                  <a:gd name="connsiteX176" fmla="*/ 504932 w 1705082"/>
                  <a:gd name="connsiteY176" fmla="*/ 344239 h 2673102"/>
                  <a:gd name="connsiteX177" fmla="*/ 585894 w 1705082"/>
                  <a:gd name="connsiteY177" fmla="*/ 277564 h 2673102"/>
                  <a:gd name="connsiteX178" fmla="*/ 600182 w 1705082"/>
                  <a:gd name="connsiteY178" fmla="*/ 263277 h 2673102"/>
                  <a:gd name="connsiteX179" fmla="*/ 633519 w 1705082"/>
                  <a:gd name="connsiteY179" fmla="*/ 229939 h 2673102"/>
                  <a:gd name="connsiteX180" fmla="*/ 733532 w 1705082"/>
                  <a:gd name="connsiteY180" fmla="*/ 182314 h 2673102"/>
                  <a:gd name="connsiteX181" fmla="*/ 981182 w 1705082"/>
                  <a:gd name="connsiteY181" fmla="*/ 63251 h 2673102"/>
                  <a:gd name="connsiteX182" fmla="*/ 1152632 w 1705082"/>
                  <a:gd name="connsiteY182" fmla="*/ 6102 h 2673102"/>
                  <a:gd name="connsiteX183" fmla="*/ 1195494 w 1705082"/>
                  <a:gd name="connsiteY18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100119 w 1705082"/>
                  <a:gd name="connsiteY165" fmla="*/ 782389 h 2673102"/>
                  <a:gd name="connsiteX166" fmla="*/ 138219 w 1705082"/>
                  <a:gd name="connsiteY166" fmla="*/ 720477 h 2673102"/>
                  <a:gd name="connsiteX167" fmla="*/ 152507 w 1705082"/>
                  <a:gd name="connsiteY167" fmla="*/ 687139 h 2673102"/>
                  <a:gd name="connsiteX168" fmla="*/ 162032 w 1705082"/>
                  <a:gd name="connsiteY168" fmla="*/ 672852 h 2673102"/>
                  <a:gd name="connsiteX169" fmla="*/ 195369 w 1705082"/>
                  <a:gd name="connsiteY169" fmla="*/ 629989 h 2673102"/>
                  <a:gd name="connsiteX170" fmla="*/ 214419 w 1705082"/>
                  <a:gd name="connsiteY170" fmla="*/ 601414 h 2673102"/>
                  <a:gd name="connsiteX171" fmla="*/ 266807 w 1705082"/>
                  <a:gd name="connsiteY171" fmla="*/ 544264 h 2673102"/>
                  <a:gd name="connsiteX172" fmla="*/ 281094 w 1705082"/>
                  <a:gd name="connsiteY172" fmla="*/ 529977 h 2673102"/>
                  <a:gd name="connsiteX173" fmla="*/ 381107 w 1705082"/>
                  <a:gd name="connsiteY173" fmla="*/ 439489 h 2673102"/>
                  <a:gd name="connsiteX174" fmla="*/ 404919 w 1705082"/>
                  <a:gd name="connsiteY174" fmla="*/ 406152 h 2673102"/>
                  <a:gd name="connsiteX175" fmla="*/ 504932 w 1705082"/>
                  <a:gd name="connsiteY175" fmla="*/ 344239 h 2673102"/>
                  <a:gd name="connsiteX176" fmla="*/ 585894 w 1705082"/>
                  <a:gd name="connsiteY176" fmla="*/ 277564 h 2673102"/>
                  <a:gd name="connsiteX177" fmla="*/ 600182 w 1705082"/>
                  <a:gd name="connsiteY177" fmla="*/ 263277 h 2673102"/>
                  <a:gd name="connsiteX178" fmla="*/ 633519 w 1705082"/>
                  <a:gd name="connsiteY178" fmla="*/ 229939 h 2673102"/>
                  <a:gd name="connsiteX179" fmla="*/ 733532 w 1705082"/>
                  <a:gd name="connsiteY179" fmla="*/ 182314 h 2673102"/>
                  <a:gd name="connsiteX180" fmla="*/ 981182 w 1705082"/>
                  <a:gd name="connsiteY180" fmla="*/ 63251 h 2673102"/>
                  <a:gd name="connsiteX181" fmla="*/ 1152632 w 1705082"/>
                  <a:gd name="connsiteY181" fmla="*/ 6102 h 2673102"/>
                  <a:gd name="connsiteX182" fmla="*/ 1195494 w 1705082"/>
                  <a:gd name="connsiteY18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138219 w 1705082"/>
                  <a:gd name="connsiteY165" fmla="*/ 720477 h 2673102"/>
                  <a:gd name="connsiteX166" fmla="*/ 152507 w 1705082"/>
                  <a:gd name="connsiteY166" fmla="*/ 687139 h 2673102"/>
                  <a:gd name="connsiteX167" fmla="*/ 162032 w 1705082"/>
                  <a:gd name="connsiteY167" fmla="*/ 672852 h 2673102"/>
                  <a:gd name="connsiteX168" fmla="*/ 195369 w 1705082"/>
                  <a:gd name="connsiteY168" fmla="*/ 629989 h 2673102"/>
                  <a:gd name="connsiteX169" fmla="*/ 214419 w 1705082"/>
                  <a:gd name="connsiteY169" fmla="*/ 601414 h 2673102"/>
                  <a:gd name="connsiteX170" fmla="*/ 266807 w 1705082"/>
                  <a:gd name="connsiteY170" fmla="*/ 544264 h 2673102"/>
                  <a:gd name="connsiteX171" fmla="*/ 281094 w 1705082"/>
                  <a:gd name="connsiteY171" fmla="*/ 529977 h 2673102"/>
                  <a:gd name="connsiteX172" fmla="*/ 381107 w 1705082"/>
                  <a:gd name="connsiteY172" fmla="*/ 439489 h 2673102"/>
                  <a:gd name="connsiteX173" fmla="*/ 404919 w 1705082"/>
                  <a:gd name="connsiteY173" fmla="*/ 406152 h 2673102"/>
                  <a:gd name="connsiteX174" fmla="*/ 504932 w 1705082"/>
                  <a:gd name="connsiteY174" fmla="*/ 344239 h 2673102"/>
                  <a:gd name="connsiteX175" fmla="*/ 585894 w 1705082"/>
                  <a:gd name="connsiteY175" fmla="*/ 277564 h 2673102"/>
                  <a:gd name="connsiteX176" fmla="*/ 600182 w 1705082"/>
                  <a:gd name="connsiteY176" fmla="*/ 263277 h 2673102"/>
                  <a:gd name="connsiteX177" fmla="*/ 633519 w 1705082"/>
                  <a:gd name="connsiteY177" fmla="*/ 229939 h 2673102"/>
                  <a:gd name="connsiteX178" fmla="*/ 733532 w 1705082"/>
                  <a:gd name="connsiteY178" fmla="*/ 182314 h 2673102"/>
                  <a:gd name="connsiteX179" fmla="*/ 981182 w 1705082"/>
                  <a:gd name="connsiteY179" fmla="*/ 63251 h 2673102"/>
                  <a:gd name="connsiteX180" fmla="*/ 1152632 w 1705082"/>
                  <a:gd name="connsiteY180" fmla="*/ 6102 h 2673102"/>
                  <a:gd name="connsiteX181" fmla="*/ 1195494 w 1705082"/>
                  <a:gd name="connsiteY181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138219 w 1705082"/>
                  <a:gd name="connsiteY164" fmla="*/ 720477 h 2673102"/>
                  <a:gd name="connsiteX165" fmla="*/ 152507 w 1705082"/>
                  <a:gd name="connsiteY165" fmla="*/ 687139 h 2673102"/>
                  <a:gd name="connsiteX166" fmla="*/ 162032 w 1705082"/>
                  <a:gd name="connsiteY166" fmla="*/ 672852 h 2673102"/>
                  <a:gd name="connsiteX167" fmla="*/ 195369 w 1705082"/>
                  <a:gd name="connsiteY167" fmla="*/ 629989 h 2673102"/>
                  <a:gd name="connsiteX168" fmla="*/ 214419 w 1705082"/>
                  <a:gd name="connsiteY168" fmla="*/ 601414 h 2673102"/>
                  <a:gd name="connsiteX169" fmla="*/ 266807 w 1705082"/>
                  <a:gd name="connsiteY169" fmla="*/ 544264 h 2673102"/>
                  <a:gd name="connsiteX170" fmla="*/ 281094 w 1705082"/>
                  <a:gd name="connsiteY170" fmla="*/ 529977 h 2673102"/>
                  <a:gd name="connsiteX171" fmla="*/ 381107 w 1705082"/>
                  <a:gd name="connsiteY171" fmla="*/ 439489 h 2673102"/>
                  <a:gd name="connsiteX172" fmla="*/ 404919 w 1705082"/>
                  <a:gd name="connsiteY172" fmla="*/ 406152 h 2673102"/>
                  <a:gd name="connsiteX173" fmla="*/ 504932 w 1705082"/>
                  <a:gd name="connsiteY173" fmla="*/ 344239 h 2673102"/>
                  <a:gd name="connsiteX174" fmla="*/ 585894 w 1705082"/>
                  <a:gd name="connsiteY174" fmla="*/ 277564 h 2673102"/>
                  <a:gd name="connsiteX175" fmla="*/ 600182 w 1705082"/>
                  <a:gd name="connsiteY175" fmla="*/ 263277 h 2673102"/>
                  <a:gd name="connsiteX176" fmla="*/ 633519 w 1705082"/>
                  <a:gd name="connsiteY176" fmla="*/ 229939 h 2673102"/>
                  <a:gd name="connsiteX177" fmla="*/ 733532 w 1705082"/>
                  <a:gd name="connsiteY177" fmla="*/ 182314 h 2673102"/>
                  <a:gd name="connsiteX178" fmla="*/ 981182 w 1705082"/>
                  <a:gd name="connsiteY178" fmla="*/ 63251 h 2673102"/>
                  <a:gd name="connsiteX179" fmla="*/ 1152632 w 1705082"/>
                  <a:gd name="connsiteY179" fmla="*/ 6102 h 2673102"/>
                  <a:gd name="connsiteX180" fmla="*/ 1195494 w 1705082"/>
                  <a:gd name="connsiteY180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381107 w 1705082"/>
                  <a:gd name="connsiteY170" fmla="*/ 439489 h 2673102"/>
                  <a:gd name="connsiteX171" fmla="*/ 404919 w 1705082"/>
                  <a:gd name="connsiteY171" fmla="*/ 406152 h 2673102"/>
                  <a:gd name="connsiteX172" fmla="*/ 504932 w 1705082"/>
                  <a:gd name="connsiteY172" fmla="*/ 344239 h 2673102"/>
                  <a:gd name="connsiteX173" fmla="*/ 585894 w 1705082"/>
                  <a:gd name="connsiteY173" fmla="*/ 277564 h 2673102"/>
                  <a:gd name="connsiteX174" fmla="*/ 600182 w 1705082"/>
                  <a:gd name="connsiteY174" fmla="*/ 263277 h 2673102"/>
                  <a:gd name="connsiteX175" fmla="*/ 633519 w 1705082"/>
                  <a:gd name="connsiteY175" fmla="*/ 229939 h 2673102"/>
                  <a:gd name="connsiteX176" fmla="*/ 733532 w 1705082"/>
                  <a:gd name="connsiteY176" fmla="*/ 182314 h 2673102"/>
                  <a:gd name="connsiteX177" fmla="*/ 981182 w 1705082"/>
                  <a:gd name="connsiteY177" fmla="*/ 63251 h 2673102"/>
                  <a:gd name="connsiteX178" fmla="*/ 1152632 w 1705082"/>
                  <a:gd name="connsiteY178" fmla="*/ 6102 h 2673102"/>
                  <a:gd name="connsiteX179" fmla="*/ 1195494 w 1705082"/>
                  <a:gd name="connsiteY17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381107 w 1705082"/>
                  <a:gd name="connsiteY170" fmla="*/ 439489 h 2673102"/>
                  <a:gd name="connsiteX171" fmla="*/ 404919 w 1705082"/>
                  <a:gd name="connsiteY171" fmla="*/ 406152 h 2673102"/>
                  <a:gd name="connsiteX172" fmla="*/ 504932 w 1705082"/>
                  <a:gd name="connsiteY172" fmla="*/ 344239 h 2673102"/>
                  <a:gd name="connsiteX173" fmla="*/ 585894 w 1705082"/>
                  <a:gd name="connsiteY173" fmla="*/ 277564 h 2673102"/>
                  <a:gd name="connsiteX174" fmla="*/ 600182 w 1705082"/>
                  <a:gd name="connsiteY174" fmla="*/ 263277 h 2673102"/>
                  <a:gd name="connsiteX175" fmla="*/ 633519 w 1705082"/>
                  <a:gd name="connsiteY175" fmla="*/ 229939 h 2673102"/>
                  <a:gd name="connsiteX176" fmla="*/ 733532 w 1705082"/>
                  <a:gd name="connsiteY176" fmla="*/ 182314 h 2673102"/>
                  <a:gd name="connsiteX177" fmla="*/ 981182 w 1705082"/>
                  <a:gd name="connsiteY177" fmla="*/ 63251 h 2673102"/>
                  <a:gd name="connsiteX178" fmla="*/ 1152632 w 1705082"/>
                  <a:gd name="connsiteY178" fmla="*/ 6102 h 2673102"/>
                  <a:gd name="connsiteX179" fmla="*/ 1195494 w 1705082"/>
                  <a:gd name="connsiteY17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381107 w 1705082"/>
                  <a:gd name="connsiteY170" fmla="*/ 439489 h 2673102"/>
                  <a:gd name="connsiteX171" fmla="*/ 404919 w 1705082"/>
                  <a:gd name="connsiteY171" fmla="*/ 406152 h 2673102"/>
                  <a:gd name="connsiteX172" fmla="*/ 504932 w 1705082"/>
                  <a:gd name="connsiteY172" fmla="*/ 344239 h 2673102"/>
                  <a:gd name="connsiteX173" fmla="*/ 585894 w 1705082"/>
                  <a:gd name="connsiteY173" fmla="*/ 277564 h 2673102"/>
                  <a:gd name="connsiteX174" fmla="*/ 600182 w 1705082"/>
                  <a:gd name="connsiteY174" fmla="*/ 263277 h 2673102"/>
                  <a:gd name="connsiteX175" fmla="*/ 633519 w 1705082"/>
                  <a:gd name="connsiteY175" fmla="*/ 229939 h 2673102"/>
                  <a:gd name="connsiteX176" fmla="*/ 733532 w 1705082"/>
                  <a:gd name="connsiteY176" fmla="*/ 182314 h 2673102"/>
                  <a:gd name="connsiteX177" fmla="*/ 981182 w 1705082"/>
                  <a:gd name="connsiteY177" fmla="*/ 63251 h 2673102"/>
                  <a:gd name="connsiteX178" fmla="*/ 1152632 w 1705082"/>
                  <a:gd name="connsiteY178" fmla="*/ 6102 h 2673102"/>
                  <a:gd name="connsiteX179" fmla="*/ 1195494 w 1705082"/>
                  <a:gd name="connsiteY17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04932 w 1705082"/>
                  <a:gd name="connsiteY171" fmla="*/ 344239 h 2673102"/>
                  <a:gd name="connsiteX172" fmla="*/ 585894 w 1705082"/>
                  <a:gd name="connsiteY172" fmla="*/ 277564 h 2673102"/>
                  <a:gd name="connsiteX173" fmla="*/ 600182 w 1705082"/>
                  <a:gd name="connsiteY173" fmla="*/ 263277 h 2673102"/>
                  <a:gd name="connsiteX174" fmla="*/ 633519 w 1705082"/>
                  <a:gd name="connsiteY174" fmla="*/ 229939 h 2673102"/>
                  <a:gd name="connsiteX175" fmla="*/ 733532 w 1705082"/>
                  <a:gd name="connsiteY175" fmla="*/ 182314 h 2673102"/>
                  <a:gd name="connsiteX176" fmla="*/ 981182 w 1705082"/>
                  <a:gd name="connsiteY176" fmla="*/ 63251 h 2673102"/>
                  <a:gd name="connsiteX177" fmla="*/ 1152632 w 1705082"/>
                  <a:gd name="connsiteY177" fmla="*/ 6102 h 2673102"/>
                  <a:gd name="connsiteX178" fmla="*/ 1195494 w 1705082"/>
                  <a:gd name="connsiteY178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85894 w 1705082"/>
                  <a:gd name="connsiteY171" fmla="*/ 277564 h 2673102"/>
                  <a:gd name="connsiteX172" fmla="*/ 600182 w 1705082"/>
                  <a:gd name="connsiteY172" fmla="*/ 263277 h 2673102"/>
                  <a:gd name="connsiteX173" fmla="*/ 633519 w 1705082"/>
                  <a:gd name="connsiteY173" fmla="*/ 229939 h 2673102"/>
                  <a:gd name="connsiteX174" fmla="*/ 733532 w 1705082"/>
                  <a:gd name="connsiteY174" fmla="*/ 182314 h 2673102"/>
                  <a:gd name="connsiteX175" fmla="*/ 981182 w 1705082"/>
                  <a:gd name="connsiteY175" fmla="*/ 63251 h 2673102"/>
                  <a:gd name="connsiteX176" fmla="*/ 1152632 w 1705082"/>
                  <a:gd name="connsiteY176" fmla="*/ 6102 h 2673102"/>
                  <a:gd name="connsiteX177" fmla="*/ 1195494 w 1705082"/>
                  <a:gd name="connsiteY177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85894 w 1705082"/>
                  <a:gd name="connsiteY171" fmla="*/ 277564 h 2673102"/>
                  <a:gd name="connsiteX172" fmla="*/ 633519 w 1705082"/>
                  <a:gd name="connsiteY172" fmla="*/ 229939 h 2673102"/>
                  <a:gd name="connsiteX173" fmla="*/ 733532 w 1705082"/>
                  <a:gd name="connsiteY173" fmla="*/ 18231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33532 w 1705082"/>
                  <a:gd name="connsiteY173" fmla="*/ 18231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26389 w 1705082"/>
                  <a:gd name="connsiteY173" fmla="*/ 168026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81094 w 1705082"/>
                  <a:gd name="connsiteY168" fmla="*/ 529977 h 2673102"/>
                  <a:gd name="connsiteX169" fmla="*/ 404919 w 1705082"/>
                  <a:gd name="connsiteY169" fmla="*/ 406152 h 2673102"/>
                  <a:gd name="connsiteX170" fmla="*/ 528744 w 1705082"/>
                  <a:gd name="connsiteY170" fmla="*/ 291851 h 2673102"/>
                  <a:gd name="connsiteX171" fmla="*/ 633519 w 1705082"/>
                  <a:gd name="connsiteY171" fmla="*/ 229939 h 2673102"/>
                  <a:gd name="connsiteX172" fmla="*/ 726389 w 1705082"/>
                  <a:gd name="connsiteY172" fmla="*/ 168026 h 2673102"/>
                  <a:gd name="connsiteX173" fmla="*/ 971657 w 1705082"/>
                  <a:gd name="connsiteY173" fmla="*/ 63251 h 2673102"/>
                  <a:gd name="connsiteX174" fmla="*/ 1152632 w 1705082"/>
                  <a:gd name="connsiteY174" fmla="*/ 6102 h 2673102"/>
                  <a:gd name="connsiteX175" fmla="*/ 1195494 w 1705082"/>
                  <a:gd name="connsiteY17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81094 w 1705082"/>
                  <a:gd name="connsiteY168" fmla="*/ 515689 h 2673102"/>
                  <a:gd name="connsiteX169" fmla="*/ 404919 w 1705082"/>
                  <a:gd name="connsiteY169" fmla="*/ 406152 h 2673102"/>
                  <a:gd name="connsiteX170" fmla="*/ 528744 w 1705082"/>
                  <a:gd name="connsiteY170" fmla="*/ 291851 h 2673102"/>
                  <a:gd name="connsiteX171" fmla="*/ 633519 w 1705082"/>
                  <a:gd name="connsiteY171" fmla="*/ 229939 h 2673102"/>
                  <a:gd name="connsiteX172" fmla="*/ 726389 w 1705082"/>
                  <a:gd name="connsiteY172" fmla="*/ 168026 h 2673102"/>
                  <a:gd name="connsiteX173" fmla="*/ 971657 w 1705082"/>
                  <a:gd name="connsiteY173" fmla="*/ 63251 h 2673102"/>
                  <a:gd name="connsiteX174" fmla="*/ 1152632 w 1705082"/>
                  <a:gd name="connsiteY174" fmla="*/ 6102 h 2673102"/>
                  <a:gd name="connsiteX175" fmla="*/ 1195494 w 1705082"/>
                  <a:gd name="connsiteY17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62032 w 1705082"/>
                  <a:gd name="connsiteY164" fmla="*/ 672852 h 2673102"/>
                  <a:gd name="connsiteX165" fmla="*/ 195369 w 1705082"/>
                  <a:gd name="connsiteY165" fmla="*/ 629989 h 2673102"/>
                  <a:gd name="connsiteX166" fmla="*/ 214419 w 1705082"/>
                  <a:gd name="connsiteY166" fmla="*/ 601414 h 2673102"/>
                  <a:gd name="connsiteX167" fmla="*/ 281094 w 1705082"/>
                  <a:gd name="connsiteY167" fmla="*/ 515689 h 2673102"/>
                  <a:gd name="connsiteX168" fmla="*/ 404919 w 1705082"/>
                  <a:gd name="connsiteY168" fmla="*/ 406152 h 2673102"/>
                  <a:gd name="connsiteX169" fmla="*/ 528744 w 1705082"/>
                  <a:gd name="connsiteY169" fmla="*/ 291851 h 2673102"/>
                  <a:gd name="connsiteX170" fmla="*/ 633519 w 1705082"/>
                  <a:gd name="connsiteY170" fmla="*/ 229939 h 2673102"/>
                  <a:gd name="connsiteX171" fmla="*/ 726389 w 1705082"/>
                  <a:gd name="connsiteY171" fmla="*/ 168026 h 2673102"/>
                  <a:gd name="connsiteX172" fmla="*/ 971657 w 1705082"/>
                  <a:gd name="connsiteY172" fmla="*/ 63251 h 2673102"/>
                  <a:gd name="connsiteX173" fmla="*/ 1152632 w 1705082"/>
                  <a:gd name="connsiteY173" fmla="*/ 6102 h 2673102"/>
                  <a:gd name="connsiteX174" fmla="*/ 1195494 w 1705082"/>
                  <a:gd name="connsiteY174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62032 w 1705082"/>
                  <a:gd name="connsiteY163" fmla="*/ 672852 h 2673102"/>
                  <a:gd name="connsiteX164" fmla="*/ 195369 w 1705082"/>
                  <a:gd name="connsiteY164" fmla="*/ 629989 h 2673102"/>
                  <a:gd name="connsiteX165" fmla="*/ 214419 w 1705082"/>
                  <a:gd name="connsiteY165" fmla="*/ 601414 h 2673102"/>
                  <a:gd name="connsiteX166" fmla="*/ 281094 w 1705082"/>
                  <a:gd name="connsiteY166" fmla="*/ 515689 h 2673102"/>
                  <a:gd name="connsiteX167" fmla="*/ 404919 w 1705082"/>
                  <a:gd name="connsiteY167" fmla="*/ 406152 h 2673102"/>
                  <a:gd name="connsiteX168" fmla="*/ 528744 w 1705082"/>
                  <a:gd name="connsiteY168" fmla="*/ 291851 h 2673102"/>
                  <a:gd name="connsiteX169" fmla="*/ 633519 w 1705082"/>
                  <a:gd name="connsiteY169" fmla="*/ 229939 h 2673102"/>
                  <a:gd name="connsiteX170" fmla="*/ 726389 w 1705082"/>
                  <a:gd name="connsiteY170" fmla="*/ 168026 h 2673102"/>
                  <a:gd name="connsiteX171" fmla="*/ 971657 w 1705082"/>
                  <a:gd name="connsiteY171" fmla="*/ 63251 h 2673102"/>
                  <a:gd name="connsiteX172" fmla="*/ 1152632 w 1705082"/>
                  <a:gd name="connsiteY172" fmla="*/ 6102 h 2673102"/>
                  <a:gd name="connsiteX173" fmla="*/ 1195494 w 1705082"/>
                  <a:gd name="connsiteY17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95369 w 1705082"/>
                  <a:gd name="connsiteY163" fmla="*/ 629989 h 2673102"/>
                  <a:gd name="connsiteX164" fmla="*/ 214419 w 1705082"/>
                  <a:gd name="connsiteY164" fmla="*/ 601414 h 2673102"/>
                  <a:gd name="connsiteX165" fmla="*/ 281094 w 1705082"/>
                  <a:gd name="connsiteY165" fmla="*/ 515689 h 2673102"/>
                  <a:gd name="connsiteX166" fmla="*/ 404919 w 1705082"/>
                  <a:gd name="connsiteY166" fmla="*/ 406152 h 2673102"/>
                  <a:gd name="connsiteX167" fmla="*/ 528744 w 1705082"/>
                  <a:gd name="connsiteY167" fmla="*/ 291851 h 2673102"/>
                  <a:gd name="connsiteX168" fmla="*/ 633519 w 1705082"/>
                  <a:gd name="connsiteY168" fmla="*/ 229939 h 2673102"/>
                  <a:gd name="connsiteX169" fmla="*/ 726389 w 1705082"/>
                  <a:gd name="connsiteY169" fmla="*/ 168026 h 2673102"/>
                  <a:gd name="connsiteX170" fmla="*/ 971657 w 1705082"/>
                  <a:gd name="connsiteY170" fmla="*/ 63251 h 2673102"/>
                  <a:gd name="connsiteX171" fmla="*/ 1152632 w 1705082"/>
                  <a:gd name="connsiteY171" fmla="*/ 6102 h 2673102"/>
                  <a:gd name="connsiteX172" fmla="*/ 1195494 w 1705082"/>
                  <a:gd name="connsiteY17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214419 w 1705082"/>
                  <a:gd name="connsiteY163" fmla="*/ 601414 h 2673102"/>
                  <a:gd name="connsiteX164" fmla="*/ 281094 w 1705082"/>
                  <a:gd name="connsiteY164" fmla="*/ 515689 h 2673102"/>
                  <a:gd name="connsiteX165" fmla="*/ 404919 w 1705082"/>
                  <a:gd name="connsiteY165" fmla="*/ 406152 h 2673102"/>
                  <a:gd name="connsiteX166" fmla="*/ 528744 w 1705082"/>
                  <a:gd name="connsiteY166" fmla="*/ 291851 h 2673102"/>
                  <a:gd name="connsiteX167" fmla="*/ 633519 w 1705082"/>
                  <a:gd name="connsiteY167" fmla="*/ 229939 h 2673102"/>
                  <a:gd name="connsiteX168" fmla="*/ 726389 w 1705082"/>
                  <a:gd name="connsiteY168" fmla="*/ 168026 h 2673102"/>
                  <a:gd name="connsiteX169" fmla="*/ 971657 w 1705082"/>
                  <a:gd name="connsiteY169" fmla="*/ 63251 h 2673102"/>
                  <a:gd name="connsiteX170" fmla="*/ 1152632 w 1705082"/>
                  <a:gd name="connsiteY170" fmla="*/ 6102 h 2673102"/>
                  <a:gd name="connsiteX171" fmla="*/ 1195494 w 1705082"/>
                  <a:gd name="connsiteY171" fmla="*/ 10864 h 2673102"/>
                  <a:gd name="connsiteX0" fmla="*/ 1195674 w 1705262"/>
                  <a:gd name="connsiteY0" fmla="*/ 10864 h 2673102"/>
                  <a:gd name="connsiteX1" fmla="*/ 1190912 w 1705262"/>
                  <a:gd name="connsiteY1" fmla="*/ 68014 h 2673102"/>
                  <a:gd name="connsiteX2" fmla="*/ 1167099 w 1705262"/>
                  <a:gd name="connsiteY2" fmla="*/ 110877 h 2673102"/>
                  <a:gd name="connsiteX3" fmla="*/ 1157574 w 1705262"/>
                  <a:gd name="connsiteY3" fmla="*/ 129927 h 2673102"/>
                  <a:gd name="connsiteX4" fmla="*/ 1157574 w 1705262"/>
                  <a:gd name="connsiteY4" fmla="*/ 206127 h 2673102"/>
                  <a:gd name="connsiteX5" fmla="*/ 1176624 w 1705262"/>
                  <a:gd name="connsiteY5" fmla="*/ 225177 h 2673102"/>
                  <a:gd name="connsiteX6" fmla="*/ 1195674 w 1705262"/>
                  <a:gd name="connsiteY6" fmla="*/ 258514 h 2673102"/>
                  <a:gd name="connsiteX7" fmla="*/ 1214724 w 1705262"/>
                  <a:gd name="connsiteY7" fmla="*/ 268039 h 2673102"/>
                  <a:gd name="connsiteX8" fmla="*/ 1224249 w 1705262"/>
                  <a:gd name="connsiteY8" fmla="*/ 282327 h 2673102"/>
                  <a:gd name="connsiteX9" fmla="*/ 1238537 w 1705262"/>
                  <a:gd name="connsiteY9" fmla="*/ 296614 h 2673102"/>
                  <a:gd name="connsiteX10" fmla="*/ 1248062 w 1705262"/>
                  <a:gd name="connsiteY10" fmla="*/ 315664 h 2673102"/>
                  <a:gd name="connsiteX11" fmla="*/ 1243299 w 1705262"/>
                  <a:gd name="connsiteY11" fmla="*/ 344239 h 2673102"/>
                  <a:gd name="connsiteX12" fmla="*/ 1238537 w 1705262"/>
                  <a:gd name="connsiteY12" fmla="*/ 363289 h 2673102"/>
                  <a:gd name="connsiteX13" fmla="*/ 1243299 w 1705262"/>
                  <a:gd name="connsiteY13" fmla="*/ 425202 h 2673102"/>
                  <a:gd name="connsiteX14" fmla="*/ 1262349 w 1705262"/>
                  <a:gd name="connsiteY14" fmla="*/ 463302 h 2673102"/>
                  <a:gd name="connsiteX15" fmla="*/ 1271874 w 1705262"/>
                  <a:gd name="connsiteY15" fmla="*/ 477589 h 2673102"/>
                  <a:gd name="connsiteX16" fmla="*/ 1286162 w 1705262"/>
                  <a:gd name="connsiteY16" fmla="*/ 487114 h 2673102"/>
                  <a:gd name="connsiteX17" fmla="*/ 1343312 w 1705262"/>
                  <a:gd name="connsiteY17" fmla="*/ 510927 h 2673102"/>
                  <a:gd name="connsiteX18" fmla="*/ 1371887 w 1705262"/>
                  <a:gd name="connsiteY18" fmla="*/ 520452 h 2673102"/>
                  <a:gd name="connsiteX19" fmla="*/ 1400462 w 1705262"/>
                  <a:gd name="connsiteY19" fmla="*/ 539502 h 2673102"/>
                  <a:gd name="connsiteX20" fmla="*/ 1462374 w 1705262"/>
                  <a:gd name="connsiteY20" fmla="*/ 568077 h 2673102"/>
                  <a:gd name="connsiteX21" fmla="*/ 1514762 w 1705262"/>
                  <a:gd name="connsiteY21" fmla="*/ 587127 h 2673102"/>
                  <a:gd name="connsiteX22" fmla="*/ 1533812 w 1705262"/>
                  <a:gd name="connsiteY22" fmla="*/ 596652 h 2673102"/>
                  <a:gd name="connsiteX23" fmla="*/ 1552862 w 1705262"/>
                  <a:gd name="connsiteY23" fmla="*/ 601414 h 2673102"/>
                  <a:gd name="connsiteX24" fmla="*/ 1600487 w 1705262"/>
                  <a:gd name="connsiteY24" fmla="*/ 639514 h 2673102"/>
                  <a:gd name="connsiteX25" fmla="*/ 1629062 w 1705262"/>
                  <a:gd name="connsiteY25" fmla="*/ 672852 h 2673102"/>
                  <a:gd name="connsiteX26" fmla="*/ 1643349 w 1705262"/>
                  <a:gd name="connsiteY26" fmla="*/ 687139 h 2673102"/>
                  <a:gd name="connsiteX27" fmla="*/ 1662399 w 1705262"/>
                  <a:gd name="connsiteY27" fmla="*/ 696664 h 2673102"/>
                  <a:gd name="connsiteX28" fmla="*/ 1676687 w 1705262"/>
                  <a:gd name="connsiteY28" fmla="*/ 706189 h 2673102"/>
                  <a:gd name="connsiteX29" fmla="*/ 1690974 w 1705262"/>
                  <a:gd name="connsiteY29" fmla="*/ 744289 h 2673102"/>
                  <a:gd name="connsiteX30" fmla="*/ 1700499 w 1705262"/>
                  <a:gd name="connsiteY30" fmla="*/ 768102 h 2673102"/>
                  <a:gd name="connsiteX31" fmla="*/ 1705262 w 1705262"/>
                  <a:gd name="connsiteY31" fmla="*/ 782389 h 2673102"/>
                  <a:gd name="connsiteX32" fmla="*/ 1695737 w 1705262"/>
                  <a:gd name="connsiteY32" fmla="*/ 853827 h 2673102"/>
                  <a:gd name="connsiteX33" fmla="*/ 1657637 w 1705262"/>
                  <a:gd name="connsiteY33" fmla="*/ 887164 h 2673102"/>
                  <a:gd name="connsiteX34" fmla="*/ 1643349 w 1705262"/>
                  <a:gd name="connsiteY34" fmla="*/ 901452 h 2673102"/>
                  <a:gd name="connsiteX35" fmla="*/ 1590962 w 1705262"/>
                  <a:gd name="connsiteY35" fmla="*/ 906214 h 2673102"/>
                  <a:gd name="connsiteX36" fmla="*/ 1548099 w 1705262"/>
                  <a:gd name="connsiteY36" fmla="*/ 925264 h 2673102"/>
                  <a:gd name="connsiteX37" fmla="*/ 1524287 w 1705262"/>
                  <a:gd name="connsiteY37" fmla="*/ 939552 h 2673102"/>
                  <a:gd name="connsiteX38" fmla="*/ 1490949 w 1705262"/>
                  <a:gd name="connsiteY38" fmla="*/ 987177 h 2673102"/>
                  <a:gd name="connsiteX39" fmla="*/ 1471899 w 1705262"/>
                  <a:gd name="connsiteY39" fmla="*/ 1006227 h 2673102"/>
                  <a:gd name="connsiteX40" fmla="*/ 1338549 w 1705262"/>
                  <a:gd name="connsiteY40" fmla="*/ 1030039 h 2673102"/>
                  <a:gd name="connsiteX41" fmla="*/ 1290924 w 1705262"/>
                  <a:gd name="connsiteY41" fmla="*/ 1053852 h 2673102"/>
                  <a:gd name="connsiteX42" fmla="*/ 1224249 w 1705262"/>
                  <a:gd name="connsiteY42" fmla="*/ 1082427 h 2673102"/>
                  <a:gd name="connsiteX43" fmla="*/ 1119474 w 1705262"/>
                  <a:gd name="connsiteY43" fmla="*/ 1096714 h 2673102"/>
                  <a:gd name="connsiteX44" fmla="*/ 1095662 w 1705262"/>
                  <a:gd name="connsiteY44" fmla="*/ 1101477 h 2673102"/>
                  <a:gd name="connsiteX45" fmla="*/ 1071849 w 1705262"/>
                  <a:gd name="connsiteY45" fmla="*/ 1111002 h 2673102"/>
                  <a:gd name="connsiteX46" fmla="*/ 957549 w 1705262"/>
                  <a:gd name="connsiteY46" fmla="*/ 1106239 h 2673102"/>
                  <a:gd name="connsiteX47" fmla="*/ 852774 w 1705262"/>
                  <a:gd name="connsiteY47" fmla="*/ 1058614 h 2673102"/>
                  <a:gd name="connsiteX48" fmla="*/ 805149 w 1705262"/>
                  <a:gd name="connsiteY48" fmla="*/ 1034802 h 2673102"/>
                  <a:gd name="connsiteX49" fmla="*/ 781337 w 1705262"/>
                  <a:gd name="connsiteY49" fmla="*/ 1020514 h 2673102"/>
                  <a:gd name="connsiteX50" fmla="*/ 762287 w 1705262"/>
                  <a:gd name="connsiteY50" fmla="*/ 1006227 h 2673102"/>
                  <a:gd name="connsiteX51" fmla="*/ 671799 w 1705262"/>
                  <a:gd name="connsiteY51" fmla="*/ 958602 h 2673102"/>
                  <a:gd name="connsiteX52" fmla="*/ 638462 w 1705262"/>
                  <a:gd name="connsiteY52" fmla="*/ 939552 h 2673102"/>
                  <a:gd name="connsiteX53" fmla="*/ 519399 w 1705262"/>
                  <a:gd name="connsiteY53" fmla="*/ 910977 h 2673102"/>
                  <a:gd name="connsiteX54" fmla="*/ 476537 w 1705262"/>
                  <a:gd name="connsiteY54" fmla="*/ 891927 h 2673102"/>
                  <a:gd name="connsiteX55" fmla="*/ 414624 w 1705262"/>
                  <a:gd name="connsiteY55" fmla="*/ 882402 h 2673102"/>
                  <a:gd name="connsiteX56" fmla="*/ 314612 w 1705262"/>
                  <a:gd name="connsiteY56" fmla="*/ 896689 h 2673102"/>
                  <a:gd name="connsiteX57" fmla="*/ 300324 w 1705262"/>
                  <a:gd name="connsiteY57" fmla="*/ 910977 h 2673102"/>
                  <a:gd name="connsiteX58" fmla="*/ 276512 w 1705262"/>
                  <a:gd name="connsiteY58" fmla="*/ 949077 h 2673102"/>
                  <a:gd name="connsiteX59" fmla="*/ 262224 w 1705262"/>
                  <a:gd name="connsiteY59" fmla="*/ 987177 h 2673102"/>
                  <a:gd name="connsiteX60" fmla="*/ 257462 w 1705262"/>
                  <a:gd name="connsiteY60" fmla="*/ 1039564 h 2673102"/>
                  <a:gd name="connsiteX61" fmla="*/ 257462 w 1705262"/>
                  <a:gd name="connsiteY61" fmla="*/ 1120527 h 2673102"/>
                  <a:gd name="connsiteX62" fmla="*/ 290799 w 1705262"/>
                  <a:gd name="connsiteY62" fmla="*/ 1153864 h 2673102"/>
                  <a:gd name="connsiteX63" fmla="*/ 319374 w 1705262"/>
                  <a:gd name="connsiteY63" fmla="*/ 1163389 h 2673102"/>
                  <a:gd name="connsiteX64" fmla="*/ 319374 w 1705262"/>
                  <a:gd name="connsiteY64" fmla="*/ 1244352 h 2673102"/>
                  <a:gd name="connsiteX65" fmla="*/ 305087 w 1705262"/>
                  <a:gd name="connsiteY65" fmla="*/ 1258639 h 2673102"/>
                  <a:gd name="connsiteX66" fmla="*/ 252699 w 1705262"/>
                  <a:gd name="connsiteY66" fmla="*/ 1296739 h 2673102"/>
                  <a:gd name="connsiteX67" fmla="*/ 233649 w 1705262"/>
                  <a:gd name="connsiteY67" fmla="*/ 1325314 h 2673102"/>
                  <a:gd name="connsiteX68" fmla="*/ 243174 w 1705262"/>
                  <a:gd name="connsiteY68" fmla="*/ 1425327 h 2673102"/>
                  <a:gd name="connsiteX69" fmla="*/ 271749 w 1705262"/>
                  <a:gd name="connsiteY69" fmla="*/ 1472952 h 2673102"/>
                  <a:gd name="connsiteX70" fmla="*/ 286037 w 1705262"/>
                  <a:gd name="connsiteY70" fmla="*/ 1492002 h 2673102"/>
                  <a:gd name="connsiteX71" fmla="*/ 376524 w 1705262"/>
                  <a:gd name="connsiteY71" fmla="*/ 1525339 h 2673102"/>
                  <a:gd name="connsiteX72" fmla="*/ 400337 w 1705262"/>
                  <a:gd name="connsiteY72" fmla="*/ 1492002 h 2673102"/>
                  <a:gd name="connsiteX73" fmla="*/ 405099 w 1705262"/>
                  <a:gd name="connsiteY73" fmla="*/ 1468189 h 2673102"/>
                  <a:gd name="connsiteX74" fmla="*/ 409862 w 1705262"/>
                  <a:gd name="connsiteY74" fmla="*/ 1449139 h 2673102"/>
                  <a:gd name="connsiteX75" fmla="*/ 438437 w 1705262"/>
                  <a:gd name="connsiteY75" fmla="*/ 1439614 h 2673102"/>
                  <a:gd name="connsiteX76" fmla="*/ 538449 w 1705262"/>
                  <a:gd name="connsiteY76" fmla="*/ 1458664 h 2673102"/>
                  <a:gd name="connsiteX77" fmla="*/ 547974 w 1705262"/>
                  <a:gd name="connsiteY77" fmla="*/ 1482477 h 2673102"/>
                  <a:gd name="connsiteX78" fmla="*/ 557499 w 1705262"/>
                  <a:gd name="connsiteY78" fmla="*/ 1515814 h 2673102"/>
                  <a:gd name="connsiteX79" fmla="*/ 543212 w 1705262"/>
                  <a:gd name="connsiteY79" fmla="*/ 1534864 h 2673102"/>
                  <a:gd name="connsiteX80" fmla="*/ 543212 w 1705262"/>
                  <a:gd name="connsiteY80" fmla="*/ 1601539 h 2673102"/>
                  <a:gd name="connsiteX81" fmla="*/ 552737 w 1705262"/>
                  <a:gd name="connsiteY81" fmla="*/ 1620589 h 2673102"/>
                  <a:gd name="connsiteX82" fmla="*/ 619412 w 1705262"/>
                  <a:gd name="connsiteY82" fmla="*/ 1639639 h 2673102"/>
                  <a:gd name="connsiteX83" fmla="*/ 638462 w 1705262"/>
                  <a:gd name="connsiteY83" fmla="*/ 1592014 h 2673102"/>
                  <a:gd name="connsiteX84" fmla="*/ 695612 w 1705262"/>
                  <a:gd name="connsiteY84" fmla="*/ 1620589 h 2673102"/>
                  <a:gd name="connsiteX85" fmla="*/ 724187 w 1705262"/>
                  <a:gd name="connsiteY85" fmla="*/ 1630114 h 2673102"/>
                  <a:gd name="connsiteX86" fmla="*/ 776574 w 1705262"/>
                  <a:gd name="connsiteY86" fmla="*/ 1663452 h 2673102"/>
                  <a:gd name="connsiteX87" fmla="*/ 852774 w 1705262"/>
                  <a:gd name="connsiteY87" fmla="*/ 1687264 h 2673102"/>
                  <a:gd name="connsiteX88" fmla="*/ 871824 w 1705262"/>
                  <a:gd name="connsiteY88" fmla="*/ 1701552 h 2673102"/>
                  <a:gd name="connsiteX89" fmla="*/ 881349 w 1705262"/>
                  <a:gd name="connsiteY89" fmla="*/ 1739652 h 2673102"/>
                  <a:gd name="connsiteX90" fmla="*/ 890874 w 1705262"/>
                  <a:gd name="connsiteY90" fmla="*/ 1782514 h 2673102"/>
                  <a:gd name="connsiteX91" fmla="*/ 933737 w 1705262"/>
                  <a:gd name="connsiteY91" fmla="*/ 1892052 h 2673102"/>
                  <a:gd name="connsiteX92" fmla="*/ 943262 w 1705262"/>
                  <a:gd name="connsiteY92" fmla="*/ 1906339 h 2673102"/>
                  <a:gd name="connsiteX93" fmla="*/ 952787 w 1705262"/>
                  <a:gd name="connsiteY93" fmla="*/ 1939677 h 2673102"/>
                  <a:gd name="connsiteX94" fmla="*/ 967074 w 1705262"/>
                  <a:gd name="connsiteY94" fmla="*/ 1977777 h 2673102"/>
                  <a:gd name="connsiteX95" fmla="*/ 957549 w 1705262"/>
                  <a:gd name="connsiteY95" fmla="*/ 2082552 h 2673102"/>
                  <a:gd name="connsiteX96" fmla="*/ 948024 w 1705262"/>
                  <a:gd name="connsiteY96" fmla="*/ 2101602 h 2673102"/>
                  <a:gd name="connsiteX97" fmla="*/ 919449 w 1705262"/>
                  <a:gd name="connsiteY97" fmla="*/ 2144464 h 2673102"/>
                  <a:gd name="connsiteX98" fmla="*/ 900399 w 1705262"/>
                  <a:gd name="connsiteY98" fmla="*/ 2192089 h 2673102"/>
                  <a:gd name="connsiteX99" fmla="*/ 895637 w 1705262"/>
                  <a:gd name="connsiteY99" fmla="*/ 2211139 h 2673102"/>
                  <a:gd name="connsiteX100" fmla="*/ 886112 w 1705262"/>
                  <a:gd name="connsiteY100" fmla="*/ 2239714 h 2673102"/>
                  <a:gd name="connsiteX101" fmla="*/ 890874 w 1705262"/>
                  <a:gd name="connsiteY101" fmla="*/ 2287339 h 2673102"/>
                  <a:gd name="connsiteX102" fmla="*/ 886112 w 1705262"/>
                  <a:gd name="connsiteY102" fmla="*/ 2396877 h 2673102"/>
                  <a:gd name="connsiteX103" fmla="*/ 681324 w 1705262"/>
                  <a:gd name="connsiteY103" fmla="*/ 2449264 h 2673102"/>
                  <a:gd name="connsiteX104" fmla="*/ 647987 w 1705262"/>
                  <a:gd name="connsiteY104" fmla="*/ 2473077 h 2673102"/>
                  <a:gd name="connsiteX105" fmla="*/ 600362 w 1705262"/>
                  <a:gd name="connsiteY105" fmla="*/ 2511177 h 2673102"/>
                  <a:gd name="connsiteX106" fmla="*/ 567024 w 1705262"/>
                  <a:gd name="connsiteY106" fmla="*/ 2534989 h 2673102"/>
                  <a:gd name="connsiteX107" fmla="*/ 533687 w 1705262"/>
                  <a:gd name="connsiteY107" fmla="*/ 2554039 h 2673102"/>
                  <a:gd name="connsiteX108" fmla="*/ 490824 w 1705262"/>
                  <a:gd name="connsiteY108" fmla="*/ 2587377 h 2673102"/>
                  <a:gd name="connsiteX109" fmla="*/ 476537 w 1705262"/>
                  <a:gd name="connsiteY109" fmla="*/ 2601664 h 2673102"/>
                  <a:gd name="connsiteX110" fmla="*/ 452724 w 1705262"/>
                  <a:gd name="connsiteY110" fmla="*/ 2620714 h 2673102"/>
                  <a:gd name="connsiteX111" fmla="*/ 443199 w 1705262"/>
                  <a:gd name="connsiteY111" fmla="*/ 2635002 h 2673102"/>
                  <a:gd name="connsiteX112" fmla="*/ 409862 w 1705262"/>
                  <a:gd name="connsiteY112" fmla="*/ 2654052 h 2673102"/>
                  <a:gd name="connsiteX113" fmla="*/ 366999 w 1705262"/>
                  <a:gd name="connsiteY113" fmla="*/ 2673102 h 2673102"/>
                  <a:gd name="connsiteX114" fmla="*/ 352712 w 1705262"/>
                  <a:gd name="connsiteY114" fmla="*/ 2663577 h 2673102"/>
                  <a:gd name="connsiteX115" fmla="*/ 338424 w 1705262"/>
                  <a:gd name="connsiteY115" fmla="*/ 2635002 h 2673102"/>
                  <a:gd name="connsiteX116" fmla="*/ 328899 w 1705262"/>
                  <a:gd name="connsiteY116" fmla="*/ 2620714 h 2673102"/>
                  <a:gd name="connsiteX117" fmla="*/ 290799 w 1705262"/>
                  <a:gd name="connsiteY117" fmla="*/ 2611189 h 2673102"/>
                  <a:gd name="connsiteX118" fmla="*/ 271749 w 1705262"/>
                  <a:gd name="connsiteY118" fmla="*/ 2592139 h 2673102"/>
                  <a:gd name="connsiteX119" fmla="*/ 266987 w 1705262"/>
                  <a:gd name="connsiteY119" fmla="*/ 2573089 h 2673102"/>
                  <a:gd name="connsiteX120" fmla="*/ 228887 w 1705262"/>
                  <a:gd name="connsiteY120" fmla="*/ 2539752 h 2673102"/>
                  <a:gd name="connsiteX121" fmla="*/ 224124 w 1705262"/>
                  <a:gd name="connsiteY121" fmla="*/ 2525464 h 2673102"/>
                  <a:gd name="connsiteX122" fmla="*/ 219362 w 1705262"/>
                  <a:gd name="connsiteY122" fmla="*/ 2506414 h 2673102"/>
                  <a:gd name="connsiteX123" fmla="*/ 205074 w 1705262"/>
                  <a:gd name="connsiteY123" fmla="*/ 2492127 h 2673102"/>
                  <a:gd name="connsiteX124" fmla="*/ 147924 w 1705262"/>
                  <a:gd name="connsiteY124" fmla="*/ 2439739 h 2673102"/>
                  <a:gd name="connsiteX125" fmla="*/ 143162 w 1705262"/>
                  <a:gd name="connsiteY125" fmla="*/ 2415927 h 2673102"/>
                  <a:gd name="connsiteX126" fmla="*/ 128874 w 1705262"/>
                  <a:gd name="connsiteY126" fmla="*/ 2358777 h 2673102"/>
                  <a:gd name="connsiteX127" fmla="*/ 114587 w 1705262"/>
                  <a:gd name="connsiteY127" fmla="*/ 2315914 h 2673102"/>
                  <a:gd name="connsiteX128" fmla="*/ 100299 w 1705262"/>
                  <a:gd name="connsiteY128" fmla="*/ 2258764 h 2673102"/>
                  <a:gd name="connsiteX129" fmla="*/ 95537 w 1705262"/>
                  <a:gd name="connsiteY129" fmla="*/ 2234952 h 2673102"/>
                  <a:gd name="connsiteX130" fmla="*/ 86012 w 1705262"/>
                  <a:gd name="connsiteY130" fmla="*/ 2211139 h 2673102"/>
                  <a:gd name="connsiteX131" fmla="*/ 81249 w 1705262"/>
                  <a:gd name="connsiteY131" fmla="*/ 2187327 h 2673102"/>
                  <a:gd name="connsiteX132" fmla="*/ 71724 w 1705262"/>
                  <a:gd name="connsiteY132" fmla="*/ 2111127 h 2673102"/>
                  <a:gd name="connsiteX133" fmla="*/ 90774 w 1705262"/>
                  <a:gd name="connsiteY133" fmla="*/ 1944439 h 2673102"/>
                  <a:gd name="connsiteX134" fmla="*/ 100299 w 1705262"/>
                  <a:gd name="connsiteY134" fmla="*/ 1930152 h 2673102"/>
                  <a:gd name="connsiteX135" fmla="*/ 119349 w 1705262"/>
                  <a:gd name="connsiteY135" fmla="*/ 1901577 h 2673102"/>
                  <a:gd name="connsiteX136" fmla="*/ 128874 w 1705262"/>
                  <a:gd name="connsiteY136" fmla="*/ 1868239 h 2673102"/>
                  <a:gd name="connsiteX137" fmla="*/ 124112 w 1705262"/>
                  <a:gd name="connsiteY137" fmla="*/ 1825377 h 2673102"/>
                  <a:gd name="connsiteX138" fmla="*/ 105062 w 1705262"/>
                  <a:gd name="connsiteY138" fmla="*/ 1820614 h 2673102"/>
                  <a:gd name="connsiteX139" fmla="*/ 95537 w 1705262"/>
                  <a:gd name="connsiteY139" fmla="*/ 1806327 h 2673102"/>
                  <a:gd name="connsiteX140" fmla="*/ 138399 w 1705262"/>
                  <a:gd name="connsiteY140" fmla="*/ 1720602 h 2673102"/>
                  <a:gd name="connsiteX141" fmla="*/ 152687 w 1705262"/>
                  <a:gd name="connsiteY141" fmla="*/ 1715839 h 2673102"/>
                  <a:gd name="connsiteX142" fmla="*/ 166974 w 1705262"/>
                  <a:gd name="connsiteY142" fmla="*/ 1696789 h 2673102"/>
                  <a:gd name="connsiteX143" fmla="*/ 181262 w 1705262"/>
                  <a:gd name="connsiteY143" fmla="*/ 1687264 h 2673102"/>
                  <a:gd name="connsiteX144" fmla="*/ 195549 w 1705262"/>
                  <a:gd name="connsiteY144" fmla="*/ 1653927 h 2673102"/>
                  <a:gd name="connsiteX145" fmla="*/ 186024 w 1705262"/>
                  <a:gd name="connsiteY145" fmla="*/ 1606302 h 2673102"/>
                  <a:gd name="connsiteX146" fmla="*/ 157449 w 1705262"/>
                  <a:gd name="connsiteY146" fmla="*/ 1596777 h 2673102"/>
                  <a:gd name="connsiteX147" fmla="*/ 147924 w 1705262"/>
                  <a:gd name="connsiteY147" fmla="*/ 1549152 h 2673102"/>
                  <a:gd name="connsiteX148" fmla="*/ 143162 w 1705262"/>
                  <a:gd name="connsiteY148" fmla="*/ 1411039 h 2673102"/>
                  <a:gd name="connsiteX149" fmla="*/ 133637 w 1705262"/>
                  <a:gd name="connsiteY149" fmla="*/ 1377702 h 2673102"/>
                  <a:gd name="connsiteX150" fmla="*/ 114587 w 1705262"/>
                  <a:gd name="connsiteY150" fmla="*/ 1311027 h 2673102"/>
                  <a:gd name="connsiteX151" fmla="*/ 109824 w 1705262"/>
                  <a:gd name="connsiteY151" fmla="*/ 1258639 h 2673102"/>
                  <a:gd name="connsiteX152" fmla="*/ 100299 w 1705262"/>
                  <a:gd name="connsiteY152" fmla="*/ 1244352 h 2673102"/>
                  <a:gd name="connsiteX153" fmla="*/ 86012 w 1705262"/>
                  <a:gd name="connsiteY153" fmla="*/ 1196727 h 2673102"/>
                  <a:gd name="connsiteX154" fmla="*/ 71724 w 1705262"/>
                  <a:gd name="connsiteY154" fmla="*/ 1177677 h 2673102"/>
                  <a:gd name="connsiteX155" fmla="*/ 52674 w 1705262"/>
                  <a:gd name="connsiteY155" fmla="*/ 1139577 h 2673102"/>
                  <a:gd name="connsiteX156" fmla="*/ 43149 w 1705262"/>
                  <a:gd name="connsiteY156" fmla="*/ 1111002 h 2673102"/>
                  <a:gd name="connsiteX157" fmla="*/ 38387 w 1705262"/>
                  <a:gd name="connsiteY157" fmla="*/ 1096714 h 2673102"/>
                  <a:gd name="connsiteX158" fmla="*/ 14574 w 1705262"/>
                  <a:gd name="connsiteY158" fmla="*/ 1025277 h 2673102"/>
                  <a:gd name="connsiteX159" fmla="*/ 5049 w 1705262"/>
                  <a:gd name="connsiteY159" fmla="*/ 991939 h 2673102"/>
                  <a:gd name="connsiteX160" fmla="*/ 287 w 1705262"/>
                  <a:gd name="connsiteY160" fmla="*/ 977652 h 2673102"/>
                  <a:gd name="connsiteX161" fmla="*/ 7431 w 1705262"/>
                  <a:gd name="connsiteY161" fmla="*/ 930027 h 2673102"/>
                  <a:gd name="connsiteX162" fmla="*/ 62200 w 1705262"/>
                  <a:gd name="connsiteY162" fmla="*/ 810964 h 2673102"/>
                  <a:gd name="connsiteX163" fmla="*/ 214599 w 1705262"/>
                  <a:gd name="connsiteY163" fmla="*/ 601414 h 2673102"/>
                  <a:gd name="connsiteX164" fmla="*/ 281274 w 1705262"/>
                  <a:gd name="connsiteY164" fmla="*/ 515689 h 2673102"/>
                  <a:gd name="connsiteX165" fmla="*/ 405099 w 1705262"/>
                  <a:gd name="connsiteY165" fmla="*/ 406152 h 2673102"/>
                  <a:gd name="connsiteX166" fmla="*/ 528924 w 1705262"/>
                  <a:gd name="connsiteY166" fmla="*/ 291851 h 2673102"/>
                  <a:gd name="connsiteX167" fmla="*/ 633699 w 1705262"/>
                  <a:gd name="connsiteY167" fmla="*/ 229939 h 2673102"/>
                  <a:gd name="connsiteX168" fmla="*/ 726569 w 1705262"/>
                  <a:gd name="connsiteY168" fmla="*/ 168026 h 2673102"/>
                  <a:gd name="connsiteX169" fmla="*/ 971837 w 1705262"/>
                  <a:gd name="connsiteY169" fmla="*/ 63251 h 2673102"/>
                  <a:gd name="connsiteX170" fmla="*/ 1152812 w 1705262"/>
                  <a:gd name="connsiteY170" fmla="*/ 6102 h 2673102"/>
                  <a:gd name="connsiteX171" fmla="*/ 1195674 w 1705262"/>
                  <a:gd name="connsiteY171" fmla="*/ 10864 h 2673102"/>
                  <a:gd name="connsiteX0" fmla="*/ 1193555 w 1703143"/>
                  <a:gd name="connsiteY0" fmla="*/ 10864 h 2673102"/>
                  <a:gd name="connsiteX1" fmla="*/ 1188793 w 1703143"/>
                  <a:gd name="connsiteY1" fmla="*/ 68014 h 2673102"/>
                  <a:gd name="connsiteX2" fmla="*/ 1164980 w 1703143"/>
                  <a:gd name="connsiteY2" fmla="*/ 110877 h 2673102"/>
                  <a:gd name="connsiteX3" fmla="*/ 1155455 w 1703143"/>
                  <a:gd name="connsiteY3" fmla="*/ 129927 h 2673102"/>
                  <a:gd name="connsiteX4" fmla="*/ 1155455 w 1703143"/>
                  <a:gd name="connsiteY4" fmla="*/ 206127 h 2673102"/>
                  <a:gd name="connsiteX5" fmla="*/ 1174505 w 1703143"/>
                  <a:gd name="connsiteY5" fmla="*/ 225177 h 2673102"/>
                  <a:gd name="connsiteX6" fmla="*/ 1193555 w 1703143"/>
                  <a:gd name="connsiteY6" fmla="*/ 258514 h 2673102"/>
                  <a:gd name="connsiteX7" fmla="*/ 1212605 w 1703143"/>
                  <a:gd name="connsiteY7" fmla="*/ 268039 h 2673102"/>
                  <a:gd name="connsiteX8" fmla="*/ 1222130 w 1703143"/>
                  <a:gd name="connsiteY8" fmla="*/ 282327 h 2673102"/>
                  <a:gd name="connsiteX9" fmla="*/ 1236418 w 1703143"/>
                  <a:gd name="connsiteY9" fmla="*/ 296614 h 2673102"/>
                  <a:gd name="connsiteX10" fmla="*/ 1245943 w 1703143"/>
                  <a:gd name="connsiteY10" fmla="*/ 315664 h 2673102"/>
                  <a:gd name="connsiteX11" fmla="*/ 1241180 w 1703143"/>
                  <a:gd name="connsiteY11" fmla="*/ 344239 h 2673102"/>
                  <a:gd name="connsiteX12" fmla="*/ 1236418 w 1703143"/>
                  <a:gd name="connsiteY12" fmla="*/ 363289 h 2673102"/>
                  <a:gd name="connsiteX13" fmla="*/ 1241180 w 1703143"/>
                  <a:gd name="connsiteY13" fmla="*/ 425202 h 2673102"/>
                  <a:gd name="connsiteX14" fmla="*/ 1260230 w 1703143"/>
                  <a:gd name="connsiteY14" fmla="*/ 463302 h 2673102"/>
                  <a:gd name="connsiteX15" fmla="*/ 1269755 w 1703143"/>
                  <a:gd name="connsiteY15" fmla="*/ 477589 h 2673102"/>
                  <a:gd name="connsiteX16" fmla="*/ 1284043 w 1703143"/>
                  <a:gd name="connsiteY16" fmla="*/ 487114 h 2673102"/>
                  <a:gd name="connsiteX17" fmla="*/ 1341193 w 1703143"/>
                  <a:gd name="connsiteY17" fmla="*/ 510927 h 2673102"/>
                  <a:gd name="connsiteX18" fmla="*/ 1369768 w 1703143"/>
                  <a:gd name="connsiteY18" fmla="*/ 520452 h 2673102"/>
                  <a:gd name="connsiteX19" fmla="*/ 1398343 w 1703143"/>
                  <a:gd name="connsiteY19" fmla="*/ 539502 h 2673102"/>
                  <a:gd name="connsiteX20" fmla="*/ 1460255 w 1703143"/>
                  <a:gd name="connsiteY20" fmla="*/ 568077 h 2673102"/>
                  <a:gd name="connsiteX21" fmla="*/ 1512643 w 1703143"/>
                  <a:gd name="connsiteY21" fmla="*/ 587127 h 2673102"/>
                  <a:gd name="connsiteX22" fmla="*/ 1531693 w 1703143"/>
                  <a:gd name="connsiteY22" fmla="*/ 596652 h 2673102"/>
                  <a:gd name="connsiteX23" fmla="*/ 1550743 w 1703143"/>
                  <a:gd name="connsiteY23" fmla="*/ 601414 h 2673102"/>
                  <a:gd name="connsiteX24" fmla="*/ 1598368 w 1703143"/>
                  <a:gd name="connsiteY24" fmla="*/ 639514 h 2673102"/>
                  <a:gd name="connsiteX25" fmla="*/ 1626943 w 1703143"/>
                  <a:gd name="connsiteY25" fmla="*/ 672852 h 2673102"/>
                  <a:gd name="connsiteX26" fmla="*/ 1641230 w 1703143"/>
                  <a:gd name="connsiteY26" fmla="*/ 687139 h 2673102"/>
                  <a:gd name="connsiteX27" fmla="*/ 1660280 w 1703143"/>
                  <a:gd name="connsiteY27" fmla="*/ 696664 h 2673102"/>
                  <a:gd name="connsiteX28" fmla="*/ 1674568 w 1703143"/>
                  <a:gd name="connsiteY28" fmla="*/ 706189 h 2673102"/>
                  <a:gd name="connsiteX29" fmla="*/ 1688855 w 1703143"/>
                  <a:gd name="connsiteY29" fmla="*/ 744289 h 2673102"/>
                  <a:gd name="connsiteX30" fmla="*/ 1698380 w 1703143"/>
                  <a:gd name="connsiteY30" fmla="*/ 768102 h 2673102"/>
                  <a:gd name="connsiteX31" fmla="*/ 1703143 w 1703143"/>
                  <a:gd name="connsiteY31" fmla="*/ 782389 h 2673102"/>
                  <a:gd name="connsiteX32" fmla="*/ 1693618 w 1703143"/>
                  <a:gd name="connsiteY32" fmla="*/ 853827 h 2673102"/>
                  <a:gd name="connsiteX33" fmla="*/ 1655518 w 1703143"/>
                  <a:gd name="connsiteY33" fmla="*/ 887164 h 2673102"/>
                  <a:gd name="connsiteX34" fmla="*/ 1641230 w 1703143"/>
                  <a:gd name="connsiteY34" fmla="*/ 901452 h 2673102"/>
                  <a:gd name="connsiteX35" fmla="*/ 1588843 w 1703143"/>
                  <a:gd name="connsiteY35" fmla="*/ 906214 h 2673102"/>
                  <a:gd name="connsiteX36" fmla="*/ 1545980 w 1703143"/>
                  <a:gd name="connsiteY36" fmla="*/ 925264 h 2673102"/>
                  <a:gd name="connsiteX37" fmla="*/ 1522168 w 1703143"/>
                  <a:gd name="connsiteY37" fmla="*/ 939552 h 2673102"/>
                  <a:gd name="connsiteX38" fmla="*/ 1488830 w 1703143"/>
                  <a:gd name="connsiteY38" fmla="*/ 987177 h 2673102"/>
                  <a:gd name="connsiteX39" fmla="*/ 1469780 w 1703143"/>
                  <a:gd name="connsiteY39" fmla="*/ 1006227 h 2673102"/>
                  <a:gd name="connsiteX40" fmla="*/ 1336430 w 1703143"/>
                  <a:gd name="connsiteY40" fmla="*/ 1030039 h 2673102"/>
                  <a:gd name="connsiteX41" fmla="*/ 1288805 w 1703143"/>
                  <a:gd name="connsiteY41" fmla="*/ 1053852 h 2673102"/>
                  <a:gd name="connsiteX42" fmla="*/ 1222130 w 1703143"/>
                  <a:gd name="connsiteY42" fmla="*/ 1082427 h 2673102"/>
                  <a:gd name="connsiteX43" fmla="*/ 1117355 w 1703143"/>
                  <a:gd name="connsiteY43" fmla="*/ 1096714 h 2673102"/>
                  <a:gd name="connsiteX44" fmla="*/ 1093543 w 1703143"/>
                  <a:gd name="connsiteY44" fmla="*/ 1101477 h 2673102"/>
                  <a:gd name="connsiteX45" fmla="*/ 1069730 w 1703143"/>
                  <a:gd name="connsiteY45" fmla="*/ 1111002 h 2673102"/>
                  <a:gd name="connsiteX46" fmla="*/ 955430 w 1703143"/>
                  <a:gd name="connsiteY46" fmla="*/ 1106239 h 2673102"/>
                  <a:gd name="connsiteX47" fmla="*/ 850655 w 1703143"/>
                  <a:gd name="connsiteY47" fmla="*/ 1058614 h 2673102"/>
                  <a:gd name="connsiteX48" fmla="*/ 803030 w 1703143"/>
                  <a:gd name="connsiteY48" fmla="*/ 1034802 h 2673102"/>
                  <a:gd name="connsiteX49" fmla="*/ 779218 w 1703143"/>
                  <a:gd name="connsiteY49" fmla="*/ 1020514 h 2673102"/>
                  <a:gd name="connsiteX50" fmla="*/ 760168 w 1703143"/>
                  <a:gd name="connsiteY50" fmla="*/ 1006227 h 2673102"/>
                  <a:gd name="connsiteX51" fmla="*/ 669680 w 1703143"/>
                  <a:gd name="connsiteY51" fmla="*/ 958602 h 2673102"/>
                  <a:gd name="connsiteX52" fmla="*/ 636343 w 1703143"/>
                  <a:gd name="connsiteY52" fmla="*/ 939552 h 2673102"/>
                  <a:gd name="connsiteX53" fmla="*/ 517280 w 1703143"/>
                  <a:gd name="connsiteY53" fmla="*/ 910977 h 2673102"/>
                  <a:gd name="connsiteX54" fmla="*/ 474418 w 1703143"/>
                  <a:gd name="connsiteY54" fmla="*/ 891927 h 2673102"/>
                  <a:gd name="connsiteX55" fmla="*/ 412505 w 1703143"/>
                  <a:gd name="connsiteY55" fmla="*/ 882402 h 2673102"/>
                  <a:gd name="connsiteX56" fmla="*/ 312493 w 1703143"/>
                  <a:gd name="connsiteY56" fmla="*/ 896689 h 2673102"/>
                  <a:gd name="connsiteX57" fmla="*/ 298205 w 1703143"/>
                  <a:gd name="connsiteY57" fmla="*/ 910977 h 2673102"/>
                  <a:gd name="connsiteX58" fmla="*/ 274393 w 1703143"/>
                  <a:gd name="connsiteY58" fmla="*/ 949077 h 2673102"/>
                  <a:gd name="connsiteX59" fmla="*/ 260105 w 1703143"/>
                  <a:gd name="connsiteY59" fmla="*/ 987177 h 2673102"/>
                  <a:gd name="connsiteX60" fmla="*/ 255343 w 1703143"/>
                  <a:gd name="connsiteY60" fmla="*/ 1039564 h 2673102"/>
                  <a:gd name="connsiteX61" fmla="*/ 255343 w 1703143"/>
                  <a:gd name="connsiteY61" fmla="*/ 1120527 h 2673102"/>
                  <a:gd name="connsiteX62" fmla="*/ 288680 w 1703143"/>
                  <a:gd name="connsiteY62" fmla="*/ 1153864 h 2673102"/>
                  <a:gd name="connsiteX63" fmla="*/ 317255 w 1703143"/>
                  <a:gd name="connsiteY63" fmla="*/ 1163389 h 2673102"/>
                  <a:gd name="connsiteX64" fmla="*/ 317255 w 1703143"/>
                  <a:gd name="connsiteY64" fmla="*/ 1244352 h 2673102"/>
                  <a:gd name="connsiteX65" fmla="*/ 302968 w 1703143"/>
                  <a:gd name="connsiteY65" fmla="*/ 1258639 h 2673102"/>
                  <a:gd name="connsiteX66" fmla="*/ 250580 w 1703143"/>
                  <a:gd name="connsiteY66" fmla="*/ 1296739 h 2673102"/>
                  <a:gd name="connsiteX67" fmla="*/ 231530 w 1703143"/>
                  <a:gd name="connsiteY67" fmla="*/ 1325314 h 2673102"/>
                  <a:gd name="connsiteX68" fmla="*/ 241055 w 1703143"/>
                  <a:gd name="connsiteY68" fmla="*/ 1425327 h 2673102"/>
                  <a:gd name="connsiteX69" fmla="*/ 269630 w 1703143"/>
                  <a:gd name="connsiteY69" fmla="*/ 1472952 h 2673102"/>
                  <a:gd name="connsiteX70" fmla="*/ 283918 w 1703143"/>
                  <a:gd name="connsiteY70" fmla="*/ 1492002 h 2673102"/>
                  <a:gd name="connsiteX71" fmla="*/ 374405 w 1703143"/>
                  <a:gd name="connsiteY71" fmla="*/ 1525339 h 2673102"/>
                  <a:gd name="connsiteX72" fmla="*/ 398218 w 1703143"/>
                  <a:gd name="connsiteY72" fmla="*/ 1492002 h 2673102"/>
                  <a:gd name="connsiteX73" fmla="*/ 402980 w 1703143"/>
                  <a:gd name="connsiteY73" fmla="*/ 1468189 h 2673102"/>
                  <a:gd name="connsiteX74" fmla="*/ 407743 w 1703143"/>
                  <a:gd name="connsiteY74" fmla="*/ 1449139 h 2673102"/>
                  <a:gd name="connsiteX75" fmla="*/ 436318 w 1703143"/>
                  <a:gd name="connsiteY75" fmla="*/ 1439614 h 2673102"/>
                  <a:gd name="connsiteX76" fmla="*/ 536330 w 1703143"/>
                  <a:gd name="connsiteY76" fmla="*/ 1458664 h 2673102"/>
                  <a:gd name="connsiteX77" fmla="*/ 545855 w 1703143"/>
                  <a:gd name="connsiteY77" fmla="*/ 1482477 h 2673102"/>
                  <a:gd name="connsiteX78" fmla="*/ 555380 w 1703143"/>
                  <a:gd name="connsiteY78" fmla="*/ 1515814 h 2673102"/>
                  <a:gd name="connsiteX79" fmla="*/ 541093 w 1703143"/>
                  <a:gd name="connsiteY79" fmla="*/ 1534864 h 2673102"/>
                  <a:gd name="connsiteX80" fmla="*/ 541093 w 1703143"/>
                  <a:gd name="connsiteY80" fmla="*/ 1601539 h 2673102"/>
                  <a:gd name="connsiteX81" fmla="*/ 550618 w 1703143"/>
                  <a:gd name="connsiteY81" fmla="*/ 1620589 h 2673102"/>
                  <a:gd name="connsiteX82" fmla="*/ 617293 w 1703143"/>
                  <a:gd name="connsiteY82" fmla="*/ 1639639 h 2673102"/>
                  <a:gd name="connsiteX83" fmla="*/ 636343 w 1703143"/>
                  <a:gd name="connsiteY83" fmla="*/ 1592014 h 2673102"/>
                  <a:gd name="connsiteX84" fmla="*/ 693493 w 1703143"/>
                  <a:gd name="connsiteY84" fmla="*/ 1620589 h 2673102"/>
                  <a:gd name="connsiteX85" fmla="*/ 722068 w 1703143"/>
                  <a:gd name="connsiteY85" fmla="*/ 1630114 h 2673102"/>
                  <a:gd name="connsiteX86" fmla="*/ 774455 w 1703143"/>
                  <a:gd name="connsiteY86" fmla="*/ 1663452 h 2673102"/>
                  <a:gd name="connsiteX87" fmla="*/ 850655 w 1703143"/>
                  <a:gd name="connsiteY87" fmla="*/ 1687264 h 2673102"/>
                  <a:gd name="connsiteX88" fmla="*/ 869705 w 1703143"/>
                  <a:gd name="connsiteY88" fmla="*/ 1701552 h 2673102"/>
                  <a:gd name="connsiteX89" fmla="*/ 879230 w 1703143"/>
                  <a:gd name="connsiteY89" fmla="*/ 1739652 h 2673102"/>
                  <a:gd name="connsiteX90" fmla="*/ 888755 w 1703143"/>
                  <a:gd name="connsiteY90" fmla="*/ 1782514 h 2673102"/>
                  <a:gd name="connsiteX91" fmla="*/ 931618 w 1703143"/>
                  <a:gd name="connsiteY91" fmla="*/ 1892052 h 2673102"/>
                  <a:gd name="connsiteX92" fmla="*/ 941143 w 1703143"/>
                  <a:gd name="connsiteY92" fmla="*/ 1906339 h 2673102"/>
                  <a:gd name="connsiteX93" fmla="*/ 950668 w 1703143"/>
                  <a:gd name="connsiteY93" fmla="*/ 1939677 h 2673102"/>
                  <a:gd name="connsiteX94" fmla="*/ 964955 w 1703143"/>
                  <a:gd name="connsiteY94" fmla="*/ 1977777 h 2673102"/>
                  <a:gd name="connsiteX95" fmla="*/ 955430 w 1703143"/>
                  <a:gd name="connsiteY95" fmla="*/ 2082552 h 2673102"/>
                  <a:gd name="connsiteX96" fmla="*/ 945905 w 1703143"/>
                  <a:gd name="connsiteY96" fmla="*/ 2101602 h 2673102"/>
                  <a:gd name="connsiteX97" fmla="*/ 917330 w 1703143"/>
                  <a:gd name="connsiteY97" fmla="*/ 2144464 h 2673102"/>
                  <a:gd name="connsiteX98" fmla="*/ 898280 w 1703143"/>
                  <a:gd name="connsiteY98" fmla="*/ 2192089 h 2673102"/>
                  <a:gd name="connsiteX99" fmla="*/ 893518 w 1703143"/>
                  <a:gd name="connsiteY99" fmla="*/ 2211139 h 2673102"/>
                  <a:gd name="connsiteX100" fmla="*/ 883993 w 1703143"/>
                  <a:gd name="connsiteY100" fmla="*/ 2239714 h 2673102"/>
                  <a:gd name="connsiteX101" fmla="*/ 888755 w 1703143"/>
                  <a:gd name="connsiteY101" fmla="*/ 2287339 h 2673102"/>
                  <a:gd name="connsiteX102" fmla="*/ 883993 w 1703143"/>
                  <a:gd name="connsiteY102" fmla="*/ 2396877 h 2673102"/>
                  <a:gd name="connsiteX103" fmla="*/ 679205 w 1703143"/>
                  <a:gd name="connsiteY103" fmla="*/ 2449264 h 2673102"/>
                  <a:gd name="connsiteX104" fmla="*/ 645868 w 1703143"/>
                  <a:gd name="connsiteY104" fmla="*/ 2473077 h 2673102"/>
                  <a:gd name="connsiteX105" fmla="*/ 598243 w 1703143"/>
                  <a:gd name="connsiteY105" fmla="*/ 2511177 h 2673102"/>
                  <a:gd name="connsiteX106" fmla="*/ 564905 w 1703143"/>
                  <a:gd name="connsiteY106" fmla="*/ 2534989 h 2673102"/>
                  <a:gd name="connsiteX107" fmla="*/ 531568 w 1703143"/>
                  <a:gd name="connsiteY107" fmla="*/ 2554039 h 2673102"/>
                  <a:gd name="connsiteX108" fmla="*/ 488705 w 1703143"/>
                  <a:gd name="connsiteY108" fmla="*/ 2587377 h 2673102"/>
                  <a:gd name="connsiteX109" fmla="*/ 474418 w 1703143"/>
                  <a:gd name="connsiteY109" fmla="*/ 2601664 h 2673102"/>
                  <a:gd name="connsiteX110" fmla="*/ 450605 w 1703143"/>
                  <a:gd name="connsiteY110" fmla="*/ 2620714 h 2673102"/>
                  <a:gd name="connsiteX111" fmla="*/ 441080 w 1703143"/>
                  <a:gd name="connsiteY111" fmla="*/ 2635002 h 2673102"/>
                  <a:gd name="connsiteX112" fmla="*/ 407743 w 1703143"/>
                  <a:gd name="connsiteY112" fmla="*/ 2654052 h 2673102"/>
                  <a:gd name="connsiteX113" fmla="*/ 364880 w 1703143"/>
                  <a:gd name="connsiteY113" fmla="*/ 2673102 h 2673102"/>
                  <a:gd name="connsiteX114" fmla="*/ 350593 w 1703143"/>
                  <a:gd name="connsiteY114" fmla="*/ 2663577 h 2673102"/>
                  <a:gd name="connsiteX115" fmla="*/ 336305 w 1703143"/>
                  <a:gd name="connsiteY115" fmla="*/ 2635002 h 2673102"/>
                  <a:gd name="connsiteX116" fmla="*/ 326780 w 1703143"/>
                  <a:gd name="connsiteY116" fmla="*/ 2620714 h 2673102"/>
                  <a:gd name="connsiteX117" fmla="*/ 288680 w 1703143"/>
                  <a:gd name="connsiteY117" fmla="*/ 2611189 h 2673102"/>
                  <a:gd name="connsiteX118" fmla="*/ 269630 w 1703143"/>
                  <a:gd name="connsiteY118" fmla="*/ 2592139 h 2673102"/>
                  <a:gd name="connsiteX119" fmla="*/ 264868 w 1703143"/>
                  <a:gd name="connsiteY119" fmla="*/ 2573089 h 2673102"/>
                  <a:gd name="connsiteX120" fmla="*/ 226768 w 1703143"/>
                  <a:gd name="connsiteY120" fmla="*/ 2539752 h 2673102"/>
                  <a:gd name="connsiteX121" fmla="*/ 222005 w 1703143"/>
                  <a:gd name="connsiteY121" fmla="*/ 2525464 h 2673102"/>
                  <a:gd name="connsiteX122" fmla="*/ 217243 w 1703143"/>
                  <a:gd name="connsiteY122" fmla="*/ 2506414 h 2673102"/>
                  <a:gd name="connsiteX123" fmla="*/ 202955 w 1703143"/>
                  <a:gd name="connsiteY123" fmla="*/ 2492127 h 2673102"/>
                  <a:gd name="connsiteX124" fmla="*/ 145805 w 1703143"/>
                  <a:gd name="connsiteY124" fmla="*/ 2439739 h 2673102"/>
                  <a:gd name="connsiteX125" fmla="*/ 141043 w 1703143"/>
                  <a:gd name="connsiteY125" fmla="*/ 2415927 h 2673102"/>
                  <a:gd name="connsiteX126" fmla="*/ 126755 w 1703143"/>
                  <a:gd name="connsiteY126" fmla="*/ 2358777 h 2673102"/>
                  <a:gd name="connsiteX127" fmla="*/ 112468 w 1703143"/>
                  <a:gd name="connsiteY127" fmla="*/ 2315914 h 2673102"/>
                  <a:gd name="connsiteX128" fmla="*/ 98180 w 1703143"/>
                  <a:gd name="connsiteY128" fmla="*/ 2258764 h 2673102"/>
                  <a:gd name="connsiteX129" fmla="*/ 93418 w 1703143"/>
                  <a:gd name="connsiteY129" fmla="*/ 2234952 h 2673102"/>
                  <a:gd name="connsiteX130" fmla="*/ 83893 w 1703143"/>
                  <a:gd name="connsiteY130" fmla="*/ 2211139 h 2673102"/>
                  <a:gd name="connsiteX131" fmla="*/ 79130 w 1703143"/>
                  <a:gd name="connsiteY131" fmla="*/ 2187327 h 2673102"/>
                  <a:gd name="connsiteX132" fmla="*/ 69605 w 1703143"/>
                  <a:gd name="connsiteY132" fmla="*/ 2111127 h 2673102"/>
                  <a:gd name="connsiteX133" fmla="*/ 88655 w 1703143"/>
                  <a:gd name="connsiteY133" fmla="*/ 1944439 h 2673102"/>
                  <a:gd name="connsiteX134" fmla="*/ 98180 w 1703143"/>
                  <a:gd name="connsiteY134" fmla="*/ 1930152 h 2673102"/>
                  <a:gd name="connsiteX135" fmla="*/ 117230 w 1703143"/>
                  <a:gd name="connsiteY135" fmla="*/ 1901577 h 2673102"/>
                  <a:gd name="connsiteX136" fmla="*/ 126755 w 1703143"/>
                  <a:gd name="connsiteY136" fmla="*/ 1868239 h 2673102"/>
                  <a:gd name="connsiteX137" fmla="*/ 121993 w 1703143"/>
                  <a:gd name="connsiteY137" fmla="*/ 1825377 h 2673102"/>
                  <a:gd name="connsiteX138" fmla="*/ 102943 w 1703143"/>
                  <a:gd name="connsiteY138" fmla="*/ 1820614 h 2673102"/>
                  <a:gd name="connsiteX139" fmla="*/ 93418 w 1703143"/>
                  <a:gd name="connsiteY139" fmla="*/ 1806327 h 2673102"/>
                  <a:gd name="connsiteX140" fmla="*/ 136280 w 1703143"/>
                  <a:gd name="connsiteY140" fmla="*/ 1720602 h 2673102"/>
                  <a:gd name="connsiteX141" fmla="*/ 150568 w 1703143"/>
                  <a:gd name="connsiteY141" fmla="*/ 1715839 h 2673102"/>
                  <a:gd name="connsiteX142" fmla="*/ 164855 w 1703143"/>
                  <a:gd name="connsiteY142" fmla="*/ 1696789 h 2673102"/>
                  <a:gd name="connsiteX143" fmla="*/ 179143 w 1703143"/>
                  <a:gd name="connsiteY143" fmla="*/ 1687264 h 2673102"/>
                  <a:gd name="connsiteX144" fmla="*/ 193430 w 1703143"/>
                  <a:gd name="connsiteY144" fmla="*/ 1653927 h 2673102"/>
                  <a:gd name="connsiteX145" fmla="*/ 183905 w 1703143"/>
                  <a:gd name="connsiteY145" fmla="*/ 1606302 h 2673102"/>
                  <a:gd name="connsiteX146" fmla="*/ 155330 w 1703143"/>
                  <a:gd name="connsiteY146" fmla="*/ 1596777 h 2673102"/>
                  <a:gd name="connsiteX147" fmla="*/ 145805 w 1703143"/>
                  <a:gd name="connsiteY147" fmla="*/ 1549152 h 2673102"/>
                  <a:gd name="connsiteX148" fmla="*/ 141043 w 1703143"/>
                  <a:gd name="connsiteY148" fmla="*/ 1411039 h 2673102"/>
                  <a:gd name="connsiteX149" fmla="*/ 131518 w 1703143"/>
                  <a:gd name="connsiteY149" fmla="*/ 1377702 h 2673102"/>
                  <a:gd name="connsiteX150" fmla="*/ 112468 w 1703143"/>
                  <a:gd name="connsiteY150" fmla="*/ 1311027 h 2673102"/>
                  <a:gd name="connsiteX151" fmla="*/ 107705 w 1703143"/>
                  <a:gd name="connsiteY151" fmla="*/ 1258639 h 2673102"/>
                  <a:gd name="connsiteX152" fmla="*/ 98180 w 1703143"/>
                  <a:gd name="connsiteY152" fmla="*/ 1244352 h 2673102"/>
                  <a:gd name="connsiteX153" fmla="*/ 83893 w 1703143"/>
                  <a:gd name="connsiteY153" fmla="*/ 1196727 h 2673102"/>
                  <a:gd name="connsiteX154" fmla="*/ 69605 w 1703143"/>
                  <a:gd name="connsiteY154" fmla="*/ 1177677 h 2673102"/>
                  <a:gd name="connsiteX155" fmla="*/ 50555 w 1703143"/>
                  <a:gd name="connsiteY155" fmla="*/ 1139577 h 2673102"/>
                  <a:gd name="connsiteX156" fmla="*/ 41030 w 1703143"/>
                  <a:gd name="connsiteY156" fmla="*/ 1111002 h 2673102"/>
                  <a:gd name="connsiteX157" fmla="*/ 36268 w 1703143"/>
                  <a:gd name="connsiteY157" fmla="*/ 1096714 h 2673102"/>
                  <a:gd name="connsiteX158" fmla="*/ 12455 w 1703143"/>
                  <a:gd name="connsiteY158" fmla="*/ 1025277 h 2673102"/>
                  <a:gd name="connsiteX159" fmla="*/ 2930 w 1703143"/>
                  <a:gd name="connsiteY159" fmla="*/ 991939 h 2673102"/>
                  <a:gd name="connsiteX160" fmla="*/ 5312 w 1703143"/>
                  <a:gd name="connsiteY160" fmla="*/ 930027 h 2673102"/>
                  <a:gd name="connsiteX161" fmla="*/ 60081 w 1703143"/>
                  <a:gd name="connsiteY161" fmla="*/ 810964 h 2673102"/>
                  <a:gd name="connsiteX162" fmla="*/ 212480 w 1703143"/>
                  <a:gd name="connsiteY162" fmla="*/ 601414 h 2673102"/>
                  <a:gd name="connsiteX163" fmla="*/ 279155 w 1703143"/>
                  <a:gd name="connsiteY163" fmla="*/ 515689 h 2673102"/>
                  <a:gd name="connsiteX164" fmla="*/ 402980 w 1703143"/>
                  <a:gd name="connsiteY164" fmla="*/ 406152 h 2673102"/>
                  <a:gd name="connsiteX165" fmla="*/ 526805 w 1703143"/>
                  <a:gd name="connsiteY165" fmla="*/ 291851 h 2673102"/>
                  <a:gd name="connsiteX166" fmla="*/ 631580 w 1703143"/>
                  <a:gd name="connsiteY166" fmla="*/ 229939 h 2673102"/>
                  <a:gd name="connsiteX167" fmla="*/ 724450 w 1703143"/>
                  <a:gd name="connsiteY167" fmla="*/ 168026 h 2673102"/>
                  <a:gd name="connsiteX168" fmla="*/ 969718 w 1703143"/>
                  <a:gd name="connsiteY168" fmla="*/ 63251 h 2673102"/>
                  <a:gd name="connsiteX169" fmla="*/ 1150693 w 1703143"/>
                  <a:gd name="connsiteY169" fmla="*/ 6102 h 2673102"/>
                  <a:gd name="connsiteX170" fmla="*/ 1193555 w 1703143"/>
                  <a:gd name="connsiteY170" fmla="*/ 10864 h 2673102"/>
                  <a:gd name="connsiteX0" fmla="*/ 1202733 w 1712321"/>
                  <a:gd name="connsiteY0" fmla="*/ 10864 h 2673102"/>
                  <a:gd name="connsiteX1" fmla="*/ 1197971 w 1712321"/>
                  <a:gd name="connsiteY1" fmla="*/ 68014 h 2673102"/>
                  <a:gd name="connsiteX2" fmla="*/ 1174158 w 1712321"/>
                  <a:gd name="connsiteY2" fmla="*/ 110877 h 2673102"/>
                  <a:gd name="connsiteX3" fmla="*/ 1164633 w 1712321"/>
                  <a:gd name="connsiteY3" fmla="*/ 129927 h 2673102"/>
                  <a:gd name="connsiteX4" fmla="*/ 1164633 w 1712321"/>
                  <a:gd name="connsiteY4" fmla="*/ 206127 h 2673102"/>
                  <a:gd name="connsiteX5" fmla="*/ 1183683 w 1712321"/>
                  <a:gd name="connsiteY5" fmla="*/ 225177 h 2673102"/>
                  <a:gd name="connsiteX6" fmla="*/ 1202733 w 1712321"/>
                  <a:gd name="connsiteY6" fmla="*/ 258514 h 2673102"/>
                  <a:gd name="connsiteX7" fmla="*/ 1221783 w 1712321"/>
                  <a:gd name="connsiteY7" fmla="*/ 268039 h 2673102"/>
                  <a:gd name="connsiteX8" fmla="*/ 1231308 w 1712321"/>
                  <a:gd name="connsiteY8" fmla="*/ 282327 h 2673102"/>
                  <a:gd name="connsiteX9" fmla="*/ 1245596 w 1712321"/>
                  <a:gd name="connsiteY9" fmla="*/ 296614 h 2673102"/>
                  <a:gd name="connsiteX10" fmla="*/ 1255121 w 1712321"/>
                  <a:gd name="connsiteY10" fmla="*/ 315664 h 2673102"/>
                  <a:gd name="connsiteX11" fmla="*/ 1250358 w 1712321"/>
                  <a:gd name="connsiteY11" fmla="*/ 344239 h 2673102"/>
                  <a:gd name="connsiteX12" fmla="*/ 1245596 w 1712321"/>
                  <a:gd name="connsiteY12" fmla="*/ 363289 h 2673102"/>
                  <a:gd name="connsiteX13" fmla="*/ 1250358 w 1712321"/>
                  <a:gd name="connsiteY13" fmla="*/ 425202 h 2673102"/>
                  <a:gd name="connsiteX14" fmla="*/ 1269408 w 1712321"/>
                  <a:gd name="connsiteY14" fmla="*/ 463302 h 2673102"/>
                  <a:gd name="connsiteX15" fmla="*/ 1278933 w 1712321"/>
                  <a:gd name="connsiteY15" fmla="*/ 477589 h 2673102"/>
                  <a:gd name="connsiteX16" fmla="*/ 1293221 w 1712321"/>
                  <a:gd name="connsiteY16" fmla="*/ 487114 h 2673102"/>
                  <a:gd name="connsiteX17" fmla="*/ 1350371 w 1712321"/>
                  <a:gd name="connsiteY17" fmla="*/ 510927 h 2673102"/>
                  <a:gd name="connsiteX18" fmla="*/ 1378946 w 1712321"/>
                  <a:gd name="connsiteY18" fmla="*/ 520452 h 2673102"/>
                  <a:gd name="connsiteX19" fmla="*/ 1407521 w 1712321"/>
                  <a:gd name="connsiteY19" fmla="*/ 539502 h 2673102"/>
                  <a:gd name="connsiteX20" fmla="*/ 1469433 w 1712321"/>
                  <a:gd name="connsiteY20" fmla="*/ 568077 h 2673102"/>
                  <a:gd name="connsiteX21" fmla="*/ 1521821 w 1712321"/>
                  <a:gd name="connsiteY21" fmla="*/ 587127 h 2673102"/>
                  <a:gd name="connsiteX22" fmla="*/ 1540871 w 1712321"/>
                  <a:gd name="connsiteY22" fmla="*/ 596652 h 2673102"/>
                  <a:gd name="connsiteX23" fmla="*/ 1559921 w 1712321"/>
                  <a:gd name="connsiteY23" fmla="*/ 601414 h 2673102"/>
                  <a:gd name="connsiteX24" fmla="*/ 1607546 w 1712321"/>
                  <a:gd name="connsiteY24" fmla="*/ 639514 h 2673102"/>
                  <a:gd name="connsiteX25" fmla="*/ 1636121 w 1712321"/>
                  <a:gd name="connsiteY25" fmla="*/ 672852 h 2673102"/>
                  <a:gd name="connsiteX26" fmla="*/ 1650408 w 1712321"/>
                  <a:gd name="connsiteY26" fmla="*/ 687139 h 2673102"/>
                  <a:gd name="connsiteX27" fmla="*/ 1669458 w 1712321"/>
                  <a:gd name="connsiteY27" fmla="*/ 696664 h 2673102"/>
                  <a:gd name="connsiteX28" fmla="*/ 1683746 w 1712321"/>
                  <a:gd name="connsiteY28" fmla="*/ 706189 h 2673102"/>
                  <a:gd name="connsiteX29" fmla="*/ 1698033 w 1712321"/>
                  <a:gd name="connsiteY29" fmla="*/ 744289 h 2673102"/>
                  <a:gd name="connsiteX30" fmla="*/ 1707558 w 1712321"/>
                  <a:gd name="connsiteY30" fmla="*/ 768102 h 2673102"/>
                  <a:gd name="connsiteX31" fmla="*/ 1712321 w 1712321"/>
                  <a:gd name="connsiteY31" fmla="*/ 782389 h 2673102"/>
                  <a:gd name="connsiteX32" fmla="*/ 1702796 w 1712321"/>
                  <a:gd name="connsiteY32" fmla="*/ 853827 h 2673102"/>
                  <a:gd name="connsiteX33" fmla="*/ 1664696 w 1712321"/>
                  <a:gd name="connsiteY33" fmla="*/ 887164 h 2673102"/>
                  <a:gd name="connsiteX34" fmla="*/ 1650408 w 1712321"/>
                  <a:gd name="connsiteY34" fmla="*/ 901452 h 2673102"/>
                  <a:gd name="connsiteX35" fmla="*/ 1598021 w 1712321"/>
                  <a:gd name="connsiteY35" fmla="*/ 906214 h 2673102"/>
                  <a:gd name="connsiteX36" fmla="*/ 1555158 w 1712321"/>
                  <a:gd name="connsiteY36" fmla="*/ 925264 h 2673102"/>
                  <a:gd name="connsiteX37" fmla="*/ 1531346 w 1712321"/>
                  <a:gd name="connsiteY37" fmla="*/ 939552 h 2673102"/>
                  <a:gd name="connsiteX38" fmla="*/ 1498008 w 1712321"/>
                  <a:gd name="connsiteY38" fmla="*/ 987177 h 2673102"/>
                  <a:gd name="connsiteX39" fmla="*/ 1478958 w 1712321"/>
                  <a:gd name="connsiteY39" fmla="*/ 1006227 h 2673102"/>
                  <a:gd name="connsiteX40" fmla="*/ 1345608 w 1712321"/>
                  <a:gd name="connsiteY40" fmla="*/ 1030039 h 2673102"/>
                  <a:gd name="connsiteX41" fmla="*/ 1297983 w 1712321"/>
                  <a:gd name="connsiteY41" fmla="*/ 1053852 h 2673102"/>
                  <a:gd name="connsiteX42" fmla="*/ 1231308 w 1712321"/>
                  <a:gd name="connsiteY42" fmla="*/ 1082427 h 2673102"/>
                  <a:gd name="connsiteX43" fmla="*/ 1126533 w 1712321"/>
                  <a:gd name="connsiteY43" fmla="*/ 1096714 h 2673102"/>
                  <a:gd name="connsiteX44" fmla="*/ 1102721 w 1712321"/>
                  <a:gd name="connsiteY44" fmla="*/ 1101477 h 2673102"/>
                  <a:gd name="connsiteX45" fmla="*/ 1078908 w 1712321"/>
                  <a:gd name="connsiteY45" fmla="*/ 1111002 h 2673102"/>
                  <a:gd name="connsiteX46" fmla="*/ 964608 w 1712321"/>
                  <a:gd name="connsiteY46" fmla="*/ 1106239 h 2673102"/>
                  <a:gd name="connsiteX47" fmla="*/ 859833 w 1712321"/>
                  <a:gd name="connsiteY47" fmla="*/ 1058614 h 2673102"/>
                  <a:gd name="connsiteX48" fmla="*/ 812208 w 1712321"/>
                  <a:gd name="connsiteY48" fmla="*/ 1034802 h 2673102"/>
                  <a:gd name="connsiteX49" fmla="*/ 788396 w 1712321"/>
                  <a:gd name="connsiteY49" fmla="*/ 1020514 h 2673102"/>
                  <a:gd name="connsiteX50" fmla="*/ 769346 w 1712321"/>
                  <a:gd name="connsiteY50" fmla="*/ 1006227 h 2673102"/>
                  <a:gd name="connsiteX51" fmla="*/ 678858 w 1712321"/>
                  <a:gd name="connsiteY51" fmla="*/ 958602 h 2673102"/>
                  <a:gd name="connsiteX52" fmla="*/ 645521 w 1712321"/>
                  <a:gd name="connsiteY52" fmla="*/ 939552 h 2673102"/>
                  <a:gd name="connsiteX53" fmla="*/ 526458 w 1712321"/>
                  <a:gd name="connsiteY53" fmla="*/ 910977 h 2673102"/>
                  <a:gd name="connsiteX54" fmla="*/ 483596 w 1712321"/>
                  <a:gd name="connsiteY54" fmla="*/ 891927 h 2673102"/>
                  <a:gd name="connsiteX55" fmla="*/ 421683 w 1712321"/>
                  <a:gd name="connsiteY55" fmla="*/ 882402 h 2673102"/>
                  <a:gd name="connsiteX56" fmla="*/ 321671 w 1712321"/>
                  <a:gd name="connsiteY56" fmla="*/ 896689 h 2673102"/>
                  <a:gd name="connsiteX57" fmla="*/ 307383 w 1712321"/>
                  <a:gd name="connsiteY57" fmla="*/ 910977 h 2673102"/>
                  <a:gd name="connsiteX58" fmla="*/ 283571 w 1712321"/>
                  <a:gd name="connsiteY58" fmla="*/ 949077 h 2673102"/>
                  <a:gd name="connsiteX59" fmla="*/ 269283 w 1712321"/>
                  <a:gd name="connsiteY59" fmla="*/ 987177 h 2673102"/>
                  <a:gd name="connsiteX60" fmla="*/ 264521 w 1712321"/>
                  <a:gd name="connsiteY60" fmla="*/ 1039564 h 2673102"/>
                  <a:gd name="connsiteX61" fmla="*/ 264521 w 1712321"/>
                  <a:gd name="connsiteY61" fmla="*/ 1120527 h 2673102"/>
                  <a:gd name="connsiteX62" fmla="*/ 297858 w 1712321"/>
                  <a:gd name="connsiteY62" fmla="*/ 1153864 h 2673102"/>
                  <a:gd name="connsiteX63" fmla="*/ 326433 w 1712321"/>
                  <a:gd name="connsiteY63" fmla="*/ 1163389 h 2673102"/>
                  <a:gd name="connsiteX64" fmla="*/ 326433 w 1712321"/>
                  <a:gd name="connsiteY64" fmla="*/ 1244352 h 2673102"/>
                  <a:gd name="connsiteX65" fmla="*/ 312146 w 1712321"/>
                  <a:gd name="connsiteY65" fmla="*/ 1258639 h 2673102"/>
                  <a:gd name="connsiteX66" fmla="*/ 259758 w 1712321"/>
                  <a:gd name="connsiteY66" fmla="*/ 1296739 h 2673102"/>
                  <a:gd name="connsiteX67" fmla="*/ 240708 w 1712321"/>
                  <a:gd name="connsiteY67" fmla="*/ 1325314 h 2673102"/>
                  <a:gd name="connsiteX68" fmla="*/ 250233 w 1712321"/>
                  <a:gd name="connsiteY68" fmla="*/ 1425327 h 2673102"/>
                  <a:gd name="connsiteX69" fmla="*/ 278808 w 1712321"/>
                  <a:gd name="connsiteY69" fmla="*/ 1472952 h 2673102"/>
                  <a:gd name="connsiteX70" fmla="*/ 293096 w 1712321"/>
                  <a:gd name="connsiteY70" fmla="*/ 1492002 h 2673102"/>
                  <a:gd name="connsiteX71" fmla="*/ 383583 w 1712321"/>
                  <a:gd name="connsiteY71" fmla="*/ 1525339 h 2673102"/>
                  <a:gd name="connsiteX72" fmla="*/ 407396 w 1712321"/>
                  <a:gd name="connsiteY72" fmla="*/ 1492002 h 2673102"/>
                  <a:gd name="connsiteX73" fmla="*/ 412158 w 1712321"/>
                  <a:gd name="connsiteY73" fmla="*/ 1468189 h 2673102"/>
                  <a:gd name="connsiteX74" fmla="*/ 416921 w 1712321"/>
                  <a:gd name="connsiteY74" fmla="*/ 1449139 h 2673102"/>
                  <a:gd name="connsiteX75" fmla="*/ 445496 w 1712321"/>
                  <a:gd name="connsiteY75" fmla="*/ 1439614 h 2673102"/>
                  <a:gd name="connsiteX76" fmla="*/ 545508 w 1712321"/>
                  <a:gd name="connsiteY76" fmla="*/ 1458664 h 2673102"/>
                  <a:gd name="connsiteX77" fmla="*/ 555033 w 1712321"/>
                  <a:gd name="connsiteY77" fmla="*/ 1482477 h 2673102"/>
                  <a:gd name="connsiteX78" fmla="*/ 564558 w 1712321"/>
                  <a:gd name="connsiteY78" fmla="*/ 1515814 h 2673102"/>
                  <a:gd name="connsiteX79" fmla="*/ 550271 w 1712321"/>
                  <a:gd name="connsiteY79" fmla="*/ 1534864 h 2673102"/>
                  <a:gd name="connsiteX80" fmla="*/ 550271 w 1712321"/>
                  <a:gd name="connsiteY80" fmla="*/ 1601539 h 2673102"/>
                  <a:gd name="connsiteX81" fmla="*/ 559796 w 1712321"/>
                  <a:gd name="connsiteY81" fmla="*/ 1620589 h 2673102"/>
                  <a:gd name="connsiteX82" fmla="*/ 626471 w 1712321"/>
                  <a:gd name="connsiteY82" fmla="*/ 1639639 h 2673102"/>
                  <a:gd name="connsiteX83" fmla="*/ 645521 w 1712321"/>
                  <a:gd name="connsiteY83" fmla="*/ 1592014 h 2673102"/>
                  <a:gd name="connsiteX84" fmla="*/ 702671 w 1712321"/>
                  <a:gd name="connsiteY84" fmla="*/ 1620589 h 2673102"/>
                  <a:gd name="connsiteX85" fmla="*/ 731246 w 1712321"/>
                  <a:gd name="connsiteY85" fmla="*/ 1630114 h 2673102"/>
                  <a:gd name="connsiteX86" fmla="*/ 783633 w 1712321"/>
                  <a:gd name="connsiteY86" fmla="*/ 1663452 h 2673102"/>
                  <a:gd name="connsiteX87" fmla="*/ 859833 w 1712321"/>
                  <a:gd name="connsiteY87" fmla="*/ 1687264 h 2673102"/>
                  <a:gd name="connsiteX88" fmla="*/ 878883 w 1712321"/>
                  <a:gd name="connsiteY88" fmla="*/ 1701552 h 2673102"/>
                  <a:gd name="connsiteX89" fmla="*/ 888408 w 1712321"/>
                  <a:gd name="connsiteY89" fmla="*/ 1739652 h 2673102"/>
                  <a:gd name="connsiteX90" fmla="*/ 897933 w 1712321"/>
                  <a:gd name="connsiteY90" fmla="*/ 1782514 h 2673102"/>
                  <a:gd name="connsiteX91" fmla="*/ 940796 w 1712321"/>
                  <a:gd name="connsiteY91" fmla="*/ 1892052 h 2673102"/>
                  <a:gd name="connsiteX92" fmla="*/ 950321 w 1712321"/>
                  <a:gd name="connsiteY92" fmla="*/ 1906339 h 2673102"/>
                  <a:gd name="connsiteX93" fmla="*/ 959846 w 1712321"/>
                  <a:gd name="connsiteY93" fmla="*/ 1939677 h 2673102"/>
                  <a:gd name="connsiteX94" fmla="*/ 974133 w 1712321"/>
                  <a:gd name="connsiteY94" fmla="*/ 1977777 h 2673102"/>
                  <a:gd name="connsiteX95" fmla="*/ 964608 w 1712321"/>
                  <a:gd name="connsiteY95" fmla="*/ 2082552 h 2673102"/>
                  <a:gd name="connsiteX96" fmla="*/ 955083 w 1712321"/>
                  <a:gd name="connsiteY96" fmla="*/ 2101602 h 2673102"/>
                  <a:gd name="connsiteX97" fmla="*/ 926508 w 1712321"/>
                  <a:gd name="connsiteY97" fmla="*/ 2144464 h 2673102"/>
                  <a:gd name="connsiteX98" fmla="*/ 907458 w 1712321"/>
                  <a:gd name="connsiteY98" fmla="*/ 2192089 h 2673102"/>
                  <a:gd name="connsiteX99" fmla="*/ 902696 w 1712321"/>
                  <a:gd name="connsiteY99" fmla="*/ 2211139 h 2673102"/>
                  <a:gd name="connsiteX100" fmla="*/ 893171 w 1712321"/>
                  <a:gd name="connsiteY100" fmla="*/ 2239714 h 2673102"/>
                  <a:gd name="connsiteX101" fmla="*/ 897933 w 1712321"/>
                  <a:gd name="connsiteY101" fmla="*/ 2287339 h 2673102"/>
                  <a:gd name="connsiteX102" fmla="*/ 893171 w 1712321"/>
                  <a:gd name="connsiteY102" fmla="*/ 2396877 h 2673102"/>
                  <a:gd name="connsiteX103" fmla="*/ 688383 w 1712321"/>
                  <a:gd name="connsiteY103" fmla="*/ 2449264 h 2673102"/>
                  <a:gd name="connsiteX104" fmla="*/ 655046 w 1712321"/>
                  <a:gd name="connsiteY104" fmla="*/ 2473077 h 2673102"/>
                  <a:gd name="connsiteX105" fmla="*/ 607421 w 1712321"/>
                  <a:gd name="connsiteY105" fmla="*/ 2511177 h 2673102"/>
                  <a:gd name="connsiteX106" fmla="*/ 574083 w 1712321"/>
                  <a:gd name="connsiteY106" fmla="*/ 2534989 h 2673102"/>
                  <a:gd name="connsiteX107" fmla="*/ 540746 w 1712321"/>
                  <a:gd name="connsiteY107" fmla="*/ 2554039 h 2673102"/>
                  <a:gd name="connsiteX108" fmla="*/ 497883 w 1712321"/>
                  <a:gd name="connsiteY108" fmla="*/ 2587377 h 2673102"/>
                  <a:gd name="connsiteX109" fmla="*/ 483596 w 1712321"/>
                  <a:gd name="connsiteY109" fmla="*/ 2601664 h 2673102"/>
                  <a:gd name="connsiteX110" fmla="*/ 459783 w 1712321"/>
                  <a:gd name="connsiteY110" fmla="*/ 2620714 h 2673102"/>
                  <a:gd name="connsiteX111" fmla="*/ 450258 w 1712321"/>
                  <a:gd name="connsiteY111" fmla="*/ 2635002 h 2673102"/>
                  <a:gd name="connsiteX112" fmla="*/ 416921 w 1712321"/>
                  <a:gd name="connsiteY112" fmla="*/ 2654052 h 2673102"/>
                  <a:gd name="connsiteX113" fmla="*/ 374058 w 1712321"/>
                  <a:gd name="connsiteY113" fmla="*/ 2673102 h 2673102"/>
                  <a:gd name="connsiteX114" fmla="*/ 359771 w 1712321"/>
                  <a:gd name="connsiteY114" fmla="*/ 2663577 h 2673102"/>
                  <a:gd name="connsiteX115" fmla="*/ 345483 w 1712321"/>
                  <a:gd name="connsiteY115" fmla="*/ 2635002 h 2673102"/>
                  <a:gd name="connsiteX116" fmla="*/ 335958 w 1712321"/>
                  <a:gd name="connsiteY116" fmla="*/ 2620714 h 2673102"/>
                  <a:gd name="connsiteX117" fmla="*/ 297858 w 1712321"/>
                  <a:gd name="connsiteY117" fmla="*/ 2611189 h 2673102"/>
                  <a:gd name="connsiteX118" fmla="*/ 278808 w 1712321"/>
                  <a:gd name="connsiteY118" fmla="*/ 2592139 h 2673102"/>
                  <a:gd name="connsiteX119" fmla="*/ 274046 w 1712321"/>
                  <a:gd name="connsiteY119" fmla="*/ 2573089 h 2673102"/>
                  <a:gd name="connsiteX120" fmla="*/ 235946 w 1712321"/>
                  <a:gd name="connsiteY120" fmla="*/ 2539752 h 2673102"/>
                  <a:gd name="connsiteX121" fmla="*/ 231183 w 1712321"/>
                  <a:gd name="connsiteY121" fmla="*/ 2525464 h 2673102"/>
                  <a:gd name="connsiteX122" fmla="*/ 226421 w 1712321"/>
                  <a:gd name="connsiteY122" fmla="*/ 2506414 h 2673102"/>
                  <a:gd name="connsiteX123" fmla="*/ 212133 w 1712321"/>
                  <a:gd name="connsiteY123" fmla="*/ 2492127 h 2673102"/>
                  <a:gd name="connsiteX124" fmla="*/ 154983 w 1712321"/>
                  <a:gd name="connsiteY124" fmla="*/ 2439739 h 2673102"/>
                  <a:gd name="connsiteX125" fmla="*/ 150221 w 1712321"/>
                  <a:gd name="connsiteY125" fmla="*/ 2415927 h 2673102"/>
                  <a:gd name="connsiteX126" fmla="*/ 135933 w 1712321"/>
                  <a:gd name="connsiteY126" fmla="*/ 2358777 h 2673102"/>
                  <a:gd name="connsiteX127" fmla="*/ 121646 w 1712321"/>
                  <a:gd name="connsiteY127" fmla="*/ 2315914 h 2673102"/>
                  <a:gd name="connsiteX128" fmla="*/ 107358 w 1712321"/>
                  <a:gd name="connsiteY128" fmla="*/ 2258764 h 2673102"/>
                  <a:gd name="connsiteX129" fmla="*/ 102596 w 1712321"/>
                  <a:gd name="connsiteY129" fmla="*/ 2234952 h 2673102"/>
                  <a:gd name="connsiteX130" fmla="*/ 93071 w 1712321"/>
                  <a:gd name="connsiteY130" fmla="*/ 2211139 h 2673102"/>
                  <a:gd name="connsiteX131" fmla="*/ 88308 w 1712321"/>
                  <a:gd name="connsiteY131" fmla="*/ 2187327 h 2673102"/>
                  <a:gd name="connsiteX132" fmla="*/ 78783 w 1712321"/>
                  <a:gd name="connsiteY132" fmla="*/ 2111127 h 2673102"/>
                  <a:gd name="connsiteX133" fmla="*/ 97833 w 1712321"/>
                  <a:gd name="connsiteY133" fmla="*/ 1944439 h 2673102"/>
                  <a:gd name="connsiteX134" fmla="*/ 107358 w 1712321"/>
                  <a:gd name="connsiteY134" fmla="*/ 1930152 h 2673102"/>
                  <a:gd name="connsiteX135" fmla="*/ 126408 w 1712321"/>
                  <a:gd name="connsiteY135" fmla="*/ 1901577 h 2673102"/>
                  <a:gd name="connsiteX136" fmla="*/ 135933 w 1712321"/>
                  <a:gd name="connsiteY136" fmla="*/ 1868239 h 2673102"/>
                  <a:gd name="connsiteX137" fmla="*/ 131171 w 1712321"/>
                  <a:gd name="connsiteY137" fmla="*/ 1825377 h 2673102"/>
                  <a:gd name="connsiteX138" fmla="*/ 112121 w 1712321"/>
                  <a:gd name="connsiteY138" fmla="*/ 1820614 h 2673102"/>
                  <a:gd name="connsiteX139" fmla="*/ 102596 w 1712321"/>
                  <a:gd name="connsiteY139" fmla="*/ 1806327 h 2673102"/>
                  <a:gd name="connsiteX140" fmla="*/ 145458 w 1712321"/>
                  <a:gd name="connsiteY140" fmla="*/ 1720602 h 2673102"/>
                  <a:gd name="connsiteX141" fmla="*/ 159746 w 1712321"/>
                  <a:gd name="connsiteY141" fmla="*/ 1715839 h 2673102"/>
                  <a:gd name="connsiteX142" fmla="*/ 174033 w 1712321"/>
                  <a:gd name="connsiteY142" fmla="*/ 1696789 h 2673102"/>
                  <a:gd name="connsiteX143" fmla="*/ 188321 w 1712321"/>
                  <a:gd name="connsiteY143" fmla="*/ 1687264 h 2673102"/>
                  <a:gd name="connsiteX144" fmla="*/ 202608 w 1712321"/>
                  <a:gd name="connsiteY144" fmla="*/ 1653927 h 2673102"/>
                  <a:gd name="connsiteX145" fmla="*/ 193083 w 1712321"/>
                  <a:gd name="connsiteY145" fmla="*/ 1606302 h 2673102"/>
                  <a:gd name="connsiteX146" fmla="*/ 164508 w 1712321"/>
                  <a:gd name="connsiteY146" fmla="*/ 1596777 h 2673102"/>
                  <a:gd name="connsiteX147" fmla="*/ 154983 w 1712321"/>
                  <a:gd name="connsiteY147" fmla="*/ 1549152 h 2673102"/>
                  <a:gd name="connsiteX148" fmla="*/ 150221 w 1712321"/>
                  <a:gd name="connsiteY148" fmla="*/ 1411039 h 2673102"/>
                  <a:gd name="connsiteX149" fmla="*/ 140696 w 1712321"/>
                  <a:gd name="connsiteY149" fmla="*/ 1377702 h 2673102"/>
                  <a:gd name="connsiteX150" fmla="*/ 121646 w 1712321"/>
                  <a:gd name="connsiteY150" fmla="*/ 1311027 h 2673102"/>
                  <a:gd name="connsiteX151" fmla="*/ 116883 w 1712321"/>
                  <a:gd name="connsiteY151" fmla="*/ 1258639 h 2673102"/>
                  <a:gd name="connsiteX152" fmla="*/ 107358 w 1712321"/>
                  <a:gd name="connsiteY152" fmla="*/ 1244352 h 2673102"/>
                  <a:gd name="connsiteX153" fmla="*/ 93071 w 1712321"/>
                  <a:gd name="connsiteY153" fmla="*/ 1196727 h 2673102"/>
                  <a:gd name="connsiteX154" fmla="*/ 78783 w 1712321"/>
                  <a:gd name="connsiteY154" fmla="*/ 1177677 h 2673102"/>
                  <a:gd name="connsiteX155" fmla="*/ 59733 w 1712321"/>
                  <a:gd name="connsiteY155" fmla="*/ 1139577 h 2673102"/>
                  <a:gd name="connsiteX156" fmla="*/ 50208 w 1712321"/>
                  <a:gd name="connsiteY156" fmla="*/ 1111002 h 2673102"/>
                  <a:gd name="connsiteX157" fmla="*/ 45446 w 1712321"/>
                  <a:gd name="connsiteY157" fmla="*/ 1096714 h 2673102"/>
                  <a:gd name="connsiteX158" fmla="*/ 21633 w 1712321"/>
                  <a:gd name="connsiteY158" fmla="*/ 1025277 h 2673102"/>
                  <a:gd name="connsiteX159" fmla="*/ 202 w 1712321"/>
                  <a:gd name="connsiteY159" fmla="*/ 980033 h 2673102"/>
                  <a:gd name="connsiteX160" fmla="*/ 14490 w 1712321"/>
                  <a:gd name="connsiteY160" fmla="*/ 930027 h 2673102"/>
                  <a:gd name="connsiteX161" fmla="*/ 69259 w 1712321"/>
                  <a:gd name="connsiteY161" fmla="*/ 810964 h 2673102"/>
                  <a:gd name="connsiteX162" fmla="*/ 221658 w 1712321"/>
                  <a:gd name="connsiteY162" fmla="*/ 601414 h 2673102"/>
                  <a:gd name="connsiteX163" fmla="*/ 288333 w 1712321"/>
                  <a:gd name="connsiteY163" fmla="*/ 515689 h 2673102"/>
                  <a:gd name="connsiteX164" fmla="*/ 412158 w 1712321"/>
                  <a:gd name="connsiteY164" fmla="*/ 406152 h 2673102"/>
                  <a:gd name="connsiteX165" fmla="*/ 535983 w 1712321"/>
                  <a:gd name="connsiteY165" fmla="*/ 291851 h 2673102"/>
                  <a:gd name="connsiteX166" fmla="*/ 640758 w 1712321"/>
                  <a:gd name="connsiteY166" fmla="*/ 229939 h 2673102"/>
                  <a:gd name="connsiteX167" fmla="*/ 733628 w 1712321"/>
                  <a:gd name="connsiteY167" fmla="*/ 168026 h 2673102"/>
                  <a:gd name="connsiteX168" fmla="*/ 978896 w 1712321"/>
                  <a:gd name="connsiteY168" fmla="*/ 63251 h 2673102"/>
                  <a:gd name="connsiteX169" fmla="*/ 1159871 w 1712321"/>
                  <a:gd name="connsiteY169" fmla="*/ 6102 h 2673102"/>
                  <a:gd name="connsiteX170" fmla="*/ 1202733 w 1712321"/>
                  <a:gd name="connsiteY170" fmla="*/ 10864 h 2673102"/>
                  <a:gd name="connsiteX0" fmla="*/ 1202733 w 1712321"/>
                  <a:gd name="connsiteY0" fmla="*/ 10864 h 2673102"/>
                  <a:gd name="connsiteX1" fmla="*/ 1197971 w 1712321"/>
                  <a:gd name="connsiteY1" fmla="*/ 68014 h 2673102"/>
                  <a:gd name="connsiteX2" fmla="*/ 1174158 w 1712321"/>
                  <a:gd name="connsiteY2" fmla="*/ 110877 h 2673102"/>
                  <a:gd name="connsiteX3" fmla="*/ 1164633 w 1712321"/>
                  <a:gd name="connsiteY3" fmla="*/ 129927 h 2673102"/>
                  <a:gd name="connsiteX4" fmla="*/ 1164633 w 1712321"/>
                  <a:gd name="connsiteY4" fmla="*/ 206127 h 2673102"/>
                  <a:gd name="connsiteX5" fmla="*/ 1183683 w 1712321"/>
                  <a:gd name="connsiteY5" fmla="*/ 225177 h 2673102"/>
                  <a:gd name="connsiteX6" fmla="*/ 1202733 w 1712321"/>
                  <a:gd name="connsiteY6" fmla="*/ 258514 h 2673102"/>
                  <a:gd name="connsiteX7" fmla="*/ 1221783 w 1712321"/>
                  <a:gd name="connsiteY7" fmla="*/ 268039 h 2673102"/>
                  <a:gd name="connsiteX8" fmla="*/ 1231308 w 1712321"/>
                  <a:gd name="connsiteY8" fmla="*/ 282327 h 2673102"/>
                  <a:gd name="connsiteX9" fmla="*/ 1245596 w 1712321"/>
                  <a:gd name="connsiteY9" fmla="*/ 296614 h 2673102"/>
                  <a:gd name="connsiteX10" fmla="*/ 1255121 w 1712321"/>
                  <a:gd name="connsiteY10" fmla="*/ 315664 h 2673102"/>
                  <a:gd name="connsiteX11" fmla="*/ 1250358 w 1712321"/>
                  <a:gd name="connsiteY11" fmla="*/ 344239 h 2673102"/>
                  <a:gd name="connsiteX12" fmla="*/ 1245596 w 1712321"/>
                  <a:gd name="connsiteY12" fmla="*/ 363289 h 2673102"/>
                  <a:gd name="connsiteX13" fmla="*/ 1250358 w 1712321"/>
                  <a:gd name="connsiteY13" fmla="*/ 425202 h 2673102"/>
                  <a:gd name="connsiteX14" fmla="*/ 1269408 w 1712321"/>
                  <a:gd name="connsiteY14" fmla="*/ 463302 h 2673102"/>
                  <a:gd name="connsiteX15" fmla="*/ 1278933 w 1712321"/>
                  <a:gd name="connsiteY15" fmla="*/ 477589 h 2673102"/>
                  <a:gd name="connsiteX16" fmla="*/ 1293221 w 1712321"/>
                  <a:gd name="connsiteY16" fmla="*/ 487114 h 2673102"/>
                  <a:gd name="connsiteX17" fmla="*/ 1350371 w 1712321"/>
                  <a:gd name="connsiteY17" fmla="*/ 510927 h 2673102"/>
                  <a:gd name="connsiteX18" fmla="*/ 1378946 w 1712321"/>
                  <a:gd name="connsiteY18" fmla="*/ 520452 h 2673102"/>
                  <a:gd name="connsiteX19" fmla="*/ 1407521 w 1712321"/>
                  <a:gd name="connsiteY19" fmla="*/ 539502 h 2673102"/>
                  <a:gd name="connsiteX20" fmla="*/ 1469433 w 1712321"/>
                  <a:gd name="connsiteY20" fmla="*/ 568077 h 2673102"/>
                  <a:gd name="connsiteX21" fmla="*/ 1521821 w 1712321"/>
                  <a:gd name="connsiteY21" fmla="*/ 587127 h 2673102"/>
                  <a:gd name="connsiteX22" fmla="*/ 1540871 w 1712321"/>
                  <a:gd name="connsiteY22" fmla="*/ 596652 h 2673102"/>
                  <a:gd name="connsiteX23" fmla="*/ 1559921 w 1712321"/>
                  <a:gd name="connsiteY23" fmla="*/ 601414 h 2673102"/>
                  <a:gd name="connsiteX24" fmla="*/ 1607546 w 1712321"/>
                  <a:gd name="connsiteY24" fmla="*/ 639514 h 2673102"/>
                  <a:gd name="connsiteX25" fmla="*/ 1636121 w 1712321"/>
                  <a:gd name="connsiteY25" fmla="*/ 672852 h 2673102"/>
                  <a:gd name="connsiteX26" fmla="*/ 1650408 w 1712321"/>
                  <a:gd name="connsiteY26" fmla="*/ 687139 h 2673102"/>
                  <a:gd name="connsiteX27" fmla="*/ 1669458 w 1712321"/>
                  <a:gd name="connsiteY27" fmla="*/ 696664 h 2673102"/>
                  <a:gd name="connsiteX28" fmla="*/ 1683746 w 1712321"/>
                  <a:gd name="connsiteY28" fmla="*/ 706189 h 2673102"/>
                  <a:gd name="connsiteX29" fmla="*/ 1698033 w 1712321"/>
                  <a:gd name="connsiteY29" fmla="*/ 744289 h 2673102"/>
                  <a:gd name="connsiteX30" fmla="*/ 1707558 w 1712321"/>
                  <a:gd name="connsiteY30" fmla="*/ 768102 h 2673102"/>
                  <a:gd name="connsiteX31" fmla="*/ 1712321 w 1712321"/>
                  <a:gd name="connsiteY31" fmla="*/ 782389 h 2673102"/>
                  <a:gd name="connsiteX32" fmla="*/ 1702796 w 1712321"/>
                  <a:gd name="connsiteY32" fmla="*/ 853827 h 2673102"/>
                  <a:gd name="connsiteX33" fmla="*/ 1664696 w 1712321"/>
                  <a:gd name="connsiteY33" fmla="*/ 887164 h 2673102"/>
                  <a:gd name="connsiteX34" fmla="*/ 1650408 w 1712321"/>
                  <a:gd name="connsiteY34" fmla="*/ 901452 h 2673102"/>
                  <a:gd name="connsiteX35" fmla="*/ 1598021 w 1712321"/>
                  <a:gd name="connsiteY35" fmla="*/ 906214 h 2673102"/>
                  <a:gd name="connsiteX36" fmla="*/ 1555158 w 1712321"/>
                  <a:gd name="connsiteY36" fmla="*/ 925264 h 2673102"/>
                  <a:gd name="connsiteX37" fmla="*/ 1531346 w 1712321"/>
                  <a:gd name="connsiteY37" fmla="*/ 939552 h 2673102"/>
                  <a:gd name="connsiteX38" fmla="*/ 1498008 w 1712321"/>
                  <a:gd name="connsiteY38" fmla="*/ 987177 h 2673102"/>
                  <a:gd name="connsiteX39" fmla="*/ 1345608 w 1712321"/>
                  <a:gd name="connsiteY39" fmla="*/ 1030039 h 2673102"/>
                  <a:gd name="connsiteX40" fmla="*/ 1297983 w 1712321"/>
                  <a:gd name="connsiteY40" fmla="*/ 1053852 h 2673102"/>
                  <a:gd name="connsiteX41" fmla="*/ 1231308 w 1712321"/>
                  <a:gd name="connsiteY41" fmla="*/ 1082427 h 2673102"/>
                  <a:gd name="connsiteX42" fmla="*/ 1126533 w 1712321"/>
                  <a:gd name="connsiteY42" fmla="*/ 1096714 h 2673102"/>
                  <a:gd name="connsiteX43" fmla="*/ 1102721 w 1712321"/>
                  <a:gd name="connsiteY43" fmla="*/ 1101477 h 2673102"/>
                  <a:gd name="connsiteX44" fmla="*/ 1078908 w 1712321"/>
                  <a:gd name="connsiteY44" fmla="*/ 1111002 h 2673102"/>
                  <a:gd name="connsiteX45" fmla="*/ 964608 w 1712321"/>
                  <a:gd name="connsiteY45" fmla="*/ 1106239 h 2673102"/>
                  <a:gd name="connsiteX46" fmla="*/ 859833 w 1712321"/>
                  <a:gd name="connsiteY46" fmla="*/ 1058614 h 2673102"/>
                  <a:gd name="connsiteX47" fmla="*/ 812208 w 1712321"/>
                  <a:gd name="connsiteY47" fmla="*/ 1034802 h 2673102"/>
                  <a:gd name="connsiteX48" fmla="*/ 788396 w 1712321"/>
                  <a:gd name="connsiteY48" fmla="*/ 1020514 h 2673102"/>
                  <a:gd name="connsiteX49" fmla="*/ 769346 w 1712321"/>
                  <a:gd name="connsiteY49" fmla="*/ 1006227 h 2673102"/>
                  <a:gd name="connsiteX50" fmla="*/ 678858 w 1712321"/>
                  <a:gd name="connsiteY50" fmla="*/ 958602 h 2673102"/>
                  <a:gd name="connsiteX51" fmla="*/ 645521 w 1712321"/>
                  <a:gd name="connsiteY51" fmla="*/ 939552 h 2673102"/>
                  <a:gd name="connsiteX52" fmla="*/ 526458 w 1712321"/>
                  <a:gd name="connsiteY52" fmla="*/ 910977 h 2673102"/>
                  <a:gd name="connsiteX53" fmla="*/ 483596 w 1712321"/>
                  <a:gd name="connsiteY53" fmla="*/ 891927 h 2673102"/>
                  <a:gd name="connsiteX54" fmla="*/ 421683 w 1712321"/>
                  <a:gd name="connsiteY54" fmla="*/ 882402 h 2673102"/>
                  <a:gd name="connsiteX55" fmla="*/ 321671 w 1712321"/>
                  <a:gd name="connsiteY55" fmla="*/ 896689 h 2673102"/>
                  <a:gd name="connsiteX56" fmla="*/ 307383 w 1712321"/>
                  <a:gd name="connsiteY56" fmla="*/ 910977 h 2673102"/>
                  <a:gd name="connsiteX57" fmla="*/ 283571 w 1712321"/>
                  <a:gd name="connsiteY57" fmla="*/ 949077 h 2673102"/>
                  <a:gd name="connsiteX58" fmla="*/ 269283 w 1712321"/>
                  <a:gd name="connsiteY58" fmla="*/ 987177 h 2673102"/>
                  <a:gd name="connsiteX59" fmla="*/ 264521 w 1712321"/>
                  <a:gd name="connsiteY59" fmla="*/ 1039564 h 2673102"/>
                  <a:gd name="connsiteX60" fmla="*/ 264521 w 1712321"/>
                  <a:gd name="connsiteY60" fmla="*/ 1120527 h 2673102"/>
                  <a:gd name="connsiteX61" fmla="*/ 297858 w 1712321"/>
                  <a:gd name="connsiteY61" fmla="*/ 1153864 h 2673102"/>
                  <a:gd name="connsiteX62" fmla="*/ 326433 w 1712321"/>
                  <a:gd name="connsiteY62" fmla="*/ 1163389 h 2673102"/>
                  <a:gd name="connsiteX63" fmla="*/ 326433 w 1712321"/>
                  <a:gd name="connsiteY63" fmla="*/ 1244352 h 2673102"/>
                  <a:gd name="connsiteX64" fmla="*/ 312146 w 1712321"/>
                  <a:gd name="connsiteY64" fmla="*/ 1258639 h 2673102"/>
                  <a:gd name="connsiteX65" fmla="*/ 259758 w 1712321"/>
                  <a:gd name="connsiteY65" fmla="*/ 1296739 h 2673102"/>
                  <a:gd name="connsiteX66" fmla="*/ 240708 w 1712321"/>
                  <a:gd name="connsiteY66" fmla="*/ 1325314 h 2673102"/>
                  <a:gd name="connsiteX67" fmla="*/ 250233 w 1712321"/>
                  <a:gd name="connsiteY67" fmla="*/ 1425327 h 2673102"/>
                  <a:gd name="connsiteX68" fmla="*/ 278808 w 1712321"/>
                  <a:gd name="connsiteY68" fmla="*/ 1472952 h 2673102"/>
                  <a:gd name="connsiteX69" fmla="*/ 293096 w 1712321"/>
                  <a:gd name="connsiteY69" fmla="*/ 1492002 h 2673102"/>
                  <a:gd name="connsiteX70" fmla="*/ 383583 w 1712321"/>
                  <a:gd name="connsiteY70" fmla="*/ 1525339 h 2673102"/>
                  <a:gd name="connsiteX71" fmla="*/ 407396 w 1712321"/>
                  <a:gd name="connsiteY71" fmla="*/ 1492002 h 2673102"/>
                  <a:gd name="connsiteX72" fmla="*/ 412158 w 1712321"/>
                  <a:gd name="connsiteY72" fmla="*/ 1468189 h 2673102"/>
                  <a:gd name="connsiteX73" fmla="*/ 416921 w 1712321"/>
                  <a:gd name="connsiteY73" fmla="*/ 1449139 h 2673102"/>
                  <a:gd name="connsiteX74" fmla="*/ 445496 w 1712321"/>
                  <a:gd name="connsiteY74" fmla="*/ 1439614 h 2673102"/>
                  <a:gd name="connsiteX75" fmla="*/ 545508 w 1712321"/>
                  <a:gd name="connsiteY75" fmla="*/ 1458664 h 2673102"/>
                  <a:gd name="connsiteX76" fmla="*/ 555033 w 1712321"/>
                  <a:gd name="connsiteY76" fmla="*/ 1482477 h 2673102"/>
                  <a:gd name="connsiteX77" fmla="*/ 564558 w 1712321"/>
                  <a:gd name="connsiteY77" fmla="*/ 1515814 h 2673102"/>
                  <a:gd name="connsiteX78" fmla="*/ 550271 w 1712321"/>
                  <a:gd name="connsiteY78" fmla="*/ 1534864 h 2673102"/>
                  <a:gd name="connsiteX79" fmla="*/ 550271 w 1712321"/>
                  <a:gd name="connsiteY79" fmla="*/ 1601539 h 2673102"/>
                  <a:gd name="connsiteX80" fmla="*/ 559796 w 1712321"/>
                  <a:gd name="connsiteY80" fmla="*/ 1620589 h 2673102"/>
                  <a:gd name="connsiteX81" fmla="*/ 626471 w 1712321"/>
                  <a:gd name="connsiteY81" fmla="*/ 1639639 h 2673102"/>
                  <a:gd name="connsiteX82" fmla="*/ 645521 w 1712321"/>
                  <a:gd name="connsiteY82" fmla="*/ 1592014 h 2673102"/>
                  <a:gd name="connsiteX83" fmla="*/ 702671 w 1712321"/>
                  <a:gd name="connsiteY83" fmla="*/ 1620589 h 2673102"/>
                  <a:gd name="connsiteX84" fmla="*/ 731246 w 1712321"/>
                  <a:gd name="connsiteY84" fmla="*/ 1630114 h 2673102"/>
                  <a:gd name="connsiteX85" fmla="*/ 783633 w 1712321"/>
                  <a:gd name="connsiteY85" fmla="*/ 1663452 h 2673102"/>
                  <a:gd name="connsiteX86" fmla="*/ 859833 w 1712321"/>
                  <a:gd name="connsiteY86" fmla="*/ 1687264 h 2673102"/>
                  <a:gd name="connsiteX87" fmla="*/ 878883 w 1712321"/>
                  <a:gd name="connsiteY87" fmla="*/ 1701552 h 2673102"/>
                  <a:gd name="connsiteX88" fmla="*/ 888408 w 1712321"/>
                  <a:gd name="connsiteY88" fmla="*/ 1739652 h 2673102"/>
                  <a:gd name="connsiteX89" fmla="*/ 897933 w 1712321"/>
                  <a:gd name="connsiteY89" fmla="*/ 1782514 h 2673102"/>
                  <a:gd name="connsiteX90" fmla="*/ 940796 w 1712321"/>
                  <a:gd name="connsiteY90" fmla="*/ 1892052 h 2673102"/>
                  <a:gd name="connsiteX91" fmla="*/ 950321 w 1712321"/>
                  <a:gd name="connsiteY91" fmla="*/ 1906339 h 2673102"/>
                  <a:gd name="connsiteX92" fmla="*/ 959846 w 1712321"/>
                  <a:gd name="connsiteY92" fmla="*/ 1939677 h 2673102"/>
                  <a:gd name="connsiteX93" fmla="*/ 974133 w 1712321"/>
                  <a:gd name="connsiteY93" fmla="*/ 1977777 h 2673102"/>
                  <a:gd name="connsiteX94" fmla="*/ 964608 w 1712321"/>
                  <a:gd name="connsiteY94" fmla="*/ 2082552 h 2673102"/>
                  <a:gd name="connsiteX95" fmla="*/ 955083 w 1712321"/>
                  <a:gd name="connsiteY95" fmla="*/ 2101602 h 2673102"/>
                  <a:gd name="connsiteX96" fmla="*/ 926508 w 1712321"/>
                  <a:gd name="connsiteY96" fmla="*/ 2144464 h 2673102"/>
                  <a:gd name="connsiteX97" fmla="*/ 907458 w 1712321"/>
                  <a:gd name="connsiteY97" fmla="*/ 2192089 h 2673102"/>
                  <a:gd name="connsiteX98" fmla="*/ 902696 w 1712321"/>
                  <a:gd name="connsiteY98" fmla="*/ 2211139 h 2673102"/>
                  <a:gd name="connsiteX99" fmla="*/ 893171 w 1712321"/>
                  <a:gd name="connsiteY99" fmla="*/ 2239714 h 2673102"/>
                  <a:gd name="connsiteX100" fmla="*/ 897933 w 1712321"/>
                  <a:gd name="connsiteY100" fmla="*/ 2287339 h 2673102"/>
                  <a:gd name="connsiteX101" fmla="*/ 893171 w 1712321"/>
                  <a:gd name="connsiteY101" fmla="*/ 2396877 h 2673102"/>
                  <a:gd name="connsiteX102" fmla="*/ 688383 w 1712321"/>
                  <a:gd name="connsiteY102" fmla="*/ 2449264 h 2673102"/>
                  <a:gd name="connsiteX103" fmla="*/ 655046 w 1712321"/>
                  <a:gd name="connsiteY103" fmla="*/ 2473077 h 2673102"/>
                  <a:gd name="connsiteX104" fmla="*/ 607421 w 1712321"/>
                  <a:gd name="connsiteY104" fmla="*/ 2511177 h 2673102"/>
                  <a:gd name="connsiteX105" fmla="*/ 574083 w 1712321"/>
                  <a:gd name="connsiteY105" fmla="*/ 2534989 h 2673102"/>
                  <a:gd name="connsiteX106" fmla="*/ 540746 w 1712321"/>
                  <a:gd name="connsiteY106" fmla="*/ 2554039 h 2673102"/>
                  <a:gd name="connsiteX107" fmla="*/ 497883 w 1712321"/>
                  <a:gd name="connsiteY107" fmla="*/ 2587377 h 2673102"/>
                  <a:gd name="connsiteX108" fmla="*/ 483596 w 1712321"/>
                  <a:gd name="connsiteY108" fmla="*/ 2601664 h 2673102"/>
                  <a:gd name="connsiteX109" fmla="*/ 459783 w 1712321"/>
                  <a:gd name="connsiteY109" fmla="*/ 2620714 h 2673102"/>
                  <a:gd name="connsiteX110" fmla="*/ 450258 w 1712321"/>
                  <a:gd name="connsiteY110" fmla="*/ 2635002 h 2673102"/>
                  <a:gd name="connsiteX111" fmla="*/ 416921 w 1712321"/>
                  <a:gd name="connsiteY111" fmla="*/ 2654052 h 2673102"/>
                  <a:gd name="connsiteX112" fmla="*/ 374058 w 1712321"/>
                  <a:gd name="connsiteY112" fmla="*/ 2673102 h 2673102"/>
                  <a:gd name="connsiteX113" fmla="*/ 359771 w 1712321"/>
                  <a:gd name="connsiteY113" fmla="*/ 2663577 h 2673102"/>
                  <a:gd name="connsiteX114" fmla="*/ 345483 w 1712321"/>
                  <a:gd name="connsiteY114" fmla="*/ 2635002 h 2673102"/>
                  <a:gd name="connsiteX115" fmla="*/ 335958 w 1712321"/>
                  <a:gd name="connsiteY115" fmla="*/ 2620714 h 2673102"/>
                  <a:gd name="connsiteX116" fmla="*/ 297858 w 1712321"/>
                  <a:gd name="connsiteY116" fmla="*/ 2611189 h 2673102"/>
                  <a:gd name="connsiteX117" fmla="*/ 278808 w 1712321"/>
                  <a:gd name="connsiteY117" fmla="*/ 2592139 h 2673102"/>
                  <a:gd name="connsiteX118" fmla="*/ 274046 w 1712321"/>
                  <a:gd name="connsiteY118" fmla="*/ 2573089 h 2673102"/>
                  <a:gd name="connsiteX119" fmla="*/ 235946 w 1712321"/>
                  <a:gd name="connsiteY119" fmla="*/ 2539752 h 2673102"/>
                  <a:gd name="connsiteX120" fmla="*/ 231183 w 1712321"/>
                  <a:gd name="connsiteY120" fmla="*/ 2525464 h 2673102"/>
                  <a:gd name="connsiteX121" fmla="*/ 226421 w 1712321"/>
                  <a:gd name="connsiteY121" fmla="*/ 2506414 h 2673102"/>
                  <a:gd name="connsiteX122" fmla="*/ 212133 w 1712321"/>
                  <a:gd name="connsiteY122" fmla="*/ 2492127 h 2673102"/>
                  <a:gd name="connsiteX123" fmla="*/ 154983 w 1712321"/>
                  <a:gd name="connsiteY123" fmla="*/ 2439739 h 2673102"/>
                  <a:gd name="connsiteX124" fmla="*/ 150221 w 1712321"/>
                  <a:gd name="connsiteY124" fmla="*/ 2415927 h 2673102"/>
                  <a:gd name="connsiteX125" fmla="*/ 135933 w 1712321"/>
                  <a:gd name="connsiteY125" fmla="*/ 2358777 h 2673102"/>
                  <a:gd name="connsiteX126" fmla="*/ 121646 w 1712321"/>
                  <a:gd name="connsiteY126" fmla="*/ 2315914 h 2673102"/>
                  <a:gd name="connsiteX127" fmla="*/ 107358 w 1712321"/>
                  <a:gd name="connsiteY127" fmla="*/ 2258764 h 2673102"/>
                  <a:gd name="connsiteX128" fmla="*/ 102596 w 1712321"/>
                  <a:gd name="connsiteY128" fmla="*/ 2234952 h 2673102"/>
                  <a:gd name="connsiteX129" fmla="*/ 93071 w 1712321"/>
                  <a:gd name="connsiteY129" fmla="*/ 2211139 h 2673102"/>
                  <a:gd name="connsiteX130" fmla="*/ 88308 w 1712321"/>
                  <a:gd name="connsiteY130" fmla="*/ 2187327 h 2673102"/>
                  <a:gd name="connsiteX131" fmla="*/ 78783 w 1712321"/>
                  <a:gd name="connsiteY131" fmla="*/ 2111127 h 2673102"/>
                  <a:gd name="connsiteX132" fmla="*/ 97833 w 1712321"/>
                  <a:gd name="connsiteY132" fmla="*/ 1944439 h 2673102"/>
                  <a:gd name="connsiteX133" fmla="*/ 107358 w 1712321"/>
                  <a:gd name="connsiteY133" fmla="*/ 1930152 h 2673102"/>
                  <a:gd name="connsiteX134" fmla="*/ 126408 w 1712321"/>
                  <a:gd name="connsiteY134" fmla="*/ 1901577 h 2673102"/>
                  <a:gd name="connsiteX135" fmla="*/ 135933 w 1712321"/>
                  <a:gd name="connsiteY135" fmla="*/ 1868239 h 2673102"/>
                  <a:gd name="connsiteX136" fmla="*/ 131171 w 1712321"/>
                  <a:gd name="connsiteY136" fmla="*/ 1825377 h 2673102"/>
                  <a:gd name="connsiteX137" fmla="*/ 112121 w 1712321"/>
                  <a:gd name="connsiteY137" fmla="*/ 1820614 h 2673102"/>
                  <a:gd name="connsiteX138" fmla="*/ 102596 w 1712321"/>
                  <a:gd name="connsiteY138" fmla="*/ 1806327 h 2673102"/>
                  <a:gd name="connsiteX139" fmla="*/ 145458 w 1712321"/>
                  <a:gd name="connsiteY139" fmla="*/ 1720602 h 2673102"/>
                  <a:gd name="connsiteX140" fmla="*/ 159746 w 1712321"/>
                  <a:gd name="connsiteY140" fmla="*/ 1715839 h 2673102"/>
                  <a:gd name="connsiteX141" fmla="*/ 174033 w 1712321"/>
                  <a:gd name="connsiteY141" fmla="*/ 1696789 h 2673102"/>
                  <a:gd name="connsiteX142" fmla="*/ 188321 w 1712321"/>
                  <a:gd name="connsiteY142" fmla="*/ 1687264 h 2673102"/>
                  <a:gd name="connsiteX143" fmla="*/ 202608 w 1712321"/>
                  <a:gd name="connsiteY143" fmla="*/ 1653927 h 2673102"/>
                  <a:gd name="connsiteX144" fmla="*/ 193083 w 1712321"/>
                  <a:gd name="connsiteY144" fmla="*/ 1606302 h 2673102"/>
                  <a:gd name="connsiteX145" fmla="*/ 164508 w 1712321"/>
                  <a:gd name="connsiteY145" fmla="*/ 1596777 h 2673102"/>
                  <a:gd name="connsiteX146" fmla="*/ 154983 w 1712321"/>
                  <a:gd name="connsiteY146" fmla="*/ 1549152 h 2673102"/>
                  <a:gd name="connsiteX147" fmla="*/ 150221 w 1712321"/>
                  <a:gd name="connsiteY147" fmla="*/ 1411039 h 2673102"/>
                  <a:gd name="connsiteX148" fmla="*/ 140696 w 1712321"/>
                  <a:gd name="connsiteY148" fmla="*/ 1377702 h 2673102"/>
                  <a:gd name="connsiteX149" fmla="*/ 121646 w 1712321"/>
                  <a:gd name="connsiteY149" fmla="*/ 1311027 h 2673102"/>
                  <a:gd name="connsiteX150" fmla="*/ 116883 w 1712321"/>
                  <a:gd name="connsiteY150" fmla="*/ 1258639 h 2673102"/>
                  <a:gd name="connsiteX151" fmla="*/ 107358 w 1712321"/>
                  <a:gd name="connsiteY151" fmla="*/ 1244352 h 2673102"/>
                  <a:gd name="connsiteX152" fmla="*/ 93071 w 1712321"/>
                  <a:gd name="connsiteY152" fmla="*/ 1196727 h 2673102"/>
                  <a:gd name="connsiteX153" fmla="*/ 78783 w 1712321"/>
                  <a:gd name="connsiteY153" fmla="*/ 1177677 h 2673102"/>
                  <a:gd name="connsiteX154" fmla="*/ 59733 w 1712321"/>
                  <a:gd name="connsiteY154" fmla="*/ 1139577 h 2673102"/>
                  <a:gd name="connsiteX155" fmla="*/ 50208 w 1712321"/>
                  <a:gd name="connsiteY155" fmla="*/ 1111002 h 2673102"/>
                  <a:gd name="connsiteX156" fmla="*/ 45446 w 1712321"/>
                  <a:gd name="connsiteY156" fmla="*/ 1096714 h 2673102"/>
                  <a:gd name="connsiteX157" fmla="*/ 21633 w 1712321"/>
                  <a:gd name="connsiteY157" fmla="*/ 1025277 h 2673102"/>
                  <a:gd name="connsiteX158" fmla="*/ 202 w 1712321"/>
                  <a:gd name="connsiteY158" fmla="*/ 980033 h 2673102"/>
                  <a:gd name="connsiteX159" fmla="*/ 14490 w 1712321"/>
                  <a:gd name="connsiteY159" fmla="*/ 930027 h 2673102"/>
                  <a:gd name="connsiteX160" fmla="*/ 69259 w 1712321"/>
                  <a:gd name="connsiteY160" fmla="*/ 810964 h 2673102"/>
                  <a:gd name="connsiteX161" fmla="*/ 221658 w 1712321"/>
                  <a:gd name="connsiteY161" fmla="*/ 601414 h 2673102"/>
                  <a:gd name="connsiteX162" fmla="*/ 288333 w 1712321"/>
                  <a:gd name="connsiteY162" fmla="*/ 515689 h 2673102"/>
                  <a:gd name="connsiteX163" fmla="*/ 412158 w 1712321"/>
                  <a:gd name="connsiteY163" fmla="*/ 406152 h 2673102"/>
                  <a:gd name="connsiteX164" fmla="*/ 535983 w 1712321"/>
                  <a:gd name="connsiteY164" fmla="*/ 291851 h 2673102"/>
                  <a:gd name="connsiteX165" fmla="*/ 640758 w 1712321"/>
                  <a:gd name="connsiteY165" fmla="*/ 229939 h 2673102"/>
                  <a:gd name="connsiteX166" fmla="*/ 733628 w 1712321"/>
                  <a:gd name="connsiteY166" fmla="*/ 168026 h 2673102"/>
                  <a:gd name="connsiteX167" fmla="*/ 978896 w 1712321"/>
                  <a:gd name="connsiteY167" fmla="*/ 63251 h 2673102"/>
                  <a:gd name="connsiteX168" fmla="*/ 1159871 w 1712321"/>
                  <a:gd name="connsiteY168" fmla="*/ 6102 h 2673102"/>
                  <a:gd name="connsiteX169" fmla="*/ 1202733 w 1712321"/>
                  <a:gd name="connsiteY169" fmla="*/ 10864 h 2673102"/>
                  <a:gd name="connsiteX0" fmla="*/ 1202733 w 1712321"/>
                  <a:gd name="connsiteY0" fmla="*/ 10864 h 2673102"/>
                  <a:gd name="connsiteX1" fmla="*/ 1197971 w 1712321"/>
                  <a:gd name="connsiteY1" fmla="*/ 68014 h 2673102"/>
                  <a:gd name="connsiteX2" fmla="*/ 1174158 w 1712321"/>
                  <a:gd name="connsiteY2" fmla="*/ 110877 h 2673102"/>
                  <a:gd name="connsiteX3" fmla="*/ 1164633 w 1712321"/>
                  <a:gd name="connsiteY3" fmla="*/ 129927 h 2673102"/>
                  <a:gd name="connsiteX4" fmla="*/ 1164633 w 1712321"/>
                  <a:gd name="connsiteY4" fmla="*/ 206127 h 2673102"/>
                  <a:gd name="connsiteX5" fmla="*/ 1183683 w 1712321"/>
                  <a:gd name="connsiteY5" fmla="*/ 225177 h 2673102"/>
                  <a:gd name="connsiteX6" fmla="*/ 1202733 w 1712321"/>
                  <a:gd name="connsiteY6" fmla="*/ 258514 h 2673102"/>
                  <a:gd name="connsiteX7" fmla="*/ 1221783 w 1712321"/>
                  <a:gd name="connsiteY7" fmla="*/ 268039 h 2673102"/>
                  <a:gd name="connsiteX8" fmla="*/ 1231308 w 1712321"/>
                  <a:gd name="connsiteY8" fmla="*/ 282327 h 2673102"/>
                  <a:gd name="connsiteX9" fmla="*/ 1245596 w 1712321"/>
                  <a:gd name="connsiteY9" fmla="*/ 296614 h 2673102"/>
                  <a:gd name="connsiteX10" fmla="*/ 1255121 w 1712321"/>
                  <a:gd name="connsiteY10" fmla="*/ 315664 h 2673102"/>
                  <a:gd name="connsiteX11" fmla="*/ 1250358 w 1712321"/>
                  <a:gd name="connsiteY11" fmla="*/ 344239 h 2673102"/>
                  <a:gd name="connsiteX12" fmla="*/ 1245596 w 1712321"/>
                  <a:gd name="connsiteY12" fmla="*/ 363289 h 2673102"/>
                  <a:gd name="connsiteX13" fmla="*/ 1250358 w 1712321"/>
                  <a:gd name="connsiteY13" fmla="*/ 425202 h 2673102"/>
                  <a:gd name="connsiteX14" fmla="*/ 1269408 w 1712321"/>
                  <a:gd name="connsiteY14" fmla="*/ 463302 h 2673102"/>
                  <a:gd name="connsiteX15" fmla="*/ 1278933 w 1712321"/>
                  <a:gd name="connsiteY15" fmla="*/ 477589 h 2673102"/>
                  <a:gd name="connsiteX16" fmla="*/ 1293221 w 1712321"/>
                  <a:gd name="connsiteY16" fmla="*/ 487114 h 2673102"/>
                  <a:gd name="connsiteX17" fmla="*/ 1350371 w 1712321"/>
                  <a:gd name="connsiteY17" fmla="*/ 510927 h 2673102"/>
                  <a:gd name="connsiteX18" fmla="*/ 1378946 w 1712321"/>
                  <a:gd name="connsiteY18" fmla="*/ 520452 h 2673102"/>
                  <a:gd name="connsiteX19" fmla="*/ 1407521 w 1712321"/>
                  <a:gd name="connsiteY19" fmla="*/ 539502 h 2673102"/>
                  <a:gd name="connsiteX20" fmla="*/ 1469433 w 1712321"/>
                  <a:gd name="connsiteY20" fmla="*/ 568077 h 2673102"/>
                  <a:gd name="connsiteX21" fmla="*/ 1521821 w 1712321"/>
                  <a:gd name="connsiteY21" fmla="*/ 587127 h 2673102"/>
                  <a:gd name="connsiteX22" fmla="*/ 1540871 w 1712321"/>
                  <a:gd name="connsiteY22" fmla="*/ 596652 h 2673102"/>
                  <a:gd name="connsiteX23" fmla="*/ 1559921 w 1712321"/>
                  <a:gd name="connsiteY23" fmla="*/ 601414 h 2673102"/>
                  <a:gd name="connsiteX24" fmla="*/ 1607546 w 1712321"/>
                  <a:gd name="connsiteY24" fmla="*/ 639514 h 2673102"/>
                  <a:gd name="connsiteX25" fmla="*/ 1636121 w 1712321"/>
                  <a:gd name="connsiteY25" fmla="*/ 672852 h 2673102"/>
                  <a:gd name="connsiteX26" fmla="*/ 1650408 w 1712321"/>
                  <a:gd name="connsiteY26" fmla="*/ 687139 h 2673102"/>
                  <a:gd name="connsiteX27" fmla="*/ 1669458 w 1712321"/>
                  <a:gd name="connsiteY27" fmla="*/ 696664 h 2673102"/>
                  <a:gd name="connsiteX28" fmla="*/ 1683746 w 1712321"/>
                  <a:gd name="connsiteY28" fmla="*/ 706189 h 2673102"/>
                  <a:gd name="connsiteX29" fmla="*/ 1698033 w 1712321"/>
                  <a:gd name="connsiteY29" fmla="*/ 744289 h 2673102"/>
                  <a:gd name="connsiteX30" fmla="*/ 1707558 w 1712321"/>
                  <a:gd name="connsiteY30" fmla="*/ 768102 h 2673102"/>
                  <a:gd name="connsiteX31" fmla="*/ 1712321 w 1712321"/>
                  <a:gd name="connsiteY31" fmla="*/ 782389 h 2673102"/>
                  <a:gd name="connsiteX32" fmla="*/ 1702796 w 1712321"/>
                  <a:gd name="connsiteY32" fmla="*/ 853827 h 2673102"/>
                  <a:gd name="connsiteX33" fmla="*/ 1664696 w 1712321"/>
                  <a:gd name="connsiteY33" fmla="*/ 887164 h 2673102"/>
                  <a:gd name="connsiteX34" fmla="*/ 1650408 w 1712321"/>
                  <a:gd name="connsiteY34" fmla="*/ 901452 h 2673102"/>
                  <a:gd name="connsiteX35" fmla="*/ 1598021 w 1712321"/>
                  <a:gd name="connsiteY35" fmla="*/ 906214 h 2673102"/>
                  <a:gd name="connsiteX36" fmla="*/ 1555158 w 1712321"/>
                  <a:gd name="connsiteY36" fmla="*/ 925264 h 2673102"/>
                  <a:gd name="connsiteX37" fmla="*/ 1531346 w 1712321"/>
                  <a:gd name="connsiteY37" fmla="*/ 939552 h 2673102"/>
                  <a:gd name="connsiteX38" fmla="*/ 1498008 w 1712321"/>
                  <a:gd name="connsiteY38" fmla="*/ 987177 h 2673102"/>
                  <a:gd name="connsiteX39" fmla="*/ 1345608 w 1712321"/>
                  <a:gd name="connsiteY39" fmla="*/ 1030039 h 2673102"/>
                  <a:gd name="connsiteX40" fmla="*/ 1297983 w 1712321"/>
                  <a:gd name="connsiteY40" fmla="*/ 1053852 h 2673102"/>
                  <a:gd name="connsiteX41" fmla="*/ 1231308 w 1712321"/>
                  <a:gd name="connsiteY41" fmla="*/ 1082427 h 2673102"/>
                  <a:gd name="connsiteX42" fmla="*/ 1126533 w 1712321"/>
                  <a:gd name="connsiteY42" fmla="*/ 1096714 h 2673102"/>
                  <a:gd name="connsiteX43" fmla="*/ 1102721 w 1712321"/>
                  <a:gd name="connsiteY43" fmla="*/ 1101477 h 2673102"/>
                  <a:gd name="connsiteX44" fmla="*/ 1078908 w 1712321"/>
                  <a:gd name="connsiteY44" fmla="*/ 1111002 h 2673102"/>
                  <a:gd name="connsiteX45" fmla="*/ 964608 w 1712321"/>
                  <a:gd name="connsiteY45" fmla="*/ 1106239 h 2673102"/>
                  <a:gd name="connsiteX46" fmla="*/ 859833 w 1712321"/>
                  <a:gd name="connsiteY46" fmla="*/ 1058614 h 2673102"/>
                  <a:gd name="connsiteX47" fmla="*/ 812208 w 1712321"/>
                  <a:gd name="connsiteY47" fmla="*/ 1034802 h 2673102"/>
                  <a:gd name="connsiteX48" fmla="*/ 788396 w 1712321"/>
                  <a:gd name="connsiteY48" fmla="*/ 1020514 h 2673102"/>
                  <a:gd name="connsiteX49" fmla="*/ 769346 w 1712321"/>
                  <a:gd name="connsiteY49" fmla="*/ 1006227 h 2673102"/>
                  <a:gd name="connsiteX50" fmla="*/ 678858 w 1712321"/>
                  <a:gd name="connsiteY50" fmla="*/ 958602 h 2673102"/>
                  <a:gd name="connsiteX51" fmla="*/ 645521 w 1712321"/>
                  <a:gd name="connsiteY51" fmla="*/ 939552 h 2673102"/>
                  <a:gd name="connsiteX52" fmla="*/ 526458 w 1712321"/>
                  <a:gd name="connsiteY52" fmla="*/ 910977 h 2673102"/>
                  <a:gd name="connsiteX53" fmla="*/ 483596 w 1712321"/>
                  <a:gd name="connsiteY53" fmla="*/ 891927 h 2673102"/>
                  <a:gd name="connsiteX54" fmla="*/ 421683 w 1712321"/>
                  <a:gd name="connsiteY54" fmla="*/ 882402 h 2673102"/>
                  <a:gd name="connsiteX55" fmla="*/ 321671 w 1712321"/>
                  <a:gd name="connsiteY55" fmla="*/ 896689 h 2673102"/>
                  <a:gd name="connsiteX56" fmla="*/ 307383 w 1712321"/>
                  <a:gd name="connsiteY56" fmla="*/ 910977 h 2673102"/>
                  <a:gd name="connsiteX57" fmla="*/ 283571 w 1712321"/>
                  <a:gd name="connsiteY57" fmla="*/ 949077 h 2673102"/>
                  <a:gd name="connsiteX58" fmla="*/ 269283 w 1712321"/>
                  <a:gd name="connsiteY58" fmla="*/ 987177 h 2673102"/>
                  <a:gd name="connsiteX59" fmla="*/ 264521 w 1712321"/>
                  <a:gd name="connsiteY59" fmla="*/ 1039564 h 2673102"/>
                  <a:gd name="connsiteX60" fmla="*/ 264521 w 1712321"/>
                  <a:gd name="connsiteY60" fmla="*/ 1120527 h 2673102"/>
                  <a:gd name="connsiteX61" fmla="*/ 297858 w 1712321"/>
                  <a:gd name="connsiteY61" fmla="*/ 1153864 h 2673102"/>
                  <a:gd name="connsiteX62" fmla="*/ 326433 w 1712321"/>
                  <a:gd name="connsiteY62" fmla="*/ 1163389 h 2673102"/>
                  <a:gd name="connsiteX63" fmla="*/ 326433 w 1712321"/>
                  <a:gd name="connsiteY63" fmla="*/ 1244352 h 2673102"/>
                  <a:gd name="connsiteX64" fmla="*/ 312146 w 1712321"/>
                  <a:gd name="connsiteY64" fmla="*/ 1258639 h 2673102"/>
                  <a:gd name="connsiteX65" fmla="*/ 259758 w 1712321"/>
                  <a:gd name="connsiteY65" fmla="*/ 1296739 h 2673102"/>
                  <a:gd name="connsiteX66" fmla="*/ 240708 w 1712321"/>
                  <a:gd name="connsiteY66" fmla="*/ 1325314 h 2673102"/>
                  <a:gd name="connsiteX67" fmla="*/ 250233 w 1712321"/>
                  <a:gd name="connsiteY67" fmla="*/ 1425327 h 2673102"/>
                  <a:gd name="connsiteX68" fmla="*/ 278808 w 1712321"/>
                  <a:gd name="connsiteY68" fmla="*/ 1472952 h 2673102"/>
                  <a:gd name="connsiteX69" fmla="*/ 293096 w 1712321"/>
                  <a:gd name="connsiteY69" fmla="*/ 1492002 h 2673102"/>
                  <a:gd name="connsiteX70" fmla="*/ 383583 w 1712321"/>
                  <a:gd name="connsiteY70" fmla="*/ 1525339 h 2673102"/>
                  <a:gd name="connsiteX71" fmla="*/ 407396 w 1712321"/>
                  <a:gd name="connsiteY71" fmla="*/ 1492002 h 2673102"/>
                  <a:gd name="connsiteX72" fmla="*/ 412158 w 1712321"/>
                  <a:gd name="connsiteY72" fmla="*/ 1468189 h 2673102"/>
                  <a:gd name="connsiteX73" fmla="*/ 416921 w 1712321"/>
                  <a:gd name="connsiteY73" fmla="*/ 1449139 h 2673102"/>
                  <a:gd name="connsiteX74" fmla="*/ 445496 w 1712321"/>
                  <a:gd name="connsiteY74" fmla="*/ 1439614 h 2673102"/>
                  <a:gd name="connsiteX75" fmla="*/ 545508 w 1712321"/>
                  <a:gd name="connsiteY75" fmla="*/ 1458664 h 2673102"/>
                  <a:gd name="connsiteX76" fmla="*/ 555033 w 1712321"/>
                  <a:gd name="connsiteY76" fmla="*/ 1482477 h 2673102"/>
                  <a:gd name="connsiteX77" fmla="*/ 564558 w 1712321"/>
                  <a:gd name="connsiteY77" fmla="*/ 1515814 h 2673102"/>
                  <a:gd name="connsiteX78" fmla="*/ 550271 w 1712321"/>
                  <a:gd name="connsiteY78" fmla="*/ 1534864 h 2673102"/>
                  <a:gd name="connsiteX79" fmla="*/ 550271 w 1712321"/>
                  <a:gd name="connsiteY79" fmla="*/ 1601539 h 2673102"/>
                  <a:gd name="connsiteX80" fmla="*/ 559796 w 1712321"/>
                  <a:gd name="connsiteY80" fmla="*/ 1620589 h 2673102"/>
                  <a:gd name="connsiteX81" fmla="*/ 626471 w 1712321"/>
                  <a:gd name="connsiteY81" fmla="*/ 1639639 h 2673102"/>
                  <a:gd name="connsiteX82" fmla="*/ 645521 w 1712321"/>
                  <a:gd name="connsiteY82" fmla="*/ 1592014 h 2673102"/>
                  <a:gd name="connsiteX83" fmla="*/ 702671 w 1712321"/>
                  <a:gd name="connsiteY83" fmla="*/ 1620589 h 2673102"/>
                  <a:gd name="connsiteX84" fmla="*/ 731246 w 1712321"/>
                  <a:gd name="connsiteY84" fmla="*/ 1630114 h 2673102"/>
                  <a:gd name="connsiteX85" fmla="*/ 783633 w 1712321"/>
                  <a:gd name="connsiteY85" fmla="*/ 1663452 h 2673102"/>
                  <a:gd name="connsiteX86" fmla="*/ 859833 w 1712321"/>
                  <a:gd name="connsiteY86" fmla="*/ 1687264 h 2673102"/>
                  <a:gd name="connsiteX87" fmla="*/ 878883 w 1712321"/>
                  <a:gd name="connsiteY87" fmla="*/ 1701552 h 2673102"/>
                  <a:gd name="connsiteX88" fmla="*/ 888408 w 1712321"/>
                  <a:gd name="connsiteY88" fmla="*/ 1739652 h 2673102"/>
                  <a:gd name="connsiteX89" fmla="*/ 897933 w 1712321"/>
                  <a:gd name="connsiteY89" fmla="*/ 1782514 h 2673102"/>
                  <a:gd name="connsiteX90" fmla="*/ 940796 w 1712321"/>
                  <a:gd name="connsiteY90" fmla="*/ 1892052 h 2673102"/>
                  <a:gd name="connsiteX91" fmla="*/ 950321 w 1712321"/>
                  <a:gd name="connsiteY91" fmla="*/ 1906339 h 2673102"/>
                  <a:gd name="connsiteX92" fmla="*/ 959846 w 1712321"/>
                  <a:gd name="connsiteY92" fmla="*/ 1939677 h 2673102"/>
                  <a:gd name="connsiteX93" fmla="*/ 974133 w 1712321"/>
                  <a:gd name="connsiteY93" fmla="*/ 1977777 h 2673102"/>
                  <a:gd name="connsiteX94" fmla="*/ 964608 w 1712321"/>
                  <a:gd name="connsiteY94" fmla="*/ 2082552 h 2673102"/>
                  <a:gd name="connsiteX95" fmla="*/ 955083 w 1712321"/>
                  <a:gd name="connsiteY95" fmla="*/ 2101602 h 2673102"/>
                  <a:gd name="connsiteX96" fmla="*/ 926508 w 1712321"/>
                  <a:gd name="connsiteY96" fmla="*/ 2144464 h 2673102"/>
                  <a:gd name="connsiteX97" fmla="*/ 907458 w 1712321"/>
                  <a:gd name="connsiteY97" fmla="*/ 2192089 h 2673102"/>
                  <a:gd name="connsiteX98" fmla="*/ 902696 w 1712321"/>
                  <a:gd name="connsiteY98" fmla="*/ 2211139 h 2673102"/>
                  <a:gd name="connsiteX99" fmla="*/ 893171 w 1712321"/>
                  <a:gd name="connsiteY99" fmla="*/ 2239714 h 2673102"/>
                  <a:gd name="connsiteX100" fmla="*/ 897933 w 1712321"/>
                  <a:gd name="connsiteY100" fmla="*/ 2287339 h 2673102"/>
                  <a:gd name="connsiteX101" fmla="*/ 893171 w 1712321"/>
                  <a:gd name="connsiteY101" fmla="*/ 2396877 h 2673102"/>
                  <a:gd name="connsiteX102" fmla="*/ 688383 w 1712321"/>
                  <a:gd name="connsiteY102" fmla="*/ 2449264 h 2673102"/>
                  <a:gd name="connsiteX103" fmla="*/ 655046 w 1712321"/>
                  <a:gd name="connsiteY103" fmla="*/ 2473077 h 2673102"/>
                  <a:gd name="connsiteX104" fmla="*/ 607421 w 1712321"/>
                  <a:gd name="connsiteY104" fmla="*/ 2511177 h 2673102"/>
                  <a:gd name="connsiteX105" fmla="*/ 574083 w 1712321"/>
                  <a:gd name="connsiteY105" fmla="*/ 2534989 h 2673102"/>
                  <a:gd name="connsiteX106" fmla="*/ 540746 w 1712321"/>
                  <a:gd name="connsiteY106" fmla="*/ 2554039 h 2673102"/>
                  <a:gd name="connsiteX107" fmla="*/ 497883 w 1712321"/>
                  <a:gd name="connsiteY107" fmla="*/ 2587377 h 2673102"/>
                  <a:gd name="connsiteX108" fmla="*/ 483596 w 1712321"/>
                  <a:gd name="connsiteY108" fmla="*/ 2601664 h 2673102"/>
                  <a:gd name="connsiteX109" fmla="*/ 459783 w 1712321"/>
                  <a:gd name="connsiteY109" fmla="*/ 2620714 h 2673102"/>
                  <a:gd name="connsiteX110" fmla="*/ 450258 w 1712321"/>
                  <a:gd name="connsiteY110" fmla="*/ 2635002 h 2673102"/>
                  <a:gd name="connsiteX111" fmla="*/ 416921 w 1712321"/>
                  <a:gd name="connsiteY111" fmla="*/ 2654052 h 2673102"/>
                  <a:gd name="connsiteX112" fmla="*/ 374058 w 1712321"/>
                  <a:gd name="connsiteY112" fmla="*/ 2673102 h 2673102"/>
                  <a:gd name="connsiteX113" fmla="*/ 359771 w 1712321"/>
                  <a:gd name="connsiteY113" fmla="*/ 2663577 h 2673102"/>
                  <a:gd name="connsiteX114" fmla="*/ 345483 w 1712321"/>
                  <a:gd name="connsiteY114" fmla="*/ 2635002 h 2673102"/>
                  <a:gd name="connsiteX115" fmla="*/ 335958 w 1712321"/>
                  <a:gd name="connsiteY115" fmla="*/ 2620714 h 2673102"/>
                  <a:gd name="connsiteX116" fmla="*/ 297858 w 1712321"/>
                  <a:gd name="connsiteY116" fmla="*/ 2611189 h 2673102"/>
                  <a:gd name="connsiteX117" fmla="*/ 278808 w 1712321"/>
                  <a:gd name="connsiteY117" fmla="*/ 2592139 h 2673102"/>
                  <a:gd name="connsiteX118" fmla="*/ 274046 w 1712321"/>
                  <a:gd name="connsiteY118" fmla="*/ 2573089 h 2673102"/>
                  <a:gd name="connsiteX119" fmla="*/ 235946 w 1712321"/>
                  <a:gd name="connsiteY119" fmla="*/ 2539752 h 2673102"/>
                  <a:gd name="connsiteX120" fmla="*/ 231183 w 1712321"/>
                  <a:gd name="connsiteY120" fmla="*/ 2525464 h 2673102"/>
                  <a:gd name="connsiteX121" fmla="*/ 226421 w 1712321"/>
                  <a:gd name="connsiteY121" fmla="*/ 2506414 h 2673102"/>
                  <a:gd name="connsiteX122" fmla="*/ 212133 w 1712321"/>
                  <a:gd name="connsiteY122" fmla="*/ 2492127 h 2673102"/>
                  <a:gd name="connsiteX123" fmla="*/ 154983 w 1712321"/>
                  <a:gd name="connsiteY123" fmla="*/ 2439739 h 2673102"/>
                  <a:gd name="connsiteX124" fmla="*/ 150221 w 1712321"/>
                  <a:gd name="connsiteY124" fmla="*/ 2415927 h 2673102"/>
                  <a:gd name="connsiteX125" fmla="*/ 135933 w 1712321"/>
                  <a:gd name="connsiteY125" fmla="*/ 2358777 h 2673102"/>
                  <a:gd name="connsiteX126" fmla="*/ 121646 w 1712321"/>
                  <a:gd name="connsiteY126" fmla="*/ 2315914 h 2673102"/>
                  <a:gd name="connsiteX127" fmla="*/ 107358 w 1712321"/>
                  <a:gd name="connsiteY127" fmla="*/ 2258764 h 2673102"/>
                  <a:gd name="connsiteX128" fmla="*/ 102596 w 1712321"/>
                  <a:gd name="connsiteY128" fmla="*/ 2234952 h 2673102"/>
                  <a:gd name="connsiteX129" fmla="*/ 93071 w 1712321"/>
                  <a:gd name="connsiteY129" fmla="*/ 2211139 h 2673102"/>
                  <a:gd name="connsiteX130" fmla="*/ 88308 w 1712321"/>
                  <a:gd name="connsiteY130" fmla="*/ 2187327 h 2673102"/>
                  <a:gd name="connsiteX131" fmla="*/ 78783 w 1712321"/>
                  <a:gd name="connsiteY131" fmla="*/ 2111127 h 2673102"/>
                  <a:gd name="connsiteX132" fmla="*/ 97833 w 1712321"/>
                  <a:gd name="connsiteY132" fmla="*/ 1944439 h 2673102"/>
                  <a:gd name="connsiteX133" fmla="*/ 107358 w 1712321"/>
                  <a:gd name="connsiteY133" fmla="*/ 1930152 h 2673102"/>
                  <a:gd name="connsiteX134" fmla="*/ 126408 w 1712321"/>
                  <a:gd name="connsiteY134" fmla="*/ 1901577 h 2673102"/>
                  <a:gd name="connsiteX135" fmla="*/ 135933 w 1712321"/>
                  <a:gd name="connsiteY135" fmla="*/ 1868239 h 2673102"/>
                  <a:gd name="connsiteX136" fmla="*/ 131171 w 1712321"/>
                  <a:gd name="connsiteY136" fmla="*/ 1825377 h 2673102"/>
                  <a:gd name="connsiteX137" fmla="*/ 112121 w 1712321"/>
                  <a:gd name="connsiteY137" fmla="*/ 1820614 h 2673102"/>
                  <a:gd name="connsiteX138" fmla="*/ 102596 w 1712321"/>
                  <a:gd name="connsiteY138" fmla="*/ 1806327 h 2673102"/>
                  <a:gd name="connsiteX139" fmla="*/ 145458 w 1712321"/>
                  <a:gd name="connsiteY139" fmla="*/ 1720602 h 2673102"/>
                  <a:gd name="connsiteX140" fmla="*/ 159746 w 1712321"/>
                  <a:gd name="connsiteY140" fmla="*/ 1715839 h 2673102"/>
                  <a:gd name="connsiteX141" fmla="*/ 174033 w 1712321"/>
                  <a:gd name="connsiteY141" fmla="*/ 1696789 h 2673102"/>
                  <a:gd name="connsiteX142" fmla="*/ 188321 w 1712321"/>
                  <a:gd name="connsiteY142" fmla="*/ 1687264 h 2673102"/>
                  <a:gd name="connsiteX143" fmla="*/ 202608 w 1712321"/>
                  <a:gd name="connsiteY143" fmla="*/ 1653927 h 2673102"/>
                  <a:gd name="connsiteX144" fmla="*/ 193083 w 1712321"/>
                  <a:gd name="connsiteY144" fmla="*/ 1606302 h 2673102"/>
                  <a:gd name="connsiteX145" fmla="*/ 164508 w 1712321"/>
                  <a:gd name="connsiteY145" fmla="*/ 1596777 h 2673102"/>
                  <a:gd name="connsiteX146" fmla="*/ 154983 w 1712321"/>
                  <a:gd name="connsiteY146" fmla="*/ 1549152 h 2673102"/>
                  <a:gd name="connsiteX147" fmla="*/ 150221 w 1712321"/>
                  <a:gd name="connsiteY147" fmla="*/ 1411039 h 2673102"/>
                  <a:gd name="connsiteX148" fmla="*/ 140696 w 1712321"/>
                  <a:gd name="connsiteY148" fmla="*/ 1377702 h 2673102"/>
                  <a:gd name="connsiteX149" fmla="*/ 121646 w 1712321"/>
                  <a:gd name="connsiteY149" fmla="*/ 1311027 h 2673102"/>
                  <a:gd name="connsiteX150" fmla="*/ 116883 w 1712321"/>
                  <a:gd name="connsiteY150" fmla="*/ 1258639 h 2673102"/>
                  <a:gd name="connsiteX151" fmla="*/ 107358 w 1712321"/>
                  <a:gd name="connsiteY151" fmla="*/ 1244352 h 2673102"/>
                  <a:gd name="connsiteX152" fmla="*/ 93071 w 1712321"/>
                  <a:gd name="connsiteY152" fmla="*/ 1196727 h 2673102"/>
                  <a:gd name="connsiteX153" fmla="*/ 78783 w 1712321"/>
                  <a:gd name="connsiteY153" fmla="*/ 1177677 h 2673102"/>
                  <a:gd name="connsiteX154" fmla="*/ 59733 w 1712321"/>
                  <a:gd name="connsiteY154" fmla="*/ 1139577 h 2673102"/>
                  <a:gd name="connsiteX155" fmla="*/ 50208 w 1712321"/>
                  <a:gd name="connsiteY155" fmla="*/ 1111002 h 2673102"/>
                  <a:gd name="connsiteX156" fmla="*/ 45446 w 1712321"/>
                  <a:gd name="connsiteY156" fmla="*/ 1096714 h 2673102"/>
                  <a:gd name="connsiteX157" fmla="*/ 21633 w 1712321"/>
                  <a:gd name="connsiteY157" fmla="*/ 1025277 h 2673102"/>
                  <a:gd name="connsiteX158" fmla="*/ 202 w 1712321"/>
                  <a:gd name="connsiteY158" fmla="*/ 980033 h 2673102"/>
                  <a:gd name="connsiteX159" fmla="*/ 14490 w 1712321"/>
                  <a:gd name="connsiteY159" fmla="*/ 930027 h 2673102"/>
                  <a:gd name="connsiteX160" fmla="*/ 69259 w 1712321"/>
                  <a:gd name="connsiteY160" fmla="*/ 810964 h 2673102"/>
                  <a:gd name="connsiteX161" fmla="*/ 221658 w 1712321"/>
                  <a:gd name="connsiteY161" fmla="*/ 601414 h 2673102"/>
                  <a:gd name="connsiteX162" fmla="*/ 288333 w 1712321"/>
                  <a:gd name="connsiteY162" fmla="*/ 515689 h 2673102"/>
                  <a:gd name="connsiteX163" fmla="*/ 412158 w 1712321"/>
                  <a:gd name="connsiteY163" fmla="*/ 406152 h 2673102"/>
                  <a:gd name="connsiteX164" fmla="*/ 535983 w 1712321"/>
                  <a:gd name="connsiteY164" fmla="*/ 291851 h 2673102"/>
                  <a:gd name="connsiteX165" fmla="*/ 640758 w 1712321"/>
                  <a:gd name="connsiteY165" fmla="*/ 229939 h 2673102"/>
                  <a:gd name="connsiteX166" fmla="*/ 733628 w 1712321"/>
                  <a:gd name="connsiteY166" fmla="*/ 168026 h 2673102"/>
                  <a:gd name="connsiteX167" fmla="*/ 978896 w 1712321"/>
                  <a:gd name="connsiteY167" fmla="*/ 63251 h 2673102"/>
                  <a:gd name="connsiteX168" fmla="*/ 1159871 w 1712321"/>
                  <a:gd name="connsiteY168" fmla="*/ 6102 h 2673102"/>
                  <a:gd name="connsiteX169" fmla="*/ 1202733 w 1712321"/>
                  <a:gd name="connsiteY169" fmla="*/ 10864 h 2673102"/>
                  <a:gd name="connsiteX0" fmla="*/ 1202733 w 1708284"/>
                  <a:gd name="connsiteY0" fmla="*/ 10864 h 2673102"/>
                  <a:gd name="connsiteX1" fmla="*/ 1197971 w 1708284"/>
                  <a:gd name="connsiteY1" fmla="*/ 68014 h 2673102"/>
                  <a:gd name="connsiteX2" fmla="*/ 1174158 w 1708284"/>
                  <a:gd name="connsiteY2" fmla="*/ 110877 h 2673102"/>
                  <a:gd name="connsiteX3" fmla="*/ 1164633 w 1708284"/>
                  <a:gd name="connsiteY3" fmla="*/ 129927 h 2673102"/>
                  <a:gd name="connsiteX4" fmla="*/ 1164633 w 1708284"/>
                  <a:gd name="connsiteY4" fmla="*/ 206127 h 2673102"/>
                  <a:gd name="connsiteX5" fmla="*/ 1183683 w 1708284"/>
                  <a:gd name="connsiteY5" fmla="*/ 225177 h 2673102"/>
                  <a:gd name="connsiteX6" fmla="*/ 1202733 w 1708284"/>
                  <a:gd name="connsiteY6" fmla="*/ 258514 h 2673102"/>
                  <a:gd name="connsiteX7" fmla="*/ 1221783 w 1708284"/>
                  <a:gd name="connsiteY7" fmla="*/ 268039 h 2673102"/>
                  <a:gd name="connsiteX8" fmla="*/ 1231308 w 1708284"/>
                  <a:gd name="connsiteY8" fmla="*/ 282327 h 2673102"/>
                  <a:gd name="connsiteX9" fmla="*/ 1245596 w 1708284"/>
                  <a:gd name="connsiteY9" fmla="*/ 296614 h 2673102"/>
                  <a:gd name="connsiteX10" fmla="*/ 1255121 w 1708284"/>
                  <a:gd name="connsiteY10" fmla="*/ 315664 h 2673102"/>
                  <a:gd name="connsiteX11" fmla="*/ 1250358 w 1708284"/>
                  <a:gd name="connsiteY11" fmla="*/ 344239 h 2673102"/>
                  <a:gd name="connsiteX12" fmla="*/ 1245596 w 1708284"/>
                  <a:gd name="connsiteY12" fmla="*/ 363289 h 2673102"/>
                  <a:gd name="connsiteX13" fmla="*/ 1250358 w 1708284"/>
                  <a:gd name="connsiteY13" fmla="*/ 425202 h 2673102"/>
                  <a:gd name="connsiteX14" fmla="*/ 1269408 w 1708284"/>
                  <a:gd name="connsiteY14" fmla="*/ 463302 h 2673102"/>
                  <a:gd name="connsiteX15" fmla="*/ 1278933 w 1708284"/>
                  <a:gd name="connsiteY15" fmla="*/ 477589 h 2673102"/>
                  <a:gd name="connsiteX16" fmla="*/ 1293221 w 1708284"/>
                  <a:gd name="connsiteY16" fmla="*/ 487114 h 2673102"/>
                  <a:gd name="connsiteX17" fmla="*/ 1350371 w 1708284"/>
                  <a:gd name="connsiteY17" fmla="*/ 510927 h 2673102"/>
                  <a:gd name="connsiteX18" fmla="*/ 1378946 w 1708284"/>
                  <a:gd name="connsiteY18" fmla="*/ 520452 h 2673102"/>
                  <a:gd name="connsiteX19" fmla="*/ 1407521 w 1708284"/>
                  <a:gd name="connsiteY19" fmla="*/ 539502 h 2673102"/>
                  <a:gd name="connsiteX20" fmla="*/ 1469433 w 1708284"/>
                  <a:gd name="connsiteY20" fmla="*/ 568077 h 2673102"/>
                  <a:gd name="connsiteX21" fmla="*/ 1521821 w 1708284"/>
                  <a:gd name="connsiteY21" fmla="*/ 587127 h 2673102"/>
                  <a:gd name="connsiteX22" fmla="*/ 1540871 w 1708284"/>
                  <a:gd name="connsiteY22" fmla="*/ 596652 h 2673102"/>
                  <a:gd name="connsiteX23" fmla="*/ 1559921 w 1708284"/>
                  <a:gd name="connsiteY23" fmla="*/ 601414 h 2673102"/>
                  <a:gd name="connsiteX24" fmla="*/ 1607546 w 1708284"/>
                  <a:gd name="connsiteY24" fmla="*/ 639514 h 2673102"/>
                  <a:gd name="connsiteX25" fmla="*/ 1636121 w 1708284"/>
                  <a:gd name="connsiteY25" fmla="*/ 672852 h 2673102"/>
                  <a:gd name="connsiteX26" fmla="*/ 1650408 w 1708284"/>
                  <a:gd name="connsiteY26" fmla="*/ 687139 h 2673102"/>
                  <a:gd name="connsiteX27" fmla="*/ 1669458 w 1708284"/>
                  <a:gd name="connsiteY27" fmla="*/ 696664 h 2673102"/>
                  <a:gd name="connsiteX28" fmla="*/ 1683746 w 1708284"/>
                  <a:gd name="connsiteY28" fmla="*/ 706189 h 2673102"/>
                  <a:gd name="connsiteX29" fmla="*/ 1698033 w 1708284"/>
                  <a:gd name="connsiteY29" fmla="*/ 744289 h 2673102"/>
                  <a:gd name="connsiteX30" fmla="*/ 1707558 w 1708284"/>
                  <a:gd name="connsiteY30" fmla="*/ 768102 h 2673102"/>
                  <a:gd name="connsiteX31" fmla="*/ 1702796 w 1708284"/>
                  <a:gd name="connsiteY31" fmla="*/ 853827 h 2673102"/>
                  <a:gd name="connsiteX32" fmla="*/ 1664696 w 1708284"/>
                  <a:gd name="connsiteY32" fmla="*/ 887164 h 2673102"/>
                  <a:gd name="connsiteX33" fmla="*/ 1650408 w 1708284"/>
                  <a:gd name="connsiteY33" fmla="*/ 901452 h 2673102"/>
                  <a:gd name="connsiteX34" fmla="*/ 1598021 w 1708284"/>
                  <a:gd name="connsiteY34" fmla="*/ 906214 h 2673102"/>
                  <a:gd name="connsiteX35" fmla="*/ 1555158 w 1708284"/>
                  <a:gd name="connsiteY35" fmla="*/ 925264 h 2673102"/>
                  <a:gd name="connsiteX36" fmla="*/ 1531346 w 1708284"/>
                  <a:gd name="connsiteY36" fmla="*/ 939552 h 2673102"/>
                  <a:gd name="connsiteX37" fmla="*/ 1498008 w 1708284"/>
                  <a:gd name="connsiteY37" fmla="*/ 987177 h 2673102"/>
                  <a:gd name="connsiteX38" fmla="*/ 1345608 w 1708284"/>
                  <a:gd name="connsiteY38" fmla="*/ 1030039 h 2673102"/>
                  <a:gd name="connsiteX39" fmla="*/ 1297983 w 1708284"/>
                  <a:gd name="connsiteY39" fmla="*/ 1053852 h 2673102"/>
                  <a:gd name="connsiteX40" fmla="*/ 1231308 w 1708284"/>
                  <a:gd name="connsiteY40" fmla="*/ 1082427 h 2673102"/>
                  <a:gd name="connsiteX41" fmla="*/ 1126533 w 1708284"/>
                  <a:gd name="connsiteY41" fmla="*/ 1096714 h 2673102"/>
                  <a:gd name="connsiteX42" fmla="*/ 1102721 w 1708284"/>
                  <a:gd name="connsiteY42" fmla="*/ 1101477 h 2673102"/>
                  <a:gd name="connsiteX43" fmla="*/ 1078908 w 1708284"/>
                  <a:gd name="connsiteY43" fmla="*/ 1111002 h 2673102"/>
                  <a:gd name="connsiteX44" fmla="*/ 964608 w 1708284"/>
                  <a:gd name="connsiteY44" fmla="*/ 1106239 h 2673102"/>
                  <a:gd name="connsiteX45" fmla="*/ 859833 w 1708284"/>
                  <a:gd name="connsiteY45" fmla="*/ 1058614 h 2673102"/>
                  <a:gd name="connsiteX46" fmla="*/ 812208 w 1708284"/>
                  <a:gd name="connsiteY46" fmla="*/ 1034802 h 2673102"/>
                  <a:gd name="connsiteX47" fmla="*/ 788396 w 1708284"/>
                  <a:gd name="connsiteY47" fmla="*/ 1020514 h 2673102"/>
                  <a:gd name="connsiteX48" fmla="*/ 769346 w 1708284"/>
                  <a:gd name="connsiteY48" fmla="*/ 1006227 h 2673102"/>
                  <a:gd name="connsiteX49" fmla="*/ 678858 w 1708284"/>
                  <a:gd name="connsiteY49" fmla="*/ 958602 h 2673102"/>
                  <a:gd name="connsiteX50" fmla="*/ 645521 w 1708284"/>
                  <a:gd name="connsiteY50" fmla="*/ 939552 h 2673102"/>
                  <a:gd name="connsiteX51" fmla="*/ 526458 w 1708284"/>
                  <a:gd name="connsiteY51" fmla="*/ 910977 h 2673102"/>
                  <a:gd name="connsiteX52" fmla="*/ 483596 w 1708284"/>
                  <a:gd name="connsiteY52" fmla="*/ 891927 h 2673102"/>
                  <a:gd name="connsiteX53" fmla="*/ 421683 w 1708284"/>
                  <a:gd name="connsiteY53" fmla="*/ 882402 h 2673102"/>
                  <a:gd name="connsiteX54" fmla="*/ 321671 w 1708284"/>
                  <a:gd name="connsiteY54" fmla="*/ 896689 h 2673102"/>
                  <a:gd name="connsiteX55" fmla="*/ 307383 w 1708284"/>
                  <a:gd name="connsiteY55" fmla="*/ 910977 h 2673102"/>
                  <a:gd name="connsiteX56" fmla="*/ 283571 w 1708284"/>
                  <a:gd name="connsiteY56" fmla="*/ 949077 h 2673102"/>
                  <a:gd name="connsiteX57" fmla="*/ 269283 w 1708284"/>
                  <a:gd name="connsiteY57" fmla="*/ 987177 h 2673102"/>
                  <a:gd name="connsiteX58" fmla="*/ 264521 w 1708284"/>
                  <a:gd name="connsiteY58" fmla="*/ 1039564 h 2673102"/>
                  <a:gd name="connsiteX59" fmla="*/ 264521 w 1708284"/>
                  <a:gd name="connsiteY59" fmla="*/ 1120527 h 2673102"/>
                  <a:gd name="connsiteX60" fmla="*/ 297858 w 1708284"/>
                  <a:gd name="connsiteY60" fmla="*/ 1153864 h 2673102"/>
                  <a:gd name="connsiteX61" fmla="*/ 326433 w 1708284"/>
                  <a:gd name="connsiteY61" fmla="*/ 1163389 h 2673102"/>
                  <a:gd name="connsiteX62" fmla="*/ 326433 w 1708284"/>
                  <a:gd name="connsiteY62" fmla="*/ 1244352 h 2673102"/>
                  <a:gd name="connsiteX63" fmla="*/ 312146 w 1708284"/>
                  <a:gd name="connsiteY63" fmla="*/ 1258639 h 2673102"/>
                  <a:gd name="connsiteX64" fmla="*/ 259758 w 1708284"/>
                  <a:gd name="connsiteY64" fmla="*/ 1296739 h 2673102"/>
                  <a:gd name="connsiteX65" fmla="*/ 240708 w 1708284"/>
                  <a:gd name="connsiteY65" fmla="*/ 1325314 h 2673102"/>
                  <a:gd name="connsiteX66" fmla="*/ 250233 w 1708284"/>
                  <a:gd name="connsiteY66" fmla="*/ 1425327 h 2673102"/>
                  <a:gd name="connsiteX67" fmla="*/ 278808 w 1708284"/>
                  <a:gd name="connsiteY67" fmla="*/ 1472952 h 2673102"/>
                  <a:gd name="connsiteX68" fmla="*/ 293096 w 1708284"/>
                  <a:gd name="connsiteY68" fmla="*/ 1492002 h 2673102"/>
                  <a:gd name="connsiteX69" fmla="*/ 383583 w 1708284"/>
                  <a:gd name="connsiteY69" fmla="*/ 1525339 h 2673102"/>
                  <a:gd name="connsiteX70" fmla="*/ 407396 w 1708284"/>
                  <a:gd name="connsiteY70" fmla="*/ 1492002 h 2673102"/>
                  <a:gd name="connsiteX71" fmla="*/ 412158 w 1708284"/>
                  <a:gd name="connsiteY71" fmla="*/ 1468189 h 2673102"/>
                  <a:gd name="connsiteX72" fmla="*/ 416921 w 1708284"/>
                  <a:gd name="connsiteY72" fmla="*/ 1449139 h 2673102"/>
                  <a:gd name="connsiteX73" fmla="*/ 445496 w 1708284"/>
                  <a:gd name="connsiteY73" fmla="*/ 1439614 h 2673102"/>
                  <a:gd name="connsiteX74" fmla="*/ 545508 w 1708284"/>
                  <a:gd name="connsiteY74" fmla="*/ 1458664 h 2673102"/>
                  <a:gd name="connsiteX75" fmla="*/ 555033 w 1708284"/>
                  <a:gd name="connsiteY75" fmla="*/ 1482477 h 2673102"/>
                  <a:gd name="connsiteX76" fmla="*/ 564558 w 1708284"/>
                  <a:gd name="connsiteY76" fmla="*/ 1515814 h 2673102"/>
                  <a:gd name="connsiteX77" fmla="*/ 550271 w 1708284"/>
                  <a:gd name="connsiteY77" fmla="*/ 1534864 h 2673102"/>
                  <a:gd name="connsiteX78" fmla="*/ 550271 w 1708284"/>
                  <a:gd name="connsiteY78" fmla="*/ 1601539 h 2673102"/>
                  <a:gd name="connsiteX79" fmla="*/ 559796 w 1708284"/>
                  <a:gd name="connsiteY79" fmla="*/ 1620589 h 2673102"/>
                  <a:gd name="connsiteX80" fmla="*/ 626471 w 1708284"/>
                  <a:gd name="connsiteY80" fmla="*/ 1639639 h 2673102"/>
                  <a:gd name="connsiteX81" fmla="*/ 645521 w 1708284"/>
                  <a:gd name="connsiteY81" fmla="*/ 1592014 h 2673102"/>
                  <a:gd name="connsiteX82" fmla="*/ 702671 w 1708284"/>
                  <a:gd name="connsiteY82" fmla="*/ 1620589 h 2673102"/>
                  <a:gd name="connsiteX83" fmla="*/ 731246 w 1708284"/>
                  <a:gd name="connsiteY83" fmla="*/ 1630114 h 2673102"/>
                  <a:gd name="connsiteX84" fmla="*/ 783633 w 1708284"/>
                  <a:gd name="connsiteY84" fmla="*/ 1663452 h 2673102"/>
                  <a:gd name="connsiteX85" fmla="*/ 859833 w 1708284"/>
                  <a:gd name="connsiteY85" fmla="*/ 1687264 h 2673102"/>
                  <a:gd name="connsiteX86" fmla="*/ 878883 w 1708284"/>
                  <a:gd name="connsiteY86" fmla="*/ 1701552 h 2673102"/>
                  <a:gd name="connsiteX87" fmla="*/ 888408 w 1708284"/>
                  <a:gd name="connsiteY87" fmla="*/ 1739652 h 2673102"/>
                  <a:gd name="connsiteX88" fmla="*/ 897933 w 1708284"/>
                  <a:gd name="connsiteY88" fmla="*/ 1782514 h 2673102"/>
                  <a:gd name="connsiteX89" fmla="*/ 940796 w 1708284"/>
                  <a:gd name="connsiteY89" fmla="*/ 1892052 h 2673102"/>
                  <a:gd name="connsiteX90" fmla="*/ 950321 w 1708284"/>
                  <a:gd name="connsiteY90" fmla="*/ 1906339 h 2673102"/>
                  <a:gd name="connsiteX91" fmla="*/ 959846 w 1708284"/>
                  <a:gd name="connsiteY91" fmla="*/ 1939677 h 2673102"/>
                  <a:gd name="connsiteX92" fmla="*/ 974133 w 1708284"/>
                  <a:gd name="connsiteY92" fmla="*/ 1977777 h 2673102"/>
                  <a:gd name="connsiteX93" fmla="*/ 964608 w 1708284"/>
                  <a:gd name="connsiteY93" fmla="*/ 2082552 h 2673102"/>
                  <a:gd name="connsiteX94" fmla="*/ 955083 w 1708284"/>
                  <a:gd name="connsiteY94" fmla="*/ 2101602 h 2673102"/>
                  <a:gd name="connsiteX95" fmla="*/ 926508 w 1708284"/>
                  <a:gd name="connsiteY95" fmla="*/ 2144464 h 2673102"/>
                  <a:gd name="connsiteX96" fmla="*/ 907458 w 1708284"/>
                  <a:gd name="connsiteY96" fmla="*/ 2192089 h 2673102"/>
                  <a:gd name="connsiteX97" fmla="*/ 902696 w 1708284"/>
                  <a:gd name="connsiteY97" fmla="*/ 2211139 h 2673102"/>
                  <a:gd name="connsiteX98" fmla="*/ 893171 w 1708284"/>
                  <a:gd name="connsiteY98" fmla="*/ 2239714 h 2673102"/>
                  <a:gd name="connsiteX99" fmla="*/ 897933 w 1708284"/>
                  <a:gd name="connsiteY99" fmla="*/ 2287339 h 2673102"/>
                  <a:gd name="connsiteX100" fmla="*/ 893171 w 1708284"/>
                  <a:gd name="connsiteY100" fmla="*/ 2396877 h 2673102"/>
                  <a:gd name="connsiteX101" fmla="*/ 688383 w 1708284"/>
                  <a:gd name="connsiteY101" fmla="*/ 2449264 h 2673102"/>
                  <a:gd name="connsiteX102" fmla="*/ 655046 w 1708284"/>
                  <a:gd name="connsiteY102" fmla="*/ 2473077 h 2673102"/>
                  <a:gd name="connsiteX103" fmla="*/ 607421 w 1708284"/>
                  <a:gd name="connsiteY103" fmla="*/ 2511177 h 2673102"/>
                  <a:gd name="connsiteX104" fmla="*/ 574083 w 1708284"/>
                  <a:gd name="connsiteY104" fmla="*/ 2534989 h 2673102"/>
                  <a:gd name="connsiteX105" fmla="*/ 540746 w 1708284"/>
                  <a:gd name="connsiteY105" fmla="*/ 2554039 h 2673102"/>
                  <a:gd name="connsiteX106" fmla="*/ 497883 w 1708284"/>
                  <a:gd name="connsiteY106" fmla="*/ 2587377 h 2673102"/>
                  <a:gd name="connsiteX107" fmla="*/ 483596 w 1708284"/>
                  <a:gd name="connsiteY107" fmla="*/ 2601664 h 2673102"/>
                  <a:gd name="connsiteX108" fmla="*/ 459783 w 1708284"/>
                  <a:gd name="connsiteY108" fmla="*/ 2620714 h 2673102"/>
                  <a:gd name="connsiteX109" fmla="*/ 450258 w 1708284"/>
                  <a:gd name="connsiteY109" fmla="*/ 2635002 h 2673102"/>
                  <a:gd name="connsiteX110" fmla="*/ 416921 w 1708284"/>
                  <a:gd name="connsiteY110" fmla="*/ 2654052 h 2673102"/>
                  <a:gd name="connsiteX111" fmla="*/ 374058 w 1708284"/>
                  <a:gd name="connsiteY111" fmla="*/ 2673102 h 2673102"/>
                  <a:gd name="connsiteX112" fmla="*/ 359771 w 1708284"/>
                  <a:gd name="connsiteY112" fmla="*/ 2663577 h 2673102"/>
                  <a:gd name="connsiteX113" fmla="*/ 345483 w 1708284"/>
                  <a:gd name="connsiteY113" fmla="*/ 2635002 h 2673102"/>
                  <a:gd name="connsiteX114" fmla="*/ 335958 w 1708284"/>
                  <a:gd name="connsiteY114" fmla="*/ 2620714 h 2673102"/>
                  <a:gd name="connsiteX115" fmla="*/ 297858 w 1708284"/>
                  <a:gd name="connsiteY115" fmla="*/ 2611189 h 2673102"/>
                  <a:gd name="connsiteX116" fmla="*/ 278808 w 1708284"/>
                  <a:gd name="connsiteY116" fmla="*/ 2592139 h 2673102"/>
                  <a:gd name="connsiteX117" fmla="*/ 274046 w 1708284"/>
                  <a:gd name="connsiteY117" fmla="*/ 2573089 h 2673102"/>
                  <a:gd name="connsiteX118" fmla="*/ 235946 w 1708284"/>
                  <a:gd name="connsiteY118" fmla="*/ 2539752 h 2673102"/>
                  <a:gd name="connsiteX119" fmla="*/ 231183 w 1708284"/>
                  <a:gd name="connsiteY119" fmla="*/ 2525464 h 2673102"/>
                  <a:gd name="connsiteX120" fmla="*/ 226421 w 1708284"/>
                  <a:gd name="connsiteY120" fmla="*/ 2506414 h 2673102"/>
                  <a:gd name="connsiteX121" fmla="*/ 212133 w 1708284"/>
                  <a:gd name="connsiteY121" fmla="*/ 2492127 h 2673102"/>
                  <a:gd name="connsiteX122" fmla="*/ 154983 w 1708284"/>
                  <a:gd name="connsiteY122" fmla="*/ 2439739 h 2673102"/>
                  <a:gd name="connsiteX123" fmla="*/ 150221 w 1708284"/>
                  <a:gd name="connsiteY123" fmla="*/ 2415927 h 2673102"/>
                  <a:gd name="connsiteX124" fmla="*/ 135933 w 1708284"/>
                  <a:gd name="connsiteY124" fmla="*/ 2358777 h 2673102"/>
                  <a:gd name="connsiteX125" fmla="*/ 121646 w 1708284"/>
                  <a:gd name="connsiteY125" fmla="*/ 2315914 h 2673102"/>
                  <a:gd name="connsiteX126" fmla="*/ 107358 w 1708284"/>
                  <a:gd name="connsiteY126" fmla="*/ 2258764 h 2673102"/>
                  <a:gd name="connsiteX127" fmla="*/ 102596 w 1708284"/>
                  <a:gd name="connsiteY127" fmla="*/ 2234952 h 2673102"/>
                  <a:gd name="connsiteX128" fmla="*/ 93071 w 1708284"/>
                  <a:gd name="connsiteY128" fmla="*/ 2211139 h 2673102"/>
                  <a:gd name="connsiteX129" fmla="*/ 88308 w 1708284"/>
                  <a:gd name="connsiteY129" fmla="*/ 2187327 h 2673102"/>
                  <a:gd name="connsiteX130" fmla="*/ 78783 w 1708284"/>
                  <a:gd name="connsiteY130" fmla="*/ 2111127 h 2673102"/>
                  <a:gd name="connsiteX131" fmla="*/ 97833 w 1708284"/>
                  <a:gd name="connsiteY131" fmla="*/ 1944439 h 2673102"/>
                  <a:gd name="connsiteX132" fmla="*/ 107358 w 1708284"/>
                  <a:gd name="connsiteY132" fmla="*/ 1930152 h 2673102"/>
                  <a:gd name="connsiteX133" fmla="*/ 126408 w 1708284"/>
                  <a:gd name="connsiteY133" fmla="*/ 1901577 h 2673102"/>
                  <a:gd name="connsiteX134" fmla="*/ 135933 w 1708284"/>
                  <a:gd name="connsiteY134" fmla="*/ 1868239 h 2673102"/>
                  <a:gd name="connsiteX135" fmla="*/ 131171 w 1708284"/>
                  <a:gd name="connsiteY135" fmla="*/ 1825377 h 2673102"/>
                  <a:gd name="connsiteX136" fmla="*/ 112121 w 1708284"/>
                  <a:gd name="connsiteY136" fmla="*/ 1820614 h 2673102"/>
                  <a:gd name="connsiteX137" fmla="*/ 102596 w 1708284"/>
                  <a:gd name="connsiteY137" fmla="*/ 1806327 h 2673102"/>
                  <a:gd name="connsiteX138" fmla="*/ 145458 w 1708284"/>
                  <a:gd name="connsiteY138" fmla="*/ 1720602 h 2673102"/>
                  <a:gd name="connsiteX139" fmla="*/ 159746 w 1708284"/>
                  <a:gd name="connsiteY139" fmla="*/ 1715839 h 2673102"/>
                  <a:gd name="connsiteX140" fmla="*/ 174033 w 1708284"/>
                  <a:gd name="connsiteY140" fmla="*/ 1696789 h 2673102"/>
                  <a:gd name="connsiteX141" fmla="*/ 188321 w 1708284"/>
                  <a:gd name="connsiteY141" fmla="*/ 1687264 h 2673102"/>
                  <a:gd name="connsiteX142" fmla="*/ 202608 w 1708284"/>
                  <a:gd name="connsiteY142" fmla="*/ 1653927 h 2673102"/>
                  <a:gd name="connsiteX143" fmla="*/ 193083 w 1708284"/>
                  <a:gd name="connsiteY143" fmla="*/ 1606302 h 2673102"/>
                  <a:gd name="connsiteX144" fmla="*/ 164508 w 1708284"/>
                  <a:gd name="connsiteY144" fmla="*/ 1596777 h 2673102"/>
                  <a:gd name="connsiteX145" fmla="*/ 154983 w 1708284"/>
                  <a:gd name="connsiteY145" fmla="*/ 1549152 h 2673102"/>
                  <a:gd name="connsiteX146" fmla="*/ 150221 w 1708284"/>
                  <a:gd name="connsiteY146" fmla="*/ 1411039 h 2673102"/>
                  <a:gd name="connsiteX147" fmla="*/ 140696 w 1708284"/>
                  <a:gd name="connsiteY147" fmla="*/ 1377702 h 2673102"/>
                  <a:gd name="connsiteX148" fmla="*/ 121646 w 1708284"/>
                  <a:gd name="connsiteY148" fmla="*/ 1311027 h 2673102"/>
                  <a:gd name="connsiteX149" fmla="*/ 116883 w 1708284"/>
                  <a:gd name="connsiteY149" fmla="*/ 1258639 h 2673102"/>
                  <a:gd name="connsiteX150" fmla="*/ 107358 w 1708284"/>
                  <a:gd name="connsiteY150" fmla="*/ 1244352 h 2673102"/>
                  <a:gd name="connsiteX151" fmla="*/ 93071 w 1708284"/>
                  <a:gd name="connsiteY151" fmla="*/ 1196727 h 2673102"/>
                  <a:gd name="connsiteX152" fmla="*/ 78783 w 1708284"/>
                  <a:gd name="connsiteY152" fmla="*/ 1177677 h 2673102"/>
                  <a:gd name="connsiteX153" fmla="*/ 59733 w 1708284"/>
                  <a:gd name="connsiteY153" fmla="*/ 1139577 h 2673102"/>
                  <a:gd name="connsiteX154" fmla="*/ 50208 w 1708284"/>
                  <a:gd name="connsiteY154" fmla="*/ 1111002 h 2673102"/>
                  <a:gd name="connsiteX155" fmla="*/ 45446 w 1708284"/>
                  <a:gd name="connsiteY155" fmla="*/ 1096714 h 2673102"/>
                  <a:gd name="connsiteX156" fmla="*/ 21633 w 1708284"/>
                  <a:gd name="connsiteY156" fmla="*/ 1025277 h 2673102"/>
                  <a:gd name="connsiteX157" fmla="*/ 202 w 1708284"/>
                  <a:gd name="connsiteY157" fmla="*/ 980033 h 2673102"/>
                  <a:gd name="connsiteX158" fmla="*/ 14490 w 1708284"/>
                  <a:gd name="connsiteY158" fmla="*/ 930027 h 2673102"/>
                  <a:gd name="connsiteX159" fmla="*/ 69259 w 1708284"/>
                  <a:gd name="connsiteY159" fmla="*/ 810964 h 2673102"/>
                  <a:gd name="connsiteX160" fmla="*/ 221658 w 1708284"/>
                  <a:gd name="connsiteY160" fmla="*/ 601414 h 2673102"/>
                  <a:gd name="connsiteX161" fmla="*/ 288333 w 1708284"/>
                  <a:gd name="connsiteY161" fmla="*/ 515689 h 2673102"/>
                  <a:gd name="connsiteX162" fmla="*/ 412158 w 1708284"/>
                  <a:gd name="connsiteY162" fmla="*/ 406152 h 2673102"/>
                  <a:gd name="connsiteX163" fmla="*/ 535983 w 1708284"/>
                  <a:gd name="connsiteY163" fmla="*/ 291851 h 2673102"/>
                  <a:gd name="connsiteX164" fmla="*/ 640758 w 1708284"/>
                  <a:gd name="connsiteY164" fmla="*/ 229939 h 2673102"/>
                  <a:gd name="connsiteX165" fmla="*/ 733628 w 1708284"/>
                  <a:gd name="connsiteY165" fmla="*/ 168026 h 2673102"/>
                  <a:gd name="connsiteX166" fmla="*/ 978896 w 1708284"/>
                  <a:gd name="connsiteY166" fmla="*/ 63251 h 2673102"/>
                  <a:gd name="connsiteX167" fmla="*/ 1159871 w 1708284"/>
                  <a:gd name="connsiteY167" fmla="*/ 6102 h 2673102"/>
                  <a:gd name="connsiteX168" fmla="*/ 1202733 w 1708284"/>
                  <a:gd name="connsiteY168" fmla="*/ 10864 h 2673102"/>
                  <a:gd name="connsiteX0" fmla="*/ 1202733 w 1704847"/>
                  <a:gd name="connsiteY0" fmla="*/ 10864 h 2673102"/>
                  <a:gd name="connsiteX1" fmla="*/ 1197971 w 1704847"/>
                  <a:gd name="connsiteY1" fmla="*/ 68014 h 2673102"/>
                  <a:gd name="connsiteX2" fmla="*/ 1174158 w 1704847"/>
                  <a:gd name="connsiteY2" fmla="*/ 110877 h 2673102"/>
                  <a:gd name="connsiteX3" fmla="*/ 1164633 w 1704847"/>
                  <a:gd name="connsiteY3" fmla="*/ 129927 h 2673102"/>
                  <a:gd name="connsiteX4" fmla="*/ 1164633 w 1704847"/>
                  <a:gd name="connsiteY4" fmla="*/ 206127 h 2673102"/>
                  <a:gd name="connsiteX5" fmla="*/ 1183683 w 1704847"/>
                  <a:gd name="connsiteY5" fmla="*/ 225177 h 2673102"/>
                  <a:gd name="connsiteX6" fmla="*/ 1202733 w 1704847"/>
                  <a:gd name="connsiteY6" fmla="*/ 258514 h 2673102"/>
                  <a:gd name="connsiteX7" fmla="*/ 1221783 w 1704847"/>
                  <a:gd name="connsiteY7" fmla="*/ 268039 h 2673102"/>
                  <a:gd name="connsiteX8" fmla="*/ 1231308 w 1704847"/>
                  <a:gd name="connsiteY8" fmla="*/ 282327 h 2673102"/>
                  <a:gd name="connsiteX9" fmla="*/ 1245596 w 1704847"/>
                  <a:gd name="connsiteY9" fmla="*/ 296614 h 2673102"/>
                  <a:gd name="connsiteX10" fmla="*/ 1255121 w 1704847"/>
                  <a:gd name="connsiteY10" fmla="*/ 315664 h 2673102"/>
                  <a:gd name="connsiteX11" fmla="*/ 1250358 w 1704847"/>
                  <a:gd name="connsiteY11" fmla="*/ 344239 h 2673102"/>
                  <a:gd name="connsiteX12" fmla="*/ 1245596 w 1704847"/>
                  <a:gd name="connsiteY12" fmla="*/ 363289 h 2673102"/>
                  <a:gd name="connsiteX13" fmla="*/ 1250358 w 1704847"/>
                  <a:gd name="connsiteY13" fmla="*/ 425202 h 2673102"/>
                  <a:gd name="connsiteX14" fmla="*/ 1269408 w 1704847"/>
                  <a:gd name="connsiteY14" fmla="*/ 463302 h 2673102"/>
                  <a:gd name="connsiteX15" fmla="*/ 1278933 w 1704847"/>
                  <a:gd name="connsiteY15" fmla="*/ 477589 h 2673102"/>
                  <a:gd name="connsiteX16" fmla="*/ 1293221 w 1704847"/>
                  <a:gd name="connsiteY16" fmla="*/ 487114 h 2673102"/>
                  <a:gd name="connsiteX17" fmla="*/ 1350371 w 1704847"/>
                  <a:gd name="connsiteY17" fmla="*/ 510927 h 2673102"/>
                  <a:gd name="connsiteX18" fmla="*/ 1378946 w 1704847"/>
                  <a:gd name="connsiteY18" fmla="*/ 520452 h 2673102"/>
                  <a:gd name="connsiteX19" fmla="*/ 1407521 w 1704847"/>
                  <a:gd name="connsiteY19" fmla="*/ 539502 h 2673102"/>
                  <a:gd name="connsiteX20" fmla="*/ 1469433 w 1704847"/>
                  <a:gd name="connsiteY20" fmla="*/ 568077 h 2673102"/>
                  <a:gd name="connsiteX21" fmla="*/ 1521821 w 1704847"/>
                  <a:gd name="connsiteY21" fmla="*/ 587127 h 2673102"/>
                  <a:gd name="connsiteX22" fmla="*/ 1540871 w 1704847"/>
                  <a:gd name="connsiteY22" fmla="*/ 596652 h 2673102"/>
                  <a:gd name="connsiteX23" fmla="*/ 1559921 w 1704847"/>
                  <a:gd name="connsiteY23" fmla="*/ 601414 h 2673102"/>
                  <a:gd name="connsiteX24" fmla="*/ 1607546 w 1704847"/>
                  <a:gd name="connsiteY24" fmla="*/ 639514 h 2673102"/>
                  <a:gd name="connsiteX25" fmla="*/ 1636121 w 1704847"/>
                  <a:gd name="connsiteY25" fmla="*/ 672852 h 2673102"/>
                  <a:gd name="connsiteX26" fmla="*/ 1650408 w 1704847"/>
                  <a:gd name="connsiteY26" fmla="*/ 687139 h 2673102"/>
                  <a:gd name="connsiteX27" fmla="*/ 1669458 w 1704847"/>
                  <a:gd name="connsiteY27" fmla="*/ 696664 h 2673102"/>
                  <a:gd name="connsiteX28" fmla="*/ 1683746 w 1704847"/>
                  <a:gd name="connsiteY28" fmla="*/ 706189 h 2673102"/>
                  <a:gd name="connsiteX29" fmla="*/ 1698033 w 1704847"/>
                  <a:gd name="connsiteY29" fmla="*/ 744289 h 2673102"/>
                  <a:gd name="connsiteX30" fmla="*/ 1702796 w 1704847"/>
                  <a:gd name="connsiteY30" fmla="*/ 853827 h 2673102"/>
                  <a:gd name="connsiteX31" fmla="*/ 1664696 w 1704847"/>
                  <a:gd name="connsiteY31" fmla="*/ 887164 h 2673102"/>
                  <a:gd name="connsiteX32" fmla="*/ 1650408 w 1704847"/>
                  <a:gd name="connsiteY32" fmla="*/ 901452 h 2673102"/>
                  <a:gd name="connsiteX33" fmla="*/ 1598021 w 1704847"/>
                  <a:gd name="connsiteY33" fmla="*/ 906214 h 2673102"/>
                  <a:gd name="connsiteX34" fmla="*/ 1555158 w 1704847"/>
                  <a:gd name="connsiteY34" fmla="*/ 925264 h 2673102"/>
                  <a:gd name="connsiteX35" fmla="*/ 1531346 w 1704847"/>
                  <a:gd name="connsiteY35" fmla="*/ 939552 h 2673102"/>
                  <a:gd name="connsiteX36" fmla="*/ 1498008 w 1704847"/>
                  <a:gd name="connsiteY36" fmla="*/ 987177 h 2673102"/>
                  <a:gd name="connsiteX37" fmla="*/ 1345608 w 1704847"/>
                  <a:gd name="connsiteY37" fmla="*/ 1030039 h 2673102"/>
                  <a:gd name="connsiteX38" fmla="*/ 1297983 w 1704847"/>
                  <a:gd name="connsiteY38" fmla="*/ 1053852 h 2673102"/>
                  <a:gd name="connsiteX39" fmla="*/ 1231308 w 1704847"/>
                  <a:gd name="connsiteY39" fmla="*/ 1082427 h 2673102"/>
                  <a:gd name="connsiteX40" fmla="*/ 1126533 w 1704847"/>
                  <a:gd name="connsiteY40" fmla="*/ 1096714 h 2673102"/>
                  <a:gd name="connsiteX41" fmla="*/ 1102721 w 1704847"/>
                  <a:gd name="connsiteY41" fmla="*/ 1101477 h 2673102"/>
                  <a:gd name="connsiteX42" fmla="*/ 1078908 w 1704847"/>
                  <a:gd name="connsiteY42" fmla="*/ 1111002 h 2673102"/>
                  <a:gd name="connsiteX43" fmla="*/ 964608 w 1704847"/>
                  <a:gd name="connsiteY43" fmla="*/ 1106239 h 2673102"/>
                  <a:gd name="connsiteX44" fmla="*/ 859833 w 1704847"/>
                  <a:gd name="connsiteY44" fmla="*/ 1058614 h 2673102"/>
                  <a:gd name="connsiteX45" fmla="*/ 812208 w 1704847"/>
                  <a:gd name="connsiteY45" fmla="*/ 1034802 h 2673102"/>
                  <a:gd name="connsiteX46" fmla="*/ 788396 w 1704847"/>
                  <a:gd name="connsiteY46" fmla="*/ 1020514 h 2673102"/>
                  <a:gd name="connsiteX47" fmla="*/ 769346 w 1704847"/>
                  <a:gd name="connsiteY47" fmla="*/ 1006227 h 2673102"/>
                  <a:gd name="connsiteX48" fmla="*/ 678858 w 1704847"/>
                  <a:gd name="connsiteY48" fmla="*/ 958602 h 2673102"/>
                  <a:gd name="connsiteX49" fmla="*/ 645521 w 1704847"/>
                  <a:gd name="connsiteY49" fmla="*/ 939552 h 2673102"/>
                  <a:gd name="connsiteX50" fmla="*/ 526458 w 1704847"/>
                  <a:gd name="connsiteY50" fmla="*/ 910977 h 2673102"/>
                  <a:gd name="connsiteX51" fmla="*/ 483596 w 1704847"/>
                  <a:gd name="connsiteY51" fmla="*/ 891927 h 2673102"/>
                  <a:gd name="connsiteX52" fmla="*/ 421683 w 1704847"/>
                  <a:gd name="connsiteY52" fmla="*/ 882402 h 2673102"/>
                  <a:gd name="connsiteX53" fmla="*/ 321671 w 1704847"/>
                  <a:gd name="connsiteY53" fmla="*/ 896689 h 2673102"/>
                  <a:gd name="connsiteX54" fmla="*/ 307383 w 1704847"/>
                  <a:gd name="connsiteY54" fmla="*/ 910977 h 2673102"/>
                  <a:gd name="connsiteX55" fmla="*/ 283571 w 1704847"/>
                  <a:gd name="connsiteY55" fmla="*/ 949077 h 2673102"/>
                  <a:gd name="connsiteX56" fmla="*/ 269283 w 1704847"/>
                  <a:gd name="connsiteY56" fmla="*/ 987177 h 2673102"/>
                  <a:gd name="connsiteX57" fmla="*/ 264521 w 1704847"/>
                  <a:gd name="connsiteY57" fmla="*/ 1039564 h 2673102"/>
                  <a:gd name="connsiteX58" fmla="*/ 264521 w 1704847"/>
                  <a:gd name="connsiteY58" fmla="*/ 1120527 h 2673102"/>
                  <a:gd name="connsiteX59" fmla="*/ 297858 w 1704847"/>
                  <a:gd name="connsiteY59" fmla="*/ 1153864 h 2673102"/>
                  <a:gd name="connsiteX60" fmla="*/ 326433 w 1704847"/>
                  <a:gd name="connsiteY60" fmla="*/ 1163389 h 2673102"/>
                  <a:gd name="connsiteX61" fmla="*/ 326433 w 1704847"/>
                  <a:gd name="connsiteY61" fmla="*/ 1244352 h 2673102"/>
                  <a:gd name="connsiteX62" fmla="*/ 312146 w 1704847"/>
                  <a:gd name="connsiteY62" fmla="*/ 1258639 h 2673102"/>
                  <a:gd name="connsiteX63" fmla="*/ 259758 w 1704847"/>
                  <a:gd name="connsiteY63" fmla="*/ 1296739 h 2673102"/>
                  <a:gd name="connsiteX64" fmla="*/ 240708 w 1704847"/>
                  <a:gd name="connsiteY64" fmla="*/ 1325314 h 2673102"/>
                  <a:gd name="connsiteX65" fmla="*/ 250233 w 1704847"/>
                  <a:gd name="connsiteY65" fmla="*/ 1425327 h 2673102"/>
                  <a:gd name="connsiteX66" fmla="*/ 278808 w 1704847"/>
                  <a:gd name="connsiteY66" fmla="*/ 1472952 h 2673102"/>
                  <a:gd name="connsiteX67" fmla="*/ 293096 w 1704847"/>
                  <a:gd name="connsiteY67" fmla="*/ 1492002 h 2673102"/>
                  <a:gd name="connsiteX68" fmla="*/ 383583 w 1704847"/>
                  <a:gd name="connsiteY68" fmla="*/ 1525339 h 2673102"/>
                  <a:gd name="connsiteX69" fmla="*/ 407396 w 1704847"/>
                  <a:gd name="connsiteY69" fmla="*/ 1492002 h 2673102"/>
                  <a:gd name="connsiteX70" fmla="*/ 412158 w 1704847"/>
                  <a:gd name="connsiteY70" fmla="*/ 1468189 h 2673102"/>
                  <a:gd name="connsiteX71" fmla="*/ 416921 w 1704847"/>
                  <a:gd name="connsiteY71" fmla="*/ 1449139 h 2673102"/>
                  <a:gd name="connsiteX72" fmla="*/ 445496 w 1704847"/>
                  <a:gd name="connsiteY72" fmla="*/ 1439614 h 2673102"/>
                  <a:gd name="connsiteX73" fmla="*/ 545508 w 1704847"/>
                  <a:gd name="connsiteY73" fmla="*/ 1458664 h 2673102"/>
                  <a:gd name="connsiteX74" fmla="*/ 555033 w 1704847"/>
                  <a:gd name="connsiteY74" fmla="*/ 1482477 h 2673102"/>
                  <a:gd name="connsiteX75" fmla="*/ 564558 w 1704847"/>
                  <a:gd name="connsiteY75" fmla="*/ 1515814 h 2673102"/>
                  <a:gd name="connsiteX76" fmla="*/ 550271 w 1704847"/>
                  <a:gd name="connsiteY76" fmla="*/ 1534864 h 2673102"/>
                  <a:gd name="connsiteX77" fmla="*/ 550271 w 1704847"/>
                  <a:gd name="connsiteY77" fmla="*/ 1601539 h 2673102"/>
                  <a:gd name="connsiteX78" fmla="*/ 559796 w 1704847"/>
                  <a:gd name="connsiteY78" fmla="*/ 1620589 h 2673102"/>
                  <a:gd name="connsiteX79" fmla="*/ 626471 w 1704847"/>
                  <a:gd name="connsiteY79" fmla="*/ 1639639 h 2673102"/>
                  <a:gd name="connsiteX80" fmla="*/ 645521 w 1704847"/>
                  <a:gd name="connsiteY80" fmla="*/ 1592014 h 2673102"/>
                  <a:gd name="connsiteX81" fmla="*/ 702671 w 1704847"/>
                  <a:gd name="connsiteY81" fmla="*/ 1620589 h 2673102"/>
                  <a:gd name="connsiteX82" fmla="*/ 731246 w 1704847"/>
                  <a:gd name="connsiteY82" fmla="*/ 1630114 h 2673102"/>
                  <a:gd name="connsiteX83" fmla="*/ 783633 w 1704847"/>
                  <a:gd name="connsiteY83" fmla="*/ 1663452 h 2673102"/>
                  <a:gd name="connsiteX84" fmla="*/ 859833 w 1704847"/>
                  <a:gd name="connsiteY84" fmla="*/ 1687264 h 2673102"/>
                  <a:gd name="connsiteX85" fmla="*/ 878883 w 1704847"/>
                  <a:gd name="connsiteY85" fmla="*/ 1701552 h 2673102"/>
                  <a:gd name="connsiteX86" fmla="*/ 888408 w 1704847"/>
                  <a:gd name="connsiteY86" fmla="*/ 1739652 h 2673102"/>
                  <a:gd name="connsiteX87" fmla="*/ 897933 w 1704847"/>
                  <a:gd name="connsiteY87" fmla="*/ 1782514 h 2673102"/>
                  <a:gd name="connsiteX88" fmla="*/ 940796 w 1704847"/>
                  <a:gd name="connsiteY88" fmla="*/ 1892052 h 2673102"/>
                  <a:gd name="connsiteX89" fmla="*/ 950321 w 1704847"/>
                  <a:gd name="connsiteY89" fmla="*/ 1906339 h 2673102"/>
                  <a:gd name="connsiteX90" fmla="*/ 959846 w 1704847"/>
                  <a:gd name="connsiteY90" fmla="*/ 1939677 h 2673102"/>
                  <a:gd name="connsiteX91" fmla="*/ 974133 w 1704847"/>
                  <a:gd name="connsiteY91" fmla="*/ 1977777 h 2673102"/>
                  <a:gd name="connsiteX92" fmla="*/ 964608 w 1704847"/>
                  <a:gd name="connsiteY92" fmla="*/ 2082552 h 2673102"/>
                  <a:gd name="connsiteX93" fmla="*/ 955083 w 1704847"/>
                  <a:gd name="connsiteY93" fmla="*/ 2101602 h 2673102"/>
                  <a:gd name="connsiteX94" fmla="*/ 926508 w 1704847"/>
                  <a:gd name="connsiteY94" fmla="*/ 2144464 h 2673102"/>
                  <a:gd name="connsiteX95" fmla="*/ 907458 w 1704847"/>
                  <a:gd name="connsiteY95" fmla="*/ 2192089 h 2673102"/>
                  <a:gd name="connsiteX96" fmla="*/ 902696 w 1704847"/>
                  <a:gd name="connsiteY96" fmla="*/ 2211139 h 2673102"/>
                  <a:gd name="connsiteX97" fmla="*/ 893171 w 1704847"/>
                  <a:gd name="connsiteY97" fmla="*/ 2239714 h 2673102"/>
                  <a:gd name="connsiteX98" fmla="*/ 897933 w 1704847"/>
                  <a:gd name="connsiteY98" fmla="*/ 2287339 h 2673102"/>
                  <a:gd name="connsiteX99" fmla="*/ 893171 w 1704847"/>
                  <a:gd name="connsiteY99" fmla="*/ 2396877 h 2673102"/>
                  <a:gd name="connsiteX100" fmla="*/ 688383 w 1704847"/>
                  <a:gd name="connsiteY100" fmla="*/ 2449264 h 2673102"/>
                  <a:gd name="connsiteX101" fmla="*/ 655046 w 1704847"/>
                  <a:gd name="connsiteY101" fmla="*/ 2473077 h 2673102"/>
                  <a:gd name="connsiteX102" fmla="*/ 607421 w 1704847"/>
                  <a:gd name="connsiteY102" fmla="*/ 2511177 h 2673102"/>
                  <a:gd name="connsiteX103" fmla="*/ 574083 w 1704847"/>
                  <a:gd name="connsiteY103" fmla="*/ 2534989 h 2673102"/>
                  <a:gd name="connsiteX104" fmla="*/ 540746 w 1704847"/>
                  <a:gd name="connsiteY104" fmla="*/ 2554039 h 2673102"/>
                  <a:gd name="connsiteX105" fmla="*/ 497883 w 1704847"/>
                  <a:gd name="connsiteY105" fmla="*/ 2587377 h 2673102"/>
                  <a:gd name="connsiteX106" fmla="*/ 483596 w 1704847"/>
                  <a:gd name="connsiteY106" fmla="*/ 2601664 h 2673102"/>
                  <a:gd name="connsiteX107" fmla="*/ 459783 w 1704847"/>
                  <a:gd name="connsiteY107" fmla="*/ 2620714 h 2673102"/>
                  <a:gd name="connsiteX108" fmla="*/ 450258 w 1704847"/>
                  <a:gd name="connsiteY108" fmla="*/ 2635002 h 2673102"/>
                  <a:gd name="connsiteX109" fmla="*/ 416921 w 1704847"/>
                  <a:gd name="connsiteY109" fmla="*/ 2654052 h 2673102"/>
                  <a:gd name="connsiteX110" fmla="*/ 374058 w 1704847"/>
                  <a:gd name="connsiteY110" fmla="*/ 2673102 h 2673102"/>
                  <a:gd name="connsiteX111" fmla="*/ 359771 w 1704847"/>
                  <a:gd name="connsiteY111" fmla="*/ 2663577 h 2673102"/>
                  <a:gd name="connsiteX112" fmla="*/ 345483 w 1704847"/>
                  <a:gd name="connsiteY112" fmla="*/ 2635002 h 2673102"/>
                  <a:gd name="connsiteX113" fmla="*/ 335958 w 1704847"/>
                  <a:gd name="connsiteY113" fmla="*/ 2620714 h 2673102"/>
                  <a:gd name="connsiteX114" fmla="*/ 297858 w 1704847"/>
                  <a:gd name="connsiteY114" fmla="*/ 2611189 h 2673102"/>
                  <a:gd name="connsiteX115" fmla="*/ 278808 w 1704847"/>
                  <a:gd name="connsiteY115" fmla="*/ 2592139 h 2673102"/>
                  <a:gd name="connsiteX116" fmla="*/ 274046 w 1704847"/>
                  <a:gd name="connsiteY116" fmla="*/ 2573089 h 2673102"/>
                  <a:gd name="connsiteX117" fmla="*/ 235946 w 1704847"/>
                  <a:gd name="connsiteY117" fmla="*/ 2539752 h 2673102"/>
                  <a:gd name="connsiteX118" fmla="*/ 231183 w 1704847"/>
                  <a:gd name="connsiteY118" fmla="*/ 2525464 h 2673102"/>
                  <a:gd name="connsiteX119" fmla="*/ 226421 w 1704847"/>
                  <a:gd name="connsiteY119" fmla="*/ 2506414 h 2673102"/>
                  <a:gd name="connsiteX120" fmla="*/ 212133 w 1704847"/>
                  <a:gd name="connsiteY120" fmla="*/ 2492127 h 2673102"/>
                  <a:gd name="connsiteX121" fmla="*/ 154983 w 1704847"/>
                  <a:gd name="connsiteY121" fmla="*/ 2439739 h 2673102"/>
                  <a:gd name="connsiteX122" fmla="*/ 150221 w 1704847"/>
                  <a:gd name="connsiteY122" fmla="*/ 2415927 h 2673102"/>
                  <a:gd name="connsiteX123" fmla="*/ 135933 w 1704847"/>
                  <a:gd name="connsiteY123" fmla="*/ 2358777 h 2673102"/>
                  <a:gd name="connsiteX124" fmla="*/ 121646 w 1704847"/>
                  <a:gd name="connsiteY124" fmla="*/ 2315914 h 2673102"/>
                  <a:gd name="connsiteX125" fmla="*/ 107358 w 1704847"/>
                  <a:gd name="connsiteY125" fmla="*/ 2258764 h 2673102"/>
                  <a:gd name="connsiteX126" fmla="*/ 102596 w 1704847"/>
                  <a:gd name="connsiteY126" fmla="*/ 2234952 h 2673102"/>
                  <a:gd name="connsiteX127" fmla="*/ 93071 w 1704847"/>
                  <a:gd name="connsiteY127" fmla="*/ 2211139 h 2673102"/>
                  <a:gd name="connsiteX128" fmla="*/ 88308 w 1704847"/>
                  <a:gd name="connsiteY128" fmla="*/ 2187327 h 2673102"/>
                  <a:gd name="connsiteX129" fmla="*/ 78783 w 1704847"/>
                  <a:gd name="connsiteY129" fmla="*/ 2111127 h 2673102"/>
                  <a:gd name="connsiteX130" fmla="*/ 97833 w 1704847"/>
                  <a:gd name="connsiteY130" fmla="*/ 1944439 h 2673102"/>
                  <a:gd name="connsiteX131" fmla="*/ 107358 w 1704847"/>
                  <a:gd name="connsiteY131" fmla="*/ 1930152 h 2673102"/>
                  <a:gd name="connsiteX132" fmla="*/ 126408 w 1704847"/>
                  <a:gd name="connsiteY132" fmla="*/ 1901577 h 2673102"/>
                  <a:gd name="connsiteX133" fmla="*/ 135933 w 1704847"/>
                  <a:gd name="connsiteY133" fmla="*/ 1868239 h 2673102"/>
                  <a:gd name="connsiteX134" fmla="*/ 131171 w 1704847"/>
                  <a:gd name="connsiteY134" fmla="*/ 1825377 h 2673102"/>
                  <a:gd name="connsiteX135" fmla="*/ 112121 w 1704847"/>
                  <a:gd name="connsiteY135" fmla="*/ 1820614 h 2673102"/>
                  <a:gd name="connsiteX136" fmla="*/ 102596 w 1704847"/>
                  <a:gd name="connsiteY136" fmla="*/ 1806327 h 2673102"/>
                  <a:gd name="connsiteX137" fmla="*/ 145458 w 1704847"/>
                  <a:gd name="connsiteY137" fmla="*/ 1720602 h 2673102"/>
                  <a:gd name="connsiteX138" fmla="*/ 159746 w 1704847"/>
                  <a:gd name="connsiteY138" fmla="*/ 1715839 h 2673102"/>
                  <a:gd name="connsiteX139" fmla="*/ 174033 w 1704847"/>
                  <a:gd name="connsiteY139" fmla="*/ 1696789 h 2673102"/>
                  <a:gd name="connsiteX140" fmla="*/ 188321 w 1704847"/>
                  <a:gd name="connsiteY140" fmla="*/ 1687264 h 2673102"/>
                  <a:gd name="connsiteX141" fmla="*/ 202608 w 1704847"/>
                  <a:gd name="connsiteY141" fmla="*/ 1653927 h 2673102"/>
                  <a:gd name="connsiteX142" fmla="*/ 193083 w 1704847"/>
                  <a:gd name="connsiteY142" fmla="*/ 1606302 h 2673102"/>
                  <a:gd name="connsiteX143" fmla="*/ 164508 w 1704847"/>
                  <a:gd name="connsiteY143" fmla="*/ 1596777 h 2673102"/>
                  <a:gd name="connsiteX144" fmla="*/ 154983 w 1704847"/>
                  <a:gd name="connsiteY144" fmla="*/ 1549152 h 2673102"/>
                  <a:gd name="connsiteX145" fmla="*/ 150221 w 1704847"/>
                  <a:gd name="connsiteY145" fmla="*/ 1411039 h 2673102"/>
                  <a:gd name="connsiteX146" fmla="*/ 140696 w 1704847"/>
                  <a:gd name="connsiteY146" fmla="*/ 1377702 h 2673102"/>
                  <a:gd name="connsiteX147" fmla="*/ 121646 w 1704847"/>
                  <a:gd name="connsiteY147" fmla="*/ 1311027 h 2673102"/>
                  <a:gd name="connsiteX148" fmla="*/ 116883 w 1704847"/>
                  <a:gd name="connsiteY148" fmla="*/ 1258639 h 2673102"/>
                  <a:gd name="connsiteX149" fmla="*/ 107358 w 1704847"/>
                  <a:gd name="connsiteY149" fmla="*/ 1244352 h 2673102"/>
                  <a:gd name="connsiteX150" fmla="*/ 93071 w 1704847"/>
                  <a:gd name="connsiteY150" fmla="*/ 1196727 h 2673102"/>
                  <a:gd name="connsiteX151" fmla="*/ 78783 w 1704847"/>
                  <a:gd name="connsiteY151" fmla="*/ 1177677 h 2673102"/>
                  <a:gd name="connsiteX152" fmla="*/ 59733 w 1704847"/>
                  <a:gd name="connsiteY152" fmla="*/ 1139577 h 2673102"/>
                  <a:gd name="connsiteX153" fmla="*/ 50208 w 1704847"/>
                  <a:gd name="connsiteY153" fmla="*/ 1111002 h 2673102"/>
                  <a:gd name="connsiteX154" fmla="*/ 45446 w 1704847"/>
                  <a:gd name="connsiteY154" fmla="*/ 1096714 h 2673102"/>
                  <a:gd name="connsiteX155" fmla="*/ 21633 w 1704847"/>
                  <a:gd name="connsiteY155" fmla="*/ 1025277 h 2673102"/>
                  <a:gd name="connsiteX156" fmla="*/ 202 w 1704847"/>
                  <a:gd name="connsiteY156" fmla="*/ 980033 h 2673102"/>
                  <a:gd name="connsiteX157" fmla="*/ 14490 w 1704847"/>
                  <a:gd name="connsiteY157" fmla="*/ 930027 h 2673102"/>
                  <a:gd name="connsiteX158" fmla="*/ 69259 w 1704847"/>
                  <a:gd name="connsiteY158" fmla="*/ 810964 h 2673102"/>
                  <a:gd name="connsiteX159" fmla="*/ 221658 w 1704847"/>
                  <a:gd name="connsiteY159" fmla="*/ 601414 h 2673102"/>
                  <a:gd name="connsiteX160" fmla="*/ 288333 w 1704847"/>
                  <a:gd name="connsiteY160" fmla="*/ 515689 h 2673102"/>
                  <a:gd name="connsiteX161" fmla="*/ 412158 w 1704847"/>
                  <a:gd name="connsiteY161" fmla="*/ 406152 h 2673102"/>
                  <a:gd name="connsiteX162" fmla="*/ 535983 w 1704847"/>
                  <a:gd name="connsiteY162" fmla="*/ 291851 h 2673102"/>
                  <a:gd name="connsiteX163" fmla="*/ 640758 w 1704847"/>
                  <a:gd name="connsiteY163" fmla="*/ 229939 h 2673102"/>
                  <a:gd name="connsiteX164" fmla="*/ 733628 w 1704847"/>
                  <a:gd name="connsiteY164" fmla="*/ 168026 h 2673102"/>
                  <a:gd name="connsiteX165" fmla="*/ 978896 w 1704847"/>
                  <a:gd name="connsiteY165" fmla="*/ 63251 h 2673102"/>
                  <a:gd name="connsiteX166" fmla="*/ 1159871 w 1704847"/>
                  <a:gd name="connsiteY166" fmla="*/ 6102 h 2673102"/>
                  <a:gd name="connsiteX167" fmla="*/ 1202733 w 1704847"/>
                  <a:gd name="connsiteY167" fmla="*/ 10864 h 2673102"/>
                  <a:gd name="connsiteX0" fmla="*/ 1202733 w 1730673"/>
                  <a:gd name="connsiteY0" fmla="*/ 10864 h 2673102"/>
                  <a:gd name="connsiteX1" fmla="*/ 1197971 w 1730673"/>
                  <a:gd name="connsiteY1" fmla="*/ 68014 h 2673102"/>
                  <a:gd name="connsiteX2" fmla="*/ 1174158 w 1730673"/>
                  <a:gd name="connsiteY2" fmla="*/ 110877 h 2673102"/>
                  <a:gd name="connsiteX3" fmla="*/ 1164633 w 1730673"/>
                  <a:gd name="connsiteY3" fmla="*/ 129927 h 2673102"/>
                  <a:gd name="connsiteX4" fmla="*/ 1164633 w 1730673"/>
                  <a:gd name="connsiteY4" fmla="*/ 206127 h 2673102"/>
                  <a:gd name="connsiteX5" fmla="*/ 1183683 w 1730673"/>
                  <a:gd name="connsiteY5" fmla="*/ 225177 h 2673102"/>
                  <a:gd name="connsiteX6" fmla="*/ 1202733 w 1730673"/>
                  <a:gd name="connsiteY6" fmla="*/ 258514 h 2673102"/>
                  <a:gd name="connsiteX7" fmla="*/ 1221783 w 1730673"/>
                  <a:gd name="connsiteY7" fmla="*/ 268039 h 2673102"/>
                  <a:gd name="connsiteX8" fmla="*/ 1231308 w 1730673"/>
                  <a:gd name="connsiteY8" fmla="*/ 282327 h 2673102"/>
                  <a:gd name="connsiteX9" fmla="*/ 1245596 w 1730673"/>
                  <a:gd name="connsiteY9" fmla="*/ 296614 h 2673102"/>
                  <a:gd name="connsiteX10" fmla="*/ 1255121 w 1730673"/>
                  <a:gd name="connsiteY10" fmla="*/ 315664 h 2673102"/>
                  <a:gd name="connsiteX11" fmla="*/ 1250358 w 1730673"/>
                  <a:gd name="connsiteY11" fmla="*/ 344239 h 2673102"/>
                  <a:gd name="connsiteX12" fmla="*/ 1245596 w 1730673"/>
                  <a:gd name="connsiteY12" fmla="*/ 363289 h 2673102"/>
                  <a:gd name="connsiteX13" fmla="*/ 1250358 w 1730673"/>
                  <a:gd name="connsiteY13" fmla="*/ 425202 h 2673102"/>
                  <a:gd name="connsiteX14" fmla="*/ 1269408 w 1730673"/>
                  <a:gd name="connsiteY14" fmla="*/ 463302 h 2673102"/>
                  <a:gd name="connsiteX15" fmla="*/ 1278933 w 1730673"/>
                  <a:gd name="connsiteY15" fmla="*/ 477589 h 2673102"/>
                  <a:gd name="connsiteX16" fmla="*/ 1293221 w 1730673"/>
                  <a:gd name="connsiteY16" fmla="*/ 487114 h 2673102"/>
                  <a:gd name="connsiteX17" fmla="*/ 1350371 w 1730673"/>
                  <a:gd name="connsiteY17" fmla="*/ 510927 h 2673102"/>
                  <a:gd name="connsiteX18" fmla="*/ 1378946 w 1730673"/>
                  <a:gd name="connsiteY18" fmla="*/ 520452 h 2673102"/>
                  <a:gd name="connsiteX19" fmla="*/ 1407521 w 1730673"/>
                  <a:gd name="connsiteY19" fmla="*/ 539502 h 2673102"/>
                  <a:gd name="connsiteX20" fmla="*/ 1469433 w 1730673"/>
                  <a:gd name="connsiteY20" fmla="*/ 568077 h 2673102"/>
                  <a:gd name="connsiteX21" fmla="*/ 1521821 w 1730673"/>
                  <a:gd name="connsiteY21" fmla="*/ 587127 h 2673102"/>
                  <a:gd name="connsiteX22" fmla="*/ 1540871 w 1730673"/>
                  <a:gd name="connsiteY22" fmla="*/ 596652 h 2673102"/>
                  <a:gd name="connsiteX23" fmla="*/ 1559921 w 1730673"/>
                  <a:gd name="connsiteY23" fmla="*/ 601414 h 2673102"/>
                  <a:gd name="connsiteX24" fmla="*/ 1607546 w 1730673"/>
                  <a:gd name="connsiteY24" fmla="*/ 639514 h 2673102"/>
                  <a:gd name="connsiteX25" fmla="*/ 1636121 w 1730673"/>
                  <a:gd name="connsiteY25" fmla="*/ 672852 h 2673102"/>
                  <a:gd name="connsiteX26" fmla="*/ 1650408 w 1730673"/>
                  <a:gd name="connsiteY26" fmla="*/ 687139 h 2673102"/>
                  <a:gd name="connsiteX27" fmla="*/ 1669458 w 1730673"/>
                  <a:gd name="connsiteY27" fmla="*/ 696664 h 2673102"/>
                  <a:gd name="connsiteX28" fmla="*/ 1683746 w 1730673"/>
                  <a:gd name="connsiteY28" fmla="*/ 706189 h 2673102"/>
                  <a:gd name="connsiteX29" fmla="*/ 1698033 w 1730673"/>
                  <a:gd name="connsiteY29" fmla="*/ 744289 h 2673102"/>
                  <a:gd name="connsiteX30" fmla="*/ 1702796 w 1730673"/>
                  <a:gd name="connsiteY30" fmla="*/ 853827 h 2673102"/>
                  <a:gd name="connsiteX31" fmla="*/ 1664696 w 1730673"/>
                  <a:gd name="connsiteY31" fmla="*/ 887164 h 2673102"/>
                  <a:gd name="connsiteX32" fmla="*/ 1650408 w 1730673"/>
                  <a:gd name="connsiteY32" fmla="*/ 901452 h 2673102"/>
                  <a:gd name="connsiteX33" fmla="*/ 1598021 w 1730673"/>
                  <a:gd name="connsiteY33" fmla="*/ 906214 h 2673102"/>
                  <a:gd name="connsiteX34" fmla="*/ 1555158 w 1730673"/>
                  <a:gd name="connsiteY34" fmla="*/ 925264 h 2673102"/>
                  <a:gd name="connsiteX35" fmla="*/ 1531346 w 1730673"/>
                  <a:gd name="connsiteY35" fmla="*/ 939552 h 2673102"/>
                  <a:gd name="connsiteX36" fmla="*/ 1498008 w 1730673"/>
                  <a:gd name="connsiteY36" fmla="*/ 987177 h 2673102"/>
                  <a:gd name="connsiteX37" fmla="*/ 1345608 w 1730673"/>
                  <a:gd name="connsiteY37" fmla="*/ 1030039 h 2673102"/>
                  <a:gd name="connsiteX38" fmla="*/ 1297983 w 1730673"/>
                  <a:gd name="connsiteY38" fmla="*/ 1053852 h 2673102"/>
                  <a:gd name="connsiteX39" fmla="*/ 1231308 w 1730673"/>
                  <a:gd name="connsiteY39" fmla="*/ 1082427 h 2673102"/>
                  <a:gd name="connsiteX40" fmla="*/ 1126533 w 1730673"/>
                  <a:gd name="connsiteY40" fmla="*/ 1096714 h 2673102"/>
                  <a:gd name="connsiteX41" fmla="*/ 1102721 w 1730673"/>
                  <a:gd name="connsiteY41" fmla="*/ 1101477 h 2673102"/>
                  <a:gd name="connsiteX42" fmla="*/ 1078908 w 1730673"/>
                  <a:gd name="connsiteY42" fmla="*/ 1111002 h 2673102"/>
                  <a:gd name="connsiteX43" fmla="*/ 964608 w 1730673"/>
                  <a:gd name="connsiteY43" fmla="*/ 1106239 h 2673102"/>
                  <a:gd name="connsiteX44" fmla="*/ 859833 w 1730673"/>
                  <a:gd name="connsiteY44" fmla="*/ 1058614 h 2673102"/>
                  <a:gd name="connsiteX45" fmla="*/ 812208 w 1730673"/>
                  <a:gd name="connsiteY45" fmla="*/ 1034802 h 2673102"/>
                  <a:gd name="connsiteX46" fmla="*/ 788396 w 1730673"/>
                  <a:gd name="connsiteY46" fmla="*/ 1020514 h 2673102"/>
                  <a:gd name="connsiteX47" fmla="*/ 769346 w 1730673"/>
                  <a:gd name="connsiteY47" fmla="*/ 1006227 h 2673102"/>
                  <a:gd name="connsiteX48" fmla="*/ 678858 w 1730673"/>
                  <a:gd name="connsiteY48" fmla="*/ 958602 h 2673102"/>
                  <a:gd name="connsiteX49" fmla="*/ 645521 w 1730673"/>
                  <a:gd name="connsiteY49" fmla="*/ 939552 h 2673102"/>
                  <a:gd name="connsiteX50" fmla="*/ 526458 w 1730673"/>
                  <a:gd name="connsiteY50" fmla="*/ 910977 h 2673102"/>
                  <a:gd name="connsiteX51" fmla="*/ 483596 w 1730673"/>
                  <a:gd name="connsiteY51" fmla="*/ 891927 h 2673102"/>
                  <a:gd name="connsiteX52" fmla="*/ 421683 w 1730673"/>
                  <a:gd name="connsiteY52" fmla="*/ 882402 h 2673102"/>
                  <a:gd name="connsiteX53" fmla="*/ 321671 w 1730673"/>
                  <a:gd name="connsiteY53" fmla="*/ 896689 h 2673102"/>
                  <a:gd name="connsiteX54" fmla="*/ 307383 w 1730673"/>
                  <a:gd name="connsiteY54" fmla="*/ 910977 h 2673102"/>
                  <a:gd name="connsiteX55" fmla="*/ 283571 w 1730673"/>
                  <a:gd name="connsiteY55" fmla="*/ 949077 h 2673102"/>
                  <a:gd name="connsiteX56" fmla="*/ 269283 w 1730673"/>
                  <a:gd name="connsiteY56" fmla="*/ 987177 h 2673102"/>
                  <a:gd name="connsiteX57" fmla="*/ 264521 w 1730673"/>
                  <a:gd name="connsiteY57" fmla="*/ 1039564 h 2673102"/>
                  <a:gd name="connsiteX58" fmla="*/ 264521 w 1730673"/>
                  <a:gd name="connsiteY58" fmla="*/ 1120527 h 2673102"/>
                  <a:gd name="connsiteX59" fmla="*/ 297858 w 1730673"/>
                  <a:gd name="connsiteY59" fmla="*/ 1153864 h 2673102"/>
                  <a:gd name="connsiteX60" fmla="*/ 326433 w 1730673"/>
                  <a:gd name="connsiteY60" fmla="*/ 1163389 h 2673102"/>
                  <a:gd name="connsiteX61" fmla="*/ 326433 w 1730673"/>
                  <a:gd name="connsiteY61" fmla="*/ 1244352 h 2673102"/>
                  <a:gd name="connsiteX62" fmla="*/ 312146 w 1730673"/>
                  <a:gd name="connsiteY62" fmla="*/ 1258639 h 2673102"/>
                  <a:gd name="connsiteX63" fmla="*/ 259758 w 1730673"/>
                  <a:gd name="connsiteY63" fmla="*/ 1296739 h 2673102"/>
                  <a:gd name="connsiteX64" fmla="*/ 240708 w 1730673"/>
                  <a:gd name="connsiteY64" fmla="*/ 1325314 h 2673102"/>
                  <a:gd name="connsiteX65" fmla="*/ 250233 w 1730673"/>
                  <a:gd name="connsiteY65" fmla="*/ 1425327 h 2673102"/>
                  <a:gd name="connsiteX66" fmla="*/ 278808 w 1730673"/>
                  <a:gd name="connsiteY66" fmla="*/ 1472952 h 2673102"/>
                  <a:gd name="connsiteX67" fmla="*/ 293096 w 1730673"/>
                  <a:gd name="connsiteY67" fmla="*/ 1492002 h 2673102"/>
                  <a:gd name="connsiteX68" fmla="*/ 383583 w 1730673"/>
                  <a:gd name="connsiteY68" fmla="*/ 1525339 h 2673102"/>
                  <a:gd name="connsiteX69" fmla="*/ 407396 w 1730673"/>
                  <a:gd name="connsiteY69" fmla="*/ 1492002 h 2673102"/>
                  <a:gd name="connsiteX70" fmla="*/ 412158 w 1730673"/>
                  <a:gd name="connsiteY70" fmla="*/ 1468189 h 2673102"/>
                  <a:gd name="connsiteX71" fmla="*/ 416921 w 1730673"/>
                  <a:gd name="connsiteY71" fmla="*/ 1449139 h 2673102"/>
                  <a:gd name="connsiteX72" fmla="*/ 445496 w 1730673"/>
                  <a:gd name="connsiteY72" fmla="*/ 1439614 h 2673102"/>
                  <a:gd name="connsiteX73" fmla="*/ 545508 w 1730673"/>
                  <a:gd name="connsiteY73" fmla="*/ 1458664 h 2673102"/>
                  <a:gd name="connsiteX74" fmla="*/ 555033 w 1730673"/>
                  <a:gd name="connsiteY74" fmla="*/ 1482477 h 2673102"/>
                  <a:gd name="connsiteX75" fmla="*/ 564558 w 1730673"/>
                  <a:gd name="connsiteY75" fmla="*/ 1515814 h 2673102"/>
                  <a:gd name="connsiteX76" fmla="*/ 550271 w 1730673"/>
                  <a:gd name="connsiteY76" fmla="*/ 1534864 h 2673102"/>
                  <a:gd name="connsiteX77" fmla="*/ 550271 w 1730673"/>
                  <a:gd name="connsiteY77" fmla="*/ 1601539 h 2673102"/>
                  <a:gd name="connsiteX78" fmla="*/ 559796 w 1730673"/>
                  <a:gd name="connsiteY78" fmla="*/ 1620589 h 2673102"/>
                  <a:gd name="connsiteX79" fmla="*/ 626471 w 1730673"/>
                  <a:gd name="connsiteY79" fmla="*/ 1639639 h 2673102"/>
                  <a:gd name="connsiteX80" fmla="*/ 645521 w 1730673"/>
                  <a:gd name="connsiteY80" fmla="*/ 1592014 h 2673102"/>
                  <a:gd name="connsiteX81" fmla="*/ 702671 w 1730673"/>
                  <a:gd name="connsiteY81" fmla="*/ 1620589 h 2673102"/>
                  <a:gd name="connsiteX82" fmla="*/ 731246 w 1730673"/>
                  <a:gd name="connsiteY82" fmla="*/ 1630114 h 2673102"/>
                  <a:gd name="connsiteX83" fmla="*/ 783633 w 1730673"/>
                  <a:gd name="connsiteY83" fmla="*/ 1663452 h 2673102"/>
                  <a:gd name="connsiteX84" fmla="*/ 859833 w 1730673"/>
                  <a:gd name="connsiteY84" fmla="*/ 1687264 h 2673102"/>
                  <a:gd name="connsiteX85" fmla="*/ 878883 w 1730673"/>
                  <a:gd name="connsiteY85" fmla="*/ 1701552 h 2673102"/>
                  <a:gd name="connsiteX86" fmla="*/ 888408 w 1730673"/>
                  <a:gd name="connsiteY86" fmla="*/ 1739652 h 2673102"/>
                  <a:gd name="connsiteX87" fmla="*/ 897933 w 1730673"/>
                  <a:gd name="connsiteY87" fmla="*/ 1782514 h 2673102"/>
                  <a:gd name="connsiteX88" fmla="*/ 940796 w 1730673"/>
                  <a:gd name="connsiteY88" fmla="*/ 1892052 h 2673102"/>
                  <a:gd name="connsiteX89" fmla="*/ 950321 w 1730673"/>
                  <a:gd name="connsiteY89" fmla="*/ 1906339 h 2673102"/>
                  <a:gd name="connsiteX90" fmla="*/ 959846 w 1730673"/>
                  <a:gd name="connsiteY90" fmla="*/ 1939677 h 2673102"/>
                  <a:gd name="connsiteX91" fmla="*/ 974133 w 1730673"/>
                  <a:gd name="connsiteY91" fmla="*/ 1977777 h 2673102"/>
                  <a:gd name="connsiteX92" fmla="*/ 964608 w 1730673"/>
                  <a:gd name="connsiteY92" fmla="*/ 2082552 h 2673102"/>
                  <a:gd name="connsiteX93" fmla="*/ 955083 w 1730673"/>
                  <a:gd name="connsiteY93" fmla="*/ 2101602 h 2673102"/>
                  <a:gd name="connsiteX94" fmla="*/ 926508 w 1730673"/>
                  <a:gd name="connsiteY94" fmla="*/ 2144464 h 2673102"/>
                  <a:gd name="connsiteX95" fmla="*/ 907458 w 1730673"/>
                  <a:gd name="connsiteY95" fmla="*/ 2192089 h 2673102"/>
                  <a:gd name="connsiteX96" fmla="*/ 902696 w 1730673"/>
                  <a:gd name="connsiteY96" fmla="*/ 2211139 h 2673102"/>
                  <a:gd name="connsiteX97" fmla="*/ 893171 w 1730673"/>
                  <a:gd name="connsiteY97" fmla="*/ 2239714 h 2673102"/>
                  <a:gd name="connsiteX98" fmla="*/ 897933 w 1730673"/>
                  <a:gd name="connsiteY98" fmla="*/ 2287339 h 2673102"/>
                  <a:gd name="connsiteX99" fmla="*/ 893171 w 1730673"/>
                  <a:gd name="connsiteY99" fmla="*/ 2396877 h 2673102"/>
                  <a:gd name="connsiteX100" fmla="*/ 688383 w 1730673"/>
                  <a:gd name="connsiteY100" fmla="*/ 2449264 h 2673102"/>
                  <a:gd name="connsiteX101" fmla="*/ 655046 w 1730673"/>
                  <a:gd name="connsiteY101" fmla="*/ 2473077 h 2673102"/>
                  <a:gd name="connsiteX102" fmla="*/ 607421 w 1730673"/>
                  <a:gd name="connsiteY102" fmla="*/ 2511177 h 2673102"/>
                  <a:gd name="connsiteX103" fmla="*/ 574083 w 1730673"/>
                  <a:gd name="connsiteY103" fmla="*/ 2534989 h 2673102"/>
                  <a:gd name="connsiteX104" fmla="*/ 540746 w 1730673"/>
                  <a:gd name="connsiteY104" fmla="*/ 2554039 h 2673102"/>
                  <a:gd name="connsiteX105" fmla="*/ 497883 w 1730673"/>
                  <a:gd name="connsiteY105" fmla="*/ 2587377 h 2673102"/>
                  <a:gd name="connsiteX106" fmla="*/ 483596 w 1730673"/>
                  <a:gd name="connsiteY106" fmla="*/ 2601664 h 2673102"/>
                  <a:gd name="connsiteX107" fmla="*/ 459783 w 1730673"/>
                  <a:gd name="connsiteY107" fmla="*/ 2620714 h 2673102"/>
                  <a:gd name="connsiteX108" fmla="*/ 450258 w 1730673"/>
                  <a:gd name="connsiteY108" fmla="*/ 2635002 h 2673102"/>
                  <a:gd name="connsiteX109" fmla="*/ 416921 w 1730673"/>
                  <a:gd name="connsiteY109" fmla="*/ 2654052 h 2673102"/>
                  <a:gd name="connsiteX110" fmla="*/ 374058 w 1730673"/>
                  <a:gd name="connsiteY110" fmla="*/ 2673102 h 2673102"/>
                  <a:gd name="connsiteX111" fmla="*/ 359771 w 1730673"/>
                  <a:gd name="connsiteY111" fmla="*/ 2663577 h 2673102"/>
                  <a:gd name="connsiteX112" fmla="*/ 345483 w 1730673"/>
                  <a:gd name="connsiteY112" fmla="*/ 2635002 h 2673102"/>
                  <a:gd name="connsiteX113" fmla="*/ 335958 w 1730673"/>
                  <a:gd name="connsiteY113" fmla="*/ 2620714 h 2673102"/>
                  <a:gd name="connsiteX114" fmla="*/ 297858 w 1730673"/>
                  <a:gd name="connsiteY114" fmla="*/ 2611189 h 2673102"/>
                  <a:gd name="connsiteX115" fmla="*/ 278808 w 1730673"/>
                  <a:gd name="connsiteY115" fmla="*/ 2592139 h 2673102"/>
                  <a:gd name="connsiteX116" fmla="*/ 274046 w 1730673"/>
                  <a:gd name="connsiteY116" fmla="*/ 2573089 h 2673102"/>
                  <a:gd name="connsiteX117" fmla="*/ 235946 w 1730673"/>
                  <a:gd name="connsiteY117" fmla="*/ 2539752 h 2673102"/>
                  <a:gd name="connsiteX118" fmla="*/ 231183 w 1730673"/>
                  <a:gd name="connsiteY118" fmla="*/ 2525464 h 2673102"/>
                  <a:gd name="connsiteX119" fmla="*/ 226421 w 1730673"/>
                  <a:gd name="connsiteY119" fmla="*/ 2506414 h 2673102"/>
                  <a:gd name="connsiteX120" fmla="*/ 212133 w 1730673"/>
                  <a:gd name="connsiteY120" fmla="*/ 2492127 h 2673102"/>
                  <a:gd name="connsiteX121" fmla="*/ 154983 w 1730673"/>
                  <a:gd name="connsiteY121" fmla="*/ 2439739 h 2673102"/>
                  <a:gd name="connsiteX122" fmla="*/ 150221 w 1730673"/>
                  <a:gd name="connsiteY122" fmla="*/ 2415927 h 2673102"/>
                  <a:gd name="connsiteX123" fmla="*/ 135933 w 1730673"/>
                  <a:gd name="connsiteY123" fmla="*/ 2358777 h 2673102"/>
                  <a:gd name="connsiteX124" fmla="*/ 121646 w 1730673"/>
                  <a:gd name="connsiteY124" fmla="*/ 2315914 h 2673102"/>
                  <a:gd name="connsiteX125" fmla="*/ 107358 w 1730673"/>
                  <a:gd name="connsiteY125" fmla="*/ 2258764 h 2673102"/>
                  <a:gd name="connsiteX126" fmla="*/ 102596 w 1730673"/>
                  <a:gd name="connsiteY126" fmla="*/ 2234952 h 2673102"/>
                  <a:gd name="connsiteX127" fmla="*/ 93071 w 1730673"/>
                  <a:gd name="connsiteY127" fmla="*/ 2211139 h 2673102"/>
                  <a:gd name="connsiteX128" fmla="*/ 88308 w 1730673"/>
                  <a:gd name="connsiteY128" fmla="*/ 2187327 h 2673102"/>
                  <a:gd name="connsiteX129" fmla="*/ 78783 w 1730673"/>
                  <a:gd name="connsiteY129" fmla="*/ 2111127 h 2673102"/>
                  <a:gd name="connsiteX130" fmla="*/ 97833 w 1730673"/>
                  <a:gd name="connsiteY130" fmla="*/ 1944439 h 2673102"/>
                  <a:gd name="connsiteX131" fmla="*/ 107358 w 1730673"/>
                  <a:gd name="connsiteY131" fmla="*/ 1930152 h 2673102"/>
                  <a:gd name="connsiteX132" fmla="*/ 126408 w 1730673"/>
                  <a:gd name="connsiteY132" fmla="*/ 1901577 h 2673102"/>
                  <a:gd name="connsiteX133" fmla="*/ 135933 w 1730673"/>
                  <a:gd name="connsiteY133" fmla="*/ 1868239 h 2673102"/>
                  <a:gd name="connsiteX134" fmla="*/ 131171 w 1730673"/>
                  <a:gd name="connsiteY134" fmla="*/ 1825377 h 2673102"/>
                  <a:gd name="connsiteX135" fmla="*/ 112121 w 1730673"/>
                  <a:gd name="connsiteY135" fmla="*/ 1820614 h 2673102"/>
                  <a:gd name="connsiteX136" fmla="*/ 102596 w 1730673"/>
                  <a:gd name="connsiteY136" fmla="*/ 1806327 h 2673102"/>
                  <a:gd name="connsiteX137" fmla="*/ 145458 w 1730673"/>
                  <a:gd name="connsiteY137" fmla="*/ 1720602 h 2673102"/>
                  <a:gd name="connsiteX138" fmla="*/ 159746 w 1730673"/>
                  <a:gd name="connsiteY138" fmla="*/ 1715839 h 2673102"/>
                  <a:gd name="connsiteX139" fmla="*/ 174033 w 1730673"/>
                  <a:gd name="connsiteY139" fmla="*/ 1696789 h 2673102"/>
                  <a:gd name="connsiteX140" fmla="*/ 188321 w 1730673"/>
                  <a:gd name="connsiteY140" fmla="*/ 1687264 h 2673102"/>
                  <a:gd name="connsiteX141" fmla="*/ 202608 w 1730673"/>
                  <a:gd name="connsiteY141" fmla="*/ 1653927 h 2673102"/>
                  <a:gd name="connsiteX142" fmla="*/ 193083 w 1730673"/>
                  <a:gd name="connsiteY142" fmla="*/ 1606302 h 2673102"/>
                  <a:gd name="connsiteX143" fmla="*/ 164508 w 1730673"/>
                  <a:gd name="connsiteY143" fmla="*/ 1596777 h 2673102"/>
                  <a:gd name="connsiteX144" fmla="*/ 154983 w 1730673"/>
                  <a:gd name="connsiteY144" fmla="*/ 1549152 h 2673102"/>
                  <a:gd name="connsiteX145" fmla="*/ 150221 w 1730673"/>
                  <a:gd name="connsiteY145" fmla="*/ 1411039 h 2673102"/>
                  <a:gd name="connsiteX146" fmla="*/ 140696 w 1730673"/>
                  <a:gd name="connsiteY146" fmla="*/ 1377702 h 2673102"/>
                  <a:gd name="connsiteX147" fmla="*/ 121646 w 1730673"/>
                  <a:gd name="connsiteY147" fmla="*/ 1311027 h 2673102"/>
                  <a:gd name="connsiteX148" fmla="*/ 116883 w 1730673"/>
                  <a:gd name="connsiteY148" fmla="*/ 1258639 h 2673102"/>
                  <a:gd name="connsiteX149" fmla="*/ 107358 w 1730673"/>
                  <a:gd name="connsiteY149" fmla="*/ 1244352 h 2673102"/>
                  <a:gd name="connsiteX150" fmla="*/ 93071 w 1730673"/>
                  <a:gd name="connsiteY150" fmla="*/ 1196727 h 2673102"/>
                  <a:gd name="connsiteX151" fmla="*/ 78783 w 1730673"/>
                  <a:gd name="connsiteY151" fmla="*/ 1177677 h 2673102"/>
                  <a:gd name="connsiteX152" fmla="*/ 59733 w 1730673"/>
                  <a:gd name="connsiteY152" fmla="*/ 1139577 h 2673102"/>
                  <a:gd name="connsiteX153" fmla="*/ 50208 w 1730673"/>
                  <a:gd name="connsiteY153" fmla="*/ 1111002 h 2673102"/>
                  <a:gd name="connsiteX154" fmla="*/ 45446 w 1730673"/>
                  <a:gd name="connsiteY154" fmla="*/ 1096714 h 2673102"/>
                  <a:gd name="connsiteX155" fmla="*/ 21633 w 1730673"/>
                  <a:gd name="connsiteY155" fmla="*/ 1025277 h 2673102"/>
                  <a:gd name="connsiteX156" fmla="*/ 202 w 1730673"/>
                  <a:gd name="connsiteY156" fmla="*/ 980033 h 2673102"/>
                  <a:gd name="connsiteX157" fmla="*/ 14490 w 1730673"/>
                  <a:gd name="connsiteY157" fmla="*/ 930027 h 2673102"/>
                  <a:gd name="connsiteX158" fmla="*/ 69259 w 1730673"/>
                  <a:gd name="connsiteY158" fmla="*/ 810964 h 2673102"/>
                  <a:gd name="connsiteX159" fmla="*/ 221658 w 1730673"/>
                  <a:gd name="connsiteY159" fmla="*/ 601414 h 2673102"/>
                  <a:gd name="connsiteX160" fmla="*/ 288333 w 1730673"/>
                  <a:gd name="connsiteY160" fmla="*/ 515689 h 2673102"/>
                  <a:gd name="connsiteX161" fmla="*/ 412158 w 1730673"/>
                  <a:gd name="connsiteY161" fmla="*/ 406152 h 2673102"/>
                  <a:gd name="connsiteX162" fmla="*/ 535983 w 1730673"/>
                  <a:gd name="connsiteY162" fmla="*/ 291851 h 2673102"/>
                  <a:gd name="connsiteX163" fmla="*/ 640758 w 1730673"/>
                  <a:gd name="connsiteY163" fmla="*/ 229939 h 2673102"/>
                  <a:gd name="connsiteX164" fmla="*/ 733628 w 1730673"/>
                  <a:gd name="connsiteY164" fmla="*/ 168026 h 2673102"/>
                  <a:gd name="connsiteX165" fmla="*/ 978896 w 1730673"/>
                  <a:gd name="connsiteY165" fmla="*/ 63251 h 2673102"/>
                  <a:gd name="connsiteX166" fmla="*/ 1159871 w 1730673"/>
                  <a:gd name="connsiteY166" fmla="*/ 6102 h 2673102"/>
                  <a:gd name="connsiteX167" fmla="*/ 1202733 w 1730673"/>
                  <a:gd name="connsiteY16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183683 w 1739754"/>
                  <a:gd name="connsiteY5" fmla="*/ 225177 h 2673102"/>
                  <a:gd name="connsiteX6" fmla="*/ 1202733 w 1739754"/>
                  <a:gd name="connsiteY6" fmla="*/ 258514 h 2673102"/>
                  <a:gd name="connsiteX7" fmla="*/ 1221783 w 1739754"/>
                  <a:gd name="connsiteY7" fmla="*/ 268039 h 2673102"/>
                  <a:gd name="connsiteX8" fmla="*/ 1231308 w 1739754"/>
                  <a:gd name="connsiteY8" fmla="*/ 282327 h 2673102"/>
                  <a:gd name="connsiteX9" fmla="*/ 1245596 w 1739754"/>
                  <a:gd name="connsiteY9" fmla="*/ 296614 h 2673102"/>
                  <a:gd name="connsiteX10" fmla="*/ 1255121 w 1739754"/>
                  <a:gd name="connsiteY10" fmla="*/ 315664 h 2673102"/>
                  <a:gd name="connsiteX11" fmla="*/ 1250358 w 1739754"/>
                  <a:gd name="connsiteY11" fmla="*/ 344239 h 2673102"/>
                  <a:gd name="connsiteX12" fmla="*/ 1245596 w 1739754"/>
                  <a:gd name="connsiteY12" fmla="*/ 363289 h 2673102"/>
                  <a:gd name="connsiteX13" fmla="*/ 1250358 w 1739754"/>
                  <a:gd name="connsiteY13" fmla="*/ 425202 h 2673102"/>
                  <a:gd name="connsiteX14" fmla="*/ 1269408 w 1739754"/>
                  <a:gd name="connsiteY14" fmla="*/ 463302 h 2673102"/>
                  <a:gd name="connsiteX15" fmla="*/ 1278933 w 1739754"/>
                  <a:gd name="connsiteY15" fmla="*/ 477589 h 2673102"/>
                  <a:gd name="connsiteX16" fmla="*/ 1293221 w 1739754"/>
                  <a:gd name="connsiteY16" fmla="*/ 487114 h 2673102"/>
                  <a:gd name="connsiteX17" fmla="*/ 1350371 w 1739754"/>
                  <a:gd name="connsiteY17" fmla="*/ 510927 h 2673102"/>
                  <a:gd name="connsiteX18" fmla="*/ 1378946 w 1739754"/>
                  <a:gd name="connsiteY18" fmla="*/ 520452 h 2673102"/>
                  <a:gd name="connsiteX19" fmla="*/ 1407521 w 1739754"/>
                  <a:gd name="connsiteY19" fmla="*/ 539502 h 2673102"/>
                  <a:gd name="connsiteX20" fmla="*/ 1469433 w 1739754"/>
                  <a:gd name="connsiteY20" fmla="*/ 568077 h 2673102"/>
                  <a:gd name="connsiteX21" fmla="*/ 1521821 w 1739754"/>
                  <a:gd name="connsiteY21" fmla="*/ 587127 h 2673102"/>
                  <a:gd name="connsiteX22" fmla="*/ 1540871 w 1739754"/>
                  <a:gd name="connsiteY22" fmla="*/ 596652 h 2673102"/>
                  <a:gd name="connsiteX23" fmla="*/ 1559921 w 1739754"/>
                  <a:gd name="connsiteY23" fmla="*/ 601414 h 2673102"/>
                  <a:gd name="connsiteX24" fmla="*/ 1607546 w 1739754"/>
                  <a:gd name="connsiteY24" fmla="*/ 639514 h 2673102"/>
                  <a:gd name="connsiteX25" fmla="*/ 1636121 w 1739754"/>
                  <a:gd name="connsiteY25" fmla="*/ 672852 h 2673102"/>
                  <a:gd name="connsiteX26" fmla="*/ 1650408 w 1739754"/>
                  <a:gd name="connsiteY26" fmla="*/ 687139 h 2673102"/>
                  <a:gd name="connsiteX27" fmla="*/ 1669458 w 1739754"/>
                  <a:gd name="connsiteY27" fmla="*/ 696664 h 2673102"/>
                  <a:gd name="connsiteX28" fmla="*/ 1683746 w 1739754"/>
                  <a:gd name="connsiteY28" fmla="*/ 706189 h 2673102"/>
                  <a:gd name="connsiteX29" fmla="*/ 1709940 w 1739754"/>
                  <a:gd name="connsiteY29" fmla="*/ 749052 h 2673102"/>
                  <a:gd name="connsiteX30" fmla="*/ 1702796 w 1739754"/>
                  <a:gd name="connsiteY30" fmla="*/ 853827 h 2673102"/>
                  <a:gd name="connsiteX31" fmla="*/ 1664696 w 1739754"/>
                  <a:gd name="connsiteY31" fmla="*/ 887164 h 2673102"/>
                  <a:gd name="connsiteX32" fmla="*/ 1650408 w 1739754"/>
                  <a:gd name="connsiteY32" fmla="*/ 901452 h 2673102"/>
                  <a:gd name="connsiteX33" fmla="*/ 1598021 w 1739754"/>
                  <a:gd name="connsiteY33" fmla="*/ 906214 h 2673102"/>
                  <a:gd name="connsiteX34" fmla="*/ 1555158 w 1739754"/>
                  <a:gd name="connsiteY34" fmla="*/ 925264 h 2673102"/>
                  <a:gd name="connsiteX35" fmla="*/ 1531346 w 1739754"/>
                  <a:gd name="connsiteY35" fmla="*/ 939552 h 2673102"/>
                  <a:gd name="connsiteX36" fmla="*/ 1498008 w 1739754"/>
                  <a:gd name="connsiteY36" fmla="*/ 987177 h 2673102"/>
                  <a:gd name="connsiteX37" fmla="*/ 1345608 w 1739754"/>
                  <a:gd name="connsiteY37" fmla="*/ 1030039 h 2673102"/>
                  <a:gd name="connsiteX38" fmla="*/ 1297983 w 1739754"/>
                  <a:gd name="connsiteY38" fmla="*/ 1053852 h 2673102"/>
                  <a:gd name="connsiteX39" fmla="*/ 1231308 w 1739754"/>
                  <a:gd name="connsiteY39" fmla="*/ 1082427 h 2673102"/>
                  <a:gd name="connsiteX40" fmla="*/ 1126533 w 1739754"/>
                  <a:gd name="connsiteY40" fmla="*/ 1096714 h 2673102"/>
                  <a:gd name="connsiteX41" fmla="*/ 1102721 w 1739754"/>
                  <a:gd name="connsiteY41" fmla="*/ 1101477 h 2673102"/>
                  <a:gd name="connsiteX42" fmla="*/ 1078908 w 1739754"/>
                  <a:gd name="connsiteY42" fmla="*/ 1111002 h 2673102"/>
                  <a:gd name="connsiteX43" fmla="*/ 964608 w 1739754"/>
                  <a:gd name="connsiteY43" fmla="*/ 1106239 h 2673102"/>
                  <a:gd name="connsiteX44" fmla="*/ 859833 w 1739754"/>
                  <a:gd name="connsiteY44" fmla="*/ 1058614 h 2673102"/>
                  <a:gd name="connsiteX45" fmla="*/ 812208 w 1739754"/>
                  <a:gd name="connsiteY45" fmla="*/ 1034802 h 2673102"/>
                  <a:gd name="connsiteX46" fmla="*/ 788396 w 1739754"/>
                  <a:gd name="connsiteY46" fmla="*/ 1020514 h 2673102"/>
                  <a:gd name="connsiteX47" fmla="*/ 769346 w 1739754"/>
                  <a:gd name="connsiteY47" fmla="*/ 1006227 h 2673102"/>
                  <a:gd name="connsiteX48" fmla="*/ 678858 w 1739754"/>
                  <a:gd name="connsiteY48" fmla="*/ 958602 h 2673102"/>
                  <a:gd name="connsiteX49" fmla="*/ 645521 w 1739754"/>
                  <a:gd name="connsiteY49" fmla="*/ 939552 h 2673102"/>
                  <a:gd name="connsiteX50" fmla="*/ 526458 w 1739754"/>
                  <a:gd name="connsiteY50" fmla="*/ 910977 h 2673102"/>
                  <a:gd name="connsiteX51" fmla="*/ 483596 w 1739754"/>
                  <a:gd name="connsiteY51" fmla="*/ 891927 h 2673102"/>
                  <a:gd name="connsiteX52" fmla="*/ 421683 w 1739754"/>
                  <a:gd name="connsiteY52" fmla="*/ 882402 h 2673102"/>
                  <a:gd name="connsiteX53" fmla="*/ 321671 w 1739754"/>
                  <a:gd name="connsiteY53" fmla="*/ 896689 h 2673102"/>
                  <a:gd name="connsiteX54" fmla="*/ 307383 w 1739754"/>
                  <a:gd name="connsiteY54" fmla="*/ 910977 h 2673102"/>
                  <a:gd name="connsiteX55" fmla="*/ 283571 w 1739754"/>
                  <a:gd name="connsiteY55" fmla="*/ 949077 h 2673102"/>
                  <a:gd name="connsiteX56" fmla="*/ 269283 w 1739754"/>
                  <a:gd name="connsiteY56" fmla="*/ 987177 h 2673102"/>
                  <a:gd name="connsiteX57" fmla="*/ 264521 w 1739754"/>
                  <a:gd name="connsiteY57" fmla="*/ 1039564 h 2673102"/>
                  <a:gd name="connsiteX58" fmla="*/ 264521 w 1739754"/>
                  <a:gd name="connsiteY58" fmla="*/ 1120527 h 2673102"/>
                  <a:gd name="connsiteX59" fmla="*/ 297858 w 1739754"/>
                  <a:gd name="connsiteY59" fmla="*/ 1153864 h 2673102"/>
                  <a:gd name="connsiteX60" fmla="*/ 326433 w 1739754"/>
                  <a:gd name="connsiteY60" fmla="*/ 1163389 h 2673102"/>
                  <a:gd name="connsiteX61" fmla="*/ 326433 w 1739754"/>
                  <a:gd name="connsiteY61" fmla="*/ 1244352 h 2673102"/>
                  <a:gd name="connsiteX62" fmla="*/ 312146 w 1739754"/>
                  <a:gd name="connsiteY62" fmla="*/ 1258639 h 2673102"/>
                  <a:gd name="connsiteX63" fmla="*/ 259758 w 1739754"/>
                  <a:gd name="connsiteY63" fmla="*/ 1296739 h 2673102"/>
                  <a:gd name="connsiteX64" fmla="*/ 240708 w 1739754"/>
                  <a:gd name="connsiteY64" fmla="*/ 1325314 h 2673102"/>
                  <a:gd name="connsiteX65" fmla="*/ 250233 w 1739754"/>
                  <a:gd name="connsiteY65" fmla="*/ 1425327 h 2673102"/>
                  <a:gd name="connsiteX66" fmla="*/ 278808 w 1739754"/>
                  <a:gd name="connsiteY66" fmla="*/ 1472952 h 2673102"/>
                  <a:gd name="connsiteX67" fmla="*/ 293096 w 1739754"/>
                  <a:gd name="connsiteY67" fmla="*/ 1492002 h 2673102"/>
                  <a:gd name="connsiteX68" fmla="*/ 383583 w 1739754"/>
                  <a:gd name="connsiteY68" fmla="*/ 1525339 h 2673102"/>
                  <a:gd name="connsiteX69" fmla="*/ 407396 w 1739754"/>
                  <a:gd name="connsiteY69" fmla="*/ 1492002 h 2673102"/>
                  <a:gd name="connsiteX70" fmla="*/ 412158 w 1739754"/>
                  <a:gd name="connsiteY70" fmla="*/ 1468189 h 2673102"/>
                  <a:gd name="connsiteX71" fmla="*/ 416921 w 1739754"/>
                  <a:gd name="connsiteY71" fmla="*/ 1449139 h 2673102"/>
                  <a:gd name="connsiteX72" fmla="*/ 445496 w 1739754"/>
                  <a:gd name="connsiteY72" fmla="*/ 1439614 h 2673102"/>
                  <a:gd name="connsiteX73" fmla="*/ 545508 w 1739754"/>
                  <a:gd name="connsiteY73" fmla="*/ 1458664 h 2673102"/>
                  <a:gd name="connsiteX74" fmla="*/ 555033 w 1739754"/>
                  <a:gd name="connsiteY74" fmla="*/ 1482477 h 2673102"/>
                  <a:gd name="connsiteX75" fmla="*/ 564558 w 1739754"/>
                  <a:gd name="connsiteY75" fmla="*/ 1515814 h 2673102"/>
                  <a:gd name="connsiteX76" fmla="*/ 550271 w 1739754"/>
                  <a:gd name="connsiteY76" fmla="*/ 1534864 h 2673102"/>
                  <a:gd name="connsiteX77" fmla="*/ 550271 w 1739754"/>
                  <a:gd name="connsiteY77" fmla="*/ 1601539 h 2673102"/>
                  <a:gd name="connsiteX78" fmla="*/ 559796 w 1739754"/>
                  <a:gd name="connsiteY78" fmla="*/ 1620589 h 2673102"/>
                  <a:gd name="connsiteX79" fmla="*/ 626471 w 1739754"/>
                  <a:gd name="connsiteY79" fmla="*/ 1639639 h 2673102"/>
                  <a:gd name="connsiteX80" fmla="*/ 645521 w 1739754"/>
                  <a:gd name="connsiteY80" fmla="*/ 1592014 h 2673102"/>
                  <a:gd name="connsiteX81" fmla="*/ 702671 w 1739754"/>
                  <a:gd name="connsiteY81" fmla="*/ 1620589 h 2673102"/>
                  <a:gd name="connsiteX82" fmla="*/ 731246 w 1739754"/>
                  <a:gd name="connsiteY82" fmla="*/ 1630114 h 2673102"/>
                  <a:gd name="connsiteX83" fmla="*/ 783633 w 1739754"/>
                  <a:gd name="connsiteY83" fmla="*/ 1663452 h 2673102"/>
                  <a:gd name="connsiteX84" fmla="*/ 859833 w 1739754"/>
                  <a:gd name="connsiteY84" fmla="*/ 1687264 h 2673102"/>
                  <a:gd name="connsiteX85" fmla="*/ 878883 w 1739754"/>
                  <a:gd name="connsiteY85" fmla="*/ 1701552 h 2673102"/>
                  <a:gd name="connsiteX86" fmla="*/ 888408 w 1739754"/>
                  <a:gd name="connsiteY86" fmla="*/ 1739652 h 2673102"/>
                  <a:gd name="connsiteX87" fmla="*/ 897933 w 1739754"/>
                  <a:gd name="connsiteY87" fmla="*/ 1782514 h 2673102"/>
                  <a:gd name="connsiteX88" fmla="*/ 940796 w 1739754"/>
                  <a:gd name="connsiteY88" fmla="*/ 1892052 h 2673102"/>
                  <a:gd name="connsiteX89" fmla="*/ 950321 w 1739754"/>
                  <a:gd name="connsiteY89" fmla="*/ 1906339 h 2673102"/>
                  <a:gd name="connsiteX90" fmla="*/ 959846 w 1739754"/>
                  <a:gd name="connsiteY90" fmla="*/ 1939677 h 2673102"/>
                  <a:gd name="connsiteX91" fmla="*/ 974133 w 1739754"/>
                  <a:gd name="connsiteY91" fmla="*/ 1977777 h 2673102"/>
                  <a:gd name="connsiteX92" fmla="*/ 964608 w 1739754"/>
                  <a:gd name="connsiteY92" fmla="*/ 2082552 h 2673102"/>
                  <a:gd name="connsiteX93" fmla="*/ 955083 w 1739754"/>
                  <a:gd name="connsiteY93" fmla="*/ 2101602 h 2673102"/>
                  <a:gd name="connsiteX94" fmla="*/ 926508 w 1739754"/>
                  <a:gd name="connsiteY94" fmla="*/ 2144464 h 2673102"/>
                  <a:gd name="connsiteX95" fmla="*/ 907458 w 1739754"/>
                  <a:gd name="connsiteY95" fmla="*/ 2192089 h 2673102"/>
                  <a:gd name="connsiteX96" fmla="*/ 902696 w 1739754"/>
                  <a:gd name="connsiteY96" fmla="*/ 2211139 h 2673102"/>
                  <a:gd name="connsiteX97" fmla="*/ 893171 w 1739754"/>
                  <a:gd name="connsiteY97" fmla="*/ 2239714 h 2673102"/>
                  <a:gd name="connsiteX98" fmla="*/ 897933 w 1739754"/>
                  <a:gd name="connsiteY98" fmla="*/ 2287339 h 2673102"/>
                  <a:gd name="connsiteX99" fmla="*/ 893171 w 1739754"/>
                  <a:gd name="connsiteY99" fmla="*/ 2396877 h 2673102"/>
                  <a:gd name="connsiteX100" fmla="*/ 688383 w 1739754"/>
                  <a:gd name="connsiteY100" fmla="*/ 2449264 h 2673102"/>
                  <a:gd name="connsiteX101" fmla="*/ 655046 w 1739754"/>
                  <a:gd name="connsiteY101" fmla="*/ 2473077 h 2673102"/>
                  <a:gd name="connsiteX102" fmla="*/ 607421 w 1739754"/>
                  <a:gd name="connsiteY102" fmla="*/ 2511177 h 2673102"/>
                  <a:gd name="connsiteX103" fmla="*/ 574083 w 1739754"/>
                  <a:gd name="connsiteY103" fmla="*/ 2534989 h 2673102"/>
                  <a:gd name="connsiteX104" fmla="*/ 540746 w 1739754"/>
                  <a:gd name="connsiteY104" fmla="*/ 2554039 h 2673102"/>
                  <a:gd name="connsiteX105" fmla="*/ 497883 w 1739754"/>
                  <a:gd name="connsiteY105" fmla="*/ 2587377 h 2673102"/>
                  <a:gd name="connsiteX106" fmla="*/ 483596 w 1739754"/>
                  <a:gd name="connsiteY106" fmla="*/ 2601664 h 2673102"/>
                  <a:gd name="connsiteX107" fmla="*/ 459783 w 1739754"/>
                  <a:gd name="connsiteY107" fmla="*/ 2620714 h 2673102"/>
                  <a:gd name="connsiteX108" fmla="*/ 450258 w 1739754"/>
                  <a:gd name="connsiteY108" fmla="*/ 2635002 h 2673102"/>
                  <a:gd name="connsiteX109" fmla="*/ 416921 w 1739754"/>
                  <a:gd name="connsiteY109" fmla="*/ 2654052 h 2673102"/>
                  <a:gd name="connsiteX110" fmla="*/ 374058 w 1739754"/>
                  <a:gd name="connsiteY110" fmla="*/ 2673102 h 2673102"/>
                  <a:gd name="connsiteX111" fmla="*/ 359771 w 1739754"/>
                  <a:gd name="connsiteY111" fmla="*/ 2663577 h 2673102"/>
                  <a:gd name="connsiteX112" fmla="*/ 345483 w 1739754"/>
                  <a:gd name="connsiteY112" fmla="*/ 2635002 h 2673102"/>
                  <a:gd name="connsiteX113" fmla="*/ 335958 w 1739754"/>
                  <a:gd name="connsiteY113" fmla="*/ 2620714 h 2673102"/>
                  <a:gd name="connsiteX114" fmla="*/ 297858 w 1739754"/>
                  <a:gd name="connsiteY114" fmla="*/ 2611189 h 2673102"/>
                  <a:gd name="connsiteX115" fmla="*/ 278808 w 1739754"/>
                  <a:gd name="connsiteY115" fmla="*/ 2592139 h 2673102"/>
                  <a:gd name="connsiteX116" fmla="*/ 274046 w 1739754"/>
                  <a:gd name="connsiteY116" fmla="*/ 2573089 h 2673102"/>
                  <a:gd name="connsiteX117" fmla="*/ 235946 w 1739754"/>
                  <a:gd name="connsiteY117" fmla="*/ 2539752 h 2673102"/>
                  <a:gd name="connsiteX118" fmla="*/ 231183 w 1739754"/>
                  <a:gd name="connsiteY118" fmla="*/ 2525464 h 2673102"/>
                  <a:gd name="connsiteX119" fmla="*/ 226421 w 1739754"/>
                  <a:gd name="connsiteY119" fmla="*/ 2506414 h 2673102"/>
                  <a:gd name="connsiteX120" fmla="*/ 212133 w 1739754"/>
                  <a:gd name="connsiteY120" fmla="*/ 2492127 h 2673102"/>
                  <a:gd name="connsiteX121" fmla="*/ 154983 w 1739754"/>
                  <a:gd name="connsiteY121" fmla="*/ 2439739 h 2673102"/>
                  <a:gd name="connsiteX122" fmla="*/ 150221 w 1739754"/>
                  <a:gd name="connsiteY122" fmla="*/ 2415927 h 2673102"/>
                  <a:gd name="connsiteX123" fmla="*/ 135933 w 1739754"/>
                  <a:gd name="connsiteY123" fmla="*/ 2358777 h 2673102"/>
                  <a:gd name="connsiteX124" fmla="*/ 121646 w 1739754"/>
                  <a:gd name="connsiteY124" fmla="*/ 2315914 h 2673102"/>
                  <a:gd name="connsiteX125" fmla="*/ 107358 w 1739754"/>
                  <a:gd name="connsiteY125" fmla="*/ 2258764 h 2673102"/>
                  <a:gd name="connsiteX126" fmla="*/ 102596 w 1739754"/>
                  <a:gd name="connsiteY126" fmla="*/ 2234952 h 2673102"/>
                  <a:gd name="connsiteX127" fmla="*/ 93071 w 1739754"/>
                  <a:gd name="connsiteY127" fmla="*/ 2211139 h 2673102"/>
                  <a:gd name="connsiteX128" fmla="*/ 88308 w 1739754"/>
                  <a:gd name="connsiteY128" fmla="*/ 2187327 h 2673102"/>
                  <a:gd name="connsiteX129" fmla="*/ 78783 w 1739754"/>
                  <a:gd name="connsiteY129" fmla="*/ 2111127 h 2673102"/>
                  <a:gd name="connsiteX130" fmla="*/ 97833 w 1739754"/>
                  <a:gd name="connsiteY130" fmla="*/ 1944439 h 2673102"/>
                  <a:gd name="connsiteX131" fmla="*/ 107358 w 1739754"/>
                  <a:gd name="connsiteY131" fmla="*/ 1930152 h 2673102"/>
                  <a:gd name="connsiteX132" fmla="*/ 126408 w 1739754"/>
                  <a:gd name="connsiteY132" fmla="*/ 1901577 h 2673102"/>
                  <a:gd name="connsiteX133" fmla="*/ 135933 w 1739754"/>
                  <a:gd name="connsiteY133" fmla="*/ 1868239 h 2673102"/>
                  <a:gd name="connsiteX134" fmla="*/ 131171 w 1739754"/>
                  <a:gd name="connsiteY134" fmla="*/ 1825377 h 2673102"/>
                  <a:gd name="connsiteX135" fmla="*/ 112121 w 1739754"/>
                  <a:gd name="connsiteY135" fmla="*/ 1820614 h 2673102"/>
                  <a:gd name="connsiteX136" fmla="*/ 102596 w 1739754"/>
                  <a:gd name="connsiteY136" fmla="*/ 1806327 h 2673102"/>
                  <a:gd name="connsiteX137" fmla="*/ 145458 w 1739754"/>
                  <a:gd name="connsiteY137" fmla="*/ 1720602 h 2673102"/>
                  <a:gd name="connsiteX138" fmla="*/ 159746 w 1739754"/>
                  <a:gd name="connsiteY138" fmla="*/ 1715839 h 2673102"/>
                  <a:gd name="connsiteX139" fmla="*/ 174033 w 1739754"/>
                  <a:gd name="connsiteY139" fmla="*/ 1696789 h 2673102"/>
                  <a:gd name="connsiteX140" fmla="*/ 188321 w 1739754"/>
                  <a:gd name="connsiteY140" fmla="*/ 1687264 h 2673102"/>
                  <a:gd name="connsiteX141" fmla="*/ 202608 w 1739754"/>
                  <a:gd name="connsiteY141" fmla="*/ 1653927 h 2673102"/>
                  <a:gd name="connsiteX142" fmla="*/ 193083 w 1739754"/>
                  <a:gd name="connsiteY142" fmla="*/ 1606302 h 2673102"/>
                  <a:gd name="connsiteX143" fmla="*/ 164508 w 1739754"/>
                  <a:gd name="connsiteY143" fmla="*/ 1596777 h 2673102"/>
                  <a:gd name="connsiteX144" fmla="*/ 154983 w 1739754"/>
                  <a:gd name="connsiteY144" fmla="*/ 1549152 h 2673102"/>
                  <a:gd name="connsiteX145" fmla="*/ 150221 w 1739754"/>
                  <a:gd name="connsiteY145" fmla="*/ 1411039 h 2673102"/>
                  <a:gd name="connsiteX146" fmla="*/ 140696 w 1739754"/>
                  <a:gd name="connsiteY146" fmla="*/ 1377702 h 2673102"/>
                  <a:gd name="connsiteX147" fmla="*/ 121646 w 1739754"/>
                  <a:gd name="connsiteY147" fmla="*/ 1311027 h 2673102"/>
                  <a:gd name="connsiteX148" fmla="*/ 116883 w 1739754"/>
                  <a:gd name="connsiteY148" fmla="*/ 1258639 h 2673102"/>
                  <a:gd name="connsiteX149" fmla="*/ 107358 w 1739754"/>
                  <a:gd name="connsiteY149" fmla="*/ 1244352 h 2673102"/>
                  <a:gd name="connsiteX150" fmla="*/ 93071 w 1739754"/>
                  <a:gd name="connsiteY150" fmla="*/ 1196727 h 2673102"/>
                  <a:gd name="connsiteX151" fmla="*/ 78783 w 1739754"/>
                  <a:gd name="connsiteY151" fmla="*/ 1177677 h 2673102"/>
                  <a:gd name="connsiteX152" fmla="*/ 59733 w 1739754"/>
                  <a:gd name="connsiteY152" fmla="*/ 1139577 h 2673102"/>
                  <a:gd name="connsiteX153" fmla="*/ 50208 w 1739754"/>
                  <a:gd name="connsiteY153" fmla="*/ 1111002 h 2673102"/>
                  <a:gd name="connsiteX154" fmla="*/ 45446 w 1739754"/>
                  <a:gd name="connsiteY154" fmla="*/ 1096714 h 2673102"/>
                  <a:gd name="connsiteX155" fmla="*/ 21633 w 1739754"/>
                  <a:gd name="connsiteY155" fmla="*/ 1025277 h 2673102"/>
                  <a:gd name="connsiteX156" fmla="*/ 202 w 1739754"/>
                  <a:gd name="connsiteY156" fmla="*/ 980033 h 2673102"/>
                  <a:gd name="connsiteX157" fmla="*/ 14490 w 1739754"/>
                  <a:gd name="connsiteY157" fmla="*/ 930027 h 2673102"/>
                  <a:gd name="connsiteX158" fmla="*/ 69259 w 1739754"/>
                  <a:gd name="connsiteY158" fmla="*/ 810964 h 2673102"/>
                  <a:gd name="connsiteX159" fmla="*/ 221658 w 1739754"/>
                  <a:gd name="connsiteY159" fmla="*/ 601414 h 2673102"/>
                  <a:gd name="connsiteX160" fmla="*/ 288333 w 1739754"/>
                  <a:gd name="connsiteY160" fmla="*/ 515689 h 2673102"/>
                  <a:gd name="connsiteX161" fmla="*/ 412158 w 1739754"/>
                  <a:gd name="connsiteY161" fmla="*/ 406152 h 2673102"/>
                  <a:gd name="connsiteX162" fmla="*/ 535983 w 1739754"/>
                  <a:gd name="connsiteY162" fmla="*/ 291851 h 2673102"/>
                  <a:gd name="connsiteX163" fmla="*/ 640758 w 1739754"/>
                  <a:gd name="connsiteY163" fmla="*/ 229939 h 2673102"/>
                  <a:gd name="connsiteX164" fmla="*/ 733628 w 1739754"/>
                  <a:gd name="connsiteY164" fmla="*/ 168026 h 2673102"/>
                  <a:gd name="connsiteX165" fmla="*/ 978896 w 1739754"/>
                  <a:gd name="connsiteY165" fmla="*/ 63251 h 2673102"/>
                  <a:gd name="connsiteX166" fmla="*/ 1159871 w 1739754"/>
                  <a:gd name="connsiteY166" fmla="*/ 6102 h 2673102"/>
                  <a:gd name="connsiteX167" fmla="*/ 1202733 w 1739754"/>
                  <a:gd name="connsiteY16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183683 w 1739754"/>
                  <a:gd name="connsiteY5" fmla="*/ 225177 h 2673102"/>
                  <a:gd name="connsiteX6" fmla="*/ 1202733 w 1739754"/>
                  <a:gd name="connsiteY6" fmla="*/ 258514 h 2673102"/>
                  <a:gd name="connsiteX7" fmla="*/ 1221783 w 1739754"/>
                  <a:gd name="connsiteY7" fmla="*/ 268039 h 2673102"/>
                  <a:gd name="connsiteX8" fmla="*/ 1245596 w 1739754"/>
                  <a:gd name="connsiteY8" fmla="*/ 296614 h 2673102"/>
                  <a:gd name="connsiteX9" fmla="*/ 1255121 w 1739754"/>
                  <a:gd name="connsiteY9" fmla="*/ 315664 h 2673102"/>
                  <a:gd name="connsiteX10" fmla="*/ 1250358 w 1739754"/>
                  <a:gd name="connsiteY10" fmla="*/ 344239 h 2673102"/>
                  <a:gd name="connsiteX11" fmla="*/ 1245596 w 1739754"/>
                  <a:gd name="connsiteY11" fmla="*/ 363289 h 2673102"/>
                  <a:gd name="connsiteX12" fmla="*/ 1250358 w 1739754"/>
                  <a:gd name="connsiteY12" fmla="*/ 425202 h 2673102"/>
                  <a:gd name="connsiteX13" fmla="*/ 1269408 w 1739754"/>
                  <a:gd name="connsiteY13" fmla="*/ 463302 h 2673102"/>
                  <a:gd name="connsiteX14" fmla="*/ 1278933 w 1739754"/>
                  <a:gd name="connsiteY14" fmla="*/ 477589 h 2673102"/>
                  <a:gd name="connsiteX15" fmla="*/ 1293221 w 1739754"/>
                  <a:gd name="connsiteY15" fmla="*/ 487114 h 2673102"/>
                  <a:gd name="connsiteX16" fmla="*/ 1350371 w 1739754"/>
                  <a:gd name="connsiteY16" fmla="*/ 510927 h 2673102"/>
                  <a:gd name="connsiteX17" fmla="*/ 1378946 w 1739754"/>
                  <a:gd name="connsiteY17" fmla="*/ 520452 h 2673102"/>
                  <a:gd name="connsiteX18" fmla="*/ 1407521 w 1739754"/>
                  <a:gd name="connsiteY18" fmla="*/ 539502 h 2673102"/>
                  <a:gd name="connsiteX19" fmla="*/ 1469433 w 1739754"/>
                  <a:gd name="connsiteY19" fmla="*/ 568077 h 2673102"/>
                  <a:gd name="connsiteX20" fmla="*/ 1521821 w 1739754"/>
                  <a:gd name="connsiteY20" fmla="*/ 587127 h 2673102"/>
                  <a:gd name="connsiteX21" fmla="*/ 1540871 w 1739754"/>
                  <a:gd name="connsiteY21" fmla="*/ 596652 h 2673102"/>
                  <a:gd name="connsiteX22" fmla="*/ 1559921 w 1739754"/>
                  <a:gd name="connsiteY22" fmla="*/ 601414 h 2673102"/>
                  <a:gd name="connsiteX23" fmla="*/ 1607546 w 1739754"/>
                  <a:gd name="connsiteY23" fmla="*/ 639514 h 2673102"/>
                  <a:gd name="connsiteX24" fmla="*/ 1636121 w 1739754"/>
                  <a:gd name="connsiteY24" fmla="*/ 672852 h 2673102"/>
                  <a:gd name="connsiteX25" fmla="*/ 1650408 w 1739754"/>
                  <a:gd name="connsiteY25" fmla="*/ 687139 h 2673102"/>
                  <a:gd name="connsiteX26" fmla="*/ 1669458 w 1739754"/>
                  <a:gd name="connsiteY26" fmla="*/ 696664 h 2673102"/>
                  <a:gd name="connsiteX27" fmla="*/ 1683746 w 1739754"/>
                  <a:gd name="connsiteY27" fmla="*/ 706189 h 2673102"/>
                  <a:gd name="connsiteX28" fmla="*/ 1709940 w 1739754"/>
                  <a:gd name="connsiteY28" fmla="*/ 749052 h 2673102"/>
                  <a:gd name="connsiteX29" fmla="*/ 1702796 w 1739754"/>
                  <a:gd name="connsiteY29" fmla="*/ 853827 h 2673102"/>
                  <a:gd name="connsiteX30" fmla="*/ 1664696 w 1739754"/>
                  <a:gd name="connsiteY30" fmla="*/ 887164 h 2673102"/>
                  <a:gd name="connsiteX31" fmla="*/ 1650408 w 1739754"/>
                  <a:gd name="connsiteY31" fmla="*/ 901452 h 2673102"/>
                  <a:gd name="connsiteX32" fmla="*/ 1598021 w 1739754"/>
                  <a:gd name="connsiteY32" fmla="*/ 906214 h 2673102"/>
                  <a:gd name="connsiteX33" fmla="*/ 1555158 w 1739754"/>
                  <a:gd name="connsiteY33" fmla="*/ 925264 h 2673102"/>
                  <a:gd name="connsiteX34" fmla="*/ 1531346 w 1739754"/>
                  <a:gd name="connsiteY34" fmla="*/ 939552 h 2673102"/>
                  <a:gd name="connsiteX35" fmla="*/ 1498008 w 1739754"/>
                  <a:gd name="connsiteY35" fmla="*/ 987177 h 2673102"/>
                  <a:gd name="connsiteX36" fmla="*/ 1345608 w 1739754"/>
                  <a:gd name="connsiteY36" fmla="*/ 1030039 h 2673102"/>
                  <a:gd name="connsiteX37" fmla="*/ 1297983 w 1739754"/>
                  <a:gd name="connsiteY37" fmla="*/ 1053852 h 2673102"/>
                  <a:gd name="connsiteX38" fmla="*/ 1231308 w 1739754"/>
                  <a:gd name="connsiteY38" fmla="*/ 1082427 h 2673102"/>
                  <a:gd name="connsiteX39" fmla="*/ 1126533 w 1739754"/>
                  <a:gd name="connsiteY39" fmla="*/ 1096714 h 2673102"/>
                  <a:gd name="connsiteX40" fmla="*/ 1102721 w 1739754"/>
                  <a:gd name="connsiteY40" fmla="*/ 1101477 h 2673102"/>
                  <a:gd name="connsiteX41" fmla="*/ 1078908 w 1739754"/>
                  <a:gd name="connsiteY41" fmla="*/ 1111002 h 2673102"/>
                  <a:gd name="connsiteX42" fmla="*/ 964608 w 1739754"/>
                  <a:gd name="connsiteY42" fmla="*/ 1106239 h 2673102"/>
                  <a:gd name="connsiteX43" fmla="*/ 859833 w 1739754"/>
                  <a:gd name="connsiteY43" fmla="*/ 1058614 h 2673102"/>
                  <a:gd name="connsiteX44" fmla="*/ 812208 w 1739754"/>
                  <a:gd name="connsiteY44" fmla="*/ 1034802 h 2673102"/>
                  <a:gd name="connsiteX45" fmla="*/ 788396 w 1739754"/>
                  <a:gd name="connsiteY45" fmla="*/ 1020514 h 2673102"/>
                  <a:gd name="connsiteX46" fmla="*/ 769346 w 1739754"/>
                  <a:gd name="connsiteY46" fmla="*/ 1006227 h 2673102"/>
                  <a:gd name="connsiteX47" fmla="*/ 678858 w 1739754"/>
                  <a:gd name="connsiteY47" fmla="*/ 958602 h 2673102"/>
                  <a:gd name="connsiteX48" fmla="*/ 645521 w 1739754"/>
                  <a:gd name="connsiteY48" fmla="*/ 939552 h 2673102"/>
                  <a:gd name="connsiteX49" fmla="*/ 526458 w 1739754"/>
                  <a:gd name="connsiteY49" fmla="*/ 910977 h 2673102"/>
                  <a:gd name="connsiteX50" fmla="*/ 483596 w 1739754"/>
                  <a:gd name="connsiteY50" fmla="*/ 891927 h 2673102"/>
                  <a:gd name="connsiteX51" fmla="*/ 421683 w 1739754"/>
                  <a:gd name="connsiteY51" fmla="*/ 882402 h 2673102"/>
                  <a:gd name="connsiteX52" fmla="*/ 321671 w 1739754"/>
                  <a:gd name="connsiteY52" fmla="*/ 896689 h 2673102"/>
                  <a:gd name="connsiteX53" fmla="*/ 307383 w 1739754"/>
                  <a:gd name="connsiteY53" fmla="*/ 910977 h 2673102"/>
                  <a:gd name="connsiteX54" fmla="*/ 283571 w 1739754"/>
                  <a:gd name="connsiteY54" fmla="*/ 949077 h 2673102"/>
                  <a:gd name="connsiteX55" fmla="*/ 269283 w 1739754"/>
                  <a:gd name="connsiteY55" fmla="*/ 987177 h 2673102"/>
                  <a:gd name="connsiteX56" fmla="*/ 264521 w 1739754"/>
                  <a:gd name="connsiteY56" fmla="*/ 1039564 h 2673102"/>
                  <a:gd name="connsiteX57" fmla="*/ 264521 w 1739754"/>
                  <a:gd name="connsiteY57" fmla="*/ 1120527 h 2673102"/>
                  <a:gd name="connsiteX58" fmla="*/ 297858 w 1739754"/>
                  <a:gd name="connsiteY58" fmla="*/ 1153864 h 2673102"/>
                  <a:gd name="connsiteX59" fmla="*/ 326433 w 1739754"/>
                  <a:gd name="connsiteY59" fmla="*/ 1163389 h 2673102"/>
                  <a:gd name="connsiteX60" fmla="*/ 326433 w 1739754"/>
                  <a:gd name="connsiteY60" fmla="*/ 1244352 h 2673102"/>
                  <a:gd name="connsiteX61" fmla="*/ 312146 w 1739754"/>
                  <a:gd name="connsiteY61" fmla="*/ 1258639 h 2673102"/>
                  <a:gd name="connsiteX62" fmla="*/ 259758 w 1739754"/>
                  <a:gd name="connsiteY62" fmla="*/ 1296739 h 2673102"/>
                  <a:gd name="connsiteX63" fmla="*/ 240708 w 1739754"/>
                  <a:gd name="connsiteY63" fmla="*/ 1325314 h 2673102"/>
                  <a:gd name="connsiteX64" fmla="*/ 250233 w 1739754"/>
                  <a:gd name="connsiteY64" fmla="*/ 1425327 h 2673102"/>
                  <a:gd name="connsiteX65" fmla="*/ 278808 w 1739754"/>
                  <a:gd name="connsiteY65" fmla="*/ 1472952 h 2673102"/>
                  <a:gd name="connsiteX66" fmla="*/ 293096 w 1739754"/>
                  <a:gd name="connsiteY66" fmla="*/ 1492002 h 2673102"/>
                  <a:gd name="connsiteX67" fmla="*/ 383583 w 1739754"/>
                  <a:gd name="connsiteY67" fmla="*/ 1525339 h 2673102"/>
                  <a:gd name="connsiteX68" fmla="*/ 407396 w 1739754"/>
                  <a:gd name="connsiteY68" fmla="*/ 1492002 h 2673102"/>
                  <a:gd name="connsiteX69" fmla="*/ 412158 w 1739754"/>
                  <a:gd name="connsiteY69" fmla="*/ 1468189 h 2673102"/>
                  <a:gd name="connsiteX70" fmla="*/ 416921 w 1739754"/>
                  <a:gd name="connsiteY70" fmla="*/ 1449139 h 2673102"/>
                  <a:gd name="connsiteX71" fmla="*/ 445496 w 1739754"/>
                  <a:gd name="connsiteY71" fmla="*/ 1439614 h 2673102"/>
                  <a:gd name="connsiteX72" fmla="*/ 545508 w 1739754"/>
                  <a:gd name="connsiteY72" fmla="*/ 1458664 h 2673102"/>
                  <a:gd name="connsiteX73" fmla="*/ 555033 w 1739754"/>
                  <a:gd name="connsiteY73" fmla="*/ 1482477 h 2673102"/>
                  <a:gd name="connsiteX74" fmla="*/ 564558 w 1739754"/>
                  <a:gd name="connsiteY74" fmla="*/ 1515814 h 2673102"/>
                  <a:gd name="connsiteX75" fmla="*/ 550271 w 1739754"/>
                  <a:gd name="connsiteY75" fmla="*/ 1534864 h 2673102"/>
                  <a:gd name="connsiteX76" fmla="*/ 550271 w 1739754"/>
                  <a:gd name="connsiteY76" fmla="*/ 1601539 h 2673102"/>
                  <a:gd name="connsiteX77" fmla="*/ 559796 w 1739754"/>
                  <a:gd name="connsiteY77" fmla="*/ 1620589 h 2673102"/>
                  <a:gd name="connsiteX78" fmla="*/ 626471 w 1739754"/>
                  <a:gd name="connsiteY78" fmla="*/ 1639639 h 2673102"/>
                  <a:gd name="connsiteX79" fmla="*/ 645521 w 1739754"/>
                  <a:gd name="connsiteY79" fmla="*/ 1592014 h 2673102"/>
                  <a:gd name="connsiteX80" fmla="*/ 702671 w 1739754"/>
                  <a:gd name="connsiteY80" fmla="*/ 1620589 h 2673102"/>
                  <a:gd name="connsiteX81" fmla="*/ 731246 w 1739754"/>
                  <a:gd name="connsiteY81" fmla="*/ 1630114 h 2673102"/>
                  <a:gd name="connsiteX82" fmla="*/ 783633 w 1739754"/>
                  <a:gd name="connsiteY82" fmla="*/ 1663452 h 2673102"/>
                  <a:gd name="connsiteX83" fmla="*/ 859833 w 1739754"/>
                  <a:gd name="connsiteY83" fmla="*/ 1687264 h 2673102"/>
                  <a:gd name="connsiteX84" fmla="*/ 878883 w 1739754"/>
                  <a:gd name="connsiteY84" fmla="*/ 1701552 h 2673102"/>
                  <a:gd name="connsiteX85" fmla="*/ 888408 w 1739754"/>
                  <a:gd name="connsiteY85" fmla="*/ 1739652 h 2673102"/>
                  <a:gd name="connsiteX86" fmla="*/ 897933 w 1739754"/>
                  <a:gd name="connsiteY86" fmla="*/ 1782514 h 2673102"/>
                  <a:gd name="connsiteX87" fmla="*/ 940796 w 1739754"/>
                  <a:gd name="connsiteY87" fmla="*/ 1892052 h 2673102"/>
                  <a:gd name="connsiteX88" fmla="*/ 950321 w 1739754"/>
                  <a:gd name="connsiteY88" fmla="*/ 1906339 h 2673102"/>
                  <a:gd name="connsiteX89" fmla="*/ 959846 w 1739754"/>
                  <a:gd name="connsiteY89" fmla="*/ 1939677 h 2673102"/>
                  <a:gd name="connsiteX90" fmla="*/ 974133 w 1739754"/>
                  <a:gd name="connsiteY90" fmla="*/ 1977777 h 2673102"/>
                  <a:gd name="connsiteX91" fmla="*/ 964608 w 1739754"/>
                  <a:gd name="connsiteY91" fmla="*/ 2082552 h 2673102"/>
                  <a:gd name="connsiteX92" fmla="*/ 955083 w 1739754"/>
                  <a:gd name="connsiteY92" fmla="*/ 2101602 h 2673102"/>
                  <a:gd name="connsiteX93" fmla="*/ 926508 w 1739754"/>
                  <a:gd name="connsiteY93" fmla="*/ 2144464 h 2673102"/>
                  <a:gd name="connsiteX94" fmla="*/ 907458 w 1739754"/>
                  <a:gd name="connsiteY94" fmla="*/ 2192089 h 2673102"/>
                  <a:gd name="connsiteX95" fmla="*/ 902696 w 1739754"/>
                  <a:gd name="connsiteY95" fmla="*/ 2211139 h 2673102"/>
                  <a:gd name="connsiteX96" fmla="*/ 893171 w 1739754"/>
                  <a:gd name="connsiteY96" fmla="*/ 2239714 h 2673102"/>
                  <a:gd name="connsiteX97" fmla="*/ 897933 w 1739754"/>
                  <a:gd name="connsiteY97" fmla="*/ 2287339 h 2673102"/>
                  <a:gd name="connsiteX98" fmla="*/ 893171 w 1739754"/>
                  <a:gd name="connsiteY98" fmla="*/ 2396877 h 2673102"/>
                  <a:gd name="connsiteX99" fmla="*/ 688383 w 1739754"/>
                  <a:gd name="connsiteY99" fmla="*/ 2449264 h 2673102"/>
                  <a:gd name="connsiteX100" fmla="*/ 655046 w 1739754"/>
                  <a:gd name="connsiteY100" fmla="*/ 2473077 h 2673102"/>
                  <a:gd name="connsiteX101" fmla="*/ 607421 w 1739754"/>
                  <a:gd name="connsiteY101" fmla="*/ 2511177 h 2673102"/>
                  <a:gd name="connsiteX102" fmla="*/ 574083 w 1739754"/>
                  <a:gd name="connsiteY102" fmla="*/ 2534989 h 2673102"/>
                  <a:gd name="connsiteX103" fmla="*/ 540746 w 1739754"/>
                  <a:gd name="connsiteY103" fmla="*/ 2554039 h 2673102"/>
                  <a:gd name="connsiteX104" fmla="*/ 497883 w 1739754"/>
                  <a:gd name="connsiteY104" fmla="*/ 2587377 h 2673102"/>
                  <a:gd name="connsiteX105" fmla="*/ 483596 w 1739754"/>
                  <a:gd name="connsiteY105" fmla="*/ 2601664 h 2673102"/>
                  <a:gd name="connsiteX106" fmla="*/ 459783 w 1739754"/>
                  <a:gd name="connsiteY106" fmla="*/ 2620714 h 2673102"/>
                  <a:gd name="connsiteX107" fmla="*/ 450258 w 1739754"/>
                  <a:gd name="connsiteY107" fmla="*/ 2635002 h 2673102"/>
                  <a:gd name="connsiteX108" fmla="*/ 416921 w 1739754"/>
                  <a:gd name="connsiteY108" fmla="*/ 2654052 h 2673102"/>
                  <a:gd name="connsiteX109" fmla="*/ 374058 w 1739754"/>
                  <a:gd name="connsiteY109" fmla="*/ 2673102 h 2673102"/>
                  <a:gd name="connsiteX110" fmla="*/ 359771 w 1739754"/>
                  <a:gd name="connsiteY110" fmla="*/ 2663577 h 2673102"/>
                  <a:gd name="connsiteX111" fmla="*/ 345483 w 1739754"/>
                  <a:gd name="connsiteY111" fmla="*/ 2635002 h 2673102"/>
                  <a:gd name="connsiteX112" fmla="*/ 335958 w 1739754"/>
                  <a:gd name="connsiteY112" fmla="*/ 2620714 h 2673102"/>
                  <a:gd name="connsiteX113" fmla="*/ 297858 w 1739754"/>
                  <a:gd name="connsiteY113" fmla="*/ 2611189 h 2673102"/>
                  <a:gd name="connsiteX114" fmla="*/ 278808 w 1739754"/>
                  <a:gd name="connsiteY114" fmla="*/ 2592139 h 2673102"/>
                  <a:gd name="connsiteX115" fmla="*/ 274046 w 1739754"/>
                  <a:gd name="connsiteY115" fmla="*/ 2573089 h 2673102"/>
                  <a:gd name="connsiteX116" fmla="*/ 235946 w 1739754"/>
                  <a:gd name="connsiteY116" fmla="*/ 2539752 h 2673102"/>
                  <a:gd name="connsiteX117" fmla="*/ 231183 w 1739754"/>
                  <a:gd name="connsiteY117" fmla="*/ 2525464 h 2673102"/>
                  <a:gd name="connsiteX118" fmla="*/ 226421 w 1739754"/>
                  <a:gd name="connsiteY118" fmla="*/ 2506414 h 2673102"/>
                  <a:gd name="connsiteX119" fmla="*/ 212133 w 1739754"/>
                  <a:gd name="connsiteY119" fmla="*/ 2492127 h 2673102"/>
                  <a:gd name="connsiteX120" fmla="*/ 154983 w 1739754"/>
                  <a:gd name="connsiteY120" fmla="*/ 2439739 h 2673102"/>
                  <a:gd name="connsiteX121" fmla="*/ 150221 w 1739754"/>
                  <a:gd name="connsiteY121" fmla="*/ 2415927 h 2673102"/>
                  <a:gd name="connsiteX122" fmla="*/ 135933 w 1739754"/>
                  <a:gd name="connsiteY122" fmla="*/ 2358777 h 2673102"/>
                  <a:gd name="connsiteX123" fmla="*/ 121646 w 1739754"/>
                  <a:gd name="connsiteY123" fmla="*/ 2315914 h 2673102"/>
                  <a:gd name="connsiteX124" fmla="*/ 107358 w 1739754"/>
                  <a:gd name="connsiteY124" fmla="*/ 2258764 h 2673102"/>
                  <a:gd name="connsiteX125" fmla="*/ 102596 w 1739754"/>
                  <a:gd name="connsiteY125" fmla="*/ 2234952 h 2673102"/>
                  <a:gd name="connsiteX126" fmla="*/ 93071 w 1739754"/>
                  <a:gd name="connsiteY126" fmla="*/ 2211139 h 2673102"/>
                  <a:gd name="connsiteX127" fmla="*/ 88308 w 1739754"/>
                  <a:gd name="connsiteY127" fmla="*/ 2187327 h 2673102"/>
                  <a:gd name="connsiteX128" fmla="*/ 78783 w 1739754"/>
                  <a:gd name="connsiteY128" fmla="*/ 2111127 h 2673102"/>
                  <a:gd name="connsiteX129" fmla="*/ 97833 w 1739754"/>
                  <a:gd name="connsiteY129" fmla="*/ 1944439 h 2673102"/>
                  <a:gd name="connsiteX130" fmla="*/ 107358 w 1739754"/>
                  <a:gd name="connsiteY130" fmla="*/ 1930152 h 2673102"/>
                  <a:gd name="connsiteX131" fmla="*/ 126408 w 1739754"/>
                  <a:gd name="connsiteY131" fmla="*/ 1901577 h 2673102"/>
                  <a:gd name="connsiteX132" fmla="*/ 135933 w 1739754"/>
                  <a:gd name="connsiteY132" fmla="*/ 1868239 h 2673102"/>
                  <a:gd name="connsiteX133" fmla="*/ 131171 w 1739754"/>
                  <a:gd name="connsiteY133" fmla="*/ 1825377 h 2673102"/>
                  <a:gd name="connsiteX134" fmla="*/ 112121 w 1739754"/>
                  <a:gd name="connsiteY134" fmla="*/ 1820614 h 2673102"/>
                  <a:gd name="connsiteX135" fmla="*/ 102596 w 1739754"/>
                  <a:gd name="connsiteY135" fmla="*/ 1806327 h 2673102"/>
                  <a:gd name="connsiteX136" fmla="*/ 145458 w 1739754"/>
                  <a:gd name="connsiteY136" fmla="*/ 1720602 h 2673102"/>
                  <a:gd name="connsiteX137" fmla="*/ 159746 w 1739754"/>
                  <a:gd name="connsiteY137" fmla="*/ 1715839 h 2673102"/>
                  <a:gd name="connsiteX138" fmla="*/ 174033 w 1739754"/>
                  <a:gd name="connsiteY138" fmla="*/ 1696789 h 2673102"/>
                  <a:gd name="connsiteX139" fmla="*/ 188321 w 1739754"/>
                  <a:gd name="connsiteY139" fmla="*/ 1687264 h 2673102"/>
                  <a:gd name="connsiteX140" fmla="*/ 202608 w 1739754"/>
                  <a:gd name="connsiteY140" fmla="*/ 1653927 h 2673102"/>
                  <a:gd name="connsiteX141" fmla="*/ 193083 w 1739754"/>
                  <a:gd name="connsiteY141" fmla="*/ 1606302 h 2673102"/>
                  <a:gd name="connsiteX142" fmla="*/ 164508 w 1739754"/>
                  <a:gd name="connsiteY142" fmla="*/ 1596777 h 2673102"/>
                  <a:gd name="connsiteX143" fmla="*/ 154983 w 1739754"/>
                  <a:gd name="connsiteY143" fmla="*/ 1549152 h 2673102"/>
                  <a:gd name="connsiteX144" fmla="*/ 150221 w 1739754"/>
                  <a:gd name="connsiteY144" fmla="*/ 1411039 h 2673102"/>
                  <a:gd name="connsiteX145" fmla="*/ 140696 w 1739754"/>
                  <a:gd name="connsiteY145" fmla="*/ 1377702 h 2673102"/>
                  <a:gd name="connsiteX146" fmla="*/ 121646 w 1739754"/>
                  <a:gd name="connsiteY146" fmla="*/ 1311027 h 2673102"/>
                  <a:gd name="connsiteX147" fmla="*/ 116883 w 1739754"/>
                  <a:gd name="connsiteY147" fmla="*/ 1258639 h 2673102"/>
                  <a:gd name="connsiteX148" fmla="*/ 107358 w 1739754"/>
                  <a:gd name="connsiteY148" fmla="*/ 1244352 h 2673102"/>
                  <a:gd name="connsiteX149" fmla="*/ 93071 w 1739754"/>
                  <a:gd name="connsiteY149" fmla="*/ 1196727 h 2673102"/>
                  <a:gd name="connsiteX150" fmla="*/ 78783 w 1739754"/>
                  <a:gd name="connsiteY150" fmla="*/ 1177677 h 2673102"/>
                  <a:gd name="connsiteX151" fmla="*/ 59733 w 1739754"/>
                  <a:gd name="connsiteY151" fmla="*/ 1139577 h 2673102"/>
                  <a:gd name="connsiteX152" fmla="*/ 50208 w 1739754"/>
                  <a:gd name="connsiteY152" fmla="*/ 1111002 h 2673102"/>
                  <a:gd name="connsiteX153" fmla="*/ 45446 w 1739754"/>
                  <a:gd name="connsiteY153" fmla="*/ 1096714 h 2673102"/>
                  <a:gd name="connsiteX154" fmla="*/ 21633 w 1739754"/>
                  <a:gd name="connsiteY154" fmla="*/ 1025277 h 2673102"/>
                  <a:gd name="connsiteX155" fmla="*/ 202 w 1739754"/>
                  <a:gd name="connsiteY155" fmla="*/ 980033 h 2673102"/>
                  <a:gd name="connsiteX156" fmla="*/ 14490 w 1739754"/>
                  <a:gd name="connsiteY156" fmla="*/ 930027 h 2673102"/>
                  <a:gd name="connsiteX157" fmla="*/ 69259 w 1739754"/>
                  <a:gd name="connsiteY157" fmla="*/ 810964 h 2673102"/>
                  <a:gd name="connsiteX158" fmla="*/ 221658 w 1739754"/>
                  <a:gd name="connsiteY158" fmla="*/ 601414 h 2673102"/>
                  <a:gd name="connsiteX159" fmla="*/ 288333 w 1739754"/>
                  <a:gd name="connsiteY159" fmla="*/ 515689 h 2673102"/>
                  <a:gd name="connsiteX160" fmla="*/ 412158 w 1739754"/>
                  <a:gd name="connsiteY160" fmla="*/ 406152 h 2673102"/>
                  <a:gd name="connsiteX161" fmla="*/ 535983 w 1739754"/>
                  <a:gd name="connsiteY161" fmla="*/ 291851 h 2673102"/>
                  <a:gd name="connsiteX162" fmla="*/ 640758 w 1739754"/>
                  <a:gd name="connsiteY162" fmla="*/ 229939 h 2673102"/>
                  <a:gd name="connsiteX163" fmla="*/ 733628 w 1739754"/>
                  <a:gd name="connsiteY163" fmla="*/ 168026 h 2673102"/>
                  <a:gd name="connsiteX164" fmla="*/ 978896 w 1739754"/>
                  <a:gd name="connsiteY164" fmla="*/ 63251 h 2673102"/>
                  <a:gd name="connsiteX165" fmla="*/ 1159871 w 1739754"/>
                  <a:gd name="connsiteY165" fmla="*/ 6102 h 2673102"/>
                  <a:gd name="connsiteX166" fmla="*/ 1202733 w 1739754"/>
                  <a:gd name="connsiteY16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183683 w 1739754"/>
                  <a:gd name="connsiteY5" fmla="*/ 225177 h 2673102"/>
                  <a:gd name="connsiteX6" fmla="*/ 1202733 w 1739754"/>
                  <a:gd name="connsiteY6" fmla="*/ 258514 h 2673102"/>
                  <a:gd name="connsiteX7" fmla="*/ 1245596 w 1739754"/>
                  <a:gd name="connsiteY7" fmla="*/ 296614 h 2673102"/>
                  <a:gd name="connsiteX8" fmla="*/ 1255121 w 1739754"/>
                  <a:gd name="connsiteY8" fmla="*/ 315664 h 2673102"/>
                  <a:gd name="connsiteX9" fmla="*/ 1250358 w 1739754"/>
                  <a:gd name="connsiteY9" fmla="*/ 344239 h 2673102"/>
                  <a:gd name="connsiteX10" fmla="*/ 1245596 w 1739754"/>
                  <a:gd name="connsiteY10" fmla="*/ 363289 h 2673102"/>
                  <a:gd name="connsiteX11" fmla="*/ 1250358 w 1739754"/>
                  <a:gd name="connsiteY11" fmla="*/ 425202 h 2673102"/>
                  <a:gd name="connsiteX12" fmla="*/ 1269408 w 1739754"/>
                  <a:gd name="connsiteY12" fmla="*/ 463302 h 2673102"/>
                  <a:gd name="connsiteX13" fmla="*/ 1278933 w 1739754"/>
                  <a:gd name="connsiteY13" fmla="*/ 477589 h 2673102"/>
                  <a:gd name="connsiteX14" fmla="*/ 1293221 w 1739754"/>
                  <a:gd name="connsiteY14" fmla="*/ 487114 h 2673102"/>
                  <a:gd name="connsiteX15" fmla="*/ 1350371 w 1739754"/>
                  <a:gd name="connsiteY15" fmla="*/ 510927 h 2673102"/>
                  <a:gd name="connsiteX16" fmla="*/ 1378946 w 1739754"/>
                  <a:gd name="connsiteY16" fmla="*/ 520452 h 2673102"/>
                  <a:gd name="connsiteX17" fmla="*/ 1407521 w 1739754"/>
                  <a:gd name="connsiteY17" fmla="*/ 539502 h 2673102"/>
                  <a:gd name="connsiteX18" fmla="*/ 1469433 w 1739754"/>
                  <a:gd name="connsiteY18" fmla="*/ 568077 h 2673102"/>
                  <a:gd name="connsiteX19" fmla="*/ 1521821 w 1739754"/>
                  <a:gd name="connsiteY19" fmla="*/ 587127 h 2673102"/>
                  <a:gd name="connsiteX20" fmla="*/ 1540871 w 1739754"/>
                  <a:gd name="connsiteY20" fmla="*/ 596652 h 2673102"/>
                  <a:gd name="connsiteX21" fmla="*/ 1559921 w 1739754"/>
                  <a:gd name="connsiteY21" fmla="*/ 601414 h 2673102"/>
                  <a:gd name="connsiteX22" fmla="*/ 1607546 w 1739754"/>
                  <a:gd name="connsiteY22" fmla="*/ 639514 h 2673102"/>
                  <a:gd name="connsiteX23" fmla="*/ 1636121 w 1739754"/>
                  <a:gd name="connsiteY23" fmla="*/ 672852 h 2673102"/>
                  <a:gd name="connsiteX24" fmla="*/ 1650408 w 1739754"/>
                  <a:gd name="connsiteY24" fmla="*/ 687139 h 2673102"/>
                  <a:gd name="connsiteX25" fmla="*/ 1669458 w 1739754"/>
                  <a:gd name="connsiteY25" fmla="*/ 696664 h 2673102"/>
                  <a:gd name="connsiteX26" fmla="*/ 1683746 w 1739754"/>
                  <a:gd name="connsiteY26" fmla="*/ 706189 h 2673102"/>
                  <a:gd name="connsiteX27" fmla="*/ 1709940 w 1739754"/>
                  <a:gd name="connsiteY27" fmla="*/ 749052 h 2673102"/>
                  <a:gd name="connsiteX28" fmla="*/ 1702796 w 1739754"/>
                  <a:gd name="connsiteY28" fmla="*/ 853827 h 2673102"/>
                  <a:gd name="connsiteX29" fmla="*/ 1664696 w 1739754"/>
                  <a:gd name="connsiteY29" fmla="*/ 887164 h 2673102"/>
                  <a:gd name="connsiteX30" fmla="*/ 1650408 w 1739754"/>
                  <a:gd name="connsiteY30" fmla="*/ 901452 h 2673102"/>
                  <a:gd name="connsiteX31" fmla="*/ 1598021 w 1739754"/>
                  <a:gd name="connsiteY31" fmla="*/ 906214 h 2673102"/>
                  <a:gd name="connsiteX32" fmla="*/ 1555158 w 1739754"/>
                  <a:gd name="connsiteY32" fmla="*/ 925264 h 2673102"/>
                  <a:gd name="connsiteX33" fmla="*/ 1531346 w 1739754"/>
                  <a:gd name="connsiteY33" fmla="*/ 939552 h 2673102"/>
                  <a:gd name="connsiteX34" fmla="*/ 1498008 w 1739754"/>
                  <a:gd name="connsiteY34" fmla="*/ 987177 h 2673102"/>
                  <a:gd name="connsiteX35" fmla="*/ 1345608 w 1739754"/>
                  <a:gd name="connsiteY35" fmla="*/ 1030039 h 2673102"/>
                  <a:gd name="connsiteX36" fmla="*/ 1297983 w 1739754"/>
                  <a:gd name="connsiteY36" fmla="*/ 1053852 h 2673102"/>
                  <a:gd name="connsiteX37" fmla="*/ 1231308 w 1739754"/>
                  <a:gd name="connsiteY37" fmla="*/ 1082427 h 2673102"/>
                  <a:gd name="connsiteX38" fmla="*/ 1126533 w 1739754"/>
                  <a:gd name="connsiteY38" fmla="*/ 1096714 h 2673102"/>
                  <a:gd name="connsiteX39" fmla="*/ 1102721 w 1739754"/>
                  <a:gd name="connsiteY39" fmla="*/ 1101477 h 2673102"/>
                  <a:gd name="connsiteX40" fmla="*/ 1078908 w 1739754"/>
                  <a:gd name="connsiteY40" fmla="*/ 1111002 h 2673102"/>
                  <a:gd name="connsiteX41" fmla="*/ 964608 w 1739754"/>
                  <a:gd name="connsiteY41" fmla="*/ 1106239 h 2673102"/>
                  <a:gd name="connsiteX42" fmla="*/ 859833 w 1739754"/>
                  <a:gd name="connsiteY42" fmla="*/ 1058614 h 2673102"/>
                  <a:gd name="connsiteX43" fmla="*/ 812208 w 1739754"/>
                  <a:gd name="connsiteY43" fmla="*/ 1034802 h 2673102"/>
                  <a:gd name="connsiteX44" fmla="*/ 788396 w 1739754"/>
                  <a:gd name="connsiteY44" fmla="*/ 1020514 h 2673102"/>
                  <a:gd name="connsiteX45" fmla="*/ 769346 w 1739754"/>
                  <a:gd name="connsiteY45" fmla="*/ 1006227 h 2673102"/>
                  <a:gd name="connsiteX46" fmla="*/ 678858 w 1739754"/>
                  <a:gd name="connsiteY46" fmla="*/ 958602 h 2673102"/>
                  <a:gd name="connsiteX47" fmla="*/ 645521 w 1739754"/>
                  <a:gd name="connsiteY47" fmla="*/ 939552 h 2673102"/>
                  <a:gd name="connsiteX48" fmla="*/ 526458 w 1739754"/>
                  <a:gd name="connsiteY48" fmla="*/ 910977 h 2673102"/>
                  <a:gd name="connsiteX49" fmla="*/ 483596 w 1739754"/>
                  <a:gd name="connsiteY49" fmla="*/ 891927 h 2673102"/>
                  <a:gd name="connsiteX50" fmla="*/ 421683 w 1739754"/>
                  <a:gd name="connsiteY50" fmla="*/ 882402 h 2673102"/>
                  <a:gd name="connsiteX51" fmla="*/ 321671 w 1739754"/>
                  <a:gd name="connsiteY51" fmla="*/ 896689 h 2673102"/>
                  <a:gd name="connsiteX52" fmla="*/ 307383 w 1739754"/>
                  <a:gd name="connsiteY52" fmla="*/ 910977 h 2673102"/>
                  <a:gd name="connsiteX53" fmla="*/ 283571 w 1739754"/>
                  <a:gd name="connsiteY53" fmla="*/ 949077 h 2673102"/>
                  <a:gd name="connsiteX54" fmla="*/ 269283 w 1739754"/>
                  <a:gd name="connsiteY54" fmla="*/ 987177 h 2673102"/>
                  <a:gd name="connsiteX55" fmla="*/ 264521 w 1739754"/>
                  <a:gd name="connsiteY55" fmla="*/ 1039564 h 2673102"/>
                  <a:gd name="connsiteX56" fmla="*/ 264521 w 1739754"/>
                  <a:gd name="connsiteY56" fmla="*/ 1120527 h 2673102"/>
                  <a:gd name="connsiteX57" fmla="*/ 297858 w 1739754"/>
                  <a:gd name="connsiteY57" fmla="*/ 1153864 h 2673102"/>
                  <a:gd name="connsiteX58" fmla="*/ 326433 w 1739754"/>
                  <a:gd name="connsiteY58" fmla="*/ 1163389 h 2673102"/>
                  <a:gd name="connsiteX59" fmla="*/ 326433 w 1739754"/>
                  <a:gd name="connsiteY59" fmla="*/ 1244352 h 2673102"/>
                  <a:gd name="connsiteX60" fmla="*/ 312146 w 1739754"/>
                  <a:gd name="connsiteY60" fmla="*/ 1258639 h 2673102"/>
                  <a:gd name="connsiteX61" fmla="*/ 259758 w 1739754"/>
                  <a:gd name="connsiteY61" fmla="*/ 1296739 h 2673102"/>
                  <a:gd name="connsiteX62" fmla="*/ 240708 w 1739754"/>
                  <a:gd name="connsiteY62" fmla="*/ 1325314 h 2673102"/>
                  <a:gd name="connsiteX63" fmla="*/ 250233 w 1739754"/>
                  <a:gd name="connsiteY63" fmla="*/ 1425327 h 2673102"/>
                  <a:gd name="connsiteX64" fmla="*/ 278808 w 1739754"/>
                  <a:gd name="connsiteY64" fmla="*/ 1472952 h 2673102"/>
                  <a:gd name="connsiteX65" fmla="*/ 293096 w 1739754"/>
                  <a:gd name="connsiteY65" fmla="*/ 1492002 h 2673102"/>
                  <a:gd name="connsiteX66" fmla="*/ 383583 w 1739754"/>
                  <a:gd name="connsiteY66" fmla="*/ 1525339 h 2673102"/>
                  <a:gd name="connsiteX67" fmla="*/ 407396 w 1739754"/>
                  <a:gd name="connsiteY67" fmla="*/ 1492002 h 2673102"/>
                  <a:gd name="connsiteX68" fmla="*/ 412158 w 1739754"/>
                  <a:gd name="connsiteY68" fmla="*/ 1468189 h 2673102"/>
                  <a:gd name="connsiteX69" fmla="*/ 416921 w 1739754"/>
                  <a:gd name="connsiteY69" fmla="*/ 1449139 h 2673102"/>
                  <a:gd name="connsiteX70" fmla="*/ 445496 w 1739754"/>
                  <a:gd name="connsiteY70" fmla="*/ 1439614 h 2673102"/>
                  <a:gd name="connsiteX71" fmla="*/ 545508 w 1739754"/>
                  <a:gd name="connsiteY71" fmla="*/ 1458664 h 2673102"/>
                  <a:gd name="connsiteX72" fmla="*/ 555033 w 1739754"/>
                  <a:gd name="connsiteY72" fmla="*/ 1482477 h 2673102"/>
                  <a:gd name="connsiteX73" fmla="*/ 564558 w 1739754"/>
                  <a:gd name="connsiteY73" fmla="*/ 1515814 h 2673102"/>
                  <a:gd name="connsiteX74" fmla="*/ 550271 w 1739754"/>
                  <a:gd name="connsiteY74" fmla="*/ 1534864 h 2673102"/>
                  <a:gd name="connsiteX75" fmla="*/ 550271 w 1739754"/>
                  <a:gd name="connsiteY75" fmla="*/ 1601539 h 2673102"/>
                  <a:gd name="connsiteX76" fmla="*/ 559796 w 1739754"/>
                  <a:gd name="connsiteY76" fmla="*/ 1620589 h 2673102"/>
                  <a:gd name="connsiteX77" fmla="*/ 626471 w 1739754"/>
                  <a:gd name="connsiteY77" fmla="*/ 1639639 h 2673102"/>
                  <a:gd name="connsiteX78" fmla="*/ 645521 w 1739754"/>
                  <a:gd name="connsiteY78" fmla="*/ 1592014 h 2673102"/>
                  <a:gd name="connsiteX79" fmla="*/ 702671 w 1739754"/>
                  <a:gd name="connsiteY79" fmla="*/ 1620589 h 2673102"/>
                  <a:gd name="connsiteX80" fmla="*/ 731246 w 1739754"/>
                  <a:gd name="connsiteY80" fmla="*/ 1630114 h 2673102"/>
                  <a:gd name="connsiteX81" fmla="*/ 783633 w 1739754"/>
                  <a:gd name="connsiteY81" fmla="*/ 1663452 h 2673102"/>
                  <a:gd name="connsiteX82" fmla="*/ 859833 w 1739754"/>
                  <a:gd name="connsiteY82" fmla="*/ 1687264 h 2673102"/>
                  <a:gd name="connsiteX83" fmla="*/ 878883 w 1739754"/>
                  <a:gd name="connsiteY83" fmla="*/ 1701552 h 2673102"/>
                  <a:gd name="connsiteX84" fmla="*/ 888408 w 1739754"/>
                  <a:gd name="connsiteY84" fmla="*/ 1739652 h 2673102"/>
                  <a:gd name="connsiteX85" fmla="*/ 897933 w 1739754"/>
                  <a:gd name="connsiteY85" fmla="*/ 1782514 h 2673102"/>
                  <a:gd name="connsiteX86" fmla="*/ 940796 w 1739754"/>
                  <a:gd name="connsiteY86" fmla="*/ 1892052 h 2673102"/>
                  <a:gd name="connsiteX87" fmla="*/ 950321 w 1739754"/>
                  <a:gd name="connsiteY87" fmla="*/ 1906339 h 2673102"/>
                  <a:gd name="connsiteX88" fmla="*/ 959846 w 1739754"/>
                  <a:gd name="connsiteY88" fmla="*/ 1939677 h 2673102"/>
                  <a:gd name="connsiteX89" fmla="*/ 974133 w 1739754"/>
                  <a:gd name="connsiteY89" fmla="*/ 1977777 h 2673102"/>
                  <a:gd name="connsiteX90" fmla="*/ 964608 w 1739754"/>
                  <a:gd name="connsiteY90" fmla="*/ 2082552 h 2673102"/>
                  <a:gd name="connsiteX91" fmla="*/ 955083 w 1739754"/>
                  <a:gd name="connsiteY91" fmla="*/ 2101602 h 2673102"/>
                  <a:gd name="connsiteX92" fmla="*/ 926508 w 1739754"/>
                  <a:gd name="connsiteY92" fmla="*/ 2144464 h 2673102"/>
                  <a:gd name="connsiteX93" fmla="*/ 907458 w 1739754"/>
                  <a:gd name="connsiteY93" fmla="*/ 2192089 h 2673102"/>
                  <a:gd name="connsiteX94" fmla="*/ 902696 w 1739754"/>
                  <a:gd name="connsiteY94" fmla="*/ 2211139 h 2673102"/>
                  <a:gd name="connsiteX95" fmla="*/ 893171 w 1739754"/>
                  <a:gd name="connsiteY95" fmla="*/ 2239714 h 2673102"/>
                  <a:gd name="connsiteX96" fmla="*/ 897933 w 1739754"/>
                  <a:gd name="connsiteY96" fmla="*/ 2287339 h 2673102"/>
                  <a:gd name="connsiteX97" fmla="*/ 893171 w 1739754"/>
                  <a:gd name="connsiteY97" fmla="*/ 2396877 h 2673102"/>
                  <a:gd name="connsiteX98" fmla="*/ 688383 w 1739754"/>
                  <a:gd name="connsiteY98" fmla="*/ 2449264 h 2673102"/>
                  <a:gd name="connsiteX99" fmla="*/ 655046 w 1739754"/>
                  <a:gd name="connsiteY99" fmla="*/ 2473077 h 2673102"/>
                  <a:gd name="connsiteX100" fmla="*/ 607421 w 1739754"/>
                  <a:gd name="connsiteY100" fmla="*/ 2511177 h 2673102"/>
                  <a:gd name="connsiteX101" fmla="*/ 574083 w 1739754"/>
                  <a:gd name="connsiteY101" fmla="*/ 2534989 h 2673102"/>
                  <a:gd name="connsiteX102" fmla="*/ 540746 w 1739754"/>
                  <a:gd name="connsiteY102" fmla="*/ 2554039 h 2673102"/>
                  <a:gd name="connsiteX103" fmla="*/ 497883 w 1739754"/>
                  <a:gd name="connsiteY103" fmla="*/ 2587377 h 2673102"/>
                  <a:gd name="connsiteX104" fmla="*/ 483596 w 1739754"/>
                  <a:gd name="connsiteY104" fmla="*/ 2601664 h 2673102"/>
                  <a:gd name="connsiteX105" fmla="*/ 459783 w 1739754"/>
                  <a:gd name="connsiteY105" fmla="*/ 2620714 h 2673102"/>
                  <a:gd name="connsiteX106" fmla="*/ 450258 w 1739754"/>
                  <a:gd name="connsiteY106" fmla="*/ 2635002 h 2673102"/>
                  <a:gd name="connsiteX107" fmla="*/ 416921 w 1739754"/>
                  <a:gd name="connsiteY107" fmla="*/ 2654052 h 2673102"/>
                  <a:gd name="connsiteX108" fmla="*/ 374058 w 1739754"/>
                  <a:gd name="connsiteY108" fmla="*/ 2673102 h 2673102"/>
                  <a:gd name="connsiteX109" fmla="*/ 359771 w 1739754"/>
                  <a:gd name="connsiteY109" fmla="*/ 2663577 h 2673102"/>
                  <a:gd name="connsiteX110" fmla="*/ 345483 w 1739754"/>
                  <a:gd name="connsiteY110" fmla="*/ 2635002 h 2673102"/>
                  <a:gd name="connsiteX111" fmla="*/ 335958 w 1739754"/>
                  <a:gd name="connsiteY111" fmla="*/ 2620714 h 2673102"/>
                  <a:gd name="connsiteX112" fmla="*/ 297858 w 1739754"/>
                  <a:gd name="connsiteY112" fmla="*/ 2611189 h 2673102"/>
                  <a:gd name="connsiteX113" fmla="*/ 278808 w 1739754"/>
                  <a:gd name="connsiteY113" fmla="*/ 2592139 h 2673102"/>
                  <a:gd name="connsiteX114" fmla="*/ 274046 w 1739754"/>
                  <a:gd name="connsiteY114" fmla="*/ 2573089 h 2673102"/>
                  <a:gd name="connsiteX115" fmla="*/ 235946 w 1739754"/>
                  <a:gd name="connsiteY115" fmla="*/ 2539752 h 2673102"/>
                  <a:gd name="connsiteX116" fmla="*/ 231183 w 1739754"/>
                  <a:gd name="connsiteY116" fmla="*/ 2525464 h 2673102"/>
                  <a:gd name="connsiteX117" fmla="*/ 226421 w 1739754"/>
                  <a:gd name="connsiteY117" fmla="*/ 2506414 h 2673102"/>
                  <a:gd name="connsiteX118" fmla="*/ 212133 w 1739754"/>
                  <a:gd name="connsiteY118" fmla="*/ 2492127 h 2673102"/>
                  <a:gd name="connsiteX119" fmla="*/ 154983 w 1739754"/>
                  <a:gd name="connsiteY119" fmla="*/ 2439739 h 2673102"/>
                  <a:gd name="connsiteX120" fmla="*/ 150221 w 1739754"/>
                  <a:gd name="connsiteY120" fmla="*/ 2415927 h 2673102"/>
                  <a:gd name="connsiteX121" fmla="*/ 135933 w 1739754"/>
                  <a:gd name="connsiteY121" fmla="*/ 2358777 h 2673102"/>
                  <a:gd name="connsiteX122" fmla="*/ 121646 w 1739754"/>
                  <a:gd name="connsiteY122" fmla="*/ 2315914 h 2673102"/>
                  <a:gd name="connsiteX123" fmla="*/ 107358 w 1739754"/>
                  <a:gd name="connsiteY123" fmla="*/ 2258764 h 2673102"/>
                  <a:gd name="connsiteX124" fmla="*/ 102596 w 1739754"/>
                  <a:gd name="connsiteY124" fmla="*/ 2234952 h 2673102"/>
                  <a:gd name="connsiteX125" fmla="*/ 93071 w 1739754"/>
                  <a:gd name="connsiteY125" fmla="*/ 2211139 h 2673102"/>
                  <a:gd name="connsiteX126" fmla="*/ 88308 w 1739754"/>
                  <a:gd name="connsiteY126" fmla="*/ 2187327 h 2673102"/>
                  <a:gd name="connsiteX127" fmla="*/ 78783 w 1739754"/>
                  <a:gd name="connsiteY127" fmla="*/ 2111127 h 2673102"/>
                  <a:gd name="connsiteX128" fmla="*/ 97833 w 1739754"/>
                  <a:gd name="connsiteY128" fmla="*/ 1944439 h 2673102"/>
                  <a:gd name="connsiteX129" fmla="*/ 107358 w 1739754"/>
                  <a:gd name="connsiteY129" fmla="*/ 1930152 h 2673102"/>
                  <a:gd name="connsiteX130" fmla="*/ 126408 w 1739754"/>
                  <a:gd name="connsiteY130" fmla="*/ 1901577 h 2673102"/>
                  <a:gd name="connsiteX131" fmla="*/ 135933 w 1739754"/>
                  <a:gd name="connsiteY131" fmla="*/ 1868239 h 2673102"/>
                  <a:gd name="connsiteX132" fmla="*/ 131171 w 1739754"/>
                  <a:gd name="connsiteY132" fmla="*/ 1825377 h 2673102"/>
                  <a:gd name="connsiteX133" fmla="*/ 112121 w 1739754"/>
                  <a:gd name="connsiteY133" fmla="*/ 1820614 h 2673102"/>
                  <a:gd name="connsiteX134" fmla="*/ 102596 w 1739754"/>
                  <a:gd name="connsiteY134" fmla="*/ 1806327 h 2673102"/>
                  <a:gd name="connsiteX135" fmla="*/ 145458 w 1739754"/>
                  <a:gd name="connsiteY135" fmla="*/ 1720602 h 2673102"/>
                  <a:gd name="connsiteX136" fmla="*/ 159746 w 1739754"/>
                  <a:gd name="connsiteY136" fmla="*/ 1715839 h 2673102"/>
                  <a:gd name="connsiteX137" fmla="*/ 174033 w 1739754"/>
                  <a:gd name="connsiteY137" fmla="*/ 1696789 h 2673102"/>
                  <a:gd name="connsiteX138" fmla="*/ 188321 w 1739754"/>
                  <a:gd name="connsiteY138" fmla="*/ 1687264 h 2673102"/>
                  <a:gd name="connsiteX139" fmla="*/ 202608 w 1739754"/>
                  <a:gd name="connsiteY139" fmla="*/ 1653927 h 2673102"/>
                  <a:gd name="connsiteX140" fmla="*/ 193083 w 1739754"/>
                  <a:gd name="connsiteY140" fmla="*/ 1606302 h 2673102"/>
                  <a:gd name="connsiteX141" fmla="*/ 164508 w 1739754"/>
                  <a:gd name="connsiteY141" fmla="*/ 1596777 h 2673102"/>
                  <a:gd name="connsiteX142" fmla="*/ 154983 w 1739754"/>
                  <a:gd name="connsiteY142" fmla="*/ 1549152 h 2673102"/>
                  <a:gd name="connsiteX143" fmla="*/ 150221 w 1739754"/>
                  <a:gd name="connsiteY143" fmla="*/ 1411039 h 2673102"/>
                  <a:gd name="connsiteX144" fmla="*/ 140696 w 1739754"/>
                  <a:gd name="connsiteY144" fmla="*/ 1377702 h 2673102"/>
                  <a:gd name="connsiteX145" fmla="*/ 121646 w 1739754"/>
                  <a:gd name="connsiteY145" fmla="*/ 1311027 h 2673102"/>
                  <a:gd name="connsiteX146" fmla="*/ 116883 w 1739754"/>
                  <a:gd name="connsiteY146" fmla="*/ 1258639 h 2673102"/>
                  <a:gd name="connsiteX147" fmla="*/ 107358 w 1739754"/>
                  <a:gd name="connsiteY147" fmla="*/ 1244352 h 2673102"/>
                  <a:gd name="connsiteX148" fmla="*/ 93071 w 1739754"/>
                  <a:gd name="connsiteY148" fmla="*/ 1196727 h 2673102"/>
                  <a:gd name="connsiteX149" fmla="*/ 78783 w 1739754"/>
                  <a:gd name="connsiteY149" fmla="*/ 1177677 h 2673102"/>
                  <a:gd name="connsiteX150" fmla="*/ 59733 w 1739754"/>
                  <a:gd name="connsiteY150" fmla="*/ 1139577 h 2673102"/>
                  <a:gd name="connsiteX151" fmla="*/ 50208 w 1739754"/>
                  <a:gd name="connsiteY151" fmla="*/ 1111002 h 2673102"/>
                  <a:gd name="connsiteX152" fmla="*/ 45446 w 1739754"/>
                  <a:gd name="connsiteY152" fmla="*/ 1096714 h 2673102"/>
                  <a:gd name="connsiteX153" fmla="*/ 21633 w 1739754"/>
                  <a:gd name="connsiteY153" fmla="*/ 1025277 h 2673102"/>
                  <a:gd name="connsiteX154" fmla="*/ 202 w 1739754"/>
                  <a:gd name="connsiteY154" fmla="*/ 980033 h 2673102"/>
                  <a:gd name="connsiteX155" fmla="*/ 14490 w 1739754"/>
                  <a:gd name="connsiteY155" fmla="*/ 930027 h 2673102"/>
                  <a:gd name="connsiteX156" fmla="*/ 69259 w 1739754"/>
                  <a:gd name="connsiteY156" fmla="*/ 810964 h 2673102"/>
                  <a:gd name="connsiteX157" fmla="*/ 221658 w 1739754"/>
                  <a:gd name="connsiteY157" fmla="*/ 601414 h 2673102"/>
                  <a:gd name="connsiteX158" fmla="*/ 288333 w 1739754"/>
                  <a:gd name="connsiteY158" fmla="*/ 515689 h 2673102"/>
                  <a:gd name="connsiteX159" fmla="*/ 412158 w 1739754"/>
                  <a:gd name="connsiteY159" fmla="*/ 406152 h 2673102"/>
                  <a:gd name="connsiteX160" fmla="*/ 535983 w 1739754"/>
                  <a:gd name="connsiteY160" fmla="*/ 291851 h 2673102"/>
                  <a:gd name="connsiteX161" fmla="*/ 640758 w 1739754"/>
                  <a:gd name="connsiteY161" fmla="*/ 229939 h 2673102"/>
                  <a:gd name="connsiteX162" fmla="*/ 733628 w 1739754"/>
                  <a:gd name="connsiteY162" fmla="*/ 168026 h 2673102"/>
                  <a:gd name="connsiteX163" fmla="*/ 978896 w 1739754"/>
                  <a:gd name="connsiteY163" fmla="*/ 63251 h 2673102"/>
                  <a:gd name="connsiteX164" fmla="*/ 1159871 w 1739754"/>
                  <a:gd name="connsiteY164" fmla="*/ 6102 h 2673102"/>
                  <a:gd name="connsiteX165" fmla="*/ 1202733 w 1739754"/>
                  <a:gd name="connsiteY16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202733 w 1739754"/>
                  <a:gd name="connsiteY5" fmla="*/ 258514 h 2673102"/>
                  <a:gd name="connsiteX6" fmla="*/ 1245596 w 1739754"/>
                  <a:gd name="connsiteY6" fmla="*/ 296614 h 2673102"/>
                  <a:gd name="connsiteX7" fmla="*/ 1255121 w 1739754"/>
                  <a:gd name="connsiteY7" fmla="*/ 315664 h 2673102"/>
                  <a:gd name="connsiteX8" fmla="*/ 1250358 w 1739754"/>
                  <a:gd name="connsiteY8" fmla="*/ 344239 h 2673102"/>
                  <a:gd name="connsiteX9" fmla="*/ 1245596 w 1739754"/>
                  <a:gd name="connsiteY9" fmla="*/ 363289 h 2673102"/>
                  <a:gd name="connsiteX10" fmla="*/ 1250358 w 1739754"/>
                  <a:gd name="connsiteY10" fmla="*/ 425202 h 2673102"/>
                  <a:gd name="connsiteX11" fmla="*/ 1269408 w 1739754"/>
                  <a:gd name="connsiteY11" fmla="*/ 463302 h 2673102"/>
                  <a:gd name="connsiteX12" fmla="*/ 1278933 w 1739754"/>
                  <a:gd name="connsiteY12" fmla="*/ 477589 h 2673102"/>
                  <a:gd name="connsiteX13" fmla="*/ 1293221 w 1739754"/>
                  <a:gd name="connsiteY13" fmla="*/ 487114 h 2673102"/>
                  <a:gd name="connsiteX14" fmla="*/ 1350371 w 1739754"/>
                  <a:gd name="connsiteY14" fmla="*/ 510927 h 2673102"/>
                  <a:gd name="connsiteX15" fmla="*/ 1378946 w 1739754"/>
                  <a:gd name="connsiteY15" fmla="*/ 520452 h 2673102"/>
                  <a:gd name="connsiteX16" fmla="*/ 1407521 w 1739754"/>
                  <a:gd name="connsiteY16" fmla="*/ 539502 h 2673102"/>
                  <a:gd name="connsiteX17" fmla="*/ 1469433 w 1739754"/>
                  <a:gd name="connsiteY17" fmla="*/ 568077 h 2673102"/>
                  <a:gd name="connsiteX18" fmla="*/ 1521821 w 1739754"/>
                  <a:gd name="connsiteY18" fmla="*/ 587127 h 2673102"/>
                  <a:gd name="connsiteX19" fmla="*/ 1540871 w 1739754"/>
                  <a:gd name="connsiteY19" fmla="*/ 596652 h 2673102"/>
                  <a:gd name="connsiteX20" fmla="*/ 1559921 w 1739754"/>
                  <a:gd name="connsiteY20" fmla="*/ 601414 h 2673102"/>
                  <a:gd name="connsiteX21" fmla="*/ 1607546 w 1739754"/>
                  <a:gd name="connsiteY21" fmla="*/ 639514 h 2673102"/>
                  <a:gd name="connsiteX22" fmla="*/ 1636121 w 1739754"/>
                  <a:gd name="connsiteY22" fmla="*/ 672852 h 2673102"/>
                  <a:gd name="connsiteX23" fmla="*/ 1650408 w 1739754"/>
                  <a:gd name="connsiteY23" fmla="*/ 687139 h 2673102"/>
                  <a:gd name="connsiteX24" fmla="*/ 1669458 w 1739754"/>
                  <a:gd name="connsiteY24" fmla="*/ 696664 h 2673102"/>
                  <a:gd name="connsiteX25" fmla="*/ 1683746 w 1739754"/>
                  <a:gd name="connsiteY25" fmla="*/ 706189 h 2673102"/>
                  <a:gd name="connsiteX26" fmla="*/ 1709940 w 1739754"/>
                  <a:gd name="connsiteY26" fmla="*/ 749052 h 2673102"/>
                  <a:gd name="connsiteX27" fmla="*/ 1702796 w 1739754"/>
                  <a:gd name="connsiteY27" fmla="*/ 853827 h 2673102"/>
                  <a:gd name="connsiteX28" fmla="*/ 1664696 w 1739754"/>
                  <a:gd name="connsiteY28" fmla="*/ 887164 h 2673102"/>
                  <a:gd name="connsiteX29" fmla="*/ 1650408 w 1739754"/>
                  <a:gd name="connsiteY29" fmla="*/ 901452 h 2673102"/>
                  <a:gd name="connsiteX30" fmla="*/ 1598021 w 1739754"/>
                  <a:gd name="connsiteY30" fmla="*/ 906214 h 2673102"/>
                  <a:gd name="connsiteX31" fmla="*/ 1555158 w 1739754"/>
                  <a:gd name="connsiteY31" fmla="*/ 925264 h 2673102"/>
                  <a:gd name="connsiteX32" fmla="*/ 1531346 w 1739754"/>
                  <a:gd name="connsiteY32" fmla="*/ 939552 h 2673102"/>
                  <a:gd name="connsiteX33" fmla="*/ 1498008 w 1739754"/>
                  <a:gd name="connsiteY33" fmla="*/ 987177 h 2673102"/>
                  <a:gd name="connsiteX34" fmla="*/ 1345608 w 1739754"/>
                  <a:gd name="connsiteY34" fmla="*/ 1030039 h 2673102"/>
                  <a:gd name="connsiteX35" fmla="*/ 1297983 w 1739754"/>
                  <a:gd name="connsiteY35" fmla="*/ 1053852 h 2673102"/>
                  <a:gd name="connsiteX36" fmla="*/ 1231308 w 1739754"/>
                  <a:gd name="connsiteY36" fmla="*/ 1082427 h 2673102"/>
                  <a:gd name="connsiteX37" fmla="*/ 1126533 w 1739754"/>
                  <a:gd name="connsiteY37" fmla="*/ 1096714 h 2673102"/>
                  <a:gd name="connsiteX38" fmla="*/ 1102721 w 1739754"/>
                  <a:gd name="connsiteY38" fmla="*/ 1101477 h 2673102"/>
                  <a:gd name="connsiteX39" fmla="*/ 1078908 w 1739754"/>
                  <a:gd name="connsiteY39" fmla="*/ 1111002 h 2673102"/>
                  <a:gd name="connsiteX40" fmla="*/ 964608 w 1739754"/>
                  <a:gd name="connsiteY40" fmla="*/ 1106239 h 2673102"/>
                  <a:gd name="connsiteX41" fmla="*/ 859833 w 1739754"/>
                  <a:gd name="connsiteY41" fmla="*/ 1058614 h 2673102"/>
                  <a:gd name="connsiteX42" fmla="*/ 812208 w 1739754"/>
                  <a:gd name="connsiteY42" fmla="*/ 1034802 h 2673102"/>
                  <a:gd name="connsiteX43" fmla="*/ 788396 w 1739754"/>
                  <a:gd name="connsiteY43" fmla="*/ 1020514 h 2673102"/>
                  <a:gd name="connsiteX44" fmla="*/ 769346 w 1739754"/>
                  <a:gd name="connsiteY44" fmla="*/ 1006227 h 2673102"/>
                  <a:gd name="connsiteX45" fmla="*/ 678858 w 1739754"/>
                  <a:gd name="connsiteY45" fmla="*/ 958602 h 2673102"/>
                  <a:gd name="connsiteX46" fmla="*/ 645521 w 1739754"/>
                  <a:gd name="connsiteY46" fmla="*/ 939552 h 2673102"/>
                  <a:gd name="connsiteX47" fmla="*/ 526458 w 1739754"/>
                  <a:gd name="connsiteY47" fmla="*/ 910977 h 2673102"/>
                  <a:gd name="connsiteX48" fmla="*/ 483596 w 1739754"/>
                  <a:gd name="connsiteY48" fmla="*/ 891927 h 2673102"/>
                  <a:gd name="connsiteX49" fmla="*/ 421683 w 1739754"/>
                  <a:gd name="connsiteY49" fmla="*/ 882402 h 2673102"/>
                  <a:gd name="connsiteX50" fmla="*/ 321671 w 1739754"/>
                  <a:gd name="connsiteY50" fmla="*/ 896689 h 2673102"/>
                  <a:gd name="connsiteX51" fmla="*/ 307383 w 1739754"/>
                  <a:gd name="connsiteY51" fmla="*/ 910977 h 2673102"/>
                  <a:gd name="connsiteX52" fmla="*/ 283571 w 1739754"/>
                  <a:gd name="connsiteY52" fmla="*/ 949077 h 2673102"/>
                  <a:gd name="connsiteX53" fmla="*/ 269283 w 1739754"/>
                  <a:gd name="connsiteY53" fmla="*/ 987177 h 2673102"/>
                  <a:gd name="connsiteX54" fmla="*/ 264521 w 1739754"/>
                  <a:gd name="connsiteY54" fmla="*/ 1039564 h 2673102"/>
                  <a:gd name="connsiteX55" fmla="*/ 264521 w 1739754"/>
                  <a:gd name="connsiteY55" fmla="*/ 1120527 h 2673102"/>
                  <a:gd name="connsiteX56" fmla="*/ 297858 w 1739754"/>
                  <a:gd name="connsiteY56" fmla="*/ 1153864 h 2673102"/>
                  <a:gd name="connsiteX57" fmla="*/ 326433 w 1739754"/>
                  <a:gd name="connsiteY57" fmla="*/ 1163389 h 2673102"/>
                  <a:gd name="connsiteX58" fmla="*/ 326433 w 1739754"/>
                  <a:gd name="connsiteY58" fmla="*/ 1244352 h 2673102"/>
                  <a:gd name="connsiteX59" fmla="*/ 312146 w 1739754"/>
                  <a:gd name="connsiteY59" fmla="*/ 1258639 h 2673102"/>
                  <a:gd name="connsiteX60" fmla="*/ 259758 w 1739754"/>
                  <a:gd name="connsiteY60" fmla="*/ 1296739 h 2673102"/>
                  <a:gd name="connsiteX61" fmla="*/ 240708 w 1739754"/>
                  <a:gd name="connsiteY61" fmla="*/ 1325314 h 2673102"/>
                  <a:gd name="connsiteX62" fmla="*/ 250233 w 1739754"/>
                  <a:gd name="connsiteY62" fmla="*/ 1425327 h 2673102"/>
                  <a:gd name="connsiteX63" fmla="*/ 278808 w 1739754"/>
                  <a:gd name="connsiteY63" fmla="*/ 1472952 h 2673102"/>
                  <a:gd name="connsiteX64" fmla="*/ 293096 w 1739754"/>
                  <a:gd name="connsiteY64" fmla="*/ 1492002 h 2673102"/>
                  <a:gd name="connsiteX65" fmla="*/ 383583 w 1739754"/>
                  <a:gd name="connsiteY65" fmla="*/ 1525339 h 2673102"/>
                  <a:gd name="connsiteX66" fmla="*/ 407396 w 1739754"/>
                  <a:gd name="connsiteY66" fmla="*/ 1492002 h 2673102"/>
                  <a:gd name="connsiteX67" fmla="*/ 412158 w 1739754"/>
                  <a:gd name="connsiteY67" fmla="*/ 1468189 h 2673102"/>
                  <a:gd name="connsiteX68" fmla="*/ 416921 w 1739754"/>
                  <a:gd name="connsiteY68" fmla="*/ 1449139 h 2673102"/>
                  <a:gd name="connsiteX69" fmla="*/ 445496 w 1739754"/>
                  <a:gd name="connsiteY69" fmla="*/ 1439614 h 2673102"/>
                  <a:gd name="connsiteX70" fmla="*/ 545508 w 1739754"/>
                  <a:gd name="connsiteY70" fmla="*/ 1458664 h 2673102"/>
                  <a:gd name="connsiteX71" fmla="*/ 555033 w 1739754"/>
                  <a:gd name="connsiteY71" fmla="*/ 1482477 h 2673102"/>
                  <a:gd name="connsiteX72" fmla="*/ 564558 w 1739754"/>
                  <a:gd name="connsiteY72" fmla="*/ 1515814 h 2673102"/>
                  <a:gd name="connsiteX73" fmla="*/ 550271 w 1739754"/>
                  <a:gd name="connsiteY73" fmla="*/ 1534864 h 2673102"/>
                  <a:gd name="connsiteX74" fmla="*/ 550271 w 1739754"/>
                  <a:gd name="connsiteY74" fmla="*/ 1601539 h 2673102"/>
                  <a:gd name="connsiteX75" fmla="*/ 559796 w 1739754"/>
                  <a:gd name="connsiteY75" fmla="*/ 1620589 h 2673102"/>
                  <a:gd name="connsiteX76" fmla="*/ 626471 w 1739754"/>
                  <a:gd name="connsiteY76" fmla="*/ 1639639 h 2673102"/>
                  <a:gd name="connsiteX77" fmla="*/ 645521 w 1739754"/>
                  <a:gd name="connsiteY77" fmla="*/ 1592014 h 2673102"/>
                  <a:gd name="connsiteX78" fmla="*/ 702671 w 1739754"/>
                  <a:gd name="connsiteY78" fmla="*/ 1620589 h 2673102"/>
                  <a:gd name="connsiteX79" fmla="*/ 731246 w 1739754"/>
                  <a:gd name="connsiteY79" fmla="*/ 1630114 h 2673102"/>
                  <a:gd name="connsiteX80" fmla="*/ 783633 w 1739754"/>
                  <a:gd name="connsiteY80" fmla="*/ 1663452 h 2673102"/>
                  <a:gd name="connsiteX81" fmla="*/ 859833 w 1739754"/>
                  <a:gd name="connsiteY81" fmla="*/ 1687264 h 2673102"/>
                  <a:gd name="connsiteX82" fmla="*/ 878883 w 1739754"/>
                  <a:gd name="connsiteY82" fmla="*/ 1701552 h 2673102"/>
                  <a:gd name="connsiteX83" fmla="*/ 888408 w 1739754"/>
                  <a:gd name="connsiteY83" fmla="*/ 1739652 h 2673102"/>
                  <a:gd name="connsiteX84" fmla="*/ 897933 w 1739754"/>
                  <a:gd name="connsiteY84" fmla="*/ 1782514 h 2673102"/>
                  <a:gd name="connsiteX85" fmla="*/ 940796 w 1739754"/>
                  <a:gd name="connsiteY85" fmla="*/ 1892052 h 2673102"/>
                  <a:gd name="connsiteX86" fmla="*/ 950321 w 1739754"/>
                  <a:gd name="connsiteY86" fmla="*/ 1906339 h 2673102"/>
                  <a:gd name="connsiteX87" fmla="*/ 959846 w 1739754"/>
                  <a:gd name="connsiteY87" fmla="*/ 1939677 h 2673102"/>
                  <a:gd name="connsiteX88" fmla="*/ 974133 w 1739754"/>
                  <a:gd name="connsiteY88" fmla="*/ 1977777 h 2673102"/>
                  <a:gd name="connsiteX89" fmla="*/ 964608 w 1739754"/>
                  <a:gd name="connsiteY89" fmla="*/ 2082552 h 2673102"/>
                  <a:gd name="connsiteX90" fmla="*/ 955083 w 1739754"/>
                  <a:gd name="connsiteY90" fmla="*/ 2101602 h 2673102"/>
                  <a:gd name="connsiteX91" fmla="*/ 926508 w 1739754"/>
                  <a:gd name="connsiteY91" fmla="*/ 2144464 h 2673102"/>
                  <a:gd name="connsiteX92" fmla="*/ 907458 w 1739754"/>
                  <a:gd name="connsiteY92" fmla="*/ 2192089 h 2673102"/>
                  <a:gd name="connsiteX93" fmla="*/ 902696 w 1739754"/>
                  <a:gd name="connsiteY93" fmla="*/ 2211139 h 2673102"/>
                  <a:gd name="connsiteX94" fmla="*/ 893171 w 1739754"/>
                  <a:gd name="connsiteY94" fmla="*/ 2239714 h 2673102"/>
                  <a:gd name="connsiteX95" fmla="*/ 897933 w 1739754"/>
                  <a:gd name="connsiteY95" fmla="*/ 2287339 h 2673102"/>
                  <a:gd name="connsiteX96" fmla="*/ 893171 w 1739754"/>
                  <a:gd name="connsiteY96" fmla="*/ 2396877 h 2673102"/>
                  <a:gd name="connsiteX97" fmla="*/ 688383 w 1739754"/>
                  <a:gd name="connsiteY97" fmla="*/ 2449264 h 2673102"/>
                  <a:gd name="connsiteX98" fmla="*/ 655046 w 1739754"/>
                  <a:gd name="connsiteY98" fmla="*/ 2473077 h 2673102"/>
                  <a:gd name="connsiteX99" fmla="*/ 607421 w 1739754"/>
                  <a:gd name="connsiteY99" fmla="*/ 2511177 h 2673102"/>
                  <a:gd name="connsiteX100" fmla="*/ 574083 w 1739754"/>
                  <a:gd name="connsiteY100" fmla="*/ 2534989 h 2673102"/>
                  <a:gd name="connsiteX101" fmla="*/ 540746 w 1739754"/>
                  <a:gd name="connsiteY101" fmla="*/ 2554039 h 2673102"/>
                  <a:gd name="connsiteX102" fmla="*/ 497883 w 1739754"/>
                  <a:gd name="connsiteY102" fmla="*/ 2587377 h 2673102"/>
                  <a:gd name="connsiteX103" fmla="*/ 483596 w 1739754"/>
                  <a:gd name="connsiteY103" fmla="*/ 2601664 h 2673102"/>
                  <a:gd name="connsiteX104" fmla="*/ 459783 w 1739754"/>
                  <a:gd name="connsiteY104" fmla="*/ 2620714 h 2673102"/>
                  <a:gd name="connsiteX105" fmla="*/ 450258 w 1739754"/>
                  <a:gd name="connsiteY105" fmla="*/ 2635002 h 2673102"/>
                  <a:gd name="connsiteX106" fmla="*/ 416921 w 1739754"/>
                  <a:gd name="connsiteY106" fmla="*/ 2654052 h 2673102"/>
                  <a:gd name="connsiteX107" fmla="*/ 374058 w 1739754"/>
                  <a:gd name="connsiteY107" fmla="*/ 2673102 h 2673102"/>
                  <a:gd name="connsiteX108" fmla="*/ 359771 w 1739754"/>
                  <a:gd name="connsiteY108" fmla="*/ 2663577 h 2673102"/>
                  <a:gd name="connsiteX109" fmla="*/ 345483 w 1739754"/>
                  <a:gd name="connsiteY109" fmla="*/ 2635002 h 2673102"/>
                  <a:gd name="connsiteX110" fmla="*/ 335958 w 1739754"/>
                  <a:gd name="connsiteY110" fmla="*/ 2620714 h 2673102"/>
                  <a:gd name="connsiteX111" fmla="*/ 297858 w 1739754"/>
                  <a:gd name="connsiteY111" fmla="*/ 2611189 h 2673102"/>
                  <a:gd name="connsiteX112" fmla="*/ 278808 w 1739754"/>
                  <a:gd name="connsiteY112" fmla="*/ 2592139 h 2673102"/>
                  <a:gd name="connsiteX113" fmla="*/ 274046 w 1739754"/>
                  <a:gd name="connsiteY113" fmla="*/ 2573089 h 2673102"/>
                  <a:gd name="connsiteX114" fmla="*/ 235946 w 1739754"/>
                  <a:gd name="connsiteY114" fmla="*/ 2539752 h 2673102"/>
                  <a:gd name="connsiteX115" fmla="*/ 231183 w 1739754"/>
                  <a:gd name="connsiteY115" fmla="*/ 2525464 h 2673102"/>
                  <a:gd name="connsiteX116" fmla="*/ 226421 w 1739754"/>
                  <a:gd name="connsiteY116" fmla="*/ 2506414 h 2673102"/>
                  <a:gd name="connsiteX117" fmla="*/ 212133 w 1739754"/>
                  <a:gd name="connsiteY117" fmla="*/ 2492127 h 2673102"/>
                  <a:gd name="connsiteX118" fmla="*/ 154983 w 1739754"/>
                  <a:gd name="connsiteY118" fmla="*/ 2439739 h 2673102"/>
                  <a:gd name="connsiteX119" fmla="*/ 150221 w 1739754"/>
                  <a:gd name="connsiteY119" fmla="*/ 2415927 h 2673102"/>
                  <a:gd name="connsiteX120" fmla="*/ 135933 w 1739754"/>
                  <a:gd name="connsiteY120" fmla="*/ 2358777 h 2673102"/>
                  <a:gd name="connsiteX121" fmla="*/ 121646 w 1739754"/>
                  <a:gd name="connsiteY121" fmla="*/ 2315914 h 2673102"/>
                  <a:gd name="connsiteX122" fmla="*/ 107358 w 1739754"/>
                  <a:gd name="connsiteY122" fmla="*/ 2258764 h 2673102"/>
                  <a:gd name="connsiteX123" fmla="*/ 102596 w 1739754"/>
                  <a:gd name="connsiteY123" fmla="*/ 2234952 h 2673102"/>
                  <a:gd name="connsiteX124" fmla="*/ 93071 w 1739754"/>
                  <a:gd name="connsiteY124" fmla="*/ 2211139 h 2673102"/>
                  <a:gd name="connsiteX125" fmla="*/ 88308 w 1739754"/>
                  <a:gd name="connsiteY125" fmla="*/ 2187327 h 2673102"/>
                  <a:gd name="connsiteX126" fmla="*/ 78783 w 1739754"/>
                  <a:gd name="connsiteY126" fmla="*/ 2111127 h 2673102"/>
                  <a:gd name="connsiteX127" fmla="*/ 97833 w 1739754"/>
                  <a:gd name="connsiteY127" fmla="*/ 1944439 h 2673102"/>
                  <a:gd name="connsiteX128" fmla="*/ 107358 w 1739754"/>
                  <a:gd name="connsiteY128" fmla="*/ 1930152 h 2673102"/>
                  <a:gd name="connsiteX129" fmla="*/ 126408 w 1739754"/>
                  <a:gd name="connsiteY129" fmla="*/ 1901577 h 2673102"/>
                  <a:gd name="connsiteX130" fmla="*/ 135933 w 1739754"/>
                  <a:gd name="connsiteY130" fmla="*/ 1868239 h 2673102"/>
                  <a:gd name="connsiteX131" fmla="*/ 131171 w 1739754"/>
                  <a:gd name="connsiteY131" fmla="*/ 1825377 h 2673102"/>
                  <a:gd name="connsiteX132" fmla="*/ 112121 w 1739754"/>
                  <a:gd name="connsiteY132" fmla="*/ 1820614 h 2673102"/>
                  <a:gd name="connsiteX133" fmla="*/ 102596 w 1739754"/>
                  <a:gd name="connsiteY133" fmla="*/ 1806327 h 2673102"/>
                  <a:gd name="connsiteX134" fmla="*/ 145458 w 1739754"/>
                  <a:gd name="connsiteY134" fmla="*/ 1720602 h 2673102"/>
                  <a:gd name="connsiteX135" fmla="*/ 159746 w 1739754"/>
                  <a:gd name="connsiteY135" fmla="*/ 1715839 h 2673102"/>
                  <a:gd name="connsiteX136" fmla="*/ 174033 w 1739754"/>
                  <a:gd name="connsiteY136" fmla="*/ 1696789 h 2673102"/>
                  <a:gd name="connsiteX137" fmla="*/ 188321 w 1739754"/>
                  <a:gd name="connsiteY137" fmla="*/ 1687264 h 2673102"/>
                  <a:gd name="connsiteX138" fmla="*/ 202608 w 1739754"/>
                  <a:gd name="connsiteY138" fmla="*/ 1653927 h 2673102"/>
                  <a:gd name="connsiteX139" fmla="*/ 193083 w 1739754"/>
                  <a:gd name="connsiteY139" fmla="*/ 1606302 h 2673102"/>
                  <a:gd name="connsiteX140" fmla="*/ 164508 w 1739754"/>
                  <a:gd name="connsiteY140" fmla="*/ 1596777 h 2673102"/>
                  <a:gd name="connsiteX141" fmla="*/ 154983 w 1739754"/>
                  <a:gd name="connsiteY141" fmla="*/ 1549152 h 2673102"/>
                  <a:gd name="connsiteX142" fmla="*/ 150221 w 1739754"/>
                  <a:gd name="connsiteY142" fmla="*/ 1411039 h 2673102"/>
                  <a:gd name="connsiteX143" fmla="*/ 140696 w 1739754"/>
                  <a:gd name="connsiteY143" fmla="*/ 1377702 h 2673102"/>
                  <a:gd name="connsiteX144" fmla="*/ 121646 w 1739754"/>
                  <a:gd name="connsiteY144" fmla="*/ 1311027 h 2673102"/>
                  <a:gd name="connsiteX145" fmla="*/ 116883 w 1739754"/>
                  <a:gd name="connsiteY145" fmla="*/ 1258639 h 2673102"/>
                  <a:gd name="connsiteX146" fmla="*/ 107358 w 1739754"/>
                  <a:gd name="connsiteY146" fmla="*/ 1244352 h 2673102"/>
                  <a:gd name="connsiteX147" fmla="*/ 93071 w 1739754"/>
                  <a:gd name="connsiteY147" fmla="*/ 1196727 h 2673102"/>
                  <a:gd name="connsiteX148" fmla="*/ 78783 w 1739754"/>
                  <a:gd name="connsiteY148" fmla="*/ 1177677 h 2673102"/>
                  <a:gd name="connsiteX149" fmla="*/ 59733 w 1739754"/>
                  <a:gd name="connsiteY149" fmla="*/ 1139577 h 2673102"/>
                  <a:gd name="connsiteX150" fmla="*/ 50208 w 1739754"/>
                  <a:gd name="connsiteY150" fmla="*/ 1111002 h 2673102"/>
                  <a:gd name="connsiteX151" fmla="*/ 45446 w 1739754"/>
                  <a:gd name="connsiteY151" fmla="*/ 1096714 h 2673102"/>
                  <a:gd name="connsiteX152" fmla="*/ 21633 w 1739754"/>
                  <a:gd name="connsiteY152" fmla="*/ 1025277 h 2673102"/>
                  <a:gd name="connsiteX153" fmla="*/ 202 w 1739754"/>
                  <a:gd name="connsiteY153" fmla="*/ 980033 h 2673102"/>
                  <a:gd name="connsiteX154" fmla="*/ 14490 w 1739754"/>
                  <a:gd name="connsiteY154" fmla="*/ 930027 h 2673102"/>
                  <a:gd name="connsiteX155" fmla="*/ 69259 w 1739754"/>
                  <a:gd name="connsiteY155" fmla="*/ 810964 h 2673102"/>
                  <a:gd name="connsiteX156" fmla="*/ 221658 w 1739754"/>
                  <a:gd name="connsiteY156" fmla="*/ 601414 h 2673102"/>
                  <a:gd name="connsiteX157" fmla="*/ 288333 w 1739754"/>
                  <a:gd name="connsiteY157" fmla="*/ 515689 h 2673102"/>
                  <a:gd name="connsiteX158" fmla="*/ 412158 w 1739754"/>
                  <a:gd name="connsiteY158" fmla="*/ 406152 h 2673102"/>
                  <a:gd name="connsiteX159" fmla="*/ 535983 w 1739754"/>
                  <a:gd name="connsiteY159" fmla="*/ 291851 h 2673102"/>
                  <a:gd name="connsiteX160" fmla="*/ 640758 w 1739754"/>
                  <a:gd name="connsiteY160" fmla="*/ 229939 h 2673102"/>
                  <a:gd name="connsiteX161" fmla="*/ 733628 w 1739754"/>
                  <a:gd name="connsiteY161" fmla="*/ 168026 h 2673102"/>
                  <a:gd name="connsiteX162" fmla="*/ 978896 w 1739754"/>
                  <a:gd name="connsiteY162" fmla="*/ 63251 h 2673102"/>
                  <a:gd name="connsiteX163" fmla="*/ 1159871 w 1739754"/>
                  <a:gd name="connsiteY163" fmla="*/ 6102 h 2673102"/>
                  <a:gd name="connsiteX164" fmla="*/ 1202733 w 1739754"/>
                  <a:gd name="connsiteY16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45596 w 1739754"/>
                  <a:gd name="connsiteY8" fmla="*/ 363289 h 2673102"/>
                  <a:gd name="connsiteX9" fmla="*/ 1250358 w 1739754"/>
                  <a:gd name="connsiteY9" fmla="*/ 425202 h 2673102"/>
                  <a:gd name="connsiteX10" fmla="*/ 1269408 w 1739754"/>
                  <a:gd name="connsiteY10" fmla="*/ 463302 h 2673102"/>
                  <a:gd name="connsiteX11" fmla="*/ 1278933 w 1739754"/>
                  <a:gd name="connsiteY11" fmla="*/ 477589 h 2673102"/>
                  <a:gd name="connsiteX12" fmla="*/ 1293221 w 1739754"/>
                  <a:gd name="connsiteY12" fmla="*/ 487114 h 2673102"/>
                  <a:gd name="connsiteX13" fmla="*/ 1350371 w 1739754"/>
                  <a:gd name="connsiteY13" fmla="*/ 510927 h 2673102"/>
                  <a:gd name="connsiteX14" fmla="*/ 1378946 w 1739754"/>
                  <a:gd name="connsiteY14" fmla="*/ 520452 h 2673102"/>
                  <a:gd name="connsiteX15" fmla="*/ 1407521 w 1739754"/>
                  <a:gd name="connsiteY15" fmla="*/ 539502 h 2673102"/>
                  <a:gd name="connsiteX16" fmla="*/ 1469433 w 1739754"/>
                  <a:gd name="connsiteY16" fmla="*/ 568077 h 2673102"/>
                  <a:gd name="connsiteX17" fmla="*/ 1521821 w 1739754"/>
                  <a:gd name="connsiteY17" fmla="*/ 587127 h 2673102"/>
                  <a:gd name="connsiteX18" fmla="*/ 1540871 w 1739754"/>
                  <a:gd name="connsiteY18" fmla="*/ 596652 h 2673102"/>
                  <a:gd name="connsiteX19" fmla="*/ 1559921 w 1739754"/>
                  <a:gd name="connsiteY19" fmla="*/ 601414 h 2673102"/>
                  <a:gd name="connsiteX20" fmla="*/ 1607546 w 1739754"/>
                  <a:gd name="connsiteY20" fmla="*/ 639514 h 2673102"/>
                  <a:gd name="connsiteX21" fmla="*/ 1636121 w 1739754"/>
                  <a:gd name="connsiteY21" fmla="*/ 672852 h 2673102"/>
                  <a:gd name="connsiteX22" fmla="*/ 1650408 w 1739754"/>
                  <a:gd name="connsiteY22" fmla="*/ 687139 h 2673102"/>
                  <a:gd name="connsiteX23" fmla="*/ 1669458 w 1739754"/>
                  <a:gd name="connsiteY23" fmla="*/ 696664 h 2673102"/>
                  <a:gd name="connsiteX24" fmla="*/ 1683746 w 1739754"/>
                  <a:gd name="connsiteY24" fmla="*/ 706189 h 2673102"/>
                  <a:gd name="connsiteX25" fmla="*/ 1709940 w 1739754"/>
                  <a:gd name="connsiteY25" fmla="*/ 749052 h 2673102"/>
                  <a:gd name="connsiteX26" fmla="*/ 1702796 w 1739754"/>
                  <a:gd name="connsiteY26" fmla="*/ 853827 h 2673102"/>
                  <a:gd name="connsiteX27" fmla="*/ 1664696 w 1739754"/>
                  <a:gd name="connsiteY27" fmla="*/ 887164 h 2673102"/>
                  <a:gd name="connsiteX28" fmla="*/ 1650408 w 1739754"/>
                  <a:gd name="connsiteY28" fmla="*/ 901452 h 2673102"/>
                  <a:gd name="connsiteX29" fmla="*/ 1598021 w 1739754"/>
                  <a:gd name="connsiteY29" fmla="*/ 906214 h 2673102"/>
                  <a:gd name="connsiteX30" fmla="*/ 1555158 w 1739754"/>
                  <a:gd name="connsiteY30" fmla="*/ 925264 h 2673102"/>
                  <a:gd name="connsiteX31" fmla="*/ 1531346 w 1739754"/>
                  <a:gd name="connsiteY31" fmla="*/ 939552 h 2673102"/>
                  <a:gd name="connsiteX32" fmla="*/ 1498008 w 1739754"/>
                  <a:gd name="connsiteY32" fmla="*/ 987177 h 2673102"/>
                  <a:gd name="connsiteX33" fmla="*/ 1345608 w 1739754"/>
                  <a:gd name="connsiteY33" fmla="*/ 1030039 h 2673102"/>
                  <a:gd name="connsiteX34" fmla="*/ 1297983 w 1739754"/>
                  <a:gd name="connsiteY34" fmla="*/ 1053852 h 2673102"/>
                  <a:gd name="connsiteX35" fmla="*/ 1231308 w 1739754"/>
                  <a:gd name="connsiteY35" fmla="*/ 1082427 h 2673102"/>
                  <a:gd name="connsiteX36" fmla="*/ 1126533 w 1739754"/>
                  <a:gd name="connsiteY36" fmla="*/ 1096714 h 2673102"/>
                  <a:gd name="connsiteX37" fmla="*/ 1102721 w 1739754"/>
                  <a:gd name="connsiteY37" fmla="*/ 1101477 h 2673102"/>
                  <a:gd name="connsiteX38" fmla="*/ 1078908 w 1739754"/>
                  <a:gd name="connsiteY38" fmla="*/ 1111002 h 2673102"/>
                  <a:gd name="connsiteX39" fmla="*/ 964608 w 1739754"/>
                  <a:gd name="connsiteY39" fmla="*/ 1106239 h 2673102"/>
                  <a:gd name="connsiteX40" fmla="*/ 859833 w 1739754"/>
                  <a:gd name="connsiteY40" fmla="*/ 1058614 h 2673102"/>
                  <a:gd name="connsiteX41" fmla="*/ 812208 w 1739754"/>
                  <a:gd name="connsiteY41" fmla="*/ 1034802 h 2673102"/>
                  <a:gd name="connsiteX42" fmla="*/ 788396 w 1739754"/>
                  <a:gd name="connsiteY42" fmla="*/ 1020514 h 2673102"/>
                  <a:gd name="connsiteX43" fmla="*/ 769346 w 1739754"/>
                  <a:gd name="connsiteY43" fmla="*/ 1006227 h 2673102"/>
                  <a:gd name="connsiteX44" fmla="*/ 678858 w 1739754"/>
                  <a:gd name="connsiteY44" fmla="*/ 958602 h 2673102"/>
                  <a:gd name="connsiteX45" fmla="*/ 645521 w 1739754"/>
                  <a:gd name="connsiteY45" fmla="*/ 939552 h 2673102"/>
                  <a:gd name="connsiteX46" fmla="*/ 526458 w 1739754"/>
                  <a:gd name="connsiteY46" fmla="*/ 910977 h 2673102"/>
                  <a:gd name="connsiteX47" fmla="*/ 483596 w 1739754"/>
                  <a:gd name="connsiteY47" fmla="*/ 891927 h 2673102"/>
                  <a:gd name="connsiteX48" fmla="*/ 421683 w 1739754"/>
                  <a:gd name="connsiteY48" fmla="*/ 882402 h 2673102"/>
                  <a:gd name="connsiteX49" fmla="*/ 321671 w 1739754"/>
                  <a:gd name="connsiteY49" fmla="*/ 896689 h 2673102"/>
                  <a:gd name="connsiteX50" fmla="*/ 307383 w 1739754"/>
                  <a:gd name="connsiteY50" fmla="*/ 910977 h 2673102"/>
                  <a:gd name="connsiteX51" fmla="*/ 283571 w 1739754"/>
                  <a:gd name="connsiteY51" fmla="*/ 949077 h 2673102"/>
                  <a:gd name="connsiteX52" fmla="*/ 269283 w 1739754"/>
                  <a:gd name="connsiteY52" fmla="*/ 987177 h 2673102"/>
                  <a:gd name="connsiteX53" fmla="*/ 264521 w 1739754"/>
                  <a:gd name="connsiteY53" fmla="*/ 1039564 h 2673102"/>
                  <a:gd name="connsiteX54" fmla="*/ 264521 w 1739754"/>
                  <a:gd name="connsiteY54" fmla="*/ 1120527 h 2673102"/>
                  <a:gd name="connsiteX55" fmla="*/ 297858 w 1739754"/>
                  <a:gd name="connsiteY55" fmla="*/ 1153864 h 2673102"/>
                  <a:gd name="connsiteX56" fmla="*/ 326433 w 1739754"/>
                  <a:gd name="connsiteY56" fmla="*/ 1163389 h 2673102"/>
                  <a:gd name="connsiteX57" fmla="*/ 326433 w 1739754"/>
                  <a:gd name="connsiteY57" fmla="*/ 1244352 h 2673102"/>
                  <a:gd name="connsiteX58" fmla="*/ 312146 w 1739754"/>
                  <a:gd name="connsiteY58" fmla="*/ 1258639 h 2673102"/>
                  <a:gd name="connsiteX59" fmla="*/ 259758 w 1739754"/>
                  <a:gd name="connsiteY59" fmla="*/ 1296739 h 2673102"/>
                  <a:gd name="connsiteX60" fmla="*/ 240708 w 1739754"/>
                  <a:gd name="connsiteY60" fmla="*/ 1325314 h 2673102"/>
                  <a:gd name="connsiteX61" fmla="*/ 250233 w 1739754"/>
                  <a:gd name="connsiteY61" fmla="*/ 1425327 h 2673102"/>
                  <a:gd name="connsiteX62" fmla="*/ 278808 w 1739754"/>
                  <a:gd name="connsiteY62" fmla="*/ 1472952 h 2673102"/>
                  <a:gd name="connsiteX63" fmla="*/ 293096 w 1739754"/>
                  <a:gd name="connsiteY63" fmla="*/ 1492002 h 2673102"/>
                  <a:gd name="connsiteX64" fmla="*/ 383583 w 1739754"/>
                  <a:gd name="connsiteY64" fmla="*/ 1525339 h 2673102"/>
                  <a:gd name="connsiteX65" fmla="*/ 407396 w 1739754"/>
                  <a:gd name="connsiteY65" fmla="*/ 1492002 h 2673102"/>
                  <a:gd name="connsiteX66" fmla="*/ 412158 w 1739754"/>
                  <a:gd name="connsiteY66" fmla="*/ 1468189 h 2673102"/>
                  <a:gd name="connsiteX67" fmla="*/ 416921 w 1739754"/>
                  <a:gd name="connsiteY67" fmla="*/ 1449139 h 2673102"/>
                  <a:gd name="connsiteX68" fmla="*/ 445496 w 1739754"/>
                  <a:gd name="connsiteY68" fmla="*/ 1439614 h 2673102"/>
                  <a:gd name="connsiteX69" fmla="*/ 545508 w 1739754"/>
                  <a:gd name="connsiteY69" fmla="*/ 1458664 h 2673102"/>
                  <a:gd name="connsiteX70" fmla="*/ 555033 w 1739754"/>
                  <a:gd name="connsiteY70" fmla="*/ 1482477 h 2673102"/>
                  <a:gd name="connsiteX71" fmla="*/ 564558 w 1739754"/>
                  <a:gd name="connsiteY71" fmla="*/ 1515814 h 2673102"/>
                  <a:gd name="connsiteX72" fmla="*/ 550271 w 1739754"/>
                  <a:gd name="connsiteY72" fmla="*/ 1534864 h 2673102"/>
                  <a:gd name="connsiteX73" fmla="*/ 550271 w 1739754"/>
                  <a:gd name="connsiteY73" fmla="*/ 1601539 h 2673102"/>
                  <a:gd name="connsiteX74" fmla="*/ 559796 w 1739754"/>
                  <a:gd name="connsiteY74" fmla="*/ 1620589 h 2673102"/>
                  <a:gd name="connsiteX75" fmla="*/ 626471 w 1739754"/>
                  <a:gd name="connsiteY75" fmla="*/ 1639639 h 2673102"/>
                  <a:gd name="connsiteX76" fmla="*/ 645521 w 1739754"/>
                  <a:gd name="connsiteY76" fmla="*/ 1592014 h 2673102"/>
                  <a:gd name="connsiteX77" fmla="*/ 702671 w 1739754"/>
                  <a:gd name="connsiteY77" fmla="*/ 1620589 h 2673102"/>
                  <a:gd name="connsiteX78" fmla="*/ 731246 w 1739754"/>
                  <a:gd name="connsiteY78" fmla="*/ 1630114 h 2673102"/>
                  <a:gd name="connsiteX79" fmla="*/ 783633 w 1739754"/>
                  <a:gd name="connsiteY79" fmla="*/ 1663452 h 2673102"/>
                  <a:gd name="connsiteX80" fmla="*/ 859833 w 1739754"/>
                  <a:gd name="connsiteY80" fmla="*/ 1687264 h 2673102"/>
                  <a:gd name="connsiteX81" fmla="*/ 878883 w 1739754"/>
                  <a:gd name="connsiteY81" fmla="*/ 1701552 h 2673102"/>
                  <a:gd name="connsiteX82" fmla="*/ 888408 w 1739754"/>
                  <a:gd name="connsiteY82" fmla="*/ 1739652 h 2673102"/>
                  <a:gd name="connsiteX83" fmla="*/ 897933 w 1739754"/>
                  <a:gd name="connsiteY83" fmla="*/ 1782514 h 2673102"/>
                  <a:gd name="connsiteX84" fmla="*/ 940796 w 1739754"/>
                  <a:gd name="connsiteY84" fmla="*/ 1892052 h 2673102"/>
                  <a:gd name="connsiteX85" fmla="*/ 950321 w 1739754"/>
                  <a:gd name="connsiteY85" fmla="*/ 1906339 h 2673102"/>
                  <a:gd name="connsiteX86" fmla="*/ 959846 w 1739754"/>
                  <a:gd name="connsiteY86" fmla="*/ 1939677 h 2673102"/>
                  <a:gd name="connsiteX87" fmla="*/ 974133 w 1739754"/>
                  <a:gd name="connsiteY87" fmla="*/ 1977777 h 2673102"/>
                  <a:gd name="connsiteX88" fmla="*/ 964608 w 1739754"/>
                  <a:gd name="connsiteY88" fmla="*/ 2082552 h 2673102"/>
                  <a:gd name="connsiteX89" fmla="*/ 955083 w 1739754"/>
                  <a:gd name="connsiteY89" fmla="*/ 2101602 h 2673102"/>
                  <a:gd name="connsiteX90" fmla="*/ 926508 w 1739754"/>
                  <a:gd name="connsiteY90" fmla="*/ 2144464 h 2673102"/>
                  <a:gd name="connsiteX91" fmla="*/ 907458 w 1739754"/>
                  <a:gd name="connsiteY91" fmla="*/ 2192089 h 2673102"/>
                  <a:gd name="connsiteX92" fmla="*/ 902696 w 1739754"/>
                  <a:gd name="connsiteY92" fmla="*/ 2211139 h 2673102"/>
                  <a:gd name="connsiteX93" fmla="*/ 893171 w 1739754"/>
                  <a:gd name="connsiteY93" fmla="*/ 2239714 h 2673102"/>
                  <a:gd name="connsiteX94" fmla="*/ 897933 w 1739754"/>
                  <a:gd name="connsiteY94" fmla="*/ 2287339 h 2673102"/>
                  <a:gd name="connsiteX95" fmla="*/ 893171 w 1739754"/>
                  <a:gd name="connsiteY95" fmla="*/ 2396877 h 2673102"/>
                  <a:gd name="connsiteX96" fmla="*/ 688383 w 1739754"/>
                  <a:gd name="connsiteY96" fmla="*/ 2449264 h 2673102"/>
                  <a:gd name="connsiteX97" fmla="*/ 655046 w 1739754"/>
                  <a:gd name="connsiteY97" fmla="*/ 2473077 h 2673102"/>
                  <a:gd name="connsiteX98" fmla="*/ 607421 w 1739754"/>
                  <a:gd name="connsiteY98" fmla="*/ 2511177 h 2673102"/>
                  <a:gd name="connsiteX99" fmla="*/ 574083 w 1739754"/>
                  <a:gd name="connsiteY99" fmla="*/ 2534989 h 2673102"/>
                  <a:gd name="connsiteX100" fmla="*/ 540746 w 1739754"/>
                  <a:gd name="connsiteY100" fmla="*/ 2554039 h 2673102"/>
                  <a:gd name="connsiteX101" fmla="*/ 497883 w 1739754"/>
                  <a:gd name="connsiteY101" fmla="*/ 2587377 h 2673102"/>
                  <a:gd name="connsiteX102" fmla="*/ 483596 w 1739754"/>
                  <a:gd name="connsiteY102" fmla="*/ 2601664 h 2673102"/>
                  <a:gd name="connsiteX103" fmla="*/ 459783 w 1739754"/>
                  <a:gd name="connsiteY103" fmla="*/ 2620714 h 2673102"/>
                  <a:gd name="connsiteX104" fmla="*/ 450258 w 1739754"/>
                  <a:gd name="connsiteY104" fmla="*/ 2635002 h 2673102"/>
                  <a:gd name="connsiteX105" fmla="*/ 416921 w 1739754"/>
                  <a:gd name="connsiteY105" fmla="*/ 2654052 h 2673102"/>
                  <a:gd name="connsiteX106" fmla="*/ 374058 w 1739754"/>
                  <a:gd name="connsiteY106" fmla="*/ 2673102 h 2673102"/>
                  <a:gd name="connsiteX107" fmla="*/ 359771 w 1739754"/>
                  <a:gd name="connsiteY107" fmla="*/ 2663577 h 2673102"/>
                  <a:gd name="connsiteX108" fmla="*/ 345483 w 1739754"/>
                  <a:gd name="connsiteY108" fmla="*/ 2635002 h 2673102"/>
                  <a:gd name="connsiteX109" fmla="*/ 335958 w 1739754"/>
                  <a:gd name="connsiteY109" fmla="*/ 2620714 h 2673102"/>
                  <a:gd name="connsiteX110" fmla="*/ 297858 w 1739754"/>
                  <a:gd name="connsiteY110" fmla="*/ 2611189 h 2673102"/>
                  <a:gd name="connsiteX111" fmla="*/ 278808 w 1739754"/>
                  <a:gd name="connsiteY111" fmla="*/ 2592139 h 2673102"/>
                  <a:gd name="connsiteX112" fmla="*/ 274046 w 1739754"/>
                  <a:gd name="connsiteY112" fmla="*/ 2573089 h 2673102"/>
                  <a:gd name="connsiteX113" fmla="*/ 235946 w 1739754"/>
                  <a:gd name="connsiteY113" fmla="*/ 2539752 h 2673102"/>
                  <a:gd name="connsiteX114" fmla="*/ 231183 w 1739754"/>
                  <a:gd name="connsiteY114" fmla="*/ 2525464 h 2673102"/>
                  <a:gd name="connsiteX115" fmla="*/ 226421 w 1739754"/>
                  <a:gd name="connsiteY115" fmla="*/ 2506414 h 2673102"/>
                  <a:gd name="connsiteX116" fmla="*/ 212133 w 1739754"/>
                  <a:gd name="connsiteY116" fmla="*/ 2492127 h 2673102"/>
                  <a:gd name="connsiteX117" fmla="*/ 154983 w 1739754"/>
                  <a:gd name="connsiteY117" fmla="*/ 2439739 h 2673102"/>
                  <a:gd name="connsiteX118" fmla="*/ 150221 w 1739754"/>
                  <a:gd name="connsiteY118" fmla="*/ 2415927 h 2673102"/>
                  <a:gd name="connsiteX119" fmla="*/ 135933 w 1739754"/>
                  <a:gd name="connsiteY119" fmla="*/ 2358777 h 2673102"/>
                  <a:gd name="connsiteX120" fmla="*/ 121646 w 1739754"/>
                  <a:gd name="connsiteY120" fmla="*/ 2315914 h 2673102"/>
                  <a:gd name="connsiteX121" fmla="*/ 107358 w 1739754"/>
                  <a:gd name="connsiteY121" fmla="*/ 2258764 h 2673102"/>
                  <a:gd name="connsiteX122" fmla="*/ 102596 w 1739754"/>
                  <a:gd name="connsiteY122" fmla="*/ 2234952 h 2673102"/>
                  <a:gd name="connsiteX123" fmla="*/ 93071 w 1739754"/>
                  <a:gd name="connsiteY123" fmla="*/ 2211139 h 2673102"/>
                  <a:gd name="connsiteX124" fmla="*/ 88308 w 1739754"/>
                  <a:gd name="connsiteY124" fmla="*/ 2187327 h 2673102"/>
                  <a:gd name="connsiteX125" fmla="*/ 78783 w 1739754"/>
                  <a:gd name="connsiteY125" fmla="*/ 2111127 h 2673102"/>
                  <a:gd name="connsiteX126" fmla="*/ 97833 w 1739754"/>
                  <a:gd name="connsiteY126" fmla="*/ 1944439 h 2673102"/>
                  <a:gd name="connsiteX127" fmla="*/ 107358 w 1739754"/>
                  <a:gd name="connsiteY127" fmla="*/ 1930152 h 2673102"/>
                  <a:gd name="connsiteX128" fmla="*/ 126408 w 1739754"/>
                  <a:gd name="connsiteY128" fmla="*/ 1901577 h 2673102"/>
                  <a:gd name="connsiteX129" fmla="*/ 135933 w 1739754"/>
                  <a:gd name="connsiteY129" fmla="*/ 1868239 h 2673102"/>
                  <a:gd name="connsiteX130" fmla="*/ 131171 w 1739754"/>
                  <a:gd name="connsiteY130" fmla="*/ 1825377 h 2673102"/>
                  <a:gd name="connsiteX131" fmla="*/ 112121 w 1739754"/>
                  <a:gd name="connsiteY131" fmla="*/ 1820614 h 2673102"/>
                  <a:gd name="connsiteX132" fmla="*/ 102596 w 1739754"/>
                  <a:gd name="connsiteY132" fmla="*/ 1806327 h 2673102"/>
                  <a:gd name="connsiteX133" fmla="*/ 145458 w 1739754"/>
                  <a:gd name="connsiteY133" fmla="*/ 1720602 h 2673102"/>
                  <a:gd name="connsiteX134" fmla="*/ 159746 w 1739754"/>
                  <a:gd name="connsiteY134" fmla="*/ 1715839 h 2673102"/>
                  <a:gd name="connsiteX135" fmla="*/ 174033 w 1739754"/>
                  <a:gd name="connsiteY135" fmla="*/ 1696789 h 2673102"/>
                  <a:gd name="connsiteX136" fmla="*/ 188321 w 1739754"/>
                  <a:gd name="connsiteY136" fmla="*/ 1687264 h 2673102"/>
                  <a:gd name="connsiteX137" fmla="*/ 202608 w 1739754"/>
                  <a:gd name="connsiteY137" fmla="*/ 1653927 h 2673102"/>
                  <a:gd name="connsiteX138" fmla="*/ 193083 w 1739754"/>
                  <a:gd name="connsiteY138" fmla="*/ 1606302 h 2673102"/>
                  <a:gd name="connsiteX139" fmla="*/ 164508 w 1739754"/>
                  <a:gd name="connsiteY139" fmla="*/ 1596777 h 2673102"/>
                  <a:gd name="connsiteX140" fmla="*/ 154983 w 1739754"/>
                  <a:gd name="connsiteY140" fmla="*/ 1549152 h 2673102"/>
                  <a:gd name="connsiteX141" fmla="*/ 150221 w 1739754"/>
                  <a:gd name="connsiteY141" fmla="*/ 1411039 h 2673102"/>
                  <a:gd name="connsiteX142" fmla="*/ 140696 w 1739754"/>
                  <a:gd name="connsiteY142" fmla="*/ 1377702 h 2673102"/>
                  <a:gd name="connsiteX143" fmla="*/ 121646 w 1739754"/>
                  <a:gd name="connsiteY143" fmla="*/ 1311027 h 2673102"/>
                  <a:gd name="connsiteX144" fmla="*/ 116883 w 1739754"/>
                  <a:gd name="connsiteY144" fmla="*/ 1258639 h 2673102"/>
                  <a:gd name="connsiteX145" fmla="*/ 107358 w 1739754"/>
                  <a:gd name="connsiteY145" fmla="*/ 1244352 h 2673102"/>
                  <a:gd name="connsiteX146" fmla="*/ 93071 w 1739754"/>
                  <a:gd name="connsiteY146" fmla="*/ 1196727 h 2673102"/>
                  <a:gd name="connsiteX147" fmla="*/ 78783 w 1739754"/>
                  <a:gd name="connsiteY147" fmla="*/ 1177677 h 2673102"/>
                  <a:gd name="connsiteX148" fmla="*/ 59733 w 1739754"/>
                  <a:gd name="connsiteY148" fmla="*/ 1139577 h 2673102"/>
                  <a:gd name="connsiteX149" fmla="*/ 50208 w 1739754"/>
                  <a:gd name="connsiteY149" fmla="*/ 1111002 h 2673102"/>
                  <a:gd name="connsiteX150" fmla="*/ 45446 w 1739754"/>
                  <a:gd name="connsiteY150" fmla="*/ 1096714 h 2673102"/>
                  <a:gd name="connsiteX151" fmla="*/ 21633 w 1739754"/>
                  <a:gd name="connsiteY151" fmla="*/ 1025277 h 2673102"/>
                  <a:gd name="connsiteX152" fmla="*/ 202 w 1739754"/>
                  <a:gd name="connsiteY152" fmla="*/ 980033 h 2673102"/>
                  <a:gd name="connsiteX153" fmla="*/ 14490 w 1739754"/>
                  <a:gd name="connsiteY153" fmla="*/ 930027 h 2673102"/>
                  <a:gd name="connsiteX154" fmla="*/ 69259 w 1739754"/>
                  <a:gd name="connsiteY154" fmla="*/ 810964 h 2673102"/>
                  <a:gd name="connsiteX155" fmla="*/ 221658 w 1739754"/>
                  <a:gd name="connsiteY155" fmla="*/ 601414 h 2673102"/>
                  <a:gd name="connsiteX156" fmla="*/ 288333 w 1739754"/>
                  <a:gd name="connsiteY156" fmla="*/ 515689 h 2673102"/>
                  <a:gd name="connsiteX157" fmla="*/ 412158 w 1739754"/>
                  <a:gd name="connsiteY157" fmla="*/ 406152 h 2673102"/>
                  <a:gd name="connsiteX158" fmla="*/ 535983 w 1739754"/>
                  <a:gd name="connsiteY158" fmla="*/ 291851 h 2673102"/>
                  <a:gd name="connsiteX159" fmla="*/ 640758 w 1739754"/>
                  <a:gd name="connsiteY159" fmla="*/ 229939 h 2673102"/>
                  <a:gd name="connsiteX160" fmla="*/ 733628 w 1739754"/>
                  <a:gd name="connsiteY160" fmla="*/ 168026 h 2673102"/>
                  <a:gd name="connsiteX161" fmla="*/ 978896 w 1739754"/>
                  <a:gd name="connsiteY161" fmla="*/ 63251 h 2673102"/>
                  <a:gd name="connsiteX162" fmla="*/ 1159871 w 1739754"/>
                  <a:gd name="connsiteY162" fmla="*/ 6102 h 2673102"/>
                  <a:gd name="connsiteX163" fmla="*/ 1202733 w 1739754"/>
                  <a:gd name="connsiteY16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278933 w 1739754"/>
                  <a:gd name="connsiteY10" fmla="*/ 477589 h 2673102"/>
                  <a:gd name="connsiteX11" fmla="*/ 1293221 w 1739754"/>
                  <a:gd name="connsiteY11" fmla="*/ 487114 h 2673102"/>
                  <a:gd name="connsiteX12" fmla="*/ 1350371 w 1739754"/>
                  <a:gd name="connsiteY12" fmla="*/ 510927 h 2673102"/>
                  <a:gd name="connsiteX13" fmla="*/ 1378946 w 1739754"/>
                  <a:gd name="connsiteY13" fmla="*/ 520452 h 2673102"/>
                  <a:gd name="connsiteX14" fmla="*/ 1407521 w 1739754"/>
                  <a:gd name="connsiteY14" fmla="*/ 539502 h 2673102"/>
                  <a:gd name="connsiteX15" fmla="*/ 1469433 w 1739754"/>
                  <a:gd name="connsiteY15" fmla="*/ 568077 h 2673102"/>
                  <a:gd name="connsiteX16" fmla="*/ 1521821 w 1739754"/>
                  <a:gd name="connsiteY16" fmla="*/ 587127 h 2673102"/>
                  <a:gd name="connsiteX17" fmla="*/ 1540871 w 1739754"/>
                  <a:gd name="connsiteY17" fmla="*/ 596652 h 2673102"/>
                  <a:gd name="connsiteX18" fmla="*/ 1559921 w 1739754"/>
                  <a:gd name="connsiteY18" fmla="*/ 601414 h 2673102"/>
                  <a:gd name="connsiteX19" fmla="*/ 1607546 w 1739754"/>
                  <a:gd name="connsiteY19" fmla="*/ 639514 h 2673102"/>
                  <a:gd name="connsiteX20" fmla="*/ 1636121 w 1739754"/>
                  <a:gd name="connsiteY20" fmla="*/ 672852 h 2673102"/>
                  <a:gd name="connsiteX21" fmla="*/ 1650408 w 1739754"/>
                  <a:gd name="connsiteY21" fmla="*/ 687139 h 2673102"/>
                  <a:gd name="connsiteX22" fmla="*/ 1669458 w 1739754"/>
                  <a:gd name="connsiteY22" fmla="*/ 696664 h 2673102"/>
                  <a:gd name="connsiteX23" fmla="*/ 1683746 w 1739754"/>
                  <a:gd name="connsiteY23" fmla="*/ 706189 h 2673102"/>
                  <a:gd name="connsiteX24" fmla="*/ 1709940 w 1739754"/>
                  <a:gd name="connsiteY24" fmla="*/ 749052 h 2673102"/>
                  <a:gd name="connsiteX25" fmla="*/ 1702796 w 1739754"/>
                  <a:gd name="connsiteY25" fmla="*/ 853827 h 2673102"/>
                  <a:gd name="connsiteX26" fmla="*/ 1664696 w 1739754"/>
                  <a:gd name="connsiteY26" fmla="*/ 887164 h 2673102"/>
                  <a:gd name="connsiteX27" fmla="*/ 1650408 w 1739754"/>
                  <a:gd name="connsiteY27" fmla="*/ 901452 h 2673102"/>
                  <a:gd name="connsiteX28" fmla="*/ 1598021 w 1739754"/>
                  <a:gd name="connsiteY28" fmla="*/ 906214 h 2673102"/>
                  <a:gd name="connsiteX29" fmla="*/ 1555158 w 1739754"/>
                  <a:gd name="connsiteY29" fmla="*/ 925264 h 2673102"/>
                  <a:gd name="connsiteX30" fmla="*/ 1531346 w 1739754"/>
                  <a:gd name="connsiteY30" fmla="*/ 939552 h 2673102"/>
                  <a:gd name="connsiteX31" fmla="*/ 1498008 w 1739754"/>
                  <a:gd name="connsiteY31" fmla="*/ 987177 h 2673102"/>
                  <a:gd name="connsiteX32" fmla="*/ 1345608 w 1739754"/>
                  <a:gd name="connsiteY32" fmla="*/ 1030039 h 2673102"/>
                  <a:gd name="connsiteX33" fmla="*/ 1297983 w 1739754"/>
                  <a:gd name="connsiteY33" fmla="*/ 1053852 h 2673102"/>
                  <a:gd name="connsiteX34" fmla="*/ 1231308 w 1739754"/>
                  <a:gd name="connsiteY34" fmla="*/ 1082427 h 2673102"/>
                  <a:gd name="connsiteX35" fmla="*/ 1126533 w 1739754"/>
                  <a:gd name="connsiteY35" fmla="*/ 1096714 h 2673102"/>
                  <a:gd name="connsiteX36" fmla="*/ 1102721 w 1739754"/>
                  <a:gd name="connsiteY36" fmla="*/ 1101477 h 2673102"/>
                  <a:gd name="connsiteX37" fmla="*/ 1078908 w 1739754"/>
                  <a:gd name="connsiteY37" fmla="*/ 1111002 h 2673102"/>
                  <a:gd name="connsiteX38" fmla="*/ 964608 w 1739754"/>
                  <a:gd name="connsiteY38" fmla="*/ 1106239 h 2673102"/>
                  <a:gd name="connsiteX39" fmla="*/ 859833 w 1739754"/>
                  <a:gd name="connsiteY39" fmla="*/ 1058614 h 2673102"/>
                  <a:gd name="connsiteX40" fmla="*/ 812208 w 1739754"/>
                  <a:gd name="connsiteY40" fmla="*/ 1034802 h 2673102"/>
                  <a:gd name="connsiteX41" fmla="*/ 788396 w 1739754"/>
                  <a:gd name="connsiteY41" fmla="*/ 1020514 h 2673102"/>
                  <a:gd name="connsiteX42" fmla="*/ 769346 w 1739754"/>
                  <a:gd name="connsiteY42" fmla="*/ 1006227 h 2673102"/>
                  <a:gd name="connsiteX43" fmla="*/ 678858 w 1739754"/>
                  <a:gd name="connsiteY43" fmla="*/ 958602 h 2673102"/>
                  <a:gd name="connsiteX44" fmla="*/ 645521 w 1739754"/>
                  <a:gd name="connsiteY44" fmla="*/ 939552 h 2673102"/>
                  <a:gd name="connsiteX45" fmla="*/ 526458 w 1739754"/>
                  <a:gd name="connsiteY45" fmla="*/ 910977 h 2673102"/>
                  <a:gd name="connsiteX46" fmla="*/ 483596 w 1739754"/>
                  <a:gd name="connsiteY46" fmla="*/ 891927 h 2673102"/>
                  <a:gd name="connsiteX47" fmla="*/ 421683 w 1739754"/>
                  <a:gd name="connsiteY47" fmla="*/ 882402 h 2673102"/>
                  <a:gd name="connsiteX48" fmla="*/ 321671 w 1739754"/>
                  <a:gd name="connsiteY48" fmla="*/ 896689 h 2673102"/>
                  <a:gd name="connsiteX49" fmla="*/ 307383 w 1739754"/>
                  <a:gd name="connsiteY49" fmla="*/ 910977 h 2673102"/>
                  <a:gd name="connsiteX50" fmla="*/ 283571 w 1739754"/>
                  <a:gd name="connsiteY50" fmla="*/ 949077 h 2673102"/>
                  <a:gd name="connsiteX51" fmla="*/ 269283 w 1739754"/>
                  <a:gd name="connsiteY51" fmla="*/ 987177 h 2673102"/>
                  <a:gd name="connsiteX52" fmla="*/ 264521 w 1739754"/>
                  <a:gd name="connsiteY52" fmla="*/ 1039564 h 2673102"/>
                  <a:gd name="connsiteX53" fmla="*/ 264521 w 1739754"/>
                  <a:gd name="connsiteY53" fmla="*/ 1120527 h 2673102"/>
                  <a:gd name="connsiteX54" fmla="*/ 297858 w 1739754"/>
                  <a:gd name="connsiteY54" fmla="*/ 1153864 h 2673102"/>
                  <a:gd name="connsiteX55" fmla="*/ 326433 w 1739754"/>
                  <a:gd name="connsiteY55" fmla="*/ 1163389 h 2673102"/>
                  <a:gd name="connsiteX56" fmla="*/ 326433 w 1739754"/>
                  <a:gd name="connsiteY56" fmla="*/ 1244352 h 2673102"/>
                  <a:gd name="connsiteX57" fmla="*/ 312146 w 1739754"/>
                  <a:gd name="connsiteY57" fmla="*/ 1258639 h 2673102"/>
                  <a:gd name="connsiteX58" fmla="*/ 259758 w 1739754"/>
                  <a:gd name="connsiteY58" fmla="*/ 1296739 h 2673102"/>
                  <a:gd name="connsiteX59" fmla="*/ 240708 w 1739754"/>
                  <a:gd name="connsiteY59" fmla="*/ 1325314 h 2673102"/>
                  <a:gd name="connsiteX60" fmla="*/ 250233 w 1739754"/>
                  <a:gd name="connsiteY60" fmla="*/ 1425327 h 2673102"/>
                  <a:gd name="connsiteX61" fmla="*/ 278808 w 1739754"/>
                  <a:gd name="connsiteY61" fmla="*/ 1472952 h 2673102"/>
                  <a:gd name="connsiteX62" fmla="*/ 293096 w 1739754"/>
                  <a:gd name="connsiteY62" fmla="*/ 1492002 h 2673102"/>
                  <a:gd name="connsiteX63" fmla="*/ 383583 w 1739754"/>
                  <a:gd name="connsiteY63" fmla="*/ 1525339 h 2673102"/>
                  <a:gd name="connsiteX64" fmla="*/ 407396 w 1739754"/>
                  <a:gd name="connsiteY64" fmla="*/ 1492002 h 2673102"/>
                  <a:gd name="connsiteX65" fmla="*/ 412158 w 1739754"/>
                  <a:gd name="connsiteY65" fmla="*/ 1468189 h 2673102"/>
                  <a:gd name="connsiteX66" fmla="*/ 416921 w 1739754"/>
                  <a:gd name="connsiteY66" fmla="*/ 1449139 h 2673102"/>
                  <a:gd name="connsiteX67" fmla="*/ 445496 w 1739754"/>
                  <a:gd name="connsiteY67" fmla="*/ 1439614 h 2673102"/>
                  <a:gd name="connsiteX68" fmla="*/ 545508 w 1739754"/>
                  <a:gd name="connsiteY68" fmla="*/ 1458664 h 2673102"/>
                  <a:gd name="connsiteX69" fmla="*/ 555033 w 1739754"/>
                  <a:gd name="connsiteY69" fmla="*/ 1482477 h 2673102"/>
                  <a:gd name="connsiteX70" fmla="*/ 564558 w 1739754"/>
                  <a:gd name="connsiteY70" fmla="*/ 1515814 h 2673102"/>
                  <a:gd name="connsiteX71" fmla="*/ 550271 w 1739754"/>
                  <a:gd name="connsiteY71" fmla="*/ 1534864 h 2673102"/>
                  <a:gd name="connsiteX72" fmla="*/ 550271 w 1739754"/>
                  <a:gd name="connsiteY72" fmla="*/ 1601539 h 2673102"/>
                  <a:gd name="connsiteX73" fmla="*/ 559796 w 1739754"/>
                  <a:gd name="connsiteY73" fmla="*/ 1620589 h 2673102"/>
                  <a:gd name="connsiteX74" fmla="*/ 626471 w 1739754"/>
                  <a:gd name="connsiteY74" fmla="*/ 1639639 h 2673102"/>
                  <a:gd name="connsiteX75" fmla="*/ 645521 w 1739754"/>
                  <a:gd name="connsiteY75" fmla="*/ 1592014 h 2673102"/>
                  <a:gd name="connsiteX76" fmla="*/ 702671 w 1739754"/>
                  <a:gd name="connsiteY76" fmla="*/ 1620589 h 2673102"/>
                  <a:gd name="connsiteX77" fmla="*/ 731246 w 1739754"/>
                  <a:gd name="connsiteY77" fmla="*/ 1630114 h 2673102"/>
                  <a:gd name="connsiteX78" fmla="*/ 783633 w 1739754"/>
                  <a:gd name="connsiteY78" fmla="*/ 1663452 h 2673102"/>
                  <a:gd name="connsiteX79" fmla="*/ 859833 w 1739754"/>
                  <a:gd name="connsiteY79" fmla="*/ 1687264 h 2673102"/>
                  <a:gd name="connsiteX80" fmla="*/ 878883 w 1739754"/>
                  <a:gd name="connsiteY80" fmla="*/ 1701552 h 2673102"/>
                  <a:gd name="connsiteX81" fmla="*/ 888408 w 1739754"/>
                  <a:gd name="connsiteY81" fmla="*/ 1739652 h 2673102"/>
                  <a:gd name="connsiteX82" fmla="*/ 897933 w 1739754"/>
                  <a:gd name="connsiteY82" fmla="*/ 1782514 h 2673102"/>
                  <a:gd name="connsiteX83" fmla="*/ 940796 w 1739754"/>
                  <a:gd name="connsiteY83" fmla="*/ 1892052 h 2673102"/>
                  <a:gd name="connsiteX84" fmla="*/ 950321 w 1739754"/>
                  <a:gd name="connsiteY84" fmla="*/ 1906339 h 2673102"/>
                  <a:gd name="connsiteX85" fmla="*/ 959846 w 1739754"/>
                  <a:gd name="connsiteY85" fmla="*/ 1939677 h 2673102"/>
                  <a:gd name="connsiteX86" fmla="*/ 974133 w 1739754"/>
                  <a:gd name="connsiteY86" fmla="*/ 1977777 h 2673102"/>
                  <a:gd name="connsiteX87" fmla="*/ 964608 w 1739754"/>
                  <a:gd name="connsiteY87" fmla="*/ 2082552 h 2673102"/>
                  <a:gd name="connsiteX88" fmla="*/ 955083 w 1739754"/>
                  <a:gd name="connsiteY88" fmla="*/ 2101602 h 2673102"/>
                  <a:gd name="connsiteX89" fmla="*/ 926508 w 1739754"/>
                  <a:gd name="connsiteY89" fmla="*/ 2144464 h 2673102"/>
                  <a:gd name="connsiteX90" fmla="*/ 907458 w 1739754"/>
                  <a:gd name="connsiteY90" fmla="*/ 2192089 h 2673102"/>
                  <a:gd name="connsiteX91" fmla="*/ 902696 w 1739754"/>
                  <a:gd name="connsiteY91" fmla="*/ 2211139 h 2673102"/>
                  <a:gd name="connsiteX92" fmla="*/ 893171 w 1739754"/>
                  <a:gd name="connsiteY92" fmla="*/ 2239714 h 2673102"/>
                  <a:gd name="connsiteX93" fmla="*/ 897933 w 1739754"/>
                  <a:gd name="connsiteY93" fmla="*/ 2287339 h 2673102"/>
                  <a:gd name="connsiteX94" fmla="*/ 893171 w 1739754"/>
                  <a:gd name="connsiteY94" fmla="*/ 2396877 h 2673102"/>
                  <a:gd name="connsiteX95" fmla="*/ 688383 w 1739754"/>
                  <a:gd name="connsiteY95" fmla="*/ 2449264 h 2673102"/>
                  <a:gd name="connsiteX96" fmla="*/ 655046 w 1739754"/>
                  <a:gd name="connsiteY96" fmla="*/ 2473077 h 2673102"/>
                  <a:gd name="connsiteX97" fmla="*/ 607421 w 1739754"/>
                  <a:gd name="connsiteY97" fmla="*/ 2511177 h 2673102"/>
                  <a:gd name="connsiteX98" fmla="*/ 574083 w 1739754"/>
                  <a:gd name="connsiteY98" fmla="*/ 2534989 h 2673102"/>
                  <a:gd name="connsiteX99" fmla="*/ 540746 w 1739754"/>
                  <a:gd name="connsiteY99" fmla="*/ 2554039 h 2673102"/>
                  <a:gd name="connsiteX100" fmla="*/ 497883 w 1739754"/>
                  <a:gd name="connsiteY100" fmla="*/ 2587377 h 2673102"/>
                  <a:gd name="connsiteX101" fmla="*/ 483596 w 1739754"/>
                  <a:gd name="connsiteY101" fmla="*/ 2601664 h 2673102"/>
                  <a:gd name="connsiteX102" fmla="*/ 459783 w 1739754"/>
                  <a:gd name="connsiteY102" fmla="*/ 2620714 h 2673102"/>
                  <a:gd name="connsiteX103" fmla="*/ 450258 w 1739754"/>
                  <a:gd name="connsiteY103" fmla="*/ 2635002 h 2673102"/>
                  <a:gd name="connsiteX104" fmla="*/ 416921 w 1739754"/>
                  <a:gd name="connsiteY104" fmla="*/ 2654052 h 2673102"/>
                  <a:gd name="connsiteX105" fmla="*/ 374058 w 1739754"/>
                  <a:gd name="connsiteY105" fmla="*/ 2673102 h 2673102"/>
                  <a:gd name="connsiteX106" fmla="*/ 359771 w 1739754"/>
                  <a:gd name="connsiteY106" fmla="*/ 2663577 h 2673102"/>
                  <a:gd name="connsiteX107" fmla="*/ 345483 w 1739754"/>
                  <a:gd name="connsiteY107" fmla="*/ 2635002 h 2673102"/>
                  <a:gd name="connsiteX108" fmla="*/ 335958 w 1739754"/>
                  <a:gd name="connsiteY108" fmla="*/ 2620714 h 2673102"/>
                  <a:gd name="connsiteX109" fmla="*/ 297858 w 1739754"/>
                  <a:gd name="connsiteY109" fmla="*/ 2611189 h 2673102"/>
                  <a:gd name="connsiteX110" fmla="*/ 278808 w 1739754"/>
                  <a:gd name="connsiteY110" fmla="*/ 2592139 h 2673102"/>
                  <a:gd name="connsiteX111" fmla="*/ 274046 w 1739754"/>
                  <a:gd name="connsiteY111" fmla="*/ 2573089 h 2673102"/>
                  <a:gd name="connsiteX112" fmla="*/ 235946 w 1739754"/>
                  <a:gd name="connsiteY112" fmla="*/ 2539752 h 2673102"/>
                  <a:gd name="connsiteX113" fmla="*/ 231183 w 1739754"/>
                  <a:gd name="connsiteY113" fmla="*/ 2525464 h 2673102"/>
                  <a:gd name="connsiteX114" fmla="*/ 226421 w 1739754"/>
                  <a:gd name="connsiteY114" fmla="*/ 2506414 h 2673102"/>
                  <a:gd name="connsiteX115" fmla="*/ 212133 w 1739754"/>
                  <a:gd name="connsiteY115" fmla="*/ 2492127 h 2673102"/>
                  <a:gd name="connsiteX116" fmla="*/ 154983 w 1739754"/>
                  <a:gd name="connsiteY116" fmla="*/ 2439739 h 2673102"/>
                  <a:gd name="connsiteX117" fmla="*/ 150221 w 1739754"/>
                  <a:gd name="connsiteY117" fmla="*/ 2415927 h 2673102"/>
                  <a:gd name="connsiteX118" fmla="*/ 135933 w 1739754"/>
                  <a:gd name="connsiteY118" fmla="*/ 2358777 h 2673102"/>
                  <a:gd name="connsiteX119" fmla="*/ 121646 w 1739754"/>
                  <a:gd name="connsiteY119" fmla="*/ 2315914 h 2673102"/>
                  <a:gd name="connsiteX120" fmla="*/ 107358 w 1739754"/>
                  <a:gd name="connsiteY120" fmla="*/ 2258764 h 2673102"/>
                  <a:gd name="connsiteX121" fmla="*/ 102596 w 1739754"/>
                  <a:gd name="connsiteY121" fmla="*/ 2234952 h 2673102"/>
                  <a:gd name="connsiteX122" fmla="*/ 93071 w 1739754"/>
                  <a:gd name="connsiteY122" fmla="*/ 2211139 h 2673102"/>
                  <a:gd name="connsiteX123" fmla="*/ 88308 w 1739754"/>
                  <a:gd name="connsiteY123" fmla="*/ 2187327 h 2673102"/>
                  <a:gd name="connsiteX124" fmla="*/ 78783 w 1739754"/>
                  <a:gd name="connsiteY124" fmla="*/ 2111127 h 2673102"/>
                  <a:gd name="connsiteX125" fmla="*/ 97833 w 1739754"/>
                  <a:gd name="connsiteY125" fmla="*/ 1944439 h 2673102"/>
                  <a:gd name="connsiteX126" fmla="*/ 107358 w 1739754"/>
                  <a:gd name="connsiteY126" fmla="*/ 1930152 h 2673102"/>
                  <a:gd name="connsiteX127" fmla="*/ 126408 w 1739754"/>
                  <a:gd name="connsiteY127" fmla="*/ 1901577 h 2673102"/>
                  <a:gd name="connsiteX128" fmla="*/ 135933 w 1739754"/>
                  <a:gd name="connsiteY128" fmla="*/ 1868239 h 2673102"/>
                  <a:gd name="connsiteX129" fmla="*/ 131171 w 1739754"/>
                  <a:gd name="connsiteY129" fmla="*/ 1825377 h 2673102"/>
                  <a:gd name="connsiteX130" fmla="*/ 112121 w 1739754"/>
                  <a:gd name="connsiteY130" fmla="*/ 1820614 h 2673102"/>
                  <a:gd name="connsiteX131" fmla="*/ 102596 w 1739754"/>
                  <a:gd name="connsiteY131" fmla="*/ 1806327 h 2673102"/>
                  <a:gd name="connsiteX132" fmla="*/ 145458 w 1739754"/>
                  <a:gd name="connsiteY132" fmla="*/ 1720602 h 2673102"/>
                  <a:gd name="connsiteX133" fmla="*/ 159746 w 1739754"/>
                  <a:gd name="connsiteY133" fmla="*/ 1715839 h 2673102"/>
                  <a:gd name="connsiteX134" fmla="*/ 174033 w 1739754"/>
                  <a:gd name="connsiteY134" fmla="*/ 1696789 h 2673102"/>
                  <a:gd name="connsiteX135" fmla="*/ 188321 w 1739754"/>
                  <a:gd name="connsiteY135" fmla="*/ 1687264 h 2673102"/>
                  <a:gd name="connsiteX136" fmla="*/ 202608 w 1739754"/>
                  <a:gd name="connsiteY136" fmla="*/ 1653927 h 2673102"/>
                  <a:gd name="connsiteX137" fmla="*/ 193083 w 1739754"/>
                  <a:gd name="connsiteY137" fmla="*/ 1606302 h 2673102"/>
                  <a:gd name="connsiteX138" fmla="*/ 164508 w 1739754"/>
                  <a:gd name="connsiteY138" fmla="*/ 1596777 h 2673102"/>
                  <a:gd name="connsiteX139" fmla="*/ 154983 w 1739754"/>
                  <a:gd name="connsiteY139" fmla="*/ 1549152 h 2673102"/>
                  <a:gd name="connsiteX140" fmla="*/ 150221 w 1739754"/>
                  <a:gd name="connsiteY140" fmla="*/ 1411039 h 2673102"/>
                  <a:gd name="connsiteX141" fmla="*/ 140696 w 1739754"/>
                  <a:gd name="connsiteY141" fmla="*/ 1377702 h 2673102"/>
                  <a:gd name="connsiteX142" fmla="*/ 121646 w 1739754"/>
                  <a:gd name="connsiteY142" fmla="*/ 1311027 h 2673102"/>
                  <a:gd name="connsiteX143" fmla="*/ 116883 w 1739754"/>
                  <a:gd name="connsiteY143" fmla="*/ 1258639 h 2673102"/>
                  <a:gd name="connsiteX144" fmla="*/ 107358 w 1739754"/>
                  <a:gd name="connsiteY144" fmla="*/ 1244352 h 2673102"/>
                  <a:gd name="connsiteX145" fmla="*/ 93071 w 1739754"/>
                  <a:gd name="connsiteY145" fmla="*/ 1196727 h 2673102"/>
                  <a:gd name="connsiteX146" fmla="*/ 78783 w 1739754"/>
                  <a:gd name="connsiteY146" fmla="*/ 1177677 h 2673102"/>
                  <a:gd name="connsiteX147" fmla="*/ 59733 w 1739754"/>
                  <a:gd name="connsiteY147" fmla="*/ 1139577 h 2673102"/>
                  <a:gd name="connsiteX148" fmla="*/ 50208 w 1739754"/>
                  <a:gd name="connsiteY148" fmla="*/ 1111002 h 2673102"/>
                  <a:gd name="connsiteX149" fmla="*/ 45446 w 1739754"/>
                  <a:gd name="connsiteY149" fmla="*/ 1096714 h 2673102"/>
                  <a:gd name="connsiteX150" fmla="*/ 21633 w 1739754"/>
                  <a:gd name="connsiteY150" fmla="*/ 1025277 h 2673102"/>
                  <a:gd name="connsiteX151" fmla="*/ 202 w 1739754"/>
                  <a:gd name="connsiteY151" fmla="*/ 980033 h 2673102"/>
                  <a:gd name="connsiteX152" fmla="*/ 14490 w 1739754"/>
                  <a:gd name="connsiteY152" fmla="*/ 930027 h 2673102"/>
                  <a:gd name="connsiteX153" fmla="*/ 69259 w 1739754"/>
                  <a:gd name="connsiteY153" fmla="*/ 810964 h 2673102"/>
                  <a:gd name="connsiteX154" fmla="*/ 221658 w 1739754"/>
                  <a:gd name="connsiteY154" fmla="*/ 601414 h 2673102"/>
                  <a:gd name="connsiteX155" fmla="*/ 288333 w 1739754"/>
                  <a:gd name="connsiteY155" fmla="*/ 515689 h 2673102"/>
                  <a:gd name="connsiteX156" fmla="*/ 412158 w 1739754"/>
                  <a:gd name="connsiteY156" fmla="*/ 406152 h 2673102"/>
                  <a:gd name="connsiteX157" fmla="*/ 535983 w 1739754"/>
                  <a:gd name="connsiteY157" fmla="*/ 291851 h 2673102"/>
                  <a:gd name="connsiteX158" fmla="*/ 640758 w 1739754"/>
                  <a:gd name="connsiteY158" fmla="*/ 229939 h 2673102"/>
                  <a:gd name="connsiteX159" fmla="*/ 733628 w 1739754"/>
                  <a:gd name="connsiteY159" fmla="*/ 168026 h 2673102"/>
                  <a:gd name="connsiteX160" fmla="*/ 978896 w 1739754"/>
                  <a:gd name="connsiteY160" fmla="*/ 63251 h 2673102"/>
                  <a:gd name="connsiteX161" fmla="*/ 1159871 w 1739754"/>
                  <a:gd name="connsiteY161" fmla="*/ 6102 h 2673102"/>
                  <a:gd name="connsiteX162" fmla="*/ 1202733 w 1739754"/>
                  <a:gd name="connsiteY16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293221 w 1739754"/>
                  <a:gd name="connsiteY10" fmla="*/ 487114 h 2673102"/>
                  <a:gd name="connsiteX11" fmla="*/ 1350371 w 1739754"/>
                  <a:gd name="connsiteY11" fmla="*/ 510927 h 2673102"/>
                  <a:gd name="connsiteX12" fmla="*/ 1378946 w 1739754"/>
                  <a:gd name="connsiteY12" fmla="*/ 520452 h 2673102"/>
                  <a:gd name="connsiteX13" fmla="*/ 1407521 w 1739754"/>
                  <a:gd name="connsiteY13" fmla="*/ 539502 h 2673102"/>
                  <a:gd name="connsiteX14" fmla="*/ 1469433 w 1739754"/>
                  <a:gd name="connsiteY14" fmla="*/ 568077 h 2673102"/>
                  <a:gd name="connsiteX15" fmla="*/ 1521821 w 1739754"/>
                  <a:gd name="connsiteY15" fmla="*/ 587127 h 2673102"/>
                  <a:gd name="connsiteX16" fmla="*/ 1540871 w 1739754"/>
                  <a:gd name="connsiteY16" fmla="*/ 596652 h 2673102"/>
                  <a:gd name="connsiteX17" fmla="*/ 1559921 w 1739754"/>
                  <a:gd name="connsiteY17" fmla="*/ 601414 h 2673102"/>
                  <a:gd name="connsiteX18" fmla="*/ 1607546 w 1739754"/>
                  <a:gd name="connsiteY18" fmla="*/ 639514 h 2673102"/>
                  <a:gd name="connsiteX19" fmla="*/ 1636121 w 1739754"/>
                  <a:gd name="connsiteY19" fmla="*/ 672852 h 2673102"/>
                  <a:gd name="connsiteX20" fmla="*/ 1650408 w 1739754"/>
                  <a:gd name="connsiteY20" fmla="*/ 687139 h 2673102"/>
                  <a:gd name="connsiteX21" fmla="*/ 1669458 w 1739754"/>
                  <a:gd name="connsiteY21" fmla="*/ 696664 h 2673102"/>
                  <a:gd name="connsiteX22" fmla="*/ 1683746 w 1739754"/>
                  <a:gd name="connsiteY22" fmla="*/ 706189 h 2673102"/>
                  <a:gd name="connsiteX23" fmla="*/ 1709940 w 1739754"/>
                  <a:gd name="connsiteY23" fmla="*/ 749052 h 2673102"/>
                  <a:gd name="connsiteX24" fmla="*/ 1702796 w 1739754"/>
                  <a:gd name="connsiteY24" fmla="*/ 853827 h 2673102"/>
                  <a:gd name="connsiteX25" fmla="*/ 1664696 w 1739754"/>
                  <a:gd name="connsiteY25" fmla="*/ 887164 h 2673102"/>
                  <a:gd name="connsiteX26" fmla="*/ 1650408 w 1739754"/>
                  <a:gd name="connsiteY26" fmla="*/ 901452 h 2673102"/>
                  <a:gd name="connsiteX27" fmla="*/ 1598021 w 1739754"/>
                  <a:gd name="connsiteY27" fmla="*/ 906214 h 2673102"/>
                  <a:gd name="connsiteX28" fmla="*/ 1555158 w 1739754"/>
                  <a:gd name="connsiteY28" fmla="*/ 925264 h 2673102"/>
                  <a:gd name="connsiteX29" fmla="*/ 1531346 w 1739754"/>
                  <a:gd name="connsiteY29" fmla="*/ 939552 h 2673102"/>
                  <a:gd name="connsiteX30" fmla="*/ 1498008 w 1739754"/>
                  <a:gd name="connsiteY30" fmla="*/ 987177 h 2673102"/>
                  <a:gd name="connsiteX31" fmla="*/ 1345608 w 1739754"/>
                  <a:gd name="connsiteY31" fmla="*/ 1030039 h 2673102"/>
                  <a:gd name="connsiteX32" fmla="*/ 1297983 w 1739754"/>
                  <a:gd name="connsiteY32" fmla="*/ 1053852 h 2673102"/>
                  <a:gd name="connsiteX33" fmla="*/ 1231308 w 1739754"/>
                  <a:gd name="connsiteY33" fmla="*/ 1082427 h 2673102"/>
                  <a:gd name="connsiteX34" fmla="*/ 1126533 w 1739754"/>
                  <a:gd name="connsiteY34" fmla="*/ 1096714 h 2673102"/>
                  <a:gd name="connsiteX35" fmla="*/ 1102721 w 1739754"/>
                  <a:gd name="connsiteY35" fmla="*/ 1101477 h 2673102"/>
                  <a:gd name="connsiteX36" fmla="*/ 1078908 w 1739754"/>
                  <a:gd name="connsiteY36" fmla="*/ 1111002 h 2673102"/>
                  <a:gd name="connsiteX37" fmla="*/ 964608 w 1739754"/>
                  <a:gd name="connsiteY37" fmla="*/ 1106239 h 2673102"/>
                  <a:gd name="connsiteX38" fmla="*/ 859833 w 1739754"/>
                  <a:gd name="connsiteY38" fmla="*/ 1058614 h 2673102"/>
                  <a:gd name="connsiteX39" fmla="*/ 812208 w 1739754"/>
                  <a:gd name="connsiteY39" fmla="*/ 1034802 h 2673102"/>
                  <a:gd name="connsiteX40" fmla="*/ 788396 w 1739754"/>
                  <a:gd name="connsiteY40" fmla="*/ 1020514 h 2673102"/>
                  <a:gd name="connsiteX41" fmla="*/ 769346 w 1739754"/>
                  <a:gd name="connsiteY41" fmla="*/ 1006227 h 2673102"/>
                  <a:gd name="connsiteX42" fmla="*/ 678858 w 1739754"/>
                  <a:gd name="connsiteY42" fmla="*/ 958602 h 2673102"/>
                  <a:gd name="connsiteX43" fmla="*/ 645521 w 1739754"/>
                  <a:gd name="connsiteY43" fmla="*/ 939552 h 2673102"/>
                  <a:gd name="connsiteX44" fmla="*/ 526458 w 1739754"/>
                  <a:gd name="connsiteY44" fmla="*/ 910977 h 2673102"/>
                  <a:gd name="connsiteX45" fmla="*/ 483596 w 1739754"/>
                  <a:gd name="connsiteY45" fmla="*/ 891927 h 2673102"/>
                  <a:gd name="connsiteX46" fmla="*/ 421683 w 1739754"/>
                  <a:gd name="connsiteY46" fmla="*/ 882402 h 2673102"/>
                  <a:gd name="connsiteX47" fmla="*/ 321671 w 1739754"/>
                  <a:gd name="connsiteY47" fmla="*/ 896689 h 2673102"/>
                  <a:gd name="connsiteX48" fmla="*/ 307383 w 1739754"/>
                  <a:gd name="connsiteY48" fmla="*/ 910977 h 2673102"/>
                  <a:gd name="connsiteX49" fmla="*/ 283571 w 1739754"/>
                  <a:gd name="connsiteY49" fmla="*/ 949077 h 2673102"/>
                  <a:gd name="connsiteX50" fmla="*/ 269283 w 1739754"/>
                  <a:gd name="connsiteY50" fmla="*/ 987177 h 2673102"/>
                  <a:gd name="connsiteX51" fmla="*/ 264521 w 1739754"/>
                  <a:gd name="connsiteY51" fmla="*/ 1039564 h 2673102"/>
                  <a:gd name="connsiteX52" fmla="*/ 264521 w 1739754"/>
                  <a:gd name="connsiteY52" fmla="*/ 1120527 h 2673102"/>
                  <a:gd name="connsiteX53" fmla="*/ 297858 w 1739754"/>
                  <a:gd name="connsiteY53" fmla="*/ 1153864 h 2673102"/>
                  <a:gd name="connsiteX54" fmla="*/ 326433 w 1739754"/>
                  <a:gd name="connsiteY54" fmla="*/ 1163389 h 2673102"/>
                  <a:gd name="connsiteX55" fmla="*/ 326433 w 1739754"/>
                  <a:gd name="connsiteY55" fmla="*/ 1244352 h 2673102"/>
                  <a:gd name="connsiteX56" fmla="*/ 312146 w 1739754"/>
                  <a:gd name="connsiteY56" fmla="*/ 1258639 h 2673102"/>
                  <a:gd name="connsiteX57" fmla="*/ 259758 w 1739754"/>
                  <a:gd name="connsiteY57" fmla="*/ 1296739 h 2673102"/>
                  <a:gd name="connsiteX58" fmla="*/ 240708 w 1739754"/>
                  <a:gd name="connsiteY58" fmla="*/ 1325314 h 2673102"/>
                  <a:gd name="connsiteX59" fmla="*/ 250233 w 1739754"/>
                  <a:gd name="connsiteY59" fmla="*/ 1425327 h 2673102"/>
                  <a:gd name="connsiteX60" fmla="*/ 278808 w 1739754"/>
                  <a:gd name="connsiteY60" fmla="*/ 1472952 h 2673102"/>
                  <a:gd name="connsiteX61" fmla="*/ 293096 w 1739754"/>
                  <a:gd name="connsiteY61" fmla="*/ 1492002 h 2673102"/>
                  <a:gd name="connsiteX62" fmla="*/ 383583 w 1739754"/>
                  <a:gd name="connsiteY62" fmla="*/ 1525339 h 2673102"/>
                  <a:gd name="connsiteX63" fmla="*/ 407396 w 1739754"/>
                  <a:gd name="connsiteY63" fmla="*/ 1492002 h 2673102"/>
                  <a:gd name="connsiteX64" fmla="*/ 412158 w 1739754"/>
                  <a:gd name="connsiteY64" fmla="*/ 1468189 h 2673102"/>
                  <a:gd name="connsiteX65" fmla="*/ 416921 w 1739754"/>
                  <a:gd name="connsiteY65" fmla="*/ 1449139 h 2673102"/>
                  <a:gd name="connsiteX66" fmla="*/ 445496 w 1739754"/>
                  <a:gd name="connsiteY66" fmla="*/ 1439614 h 2673102"/>
                  <a:gd name="connsiteX67" fmla="*/ 545508 w 1739754"/>
                  <a:gd name="connsiteY67" fmla="*/ 1458664 h 2673102"/>
                  <a:gd name="connsiteX68" fmla="*/ 555033 w 1739754"/>
                  <a:gd name="connsiteY68" fmla="*/ 1482477 h 2673102"/>
                  <a:gd name="connsiteX69" fmla="*/ 564558 w 1739754"/>
                  <a:gd name="connsiteY69" fmla="*/ 1515814 h 2673102"/>
                  <a:gd name="connsiteX70" fmla="*/ 550271 w 1739754"/>
                  <a:gd name="connsiteY70" fmla="*/ 1534864 h 2673102"/>
                  <a:gd name="connsiteX71" fmla="*/ 550271 w 1739754"/>
                  <a:gd name="connsiteY71" fmla="*/ 1601539 h 2673102"/>
                  <a:gd name="connsiteX72" fmla="*/ 559796 w 1739754"/>
                  <a:gd name="connsiteY72" fmla="*/ 1620589 h 2673102"/>
                  <a:gd name="connsiteX73" fmla="*/ 626471 w 1739754"/>
                  <a:gd name="connsiteY73" fmla="*/ 1639639 h 2673102"/>
                  <a:gd name="connsiteX74" fmla="*/ 645521 w 1739754"/>
                  <a:gd name="connsiteY74" fmla="*/ 1592014 h 2673102"/>
                  <a:gd name="connsiteX75" fmla="*/ 702671 w 1739754"/>
                  <a:gd name="connsiteY75" fmla="*/ 1620589 h 2673102"/>
                  <a:gd name="connsiteX76" fmla="*/ 731246 w 1739754"/>
                  <a:gd name="connsiteY76" fmla="*/ 1630114 h 2673102"/>
                  <a:gd name="connsiteX77" fmla="*/ 783633 w 1739754"/>
                  <a:gd name="connsiteY77" fmla="*/ 1663452 h 2673102"/>
                  <a:gd name="connsiteX78" fmla="*/ 859833 w 1739754"/>
                  <a:gd name="connsiteY78" fmla="*/ 1687264 h 2673102"/>
                  <a:gd name="connsiteX79" fmla="*/ 878883 w 1739754"/>
                  <a:gd name="connsiteY79" fmla="*/ 1701552 h 2673102"/>
                  <a:gd name="connsiteX80" fmla="*/ 888408 w 1739754"/>
                  <a:gd name="connsiteY80" fmla="*/ 1739652 h 2673102"/>
                  <a:gd name="connsiteX81" fmla="*/ 897933 w 1739754"/>
                  <a:gd name="connsiteY81" fmla="*/ 1782514 h 2673102"/>
                  <a:gd name="connsiteX82" fmla="*/ 940796 w 1739754"/>
                  <a:gd name="connsiteY82" fmla="*/ 1892052 h 2673102"/>
                  <a:gd name="connsiteX83" fmla="*/ 950321 w 1739754"/>
                  <a:gd name="connsiteY83" fmla="*/ 1906339 h 2673102"/>
                  <a:gd name="connsiteX84" fmla="*/ 959846 w 1739754"/>
                  <a:gd name="connsiteY84" fmla="*/ 1939677 h 2673102"/>
                  <a:gd name="connsiteX85" fmla="*/ 974133 w 1739754"/>
                  <a:gd name="connsiteY85" fmla="*/ 1977777 h 2673102"/>
                  <a:gd name="connsiteX86" fmla="*/ 964608 w 1739754"/>
                  <a:gd name="connsiteY86" fmla="*/ 2082552 h 2673102"/>
                  <a:gd name="connsiteX87" fmla="*/ 955083 w 1739754"/>
                  <a:gd name="connsiteY87" fmla="*/ 2101602 h 2673102"/>
                  <a:gd name="connsiteX88" fmla="*/ 926508 w 1739754"/>
                  <a:gd name="connsiteY88" fmla="*/ 2144464 h 2673102"/>
                  <a:gd name="connsiteX89" fmla="*/ 907458 w 1739754"/>
                  <a:gd name="connsiteY89" fmla="*/ 2192089 h 2673102"/>
                  <a:gd name="connsiteX90" fmla="*/ 902696 w 1739754"/>
                  <a:gd name="connsiteY90" fmla="*/ 2211139 h 2673102"/>
                  <a:gd name="connsiteX91" fmla="*/ 893171 w 1739754"/>
                  <a:gd name="connsiteY91" fmla="*/ 2239714 h 2673102"/>
                  <a:gd name="connsiteX92" fmla="*/ 897933 w 1739754"/>
                  <a:gd name="connsiteY92" fmla="*/ 2287339 h 2673102"/>
                  <a:gd name="connsiteX93" fmla="*/ 893171 w 1739754"/>
                  <a:gd name="connsiteY93" fmla="*/ 2396877 h 2673102"/>
                  <a:gd name="connsiteX94" fmla="*/ 688383 w 1739754"/>
                  <a:gd name="connsiteY94" fmla="*/ 2449264 h 2673102"/>
                  <a:gd name="connsiteX95" fmla="*/ 655046 w 1739754"/>
                  <a:gd name="connsiteY95" fmla="*/ 2473077 h 2673102"/>
                  <a:gd name="connsiteX96" fmla="*/ 607421 w 1739754"/>
                  <a:gd name="connsiteY96" fmla="*/ 2511177 h 2673102"/>
                  <a:gd name="connsiteX97" fmla="*/ 574083 w 1739754"/>
                  <a:gd name="connsiteY97" fmla="*/ 2534989 h 2673102"/>
                  <a:gd name="connsiteX98" fmla="*/ 540746 w 1739754"/>
                  <a:gd name="connsiteY98" fmla="*/ 2554039 h 2673102"/>
                  <a:gd name="connsiteX99" fmla="*/ 497883 w 1739754"/>
                  <a:gd name="connsiteY99" fmla="*/ 2587377 h 2673102"/>
                  <a:gd name="connsiteX100" fmla="*/ 483596 w 1739754"/>
                  <a:gd name="connsiteY100" fmla="*/ 2601664 h 2673102"/>
                  <a:gd name="connsiteX101" fmla="*/ 459783 w 1739754"/>
                  <a:gd name="connsiteY101" fmla="*/ 2620714 h 2673102"/>
                  <a:gd name="connsiteX102" fmla="*/ 450258 w 1739754"/>
                  <a:gd name="connsiteY102" fmla="*/ 2635002 h 2673102"/>
                  <a:gd name="connsiteX103" fmla="*/ 416921 w 1739754"/>
                  <a:gd name="connsiteY103" fmla="*/ 2654052 h 2673102"/>
                  <a:gd name="connsiteX104" fmla="*/ 374058 w 1739754"/>
                  <a:gd name="connsiteY104" fmla="*/ 2673102 h 2673102"/>
                  <a:gd name="connsiteX105" fmla="*/ 359771 w 1739754"/>
                  <a:gd name="connsiteY105" fmla="*/ 2663577 h 2673102"/>
                  <a:gd name="connsiteX106" fmla="*/ 345483 w 1739754"/>
                  <a:gd name="connsiteY106" fmla="*/ 2635002 h 2673102"/>
                  <a:gd name="connsiteX107" fmla="*/ 335958 w 1739754"/>
                  <a:gd name="connsiteY107" fmla="*/ 2620714 h 2673102"/>
                  <a:gd name="connsiteX108" fmla="*/ 297858 w 1739754"/>
                  <a:gd name="connsiteY108" fmla="*/ 2611189 h 2673102"/>
                  <a:gd name="connsiteX109" fmla="*/ 278808 w 1739754"/>
                  <a:gd name="connsiteY109" fmla="*/ 2592139 h 2673102"/>
                  <a:gd name="connsiteX110" fmla="*/ 274046 w 1739754"/>
                  <a:gd name="connsiteY110" fmla="*/ 2573089 h 2673102"/>
                  <a:gd name="connsiteX111" fmla="*/ 235946 w 1739754"/>
                  <a:gd name="connsiteY111" fmla="*/ 2539752 h 2673102"/>
                  <a:gd name="connsiteX112" fmla="*/ 231183 w 1739754"/>
                  <a:gd name="connsiteY112" fmla="*/ 2525464 h 2673102"/>
                  <a:gd name="connsiteX113" fmla="*/ 226421 w 1739754"/>
                  <a:gd name="connsiteY113" fmla="*/ 2506414 h 2673102"/>
                  <a:gd name="connsiteX114" fmla="*/ 212133 w 1739754"/>
                  <a:gd name="connsiteY114" fmla="*/ 2492127 h 2673102"/>
                  <a:gd name="connsiteX115" fmla="*/ 154983 w 1739754"/>
                  <a:gd name="connsiteY115" fmla="*/ 2439739 h 2673102"/>
                  <a:gd name="connsiteX116" fmla="*/ 150221 w 1739754"/>
                  <a:gd name="connsiteY116" fmla="*/ 2415927 h 2673102"/>
                  <a:gd name="connsiteX117" fmla="*/ 135933 w 1739754"/>
                  <a:gd name="connsiteY117" fmla="*/ 2358777 h 2673102"/>
                  <a:gd name="connsiteX118" fmla="*/ 121646 w 1739754"/>
                  <a:gd name="connsiteY118" fmla="*/ 2315914 h 2673102"/>
                  <a:gd name="connsiteX119" fmla="*/ 107358 w 1739754"/>
                  <a:gd name="connsiteY119" fmla="*/ 2258764 h 2673102"/>
                  <a:gd name="connsiteX120" fmla="*/ 102596 w 1739754"/>
                  <a:gd name="connsiteY120" fmla="*/ 2234952 h 2673102"/>
                  <a:gd name="connsiteX121" fmla="*/ 93071 w 1739754"/>
                  <a:gd name="connsiteY121" fmla="*/ 2211139 h 2673102"/>
                  <a:gd name="connsiteX122" fmla="*/ 88308 w 1739754"/>
                  <a:gd name="connsiteY122" fmla="*/ 2187327 h 2673102"/>
                  <a:gd name="connsiteX123" fmla="*/ 78783 w 1739754"/>
                  <a:gd name="connsiteY123" fmla="*/ 2111127 h 2673102"/>
                  <a:gd name="connsiteX124" fmla="*/ 97833 w 1739754"/>
                  <a:gd name="connsiteY124" fmla="*/ 1944439 h 2673102"/>
                  <a:gd name="connsiteX125" fmla="*/ 107358 w 1739754"/>
                  <a:gd name="connsiteY125" fmla="*/ 1930152 h 2673102"/>
                  <a:gd name="connsiteX126" fmla="*/ 126408 w 1739754"/>
                  <a:gd name="connsiteY126" fmla="*/ 1901577 h 2673102"/>
                  <a:gd name="connsiteX127" fmla="*/ 135933 w 1739754"/>
                  <a:gd name="connsiteY127" fmla="*/ 1868239 h 2673102"/>
                  <a:gd name="connsiteX128" fmla="*/ 131171 w 1739754"/>
                  <a:gd name="connsiteY128" fmla="*/ 1825377 h 2673102"/>
                  <a:gd name="connsiteX129" fmla="*/ 112121 w 1739754"/>
                  <a:gd name="connsiteY129" fmla="*/ 1820614 h 2673102"/>
                  <a:gd name="connsiteX130" fmla="*/ 102596 w 1739754"/>
                  <a:gd name="connsiteY130" fmla="*/ 1806327 h 2673102"/>
                  <a:gd name="connsiteX131" fmla="*/ 145458 w 1739754"/>
                  <a:gd name="connsiteY131" fmla="*/ 1720602 h 2673102"/>
                  <a:gd name="connsiteX132" fmla="*/ 159746 w 1739754"/>
                  <a:gd name="connsiteY132" fmla="*/ 1715839 h 2673102"/>
                  <a:gd name="connsiteX133" fmla="*/ 174033 w 1739754"/>
                  <a:gd name="connsiteY133" fmla="*/ 1696789 h 2673102"/>
                  <a:gd name="connsiteX134" fmla="*/ 188321 w 1739754"/>
                  <a:gd name="connsiteY134" fmla="*/ 1687264 h 2673102"/>
                  <a:gd name="connsiteX135" fmla="*/ 202608 w 1739754"/>
                  <a:gd name="connsiteY135" fmla="*/ 1653927 h 2673102"/>
                  <a:gd name="connsiteX136" fmla="*/ 193083 w 1739754"/>
                  <a:gd name="connsiteY136" fmla="*/ 1606302 h 2673102"/>
                  <a:gd name="connsiteX137" fmla="*/ 164508 w 1739754"/>
                  <a:gd name="connsiteY137" fmla="*/ 1596777 h 2673102"/>
                  <a:gd name="connsiteX138" fmla="*/ 154983 w 1739754"/>
                  <a:gd name="connsiteY138" fmla="*/ 1549152 h 2673102"/>
                  <a:gd name="connsiteX139" fmla="*/ 150221 w 1739754"/>
                  <a:gd name="connsiteY139" fmla="*/ 1411039 h 2673102"/>
                  <a:gd name="connsiteX140" fmla="*/ 140696 w 1739754"/>
                  <a:gd name="connsiteY140" fmla="*/ 1377702 h 2673102"/>
                  <a:gd name="connsiteX141" fmla="*/ 121646 w 1739754"/>
                  <a:gd name="connsiteY141" fmla="*/ 1311027 h 2673102"/>
                  <a:gd name="connsiteX142" fmla="*/ 116883 w 1739754"/>
                  <a:gd name="connsiteY142" fmla="*/ 1258639 h 2673102"/>
                  <a:gd name="connsiteX143" fmla="*/ 107358 w 1739754"/>
                  <a:gd name="connsiteY143" fmla="*/ 1244352 h 2673102"/>
                  <a:gd name="connsiteX144" fmla="*/ 93071 w 1739754"/>
                  <a:gd name="connsiteY144" fmla="*/ 1196727 h 2673102"/>
                  <a:gd name="connsiteX145" fmla="*/ 78783 w 1739754"/>
                  <a:gd name="connsiteY145" fmla="*/ 1177677 h 2673102"/>
                  <a:gd name="connsiteX146" fmla="*/ 59733 w 1739754"/>
                  <a:gd name="connsiteY146" fmla="*/ 1139577 h 2673102"/>
                  <a:gd name="connsiteX147" fmla="*/ 50208 w 1739754"/>
                  <a:gd name="connsiteY147" fmla="*/ 1111002 h 2673102"/>
                  <a:gd name="connsiteX148" fmla="*/ 45446 w 1739754"/>
                  <a:gd name="connsiteY148" fmla="*/ 1096714 h 2673102"/>
                  <a:gd name="connsiteX149" fmla="*/ 21633 w 1739754"/>
                  <a:gd name="connsiteY149" fmla="*/ 1025277 h 2673102"/>
                  <a:gd name="connsiteX150" fmla="*/ 202 w 1739754"/>
                  <a:gd name="connsiteY150" fmla="*/ 980033 h 2673102"/>
                  <a:gd name="connsiteX151" fmla="*/ 14490 w 1739754"/>
                  <a:gd name="connsiteY151" fmla="*/ 930027 h 2673102"/>
                  <a:gd name="connsiteX152" fmla="*/ 69259 w 1739754"/>
                  <a:gd name="connsiteY152" fmla="*/ 810964 h 2673102"/>
                  <a:gd name="connsiteX153" fmla="*/ 221658 w 1739754"/>
                  <a:gd name="connsiteY153" fmla="*/ 601414 h 2673102"/>
                  <a:gd name="connsiteX154" fmla="*/ 288333 w 1739754"/>
                  <a:gd name="connsiteY154" fmla="*/ 515689 h 2673102"/>
                  <a:gd name="connsiteX155" fmla="*/ 412158 w 1739754"/>
                  <a:gd name="connsiteY155" fmla="*/ 406152 h 2673102"/>
                  <a:gd name="connsiteX156" fmla="*/ 535983 w 1739754"/>
                  <a:gd name="connsiteY156" fmla="*/ 291851 h 2673102"/>
                  <a:gd name="connsiteX157" fmla="*/ 640758 w 1739754"/>
                  <a:gd name="connsiteY157" fmla="*/ 229939 h 2673102"/>
                  <a:gd name="connsiteX158" fmla="*/ 733628 w 1739754"/>
                  <a:gd name="connsiteY158" fmla="*/ 168026 h 2673102"/>
                  <a:gd name="connsiteX159" fmla="*/ 978896 w 1739754"/>
                  <a:gd name="connsiteY159" fmla="*/ 63251 h 2673102"/>
                  <a:gd name="connsiteX160" fmla="*/ 1159871 w 1739754"/>
                  <a:gd name="connsiteY160" fmla="*/ 6102 h 2673102"/>
                  <a:gd name="connsiteX161" fmla="*/ 1202733 w 1739754"/>
                  <a:gd name="connsiteY16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50371 w 1739754"/>
                  <a:gd name="connsiteY10" fmla="*/ 510927 h 2673102"/>
                  <a:gd name="connsiteX11" fmla="*/ 1378946 w 1739754"/>
                  <a:gd name="connsiteY11" fmla="*/ 520452 h 2673102"/>
                  <a:gd name="connsiteX12" fmla="*/ 1407521 w 1739754"/>
                  <a:gd name="connsiteY12" fmla="*/ 539502 h 2673102"/>
                  <a:gd name="connsiteX13" fmla="*/ 1469433 w 1739754"/>
                  <a:gd name="connsiteY13" fmla="*/ 568077 h 2673102"/>
                  <a:gd name="connsiteX14" fmla="*/ 1521821 w 1739754"/>
                  <a:gd name="connsiteY14" fmla="*/ 587127 h 2673102"/>
                  <a:gd name="connsiteX15" fmla="*/ 1540871 w 1739754"/>
                  <a:gd name="connsiteY15" fmla="*/ 596652 h 2673102"/>
                  <a:gd name="connsiteX16" fmla="*/ 1559921 w 1739754"/>
                  <a:gd name="connsiteY16" fmla="*/ 601414 h 2673102"/>
                  <a:gd name="connsiteX17" fmla="*/ 1607546 w 1739754"/>
                  <a:gd name="connsiteY17" fmla="*/ 639514 h 2673102"/>
                  <a:gd name="connsiteX18" fmla="*/ 1636121 w 1739754"/>
                  <a:gd name="connsiteY18" fmla="*/ 672852 h 2673102"/>
                  <a:gd name="connsiteX19" fmla="*/ 1650408 w 1739754"/>
                  <a:gd name="connsiteY19" fmla="*/ 687139 h 2673102"/>
                  <a:gd name="connsiteX20" fmla="*/ 1669458 w 1739754"/>
                  <a:gd name="connsiteY20" fmla="*/ 696664 h 2673102"/>
                  <a:gd name="connsiteX21" fmla="*/ 1683746 w 1739754"/>
                  <a:gd name="connsiteY21" fmla="*/ 706189 h 2673102"/>
                  <a:gd name="connsiteX22" fmla="*/ 1709940 w 1739754"/>
                  <a:gd name="connsiteY22" fmla="*/ 749052 h 2673102"/>
                  <a:gd name="connsiteX23" fmla="*/ 1702796 w 1739754"/>
                  <a:gd name="connsiteY23" fmla="*/ 853827 h 2673102"/>
                  <a:gd name="connsiteX24" fmla="*/ 1664696 w 1739754"/>
                  <a:gd name="connsiteY24" fmla="*/ 887164 h 2673102"/>
                  <a:gd name="connsiteX25" fmla="*/ 1650408 w 1739754"/>
                  <a:gd name="connsiteY25" fmla="*/ 901452 h 2673102"/>
                  <a:gd name="connsiteX26" fmla="*/ 1598021 w 1739754"/>
                  <a:gd name="connsiteY26" fmla="*/ 906214 h 2673102"/>
                  <a:gd name="connsiteX27" fmla="*/ 1555158 w 1739754"/>
                  <a:gd name="connsiteY27" fmla="*/ 925264 h 2673102"/>
                  <a:gd name="connsiteX28" fmla="*/ 1531346 w 1739754"/>
                  <a:gd name="connsiteY28" fmla="*/ 939552 h 2673102"/>
                  <a:gd name="connsiteX29" fmla="*/ 1498008 w 1739754"/>
                  <a:gd name="connsiteY29" fmla="*/ 987177 h 2673102"/>
                  <a:gd name="connsiteX30" fmla="*/ 1345608 w 1739754"/>
                  <a:gd name="connsiteY30" fmla="*/ 1030039 h 2673102"/>
                  <a:gd name="connsiteX31" fmla="*/ 1297983 w 1739754"/>
                  <a:gd name="connsiteY31" fmla="*/ 1053852 h 2673102"/>
                  <a:gd name="connsiteX32" fmla="*/ 1231308 w 1739754"/>
                  <a:gd name="connsiteY32" fmla="*/ 1082427 h 2673102"/>
                  <a:gd name="connsiteX33" fmla="*/ 1126533 w 1739754"/>
                  <a:gd name="connsiteY33" fmla="*/ 1096714 h 2673102"/>
                  <a:gd name="connsiteX34" fmla="*/ 1102721 w 1739754"/>
                  <a:gd name="connsiteY34" fmla="*/ 1101477 h 2673102"/>
                  <a:gd name="connsiteX35" fmla="*/ 1078908 w 1739754"/>
                  <a:gd name="connsiteY35" fmla="*/ 1111002 h 2673102"/>
                  <a:gd name="connsiteX36" fmla="*/ 964608 w 1739754"/>
                  <a:gd name="connsiteY36" fmla="*/ 1106239 h 2673102"/>
                  <a:gd name="connsiteX37" fmla="*/ 859833 w 1739754"/>
                  <a:gd name="connsiteY37" fmla="*/ 1058614 h 2673102"/>
                  <a:gd name="connsiteX38" fmla="*/ 812208 w 1739754"/>
                  <a:gd name="connsiteY38" fmla="*/ 1034802 h 2673102"/>
                  <a:gd name="connsiteX39" fmla="*/ 788396 w 1739754"/>
                  <a:gd name="connsiteY39" fmla="*/ 1020514 h 2673102"/>
                  <a:gd name="connsiteX40" fmla="*/ 769346 w 1739754"/>
                  <a:gd name="connsiteY40" fmla="*/ 1006227 h 2673102"/>
                  <a:gd name="connsiteX41" fmla="*/ 678858 w 1739754"/>
                  <a:gd name="connsiteY41" fmla="*/ 958602 h 2673102"/>
                  <a:gd name="connsiteX42" fmla="*/ 645521 w 1739754"/>
                  <a:gd name="connsiteY42" fmla="*/ 939552 h 2673102"/>
                  <a:gd name="connsiteX43" fmla="*/ 526458 w 1739754"/>
                  <a:gd name="connsiteY43" fmla="*/ 910977 h 2673102"/>
                  <a:gd name="connsiteX44" fmla="*/ 483596 w 1739754"/>
                  <a:gd name="connsiteY44" fmla="*/ 891927 h 2673102"/>
                  <a:gd name="connsiteX45" fmla="*/ 421683 w 1739754"/>
                  <a:gd name="connsiteY45" fmla="*/ 882402 h 2673102"/>
                  <a:gd name="connsiteX46" fmla="*/ 321671 w 1739754"/>
                  <a:gd name="connsiteY46" fmla="*/ 896689 h 2673102"/>
                  <a:gd name="connsiteX47" fmla="*/ 307383 w 1739754"/>
                  <a:gd name="connsiteY47" fmla="*/ 910977 h 2673102"/>
                  <a:gd name="connsiteX48" fmla="*/ 283571 w 1739754"/>
                  <a:gd name="connsiteY48" fmla="*/ 949077 h 2673102"/>
                  <a:gd name="connsiteX49" fmla="*/ 269283 w 1739754"/>
                  <a:gd name="connsiteY49" fmla="*/ 987177 h 2673102"/>
                  <a:gd name="connsiteX50" fmla="*/ 264521 w 1739754"/>
                  <a:gd name="connsiteY50" fmla="*/ 1039564 h 2673102"/>
                  <a:gd name="connsiteX51" fmla="*/ 264521 w 1739754"/>
                  <a:gd name="connsiteY51" fmla="*/ 1120527 h 2673102"/>
                  <a:gd name="connsiteX52" fmla="*/ 297858 w 1739754"/>
                  <a:gd name="connsiteY52" fmla="*/ 1153864 h 2673102"/>
                  <a:gd name="connsiteX53" fmla="*/ 326433 w 1739754"/>
                  <a:gd name="connsiteY53" fmla="*/ 1163389 h 2673102"/>
                  <a:gd name="connsiteX54" fmla="*/ 326433 w 1739754"/>
                  <a:gd name="connsiteY54" fmla="*/ 1244352 h 2673102"/>
                  <a:gd name="connsiteX55" fmla="*/ 312146 w 1739754"/>
                  <a:gd name="connsiteY55" fmla="*/ 1258639 h 2673102"/>
                  <a:gd name="connsiteX56" fmla="*/ 259758 w 1739754"/>
                  <a:gd name="connsiteY56" fmla="*/ 1296739 h 2673102"/>
                  <a:gd name="connsiteX57" fmla="*/ 240708 w 1739754"/>
                  <a:gd name="connsiteY57" fmla="*/ 1325314 h 2673102"/>
                  <a:gd name="connsiteX58" fmla="*/ 250233 w 1739754"/>
                  <a:gd name="connsiteY58" fmla="*/ 1425327 h 2673102"/>
                  <a:gd name="connsiteX59" fmla="*/ 278808 w 1739754"/>
                  <a:gd name="connsiteY59" fmla="*/ 1472952 h 2673102"/>
                  <a:gd name="connsiteX60" fmla="*/ 293096 w 1739754"/>
                  <a:gd name="connsiteY60" fmla="*/ 1492002 h 2673102"/>
                  <a:gd name="connsiteX61" fmla="*/ 383583 w 1739754"/>
                  <a:gd name="connsiteY61" fmla="*/ 1525339 h 2673102"/>
                  <a:gd name="connsiteX62" fmla="*/ 407396 w 1739754"/>
                  <a:gd name="connsiteY62" fmla="*/ 1492002 h 2673102"/>
                  <a:gd name="connsiteX63" fmla="*/ 412158 w 1739754"/>
                  <a:gd name="connsiteY63" fmla="*/ 1468189 h 2673102"/>
                  <a:gd name="connsiteX64" fmla="*/ 416921 w 1739754"/>
                  <a:gd name="connsiteY64" fmla="*/ 1449139 h 2673102"/>
                  <a:gd name="connsiteX65" fmla="*/ 445496 w 1739754"/>
                  <a:gd name="connsiteY65" fmla="*/ 1439614 h 2673102"/>
                  <a:gd name="connsiteX66" fmla="*/ 545508 w 1739754"/>
                  <a:gd name="connsiteY66" fmla="*/ 1458664 h 2673102"/>
                  <a:gd name="connsiteX67" fmla="*/ 555033 w 1739754"/>
                  <a:gd name="connsiteY67" fmla="*/ 1482477 h 2673102"/>
                  <a:gd name="connsiteX68" fmla="*/ 564558 w 1739754"/>
                  <a:gd name="connsiteY68" fmla="*/ 1515814 h 2673102"/>
                  <a:gd name="connsiteX69" fmla="*/ 550271 w 1739754"/>
                  <a:gd name="connsiteY69" fmla="*/ 1534864 h 2673102"/>
                  <a:gd name="connsiteX70" fmla="*/ 550271 w 1739754"/>
                  <a:gd name="connsiteY70" fmla="*/ 1601539 h 2673102"/>
                  <a:gd name="connsiteX71" fmla="*/ 559796 w 1739754"/>
                  <a:gd name="connsiteY71" fmla="*/ 1620589 h 2673102"/>
                  <a:gd name="connsiteX72" fmla="*/ 626471 w 1739754"/>
                  <a:gd name="connsiteY72" fmla="*/ 1639639 h 2673102"/>
                  <a:gd name="connsiteX73" fmla="*/ 645521 w 1739754"/>
                  <a:gd name="connsiteY73" fmla="*/ 1592014 h 2673102"/>
                  <a:gd name="connsiteX74" fmla="*/ 702671 w 1739754"/>
                  <a:gd name="connsiteY74" fmla="*/ 1620589 h 2673102"/>
                  <a:gd name="connsiteX75" fmla="*/ 731246 w 1739754"/>
                  <a:gd name="connsiteY75" fmla="*/ 1630114 h 2673102"/>
                  <a:gd name="connsiteX76" fmla="*/ 783633 w 1739754"/>
                  <a:gd name="connsiteY76" fmla="*/ 1663452 h 2673102"/>
                  <a:gd name="connsiteX77" fmla="*/ 859833 w 1739754"/>
                  <a:gd name="connsiteY77" fmla="*/ 1687264 h 2673102"/>
                  <a:gd name="connsiteX78" fmla="*/ 878883 w 1739754"/>
                  <a:gd name="connsiteY78" fmla="*/ 1701552 h 2673102"/>
                  <a:gd name="connsiteX79" fmla="*/ 888408 w 1739754"/>
                  <a:gd name="connsiteY79" fmla="*/ 1739652 h 2673102"/>
                  <a:gd name="connsiteX80" fmla="*/ 897933 w 1739754"/>
                  <a:gd name="connsiteY80" fmla="*/ 1782514 h 2673102"/>
                  <a:gd name="connsiteX81" fmla="*/ 940796 w 1739754"/>
                  <a:gd name="connsiteY81" fmla="*/ 1892052 h 2673102"/>
                  <a:gd name="connsiteX82" fmla="*/ 950321 w 1739754"/>
                  <a:gd name="connsiteY82" fmla="*/ 1906339 h 2673102"/>
                  <a:gd name="connsiteX83" fmla="*/ 959846 w 1739754"/>
                  <a:gd name="connsiteY83" fmla="*/ 1939677 h 2673102"/>
                  <a:gd name="connsiteX84" fmla="*/ 974133 w 1739754"/>
                  <a:gd name="connsiteY84" fmla="*/ 1977777 h 2673102"/>
                  <a:gd name="connsiteX85" fmla="*/ 964608 w 1739754"/>
                  <a:gd name="connsiteY85" fmla="*/ 2082552 h 2673102"/>
                  <a:gd name="connsiteX86" fmla="*/ 955083 w 1739754"/>
                  <a:gd name="connsiteY86" fmla="*/ 2101602 h 2673102"/>
                  <a:gd name="connsiteX87" fmla="*/ 926508 w 1739754"/>
                  <a:gd name="connsiteY87" fmla="*/ 2144464 h 2673102"/>
                  <a:gd name="connsiteX88" fmla="*/ 907458 w 1739754"/>
                  <a:gd name="connsiteY88" fmla="*/ 2192089 h 2673102"/>
                  <a:gd name="connsiteX89" fmla="*/ 902696 w 1739754"/>
                  <a:gd name="connsiteY89" fmla="*/ 2211139 h 2673102"/>
                  <a:gd name="connsiteX90" fmla="*/ 893171 w 1739754"/>
                  <a:gd name="connsiteY90" fmla="*/ 2239714 h 2673102"/>
                  <a:gd name="connsiteX91" fmla="*/ 897933 w 1739754"/>
                  <a:gd name="connsiteY91" fmla="*/ 2287339 h 2673102"/>
                  <a:gd name="connsiteX92" fmla="*/ 893171 w 1739754"/>
                  <a:gd name="connsiteY92" fmla="*/ 2396877 h 2673102"/>
                  <a:gd name="connsiteX93" fmla="*/ 688383 w 1739754"/>
                  <a:gd name="connsiteY93" fmla="*/ 2449264 h 2673102"/>
                  <a:gd name="connsiteX94" fmla="*/ 655046 w 1739754"/>
                  <a:gd name="connsiteY94" fmla="*/ 2473077 h 2673102"/>
                  <a:gd name="connsiteX95" fmla="*/ 607421 w 1739754"/>
                  <a:gd name="connsiteY95" fmla="*/ 2511177 h 2673102"/>
                  <a:gd name="connsiteX96" fmla="*/ 574083 w 1739754"/>
                  <a:gd name="connsiteY96" fmla="*/ 2534989 h 2673102"/>
                  <a:gd name="connsiteX97" fmla="*/ 540746 w 1739754"/>
                  <a:gd name="connsiteY97" fmla="*/ 2554039 h 2673102"/>
                  <a:gd name="connsiteX98" fmla="*/ 497883 w 1739754"/>
                  <a:gd name="connsiteY98" fmla="*/ 2587377 h 2673102"/>
                  <a:gd name="connsiteX99" fmla="*/ 483596 w 1739754"/>
                  <a:gd name="connsiteY99" fmla="*/ 2601664 h 2673102"/>
                  <a:gd name="connsiteX100" fmla="*/ 459783 w 1739754"/>
                  <a:gd name="connsiteY100" fmla="*/ 2620714 h 2673102"/>
                  <a:gd name="connsiteX101" fmla="*/ 450258 w 1739754"/>
                  <a:gd name="connsiteY101" fmla="*/ 2635002 h 2673102"/>
                  <a:gd name="connsiteX102" fmla="*/ 416921 w 1739754"/>
                  <a:gd name="connsiteY102" fmla="*/ 2654052 h 2673102"/>
                  <a:gd name="connsiteX103" fmla="*/ 374058 w 1739754"/>
                  <a:gd name="connsiteY103" fmla="*/ 2673102 h 2673102"/>
                  <a:gd name="connsiteX104" fmla="*/ 359771 w 1739754"/>
                  <a:gd name="connsiteY104" fmla="*/ 2663577 h 2673102"/>
                  <a:gd name="connsiteX105" fmla="*/ 345483 w 1739754"/>
                  <a:gd name="connsiteY105" fmla="*/ 2635002 h 2673102"/>
                  <a:gd name="connsiteX106" fmla="*/ 335958 w 1739754"/>
                  <a:gd name="connsiteY106" fmla="*/ 2620714 h 2673102"/>
                  <a:gd name="connsiteX107" fmla="*/ 297858 w 1739754"/>
                  <a:gd name="connsiteY107" fmla="*/ 2611189 h 2673102"/>
                  <a:gd name="connsiteX108" fmla="*/ 278808 w 1739754"/>
                  <a:gd name="connsiteY108" fmla="*/ 2592139 h 2673102"/>
                  <a:gd name="connsiteX109" fmla="*/ 274046 w 1739754"/>
                  <a:gd name="connsiteY109" fmla="*/ 2573089 h 2673102"/>
                  <a:gd name="connsiteX110" fmla="*/ 235946 w 1739754"/>
                  <a:gd name="connsiteY110" fmla="*/ 2539752 h 2673102"/>
                  <a:gd name="connsiteX111" fmla="*/ 231183 w 1739754"/>
                  <a:gd name="connsiteY111" fmla="*/ 2525464 h 2673102"/>
                  <a:gd name="connsiteX112" fmla="*/ 226421 w 1739754"/>
                  <a:gd name="connsiteY112" fmla="*/ 2506414 h 2673102"/>
                  <a:gd name="connsiteX113" fmla="*/ 212133 w 1739754"/>
                  <a:gd name="connsiteY113" fmla="*/ 2492127 h 2673102"/>
                  <a:gd name="connsiteX114" fmla="*/ 154983 w 1739754"/>
                  <a:gd name="connsiteY114" fmla="*/ 2439739 h 2673102"/>
                  <a:gd name="connsiteX115" fmla="*/ 150221 w 1739754"/>
                  <a:gd name="connsiteY115" fmla="*/ 2415927 h 2673102"/>
                  <a:gd name="connsiteX116" fmla="*/ 135933 w 1739754"/>
                  <a:gd name="connsiteY116" fmla="*/ 2358777 h 2673102"/>
                  <a:gd name="connsiteX117" fmla="*/ 121646 w 1739754"/>
                  <a:gd name="connsiteY117" fmla="*/ 2315914 h 2673102"/>
                  <a:gd name="connsiteX118" fmla="*/ 107358 w 1739754"/>
                  <a:gd name="connsiteY118" fmla="*/ 2258764 h 2673102"/>
                  <a:gd name="connsiteX119" fmla="*/ 102596 w 1739754"/>
                  <a:gd name="connsiteY119" fmla="*/ 2234952 h 2673102"/>
                  <a:gd name="connsiteX120" fmla="*/ 93071 w 1739754"/>
                  <a:gd name="connsiteY120" fmla="*/ 2211139 h 2673102"/>
                  <a:gd name="connsiteX121" fmla="*/ 88308 w 1739754"/>
                  <a:gd name="connsiteY121" fmla="*/ 2187327 h 2673102"/>
                  <a:gd name="connsiteX122" fmla="*/ 78783 w 1739754"/>
                  <a:gd name="connsiteY122" fmla="*/ 2111127 h 2673102"/>
                  <a:gd name="connsiteX123" fmla="*/ 97833 w 1739754"/>
                  <a:gd name="connsiteY123" fmla="*/ 1944439 h 2673102"/>
                  <a:gd name="connsiteX124" fmla="*/ 107358 w 1739754"/>
                  <a:gd name="connsiteY124" fmla="*/ 1930152 h 2673102"/>
                  <a:gd name="connsiteX125" fmla="*/ 126408 w 1739754"/>
                  <a:gd name="connsiteY125" fmla="*/ 1901577 h 2673102"/>
                  <a:gd name="connsiteX126" fmla="*/ 135933 w 1739754"/>
                  <a:gd name="connsiteY126" fmla="*/ 1868239 h 2673102"/>
                  <a:gd name="connsiteX127" fmla="*/ 131171 w 1739754"/>
                  <a:gd name="connsiteY127" fmla="*/ 1825377 h 2673102"/>
                  <a:gd name="connsiteX128" fmla="*/ 112121 w 1739754"/>
                  <a:gd name="connsiteY128" fmla="*/ 1820614 h 2673102"/>
                  <a:gd name="connsiteX129" fmla="*/ 102596 w 1739754"/>
                  <a:gd name="connsiteY129" fmla="*/ 1806327 h 2673102"/>
                  <a:gd name="connsiteX130" fmla="*/ 145458 w 1739754"/>
                  <a:gd name="connsiteY130" fmla="*/ 1720602 h 2673102"/>
                  <a:gd name="connsiteX131" fmla="*/ 159746 w 1739754"/>
                  <a:gd name="connsiteY131" fmla="*/ 1715839 h 2673102"/>
                  <a:gd name="connsiteX132" fmla="*/ 174033 w 1739754"/>
                  <a:gd name="connsiteY132" fmla="*/ 1696789 h 2673102"/>
                  <a:gd name="connsiteX133" fmla="*/ 188321 w 1739754"/>
                  <a:gd name="connsiteY133" fmla="*/ 1687264 h 2673102"/>
                  <a:gd name="connsiteX134" fmla="*/ 202608 w 1739754"/>
                  <a:gd name="connsiteY134" fmla="*/ 1653927 h 2673102"/>
                  <a:gd name="connsiteX135" fmla="*/ 193083 w 1739754"/>
                  <a:gd name="connsiteY135" fmla="*/ 1606302 h 2673102"/>
                  <a:gd name="connsiteX136" fmla="*/ 164508 w 1739754"/>
                  <a:gd name="connsiteY136" fmla="*/ 1596777 h 2673102"/>
                  <a:gd name="connsiteX137" fmla="*/ 154983 w 1739754"/>
                  <a:gd name="connsiteY137" fmla="*/ 1549152 h 2673102"/>
                  <a:gd name="connsiteX138" fmla="*/ 150221 w 1739754"/>
                  <a:gd name="connsiteY138" fmla="*/ 1411039 h 2673102"/>
                  <a:gd name="connsiteX139" fmla="*/ 140696 w 1739754"/>
                  <a:gd name="connsiteY139" fmla="*/ 1377702 h 2673102"/>
                  <a:gd name="connsiteX140" fmla="*/ 121646 w 1739754"/>
                  <a:gd name="connsiteY140" fmla="*/ 1311027 h 2673102"/>
                  <a:gd name="connsiteX141" fmla="*/ 116883 w 1739754"/>
                  <a:gd name="connsiteY141" fmla="*/ 1258639 h 2673102"/>
                  <a:gd name="connsiteX142" fmla="*/ 107358 w 1739754"/>
                  <a:gd name="connsiteY142" fmla="*/ 1244352 h 2673102"/>
                  <a:gd name="connsiteX143" fmla="*/ 93071 w 1739754"/>
                  <a:gd name="connsiteY143" fmla="*/ 1196727 h 2673102"/>
                  <a:gd name="connsiteX144" fmla="*/ 78783 w 1739754"/>
                  <a:gd name="connsiteY144" fmla="*/ 1177677 h 2673102"/>
                  <a:gd name="connsiteX145" fmla="*/ 59733 w 1739754"/>
                  <a:gd name="connsiteY145" fmla="*/ 1139577 h 2673102"/>
                  <a:gd name="connsiteX146" fmla="*/ 50208 w 1739754"/>
                  <a:gd name="connsiteY146" fmla="*/ 1111002 h 2673102"/>
                  <a:gd name="connsiteX147" fmla="*/ 45446 w 1739754"/>
                  <a:gd name="connsiteY147" fmla="*/ 1096714 h 2673102"/>
                  <a:gd name="connsiteX148" fmla="*/ 21633 w 1739754"/>
                  <a:gd name="connsiteY148" fmla="*/ 1025277 h 2673102"/>
                  <a:gd name="connsiteX149" fmla="*/ 202 w 1739754"/>
                  <a:gd name="connsiteY149" fmla="*/ 980033 h 2673102"/>
                  <a:gd name="connsiteX150" fmla="*/ 14490 w 1739754"/>
                  <a:gd name="connsiteY150" fmla="*/ 930027 h 2673102"/>
                  <a:gd name="connsiteX151" fmla="*/ 69259 w 1739754"/>
                  <a:gd name="connsiteY151" fmla="*/ 810964 h 2673102"/>
                  <a:gd name="connsiteX152" fmla="*/ 221658 w 1739754"/>
                  <a:gd name="connsiteY152" fmla="*/ 601414 h 2673102"/>
                  <a:gd name="connsiteX153" fmla="*/ 288333 w 1739754"/>
                  <a:gd name="connsiteY153" fmla="*/ 515689 h 2673102"/>
                  <a:gd name="connsiteX154" fmla="*/ 412158 w 1739754"/>
                  <a:gd name="connsiteY154" fmla="*/ 406152 h 2673102"/>
                  <a:gd name="connsiteX155" fmla="*/ 535983 w 1739754"/>
                  <a:gd name="connsiteY155" fmla="*/ 291851 h 2673102"/>
                  <a:gd name="connsiteX156" fmla="*/ 640758 w 1739754"/>
                  <a:gd name="connsiteY156" fmla="*/ 229939 h 2673102"/>
                  <a:gd name="connsiteX157" fmla="*/ 733628 w 1739754"/>
                  <a:gd name="connsiteY157" fmla="*/ 168026 h 2673102"/>
                  <a:gd name="connsiteX158" fmla="*/ 978896 w 1739754"/>
                  <a:gd name="connsiteY158" fmla="*/ 63251 h 2673102"/>
                  <a:gd name="connsiteX159" fmla="*/ 1159871 w 1739754"/>
                  <a:gd name="connsiteY159" fmla="*/ 6102 h 2673102"/>
                  <a:gd name="connsiteX160" fmla="*/ 1202733 w 1739754"/>
                  <a:gd name="connsiteY16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469433 w 1739754"/>
                  <a:gd name="connsiteY12" fmla="*/ 568077 h 2673102"/>
                  <a:gd name="connsiteX13" fmla="*/ 1521821 w 1739754"/>
                  <a:gd name="connsiteY13" fmla="*/ 587127 h 2673102"/>
                  <a:gd name="connsiteX14" fmla="*/ 1540871 w 1739754"/>
                  <a:gd name="connsiteY14" fmla="*/ 596652 h 2673102"/>
                  <a:gd name="connsiteX15" fmla="*/ 1559921 w 1739754"/>
                  <a:gd name="connsiteY15" fmla="*/ 601414 h 2673102"/>
                  <a:gd name="connsiteX16" fmla="*/ 1607546 w 1739754"/>
                  <a:gd name="connsiteY16" fmla="*/ 639514 h 2673102"/>
                  <a:gd name="connsiteX17" fmla="*/ 1636121 w 1739754"/>
                  <a:gd name="connsiteY17" fmla="*/ 672852 h 2673102"/>
                  <a:gd name="connsiteX18" fmla="*/ 1650408 w 1739754"/>
                  <a:gd name="connsiteY18" fmla="*/ 687139 h 2673102"/>
                  <a:gd name="connsiteX19" fmla="*/ 1669458 w 1739754"/>
                  <a:gd name="connsiteY19" fmla="*/ 696664 h 2673102"/>
                  <a:gd name="connsiteX20" fmla="*/ 1683746 w 1739754"/>
                  <a:gd name="connsiteY20" fmla="*/ 706189 h 2673102"/>
                  <a:gd name="connsiteX21" fmla="*/ 1709940 w 1739754"/>
                  <a:gd name="connsiteY21" fmla="*/ 749052 h 2673102"/>
                  <a:gd name="connsiteX22" fmla="*/ 1702796 w 1739754"/>
                  <a:gd name="connsiteY22" fmla="*/ 853827 h 2673102"/>
                  <a:gd name="connsiteX23" fmla="*/ 1664696 w 1739754"/>
                  <a:gd name="connsiteY23" fmla="*/ 887164 h 2673102"/>
                  <a:gd name="connsiteX24" fmla="*/ 1650408 w 1739754"/>
                  <a:gd name="connsiteY24" fmla="*/ 901452 h 2673102"/>
                  <a:gd name="connsiteX25" fmla="*/ 1598021 w 1739754"/>
                  <a:gd name="connsiteY25" fmla="*/ 906214 h 2673102"/>
                  <a:gd name="connsiteX26" fmla="*/ 1555158 w 1739754"/>
                  <a:gd name="connsiteY26" fmla="*/ 925264 h 2673102"/>
                  <a:gd name="connsiteX27" fmla="*/ 1531346 w 1739754"/>
                  <a:gd name="connsiteY27" fmla="*/ 939552 h 2673102"/>
                  <a:gd name="connsiteX28" fmla="*/ 1498008 w 1739754"/>
                  <a:gd name="connsiteY28" fmla="*/ 987177 h 2673102"/>
                  <a:gd name="connsiteX29" fmla="*/ 1345608 w 1739754"/>
                  <a:gd name="connsiteY29" fmla="*/ 1030039 h 2673102"/>
                  <a:gd name="connsiteX30" fmla="*/ 1297983 w 1739754"/>
                  <a:gd name="connsiteY30" fmla="*/ 1053852 h 2673102"/>
                  <a:gd name="connsiteX31" fmla="*/ 1231308 w 1739754"/>
                  <a:gd name="connsiteY31" fmla="*/ 1082427 h 2673102"/>
                  <a:gd name="connsiteX32" fmla="*/ 1126533 w 1739754"/>
                  <a:gd name="connsiteY32" fmla="*/ 1096714 h 2673102"/>
                  <a:gd name="connsiteX33" fmla="*/ 1102721 w 1739754"/>
                  <a:gd name="connsiteY33" fmla="*/ 1101477 h 2673102"/>
                  <a:gd name="connsiteX34" fmla="*/ 1078908 w 1739754"/>
                  <a:gd name="connsiteY34" fmla="*/ 1111002 h 2673102"/>
                  <a:gd name="connsiteX35" fmla="*/ 964608 w 1739754"/>
                  <a:gd name="connsiteY35" fmla="*/ 1106239 h 2673102"/>
                  <a:gd name="connsiteX36" fmla="*/ 859833 w 1739754"/>
                  <a:gd name="connsiteY36" fmla="*/ 1058614 h 2673102"/>
                  <a:gd name="connsiteX37" fmla="*/ 812208 w 1739754"/>
                  <a:gd name="connsiteY37" fmla="*/ 1034802 h 2673102"/>
                  <a:gd name="connsiteX38" fmla="*/ 788396 w 1739754"/>
                  <a:gd name="connsiteY38" fmla="*/ 1020514 h 2673102"/>
                  <a:gd name="connsiteX39" fmla="*/ 769346 w 1739754"/>
                  <a:gd name="connsiteY39" fmla="*/ 1006227 h 2673102"/>
                  <a:gd name="connsiteX40" fmla="*/ 678858 w 1739754"/>
                  <a:gd name="connsiteY40" fmla="*/ 958602 h 2673102"/>
                  <a:gd name="connsiteX41" fmla="*/ 645521 w 1739754"/>
                  <a:gd name="connsiteY41" fmla="*/ 939552 h 2673102"/>
                  <a:gd name="connsiteX42" fmla="*/ 526458 w 1739754"/>
                  <a:gd name="connsiteY42" fmla="*/ 910977 h 2673102"/>
                  <a:gd name="connsiteX43" fmla="*/ 483596 w 1739754"/>
                  <a:gd name="connsiteY43" fmla="*/ 891927 h 2673102"/>
                  <a:gd name="connsiteX44" fmla="*/ 421683 w 1739754"/>
                  <a:gd name="connsiteY44" fmla="*/ 882402 h 2673102"/>
                  <a:gd name="connsiteX45" fmla="*/ 321671 w 1739754"/>
                  <a:gd name="connsiteY45" fmla="*/ 896689 h 2673102"/>
                  <a:gd name="connsiteX46" fmla="*/ 307383 w 1739754"/>
                  <a:gd name="connsiteY46" fmla="*/ 910977 h 2673102"/>
                  <a:gd name="connsiteX47" fmla="*/ 283571 w 1739754"/>
                  <a:gd name="connsiteY47" fmla="*/ 949077 h 2673102"/>
                  <a:gd name="connsiteX48" fmla="*/ 269283 w 1739754"/>
                  <a:gd name="connsiteY48" fmla="*/ 987177 h 2673102"/>
                  <a:gd name="connsiteX49" fmla="*/ 264521 w 1739754"/>
                  <a:gd name="connsiteY49" fmla="*/ 1039564 h 2673102"/>
                  <a:gd name="connsiteX50" fmla="*/ 264521 w 1739754"/>
                  <a:gd name="connsiteY50" fmla="*/ 1120527 h 2673102"/>
                  <a:gd name="connsiteX51" fmla="*/ 297858 w 1739754"/>
                  <a:gd name="connsiteY51" fmla="*/ 1153864 h 2673102"/>
                  <a:gd name="connsiteX52" fmla="*/ 326433 w 1739754"/>
                  <a:gd name="connsiteY52" fmla="*/ 1163389 h 2673102"/>
                  <a:gd name="connsiteX53" fmla="*/ 326433 w 1739754"/>
                  <a:gd name="connsiteY53" fmla="*/ 1244352 h 2673102"/>
                  <a:gd name="connsiteX54" fmla="*/ 312146 w 1739754"/>
                  <a:gd name="connsiteY54" fmla="*/ 1258639 h 2673102"/>
                  <a:gd name="connsiteX55" fmla="*/ 259758 w 1739754"/>
                  <a:gd name="connsiteY55" fmla="*/ 1296739 h 2673102"/>
                  <a:gd name="connsiteX56" fmla="*/ 240708 w 1739754"/>
                  <a:gd name="connsiteY56" fmla="*/ 1325314 h 2673102"/>
                  <a:gd name="connsiteX57" fmla="*/ 250233 w 1739754"/>
                  <a:gd name="connsiteY57" fmla="*/ 1425327 h 2673102"/>
                  <a:gd name="connsiteX58" fmla="*/ 278808 w 1739754"/>
                  <a:gd name="connsiteY58" fmla="*/ 1472952 h 2673102"/>
                  <a:gd name="connsiteX59" fmla="*/ 293096 w 1739754"/>
                  <a:gd name="connsiteY59" fmla="*/ 1492002 h 2673102"/>
                  <a:gd name="connsiteX60" fmla="*/ 383583 w 1739754"/>
                  <a:gd name="connsiteY60" fmla="*/ 1525339 h 2673102"/>
                  <a:gd name="connsiteX61" fmla="*/ 407396 w 1739754"/>
                  <a:gd name="connsiteY61" fmla="*/ 1492002 h 2673102"/>
                  <a:gd name="connsiteX62" fmla="*/ 412158 w 1739754"/>
                  <a:gd name="connsiteY62" fmla="*/ 1468189 h 2673102"/>
                  <a:gd name="connsiteX63" fmla="*/ 416921 w 1739754"/>
                  <a:gd name="connsiteY63" fmla="*/ 1449139 h 2673102"/>
                  <a:gd name="connsiteX64" fmla="*/ 445496 w 1739754"/>
                  <a:gd name="connsiteY64" fmla="*/ 1439614 h 2673102"/>
                  <a:gd name="connsiteX65" fmla="*/ 545508 w 1739754"/>
                  <a:gd name="connsiteY65" fmla="*/ 1458664 h 2673102"/>
                  <a:gd name="connsiteX66" fmla="*/ 555033 w 1739754"/>
                  <a:gd name="connsiteY66" fmla="*/ 1482477 h 2673102"/>
                  <a:gd name="connsiteX67" fmla="*/ 564558 w 1739754"/>
                  <a:gd name="connsiteY67" fmla="*/ 1515814 h 2673102"/>
                  <a:gd name="connsiteX68" fmla="*/ 550271 w 1739754"/>
                  <a:gd name="connsiteY68" fmla="*/ 1534864 h 2673102"/>
                  <a:gd name="connsiteX69" fmla="*/ 550271 w 1739754"/>
                  <a:gd name="connsiteY69" fmla="*/ 1601539 h 2673102"/>
                  <a:gd name="connsiteX70" fmla="*/ 559796 w 1739754"/>
                  <a:gd name="connsiteY70" fmla="*/ 1620589 h 2673102"/>
                  <a:gd name="connsiteX71" fmla="*/ 626471 w 1739754"/>
                  <a:gd name="connsiteY71" fmla="*/ 1639639 h 2673102"/>
                  <a:gd name="connsiteX72" fmla="*/ 645521 w 1739754"/>
                  <a:gd name="connsiteY72" fmla="*/ 1592014 h 2673102"/>
                  <a:gd name="connsiteX73" fmla="*/ 702671 w 1739754"/>
                  <a:gd name="connsiteY73" fmla="*/ 1620589 h 2673102"/>
                  <a:gd name="connsiteX74" fmla="*/ 731246 w 1739754"/>
                  <a:gd name="connsiteY74" fmla="*/ 1630114 h 2673102"/>
                  <a:gd name="connsiteX75" fmla="*/ 783633 w 1739754"/>
                  <a:gd name="connsiteY75" fmla="*/ 1663452 h 2673102"/>
                  <a:gd name="connsiteX76" fmla="*/ 859833 w 1739754"/>
                  <a:gd name="connsiteY76" fmla="*/ 1687264 h 2673102"/>
                  <a:gd name="connsiteX77" fmla="*/ 878883 w 1739754"/>
                  <a:gd name="connsiteY77" fmla="*/ 1701552 h 2673102"/>
                  <a:gd name="connsiteX78" fmla="*/ 888408 w 1739754"/>
                  <a:gd name="connsiteY78" fmla="*/ 1739652 h 2673102"/>
                  <a:gd name="connsiteX79" fmla="*/ 897933 w 1739754"/>
                  <a:gd name="connsiteY79" fmla="*/ 1782514 h 2673102"/>
                  <a:gd name="connsiteX80" fmla="*/ 940796 w 1739754"/>
                  <a:gd name="connsiteY80" fmla="*/ 1892052 h 2673102"/>
                  <a:gd name="connsiteX81" fmla="*/ 950321 w 1739754"/>
                  <a:gd name="connsiteY81" fmla="*/ 1906339 h 2673102"/>
                  <a:gd name="connsiteX82" fmla="*/ 959846 w 1739754"/>
                  <a:gd name="connsiteY82" fmla="*/ 1939677 h 2673102"/>
                  <a:gd name="connsiteX83" fmla="*/ 974133 w 1739754"/>
                  <a:gd name="connsiteY83" fmla="*/ 1977777 h 2673102"/>
                  <a:gd name="connsiteX84" fmla="*/ 964608 w 1739754"/>
                  <a:gd name="connsiteY84" fmla="*/ 2082552 h 2673102"/>
                  <a:gd name="connsiteX85" fmla="*/ 955083 w 1739754"/>
                  <a:gd name="connsiteY85" fmla="*/ 2101602 h 2673102"/>
                  <a:gd name="connsiteX86" fmla="*/ 926508 w 1739754"/>
                  <a:gd name="connsiteY86" fmla="*/ 2144464 h 2673102"/>
                  <a:gd name="connsiteX87" fmla="*/ 907458 w 1739754"/>
                  <a:gd name="connsiteY87" fmla="*/ 2192089 h 2673102"/>
                  <a:gd name="connsiteX88" fmla="*/ 902696 w 1739754"/>
                  <a:gd name="connsiteY88" fmla="*/ 2211139 h 2673102"/>
                  <a:gd name="connsiteX89" fmla="*/ 893171 w 1739754"/>
                  <a:gd name="connsiteY89" fmla="*/ 2239714 h 2673102"/>
                  <a:gd name="connsiteX90" fmla="*/ 897933 w 1739754"/>
                  <a:gd name="connsiteY90" fmla="*/ 2287339 h 2673102"/>
                  <a:gd name="connsiteX91" fmla="*/ 893171 w 1739754"/>
                  <a:gd name="connsiteY91" fmla="*/ 2396877 h 2673102"/>
                  <a:gd name="connsiteX92" fmla="*/ 688383 w 1739754"/>
                  <a:gd name="connsiteY92" fmla="*/ 2449264 h 2673102"/>
                  <a:gd name="connsiteX93" fmla="*/ 655046 w 1739754"/>
                  <a:gd name="connsiteY93" fmla="*/ 2473077 h 2673102"/>
                  <a:gd name="connsiteX94" fmla="*/ 607421 w 1739754"/>
                  <a:gd name="connsiteY94" fmla="*/ 2511177 h 2673102"/>
                  <a:gd name="connsiteX95" fmla="*/ 574083 w 1739754"/>
                  <a:gd name="connsiteY95" fmla="*/ 2534989 h 2673102"/>
                  <a:gd name="connsiteX96" fmla="*/ 540746 w 1739754"/>
                  <a:gd name="connsiteY96" fmla="*/ 2554039 h 2673102"/>
                  <a:gd name="connsiteX97" fmla="*/ 497883 w 1739754"/>
                  <a:gd name="connsiteY97" fmla="*/ 2587377 h 2673102"/>
                  <a:gd name="connsiteX98" fmla="*/ 483596 w 1739754"/>
                  <a:gd name="connsiteY98" fmla="*/ 2601664 h 2673102"/>
                  <a:gd name="connsiteX99" fmla="*/ 459783 w 1739754"/>
                  <a:gd name="connsiteY99" fmla="*/ 2620714 h 2673102"/>
                  <a:gd name="connsiteX100" fmla="*/ 450258 w 1739754"/>
                  <a:gd name="connsiteY100" fmla="*/ 2635002 h 2673102"/>
                  <a:gd name="connsiteX101" fmla="*/ 416921 w 1739754"/>
                  <a:gd name="connsiteY101" fmla="*/ 2654052 h 2673102"/>
                  <a:gd name="connsiteX102" fmla="*/ 374058 w 1739754"/>
                  <a:gd name="connsiteY102" fmla="*/ 2673102 h 2673102"/>
                  <a:gd name="connsiteX103" fmla="*/ 359771 w 1739754"/>
                  <a:gd name="connsiteY103" fmla="*/ 2663577 h 2673102"/>
                  <a:gd name="connsiteX104" fmla="*/ 345483 w 1739754"/>
                  <a:gd name="connsiteY104" fmla="*/ 2635002 h 2673102"/>
                  <a:gd name="connsiteX105" fmla="*/ 335958 w 1739754"/>
                  <a:gd name="connsiteY105" fmla="*/ 2620714 h 2673102"/>
                  <a:gd name="connsiteX106" fmla="*/ 297858 w 1739754"/>
                  <a:gd name="connsiteY106" fmla="*/ 2611189 h 2673102"/>
                  <a:gd name="connsiteX107" fmla="*/ 278808 w 1739754"/>
                  <a:gd name="connsiteY107" fmla="*/ 2592139 h 2673102"/>
                  <a:gd name="connsiteX108" fmla="*/ 274046 w 1739754"/>
                  <a:gd name="connsiteY108" fmla="*/ 2573089 h 2673102"/>
                  <a:gd name="connsiteX109" fmla="*/ 235946 w 1739754"/>
                  <a:gd name="connsiteY109" fmla="*/ 2539752 h 2673102"/>
                  <a:gd name="connsiteX110" fmla="*/ 231183 w 1739754"/>
                  <a:gd name="connsiteY110" fmla="*/ 2525464 h 2673102"/>
                  <a:gd name="connsiteX111" fmla="*/ 226421 w 1739754"/>
                  <a:gd name="connsiteY111" fmla="*/ 2506414 h 2673102"/>
                  <a:gd name="connsiteX112" fmla="*/ 212133 w 1739754"/>
                  <a:gd name="connsiteY112" fmla="*/ 2492127 h 2673102"/>
                  <a:gd name="connsiteX113" fmla="*/ 154983 w 1739754"/>
                  <a:gd name="connsiteY113" fmla="*/ 2439739 h 2673102"/>
                  <a:gd name="connsiteX114" fmla="*/ 150221 w 1739754"/>
                  <a:gd name="connsiteY114" fmla="*/ 2415927 h 2673102"/>
                  <a:gd name="connsiteX115" fmla="*/ 135933 w 1739754"/>
                  <a:gd name="connsiteY115" fmla="*/ 2358777 h 2673102"/>
                  <a:gd name="connsiteX116" fmla="*/ 121646 w 1739754"/>
                  <a:gd name="connsiteY116" fmla="*/ 2315914 h 2673102"/>
                  <a:gd name="connsiteX117" fmla="*/ 107358 w 1739754"/>
                  <a:gd name="connsiteY117" fmla="*/ 2258764 h 2673102"/>
                  <a:gd name="connsiteX118" fmla="*/ 102596 w 1739754"/>
                  <a:gd name="connsiteY118" fmla="*/ 2234952 h 2673102"/>
                  <a:gd name="connsiteX119" fmla="*/ 93071 w 1739754"/>
                  <a:gd name="connsiteY119" fmla="*/ 2211139 h 2673102"/>
                  <a:gd name="connsiteX120" fmla="*/ 88308 w 1739754"/>
                  <a:gd name="connsiteY120" fmla="*/ 2187327 h 2673102"/>
                  <a:gd name="connsiteX121" fmla="*/ 78783 w 1739754"/>
                  <a:gd name="connsiteY121" fmla="*/ 2111127 h 2673102"/>
                  <a:gd name="connsiteX122" fmla="*/ 97833 w 1739754"/>
                  <a:gd name="connsiteY122" fmla="*/ 1944439 h 2673102"/>
                  <a:gd name="connsiteX123" fmla="*/ 107358 w 1739754"/>
                  <a:gd name="connsiteY123" fmla="*/ 1930152 h 2673102"/>
                  <a:gd name="connsiteX124" fmla="*/ 126408 w 1739754"/>
                  <a:gd name="connsiteY124" fmla="*/ 1901577 h 2673102"/>
                  <a:gd name="connsiteX125" fmla="*/ 135933 w 1739754"/>
                  <a:gd name="connsiteY125" fmla="*/ 1868239 h 2673102"/>
                  <a:gd name="connsiteX126" fmla="*/ 131171 w 1739754"/>
                  <a:gd name="connsiteY126" fmla="*/ 1825377 h 2673102"/>
                  <a:gd name="connsiteX127" fmla="*/ 112121 w 1739754"/>
                  <a:gd name="connsiteY127" fmla="*/ 1820614 h 2673102"/>
                  <a:gd name="connsiteX128" fmla="*/ 102596 w 1739754"/>
                  <a:gd name="connsiteY128" fmla="*/ 1806327 h 2673102"/>
                  <a:gd name="connsiteX129" fmla="*/ 145458 w 1739754"/>
                  <a:gd name="connsiteY129" fmla="*/ 1720602 h 2673102"/>
                  <a:gd name="connsiteX130" fmla="*/ 159746 w 1739754"/>
                  <a:gd name="connsiteY130" fmla="*/ 1715839 h 2673102"/>
                  <a:gd name="connsiteX131" fmla="*/ 174033 w 1739754"/>
                  <a:gd name="connsiteY131" fmla="*/ 1696789 h 2673102"/>
                  <a:gd name="connsiteX132" fmla="*/ 188321 w 1739754"/>
                  <a:gd name="connsiteY132" fmla="*/ 1687264 h 2673102"/>
                  <a:gd name="connsiteX133" fmla="*/ 202608 w 1739754"/>
                  <a:gd name="connsiteY133" fmla="*/ 1653927 h 2673102"/>
                  <a:gd name="connsiteX134" fmla="*/ 193083 w 1739754"/>
                  <a:gd name="connsiteY134" fmla="*/ 1606302 h 2673102"/>
                  <a:gd name="connsiteX135" fmla="*/ 164508 w 1739754"/>
                  <a:gd name="connsiteY135" fmla="*/ 1596777 h 2673102"/>
                  <a:gd name="connsiteX136" fmla="*/ 154983 w 1739754"/>
                  <a:gd name="connsiteY136" fmla="*/ 1549152 h 2673102"/>
                  <a:gd name="connsiteX137" fmla="*/ 150221 w 1739754"/>
                  <a:gd name="connsiteY137" fmla="*/ 1411039 h 2673102"/>
                  <a:gd name="connsiteX138" fmla="*/ 140696 w 1739754"/>
                  <a:gd name="connsiteY138" fmla="*/ 1377702 h 2673102"/>
                  <a:gd name="connsiteX139" fmla="*/ 121646 w 1739754"/>
                  <a:gd name="connsiteY139" fmla="*/ 1311027 h 2673102"/>
                  <a:gd name="connsiteX140" fmla="*/ 116883 w 1739754"/>
                  <a:gd name="connsiteY140" fmla="*/ 1258639 h 2673102"/>
                  <a:gd name="connsiteX141" fmla="*/ 107358 w 1739754"/>
                  <a:gd name="connsiteY141" fmla="*/ 1244352 h 2673102"/>
                  <a:gd name="connsiteX142" fmla="*/ 93071 w 1739754"/>
                  <a:gd name="connsiteY142" fmla="*/ 1196727 h 2673102"/>
                  <a:gd name="connsiteX143" fmla="*/ 78783 w 1739754"/>
                  <a:gd name="connsiteY143" fmla="*/ 1177677 h 2673102"/>
                  <a:gd name="connsiteX144" fmla="*/ 59733 w 1739754"/>
                  <a:gd name="connsiteY144" fmla="*/ 1139577 h 2673102"/>
                  <a:gd name="connsiteX145" fmla="*/ 50208 w 1739754"/>
                  <a:gd name="connsiteY145" fmla="*/ 1111002 h 2673102"/>
                  <a:gd name="connsiteX146" fmla="*/ 45446 w 1739754"/>
                  <a:gd name="connsiteY146" fmla="*/ 1096714 h 2673102"/>
                  <a:gd name="connsiteX147" fmla="*/ 21633 w 1739754"/>
                  <a:gd name="connsiteY147" fmla="*/ 1025277 h 2673102"/>
                  <a:gd name="connsiteX148" fmla="*/ 202 w 1739754"/>
                  <a:gd name="connsiteY148" fmla="*/ 980033 h 2673102"/>
                  <a:gd name="connsiteX149" fmla="*/ 14490 w 1739754"/>
                  <a:gd name="connsiteY149" fmla="*/ 930027 h 2673102"/>
                  <a:gd name="connsiteX150" fmla="*/ 69259 w 1739754"/>
                  <a:gd name="connsiteY150" fmla="*/ 810964 h 2673102"/>
                  <a:gd name="connsiteX151" fmla="*/ 221658 w 1739754"/>
                  <a:gd name="connsiteY151" fmla="*/ 601414 h 2673102"/>
                  <a:gd name="connsiteX152" fmla="*/ 288333 w 1739754"/>
                  <a:gd name="connsiteY152" fmla="*/ 515689 h 2673102"/>
                  <a:gd name="connsiteX153" fmla="*/ 412158 w 1739754"/>
                  <a:gd name="connsiteY153" fmla="*/ 406152 h 2673102"/>
                  <a:gd name="connsiteX154" fmla="*/ 535983 w 1739754"/>
                  <a:gd name="connsiteY154" fmla="*/ 291851 h 2673102"/>
                  <a:gd name="connsiteX155" fmla="*/ 640758 w 1739754"/>
                  <a:gd name="connsiteY155" fmla="*/ 229939 h 2673102"/>
                  <a:gd name="connsiteX156" fmla="*/ 733628 w 1739754"/>
                  <a:gd name="connsiteY156" fmla="*/ 168026 h 2673102"/>
                  <a:gd name="connsiteX157" fmla="*/ 978896 w 1739754"/>
                  <a:gd name="connsiteY157" fmla="*/ 63251 h 2673102"/>
                  <a:gd name="connsiteX158" fmla="*/ 1159871 w 1739754"/>
                  <a:gd name="connsiteY158" fmla="*/ 6102 h 2673102"/>
                  <a:gd name="connsiteX159" fmla="*/ 1202733 w 1739754"/>
                  <a:gd name="connsiteY15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40871 w 1739754"/>
                  <a:gd name="connsiteY13" fmla="*/ 596652 h 2673102"/>
                  <a:gd name="connsiteX14" fmla="*/ 1559921 w 1739754"/>
                  <a:gd name="connsiteY14" fmla="*/ 601414 h 2673102"/>
                  <a:gd name="connsiteX15" fmla="*/ 1607546 w 1739754"/>
                  <a:gd name="connsiteY15" fmla="*/ 639514 h 2673102"/>
                  <a:gd name="connsiteX16" fmla="*/ 1636121 w 1739754"/>
                  <a:gd name="connsiteY16" fmla="*/ 672852 h 2673102"/>
                  <a:gd name="connsiteX17" fmla="*/ 1650408 w 1739754"/>
                  <a:gd name="connsiteY17" fmla="*/ 687139 h 2673102"/>
                  <a:gd name="connsiteX18" fmla="*/ 1669458 w 1739754"/>
                  <a:gd name="connsiteY18" fmla="*/ 696664 h 2673102"/>
                  <a:gd name="connsiteX19" fmla="*/ 1683746 w 1739754"/>
                  <a:gd name="connsiteY19" fmla="*/ 706189 h 2673102"/>
                  <a:gd name="connsiteX20" fmla="*/ 1709940 w 1739754"/>
                  <a:gd name="connsiteY20" fmla="*/ 749052 h 2673102"/>
                  <a:gd name="connsiteX21" fmla="*/ 1702796 w 1739754"/>
                  <a:gd name="connsiteY21" fmla="*/ 853827 h 2673102"/>
                  <a:gd name="connsiteX22" fmla="*/ 1664696 w 1739754"/>
                  <a:gd name="connsiteY22" fmla="*/ 887164 h 2673102"/>
                  <a:gd name="connsiteX23" fmla="*/ 1650408 w 1739754"/>
                  <a:gd name="connsiteY23" fmla="*/ 901452 h 2673102"/>
                  <a:gd name="connsiteX24" fmla="*/ 1598021 w 1739754"/>
                  <a:gd name="connsiteY24" fmla="*/ 906214 h 2673102"/>
                  <a:gd name="connsiteX25" fmla="*/ 1555158 w 1739754"/>
                  <a:gd name="connsiteY25" fmla="*/ 925264 h 2673102"/>
                  <a:gd name="connsiteX26" fmla="*/ 1531346 w 1739754"/>
                  <a:gd name="connsiteY26" fmla="*/ 939552 h 2673102"/>
                  <a:gd name="connsiteX27" fmla="*/ 1498008 w 1739754"/>
                  <a:gd name="connsiteY27" fmla="*/ 987177 h 2673102"/>
                  <a:gd name="connsiteX28" fmla="*/ 1345608 w 1739754"/>
                  <a:gd name="connsiteY28" fmla="*/ 1030039 h 2673102"/>
                  <a:gd name="connsiteX29" fmla="*/ 1297983 w 1739754"/>
                  <a:gd name="connsiteY29" fmla="*/ 1053852 h 2673102"/>
                  <a:gd name="connsiteX30" fmla="*/ 1231308 w 1739754"/>
                  <a:gd name="connsiteY30" fmla="*/ 1082427 h 2673102"/>
                  <a:gd name="connsiteX31" fmla="*/ 1126533 w 1739754"/>
                  <a:gd name="connsiteY31" fmla="*/ 1096714 h 2673102"/>
                  <a:gd name="connsiteX32" fmla="*/ 1102721 w 1739754"/>
                  <a:gd name="connsiteY32" fmla="*/ 1101477 h 2673102"/>
                  <a:gd name="connsiteX33" fmla="*/ 1078908 w 1739754"/>
                  <a:gd name="connsiteY33" fmla="*/ 1111002 h 2673102"/>
                  <a:gd name="connsiteX34" fmla="*/ 964608 w 1739754"/>
                  <a:gd name="connsiteY34" fmla="*/ 1106239 h 2673102"/>
                  <a:gd name="connsiteX35" fmla="*/ 859833 w 1739754"/>
                  <a:gd name="connsiteY35" fmla="*/ 1058614 h 2673102"/>
                  <a:gd name="connsiteX36" fmla="*/ 812208 w 1739754"/>
                  <a:gd name="connsiteY36" fmla="*/ 1034802 h 2673102"/>
                  <a:gd name="connsiteX37" fmla="*/ 788396 w 1739754"/>
                  <a:gd name="connsiteY37" fmla="*/ 1020514 h 2673102"/>
                  <a:gd name="connsiteX38" fmla="*/ 769346 w 1739754"/>
                  <a:gd name="connsiteY38" fmla="*/ 1006227 h 2673102"/>
                  <a:gd name="connsiteX39" fmla="*/ 678858 w 1739754"/>
                  <a:gd name="connsiteY39" fmla="*/ 958602 h 2673102"/>
                  <a:gd name="connsiteX40" fmla="*/ 645521 w 1739754"/>
                  <a:gd name="connsiteY40" fmla="*/ 939552 h 2673102"/>
                  <a:gd name="connsiteX41" fmla="*/ 526458 w 1739754"/>
                  <a:gd name="connsiteY41" fmla="*/ 910977 h 2673102"/>
                  <a:gd name="connsiteX42" fmla="*/ 483596 w 1739754"/>
                  <a:gd name="connsiteY42" fmla="*/ 891927 h 2673102"/>
                  <a:gd name="connsiteX43" fmla="*/ 421683 w 1739754"/>
                  <a:gd name="connsiteY43" fmla="*/ 882402 h 2673102"/>
                  <a:gd name="connsiteX44" fmla="*/ 321671 w 1739754"/>
                  <a:gd name="connsiteY44" fmla="*/ 896689 h 2673102"/>
                  <a:gd name="connsiteX45" fmla="*/ 307383 w 1739754"/>
                  <a:gd name="connsiteY45" fmla="*/ 910977 h 2673102"/>
                  <a:gd name="connsiteX46" fmla="*/ 283571 w 1739754"/>
                  <a:gd name="connsiteY46" fmla="*/ 949077 h 2673102"/>
                  <a:gd name="connsiteX47" fmla="*/ 269283 w 1739754"/>
                  <a:gd name="connsiteY47" fmla="*/ 987177 h 2673102"/>
                  <a:gd name="connsiteX48" fmla="*/ 264521 w 1739754"/>
                  <a:gd name="connsiteY48" fmla="*/ 1039564 h 2673102"/>
                  <a:gd name="connsiteX49" fmla="*/ 264521 w 1739754"/>
                  <a:gd name="connsiteY49" fmla="*/ 1120527 h 2673102"/>
                  <a:gd name="connsiteX50" fmla="*/ 297858 w 1739754"/>
                  <a:gd name="connsiteY50" fmla="*/ 1153864 h 2673102"/>
                  <a:gd name="connsiteX51" fmla="*/ 326433 w 1739754"/>
                  <a:gd name="connsiteY51" fmla="*/ 1163389 h 2673102"/>
                  <a:gd name="connsiteX52" fmla="*/ 326433 w 1739754"/>
                  <a:gd name="connsiteY52" fmla="*/ 1244352 h 2673102"/>
                  <a:gd name="connsiteX53" fmla="*/ 312146 w 1739754"/>
                  <a:gd name="connsiteY53" fmla="*/ 1258639 h 2673102"/>
                  <a:gd name="connsiteX54" fmla="*/ 259758 w 1739754"/>
                  <a:gd name="connsiteY54" fmla="*/ 1296739 h 2673102"/>
                  <a:gd name="connsiteX55" fmla="*/ 240708 w 1739754"/>
                  <a:gd name="connsiteY55" fmla="*/ 1325314 h 2673102"/>
                  <a:gd name="connsiteX56" fmla="*/ 250233 w 1739754"/>
                  <a:gd name="connsiteY56" fmla="*/ 1425327 h 2673102"/>
                  <a:gd name="connsiteX57" fmla="*/ 278808 w 1739754"/>
                  <a:gd name="connsiteY57" fmla="*/ 1472952 h 2673102"/>
                  <a:gd name="connsiteX58" fmla="*/ 293096 w 1739754"/>
                  <a:gd name="connsiteY58" fmla="*/ 1492002 h 2673102"/>
                  <a:gd name="connsiteX59" fmla="*/ 383583 w 1739754"/>
                  <a:gd name="connsiteY59" fmla="*/ 1525339 h 2673102"/>
                  <a:gd name="connsiteX60" fmla="*/ 407396 w 1739754"/>
                  <a:gd name="connsiteY60" fmla="*/ 1492002 h 2673102"/>
                  <a:gd name="connsiteX61" fmla="*/ 412158 w 1739754"/>
                  <a:gd name="connsiteY61" fmla="*/ 1468189 h 2673102"/>
                  <a:gd name="connsiteX62" fmla="*/ 416921 w 1739754"/>
                  <a:gd name="connsiteY62" fmla="*/ 1449139 h 2673102"/>
                  <a:gd name="connsiteX63" fmla="*/ 445496 w 1739754"/>
                  <a:gd name="connsiteY63" fmla="*/ 1439614 h 2673102"/>
                  <a:gd name="connsiteX64" fmla="*/ 545508 w 1739754"/>
                  <a:gd name="connsiteY64" fmla="*/ 1458664 h 2673102"/>
                  <a:gd name="connsiteX65" fmla="*/ 555033 w 1739754"/>
                  <a:gd name="connsiteY65" fmla="*/ 1482477 h 2673102"/>
                  <a:gd name="connsiteX66" fmla="*/ 564558 w 1739754"/>
                  <a:gd name="connsiteY66" fmla="*/ 1515814 h 2673102"/>
                  <a:gd name="connsiteX67" fmla="*/ 550271 w 1739754"/>
                  <a:gd name="connsiteY67" fmla="*/ 1534864 h 2673102"/>
                  <a:gd name="connsiteX68" fmla="*/ 550271 w 1739754"/>
                  <a:gd name="connsiteY68" fmla="*/ 1601539 h 2673102"/>
                  <a:gd name="connsiteX69" fmla="*/ 559796 w 1739754"/>
                  <a:gd name="connsiteY69" fmla="*/ 1620589 h 2673102"/>
                  <a:gd name="connsiteX70" fmla="*/ 626471 w 1739754"/>
                  <a:gd name="connsiteY70" fmla="*/ 1639639 h 2673102"/>
                  <a:gd name="connsiteX71" fmla="*/ 645521 w 1739754"/>
                  <a:gd name="connsiteY71" fmla="*/ 1592014 h 2673102"/>
                  <a:gd name="connsiteX72" fmla="*/ 702671 w 1739754"/>
                  <a:gd name="connsiteY72" fmla="*/ 1620589 h 2673102"/>
                  <a:gd name="connsiteX73" fmla="*/ 731246 w 1739754"/>
                  <a:gd name="connsiteY73" fmla="*/ 1630114 h 2673102"/>
                  <a:gd name="connsiteX74" fmla="*/ 783633 w 1739754"/>
                  <a:gd name="connsiteY74" fmla="*/ 1663452 h 2673102"/>
                  <a:gd name="connsiteX75" fmla="*/ 859833 w 1739754"/>
                  <a:gd name="connsiteY75" fmla="*/ 1687264 h 2673102"/>
                  <a:gd name="connsiteX76" fmla="*/ 878883 w 1739754"/>
                  <a:gd name="connsiteY76" fmla="*/ 1701552 h 2673102"/>
                  <a:gd name="connsiteX77" fmla="*/ 888408 w 1739754"/>
                  <a:gd name="connsiteY77" fmla="*/ 1739652 h 2673102"/>
                  <a:gd name="connsiteX78" fmla="*/ 897933 w 1739754"/>
                  <a:gd name="connsiteY78" fmla="*/ 1782514 h 2673102"/>
                  <a:gd name="connsiteX79" fmla="*/ 940796 w 1739754"/>
                  <a:gd name="connsiteY79" fmla="*/ 1892052 h 2673102"/>
                  <a:gd name="connsiteX80" fmla="*/ 950321 w 1739754"/>
                  <a:gd name="connsiteY80" fmla="*/ 1906339 h 2673102"/>
                  <a:gd name="connsiteX81" fmla="*/ 959846 w 1739754"/>
                  <a:gd name="connsiteY81" fmla="*/ 1939677 h 2673102"/>
                  <a:gd name="connsiteX82" fmla="*/ 974133 w 1739754"/>
                  <a:gd name="connsiteY82" fmla="*/ 1977777 h 2673102"/>
                  <a:gd name="connsiteX83" fmla="*/ 964608 w 1739754"/>
                  <a:gd name="connsiteY83" fmla="*/ 2082552 h 2673102"/>
                  <a:gd name="connsiteX84" fmla="*/ 955083 w 1739754"/>
                  <a:gd name="connsiteY84" fmla="*/ 2101602 h 2673102"/>
                  <a:gd name="connsiteX85" fmla="*/ 926508 w 1739754"/>
                  <a:gd name="connsiteY85" fmla="*/ 2144464 h 2673102"/>
                  <a:gd name="connsiteX86" fmla="*/ 907458 w 1739754"/>
                  <a:gd name="connsiteY86" fmla="*/ 2192089 h 2673102"/>
                  <a:gd name="connsiteX87" fmla="*/ 902696 w 1739754"/>
                  <a:gd name="connsiteY87" fmla="*/ 2211139 h 2673102"/>
                  <a:gd name="connsiteX88" fmla="*/ 893171 w 1739754"/>
                  <a:gd name="connsiteY88" fmla="*/ 2239714 h 2673102"/>
                  <a:gd name="connsiteX89" fmla="*/ 897933 w 1739754"/>
                  <a:gd name="connsiteY89" fmla="*/ 2287339 h 2673102"/>
                  <a:gd name="connsiteX90" fmla="*/ 893171 w 1739754"/>
                  <a:gd name="connsiteY90" fmla="*/ 2396877 h 2673102"/>
                  <a:gd name="connsiteX91" fmla="*/ 688383 w 1739754"/>
                  <a:gd name="connsiteY91" fmla="*/ 2449264 h 2673102"/>
                  <a:gd name="connsiteX92" fmla="*/ 655046 w 1739754"/>
                  <a:gd name="connsiteY92" fmla="*/ 2473077 h 2673102"/>
                  <a:gd name="connsiteX93" fmla="*/ 607421 w 1739754"/>
                  <a:gd name="connsiteY93" fmla="*/ 2511177 h 2673102"/>
                  <a:gd name="connsiteX94" fmla="*/ 574083 w 1739754"/>
                  <a:gd name="connsiteY94" fmla="*/ 2534989 h 2673102"/>
                  <a:gd name="connsiteX95" fmla="*/ 540746 w 1739754"/>
                  <a:gd name="connsiteY95" fmla="*/ 2554039 h 2673102"/>
                  <a:gd name="connsiteX96" fmla="*/ 497883 w 1739754"/>
                  <a:gd name="connsiteY96" fmla="*/ 2587377 h 2673102"/>
                  <a:gd name="connsiteX97" fmla="*/ 483596 w 1739754"/>
                  <a:gd name="connsiteY97" fmla="*/ 2601664 h 2673102"/>
                  <a:gd name="connsiteX98" fmla="*/ 459783 w 1739754"/>
                  <a:gd name="connsiteY98" fmla="*/ 2620714 h 2673102"/>
                  <a:gd name="connsiteX99" fmla="*/ 450258 w 1739754"/>
                  <a:gd name="connsiteY99" fmla="*/ 2635002 h 2673102"/>
                  <a:gd name="connsiteX100" fmla="*/ 416921 w 1739754"/>
                  <a:gd name="connsiteY100" fmla="*/ 2654052 h 2673102"/>
                  <a:gd name="connsiteX101" fmla="*/ 374058 w 1739754"/>
                  <a:gd name="connsiteY101" fmla="*/ 2673102 h 2673102"/>
                  <a:gd name="connsiteX102" fmla="*/ 359771 w 1739754"/>
                  <a:gd name="connsiteY102" fmla="*/ 2663577 h 2673102"/>
                  <a:gd name="connsiteX103" fmla="*/ 345483 w 1739754"/>
                  <a:gd name="connsiteY103" fmla="*/ 2635002 h 2673102"/>
                  <a:gd name="connsiteX104" fmla="*/ 335958 w 1739754"/>
                  <a:gd name="connsiteY104" fmla="*/ 2620714 h 2673102"/>
                  <a:gd name="connsiteX105" fmla="*/ 297858 w 1739754"/>
                  <a:gd name="connsiteY105" fmla="*/ 2611189 h 2673102"/>
                  <a:gd name="connsiteX106" fmla="*/ 278808 w 1739754"/>
                  <a:gd name="connsiteY106" fmla="*/ 2592139 h 2673102"/>
                  <a:gd name="connsiteX107" fmla="*/ 274046 w 1739754"/>
                  <a:gd name="connsiteY107" fmla="*/ 2573089 h 2673102"/>
                  <a:gd name="connsiteX108" fmla="*/ 235946 w 1739754"/>
                  <a:gd name="connsiteY108" fmla="*/ 2539752 h 2673102"/>
                  <a:gd name="connsiteX109" fmla="*/ 231183 w 1739754"/>
                  <a:gd name="connsiteY109" fmla="*/ 2525464 h 2673102"/>
                  <a:gd name="connsiteX110" fmla="*/ 226421 w 1739754"/>
                  <a:gd name="connsiteY110" fmla="*/ 2506414 h 2673102"/>
                  <a:gd name="connsiteX111" fmla="*/ 212133 w 1739754"/>
                  <a:gd name="connsiteY111" fmla="*/ 2492127 h 2673102"/>
                  <a:gd name="connsiteX112" fmla="*/ 154983 w 1739754"/>
                  <a:gd name="connsiteY112" fmla="*/ 2439739 h 2673102"/>
                  <a:gd name="connsiteX113" fmla="*/ 150221 w 1739754"/>
                  <a:gd name="connsiteY113" fmla="*/ 2415927 h 2673102"/>
                  <a:gd name="connsiteX114" fmla="*/ 135933 w 1739754"/>
                  <a:gd name="connsiteY114" fmla="*/ 2358777 h 2673102"/>
                  <a:gd name="connsiteX115" fmla="*/ 121646 w 1739754"/>
                  <a:gd name="connsiteY115" fmla="*/ 2315914 h 2673102"/>
                  <a:gd name="connsiteX116" fmla="*/ 107358 w 1739754"/>
                  <a:gd name="connsiteY116" fmla="*/ 2258764 h 2673102"/>
                  <a:gd name="connsiteX117" fmla="*/ 102596 w 1739754"/>
                  <a:gd name="connsiteY117" fmla="*/ 2234952 h 2673102"/>
                  <a:gd name="connsiteX118" fmla="*/ 93071 w 1739754"/>
                  <a:gd name="connsiteY118" fmla="*/ 2211139 h 2673102"/>
                  <a:gd name="connsiteX119" fmla="*/ 88308 w 1739754"/>
                  <a:gd name="connsiteY119" fmla="*/ 2187327 h 2673102"/>
                  <a:gd name="connsiteX120" fmla="*/ 78783 w 1739754"/>
                  <a:gd name="connsiteY120" fmla="*/ 2111127 h 2673102"/>
                  <a:gd name="connsiteX121" fmla="*/ 97833 w 1739754"/>
                  <a:gd name="connsiteY121" fmla="*/ 1944439 h 2673102"/>
                  <a:gd name="connsiteX122" fmla="*/ 107358 w 1739754"/>
                  <a:gd name="connsiteY122" fmla="*/ 1930152 h 2673102"/>
                  <a:gd name="connsiteX123" fmla="*/ 126408 w 1739754"/>
                  <a:gd name="connsiteY123" fmla="*/ 1901577 h 2673102"/>
                  <a:gd name="connsiteX124" fmla="*/ 135933 w 1739754"/>
                  <a:gd name="connsiteY124" fmla="*/ 1868239 h 2673102"/>
                  <a:gd name="connsiteX125" fmla="*/ 131171 w 1739754"/>
                  <a:gd name="connsiteY125" fmla="*/ 1825377 h 2673102"/>
                  <a:gd name="connsiteX126" fmla="*/ 112121 w 1739754"/>
                  <a:gd name="connsiteY126" fmla="*/ 1820614 h 2673102"/>
                  <a:gd name="connsiteX127" fmla="*/ 102596 w 1739754"/>
                  <a:gd name="connsiteY127" fmla="*/ 1806327 h 2673102"/>
                  <a:gd name="connsiteX128" fmla="*/ 145458 w 1739754"/>
                  <a:gd name="connsiteY128" fmla="*/ 1720602 h 2673102"/>
                  <a:gd name="connsiteX129" fmla="*/ 159746 w 1739754"/>
                  <a:gd name="connsiteY129" fmla="*/ 1715839 h 2673102"/>
                  <a:gd name="connsiteX130" fmla="*/ 174033 w 1739754"/>
                  <a:gd name="connsiteY130" fmla="*/ 1696789 h 2673102"/>
                  <a:gd name="connsiteX131" fmla="*/ 188321 w 1739754"/>
                  <a:gd name="connsiteY131" fmla="*/ 1687264 h 2673102"/>
                  <a:gd name="connsiteX132" fmla="*/ 202608 w 1739754"/>
                  <a:gd name="connsiteY132" fmla="*/ 1653927 h 2673102"/>
                  <a:gd name="connsiteX133" fmla="*/ 193083 w 1739754"/>
                  <a:gd name="connsiteY133" fmla="*/ 1606302 h 2673102"/>
                  <a:gd name="connsiteX134" fmla="*/ 164508 w 1739754"/>
                  <a:gd name="connsiteY134" fmla="*/ 1596777 h 2673102"/>
                  <a:gd name="connsiteX135" fmla="*/ 154983 w 1739754"/>
                  <a:gd name="connsiteY135" fmla="*/ 1549152 h 2673102"/>
                  <a:gd name="connsiteX136" fmla="*/ 150221 w 1739754"/>
                  <a:gd name="connsiteY136" fmla="*/ 1411039 h 2673102"/>
                  <a:gd name="connsiteX137" fmla="*/ 140696 w 1739754"/>
                  <a:gd name="connsiteY137" fmla="*/ 1377702 h 2673102"/>
                  <a:gd name="connsiteX138" fmla="*/ 121646 w 1739754"/>
                  <a:gd name="connsiteY138" fmla="*/ 1311027 h 2673102"/>
                  <a:gd name="connsiteX139" fmla="*/ 116883 w 1739754"/>
                  <a:gd name="connsiteY139" fmla="*/ 1258639 h 2673102"/>
                  <a:gd name="connsiteX140" fmla="*/ 107358 w 1739754"/>
                  <a:gd name="connsiteY140" fmla="*/ 1244352 h 2673102"/>
                  <a:gd name="connsiteX141" fmla="*/ 93071 w 1739754"/>
                  <a:gd name="connsiteY141" fmla="*/ 1196727 h 2673102"/>
                  <a:gd name="connsiteX142" fmla="*/ 78783 w 1739754"/>
                  <a:gd name="connsiteY142" fmla="*/ 1177677 h 2673102"/>
                  <a:gd name="connsiteX143" fmla="*/ 59733 w 1739754"/>
                  <a:gd name="connsiteY143" fmla="*/ 1139577 h 2673102"/>
                  <a:gd name="connsiteX144" fmla="*/ 50208 w 1739754"/>
                  <a:gd name="connsiteY144" fmla="*/ 1111002 h 2673102"/>
                  <a:gd name="connsiteX145" fmla="*/ 45446 w 1739754"/>
                  <a:gd name="connsiteY145" fmla="*/ 1096714 h 2673102"/>
                  <a:gd name="connsiteX146" fmla="*/ 21633 w 1739754"/>
                  <a:gd name="connsiteY146" fmla="*/ 1025277 h 2673102"/>
                  <a:gd name="connsiteX147" fmla="*/ 202 w 1739754"/>
                  <a:gd name="connsiteY147" fmla="*/ 980033 h 2673102"/>
                  <a:gd name="connsiteX148" fmla="*/ 14490 w 1739754"/>
                  <a:gd name="connsiteY148" fmla="*/ 930027 h 2673102"/>
                  <a:gd name="connsiteX149" fmla="*/ 69259 w 1739754"/>
                  <a:gd name="connsiteY149" fmla="*/ 810964 h 2673102"/>
                  <a:gd name="connsiteX150" fmla="*/ 221658 w 1739754"/>
                  <a:gd name="connsiteY150" fmla="*/ 601414 h 2673102"/>
                  <a:gd name="connsiteX151" fmla="*/ 288333 w 1739754"/>
                  <a:gd name="connsiteY151" fmla="*/ 515689 h 2673102"/>
                  <a:gd name="connsiteX152" fmla="*/ 412158 w 1739754"/>
                  <a:gd name="connsiteY152" fmla="*/ 406152 h 2673102"/>
                  <a:gd name="connsiteX153" fmla="*/ 535983 w 1739754"/>
                  <a:gd name="connsiteY153" fmla="*/ 291851 h 2673102"/>
                  <a:gd name="connsiteX154" fmla="*/ 640758 w 1739754"/>
                  <a:gd name="connsiteY154" fmla="*/ 229939 h 2673102"/>
                  <a:gd name="connsiteX155" fmla="*/ 733628 w 1739754"/>
                  <a:gd name="connsiteY155" fmla="*/ 168026 h 2673102"/>
                  <a:gd name="connsiteX156" fmla="*/ 978896 w 1739754"/>
                  <a:gd name="connsiteY156" fmla="*/ 63251 h 2673102"/>
                  <a:gd name="connsiteX157" fmla="*/ 1159871 w 1739754"/>
                  <a:gd name="connsiteY157" fmla="*/ 6102 h 2673102"/>
                  <a:gd name="connsiteX158" fmla="*/ 1202733 w 1739754"/>
                  <a:gd name="connsiteY15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50408 w 1739754"/>
                  <a:gd name="connsiteY16" fmla="*/ 687139 h 2673102"/>
                  <a:gd name="connsiteX17" fmla="*/ 1669458 w 1739754"/>
                  <a:gd name="connsiteY17" fmla="*/ 696664 h 2673102"/>
                  <a:gd name="connsiteX18" fmla="*/ 1683746 w 1739754"/>
                  <a:gd name="connsiteY18" fmla="*/ 706189 h 2673102"/>
                  <a:gd name="connsiteX19" fmla="*/ 1709940 w 1739754"/>
                  <a:gd name="connsiteY19" fmla="*/ 749052 h 2673102"/>
                  <a:gd name="connsiteX20" fmla="*/ 1702796 w 1739754"/>
                  <a:gd name="connsiteY20" fmla="*/ 853827 h 2673102"/>
                  <a:gd name="connsiteX21" fmla="*/ 1664696 w 1739754"/>
                  <a:gd name="connsiteY21" fmla="*/ 887164 h 2673102"/>
                  <a:gd name="connsiteX22" fmla="*/ 1650408 w 1739754"/>
                  <a:gd name="connsiteY22" fmla="*/ 901452 h 2673102"/>
                  <a:gd name="connsiteX23" fmla="*/ 1598021 w 1739754"/>
                  <a:gd name="connsiteY23" fmla="*/ 906214 h 2673102"/>
                  <a:gd name="connsiteX24" fmla="*/ 1555158 w 1739754"/>
                  <a:gd name="connsiteY24" fmla="*/ 925264 h 2673102"/>
                  <a:gd name="connsiteX25" fmla="*/ 1531346 w 1739754"/>
                  <a:gd name="connsiteY25" fmla="*/ 939552 h 2673102"/>
                  <a:gd name="connsiteX26" fmla="*/ 1498008 w 1739754"/>
                  <a:gd name="connsiteY26" fmla="*/ 987177 h 2673102"/>
                  <a:gd name="connsiteX27" fmla="*/ 1345608 w 1739754"/>
                  <a:gd name="connsiteY27" fmla="*/ 1030039 h 2673102"/>
                  <a:gd name="connsiteX28" fmla="*/ 1297983 w 1739754"/>
                  <a:gd name="connsiteY28" fmla="*/ 1053852 h 2673102"/>
                  <a:gd name="connsiteX29" fmla="*/ 1231308 w 1739754"/>
                  <a:gd name="connsiteY29" fmla="*/ 1082427 h 2673102"/>
                  <a:gd name="connsiteX30" fmla="*/ 1126533 w 1739754"/>
                  <a:gd name="connsiteY30" fmla="*/ 1096714 h 2673102"/>
                  <a:gd name="connsiteX31" fmla="*/ 1102721 w 1739754"/>
                  <a:gd name="connsiteY31" fmla="*/ 1101477 h 2673102"/>
                  <a:gd name="connsiteX32" fmla="*/ 1078908 w 1739754"/>
                  <a:gd name="connsiteY32" fmla="*/ 1111002 h 2673102"/>
                  <a:gd name="connsiteX33" fmla="*/ 964608 w 1739754"/>
                  <a:gd name="connsiteY33" fmla="*/ 1106239 h 2673102"/>
                  <a:gd name="connsiteX34" fmla="*/ 859833 w 1739754"/>
                  <a:gd name="connsiteY34" fmla="*/ 1058614 h 2673102"/>
                  <a:gd name="connsiteX35" fmla="*/ 812208 w 1739754"/>
                  <a:gd name="connsiteY35" fmla="*/ 1034802 h 2673102"/>
                  <a:gd name="connsiteX36" fmla="*/ 788396 w 1739754"/>
                  <a:gd name="connsiteY36" fmla="*/ 1020514 h 2673102"/>
                  <a:gd name="connsiteX37" fmla="*/ 769346 w 1739754"/>
                  <a:gd name="connsiteY37" fmla="*/ 1006227 h 2673102"/>
                  <a:gd name="connsiteX38" fmla="*/ 678858 w 1739754"/>
                  <a:gd name="connsiteY38" fmla="*/ 958602 h 2673102"/>
                  <a:gd name="connsiteX39" fmla="*/ 645521 w 1739754"/>
                  <a:gd name="connsiteY39" fmla="*/ 939552 h 2673102"/>
                  <a:gd name="connsiteX40" fmla="*/ 526458 w 1739754"/>
                  <a:gd name="connsiteY40" fmla="*/ 910977 h 2673102"/>
                  <a:gd name="connsiteX41" fmla="*/ 483596 w 1739754"/>
                  <a:gd name="connsiteY41" fmla="*/ 891927 h 2673102"/>
                  <a:gd name="connsiteX42" fmla="*/ 421683 w 1739754"/>
                  <a:gd name="connsiteY42" fmla="*/ 882402 h 2673102"/>
                  <a:gd name="connsiteX43" fmla="*/ 321671 w 1739754"/>
                  <a:gd name="connsiteY43" fmla="*/ 896689 h 2673102"/>
                  <a:gd name="connsiteX44" fmla="*/ 307383 w 1739754"/>
                  <a:gd name="connsiteY44" fmla="*/ 910977 h 2673102"/>
                  <a:gd name="connsiteX45" fmla="*/ 283571 w 1739754"/>
                  <a:gd name="connsiteY45" fmla="*/ 949077 h 2673102"/>
                  <a:gd name="connsiteX46" fmla="*/ 269283 w 1739754"/>
                  <a:gd name="connsiteY46" fmla="*/ 987177 h 2673102"/>
                  <a:gd name="connsiteX47" fmla="*/ 264521 w 1739754"/>
                  <a:gd name="connsiteY47" fmla="*/ 1039564 h 2673102"/>
                  <a:gd name="connsiteX48" fmla="*/ 264521 w 1739754"/>
                  <a:gd name="connsiteY48" fmla="*/ 1120527 h 2673102"/>
                  <a:gd name="connsiteX49" fmla="*/ 297858 w 1739754"/>
                  <a:gd name="connsiteY49" fmla="*/ 1153864 h 2673102"/>
                  <a:gd name="connsiteX50" fmla="*/ 326433 w 1739754"/>
                  <a:gd name="connsiteY50" fmla="*/ 1163389 h 2673102"/>
                  <a:gd name="connsiteX51" fmla="*/ 326433 w 1739754"/>
                  <a:gd name="connsiteY51" fmla="*/ 1244352 h 2673102"/>
                  <a:gd name="connsiteX52" fmla="*/ 312146 w 1739754"/>
                  <a:gd name="connsiteY52" fmla="*/ 1258639 h 2673102"/>
                  <a:gd name="connsiteX53" fmla="*/ 259758 w 1739754"/>
                  <a:gd name="connsiteY53" fmla="*/ 1296739 h 2673102"/>
                  <a:gd name="connsiteX54" fmla="*/ 240708 w 1739754"/>
                  <a:gd name="connsiteY54" fmla="*/ 1325314 h 2673102"/>
                  <a:gd name="connsiteX55" fmla="*/ 250233 w 1739754"/>
                  <a:gd name="connsiteY55" fmla="*/ 1425327 h 2673102"/>
                  <a:gd name="connsiteX56" fmla="*/ 278808 w 1739754"/>
                  <a:gd name="connsiteY56" fmla="*/ 1472952 h 2673102"/>
                  <a:gd name="connsiteX57" fmla="*/ 293096 w 1739754"/>
                  <a:gd name="connsiteY57" fmla="*/ 1492002 h 2673102"/>
                  <a:gd name="connsiteX58" fmla="*/ 383583 w 1739754"/>
                  <a:gd name="connsiteY58" fmla="*/ 1525339 h 2673102"/>
                  <a:gd name="connsiteX59" fmla="*/ 407396 w 1739754"/>
                  <a:gd name="connsiteY59" fmla="*/ 1492002 h 2673102"/>
                  <a:gd name="connsiteX60" fmla="*/ 412158 w 1739754"/>
                  <a:gd name="connsiteY60" fmla="*/ 1468189 h 2673102"/>
                  <a:gd name="connsiteX61" fmla="*/ 416921 w 1739754"/>
                  <a:gd name="connsiteY61" fmla="*/ 1449139 h 2673102"/>
                  <a:gd name="connsiteX62" fmla="*/ 445496 w 1739754"/>
                  <a:gd name="connsiteY62" fmla="*/ 1439614 h 2673102"/>
                  <a:gd name="connsiteX63" fmla="*/ 545508 w 1739754"/>
                  <a:gd name="connsiteY63" fmla="*/ 1458664 h 2673102"/>
                  <a:gd name="connsiteX64" fmla="*/ 555033 w 1739754"/>
                  <a:gd name="connsiteY64" fmla="*/ 1482477 h 2673102"/>
                  <a:gd name="connsiteX65" fmla="*/ 564558 w 1739754"/>
                  <a:gd name="connsiteY65" fmla="*/ 1515814 h 2673102"/>
                  <a:gd name="connsiteX66" fmla="*/ 550271 w 1739754"/>
                  <a:gd name="connsiteY66" fmla="*/ 1534864 h 2673102"/>
                  <a:gd name="connsiteX67" fmla="*/ 550271 w 1739754"/>
                  <a:gd name="connsiteY67" fmla="*/ 1601539 h 2673102"/>
                  <a:gd name="connsiteX68" fmla="*/ 559796 w 1739754"/>
                  <a:gd name="connsiteY68" fmla="*/ 1620589 h 2673102"/>
                  <a:gd name="connsiteX69" fmla="*/ 626471 w 1739754"/>
                  <a:gd name="connsiteY69" fmla="*/ 1639639 h 2673102"/>
                  <a:gd name="connsiteX70" fmla="*/ 645521 w 1739754"/>
                  <a:gd name="connsiteY70" fmla="*/ 1592014 h 2673102"/>
                  <a:gd name="connsiteX71" fmla="*/ 702671 w 1739754"/>
                  <a:gd name="connsiteY71" fmla="*/ 1620589 h 2673102"/>
                  <a:gd name="connsiteX72" fmla="*/ 731246 w 1739754"/>
                  <a:gd name="connsiteY72" fmla="*/ 1630114 h 2673102"/>
                  <a:gd name="connsiteX73" fmla="*/ 783633 w 1739754"/>
                  <a:gd name="connsiteY73" fmla="*/ 1663452 h 2673102"/>
                  <a:gd name="connsiteX74" fmla="*/ 859833 w 1739754"/>
                  <a:gd name="connsiteY74" fmla="*/ 1687264 h 2673102"/>
                  <a:gd name="connsiteX75" fmla="*/ 878883 w 1739754"/>
                  <a:gd name="connsiteY75" fmla="*/ 1701552 h 2673102"/>
                  <a:gd name="connsiteX76" fmla="*/ 888408 w 1739754"/>
                  <a:gd name="connsiteY76" fmla="*/ 1739652 h 2673102"/>
                  <a:gd name="connsiteX77" fmla="*/ 897933 w 1739754"/>
                  <a:gd name="connsiteY77" fmla="*/ 1782514 h 2673102"/>
                  <a:gd name="connsiteX78" fmla="*/ 940796 w 1739754"/>
                  <a:gd name="connsiteY78" fmla="*/ 1892052 h 2673102"/>
                  <a:gd name="connsiteX79" fmla="*/ 950321 w 1739754"/>
                  <a:gd name="connsiteY79" fmla="*/ 1906339 h 2673102"/>
                  <a:gd name="connsiteX80" fmla="*/ 959846 w 1739754"/>
                  <a:gd name="connsiteY80" fmla="*/ 1939677 h 2673102"/>
                  <a:gd name="connsiteX81" fmla="*/ 974133 w 1739754"/>
                  <a:gd name="connsiteY81" fmla="*/ 1977777 h 2673102"/>
                  <a:gd name="connsiteX82" fmla="*/ 964608 w 1739754"/>
                  <a:gd name="connsiteY82" fmla="*/ 2082552 h 2673102"/>
                  <a:gd name="connsiteX83" fmla="*/ 955083 w 1739754"/>
                  <a:gd name="connsiteY83" fmla="*/ 2101602 h 2673102"/>
                  <a:gd name="connsiteX84" fmla="*/ 926508 w 1739754"/>
                  <a:gd name="connsiteY84" fmla="*/ 2144464 h 2673102"/>
                  <a:gd name="connsiteX85" fmla="*/ 907458 w 1739754"/>
                  <a:gd name="connsiteY85" fmla="*/ 2192089 h 2673102"/>
                  <a:gd name="connsiteX86" fmla="*/ 902696 w 1739754"/>
                  <a:gd name="connsiteY86" fmla="*/ 2211139 h 2673102"/>
                  <a:gd name="connsiteX87" fmla="*/ 893171 w 1739754"/>
                  <a:gd name="connsiteY87" fmla="*/ 2239714 h 2673102"/>
                  <a:gd name="connsiteX88" fmla="*/ 897933 w 1739754"/>
                  <a:gd name="connsiteY88" fmla="*/ 2287339 h 2673102"/>
                  <a:gd name="connsiteX89" fmla="*/ 893171 w 1739754"/>
                  <a:gd name="connsiteY89" fmla="*/ 2396877 h 2673102"/>
                  <a:gd name="connsiteX90" fmla="*/ 688383 w 1739754"/>
                  <a:gd name="connsiteY90" fmla="*/ 2449264 h 2673102"/>
                  <a:gd name="connsiteX91" fmla="*/ 655046 w 1739754"/>
                  <a:gd name="connsiteY91" fmla="*/ 2473077 h 2673102"/>
                  <a:gd name="connsiteX92" fmla="*/ 607421 w 1739754"/>
                  <a:gd name="connsiteY92" fmla="*/ 2511177 h 2673102"/>
                  <a:gd name="connsiteX93" fmla="*/ 574083 w 1739754"/>
                  <a:gd name="connsiteY93" fmla="*/ 2534989 h 2673102"/>
                  <a:gd name="connsiteX94" fmla="*/ 540746 w 1739754"/>
                  <a:gd name="connsiteY94" fmla="*/ 2554039 h 2673102"/>
                  <a:gd name="connsiteX95" fmla="*/ 497883 w 1739754"/>
                  <a:gd name="connsiteY95" fmla="*/ 2587377 h 2673102"/>
                  <a:gd name="connsiteX96" fmla="*/ 483596 w 1739754"/>
                  <a:gd name="connsiteY96" fmla="*/ 2601664 h 2673102"/>
                  <a:gd name="connsiteX97" fmla="*/ 459783 w 1739754"/>
                  <a:gd name="connsiteY97" fmla="*/ 2620714 h 2673102"/>
                  <a:gd name="connsiteX98" fmla="*/ 450258 w 1739754"/>
                  <a:gd name="connsiteY98" fmla="*/ 2635002 h 2673102"/>
                  <a:gd name="connsiteX99" fmla="*/ 416921 w 1739754"/>
                  <a:gd name="connsiteY99" fmla="*/ 2654052 h 2673102"/>
                  <a:gd name="connsiteX100" fmla="*/ 374058 w 1739754"/>
                  <a:gd name="connsiteY100" fmla="*/ 2673102 h 2673102"/>
                  <a:gd name="connsiteX101" fmla="*/ 359771 w 1739754"/>
                  <a:gd name="connsiteY101" fmla="*/ 2663577 h 2673102"/>
                  <a:gd name="connsiteX102" fmla="*/ 345483 w 1739754"/>
                  <a:gd name="connsiteY102" fmla="*/ 2635002 h 2673102"/>
                  <a:gd name="connsiteX103" fmla="*/ 335958 w 1739754"/>
                  <a:gd name="connsiteY103" fmla="*/ 2620714 h 2673102"/>
                  <a:gd name="connsiteX104" fmla="*/ 297858 w 1739754"/>
                  <a:gd name="connsiteY104" fmla="*/ 2611189 h 2673102"/>
                  <a:gd name="connsiteX105" fmla="*/ 278808 w 1739754"/>
                  <a:gd name="connsiteY105" fmla="*/ 2592139 h 2673102"/>
                  <a:gd name="connsiteX106" fmla="*/ 274046 w 1739754"/>
                  <a:gd name="connsiteY106" fmla="*/ 2573089 h 2673102"/>
                  <a:gd name="connsiteX107" fmla="*/ 235946 w 1739754"/>
                  <a:gd name="connsiteY107" fmla="*/ 2539752 h 2673102"/>
                  <a:gd name="connsiteX108" fmla="*/ 231183 w 1739754"/>
                  <a:gd name="connsiteY108" fmla="*/ 2525464 h 2673102"/>
                  <a:gd name="connsiteX109" fmla="*/ 226421 w 1739754"/>
                  <a:gd name="connsiteY109" fmla="*/ 2506414 h 2673102"/>
                  <a:gd name="connsiteX110" fmla="*/ 212133 w 1739754"/>
                  <a:gd name="connsiteY110" fmla="*/ 2492127 h 2673102"/>
                  <a:gd name="connsiteX111" fmla="*/ 154983 w 1739754"/>
                  <a:gd name="connsiteY111" fmla="*/ 2439739 h 2673102"/>
                  <a:gd name="connsiteX112" fmla="*/ 150221 w 1739754"/>
                  <a:gd name="connsiteY112" fmla="*/ 2415927 h 2673102"/>
                  <a:gd name="connsiteX113" fmla="*/ 135933 w 1739754"/>
                  <a:gd name="connsiteY113" fmla="*/ 2358777 h 2673102"/>
                  <a:gd name="connsiteX114" fmla="*/ 121646 w 1739754"/>
                  <a:gd name="connsiteY114" fmla="*/ 2315914 h 2673102"/>
                  <a:gd name="connsiteX115" fmla="*/ 107358 w 1739754"/>
                  <a:gd name="connsiteY115" fmla="*/ 2258764 h 2673102"/>
                  <a:gd name="connsiteX116" fmla="*/ 102596 w 1739754"/>
                  <a:gd name="connsiteY116" fmla="*/ 2234952 h 2673102"/>
                  <a:gd name="connsiteX117" fmla="*/ 93071 w 1739754"/>
                  <a:gd name="connsiteY117" fmla="*/ 2211139 h 2673102"/>
                  <a:gd name="connsiteX118" fmla="*/ 88308 w 1739754"/>
                  <a:gd name="connsiteY118" fmla="*/ 2187327 h 2673102"/>
                  <a:gd name="connsiteX119" fmla="*/ 78783 w 1739754"/>
                  <a:gd name="connsiteY119" fmla="*/ 2111127 h 2673102"/>
                  <a:gd name="connsiteX120" fmla="*/ 97833 w 1739754"/>
                  <a:gd name="connsiteY120" fmla="*/ 1944439 h 2673102"/>
                  <a:gd name="connsiteX121" fmla="*/ 107358 w 1739754"/>
                  <a:gd name="connsiteY121" fmla="*/ 1930152 h 2673102"/>
                  <a:gd name="connsiteX122" fmla="*/ 126408 w 1739754"/>
                  <a:gd name="connsiteY122" fmla="*/ 1901577 h 2673102"/>
                  <a:gd name="connsiteX123" fmla="*/ 135933 w 1739754"/>
                  <a:gd name="connsiteY123" fmla="*/ 1868239 h 2673102"/>
                  <a:gd name="connsiteX124" fmla="*/ 131171 w 1739754"/>
                  <a:gd name="connsiteY124" fmla="*/ 1825377 h 2673102"/>
                  <a:gd name="connsiteX125" fmla="*/ 112121 w 1739754"/>
                  <a:gd name="connsiteY125" fmla="*/ 1820614 h 2673102"/>
                  <a:gd name="connsiteX126" fmla="*/ 102596 w 1739754"/>
                  <a:gd name="connsiteY126" fmla="*/ 1806327 h 2673102"/>
                  <a:gd name="connsiteX127" fmla="*/ 145458 w 1739754"/>
                  <a:gd name="connsiteY127" fmla="*/ 1720602 h 2673102"/>
                  <a:gd name="connsiteX128" fmla="*/ 159746 w 1739754"/>
                  <a:gd name="connsiteY128" fmla="*/ 1715839 h 2673102"/>
                  <a:gd name="connsiteX129" fmla="*/ 174033 w 1739754"/>
                  <a:gd name="connsiteY129" fmla="*/ 1696789 h 2673102"/>
                  <a:gd name="connsiteX130" fmla="*/ 188321 w 1739754"/>
                  <a:gd name="connsiteY130" fmla="*/ 1687264 h 2673102"/>
                  <a:gd name="connsiteX131" fmla="*/ 202608 w 1739754"/>
                  <a:gd name="connsiteY131" fmla="*/ 1653927 h 2673102"/>
                  <a:gd name="connsiteX132" fmla="*/ 193083 w 1739754"/>
                  <a:gd name="connsiteY132" fmla="*/ 1606302 h 2673102"/>
                  <a:gd name="connsiteX133" fmla="*/ 164508 w 1739754"/>
                  <a:gd name="connsiteY133" fmla="*/ 1596777 h 2673102"/>
                  <a:gd name="connsiteX134" fmla="*/ 154983 w 1739754"/>
                  <a:gd name="connsiteY134" fmla="*/ 1549152 h 2673102"/>
                  <a:gd name="connsiteX135" fmla="*/ 150221 w 1739754"/>
                  <a:gd name="connsiteY135" fmla="*/ 1411039 h 2673102"/>
                  <a:gd name="connsiteX136" fmla="*/ 140696 w 1739754"/>
                  <a:gd name="connsiteY136" fmla="*/ 1377702 h 2673102"/>
                  <a:gd name="connsiteX137" fmla="*/ 121646 w 1739754"/>
                  <a:gd name="connsiteY137" fmla="*/ 1311027 h 2673102"/>
                  <a:gd name="connsiteX138" fmla="*/ 116883 w 1739754"/>
                  <a:gd name="connsiteY138" fmla="*/ 1258639 h 2673102"/>
                  <a:gd name="connsiteX139" fmla="*/ 107358 w 1739754"/>
                  <a:gd name="connsiteY139" fmla="*/ 1244352 h 2673102"/>
                  <a:gd name="connsiteX140" fmla="*/ 93071 w 1739754"/>
                  <a:gd name="connsiteY140" fmla="*/ 1196727 h 2673102"/>
                  <a:gd name="connsiteX141" fmla="*/ 78783 w 1739754"/>
                  <a:gd name="connsiteY141" fmla="*/ 1177677 h 2673102"/>
                  <a:gd name="connsiteX142" fmla="*/ 59733 w 1739754"/>
                  <a:gd name="connsiteY142" fmla="*/ 1139577 h 2673102"/>
                  <a:gd name="connsiteX143" fmla="*/ 50208 w 1739754"/>
                  <a:gd name="connsiteY143" fmla="*/ 1111002 h 2673102"/>
                  <a:gd name="connsiteX144" fmla="*/ 45446 w 1739754"/>
                  <a:gd name="connsiteY144" fmla="*/ 1096714 h 2673102"/>
                  <a:gd name="connsiteX145" fmla="*/ 21633 w 1739754"/>
                  <a:gd name="connsiteY145" fmla="*/ 1025277 h 2673102"/>
                  <a:gd name="connsiteX146" fmla="*/ 202 w 1739754"/>
                  <a:gd name="connsiteY146" fmla="*/ 980033 h 2673102"/>
                  <a:gd name="connsiteX147" fmla="*/ 14490 w 1739754"/>
                  <a:gd name="connsiteY147" fmla="*/ 930027 h 2673102"/>
                  <a:gd name="connsiteX148" fmla="*/ 69259 w 1739754"/>
                  <a:gd name="connsiteY148" fmla="*/ 810964 h 2673102"/>
                  <a:gd name="connsiteX149" fmla="*/ 221658 w 1739754"/>
                  <a:gd name="connsiteY149" fmla="*/ 601414 h 2673102"/>
                  <a:gd name="connsiteX150" fmla="*/ 288333 w 1739754"/>
                  <a:gd name="connsiteY150" fmla="*/ 515689 h 2673102"/>
                  <a:gd name="connsiteX151" fmla="*/ 412158 w 1739754"/>
                  <a:gd name="connsiteY151" fmla="*/ 406152 h 2673102"/>
                  <a:gd name="connsiteX152" fmla="*/ 535983 w 1739754"/>
                  <a:gd name="connsiteY152" fmla="*/ 291851 h 2673102"/>
                  <a:gd name="connsiteX153" fmla="*/ 640758 w 1739754"/>
                  <a:gd name="connsiteY153" fmla="*/ 229939 h 2673102"/>
                  <a:gd name="connsiteX154" fmla="*/ 733628 w 1739754"/>
                  <a:gd name="connsiteY154" fmla="*/ 168026 h 2673102"/>
                  <a:gd name="connsiteX155" fmla="*/ 978896 w 1739754"/>
                  <a:gd name="connsiteY155" fmla="*/ 63251 h 2673102"/>
                  <a:gd name="connsiteX156" fmla="*/ 1159871 w 1739754"/>
                  <a:gd name="connsiteY156" fmla="*/ 6102 h 2673102"/>
                  <a:gd name="connsiteX157" fmla="*/ 1202733 w 1739754"/>
                  <a:gd name="connsiteY15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69458 w 1739754"/>
                  <a:gd name="connsiteY16" fmla="*/ 696664 h 2673102"/>
                  <a:gd name="connsiteX17" fmla="*/ 1683746 w 1739754"/>
                  <a:gd name="connsiteY17" fmla="*/ 706189 h 2673102"/>
                  <a:gd name="connsiteX18" fmla="*/ 1709940 w 1739754"/>
                  <a:gd name="connsiteY18" fmla="*/ 749052 h 2673102"/>
                  <a:gd name="connsiteX19" fmla="*/ 1702796 w 1739754"/>
                  <a:gd name="connsiteY19" fmla="*/ 853827 h 2673102"/>
                  <a:gd name="connsiteX20" fmla="*/ 1664696 w 1739754"/>
                  <a:gd name="connsiteY20" fmla="*/ 887164 h 2673102"/>
                  <a:gd name="connsiteX21" fmla="*/ 1650408 w 1739754"/>
                  <a:gd name="connsiteY21" fmla="*/ 901452 h 2673102"/>
                  <a:gd name="connsiteX22" fmla="*/ 1598021 w 1739754"/>
                  <a:gd name="connsiteY22" fmla="*/ 906214 h 2673102"/>
                  <a:gd name="connsiteX23" fmla="*/ 1555158 w 1739754"/>
                  <a:gd name="connsiteY23" fmla="*/ 925264 h 2673102"/>
                  <a:gd name="connsiteX24" fmla="*/ 1531346 w 1739754"/>
                  <a:gd name="connsiteY24" fmla="*/ 939552 h 2673102"/>
                  <a:gd name="connsiteX25" fmla="*/ 1498008 w 1739754"/>
                  <a:gd name="connsiteY25" fmla="*/ 987177 h 2673102"/>
                  <a:gd name="connsiteX26" fmla="*/ 1345608 w 1739754"/>
                  <a:gd name="connsiteY26" fmla="*/ 1030039 h 2673102"/>
                  <a:gd name="connsiteX27" fmla="*/ 1297983 w 1739754"/>
                  <a:gd name="connsiteY27" fmla="*/ 1053852 h 2673102"/>
                  <a:gd name="connsiteX28" fmla="*/ 1231308 w 1739754"/>
                  <a:gd name="connsiteY28" fmla="*/ 1082427 h 2673102"/>
                  <a:gd name="connsiteX29" fmla="*/ 1126533 w 1739754"/>
                  <a:gd name="connsiteY29" fmla="*/ 1096714 h 2673102"/>
                  <a:gd name="connsiteX30" fmla="*/ 1102721 w 1739754"/>
                  <a:gd name="connsiteY30" fmla="*/ 1101477 h 2673102"/>
                  <a:gd name="connsiteX31" fmla="*/ 1078908 w 1739754"/>
                  <a:gd name="connsiteY31" fmla="*/ 1111002 h 2673102"/>
                  <a:gd name="connsiteX32" fmla="*/ 964608 w 1739754"/>
                  <a:gd name="connsiteY32" fmla="*/ 1106239 h 2673102"/>
                  <a:gd name="connsiteX33" fmla="*/ 859833 w 1739754"/>
                  <a:gd name="connsiteY33" fmla="*/ 1058614 h 2673102"/>
                  <a:gd name="connsiteX34" fmla="*/ 812208 w 1739754"/>
                  <a:gd name="connsiteY34" fmla="*/ 1034802 h 2673102"/>
                  <a:gd name="connsiteX35" fmla="*/ 788396 w 1739754"/>
                  <a:gd name="connsiteY35" fmla="*/ 1020514 h 2673102"/>
                  <a:gd name="connsiteX36" fmla="*/ 769346 w 1739754"/>
                  <a:gd name="connsiteY36" fmla="*/ 1006227 h 2673102"/>
                  <a:gd name="connsiteX37" fmla="*/ 678858 w 1739754"/>
                  <a:gd name="connsiteY37" fmla="*/ 958602 h 2673102"/>
                  <a:gd name="connsiteX38" fmla="*/ 645521 w 1739754"/>
                  <a:gd name="connsiteY38" fmla="*/ 939552 h 2673102"/>
                  <a:gd name="connsiteX39" fmla="*/ 526458 w 1739754"/>
                  <a:gd name="connsiteY39" fmla="*/ 910977 h 2673102"/>
                  <a:gd name="connsiteX40" fmla="*/ 483596 w 1739754"/>
                  <a:gd name="connsiteY40" fmla="*/ 891927 h 2673102"/>
                  <a:gd name="connsiteX41" fmla="*/ 421683 w 1739754"/>
                  <a:gd name="connsiteY41" fmla="*/ 882402 h 2673102"/>
                  <a:gd name="connsiteX42" fmla="*/ 321671 w 1739754"/>
                  <a:gd name="connsiteY42" fmla="*/ 896689 h 2673102"/>
                  <a:gd name="connsiteX43" fmla="*/ 307383 w 1739754"/>
                  <a:gd name="connsiteY43" fmla="*/ 910977 h 2673102"/>
                  <a:gd name="connsiteX44" fmla="*/ 283571 w 1739754"/>
                  <a:gd name="connsiteY44" fmla="*/ 949077 h 2673102"/>
                  <a:gd name="connsiteX45" fmla="*/ 269283 w 1739754"/>
                  <a:gd name="connsiteY45" fmla="*/ 987177 h 2673102"/>
                  <a:gd name="connsiteX46" fmla="*/ 264521 w 1739754"/>
                  <a:gd name="connsiteY46" fmla="*/ 1039564 h 2673102"/>
                  <a:gd name="connsiteX47" fmla="*/ 264521 w 1739754"/>
                  <a:gd name="connsiteY47" fmla="*/ 1120527 h 2673102"/>
                  <a:gd name="connsiteX48" fmla="*/ 297858 w 1739754"/>
                  <a:gd name="connsiteY48" fmla="*/ 1153864 h 2673102"/>
                  <a:gd name="connsiteX49" fmla="*/ 326433 w 1739754"/>
                  <a:gd name="connsiteY49" fmla="*/ 1163389 h 2673102"/>
                  <a:gd name="connsiteX50" fmla="*/ 326433 w 1739754"/>
                  <a:gd name="connsiteY50" fmla="*/ 1244352 h 2673102"/>
                  <a:gd name="connsiteX51" fmla="*/ 312146 w 1739754"/>
                  <a:gd name="connsiteY51" fmla="*/ 1258639 h 2673102"/>
                  <a:gd name="connsiteX52" fmla="*/ 259758 w 1739754"/>
                  <a:gd name="connsiteY52" fmla="*/ 1296739 h 2673102"/>
                  <a:gd name="connsiteX53" fmla="*/ 240708 w 1739754"/>
                  <a:gd name="connsiteY53" fmla="*/ 1325314 h 2673102"/>
                  <a:gd name="connsiteX54" fmla="*/ 250233 w 1739754"/>
                  <a:gd name="connsiteY54" fmla="*/ 1425327 h 2673102"/>
                  <a:gd name="connsiteX55" fmla="*/ 278808 w 1739754"/>
                  <a:gd name="connsiteY55" fmla="*/ 1472952 h 2673102"/>
                  <a:gd name="connsiteX56" fmla="*/ 293096 w 1739754"/>
                  <a:gd name="connsiteY56" fmla="*/ 1492002 h 2673102"/>
                  <a:gd name="connsiteX57" fmla="*/ 383583 w 1739754"/>
                  <a:gd name="connsiteY57" fmla="*/ 1525339 h 2673102"/>
                  <a:gd name="connsiteX58" fmla="*/ 407396 w 1739754"/>
                  <a:gd name="connsiteY58" fmla="*/ 1492002 h 2673102"/>
                  <a:gd name="connsiteX59" fmla="*/ 412158 w 1739754"/>
                  <a:gd name="connsiteY59" fmla="*/ 1468189 h 2673102"/>
                  <a:gd name="connsiteX60" fmla="*/ 416921 w 1739754"/>
                  <a:gd name="connsiteY60" fmla="*/ 1449139 h 2673102"/>
                  <a:gd name="connsiteX61" fmla="*/ 445496 w 1739754"/>
                  <a:gd name="connsiteY61" fmla="*/ 1439614 h 2673102"/>
                  <a:gd name="connsiteX62" fmla="*/ 545508 w 1739754"/>
                  <a:gd name="connsiteY62" fmla="*/ 1458664 h 2673102"/>
                  <a:gd name="connsiteX63" fmla="*/ 555033 w 1739754"/>
                  <a:gd name="connsiteY63" fmla="*/ 1482477 h 2673102"/>
                  <a:gd name="connsiteX64" fmla="*/ 564558 w 1739754"/>
                  <a:gd name="connsiteY64" fmla="*/ 1515814 h 2673102"/>
                  <a:gd name="connsiteX65" fmla="*/ 550271 w 1739754"/>
                  <a:gd name="connsiteY65" fmla="*/ 1534864 h 2673102"/>
                  <a:gd name="connsiteX66" fmla="*/ 550271 w 1739754"/>
                  <a:gd name="connsiteY66" fmla="*/ 1601539 h 2673102"/>
                  <a:gd name="connsiteX67" fmla="*/ 559796 w 1739754"/>
                  <a:gd name="connsiteY67" fmla="*/ 1620589 h 2673102"/>
                  <a:gd name="connsiteX68" fmla="*/ 626471 w 1739754"/>
                  <a:gd name="connsiteY68" fmla="*/ 1639639 h 2673102"/>
                  <a:gd name="connsiteX69" fmla="*/ 645521 w 1739754"/>
                  <a:gd name="connsiteY69" fmla="*/ 1592014 h 2673102"/>
                  <a:gd name="connsiteX70" fmla="*/ 702671 w 1739754"/>
                  <a:gd name="connsiteY70" fmla="*/ 1620589 h 2673102"/>
                  <a:gd name="connsiteX71" fmla="*/ 731246 w 1739754"/>
                  <a:gd name="connsiteY71" fmla="*/ 1630114 h 2673102"/>
                  <a:gd name="connsiteX72" fmla="*/ 783633 w 1739754"/>
                  <a:gd name="connsiteY72" fmla="*/ 1663452 h 2673102"/>
                  <a:gd name="connsiteX73" fmla="*/ 859833 w 1739754"/>
                  <a:gd name="connsiteY73" fmla="*/ 1687264 h 2673102"/>
                  <a:gd name="connsiteX74" fmla="*/ 878883 w 1739754"/>
                  <a:gd name="connsiteY74" fmla="*/ 1701552 h 2673102"/>
                  <a:gd name="connsiteX75" fmla="*/ 888408 w 1739754"/>
                  <a:gd name="connsiteY75" fmla="*/ 1739652 h 2673102"/>
                  <a:gd name="connsiteX76" fmla="*/ 897933 w 1739754"/>
                  <a:gd name="connsiteY76" fmla="*/ 1782514 h 2673102"/>
                  <a:gd name="connsiteX77" fmla="*/ 940796 w 1739754"/>
                  <a:gd name="connsiteY77" fmla="*/ 1892052 h 2673102"/>
                  <a:gd name="connsiteX78" fmla="*/ 950321 w 1739754"/>
                  <a:gd name="connsiteY78" fmla="*/ 1906339 h 2673102"/>
                  <a:gd name="connsiteX79" fmla="*/ 959846 w 1739754"/>
                  <a:gd name="connsiteY79" fmla="*/ 1939677 h 2673102"/>
                  <a:gd name="connsiteX80" fmla="*/ 974133 w 1739754"/>
                  <a:gd name="connsiteY80" fmla="*/ 1977777 h 2673102"/>
                  <a:gd name="connsiteX81" fmla="*/ 964608 w 1739754"/>
                  <a:gd name="connsiteY81" fmla="*/ 2082552 h 2673102"/>
                  <a:gd name="connsiteX82" fmla="*/ 955083 w 1739754"/>
                  <a:gd name="connsiteY82" fmla="*/ 2101602 h 2673102"/>
                  <a:gd name="connsiteX83" fmla="*/ 926508 w 1739754"/>
                  <a:gd name="connsiteY83" fmla="*/ 2144464 h 2673102"/>
                  <a:gd name="connsiteX84" fmla="*/ 907458 w 1739754"/>
                  <a:gd name="connsiteY84" fmla="*/ 2192089 h 2673102"/>
                  <a:gd name="connsiteX85" fmla="*/ 902696 w 1739754"/>
                  <a:gd name="connsiteY85" fmla="*/ 2211139 h 2673102"/>
                  <a:gd name="connsiteX86" fmla="*/ 893171 w 1739754"/>
                  <a:gd name="connsiteY86" fmla="*/ 2239714 h 2673102"/>
                  <a:gd name="connsiteX87" fmla="*/ 897933 w 1739754"/>
                  <a:gd name="connsiteY87" fmla="*/ 2287339 h 2673102"/>
                  <a:gd name="connsiteX88" fmla="*/ 893171 w 1739754"/>
                  <a:gd name="connsiteY88" fmla="*/ 2396877 h 2673102"/>
                  <a:gd name="connsiteX89" fmla="*/ 688383 w 1739754"/>
                  <a:gd name="connsiteY89" fmla="*/ 2449264 h 2673102"/>
                  <a:gd name="connsiteX90" fmla="*/ 655046 w 1739754"/>
                  <a:gd name="connsiteY90" fmla="*/ 2473077 h 2673102"/>
                  <a:gd name="connsiteX91" fmla="*/ 607421 w 1739754"/>
                  <a:gd name="connsiteY91" fmla="*/ 2511177 h 2673102"/>
                  <a:gd name="connsiteX92" fmla="*/ 574083 w 1739754"/>
                  <a:gd name="connsiteY92" fmla="*/ 2534989 h 2673102"/>
                  <a:gd name="connsiteX93" fmla="*/ 540746 w 1739754"/>
                  <a:gd name="connsiteY93" fmla="*/ 2554039 h 2673102"/>
                  <a:gd name="connsiteX94" fmla="*/ 497883 w 1739754"/>
                  <a:gd name="connsiteY94" fmla="*/ 2587377 h 2673102"/>
                  <a:gd name="connsiteX95" fmla="*/ 483596 w 1739754"/>
                  <a:gd name="connsiteY95" fmla="*/ 2601664 h 2673102"/>
                  <a:gd name="connsiteX96" fmla="*/ 459783 w 1739754"/>
                  <a:gd name="connsiteY96" fmla="*/ 2620714 h 2673102"/>
                  <a:gd name="connsiteX97" fmla="*/ 450258 w 1739754"/>
                  <a:gd name="connsiteY97" fmla="*/ 2635002 h 2673102"/>
                  <a:gd name="connsiteX98" fmla="*/ 416921 w 1739754"/>
                  <a:gd name="connsiteY98" fmla="*/ 2654052 h 2673102"/>
                  <a:gd name="connsiteX99" fmla="*/ 374058 w 1739754"/>
                  <a:gd name="connsiteY99" fmla="*/ 2673102 h 2673102"/>
                  <a:gd name="connsiteX100" fmla="*/ 359771 w 1739754"/>
                  <a:gd name="connsiteY100" fmla="*/ 2663577 h 2673102"/>
                  <a:gd name="connsiteX101" fmla="*/ 345483 w 1739754"/>
                  <a:gd name="connsiteY101" fmla="*/ 2635002 h 2673102"/>
                  <a:gd name="connsiteX102" fmla="*/ 335958 w 1739754"/>
                  <a:gd name="connsiteY102" fmla="*/ 2620714 h 2673102"/>
                  <a:gd name="connsiteX103" fmla="*/ 297858 w 1739754"/>
                  <a:gd name="connsiteY103" fmla="*/ 2611189 h 2673102"/>
                  <a:gd name="connsiteX104" fmla="*/ 278808 w 1739754"/>
                  <a:gd name="connsiteY104" fmla="*/ 2592139 h 2673102"/>
                  <a:gd name="connsiteX105" fmla="*/ 274046 w 1739754"/>
                  <a:gd name="connsiteY105" fmla="*/ 2573089 h 2673102"/>
                  <a:gd name="connsiteX106" fmla="*/ 235946 w 1739754"/>
                  <a:gd name="connsiteY106" fmla="*/ 2539752 h 2673102"/>
                  <a:gd name="connsiteX107" fmla="*/ 231183 w 1739754"/>
                  <a:gd name="connsiteY107" fmla="*/ 2525464 h 2673102"/>
                  <a:gd name="connsiteX108" fmla="*/ 226421 w 1739754"/>
                  <a:gd name="connsiteY108" fmla="*/ 2506414 h 2673102"/>
                  <a:gd name="connsiteX109" fmla="*/ 212133 w 1739754"/>
                  <a:gd name="connsiteY109" fmla="*/ 2492127 h 2673102"/>
                  <a:gd name="connsiteX110" fmla="*/ 154983 w 1739754"/>
                  <a:gd name="connsiteY110" fmla="*/ 2439739 h 2673102"/>
                  <a:gd name="connsiteX111" fmla="*/ 150221 w 1739754"/>
                  <a:gd name="connsiteY111" fmla="*/ 2415927 h 2673102"/>
                  <a:gd name="connsiteX112" fmla="*/ 135933 w 1739754"/>
                  <a:gd name="connsiteY112" fmla="*/ 2358777 h 2673102"/>
                  <a:gd name="connsiteX113" fmla="*/ 121646 w 1739754"/>
                  <a:gd name="connsiteY113" fmla="*/ 2315914 h 2673102"/>
                  <a:gd name="connsiteX114" fmla="*/ 107358 w 1739754"/>
                  <a:gd name="connsiteY114" fmla="*/ 2258764 h 2673102"/>
                  <a:gd name="connsiteX115" fmla="*/ 102596 w 1739754"/>
                  <a:gd name="connsiteY115" fmla="*/ 2234952 h 2673102"/>
                  <a:gd name="connsiteX116" fmla="*/ 93071 w 1739754"/>
                  <a:gd name="connsiteY116" fmla="*/ 2211139 h 2673102"/>
                  <a:gd name="connsiteX117" fmla="*/ 88308 w 1739754"/>
                  <a:gd name="connsiteY117" fmla="*/ 2187327 h 2673102"/>
                  <a:gd name="connsiteX118" fmla="*/ 78783 w 1739754"/>
                  <a:gd name="connsiteY118" fmla="*/ 2111127 h 2673102"/>
                  <a:gd name="connsiteX119" fmla="*/ 97833 w 1739754"/>
                  <a:gd name="connsiteY119" fmla="*/ 1944439 h 2673102"/>
                  <a:gd name="connsiteX120" fmla="*/ 107358 w 1739754"/>
                  <a:gd name="connsiteY120" fmla="*/ 1930152 h 2673102"/>
                  <a:gd name="connsiteX121" fmla="*/ 126408 w 1739754"/>
                  <a:gd name="connsiteY121" fmla="*/ 1901577 h 2673102"/>
                  <a:gd name="connsiteX122" fmla="*/ 135933 w 1739754"/>
                  <a:gd name="connsiteY122" fmla="*/ 1868239 h 2673102"/>
                  <a:gd name="connsiteX123" fmla="*/ 131171 w 1739754"/>
                  <a:gd name="connsiteY123" fmla="*/ 1825377 h 2673102"/>
                  <a:gd name="connsiteX124" fmla="*/ 112121 w 1739754"/>
                  <a:gd name="connsiteY124" fmla="*/ 1820614 h 2673102"/>
                  <a:gd name="connsiteX125" fmla="*/ 102596 w 1739754"/>
                  <a:gd name="connsiteY125" fmla="*/ 1806327 h 2673102"/>
                  <a:gd name="connsiteX126" fmla="*/ 145458 w 1739754"/>
                  <a:gd name="connsiteY126" fmla="*/ 1720602 h 2673102"/>
                  <a:gd name="connsiteX127" fmla="*/ 159746 w 1739754"/>
                  <a:gd name="connsiteY127" fmla="*/ 1715839 h 2673102"/>
                  <a:gd name="connsiteX128" fmla="*/ 174033 w 1739754"/>
                  <a:gd name="connsiteY128" fmla="*/ 1696789 h 2673102"/>
                  <a:gd name="connsiteX129" fmla="*/ 188321 w 1739754"/>
                  <a:gd name="connsiteY129" fmla="*/ 1687264 h 2673102"/>
                  <a:gd name="connsiteX130" fmla="*/ 202608 w 1739754"/>
                  <a:gd name="connsiteY130" fmla="*/ 1653927 h 2673102"/>
                  <a:gd name="connsiteX131" fmla="*/ 193083 w 1739754"/>
                  <a:gd name="connsiteY131" fmla="*/ 1606302 h 2673102"/>
                  <a:gd name="connsiteX132" fmla="*/ 164508 w 1739754"/>
                  <a:gd name="connsiteY132" fmla="*/ 1596777 h 2673102"/>
                  <a:gd name="connsiteX133" fmla="*/ 154983 w 1739754"/>
                  <a:gd name="connsiteY133" fmla="*/ 1549152 h 2673102"/>
                  <a:gd name="connsiteX134" fmla="*/ 150221 w 1739754"/>
                  <a:gd name="connsiteY134" fmla="*/ 1411039 h 2673102"/>
                  <a:gd name="connsiteX135" fmla="*/ 140696 w 1739754"/>
                  <a:gd name="connsiteY135" fmla="*/ 1377702 h 2673102"/>
                  <a:gd name="connsiteX136" fmla="*/ 121646 w 1739754"/>
                  <a:gd name="connsiteY136" fmla="*/ 1311027 h 2673102"/>
                  <a:gd name="connsiteX137" fmla="*/ 116883 w 1739754"/>
                  <a:gd name="connsiteY137" fmla="*/ 1258639 h 2673102"/>
                  <a:gd name="connsiteX138" fmla="*/ 107358 w 1739754"/>
                  <a:gd name="connsiteY138" fmla="*/ 1244352 h 2673102"/>
                  <a:gd name="connsiteX139" fmla="*/ 93071 w 1739754"/>
                  <a:gd name="connsiteY139" fmla="*/ 1196727 h 2673102"/>
                  <a:gd name="connsiteX140" fmla="*/ 78783 w 1739754"/>
                  <a:gd name="connsiteY140" fmla="*/ 1177677 h 2673102"/>
                  <a:gd name="connsiteX141" fmla="*/ 59733 w 1739754"/>
                  <a:gd name="connsiteY141" fmla="*/ 1139577 h 2673102"/>
                  <a:gd name="connsiteX142" fmla="*/ 50208 w 1739754"/>
                  <a:gd name="connsiteY142" fmla="*/ 1111002 h 2673102"/>
                  <a:gd name="connsiteX143" fmla="*/ 45446 w 1739754"/>
                  <a:gd name="connsiteY143" fmla="*/ 1096714 h 2673102"/>
                  <a:gd name="connsiteX144" fmla="*/ 21633 w 1739754"/>
                  <a:gd name="connsiteY144" fmla="*/ 1025277 h 2673102"/>
                  <a:gd name="connsiteX145" fmla="*/ 202 w 1739754"/>
                  <a:gd name="connsiteY145" fmla="*/ 980033 h 2673102"/>
                  <a:gd name="connsiteX146" fmla="*/ 14490 w 1739754"/>
                  <a:gd name="connsiteY146" fmla="*/ 930027 h 2673102"/>
                  <a:gd name="connsiteX147" fmla="*/ 69259 w 1739754"/>
                  <a:gd name="connsiteY147" fmla="*/ 810964 h 2673102"/>
                  <a:gd name="connsiteX148" fmla="*/ 221658 w 1739754"/>
                  <a:gd name="connsiteY148" fmla="*/ 601414 h 2673102"/>
                  <a:gd name="connsiteX149" fmla="*/ 288333 w 1739754"/>
                  <a:gd name="connsiteY149" fmla="*/ 515689 h 2673102"/>
                  <a:gd name="connsiteX150" fmla="*/ 412158 w 1739754"/>
                  <a:gd name="connsiteY150" fmla="*/ 406152 h 2673102"/>
                  <a:gd name="connsiteX151" fmla="*/ 535983 w 1739754"/>
                  <a:gd name="connsiteY151" fmla="*/ 291851 h 2673102"/>
                  <a:gd name="connsiteX152" fmla="*/ 640758 w 1739754"/>
                  <a:gd name="connsiteY152" fmla="*/ 229939 h 2673102"/>
                  <a:gd name="connsiteX153" fmla="*/ 733628 w 1739754"/>
                  <a:gd name="connsiteY153" fmla="*/ 168026 h 2673102"/>
                  <a:gd name="connsiteX154" fmla="*/ 978896 w 1739754"/>
                  <a:gd name="connsiteY154" fmla="*/ 63251 h 2673102"/>
                  <a:gd name="connsiteX155" fmla="*/ 1159871 w 1739754"/>
                  <a:gd name="connsiteY155" fmla="*/ 6102 h 2673102"/>
                  <a:gd name="connsiteX156" fmla="*/ 1202733 w 1739754"/>
                  <a:gd name="connsiteY15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650408 w 1739754"/>
                  <a:gd name="connsiteY20" fmla="*/ 901452 h 2673102"/>
                  <a:gd name="connsiteX21" fmla="*/ 1598021 w 1739754"/>
                  <a:gd name="connsiteY21" fmla="*/ 906214 h 2673102"/>
                  <a:gd name="connsiteX22" fmla="*/ 1555158 w 1739754"/>
                  <a:gd name="connsiteY22" fmla="*/ 925264 h 2673102"/>
                  <a:gd name="connsiteX23" fmla="*/ 1531346 w 1739754"/>
                  <a:gd name="connsiteY23" fmla="*/ 939552 h 2673102"/>
                  <a:gd name="connsiteX24" fmla="*/ 1498008 w 1739754"/>
                  <a:gd name="connsiteY24" fmla="*/ 987177 h 2673102"/>
                  <a:gd name="connsiteX25" fmla="*/ 1345608 w 1739754"/>
                  <a:gd name="connsiteY25" fmla="*/ 1030039 h 2673102"/>
                  <a:gd name="connsiteX26" fmla="*/ 1297983 w 1739754"/>
                  <a:gd name="connsiteY26" fmla="*/ 1053852 h 2673102"/>
                  <a:gd name="connsiteX27" fmla="*/ 1231308 w 1739754"/>
                  <a:gd name="connsiteY27" fmla="*/ 1082427 h 2673102"/>
                  <a:gd name="connsiteX28" fmla="*/ 1126533 w 1739754"/>
                  <a:gd name="connsiteY28" fmla="*/ 1096714 h 2673102"/>
                  <a:gd name="connsiteX29" fmla="*/ 1102721 w 1739754"/>
                  <a:gd name="connsiteY29" fmla="*/ 1101477 h 2673102"/>
                  <a:gd name="connsiteX30" fmla="*/ 1078908 w 1739754"/>
                  <a:gd name="connsiteY30" fmla="*/ 1111002 h 2673102"/>
                  <a:gd name="connsiteX31" fmla="*/ 964608 w 1739754"/>
                  <a:gd name="connsiteY31" fmla="*/ 1106239 h 2673102"/>
                  <a:gd name="connsiteX32" fmla="*/ 859833 w 1739754"/>
                  <a:gd name="connsiteY32" fmla="*/ 1058614 h 2673102"/>
                  <a:gd name="connsiteX33" fmla="*/ 812208 w 1739754"/>
                  <a:gd name="connsiteY33" fmla="*/ 1034802 h 2673102"/>
                  <a:gd name="connsiteX34" fmla="*/ 788396 w 1739754"/>
                  <a:gd name="connsiteY34" fmla="*/ 1020514 h 2673102"/>
                  <a:gd name="connsiteX35" fmla="*/ 769346 w 1739754"/>
                  <a:gd name="connsiteY35" fmla="*/ 1006227 h 2673102"/>
                  <a:gd name="connsiteX36" fmla="*/ 678858 w 1739754"/>
                  <a:gd name="connsiteY36" fmla="*/ 958602 h 2673102"/>
                  <a:gd name="connsiteX37" fmla="*/ 645521 w 1739754"/>
                  <a:gd name="connsiteY37" fmla="*/ 939552 h 2673102"/>
                  <a:gd name="connsiteX38" fmla="*/ 526458 w 1739754"/>
                  <a:gd name="connsiteY38" fmla="*/ 910977 h 2673102"/>
                  <a:gd name="connsiteX39" fmla="*/ 483596 w 1739754"/>
                  <a:gd name="connsiteY39" fmla="*/ 891927 h 2673102"/>
                  <a:gd name="connsiteX40" fmla="*/ 421683 w 1739754"/>
                  <a:gd name="connsiteY40" fmla="*/ 882402 h 2673102"/>
                  <a:gd name="connsiteX41" fmla="*/ 321671 w 1739754"/>
                  <a:gd name="connsiteY41" fmla="*/ 896689 h 2673102"/>
                  <a:gd name="connsiteX42" fmla="*/ 307383 w 1739754"/>
                  <a:gd name="connsiteY42" fmla="*/ 910977 h 2673102"/>
                  <a:gd name="connsiteX43" fmla="*/ 283571 w 1739754"/>
                  <a:gd name="connsiteY43" fmla="*/ 949077 h 2673102"/>
                  <a:gd name="connsiteX44" fmla="*/ 269283 w 1739754"/>
                  <a:gd name="connsiteY44" fmla="*/ 987177 h 2673102"/>
                  <a:gd name="connsiteX45" fmla="*/ 264521 w 1739754"/>
                  <a:gd name="connsiteY45" fmla="*/ 1039564 h 2673102"/>
                  <a:gd name="connsiteX46" fmla="*/ 264521 w 1739754"/>
                  <a:gd name="connsiteY46" fmla="*/ 1120527 h 2673102"/>
                  <a:gd name="connsiteX47" fmla="*/ 297858 w 1739754"/>
                  <a:gd name="connsiteY47" fmla="*/ 1153864 h 2673102"/>
                  <a:gd name="connsiteX48" fmla="*/ 326433 w 1739754"/>
                  <a:gd name="connsiteY48" fmla="*/ 1163389 h 2673102"/>
                  <a:gd name="connsiteX49" fmla="*/ 326433 w 1739754"/>
                  <a:gd name="connsiteY49" fmla="*/ 1244352 h 2673102"/>
                  <a:gd name="connsiteX50" fmla="*/ 312146 w 1739754"/>
                  <a:gd name="connsiteY50" fmla="*/ 1258639 h 2673102"/>
                  <a:gd name="connsiteX51" fmla="*/ 259758 w 1739754"/>
                  <a:gd name="connsiteY51" fmla="*/ 1296739 h 2673102"/>
                  <a:gd name="connsiteX52" fmla="*/ 240708 w 1739754"/>
                  <a:gd name="connsiteY52" fmla="*/ 1325314 h 2673102"/>
                  <a:gd name="connsiteX53" fmla="*/ 250233 w 1739754"/>
                  <a:gd name="connsiteY53" fmla="*/ 1425327 h 2673102"/>
                  <a:gd name="connsiteX54" fmla="*/ 278808 w 1739754"/>
                  <a:gd name="connsiteY54" fmla="*/ 1472952 h 2673102"/>
                  <a:gd name="connsiteX55" fmla="*/ 293096 w 1739754"/>
                  <a:gd name="connsiteY55" fmla="*/ 1492002 h 2673102"/>
                  <a:gd name="connsiteX56" fmla="*/ 383583 w 1739754"/>
                  <a:gd name="connsiteY56" fmla="*/ 1525339 h 2673102"/>
                  <a:gd name="connsiteX57" fmla="*/ 407396 w 1739754"/>
                  <a:gd name="connsiteY57" fmla="*/ 1492002 h 2673102"/>
                  <a:gd name="connsiteX58" fmla="*/ 412158 w 1739754"/>
                  <a:gd name="connsiteY58" fmla="*/ 1468189 h 2673102"/>
                  <a:gd name="connsiteX59" fmla="*/ 416921 w 1739754"/>
                  <a:gd name="connsiteY59" fmla="*/ 1449139 h 2673102"/>
                  <a:gd name="connsiteX60" fmla="*/ 445496 w 1739754"/>
                  <a:gd name="connsiteY60" fmla="*/ 1439614 h 2673102"/>
                  <a:gd name="connsiteX61" fmla="*/ 545508 w 1739754"/>
                  <a:gd name="connsiteY61" fmla="*/ 1458664 h 2673102"/>
                  <a:gd name="connsiteX62" fmla="*/ 555033 w 1739754"/>
                  <a:gd name="connsiteY62" fmla="*/ 1482477 h 2673102"/>
                  <a:gd name="connsiteX63" fmla="*/ 564558 w 1739754"/>
                  <a:gd name="connsiteY63" fmla="*/ 1515814 h 2673102"/>
                  <a:gd name="connsiteX64" fmla="*/ 550271 w 1739754"/>
                  <a:gd name="connsiteY64" fmla="*/ 1534864 h 2673102"/>
                  <a:gd name="connsiteX65" fmla="*/ 550271 w 1739754"/>
                  <a:gd name="connsiteY65" fmla="*/ 1601539 h 2673102"/>
                  <a:gd name="connsiteX66" fmla="*/ 559796 w 1739754"/>
                  <a:gd name="connsiteY66" fmla="*/ 1620589 h 2673102"/>
                  <a:gd name="connsiteX67" fmla="*/ 626471 w 1739754"/>
                  <a:gd name="connsiteY67" fmla="*/ 1639639 h 2673102"/>
                  <a:gd name="connsiteX68" fmla="*/ 645521 w 1739754"/>
                  <a:gd name="connsiteY68" fmla="*/ 1592014 h 2673102"/>
                  <a:gd name="connsiteX69" fmla="*/ 702671 w 1739754"/>
                  <a:gd name="connsiteY69" fmla="*/ 1620589 h 2673102"/>
                  <a:gd name="connsiteX70" fmla="*/ 731246 w 1739754"/>
                  <a:gd name="connsiteY70" fmla="*/ 1630114 h 2673102"/>
                  <a:gd name="connsiteX71" fmla="*/ 783633 w 1739754"/>
                  <a:gd name="connsiteY71" fmla="*/ 1663452 h 2673102"/>
                  <a:gd name="connsiteX72" fmla="*/ 859833 w 1739754"/>
                  <a:gd name="connsiteY72" fmla="*/ 1687264 h 2673102"/>
                  <a:gd name="connsiteX73" fmla="*/ 878883 w 1739754"/>
                  <a:gd name="connsiteY73" fmla="*/ 1701552 h 2673102"/>
                  <a:gd name="connsiteX74" fmla="*/ 888408 w 1739754"/>
                  <a:gd name="connsiteY74" fmla="*/ 1739652 h 2673102"/>
                  <a:gd name="connsiteX75" fmla="*/ 897933 w 1739754"/>
                  <a:gd name="connsiteY75" fmla="*/ 1782514 h 2673102"/>
                  <a:gd name="connsiteX76" fmla="*/ 940796 w 1739754"/>
                  <a:gd name="connsiteY76" fmla="*/ 1892052 h 2673102"/>
                  <a:gd name="connsiteX77" fmla="*/ 950321 w 1739754"/>
                  <a:gd name="connsiteY77" fmla="*/ 1906339 h 2673102"/>
                  <a:gd name="connsiteX78" fmla="*/ 959846 w 1739754"/>
                  <a:gd name="connsiteY78" fmla="*/ 1939677 h 2673102"/>
                  <a:gd name="connsiteX79" fmla="*/ 974133 w 1739754"/>
                  <a:gd name="connsiteY79" fmla="*/ 1977777 h 2673102"/>
                  <a:gd name="connsiteX80" fmla="*/ 964608 w 1739754"/>
                  <a:gd name="connsiteY80" fmla="*/ 2082552 h 2673102"/>
                  <a:gd name="connsiteX81" fmla="*/ 955083 w 1739754"/>
                  <a:gd name="connsiteY81" fmla="*/ 2101602 h 2673102"/>
                  <a:gd name="connsiteX82" fmla="*/ 926508 w 1739754"/>
                  <a:gd name="connsiteY82" fmla="*/ 2144464 h 2673102"/>
                  <a:gd name="connsiteX83" fmla="*/ 907458 w 1739754"/>
                  <a:gd name="connsiteY83" fmla="*/ 2192089 h 2673102"/>
                  <a:gd name="connsiteX84" fmla="*/ 902696 w 1739754"/>
                  <a:gd name="connsiteY84" fmla="*/ 2211139 h 2673102"/>
                  <a:gd name="connsiteX85" fmla="*/ 893171 w 1739754"/>
                  <a:gd name="connsiteY85" fmla="*/ 2239714 h 2673102"/>
                  <a:gd name="connsiteX86" fmla="*/ 897933 w 1739754"/>
                  <a:gd name="connsiteY86" fmla="*/ 2287339 h 2673102"/>
                  <a:gd name="connsiteX87" fmla="*/ 893171 w 1739754"/>
                  <a:gd name="connsiteY87" fmla="*/ 2396877 h 2673102"/>
                  <a:gd name="connsiteX88" fmla="*/ 688383 w 1739754"/>
                  <a:gd name="connsiteY88" fmla="*/ 2449264 h 2673102"/>
                  <a:gd name="connsiteX89" fmla="*/ 655046 w 1739754"/>
                  <a:gd name="connsiteY89" fmla="*/ 2473077 h 2673102"/>
                  <a:gd name="connsiteX90" fmla="*/ 607421 w 1739754"/>
                  <a:gd name="connsiteY90" fmla="*/ 2511177 h 2673102"/>
                  <a:gd name="connsiteX91" fmla="*/ 574083 w 1739754"/>
                  <a:gd name="connsiteY91" fmla="*/ 2534989 h 2673102"/>
                  <a:gd name="connsiteX92" fmla="*/ 540746 w 1739754"/>
                  <a:gd name="connsiteY92" fmla="*/ 2554039 h 2673102"/>
                  <a:gd name="connsiteX93" fmla="*/ 497883 w 1739754"/>
                  <a:gd name="connsiteY93" fmla="*/ 2587377 h 2673102"/>
                  <a:gd name="connsiteX94" fmla="*/ 483596 w 1739754"/>
                  <a:gd name="connsiteY94" fmla="*/ 2601664 h 2673102"/>
                  <a:gd name="connsiteX95" fmla="*/ 459783 w 1739754"/>
                  <a:gd name="connsiteY95" fmla="*/ 2620714 h 2673102"/>
                  <a:gd name="connsiteX96" fmla="*/ 450258 w 1739754"/>
                  <a:gd name="connsiteY96" fmla="*/ 2635002 h 2673102"/>
                  <a:gd name="connsiteX97" fmla="*/ 416921 w 1739754"/>
                  <a:gd name="connsiteY97" fmla="*/ 2654052 h 2673102"/>
                  <a:gd name="connsiteX98" fmla="*/ 374058 w 1739754"/>
                  <a:gd name="connsiteY98" fmla="*/ 2673102 h 2673102"/>
                  <a:gd name="connsiteX99" fmla="*/ 359771 w 1739754"/>
                  <a:gd name="connsiteY99" fmla="*/ 2663577 h 2673102"/>
                  <a:gd name="connsiteX100" fmla="*/ 345483 w 1739754"/>
                  <a:gd name="connsiteY100" fmla="*/ 2635002 h 2673102"/>
                  <a:gd name="connsiteX101" fmla="*/ 335958 w 1739754"/>
                  <a:gd name="connsiteY101" fmla="*/ 2620714 h 2673102"/>
                  <a:gd name="connsiteX102" fmla="*/ 297858 w 1739754"/>
                  <a:gd name="connsiteY102" fmla="*/ 2611189 h 2673102"/>
                  <a:gd name="connsiteX103" fmla="*/ 278808 w 1739754"/>
                  <a:gd name="connsiteY103" fmla="*/ 2592139 h 2673102"/>
                  <a:gd name="connsiteX104" fmla="*/ 274046 w 1739754"/>
                  <a:gd name="connsiteY104" fmla="*/ 2573089 h 2673102"/>
                  <a:gd name="connsiteX105" fmla="*/ 235946 w 1739754"/>
                  <a:gd name="connsiteY105" fmla="*/ 2539752 h 2673102"/>
                  <a:gd name="connsiteX106" fmla="*/ 231183 w 1739754"/>
                  <a:gd name="connsiteY106" fmla="*/ 2525464 h 2673102"/>
                  <a:gd name="connsiteX107" fmla="*/ 226421 w 1739754"/>
                  <a:gd name="connsiteY107" fmla="*/ 2506414 h 2673102"/>
                  <a:gd name="connsiteX108" fmla="*/ 212133 w 1739754"/>
                  <a:gd name="connsiteY108" fmla="*/ 2492127 h 2673102"/>
                  <a:gd name="connsiteX109" fmla="*/ 154983 w 1739754"/>
                  <a:gd name="connsiteY109" fmla="*/ 2439739 h 2673102"/>
                  <a:gd name="connsiteX110" fmla="*/ 150221 w 1739754"/>
                  <a:gd name="connsiteY110" fmla="*/ 2415927 h 2673102"/>
                  <a:gd name="connsiteX111" fmla="*/ 135933 w 1739754"/>
                  <a:gd name="connsiteY111" fmla="*/ 2358777 h 2673102"/>
                  <a:gd name="connsiteX112" fmla="*/ 121646 w 1739754"/>
                  <a:gd name="connsiteY112" fmla="*/ 2315914 h 2673102"/>
                  <a:gd name="connsiteX113" fmla="*/ 107358 w 1739754"/>
                  <a:gd name="connsiteY113" fmla="*/ 2258764 h 2673102"/>
                  <a:gd name="connsiteX114" fmla="*/ 102596 w 1739754"/>
                  <a:gd name="connsiteY114" fmla="*/ 2234952 h 2673102"/>
                  <a:gd name="connsiteX115" fmla="*/ 93071 w 1739754"/>
                  <a:gd name="connsiteY115" fmla="*/ 2211139 h 2673102"/>
                  <a:gd name="connsiteX116" fmla="*/ 88308 w 1739754"/>
                  <a:gd name="connsiteY116" fmla="*/ 2187327 h 2673102"/>
                  <a:gd name="connsiteX117" fmla="*/ 78783 w 1739754"/>
                  <a:gd name="connsiteY117" fmla="*/ 2111127 h 2673102"/>
                  <a:gd name="connsiteX118" fmla="*/ 97833 w 1739754"/>
                  <a:gd name="connsiteY118" fmla="*/ 1944439 h 2673102"/>
                  <a:gd name="connsiteX119" fmla="*/ 107358 w 1739754"/>
                  <a:gd name="connsiteY119" fmla="*/ 1930152 h 2673102"/>
                  <a:gd name="connsiteX120" fmla="*/ 126408 w 1739754"/>
                  <a:gd name="connsiteY120" fmla="*/ 1901577 h 2673102"/>
                  <a:gd name="connsiteX121" fmla="*/ 135933 w 1739754"/>
                  <a:gd name="connsiteY121" fmla="*/ 1868239 h 2673102"/>
                  <a:gd name="connsiteX122" fmla="*/ 131171 w 1739754"/>
                  <a:gd name="connsiteY122" fmla="*/ 1825377 h 2673102"/>
                  <a:gd name="connsiteX123" fmla="*/ 112121 w 1739754"/>
                  <a:gd name="connsiteY123" fmla="*/ 1820614 h 2673102"/>
                  <a:gd name="connsiteX124" fmla="*/ 102596 w 1739754"/>
                  <a:gd name="connsiteY124" fmla="*/ 1806327 h 2673102"/>
                  <a:gd name="connsiteX125" fmla="*/ 145458 w 1739754"/>
                  <a:gd name="connsiteY125" fmla="*/ 1720602 h 2673102"/>
                  <a:gd name="connsiteX126" fmla="*/ 159746 w 1739754"/>
                  <a:gd name="connsiteY126" fmla="*/ 1715839 h 2673102"/>
                  <a:gd name="connsiteX127" fmla="*/ 174033 w 1739754"/>
                  <a:gd name="connsiteY127" fmla="*/ 1696789 h 2673102"/>
                  <a:gd name="connsiteX128" fmla="*/ 188321 w 1739754"/>
                  <a:gd name="connsiteY128" fmla="*/ 1687264 h 2673102"/>
                  <a:gd name="connsiteX129" fmla="*/ 202608 w 1739754"/>
                  <a:gd name="connsiteY129" fmla="*/ 1653927 h 2673102"/>
                  <a:gd name="connsiteX130" fmla="*/ 193083 w 1739754"/>
                  <a:gd name="connsiteY130" fmla="*/ 1606302 h 2673102"/>
                  <a:gd name="connsiteX131" fmla="*/ 164508 w 1739754"/>
                  <a:gd name="connsiteY131" fmla="*/ 1596777 h 2673102"/>
                  <a:gd name="connsiteX132" fmla="*/ 154983 w 1739754"/>
                  <a:gd name="connsiteY132" fmla="*/ 1549152 h 2673102"/>
                  <a:gd name="connsiteX133" fmla="*/ 150221 w 1739754"/>
                  <a:gd name="connsiteY133" fmla="*/ 1411039 h 2673102"/>
                  <a:gd name="connsiteX134" fmla="*/ 140696 w 1739754"/>
                  <a:gd name="connsiteY134" fmla="*/ 1377702 h 2673102"/>
                  <a:gd name="connsiteX135" fmla="*/ 121646 w 1739754"/>
                  <a:gd name="connsiteY135" fmla="*/ 1311027 h 2673102"/>
                  <a:gd name="connsiteX136" fmla="*/ 116883 w 1739754"/>
                  <a:gd name="connsiteY136" fmla="*/ 1258639 h 2673102"/>
                  <a:gd name="connsiteX137" fmla="*/ 107358 w 1739754"/>
                  <a:gd name="connsiteY137" fmla="*/ 1244352 h 2673102"/>
                  <a:gd name="connsiteX138" fmla="*/ 93071 w 1739754"/>
                  <a:gd name="connsiteY138" fmla="*/ 1196727 h 2673102"/>
                  <a:gd name="connsiteX139" fmla="*/ 78783 w 1739754"/>
                  <a:gd name="connsiteY139" fmla="*/ 1177677 h 2673102"/>
                  <a:gd name="connsiteX140" fmla="*/ 59733 w 1739754"/>
                  <a:gd name="connsiteY140" fmla="*/ 1139577 h 2673102"/>
                  <a:gd name="connsiteX141" fmla="*/ 50208 w 1739754"/>
                  <a:gd name="connsiteY141" fmla="*/ 1111002 h 2673102"/>
                  <a:gd name="connsiteX142" fmla="*/ 45446 w 1739754"/>
                  <a:gd name="connsiteY142" fmla="*/ 1096714 h 2673102"/>
                  <a:gd name="connsiteX143" fmla="*/ 21633 w 1739754"/>
                  <a:gd name="connsiteY143" fmla="*/ 1025277 h 2673102"/>
                  <a:gd name="connsiteX144" fmla="*/ 202 w 1739754"/>
                  <a:gd name="connsiteY144" fmla="*/ 980033 h 2673102"/>
                  <a:gd name="connsiteX145" fmla="*/ 14490 w 1739754"/>
                  <a:gd name="connsiteY145" fmla="*/ 930027 h 2673102"/>
                  <a:gd name="connsiteX146" fmla="*/ 69259 w 1739754"/>
                  <a:gd name="connsiteY146" fmla="*/ 810964 h 2673102"/>
                  <a:gd name="connsiteX147" fmla="*/ 221658 w 1739754"/>
                  <a:gd name="connsiteY147" fmla="*/ 601414 h 2673102"/>
                  <a:gd name="connsiteX148" fmla="*/ 288333 w 1739754"/>
                  <a:gd name="connsiteY148" fmla="*/ 515689 h 2673102"/>
                  <a:gd name="connsiteX149" fmla="*/ 412158 w 1739754"/>
                  <a:gd name="connsiteY149" fmla="*/ 406152 h 2673102"/>
                  <a:gd name="connsiteX150" fmla="*/ 535983 w 1739754"/>
                  <a:gd name="connsiteY150" fmla="*/ 291851 h 2673102"/>
                  <a:gd name="connsiteX151" fmla="*/ 640758 w 1739754"/>
                  <a:gd name="connsiteY151" fmla="*/ 229939 h 2673102"/>
                  <a:gd name="connsiteX152" fmla="*/ 733628 w 1739754"/>
                  <a:gd name="connsiteY152" fmla="*/ 168026 h 2673102"/>
                  <a:gd name="connsiteX153" fmla="*/ 978896 w 1739754"/>
                  <a:gd name="connsiteY153" fmla="*/ 63251 h 2673102"/>
                  <a:gd name="connsiteX154" fmla="*/ 1159871 w 1739754"/>
                  <a:gd name="connsiteY154" fmla="*/ 6102 h 2673102"/>
                  <a:gd name="connsiteX155" fmla="*/ 1202733 w 1739754"/>
                  <a:gd name="connsiteY15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55158 w 1739754"/>
                  <a:gd name="connsiteY21" fmla="*/ 925264 h 2673102"/>
                  <a:gd name="connsiteX22" fmla="*/ 1531346 w 1739754"/>
                  <a:gd name="connsiteY22" fmla="*/ 939552 h 2673102"/>
                  <a:gd name="connsiteX23" fmla="*/ 1498008 w 1739754"/>
                  <a:gd name="connsiteY23" fmla="*/ 987177 h 2673102"/>
                  <a:gd name="connsiteX24" fmla="*/ 1345608 w 1739754"/>
                  <a:gd name="connsiteY24" fmla="*/ 1030039 h 2673102"/>
                  <a:gd name="connsiteX25" fmla="*/ 1297983 w 1739754"/>
                  <a:gd name="connsiteY25" fmla="*/ 1053852 h 2673102"/>
                  <a:gd name="connsiteX26" fmla="*/ 1231308 w 1739754"/>
                  <a:gd name="connsiteY26" fmla="*/ 1082427 h 2673102"/>
                  <a:gd name="connsiteX27" fmla="*/ 1126533 w 1739754"/>
                  <a:gd name="connsiteY27" fmla="*/ 1096714 h 2673102"/>
                  <a:gd name="connsiteX28" fmla="*/ 1102721 w 1739754"/>
                  <a:gd name="connsiteY28" fmla="*/ 1101477 h 2673102"/>
                  <a:gd name="connsiteX29" fmla="*/ 1078908 w 1739754"/>
                  <a:gd name="connsiteY29" fmla="*/ 1111002 h 2673102"/>
                  <a:gd name="connsiteX30" fmla="*/ 964608 w 1739754"/>
                  <a:gd name="connsiteY30" fmla="*/ 1106239 h 2673102"/>
                  <a:gd name="connsiteX31" fmla="*/ 859833 w 1739754"/>
                  <a:gd name="connsiteY31" fmla="*/ 1058614 h 2673102"/>
                  <a:gd name="connsiteX32" fmla="*/ 812208 w 1739754"/>
                  <a:gd name="connsiteY32" fmla="*/ 1034802 h 2673102"/>
                  <a:gd name="connsiteX33" fmla="*/ 788396 w 1739754"/>
                  <a:gd name="connsiteY33" fmla="*/ 1020514 h 2673102"/>
                  <a:gd name="connsiteX34" fmla="*/ 769346 w 1739754"/>
                  <a:gd name="connsiteY34" fmla="*/ 1006227 h 2673102"/>
                  <a:gd name="connsiteX35" fmla="*/ 678858 w 1739754"/>
                  <a:gd name="connsiteY35" fmla="*/ 958602 h 2673102"/>
                  <a:gd name="connsiteX36" fmla="*/ 645521 w 1739754"/>
                  <a:gd name="connsiteY36" fmla="*/ 939552 h 2673102"/>
                  <a:gd name="connsiteX37" fmla="*/ 526458 w 1739754"/>
                  <a:gd name="connsiteY37" fmla="*/ 910977 h 2673102"/>
                  <a:gd name="connsiteX38" fmla="*/ 483596 w 1739754"/>
                  <a:gd name="connsiteY38" fmla="*/ 891927 h 2673102"/>
                  <a:gd name="connsiteX39" fmla="*/ 421683 w 1739754"/>
                  <a:gd name="connsiteY39" fmla="*/ 882402 h 2673102"/>
                  <a:gd name="connsiteX40" fmla="*/ 321671 w 1739754"/>
                  <a:gd name="connsiteY40" fmla="*/ 896689 h 2673102"/>
                  <a:gd name="connsiteX41" fmla="*/ 307383 w 1739754"/>
                  <a:gd name="connsiteY41" fmla="*/ 910977 h 2673102"/>
                  <a:gd name="connsiteX42" fmla="*/ 283571 w 1739754"/>
                  <a:gd name="connsiteY42" fmla="*/ 949077 h 2673102"/>
                  <a:gd name="connsiteX43" fmla="*/ 269283 w 1739754"/>
                  <a:gd name="connsiteY43" fmla="*/ 987177 h 2673102"/>
                  <a:gd name="connsiteX44" fmla="*/ 264521 w 1739754"/>
                  <a:gd name="connsiteY44" fmla="*/ 1039564 h 2673102"/>
                  <a:gd name="connsiteX45" fmla="*/ 264521 w 1739754"/>
                  <a:gd name="connsiteY45" fmla="*/ 1120527 h 2673102"/>
                  <a:gd name="connsiteX46" fmla="*/ 297858 w 1739754"/>
                  <a:gd name="connsiteY46" fmla="*/ 1153864 h 2673102"/>
                  <a:gd name="connsiteX47" fmla="*/ 326433 w 1739754"/>
                  <a:gd name="connsiteY47" fmla="*/ 1163389 h 2673102"/>
                  <a:gd name="connsiteX48" fmla="*/ 326433 w 1739754"/>
                  <a:gd name="connsiteY48" fmla="*/ 1244352 h 2673102"/>
                  <a:gd name="connsiteX49" fmla="*/ 312146 w 1739754"/>
                  <a:gd name="connsiteY49" fmla="*/ 1258639 h 2673102"/>
                  <a:gd name="connsiteX50" fmla="*/ 259758 w 1739754"/>
                  <a:gd name="connsiteY50" fmla="*/ 1296739 h 2673102"/>
                  <a:gd name="connsiteX51" fmla="*/ 240708 w 1739754"/>
                  <a:gd name="connsiteY51" fmla="*/ 1325314 h 2673102"/>
                  <a:gd name="connsiteX52" fmla="*/ 250233 w 1739754"/>
                  <a:gd name="connsiteY52" fmla="*/ 1425327 h 2673102"/>
                  <a:gd name="connsiteX53" fmla="*/ 278808 w 1739754"/>
                  <a:gd name="connsiteY53" fmla="*/ 1472952 h 2673102"/>
                  <a:gd name="connsiteX54" fmla="*/ 293096 w 1739754"/>
                  <a:gd name="connsiteY54" fmla="*/ 1492002 h 2673102"/>
                  <a:gd name="connsiteX55" fmla="*/ 383583 w 1739754"/>
                  <a:gd name="connsiteY55" fmla="*/ 1525339 h 2673102"/>
                  <a:gd name="connsiteX56" fmla="*/ 407396 w 1739754"/>
                  <a:gd name="connsiteY56" fmla="*/ 1492002 h 2673102"/>
                  <a:gd name="connsiteX57" fmla="*/ 412158 w 1739754"/>
                  <a:gd name="connsiteY57" fmla="*/ 1468189 h 2673102"/>
                  <a:gd name="connsiteX58" fmla="*/ 416921 w 1739754"/>
                  <a:gd name="connsiteY58" fmla="*/ 1449139 h 2673102"/>
                  <a:gd name="connsiteX59" fmla="*/ 445496 w 1739754"/>
                  <a:gd name="connsiteY59" fmla="*/ 1439614 h 2673102"/>
                  <a:gd name="connsiteX60" fmla="*/ 545508 w 1739754"/>
                  <a:gd name="connsiteY60" fmla="*/ 1458664 h 2673102"/>
                  <a:gd name="connsiteX61" fmla="*/ 555033 w 1739754"/>
                  <a:gd name="connsiteY61" fmla="*/ 1482477 h 2673102"/>
                  <a:gd name="connsiteX62" fmla="*/ 564558 w 1739754"/>
                  <a:gd name="connsiteY62" fmla="*/ 1515814 h 2673102"/>
                  <a:gd name="connsiteX63" fmla="*/ 550271 w 1739754"/>
                  <a:gd name="connsiteY63" fmla="*/ 1534864 h 2673102"/>
                  <a:gd name="connsiteX64" fmla="*/ 550271 w 1739754"/>
                  <a:gd name="connsiteY64" fmla="*/ 1601539 h 2673102"/>
                  <a:gd name="connsiteX65" fmla="*/ 559796 w 1739754"/>
                  <a:gd name="connsiteY65" fmla="*/ 1620589 h 2673102"/>
                  <a:gd name="connsiteX66" fmla="*/ 626471 w 1739754"/>
                  <a:gd name="connsiteY66" fmla="*/ 1639639 h 2673102"/>
                  <a:gd name="connsiteX67" fmla="*/ 645521 w 1739754"/>
                  <a:gd name="connsiteY67" fmla="*/ 1592014 h 2673102"/>
                  <a:gd name="connsiteX68" fmla="*/ 702671 w 1739754"/>
                  <a:gd name="connsiteY68" fmla="*/ 1620589 h 2673102"/>
                  <a:gd name="connsiteX69" fmla="*/ 731246 w 1739754"/>
                  <a:gd name="connsiteY69" fmla="*/ 1630114 h 2673102"/>
                  <a:gd name="connsiteX70" fmla="*/ 783633 w 1739754"/>
                  <a:gd name="connsiteY70" fmla="*/ 1663452 h 2673102"/>
                  <a:gd name="connsiteX71" fmla="*/ 859833 w 1739754"/>
                  <a:gd name="connsiteY71" fmla="*/ 1687264 h 2673102"/>
                  <a:gd name="connsiteX72" fmla="*/ 878883 w 1739754"/>
                  <a:gd name="connsiteY72" fmla="*/ 1701552 h 2673102"/>
                  <a:gd name="connsiteX73" fmla="*/ 888408 w 1739754"/>
                  <a:gd name="connsiteY73" fmla="*/ 1739652 h 2673102"/>
                  <a:gd name="connsiteX74" fmla="*/ 897933 w 1739754"/>
                  <a:gd name="connsiteY74" fmla="*/ 1782514 h 2673102"/>
                  <a:gd name="connsiteX75" fmla="*/ 940796 w 1739754"/>
                  <a:gd name="connsiteY75" fmla="*/ 1892052 h 2673102"/>
                  <a:gd name="connsiteX76" fmla="*/ 950321 w 1739754"/>
                  <a:gd name="connsiteY76" fmla="*/ 1906339 h 2673102"/>
                  <a:gd name="connsiteX77" fmla="*/ 959846 w 1739754"/>
                  <a:gd name="connsiteY77" fmla="*/ 1939677 h 2673102"/>
                  <a:gd name="connsiteX78" fmla="*/ 974133 w 1739754"/>
                  <a:gd name="connsiteY78" fmla="*/ 1977777 h 2673102"/>
                  <a:gd name="connsiteX79" fmla="*/ 964608 w 1739754"/>
                  <a:gd name="connsiteY79" fmla="*/ 2082552 h 2673102"/>
                  <a:gd name="connsiteX80" fmla="*/ 955083 w 1739754"/>
                  <a:gd name="connsiteY80" fmla="*/ 2101602 h 2673102"/>
                  <a:gd name="connsiteX81" fmla="*/ 926508 w 1739754"/>
                  <a:gd name="connsiteY81" fmla="*/ 2144464 h 2673102"/>
                  <a:gd name="connsiteX82" fmla="*/ 907458 w 1739754"/>
                  <a:gd name="connsiteY82" fmla="*/ 2192089 h 2673102"/>
                  <a:gd name="connsiteX83" fmla="*/ 902696 w 1739754"/>
                  <a:gd name="connsiteY83" fmla="*/ 2211139 h 2673102"/>
                  <a:gd name="connsiteX84" fmla="*/ 893171 w 1739754"/>
                  <a:gd name="connsiteY84" fmla="*/ 2239714 h 2673102"/>
                  <a:gd name="connsiteX85" fmla="*/ 897933 w 1739754"/>
                  <a:gd name="connsiteY85" fmla="*/ 2287339 h 2673102"/>
                  <a:gd name="connsiteX86" fmla="*/ 893171 w 1739754"/>
                  <a:gd name="connsiteY86" fmla="*/ 2396877 h 2673102"/>
                  <a:gd name="connsiteX87" fmla="*/ 688383 w 1739754"/>
                  <a:gd name="connsiteY87" fmla="*/ 2449264 h 2673102"/>
                  <a:gd name="connsiteX88" fmla="*/ 655046 w 1739754"/>
                  <a:gd name="connsiteY88" fmla="*/ 2473077 h 2673102"/>
                  <a:gd name="connsiteX89" fmla="*/ 607421 w 1739754"/>
                  <a:gd name="connsiteY89" fmla="*/ 2511177 h 2673102"/>
                  <a:gd name="connsiteX90" fmla="*/ 574083 w 1739754"/>
                  <a:gd name="connsiteY90" fmla="*/ 2534989 h 2673102"/>
                  <a:gd name="connsiteX91" fmla="*/ 540746 w 1739754"/>
                  <a:gd name="connsiteY91" fmla="*/ 2554039 h 2673102"/>
                  <a:gd name="connsiteX92" fmla="*/ 497883 w 1739754"/>
                  <a:gd name="connsiteY92" fmla="*/ 2587377 h 2673102"/>
                  <a:gd name="connsiteX93" fmla="*/ 483596 w 1739754"/>
                  <a:gd name="connsiteY93" fmla="*/ 2601664 h 2673102"/>
                  <a:gd name="connsiteX94" fmla="*/ 459783 w 1739754"/>
                  <a:gd name="connsiteY94" fmla="*/ 2620714 h 2673102"/>
                  <a:gd name="connsiteX95" fmla="*/ 450258 w 1739754"/>
                  <a:gd name="connsiteY95" fmla="*/ 2635002 h 2673102"/>
                  <a:gd name="connsiteX96" fmla="*/ 416921 w 1739754"/>
                  <a:gd name="connsiteY96" fmla="*/ 2654052 h 2673102"/>
                  <a:gd name="connsiteX97" fmla="*/ 374058 w 1739754"/>
                  <a:gd name="connsiteY97" fmla="*/ 2673102 h 2673102"/>
                  <a:gd name="connsiteX98" fmla="*/ 359771 w 1739754"/>
                  <a:gd name="connsiteY98" fmla="*/ 2663577 h 2673102"/>
                  <a:gd name="connsiteX99" fmla="*/ 345483 w 1739754"/>
                  <a:gd name="connsiteY99" fmla="*/ 2635002 h 2673102"/>
                  <a:gd name="connsiteX100" fmla="*/ 335958 w 1739754"/>
                  <a:gd name="connsiteY100" fmla="*/ 2620714 h 2673102"/>
                  <a:gd name="connsiteX101" fmla="*/ 297858 w 1739754"/>
                  <a:gd name="connsiteY101" fmla="*/ 2611189 h 2673102"/>
                  <a:gd name="connsiteX102" fmla="*/ 278808 w 1739754"/>
                  <a:gd name="connsiteY102" fmla="*/ 2592139 h 2673102"/>
                  <a:gd name="connsiteX103" fmla="*/ 274046 w 1739754"/>
                  <a:gd name="connsiteY103" fmla="*/ 2573089 h 2673102"/>
                  <a:gd name="connsiteX104" fmla="*/ 235946 w 1739754"/>
                  <a:gd name="connsiteY104" fmla="*/ 2539752 h 2673102"/>
                  <a:gd name="connsiteX105" fmla="*/ 231183 w 1739754"/>
                  <a:gd name="connsiteY105" fmla="*/ 2525464 h 2673102"/>
                  <a:gd name="connsiteX106" fmla="*/ 226421 w 1739754"/>
                  <a:gd name="connsiteY106" fmla="*/ 2506414 h 2673102"/>
                  <a:gd name="connsiteX107" fmla="*/ 212133 w 1739754"/>
                  <a:gd name="connsiteY107" fmla="*/ 2492127 h 2673102"/>
                  <a:gd name="connsiteX108" fmla="*/ 154983 w 1739754"/>
                  <a:gd name="connsiteY108" fmla="*/ 2439739 h 2673102"/>
                  <a:gd name="connsiteX109" fmla="*/ 150221 w 1739754"/>
                  <a:gd name="connsiteY109" fmla="*/ 2415927 h 2673102"/>
                  <a:gd name="connsiteX110" fmla="*/ 135933 w 1739754"/>
                  <a:gd name="connsiteY110" fmla="*/ 2358777 h 2673102"/>
                  <a:gd name="connsiteX111" fmla="*/ 121646 w 1739754"/>
                  <a:gd name="connsiteY111" fmla="*/ 2315914 h 2673102"/>
                  <a:gd name="connsiteX112" fmla="*/ 107358 w 1739754"/>
                  <a:gd name="connsiteY112" fmla="*/ 2258764 h 2673102"/>
                  <a:gd name="connsiteX113" fmla="*/ 102596 w 1739754"/>
                  <a:gd name="connsiteY113" fmla="*/ 2234952 h 2673102"/>
                  <a:gd name="connsiteX114" fmla="*/ 93071 w 1739754"/>
                  <a:gd name="connsiteY114" fmla="*/ 2211139 h 2673102"/>
                  <a:gd name="connsiteX115" fmla="*/ 88308 w 1739754"/>
                  <a:gd name="connsiteY115" fmla="*/ 2187327 h 2673102"/>
                  <a:gd name="connsiteX116" fmla="*/ 78783 w 1739754"/>
                  <a:gd name="connsiteY116" fmla="*/ 2111127 h 2673102"/>
                  <a:gd name="connsiteX117" fmla="*/ 97833 w 1739754"/>
                  <a:gd name="connsiteY117" fmla="*/ 1944439 h 2673102"/>
                  <a:gd name="connsiteX118" fmla="*/ 107358 w 1739754"/>
                  <a:gd name="connsiteY118" fmla="*/ 1930152 h 2673102"/>
                  <a:gd name="connsiteX119" fmla="*/ 126408 w 1739754"/>
                  <a:gd name="connsiteY119" fmla="*/ 1901577 h 2673102"/>
                  <a:gd name="connsiteX120" fmla="*/ 135933 w 1739754"/>
                  <a:gd name="connsiteY120" fmla="*/ 1868239 h 2673102"/>
                  <a:gd name="connsiteX121" fmla="*/ 131171 w 1739754"/>
                  <a:gd name="connsiteY121" fmla="*/ 1825377 h 2673102"/>
                  <a:gd name="connsiteX122" fmla="*/ 112121 w 1739754"/>
                  <a:gd name="connsiteY122" fmla="*/ 1820614 h 2673102"/>
                  <a:gd name="connsiteX123" fmla="*/ 102596 w 1739754"/>
                  <a:gd name="connsiteY123" fmla="*/ 1806327 h 2673102"/>
                  <a:gd name="connsiteX124" fmla="*/ 145458 w 1739754"/>
                  <a:gd name="connsiteY124" fmla="*/ 1720602 h 2673102"/>
                  <a:gd name="connsiteX125" fmla="*/ 159746 w 1739754"/>
                  <a:gd name="connsiteY125" fmla="*/ 1715839 h 2673102"/>
                  <a:gd name="connsiteX126" fmla="*/ 174033 w 1739754"/>
                  <a:gd name="connsiteY126" fmla="*/ 1696789 h 2673102"/>
                  <a:gd name="connsiteX127" fmla="*/ 188321 w 1739754"/>
                  <a:gd name="connsiteY127" fmla="*/ 1687264 h 2673102"/>
                  <a:gd name="connsiteX128" fmla="*/ 202608 w 1739754"/>
                  <a:gd name="connsiteY128" fmla="*/ 1653927 h 2673102"/>
                  <a:gd name="connsiteX129" fmla="*/ 193083 w 1739754"/>
                  <a:gd name="connsiteY129" fmla="*/ 1606302 h 2673102"/>
                  <a:gd name="connsiteX130" fmla="*/ 164508 w 1739754"/>
                  <a:gd name="connsiteY130" fmla="*/ 1596777 h 2673102"/>
                  <a:gd name="connsiteX131" fmla="*/ 154983 w 1739754"/>
                  <a:gd name="connsiteY131" fmla="*/ 1549152 h 2673102"/>
                  <a:gd name="connsiteX132" fmla="*/ 150221 w 1739754"/>
                  <a:gd name="connsiteY132" fmla="*/ 1411039 h 2673102"/>
                  <a:gd name="connsiteX133" fmla="*/ 140696 w 1739754"/>
                  <a:gd name="connsiteY133" fmla="*/ 1377702 h 2673102"/>
                  <a:gd name="connsiteX134" fmla="*/ 121646 w 1739754"/>
                  <a:gd name="connsiteY134" fmla="*/ 1311027 h 2673102"/>
                  <a:gd name="connsiteX135" fmla="*/ 116883 w 1739754"/>
                  <a:gd name="connsiteY135" fmla="*/ 1258639 h 2673102"/>
                  <a:gd name="connsiteX136" fmla="*/ 107358 w 1739754"/>
                  <a:gd name="connsiteY136" fmla="*/ 1244352 h 2673102"/>
                  <a:gd name="connsiteX137" fmla="*/ 93071 w 1739754"/>
                  <a:gd name="connsiteY137" fmla="*/ 1196727 h 2673102"/>
                  <a:gd name="connsiteX138" fmla="*/ 78783 w 1739754"/>
                  <a:gd name="connsiteY138" fmla="*/ 1177677 h 2673102"/>
                  <a:gd name="connsiteX139" fmla="*/ 59733 w 1739754"/>
                  <a:gd name="connsiteY139" fmla="*/ 1139577 h 2673102"/>
                  <a:gd name="connsiteX140" fmla="*/ 50208 w 1739754"/>
                  <a:gd name="connsiteY140" fmla="*/ 1111002 h 2673102"/>
                  <a:gd name="connsiteX141" fmla="*/ 45446 w 1739754"/>
                  <a:gd name="connsiteY141" fmla="*/ 1096714 h 2673102"/>
                  <a:gd name="connsiteX142" fmla="*/ 21633 w 1739754"/>
                  <a:gd name="connsiteY142" fmla="*/ 1025277 h 2673102"/>
                  <a:gd name="connsiteX143" fmla="*/ 202 w 1739754"/>
                  <a:gd name="connsiteY143" fmla="*/ 980033 h 2673102"/>
                  <a:gd name="connsiteX144" fmla="*/ 14490 w 1739754"/>
                  <a:gd name="connsiteY144" fmla="*/ 930027 h 2673102"/>
                  <a:gd name="connsiteX145" fmla="*/ 69259 w 1739754"/>
                  <a:gd name="connsiteY145" fmla="*/ 810964 h 2673102"/>
                  <a:gd name="connsiteX146" fmla="*/ 221658 w 1739754"/>
                  <a:gd name="connsiteY146" fmla="*/ 601414 h 2673102"/>
                  <a:gd name="connsiteX147" fmla="*/ 288333 w 1739754"/>
                  <a:gd name="connsiteY147" fmla="*/ 515689 h 2673102"/>
                  <a:gd name="connsiteX148" fmla="*/ 412158 w 1739754"/>
                  <a:gd name="connsiteY148" fmla="*/ 406152 h 2673102"/>
                  <a:gd name="connsiteX149" fmla="*/ 535983 w 1739754"/>
                  <a:gd name="connsiteY149" fmla="*/ 291851 h 2673102"/>
                  <a:gd name="connsiteX150" fmla="*/ 640758 w 1739754"/>
                  <a:gd name="connsiteY150" fmla="*/ 229939 h 2673102"/>
                  <a:gd name="connsiteX151" fmla="*/ 733628 w 1739754"/>
                  <a:gd name="connsiteY151" fmla="*/ 168026 h 2673102"/>
                  <a:gd name="connsiteX152" fmla="*/ 978896 w 1739754"/>
                  <a:gd name="connsiteY152" fmla="*/ 63251 h 2673102"/>
                  <a:gd name="connsiteX153" fmla="*/ 1159871 w 1739754"/>
                  <a:gd name="connsiteY153" fmla="*/ 6102 h 2673102"/>
                  <a:gd name="connsiteX154" fmla="*/ 1202733 w 1739754"/>
                  <a:gd name="connsiteY15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102721 w 1739754"/>
                  <a:gd name="connsiteY27" fmla="*/ 1101477 h 2673102"/>
                  <a:gd name="connsiteX28" fmla="*/ 1078908 w 1739754"/>
                  <a:gd name="connsiteY28" fmla="*/ 1111002 h 2673102"/>
                  <a:gd name="connsiteX29" fmla="*/ 964608 w 1739754"/>
                  <a:gd name="connsiteY29" fmla="*/ 1106239 h 2673102"/>
                  <a:gd name="connsiteX30" fmla="*/ 859833 w 1739754"/>
                  <a:gd name="connsiteY30" fmla="*/ 1058614 h 2673102"/>
                  <a:gd name="connsiteX31" fmla="*/ 812208 w 1739754"/>
                  <a:gd name="connsiteY31" fmla="*/ 1034802 h 2673102"/>
                  <a:gd name="connsiteX32" fmla="*/ 788396 w 1739754"/>
                  <a:gd name="connsiteY32" fmla="*/ 1020514 h 2673102"/>
                  <a:gd name="connsiteX33" fmla="*/ 769346 w 1739754"/>
                  <a:gd name="connsiteY33" fmla="*/ 1006227 h 2673102"/>
                  <a:gd name="connsiteX34" fmla="*/ 678858 w 1739754"/>
                  <a:gd name="connsiteY34" fmla="*/ 958602 h 2673102"/>
                  <a:gd name="connsiteX35" fmla="*/ 645521 w 1739754"/>
                  <a:gd name="connsiteY35" fmla="*/ 939552 h 2673102"/>
                  <a:gd name="connsiteX36" fmla="*/ 526458 w 1739754"/>
                  <a:gd name="connsiteY36" fmla="*/ 910977 h 2673102"/>
                  <a:gd name="connsiteX37" fmla="*/ 483596 w 1739754"/>
                  <a:gd name="connsiteY37" fmla="*/ 891927 h 2673102"/>
                  <a:gd name="connsiteX38" fmla="*/ 421683 w 1739754"/>
                  <a:gd name="connsiteY38" fmla="*/ 882402 h 2673102"/>
                  <a:gd name="connsiteX39" fmla="*/ 321671 w 1739754"/>
                  <a:gd name="connsiteY39" fmla="*/ 896689 h 2673102"/>
                  <a:gd name="connsiteX40" fmla="*/ 307383 w 1739754"/>
                  <a:gd name="connsiteY40" fmla="*/ 910977 h 2673102"/>
                  <a:gd name="connsiteX41" fmla="*/ 283571 w 1739754"/>
                  <a:gd name="connsiteY41" fmla="*/ 949077 h 2673102"/>
                  <a:gd name="connsiteX42" fmla="*/ 269283 w 1739754"/>
                  <a:gd name="connsiteY42" fmla="*/ 987177 h 2673102"/>
                  <a:gd name="connsiteX43" fmla="*/ 264521 w 1739754"/>
                  <a:gd name="connsiteY43" fmla="*/ 1039564 h 2673102"/>
                  <a:gd name="connsiteX44" fmla="*/ 264521 w 1739754"/>
                  <a:gd name="connsiteY44" fmla="*/ 1120527 h 2673102"/>
                  <a:gd name="connsiteX45" fmla="*/ 297858 w 1739754"/>
                  <a:gd name="connsiteY45" fmla="*/ 1153864 h 2673102"/>
                  <a:gd name="connsiteX46" fmla="*/ 326433 w 1739754"/>
                  <a:gd name="connsiteY46" fmla="*/ 1163389 h 2673102"/>
                  <a:gd name="connsiteX47" fmla="*/ 326433 w 1739754"/>
                  <a:gd name="connsiteY47" fmla="*/ 1244352 h 2673102"/>
                  <a:gd name="connsiteX48" fmla="*/ 312146 w 1739754"/>
                  <a:gd name="connsiteY48" fmla="*/ 1258639 h 2673102"/>
                  <a:gd name="connsiteX49" fmla="*/ 259758 w 1739754"/>
                  <a:gd name="connsiteY49" fmla="*/ 1296739 h 2673102"/>
                  <a:gd name="connsiteX50" fmla="*/ 240708 w 1739754"/>
                  <a:gd name="connsiteY50" fmla="*/ 1325314 h 2673102"/>
                  <a:gd name="connsiteX51" fmla="*/ 250233 w 1739754"/>
                  <a:gd name="connsiteY51" fmla="*/ 1425327 h 2673102"/>
                  <a:gd name="connsiteX52" fmla="*/ 278808 w 1739754"/>
                  <a:gd name="connsiteY52" fmla="*/ 1472952 h 2673102"/>
                  <a:gd name="connsiteX53" fmla="*/ 293096 w 1739754"/>
                  <a:gd name="connsiteY53" fmla="*/ 1492002 h 2673102"/>
                  <a:gd name="connsiteX54" fmla="*/ 383583 w 1739754"/>
                  <a:gd name="connsiteY54" fmla="*/ 1525339 h 2673102"/>
                  <a:gd name="connsiteX55" fmla="*/ 407396 w 1739754"/>
                  <a:gd name="connsiteY55" fmla="*/ 1492002 h 2673102"/>
                  <a:gd name="connsiteX56" fmla="*/ 412158 w 1739754"/>
                  <a:gd name="connsiteY56" fmla="*/ 1468189 h 2673102"/>
                  <a:gd name="connsiteX57" fmla="*/ 416921 w 1739754"/>
                  <a:gd name="connsiteY57" fmla="*/ 1449139 h 2673102"/>
                  <a:gd name="connsiteX58" fmla="*/ 445496 w 1739754"/>
                  <a:gd name="connsiteY58" fmla="*/ 1439614 h 2673102"/>
                  <a:gd name="connsiteX59" fmla="*/ 545508 w 1739754"/>
                  <a:gd name="connsiteY59" fmla="*/ 1458664 h 2673102"/>
                  <a:gd name="connsiteX60" fmla="*/ 555033 w 1739754"/>
                  <a:gd name="connsiteY60" fmla="*/ 1482477 h 2673102"/>
                  <a:gd name="connsiteX61" fmla="*/ 564558 w 1739754"/>
                  <a:gd name="connsiteY61" fmla="*/ 1515814 h 2673102"/>
                  <a:gd name="connsiteX62" fmla="*/ 550271 w 1739754"/>
                  <a:gd name="connsiteY62" fmla="*/ 1534864 h 2673102"/>
                  <a:gd name="connsiteX63" fmla="*/ 550271 w 1739754"/>
                  <a:gd name="connsiteY63" fmla="*/ 1601539 h 2673102"/>
                  <a:gd name="connsiteX64" fmla="*/ 559796 w 1739754"/>
                  <a:gd name="connsiteY64" fmla="*/ 1620589 h 2673102"/>
                  <a:gd name="connsiteX65" fmla="*/ 626471 w 1739754"/>
                  <a:gd name="connsiteY65" fmla="*/ 1639639 h 2673102"/>
                  <a:gd name="connsiteX66" fmla="*/ 645521 w 1739754"/>
                  <a:gd name="connsiteY66" fmla="*/ 1592014 h 2673102"/>
                  <a:gd name="connsiteX67" fmla="*/ 702671 w 1739754"/>
                  <a:gd name="connsiteY67" fmla="*/ 1620589 h 2673102"/>
                  <a:gd name="connsiteX68" fmla="*/ 731246 w 1739754"/>
                  <a:gd name="connsiteY68" fmla="*/ 1630114 h 2673102"/>
                  <a:gd name="connsiteX69" fmla="*/ 783633 w 1739754"/>
                  <a:gd name="connsiteY69" fmla="*/ 1663452 h 2673102"/>
                  <a:gd name="connsiteX70" fmla="*/ 859833 w 1739754"/>
                  <a:gd name="connsiteY70" fmla="*/ 1687264 h 2673102"/>
                  <a:gd name="connsiteX71" fmla="*/ 878883 w 1739754"/>
                  <a:gd name="connsiteY71" fmla="*/ 1701552 h 2673102"/>
                  <a:gd name="connsiteX72" fmla="*/ 888408 w 1739754"/>
                  <a:gd name="connsiteY72" fmla="*/ 1739652 h 2673102"/>
                  <a:gd name="connsiteX73" fmla="*/ 897933 w 1739754"/>
                  <a:gd name="connsiteY73" fmla="*/ 1782514 h 2673102"/>
                  <a:gd name="connsiteX74" fmla="*/ 940796 w 1739754"/>
                  <a:gd name="connsiteY74" fmla="*/ 1892052 h 2673102"/>
                  <a:gd name="connsiteX75" fmla="*/ 950321 w 1739754"/>
                  <a:gd name="connsiteY75" fmla="*/ 1906339 h 2673102"/>
                  <a:gd name="connsiteX76" fmla="*/ 959846 w 1739754"/>
                  <a:gd name="connsiteY76" fmla="*/ 1939677 h 2673102"/>
                  <a:gd name="connsiteX77" fmla="*/ 974133 w 1739754"/>
                  <a:gd name="connsiteY77" fmla="*/ 1977777 h 2673102"/>
                  <a:gd name="connsiteX78" fmla="*/ 964608 w 1739754"/>
                  <a:gd name="connsiteY78" fmla="*/ 2082552 h 2673102"/>
                  <a:gd name="connsiteX79" fmla="*/ 955083 w 1739754"/>
                  <a:gd name="connsiteY79" fmla="*/ 2101602 h 2673102"/>
                  <a:gd name="connsiteX80" fmla="*/ 926508 w 1739754"/>
                  <a:gd name="connsiteY80" fmla="*/ 2144464 h 2673102"/>
                  <a:gd name="connsiteX81" fmla="*/ 907458 w 1739754"/>
                  <a:gd name="connsiteY81" fmla="*/ 2192089 h 2673102"/>
                  <a:gd name="connsiteX82" fmla="*/ 902696 w 1739754"/>
                  <a:gd name="connsiteY82" fmla="*/ 2211139 h 2673102"/>
                  <a:gd name="connsiteX83" fmla="*/ 893171 w 1739754"/>
                  <a:gd name="connsiteY83" fmla="*/ 2239714 h 2673102"/>
                  <a:gd name="connsiteX84" fmla="*/ 897933 w 1739754"/>
                  <a:gd name="connsiteY84" fmla="*/ 2287339 h 2673102"/>
                  <a:gd name="connsiteX85" fmla="*/ 893171 w 1739754"/>
                  <a:gd name="connsiteY85" fmla="*/ 2396877 h 2673102"/>
                  <a:gd name="connsiteX86" fmla="*/ 688383 w 1739754"/>
                  <a:gd name="connsiteY86" fmla="*/ 2449264 h 2673102"/>
                  <a:gd name="connsiteX87" fmla="*/ 655046 w 1739754"/>
                  <a:gd name="connsiteY87" fmla="*/ 2473077 h 2673102"/>
                  <a:gd name="connsiteX88" fmla="*/ 607421 w 1739754"/>
                  <a:gd name="connsiteY88" fmla="*/ 2511177 h 2673102"/>
                  <a:gd name="connsiteX89" fmla="*/ 574083 w 1739754"/>
                  <a:gd name="connsiteY89" fmla="*/ 2534989 h 2673102"/>
                  <a:gd name="connsiteX90" fmla="*/ 540746 w 1739754"/>
                  <a:gd name="connsiteY90" fmla="*/ 2554039 h 2673102"/>
                  <a:gd name="connsiteX91" fmla="*/ 497883 w 1739754"/>
                  <a:gd name="connsiteY91" fmla="*/ 2587377 h 2673102"/>
                  <a:gd name="connsiteX92" fmla="*/ 483596 w 1739754"/>
                  <a:gd name="connsiteY92" fmla="*/ 2601664 h 2673102"/>
                  <a:gd name="connsiteX93" fmla="*/ 459783 w 1739754"/>
                  <a:gd name="connsiteY93" fmla="*/ 2620714 h 2673102"/>
                  <a:gd name="connsiteX94" fmla="*/ 450258 w 1739754"/>
                  <a:gd name="connsiteY94" fmla="*/ 2635002 h 2673102"/>
                  <a:gd name="connsiteX95" fmla="*/ 416921 w 1739754"/>
                  <a:gd name="connsiteY95" fmla="*/ 2654052 h 2673102"/>
                  <a:gd name="connsiteX96" fmla="*/ 374058 w 1739754"/>
                  <a:gd name="connsiteY96" fmla="*/ 2673102 h 2673102"/>
                  <a:gd name="connsiteX97" fmla="*/ 359771 w 1739754"/>
                  <a:gd name="connsiteY97" fmla="*/ 2663577 h 2673102"/>
                  <a:gd name="connsiteX98" fmla="*/ 345483 w 1739754"/>
                  <a:gd name="connsiteY98" fmla="*/ 2635002 h 2673102"/>
                  <a:gd name="connsiteX99" fmla="*/ 335958 w 1739754"/>
                  <a:gd name="connsiteY99" fmla="*/ 2620714 h 2673102"/>
                  <a:gd name="connsiteX100" fmla="*/ 297858 w 1739754"/>
                  <a:gd name="connsiteY100" fmla="*/ 2611189 h 2673102"/>
                  <a:gd name="connsiteX101" fmla="*/ 278808 w 1739754"/>
                  <a:gd name="connsiteY101" fmla="*/ 2592139 h 2673102"/>
                  <a:gd name="connsiteX102" fmla="*/ 274046 w 1739754"/>
                  <a:gd name="connsiteY102" fmla="*/ 2573089 h 2673102"/>
                  <a:gd name="connsiteX103" fmla="*/ 235946 w 1739754"/>
                  <a:gd name="connsiteY103" fmla="*/ 2539752 h 2673102"/>
                  <a:gd name="connsiteX104" fmla="*/ 231183 w 1739754"/>
                  <a:gd name="connsiteY104" fmla="*/ 2525464 h 2673102"/>
                  <a:gd name="connsiteX105" fmla="*/ 226421 w 1739754"/>
                  <a:gd name="connsiteY105" fmla="*/ 2506414 h 2673102"/>
                  <a:gd name="connsiteX106" fmla="*/ 212133 w 1739754"/>
                  <a:gd name="connsiteY106" fmla="*/ 2492127 h 2673102"/>
                  <a:gd name="connsiteX107" fmla="*/ 154983 w 1739754"/>
                  <a:gd name="connsiteY107" fmla="*/ 2439739 h 2673102"/>
                  <a:gd name="connsiteX108" fmla="*/ 150221 w 1739754"/>
                  <a:gd name="connsiteY108" fmla="*/ 2415927 h 2673102"/>
                  <a:gd name="connsiteX109" fmla="*/ 135933 w 1739754"/>
                  <a:gd name="connsiteY109" fmla="*/ 2358777 h 2673102"/>
                  <a:gd name="connsiteX110" fmla="*/ 121646 w 1739754"/>
                  <a:gd name="connsiteY110" fmla="*/ 2315914 h 2673102"/>
                  <a:gd name="connsiteX111" fmla="*/ 107358 w 1739754"/>
                  <a:gd name="connsiteY111" fmla="*/ 2258764 h 2673102"/>
                  <a:gd name="connsiteX112" fmla="*/ 102596 w 1739754"/>
                  <a:gd name="connsiteY112" fmla="*/ 2234952 h 2673102"/>
                  <a:gd name="connsiteX113" fmla="*/ 93071 w 1739754"/>
                  <a:gd name="connsiteY113" fmla="*/ 2211139 h 2673102"/>
                  <a:gd name="connsiteX114" fmla="*/ 88308 w 1739754"/>
                  <a:gd name="connsiteY114" fmla="*/ 2187327 h 2673102"/>
                  <a:gd name="connsiteX115" fmla="*/ 78783 w 1739754"/>
                  <a:gd name="connsiteY115" fmla="*/ 2111127 h 2673102"/>
                  <a:gd name="connsiteX116" fmla="*/ 97833 w 1739754"/>
                  <a:gd name="connsiteY116" fmla="*/ 1944439 h 2673102"/>
                  <a:gd name="connsiteX117" fmla="*/ 107358 w 1739754"/>
                  <a:gd name="connsiteY117" fmla="*/ 1930152 h 2673102"/>
                  <a:gd name="connsiteX118" fmla="*/ 126408 w 1739754"/>
                  <a:gd name="connsiteY118" fmla="*/ 1901577 h 2673102"/>
                  <a:gd name="connsiteX119" fmla="*/ 135933 w 1739754"/>
                  <a:gd name="connsiteY119" fmla="*/ 1868239 h 2673102"/>
                  <a:gd name="connsiteX120" fmla="*/ 131171 w 1739754"/>
                  <a:gd name="connsiteY120" fmla="*/ 1825377 h 2673102"/>
                  <a:gd name="connsiteX121" fmla="*/ 112121 w 1739754"/>
                  <a:gd name="connsiteY121" fmla="*/ 1820614 h 2673102"/>
                  <a:gd name="connsiteX122" fmla="*/ 102596 w 1739754"/>
                  <a:gd name="connsiteY122" fmla="*/ 1806327 h 2673102"/>
                  <a:gd name="connsiteX123" fmla="*/ 145458 w 1739754"/>
                  <a:gd name="connsiteY123" fmla="*/ 1720602 h 2673102"/>
                  <a:gd name="connsiteX124" fmla="*/ 159746 w 1739754"/>
                  <a:gd name="connsiteY124" fmla="*/ 1715839 h 2673102"/>
                  <a:gd name="connsiteX125" fmla="*/ 174033 w 1739754"/>
                  <a:gd name="connsiteY125" fmla="*/ 1696789 h 2673102"/>
                  <a:gd name="connsiteX126" fmla="*/ 188321 w 1739754"/>
                  <a:gd name="connsiteY126" fmla="*/ 1687264 h 2673102"/>
                  <a:gd name="connsiteX127" fmla="*/ 202608 w 1739754"/>
                  <a:gd name="connsiteY127" fmla="*/ 1653927 h 2673102"/>
                  <a:gd name="connsiteX128" fmla="*/ 193083 w 1739754"/>
                  <a:gd name="connsiteY128" fmla="*/ 1606302 h 2673102"/>
                  <a:gd name="connsiteX129" fmla="*/ 164508 w 1739754"/>
                  <a:gd name="connsiteY129" fmla="*/ 1596777 h 2673102"/>
                  <a:gd name="connsiteX130" fmla="*/ 154983 w 1739754"/>
                  <a:gd name="connsiteY130" fmla="*/ 1549152 h 2673102"/>
                  <a:gd name="connsiteX131" fmla="*/ 150221 w 1739754"/>
                  <a:gd name="connsiteY131" fmla="*/ 1411039 h 2673102"/>
                  <a:gd name="connsiteX132" fmla="*/ 140696 w 1739754"/>
                  <a:gd name="connsiteY132" fmla="*/ 1377702 h 2673102"/>
                  <a:gd name="connsiteX133" fmla="*/ 121646 w 1739754"/>
                  <a:gd name="connsiteY133" fmla="*/ 1311027 h 2673102"/>
                  <a:gd name="connsiteX134" fmla="*/ 116883 w 1739754"/>
                  <a:gd name="connsiteY134" fmla="*/ 1258639 h 2673102"/>
                  <a:gd name="connsiteX135" fmla="*/ 107358 w 1739754"/>
                  <a:gd name="connsiteY135" fmla="*/ 1244352 h 2673102"/>
                  <a:gd name="connsiteX136" fmla="*/ 93071 w 1739754"/>
                  <a:gd name="connsiteY136" fmla="*/ 1196727 h 2673102"/>
                  <a:gd name="connsiteX137" fmla="*/ 78783 w 1739754"/>
                  <a:gd name="connsiteY137" fmla="*/ 1177677 h 2673102"/>
                  <a:gd name="connsiteX138" fmla="*/ 59733 w 1739754"/>
                  <a:gd name="connsiteY138" fmla="*/ 1139577 h 2673102"/>
                  <a:gd name="connsiteX139" fmla="*/ 50208 w 1739754"/>
                  <a:gd name="connsiteY139" fmla="*/ 1111002 h 2673102"/>
                  <a:gd name="connsiteX140" fmla="*/ 45446 w 1739754"/>
                  <a:gd name="connsiteY140" fmla="*/ 1096714 h 2673102"/>
                  <a:gd name="connsiteX141" fmla="*/ 21633 w 1739754"/>
                  <a:gd name="connsiteY141" fmla="*/ 1025277 h 2673102"/>
                  <a:gd name="connsiteX142" fmla="*/ 202 w 1739754"/>
                  <a:gd name="connsiteY142" fmla="*/ 980033 h 2673102"/>
                  <a:gd name="connsiteX143" fmla="*/ 14490 w 1739754"/>
                  <a:gd name="connsiteY143" fmla="*/ 930027 h 2673102"/>
                  <a:gd name="connsiteX144" fmla="*/ 69259 w 1739754"/>
                  <a:gd name="connsiteY144" fmla="*/ 810964 h 2673102"/>
                  <a:gd name="connsiteX145" fmla="*/ 221658 w 1739754"/>
                  <a:gd name="connsiteY145" fmla="*/ 601414 h 2673102"/>
                  <a:gd name="connsiteX146" fmla="*/ 288333 w 1739754"/>
                  <a:gd name="connsiteY146" fmla="*/ 515689 h 2673102"/>
                  <a:gd name="connsiteX147" fmla="*/ 412158 w 1739754"/>
                  <a:gd name="connsiteY147" fmla="*/ 406152 h 2673102"/>
                  <a:gd name="connsiteX148" fmla="*/ 535983 w 1739754"/>
                  <a:gd name="connsiteY148" fmla="*/ 291851 h 2673102"/>
                  <a:gd name="connsiteX149" fmla="*/ 640758 w 1739754"/>
                  <a:gd name="connsiteY149" fmla="*/ 229939 h 2673102"/>
                  <a:gd name="connsiteX150" fmla="*/ 733628 w 1739754"/>
                  <a:gd name="connsiteY150" fmla="*/ 168026 h 2673102"/>
                  <a:gd name="connsiteX151" fmla="*/ 978896 w 1739754"/>
                  <a:gd name="connsiteY151" fmla="*/ 63251 h 2673102"/>
                  <a:gd name="connsiteX152" fmla="*/ 1159871 w 1739754"/>
                  <a:gd name="connsiteY152" fmla="*/ 6102 h 2673102"/>
                  <a:gd name="connsiteX153" fmla="*/ 1202733 w 1739754"/>
                  <a:gd name="connsiteY15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078908 w 1739754"/>
                  <a:gd name="connsiteY27" fmla="*/ 1111002 h 2673102"/>
                  <a:gd name="connsiteX28" fmla="*/ 964608 w 1739754"/>
                  <a:gd name="connsiteY28" fmla="*/ 1106239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078908 w 1739754"/>
                  <a:gd name="connsiteY27" fmla="*/ 111100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83596 w 1739754"/>
                  <a:gd name="connsiteY35" fmla="*/ 891927 h 2673102"/>
                  <a:gd name="connsiteX36" fmla="*/ 421683 w 1739754"/>
                  <a:gd name="connsiteY36" fmla="*/ 882402 h 2673102"/>
                  <a:gd name="connsiteX37" fmla="*/ 321671 w 1739754"/>
                  <a:gd name="connsiteY37" fmla="*/ 896689 h 2673102"/>
                  <a:gd name="connsiteX38" fmla="*/ 307383 w 1739754"/>
                  <a:gd name="connsiteY38" fmla="*/ 910977 h 2673102"/>
                  <a:gd name="connsiteX39" fmla="*/ 283571 w 1739754"/>
                  <a:gd name="connsiteY39" fmla="*/ 949077 h 2673102"/>
                  <a:gd name="connsiteX40" fmla="*/ 269283 w 1739754"/>
                  <a:gd name="connsiteY40" fmla="*/ 987177 h 2673102"/>
                  <a:gd name="connsiteX41" fmla="*/ 264521 w 1739754"/>
                  <a:gd name="connsiteY41" fmla="*/ 1039564 h 2673102"/>
                  <a:gd name="connsiteX42" fmla="*/ 264521 w 1739754"/>
                  <a:gd name="connsiteY42" fmla="*/ 1120527 h 2673102"/>
                  <a:gd name="connsiteX43" fmla="*/ 297858 w 1739754"/>
                  <a:gd name="connsiteY43" fmla="*/ 1153864 h 2673102"/>
                  <a:gd name="connsiteX44" fmla="*/ 326433 w 1739754"/>
                  <a:gd name="connsiteY44" fmla="*/ 1163389 h 2673102"/>
                  <a:gd name="connsiteX45" fmla="*/ 326433 w 1739754"/>
                  <a:gd name="connsiteY45" fmla="*/ 1244352 h 2673102"/>
                  <a:gd name="connsiteX46" fmla="*/ 312146 w 1739754"/>
                  <a:gd name="connsiteY46" fmla="*/ 1258639 h 2673102"/>
                  <a:gd name="connsiteX47" fmla="*/ 259758 w 1739754"/>
                  <a:gd name="connsiteY47" fmla="*/ 1296739 h 2673102"/>
                  <a:gd name="connsiteX48" fmla="*/ 240708 w 1739754"/>
                  <a:gd name="connsiteY48" fmla="*/ 1325314 h 2673102"/>
                  <a:gd name="connsiteX49" fmla="*/ 250233 w 1739754"/>
                  <a:gd name="connsiteY49" fmla="*/ 1425327 h 2673102"/>
                  <a:gd name="connsiteX50" fmla="*/ 278808 w 1739754"/>
                  <a:gd name="connsiteY50" fmla="*/ 1472952 h 2673102"/>
                  <a:gd name="connsiteX51" fmla="*/ 293096 w 1739754"/>
                  <a:gd name="connsiteY51" fmla="*/ 1492002 h 2673102"/>
                  <a:gd name="connsiteX52" fmla="*/ 383583 w 1739754"/>
                  <a:gd name="connsiteY52" fmla="*/ 1525339 h 2673102"/>
                  <a:gd name="connsiteX53" fmla="*/ 407396 w 1739754"/>
                  <a:gd name="connsiteY53" fmla="*/ 1492002 h 2673102"/>
                  <a:gd name="connsiteX54" fmla="*/ 412158 w 1739754"/>
                  <a:gd name="connsiteY54" fmla="*/ 1468189 h 2673102"/>
                  <a:gd name="connsiteX55" fmla="*/ 416921 w 1739754"/>
                  <a:gd name="connsiteY55" fmla="*/ 1449139 h 2673102"/>
                  <a:gd name="connsiteX56" fmla="*/ 445496 w 1739754"/>
                  <a:gd name="connsiteY56" fmla="*/ 1439614 h 2673102"/>
                  <a:gd name="connsiteX57" fmla="*/ 545508 w 1739754"/>
                  <a:gd name="connsiteY57" fmla="*/ 1458664 h 2673102"/>
                  <a:gd name="connsiteX58" fmla="*/ 555033 w 1739754"/>
                  <a:gd name="connsiteY58" fmla="*/ 1482477 h 2673102"/>
                  <a:gd name="connsiteX59" fmla="*/ 564558 w 1739754"/>
                  <a:gd name="connsiteY59" fmla="*/ 1515814 h 2673102"/>
                  <a:gd name="connsiteX60" fmla="*/ 550271 w 1739754"/>
                  <a:gd name="connsiteY60" fmla="*/ 1534864 h 2673102"/>
                  <a:gd name="connsiteX61" fmla="*/ 550271 w 1739754"/>
                  <a:gd name="connsiteY61" fmla="*/ 1601539 h 2673102"/>
                  <a:gd name="connsiteX62" fmla="*/ 559796 w 1739754"/>
                  <a:gd name="connsiteY62" fmla="*/ 1620589 h 2673102"/>
                  <a:gd name="connsiteX63" fmla="*/ 626471 w 1739754"/>
                  <a:gd name="connsiteY63" fmla="*/ 1639639 h 2673102"/>
                  <a:gd name="connsiteX64" fmla="*/ 645521 w 1739754"/>
                  <a:gd name="connsiteY64" fmla="*/ 1592014 h 2673102"/>
                  <a:gd name="connsiteX65" fmla="*/ 702671 w 1739754"/>
                  <a:gd name="connsiteY65" fmla="*/ 1620589 h 2673102"/>
                  <a:gd name="connsiteX66" fmla="*/ 731246 w 1739754"/>
                  <a:gd name="connsiteY66" fmla="*/ 1630114 h 2673102"/>
                  <a:gd name="connsiteX67" fmla="*/ 783633 w 1739754"/>
                  <a:gd name="connsiteY67" fmla="*/ 1663452 h 2673102"/>
                  <a:gd name="connsiteX68" fmla="*/ 859833 w 1739754"/>
                  <a:gd name="connsiteY68" fmla="*/ 1687264 h 2673102"/>
                  <a:gd name="connsiteX69" fmla="*/ 878883 w 1739754"/>
                  <a:gd name="connsiteY69" fmla="*/ 1701552 h 2673102"/>
                  <a:gd name="connsiteX70" fmla="*/ 888408 w 1739754"/>
                  <a:gd name="connsiteY70" fmla="*/ 1739652 h 2673102"/>
                  <a:gd name="connsiteX71" fmla="*/ 897933 w 1739754"/>
                  <a:gd name="connsiteY71" fmla="*/ 1782514 h 2673102"/>
                  <a:gd name="connsiteX72" fmla="*/ 940796 w 1739754"/>
                  <a:gd name="connsiteY72" fmla="*/ 1892052 h 2673102"/>
                  <a:gd name="connsiteX73" fmla="*/ 950321 w 1739754"/>
                  <a:gd name="connsiteY73" fmla="*/ 1906339 h 2673102"/>
                  <a:gd name="connsiteX74" fmla="*/ 959846 w 1739754"/>
                  <a:gd name="connsiteY74" fmla="*/ 1939677 h 2673102"/>
                  <a:gd name="connsiteX75" fmla="*/ 974133 w 1739754"/>
                  <a:gd name="connsiteY75" fmla="*/ 1977777 h 2673102"/>
                  <a:gd name="connsiteX76" fmla="*/ 964608 w 1739754"/>
                  <a:gd name="connsiteY76" fmla="*/ 2082552 h 2673102"/>
                  <a:gd name="connsiteX77" fmla="*/ 955083 w 1739754"/>
                  <a:gd name="connsiteY77" fmla="*/ 2101602 h 2673102"/>
                  <a:gd name="connsiteX78" fmla="*/ 926508 w 1739754"/>
                  <a:gd name="connsiteY78" fmla="*/ 2144464 h 2673102"/>
                  <a:gd name="connsiteX79" fmla="*/ 907458 w 1739754"/>
                  <a:gd name="connsiteY79" fmla="*/ 2192089 h 2673102"/>
                  <a:gd name="connsiteX80" fmla="*/ 902696 w 1739754"/>
                  <a:gd name="connsiteY80" fmla="*/ 2211139 h 2673102"/>
                  <a:gd name="connsiteX81" fmla="*/ 893171 w 1739754"/>
                  <a:gd name="connsiteY81" fmla="*/ 2239714 h 2673102"/>
                  <a:gd name="connsiteX82" fmla="*/ 897933 w 1739754"/>
                  <a:gd name="connsiteY82" fmla="*/ 2287339 h 2673102"/>
                  <a:gd name="connsiteX83" fmla="*/ 893171 w 1739754"/>
                  <a:gd name="connsiteY83" fmla="*/ 2396877 h 2673102"/>
                  <a:gd name="connsiteX84" fmla="*/ 688383 w 1739754"/>
                  <a:gd name="connsiteY84" fmla="*/ 2449264 h 2673102"/>
                  <a:gd name="connsiteX85" fmla="*/ 655046 w 1739754"/>
                  <a:gd name="connsiteY85" fmla="*/ 2473077 h 2673102"/>
                  <a:gd name="connsiteX86" fmla="*/ 607421 w 1739754"/>
                  <a:gd name="connsiteY86" fmla="*/ 2511177 h 2673102"/>
                  <a:gd name="connsiteX87" fmla="*/ 574083 w 1739754"/>
                  <a:gd name="connsiteY87" fmla="*/ 2534989 h 2673102"/>
                  <a:gd name="connsiteX88" fmla="*/ 540746 w 1739754"/>
                  <a:gd name="connsiteY88" fmla="*/ 2554039 h 2673102"/>
                  <a:gd name="connsiteX89" fmla="*/ 497883 w 1739754"/>
                  <a:gd name="connsiteY89" fmla="*/ 2587377 h 2673102"/>
                  <a:gd name="connsiteX90" fmla="*/ 483596 w 1739754"/>
                  <a:gd name="connsiteY90" fmla="*/ 2601664 h 2673102"/>
                  <a:gd name="connsiteX91" fmla="*/ 459783 w 1739754"/>
                  <a:gd name="connsiteY91" fmla="*/ 2620714 h 2673102"/>
                  <a:gd name="connsiteX92" fmla="*/ 450258 w 1739754"/>
                  <a:gd name="connsiteY92" fmla="*/ 2635002 h 2673102"/>
                  <a:gd name="connsiteX93" fmla="*/ 416921 w 1739754"/>
                  <a:gd name="connsiteY93" fmla="*/ 2654052 h 2673102"/>
                  <a:gd name="connsiteX94" fmla="*/ 374058 w 1739754"/>
                  <a:gd name="connsiteY94" fmla="*/ 2673102 h 2673102"/>
                  <a:gd name="connsiteX95" fmla="*/ 359771 w 1739754"/>
                  <a:gd name="connsiteY95" fmla="*/ 2663577 h 2673102"/>
                  <a:gd name="connsiteX96" fmla="*/ 345483 w 1739754"/>
                  <a:gd name="connsiteY96" fmla="*/ 2635002 h 2673102"/>
                  <a:gd name="connsiteX97" fmla="*/ 335958 w 1739754"/>
                  <a:gd name="connsiteY97" fmla="*/ 2620714 h 2673102"/>
                  <a:gd name="connsiteX98" fmla="*/ 297858 w 1739754"/>
                  <a:gd name="connsiteY98" fmla="*/ 2611189 h 2673102"/>
                  <a:gd name="connsiteX99" fmla="*/ 278808 w 1739754"/>
                  <a:gd name="connsiteY99" fmla="*/ 2592139 h 2673102"/>
                  <a:gd name="connsiteX100" fmla="*/ 274046 w 1739754"/>
                  <a:gd name="connsiteY100" fmla="*/ 2573089 h 2673102"/>
                  <a:gd name="connsiteX101" fmla="*/ 235946 w 1739754"/>
                  <a:gd name="connsiteY101" fmla="*/ 2539752 h 2673102"/>
                  <a:gd name="connsiteX102" fmla="*/ 231183 w 1739754"/>
                  <a:gd name="connsiteY102" fmla="*/ 2525464 h 2673102"/>
                  <a:gd name="connsiteX103" fmla="*/ 226421 w 1739754"/>
                  <a:gd name="connsiteY103" fmla="*/ 2506414 h 2673102"/>
                  <a:gd name="connsiteX104" fmla="*/ 212133 w 1739754"/>
                  <a:gd name="connsiteY104" fmla="*/ 2492127 h 2673102"/>
                  <a:gd name="connsiteX105" fmla="*/ 154983 w 1739754"/>
                  <a:gd name="connsiteY105" fmla="*/ 2439739 h 2673102"/>
                  <a:gd name="connsiteX106" fmla="*/ 150221 w 1739754"/>
                  <a:gd name="connsiteY106" fmla="*/ 2415927 h 2673102"/>
                  <a:gd name="connsiteX107" fmla="*/ 135933 w 1739754"/>
                  <a:gd name="connsiteY107" fmla="*/ 2358777 h 2673102"/>
                  <a:gd name="connsiteX108" fmla="*/ 121646 w 1739754"/>
                  <a:gd name="connsiteY108" fmla="*/ 2315914 h 2673102"/>
                  <a:gd name="connsiteX109" fmla="*/ 107358 w 1739754"/>
                  <a:gd name="connsiteY109" fmla="*/ 2258764 h 2673102"/>
                  <a:gd name="connsiteX110" fmla="*/ 102596 w 1739754"/>
                  <a:gd name="connsiteY110" fmla="*/ 2234952 h 2673102"/>
                  <a:gd name="connsiteX111" fmla="*/ 93071 w 1739754"/>
                  <a:gd name="connsiteY111" fmla="*/ 2211139 h 2673102"/>
                  <a:gd name="connsiteX112" fmla="*/ 88308 w 1739754"/>
                  <a:gd name="connsiteY112" fmla="*/ 2187327 h 2673102"/>
                  <a:gd name="connsiteX113" fmla="*/ 78783 w 1739754"/>
                  <a:gd name="connsiteY113" fmla="*/ 2111127 h 2673102"/>
                  <a:gd name="connsiteX114" fmla="*/ 97833 w 1739754"/>
                  <a:gd name="connsiteY114" fmla="*/ 1944439 h 2673102"/>
                  <a:gd name="connsiteX115" fmla="*/ 107358 w 1739754"/>
                  <a:gd name="connsiteY115" fmla="*/ 1930152 h 2673102"/>
                  <a:gd name="connsiteX116" fmla="*/ 126408 w 1739754"/>
                  <a:gd name="connsiteY116" fmla="*/ 1901577 h 2673102"/>
                  <a:gd name="connsiteX117" fmla="*/ 135933 w 1739754"/>
                  <a:gd name="connsiteY117" fmla="*/ 1868239 h 2673102"/>
                  <a:gd name="connsiteX118" fmla="*/ 131171 w 1739754"/>
                  <a:gd name="connsiteY118" fmla="*/ 1825377 h 2673102"/>
                  <a:gd name="connsiteX119" fmla="*/ 112121 w 1739754"/>
                  <a:gd name="connsiteY119" fmla="*/ 1820614 h 2673102"/>
                  <a:gd name="connsiteX120" fmla="*/ 102596 w 1739754"/>
                  <a:gd name="connsiteY120" fmla="*/ 1806327 h 2673102"/>
                  <a:gd name="connsiteX121" fmla="*/ 145458 w 1739754"/>
                  <a:gd name="connsiteY121" fmla="*/ 1720602 h 2673102"/>
                  <a:gd name="connsiteX122" fmla="*/ 159746 w 1739754"/>
                  <a:gd name="connsiteY122" fmla="*/ 1715839 h 2673102"/>
                  <a:gd name="connsiteX123" fmla="*/ 174033 w 1739754"/>
                  <a:gd name="connsiteY123" fmla="*/ 1696789 h 2673102"/>
                  <a:gd name="connsiteX124" fmla="*/ 188321 w 1739754"/>
                  <a:gd name="connsiteY124" fmla="*/ 1687264 h 2673102"/>
                  <a:gd name="connsiteX125" fmla="*/ 202608 w 1739754"/>
                  <a:gd name="connsiteY125" fmla="*/ 1653927 h 2673102"/>
                  <a:gd name="connsiteX126" fmla="*/ 193083 w 1739754"/>
                  <a:gd name="connsiteY126" fmla="*/ 1606302 h 2673102"/>
                  <a:gd name="connsiteX127" fmla="*/ 164508 w 1739754"/>
                  <a:gd name="connsiteY127" fmla="*/ 1596777 h 2673102"/>
                  <a:gd name="connsiteX128" fmla="*/ 154983 w 1739754"/>
                  <a:gd name="connsiteY128" fmla="*/ 1549152 h 2673102"/>
                  <a:gd name="connsiteX129" fmla="*/ 150221 w 1739754"/>
                  <a:gd name="connsiteY129" fmla="*/ 1411039 h 2673102"/>
                  <a:gd name="connsiteX130" fmla="*/ 140696 w 1739754"/>
                  <a:gd name="connsiteY130" fmla="*/ 1377702 h 2673102"/>
                  <a:gd name="connsiteX131" fmla="*/ 121646 w 1739754"/>
                  <a:gd name="connsiteY131" fmla="*/ 1311027 h 2673102"/>
                  <a:gd name="connsiteX132" fmla="*/ 116883 w 1739754"/>
                  <a:gd name="connsiteY132" fmla="*/ 1258639 h 2673102"/>
                  <a:gd name="connsiteX133" fmla="*/ 107358 w 1739754"/>
                  <a:gd name="connsiteY133" fmla="*/ 1244352 h 2673102"/>
                  <a:gd name="connsiteX134" fmla="*/ 93071 w 1739754"/>
                  <a:gd name="connsiteY134" fmla="*/ 1196727 h 2673102"/>
                  <a:gd name="connsiteX135" fmla="*/ 78783 w 1739754"/>
                  <a:gd name="connsiteY135" fmla="*/ 1177677 h 2673102"/>
                  <a:gd name="connsiteX136" fmla="*/ 59733 w 1739754"/>
                  <a:gd name="connsiteY136" fmla="*/ 1139577 h 2673102"/>
                  <a:gd name="connsiteX137" fmla="*/ 50208 w 1739754"/>
                  <a:gd name="connsiteY137" fmla="*/ 1111002 h 2673102"/>
                  <a:gd name="connsiteX138" fmla="*/ 45446 w 1739754"/>
                  <a:gd name="connsiteY138" fmla="*/ 1096714 h 2673102"/>
                  <a:gd name="connsiteX139" fmla="*/ 21633 w 1739754"/>
                  <a:gd name="connsiteY139" fmla="*/ 1025277 h 2673102"/>
                  <a:gd name="connsiteX140" fmla="*/ 202 w 1739754"/>
                  <a:gd name="connsiteY140" fmla="*/ 980033 h 2673102"/>
                  <a:gd name="connsiteX141" fmla="*/ 14490 w 1739754"/>
                  <a:gd name="connsiteY141" fmla="*/ 930027 h 2673102"/>
                  <a:gd name="connsiteX142" fmla="*/ 69259 w 1739754"/>
                  <a:gd name="connsiteY142" fmla="*/ 810964 h 2673102"/>
                  <a:gd name="connsiteX143" fmla="*/ 221658 w 1739754"/>
                  <a:gd name="connsiteY143" fmla="*/ 601414 h 2673102"/>
                  <a:gd name="connsiteX144" fmla="*/ 288333 w 1739754"/>
                  <a:gd name="connsiteY144" fmla="*/ 515689 h 2673102"/>
                  <a:gd name="connsiteX145" fmla="*/ 412158 w 1739754"/>
                  <a:gd name="connsiteY145" fmla="*/ 406152 h 2673102"/>
                  <a:gd name="connsiteX146" fmla="*/ 535983 w 1739754"/>
                  <a:gd name="connsiteY146" fmla="*/ 291851 h 2673102"/>
                  <a:gd name="connsiteX147" fmla="*/ 640758 w 1739754"/>
                  <a:gd name="connsiteY147" fmla="*/ 229939 h 2673102"/>
                  <a:gd name="connsiteX148" fmla="*/ 733628 w 1739754"/>
                  <a:gd name="connsiteY148" fmla="*/ 168026 h 2673102"/>
                  <a:gd name="connsiteX149" fmla="*/ 978896 w 1739754"/>
                  <a:gd name="connsiteY149" fmla="*/ 63251 h 2673102"/>
                  <a:gd name="connsiteX150" fmla="*/ 1159871 w 1739754"/>
                  <a:gd name="connsiteY150" fmla="*/ 6102 h 2673102"/>
                  <a:gd name="connsiteX151" fmla="*/ 1202733 w 1739754"/>
                  <a:gd name="connsiteY15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307383 w 1739754"/>
                  <a:gd name="connsiteY37" fmla="*/ 910977 h 2673102"/>
                  <a:gd name="connsiteX38" fmla="*/ 283571 w 1739754"/>
                  <a:gd name="connsiteY38" fmla="*/ 949077 h 2673102"/>
                  <a:gd name="connsiteX39" fmla="*/ 269283 w 1739754"/>
                  <a:gd name="connsiteY39" fmla="*/ 987177 h 2673102"/>
                  <a:gd name="connsiteX40" fmla="*/ 264521 w 1739754"/>
                  <a:gd name="connsiteY40" fmla="*/ 1039564 h 2673102"/>
                  <a:gd name="connsiteX41" fmla="*/ 264521 w 1739754"/>
                  <a:gd name="connsiteY41" fmla="*/ 1120527 h 2673102"/>
                  <a:gd name="connsiteX42" fmla="*/ 297858 w 1739754"/>
                  <a:gd name="connsiteY42" fmla="*/ 1153864 h 2673102"/>
                  <a:gd name="connsiteX43" fmla="*/ 326433 w 1739754"/>
                  <a:gd name="connsiteY43" fmla="*/ 1163389 h 2673102"/>
                  <a:gd name="connsiteX44" fmla="*/ 326433 w 1739754"/>
                  <a:gd name="connsiteY44" fmla="*/ 1244352 h 2673102"/>
                  <a:gd name="connsiteX45" fmla="*/ 312146 w 1739754"/>
                  <a:gd name="connsiteY45" fmla="*/ 1258639 h 2673102"/>
                  <a:gd name="connsiteX46" fmla="*/ 259758 w 1739754"/>
                  <a:gd name="connsiteY46" fmla="*/ 1296739 h 2673102"/>
                  <a:gd name="connsiteX47" fmla="*/ 240708 w 1739754"/>
                  <a:gd name="connsiteY47" fmla="*/ 1325314 h 2673102"/>
                  <a:gd name="connsiteX48" fmla="*/ 250233 w 1739754"/>
                  <a:gd name="connsiteY48" fmla="*/ 1425327 h 2673102"/>
                  <a:gd name="connsiteX49" fmla="*/ 278808 w 1739754"/>
                  <a:gd name="connsiteY49" fmla="*/ 1472952 h 2673102"/>
                  <a:gd name="connsiteX50" fmla="*/ 293096 w 1739754"/>
                  <a:gd name="connsiteY50" fmla="*/ 1492002 h 2673102"/>
                  <a:gd name="connsiteX51" fmla="*/ 383583 w 1739754"/>
                  <a:gd name="connsiteY51" fmla="*/ 1525339 h 2673102"/>
                  <a:gd name="connsiteX52" fmla="*/ 407396 w 1739754"/>
                  <a:gd name="connsiteY52" fmla="*/ 1492002 h 2673102"/>
                  <a:gd name="connsiteX53" fmla="*/ 412158 w 1739754"/>
                  <a:gd name="connsiteY53" fmla="*/ 1468189 h 2673102"/>
                  <a:gd name="connsiteX54" fmla="*/ 416921 w 1739754"/>
                  <a:gd name="connsiteY54" fmla="*/ 1449139 h 2673102"/>
                  <a:gd name="connsiteX55" fmla="*/ 445496 w 1739754"/>
                  <a:gd name="connsiteY55" fmla="*/ 1439614 h 2673102"/>
                  <a:gd name="connsiteX56" fmla="*/ 545508 w 1739754"/>
                  <a:gd name="connsiteY56" fmla="*/ 1458664 h 2673102"/>
                  <a:gd name="connsiteX57" fmla="*/ 555033 w 1739754"/>
                  <a:gd name="connsiteY57" fmla="*/ 1482477 h 2673102"/>
                  <a:gd name="connsiteX58" fmla="*/ 564558 w 1739754"/>
                  <a:gd name="connsiteY58" fmla="*/ 1515814 h 2673102"/>
                  <a:gd name="connsiteX59" fmla="*/ 550271 w 1739754"/>
                  <a:gd name="connsiteY59" fmla="*/ 1534864 h 2673102"/>
                  <a:gd name="connsiteX60" fmla="*/ 550271 w 1739754"/>
                  <a:gd name="connsiteY60" fmla="*/ 1601539 h 2673102"/>
                  <a:gd name="connsiteX61" fmla="*/ 559796 w 1739754"/>
                  <a:gd name="connsiteY61" fmla="*/ 1620589 h 2673102"/>
                  <a:gd name="connsiteX62" fmla="*/ 626471 w 1739754"/>
                  <a:gd name="connsiteY62" fmla="*/ 1639639 h 2673102"/>
                  <a:gd name="connsiteX63" fmla="*/ 645521 w 1739754"/>
                  <a:gd name="connsiteY63" fmla="*/ 1592014 h 2673102"/>
                  <a:gd name="connsiteX64" fmla="*/ 702671 w 1739754"/>
                  <a:gd name="connsiteY64" fmla="*/ 1620589 h 2673102"/>
                  <a:gd name="connsiteX65" fmla="*/ 731246 w 1739754"/>
                  <a:gd name="connsiteY65" fmla="*/ 1630114 h 2673102"/>
                  <a:gd name="connsiteX66" fmla="*/ 783633 w 1739754"/>
                  <a:gd name="connsiteY66" fmla="*/ 1663452 h 2673102"/>
                  <a:gd name="connsiteX67" fmla="*/ 859833 w 1739754"/>
                  <a:gd name="connsiteY67" fmla="*/ 1687264 h 2673102"/>
                  <a:gd name="connsiteX68" fmla="*/ 878883 w 1739754"/>
                  <a:gd name="connsiteY68" fmla="*/ 1701552 h 2673102"/>
                  <a:gd name="connsiteX69" fmla="*/ 888408 w 1739754"/>
                  <a:gd name="connsiteY69" fmla="*/ 1739652 h 2673102"/>
                  <a:gd name="connsiteX70" fmla="*/ 897933 w 1739754"/>
                  <a:gd name="connsiteY70" fmla="*/ 1782514 h 2673102"/>
                  <a:gd name="connsiteX71" fmla="*/ 940796 w 1739754"/>
                  <a:gd name="connsiteY71" fmla="*/ 1892052 h 2673102"/>
                  <a:gd name="connsiteX72" fmla="*/ 950321 w 1739754"/>
                  <a:gd name="connsiteY72" fmla="*/ 1906339 h 2673102"/>
                  <a:gd name="connsiteX73" fmla="*/ 959846 w 1739754"/>
                  <a:gd name="connsiteY73" fmla="*/ 1939677 h 2673102"/>
                  <a:gd name="connsiteX74" fmla="*/ 974133 w 1739754"/>
                  <a:gd name="connsiteY74" fmla="*/ 1977777 h 2673102"/>
                  <a:gd name="connsiteX75" fmla="*/ 964608 w 1739754"/>
                  <a:gd name="connsiteY75" fmla="*/ 2082552 h 2673102"/>
                  <a:gd name="connsiteX76" fmla="*/ 955083 w 1739754"/>
                  <a:gd name="connsiteY76" fmla="*/ 2101602 h 2673102"/>
                  <a:gd name="connsiteX77" fmla="*/ 926508 w 1739754"/>
                  <a:gd name="connsiteY77" fmla="*/ 2144464 h 2673102"/>
                  <a:gd name="connsiteX78" fmla="*/ 907458 w 1739754"/>
                  <a:gd name="connsiteY78" fmla="*/ 2192089 h 2673102"/>
                  <a:gd name="connsiteX79" fmla="*/ 902696 w 1739754"/>
                  <a:gd name="connsiteY79" fmla="*/ 2211139 h 2673102"/>
                  <a:gd name="connsiteX80" fmla="*/ 893171 w 1739754"/>
                  <a:gd name="connsiteY80" fmla="*/ 2239714 h 2673102"/>
                  <a:gd name="connsiteX81" fmla="*/ 897933 w 1739754"/>
                  <a:gd name="connsiteY81" fmla="*/ 2287339 h 2673102"/>
                  <a:gd name="connsiteX82" fmla="*/ 893171 w 1739754"/>
                  <a:gd name="connsiteY82" fmla="*/ 2396877 h 2673102"/>
                  <a:gd name="connsiteX83" fmla="*/ 688383 w 1739754"/>
                  <a:gd name="connsiteY83" fmla="*/ 2449264 h 2673102"/>
                  <a:gd name="connsiteX84" fmla="*/ 655046 w 1739754"/>
                  <a:gd name="connsiteY84" fmla="*/ 2473077 h 2673102"/>
                  <a:gd name="connsiteX85" fmla="*/ 607421 w 1739754"/>
                  <a:gd name="connsiteY85" fmla="*/ 2511177 h 2673102"/>
                  <a:gd name="connsiteX86" fmla="*/ 574083 w 1739754"/>
                  <a:gd name="connsiteY86" fmla="*/ 2534989 h 2673102"/>
                  <a:gd name="connsiteX87" fmla="*/ 540746 w 1739754"/>
                  <a:gd name="connsiteY87" fmla="*/ 2554039 h 2673102"/>
                  <a:gd name="connsiteX88" fmla="*/ 497883 w 1739754"/>
                  <a:gd name="connsiteY88" fmla="*/ 2587377 h 2673102"/>
                  <a:gd name="connsiteX89" fmla="*/ 483596 w 1739754"/>
                  <a:gd name="connsiteY89" fmla="*/ 2601664 h 2673102"/>
                  <a:gd name="connsiteX90" fmla="*/ 459783 w 1739754"/>
                  <a:gd name="connsiteY90" fmla="*/ 2620714 h 2673102"/>
                  <a:gd name="connsiteX91" fmla="*/ 450258 w 1739754"/>
                  <a:gd name="connsiteY91" fmla="*/ 2635002 h 2673102"/>
                  <a:gd name="connsiteX92" fmla="*/ 416921 w 1739754"/>
                  <a:gd name="connsiteY92" fmla="*/ 2654052 h 2673102"/>
                  <a:gd name="connsiteX93" fmla="*/ 374058 w 1739754"/>
                  <a:gd name="connsiteY93" fmla="*/ 2673102 h 2673102"/>
                  <a:gd name="connsiteX94" fmla="*/ 359771 w 1739754"/>
                  <a:gd name="connsiteY94" fmla="*/ 2663577 h 2673102"/>
                  <a:gd name="connsiteX95" fmla="*/ 345483 w 1739754"/>
                  <a:gd name="connsiteY95" fmla="*/ 2635002 h 2673102"/>
                  <a:gd name="connsiteX96" fmla="*/ 335958 w 1739754"/>
                  <a:gd name="connsiteY96" fmla="*/ 2620714 h 2673102"/>
                  <a:gd name="connsiteX97" fmla="*/ 297858 w 1739754"/>
                  <a:gd name="connsiteY97" fmla="*/ 2611189 h 2673102"/>
                  <a:gd name="connsiteX98" fmla="*/ 278808 w 1739754"/>
                  <a:gd name="connsiteY98" fmla="*/ 2592139 h 2673102"/>
                  <a:gd name="connsiteX99" fmla="*/ 274046 w 1739754"/>
                  <a:gd name="connsiteY99" fmla="*/ 2573089 h 2673102"/>
                  <a:gd name="connsiteX100" fmla="*/ 235946 w 1739754"/>
                  <a:gd name="connsiteY100" fmla="*/ 2539752 h 2673102"/>
                  <a:gd name="connsiteX101" fmla="*/ 231183 w 1739754"/>
                  <a:gd name="connsiteY101" fmla="*/ 2525464 h 2673102"/>
                  <a:gd name="connsiteX102" fmla="*/ 226421 w 1739754"/>
                  <a:gd name="connsiteY102" fmla="*/ 2506414 h 2673102"/>
                  <a:gd name="connsiteX103" fmla="*/ 212133 w 1739754"/>
                  <a:gd name="connsiteY103" fmla="*/ 2492127 h 2673102"/>
                  <a:gd name="connsiteX104" fmla="*/ 154983 w 1739754"/>
                  <a:gd name="connsiteY104" fmla="*/ 2439739 h 2673102"/>
                  <a:gd name="connsiteX105" fmla="*/ 150221 w 1739754"/>
                  <a:gd name="connsiteY105" fmla="*/ 2415927 h 2673102"/>
                  <a:gd name="connsiteX106" fmla="*/ 135933 w 1739754"/>
                  <a:gd name="connsiteY106" fmla="*/ 2358777 h 2673102"/>
                  <a:gd name="connsiteX107" fmla="*/ 121646 w 1739754"/>
                  <a:gd name="connsiteY107" fmla="*/ 2315914 h 2673102"/>
                  <a:gd name="connsiteX108" fmla="*/ 107358 w 1739754"/>
                  <a:gd name="connsiteY108" fmla="*/ 2258764 h 2673102"/>
                  <a:gd name="connsiteX109" fmla="*/ 102596 w 1739754"/>
                  <a:gd name="connsiteY109" fmla="*/ 2234952 h 2673102"/>
                  <a:gd name="connsiteX110" fmla="*/ 93071 w 1739754"/>
                  <a:gd name="connsiteY110" fmla="*/ 2211139 h 2673102"/>
                  <a:gd name="connsiteX111" fmla="*/ 88308 w 1739754"/>
                  <a:gd name="connsiteY111" fmla="*/ 2187327 h 2673102"/>
                  <a:gd name="connsiteX112" fmla="*/ 78783 w 1739754"/>
                  <a:gd name="connsiteY112" fmla="*/ 2111127 h 2673102"/>
                  <a:gd name="connsiteX113" fmla="*/ 97833 w 1739754"/>
                  <a:gd name="connsiteY113" fmla="*/ 1944439 h 2673102"/>
                  <a:gd name="connsiteX114" fmla="*/ 107358 w 1739754"/>
                  <a:gd name="connsiteY114" fmla="*/ 1930152 h 2673102"/>
                  <a:gd name="connsiteX115" fmla="*/ 126408 w 1739754"/>
                  <a:gd name="connsiteY115" fmla="*/ 1901577 h 2673102"/>
                  <a:gd name="connsiteX116" fmla="*/ 135933 w 1739754"/>
                  <a:gd name="connsiteY116" fmla="*/ 1868239 h 2673102"/>
                  <a:gd name="connsiteX117" fmla="*/ 131171 w 1739754"/>
                  <a:gd name="connsiteY117" fmla="*/ 1825377 h 2673102"/>
                  <a:gd name="connsiteX118" fmla="*/ 112121 w 1739754"/>
                  <a:gd name="connsiteY118" fmla="*/ 1820614 h 2673102"/>
                  <a:gd name="connsiteX119" fmla="*/ 102596 w 1739754"/>
                  <a:gd name="connsiteY119" fmla="*/ 1806327 h 2673102"/>
                  <a:gd name="connsiteX120" fmla="*/ 145458 w 1739754"/>
                  <a:gd name="connsiteY120" fmla="*/ 1720602 h 2673102"/>
                  <a:gd name="connsiteX121" fmla="*/ 159746 w 1739754"/>
                  <a:gd name="connsiteY121" fmla="*/ 1715839 h 2673102"/>
                  <a:gd name="connsiteX122" fmla="*/ 174033 w 1739754"/>
                  <a:gd name="connsiteY122" fmla="*/ 1696789 h 2673102"/>
                  <a:gd name="connsiteX123" fmla="*/ 188321 w 1739754"/>
                  <a:gd name="connsiteY123" fmla="*/ 1687264 h 2673102"/>
                  <a:gd name="connsiteX124" fmla="*/ 202608 w 1739754"/>
                  <a:gd name="connsiteY124" fmla="*/ 1653927 h 2673102"/>
                  <a:gd name="connsiteX125" fmla="*/ 193083 w 1739754"/>
                  <a:gd name="connsiteY125" fmla="*/ 1606302 h 2673102"/>
                  <a:gd name="connsiteX126" fmla="*/ 164508 w 1739754"/>
                  <a:gd name="connsiteY126" fmla="*/ 1596777 h 2673102"/>
                  <a:gd name="connsiteX127" fmla="*/ 154983 w 1739754"/>
                  <a:gd name="connsiteY127" fmla="*/ 1549152 h 2673102"/>
                  <a:gd name="connsiteX128" fmla="*/ 150221 w 1739754"/>
                  <a:gd name="connsiteY128" fmla="*/ 1411039 h 2673102"/>
                  <a:gd name="connsiteX129" fmla="*/ 140696 w 1739754"/>
                  <a:gd name="connsiteY129" fmla="*/ 1377702 h 2673102"/>
                  <a:gd name="connsiteX130" fmla="*/ 121646 w 1739754"/>
                  <a:gd name="connsiteY130" fmla="*/ 1311027 h 2673102"/>
                  <a:gd name="connsiteX131" fmla="*/ 116883 w 1739754"/>
                  <a:gd name="connsiteY131" fmla="*/ 1258639 h 2673102"/>
                  <a:gd name="connsiteX132" fmla="*/ 107358 w 1739754"/>
                  <a:gd name="connsiteY132" fmla="*/ 1244352 h 2673102"/>
                  <a:gd name="connsiteX133" fmla="*/ 93071 w 1739754"/>
                  <a:gd name="connsiteY133" fmla="*/ 1196727 h 2673102"/>
                  <a:gd name="connsiteX134" fmla="*/ 78783 w 1739754"/>
                  <a:gd name="connsiteY134" fmla="*/ 1177677 h 2673102"/>
                  <a:gd name="connsiteX135" fmla="*/ 59733 w 1739754"/>
                  <a:gd name="connsiteY135" fmla="*/ 1139577 h 2673102"/>
                  <a:gd name="connsiteX136" fmla="*/ 50208 w 1739754"/>
                  <a:gd name="connsiteY136" fmla="*/ 1111002 h 2673102"/>
                  <a:gd name="connsiteX137" fmla="*/ 45446 w 1739754"/>
                  <a:gd name="connsiteY137" fmla="*/ 1096714 h 2673102"/>
                  <a:gd name="connsiteX138" fmla="*/ 21633 w 1739754"/>
                  <a:gd name="connsiteY138" fmla="*/ 1025277 h 2673102"/>
                  <a:gd name="connsiteX139" fmla="*/ 202 w 1739754"/>
                  <a:gd name="connsiteY139" fmla="*/ 980033 h 2673102"/>
                  <a:gd name="connsiteX140" fmla="*/ 14490 w 1739754"/>
                  <a:gd name="connsiteY140" fmla="*/ 930027 h 2673102"/>
                  <a:gd name="connsiteX141" fmla="*/ 69259 w 1739754"/>
                  <a:gd name="connsiteY141" fmla="*/ 810964 h 2673102"/>
                  <a:gd name="connsiteX142" fmla="*/ 221658 w 1739754"/>
                  <a:gd name="connsiteY142" fmla="*/ 601414 h 2673102"/>
                  <a:gd name="connsiteX143" fmla="*/ 288333 w 1739754"/>
                  <a:gd name="connsiteY143" fmla="*/ 515689 h 2673102"/>
                  <a:gd name="connsiteX144" fmla="*/ 412158 w 1739754"/>
                  <a:gd name="connsiteY144" fmla="*/ 406152 h 2673102"/>
                  <a:gd name="connsiteX145" fmla="*/ 535983 w 1739754"/>
                  <a:gd name="connsiteY145" fmla="*/ 291851 h 2673102"/>
                  <a:gd name="connsiteX146" fmla="*/ 640758 w 1739754"/>
                  <a:gd name="connsiteY146" fmla="*/ 229939 h 2673102"/>
                  <a:gd name="connsiteX147" fmla="*/ 733628 w 1739754"/>
                  <a:gd name="connsiteY147" fmla="*/ 168026 h 2673102"/>
                  <a:gd name="connsiteX148" fmla="*/ 978896 w 1739754"/>
                  <a:gd name="connsiteY148" fmla="*/ 63251 h 2673102"/>
                  <a:gd name="connsiteX149" fmla="*/ 1159871 w 1739754"/>
                  <a:gd name="connsiteY149" fmla="*/ 6102 h 2673102"/>
                  <a:gd name="connsiteX150" fmla="*/ 1202733 w 1739754"/>
                  <a:gd name="connsiteY15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9283 w 1739754"/>
                  <a:gd name="connsiteY38" fmla="*/ 987177 h 2673102"/>
                  <a:gd name="connsiteX39" fmla="*/ 264521 w 1739754"/>
                  <a:gd name="connsiteY39" fmla="*/ 1039564 h 2673102"/>
                  <a:gd name="connsiteX40" fmla="*/ 264521 w 1739754"/>
                  <a:gd name="connsiteY40" fmla="*/ 1120527 h 2673102"/>
                  <a:gd name="connsiteX41" fmla="*/ 297858 w 1739754"/>
                  <a:gd name="connsiteY41" fmla="*/ 1153864 h 2673102"/>
                  <a:gd name="connsiteX42" fmla="*/ 326433 w 1739754"/>
                  <a:gd name="connsiteY42" fmla="*/ 1163389 h 2673102"/>
                  <a:gd name="connsiteX43" fmla="*/ 326433 w 1739754"/>
                  <a:gd name="connsiteY43" fmla="*/ 1244352 h 2673102"/>
                  <a:gd name="connsiteX44" fmla="*/ 312146 w 1739754"/>
                  <a:gd name="connsiteY44" fmla="*/ 1258639 h 2673102"/>
                  <a:gd name="connsiteX45" fmla="*/ 259758 w 1739754"/>
                  <a:gd name="connsiteY45" fmla="*/ 1296739 h 2673102"/>
                  <a:gd name="connsiteX46" fmla="*/ 240708 w 1739754"/>
                  <a:gd name="connsiteY46" fmla="*/ 1325314 h 2673102"/>
                  <a:gd name="connsiteX47" fmla="*/ 250233 w 1739754"/>
                  <a:gd name="connsiteY47" fmla="*/ 1425327 h 2673102"/>
                  <a:gd name="connsiteX48" fmla="*/ 278808 w 1739754"/>
                  <a:gd name="connsiteY48" fmla="*/ 1472952 h 2673102"/>
                  <a:gd name="connsiteX49" fmla="*/ 293096 w 1739754"/>
                  <a:gd name="connsiteY49" fmla="*/ 1492002 h 2673102"/>
                  <a:gd name="connsiteX50" fmla="*/ 383583 w 1739754"/>
                  <a:gd name="connsiteY50" fmla="*/ 1525339 h 2673102"/>
                  <a:gd name="connsiteX51" fmla="*/ 407396 w 1739754"/>
                  <a:gd name="connsiteY51" fmla="*/ 1492002 h 2673102"/>
                  <a:gd name="connsiteX52" fmla="*/ 412158 w 1739754"/>
                  <a:gd name="connsiteY52" fmla="*/ 1468189 h 2673102"/>
                  <a:gd name="connsiteX53" fmla="*/ 416921 w 1739754"/>
                  <a:gd name="connsiteY53" fmla="*/ 1449139 h 2673102"/>
                  <a:gd name="connsiteX54" fmla="*/ 445496 w 1739754"/>
                  <a:gd name="connsiteY54" fmla="*/ 1439614 h 2673102"/>
                  <a:gd name="connsiteX55" fmla="*/ 545508 w 1739754"/>
                  <a:gd name="connsiteY55" fmla="*/ 1458664 h 2673102"/>
                  <a:gd name="connsiteX56" fmla="*/ 555033 w 1739754"/>
                  <a:gd name="connsiteY56" fmla="*/ 1482477 h 2673102"/>
                  <a:gd name="connsiteX57" fmla="*/ 564558 w 1739754"/>
                  <a:gd name="connsiteY57" fmla="*/ 1515814 h 2673102"/>
                  <a:gd name="connsiteX58" fmla="*/ 550271 w 1739754"/>
                  <a:gd name="connsiteY58" fmla="*/ 1534864 h 2673102"/>
                  <a:gd name="connsiteX59" fmla="*/ 550271 w 1739754"/>
                  <a:gd name="connsiteY59" fmla="*/ 1601539 h 2673102"/>
                  <a:gd name="connsiteX60" fmla="*/ 559796 w 1739754"/>
                  <a:gd name="connsiteY60" fmla="*/ 1620589 h 2673102"/>
                  <a:gd name="connsiteX61" fmla="*/ 626471 w 1739754"/>
                  <a:gd name="connsiteY61" fmla="*/ 1639639 h 2673102"/>
                  <a:gd name="connsiteX62" fmla="*/ 645521 w 1739754"/>
                  <a:gd name="connsiteY62" fmla="*/ 1592014 h 2673102"/>
                  <a:gd name="connsiteX63" fmla="*/ 702671 w 1739754"/>
                  <a:gd name="connsiteY63" fmla="*/ 1620589 h 2673102"/>
                  <a:gd name="connsiteX64" fmla="*/ 731246 w 1739754"/>
                  <a:gd name="connsiteY64" fmla="*/ 1630114 h 2673102"/>
                  <a:gd name="connsiteX65" fmla="*/ 783633 w 1739754"/>
                  <a:gd name="connsiteY65" fmla="*/ 1663452 h 2673102"/>
                  <a:gd name="connsiteX66" fmla="*/ 859833 w 1739754"/>
                  <a:gd name="connsiteY66" fmla="*/ 1687264 h 2673102"/>
                  <a:gd name="connsiteX67" fmla="*/ 878883 w 1739754"/>
                  <a:gd name="connsiteY67" fmla="*/ 1701552 h 2673102"/>
                  <a:gd name="connsiteX68" fmla="*/ 888408 w 1739754"/>
                  <a:gd name="connsiteY68" fmla="*/ 1739652 h 2673102"/>
                  <a:gd name="connsiteX69" fmla="*/ 897933 w 1739754"/>
                  <a:gd name="connsiteY69" fmla="*/ 1782514 h 2673102"/>
                  <a:gd name="connsiteX70" fmla="*/ 940796 w 1739754"/>
                  <a:gd name="connsiteY70" fmla="*/ 1892052 h 2673102"/>
                  <a:gd name="connsiteX71" fmla="*/ 950321 w 1739754"/>
                  <a:gd name="connsiteY71" fmla="*/ 1906339 h 2673102"/>
                  <a:gd name="connsiteX72" fmla="*/ 959846 w 1739754"/>
                  <a:gd name="connsiteY72" fmla="*/ 1939677 h 2673102"/>
                  <a:gd name="connsiteX73" fmla="*/ 974133 w 1739754"/>
                  <a:gd name="connsiteY73" fmla="*/ 1977777 h 2673102"/>
                  <a:gd name="connsiteX74" fmla="*/ 964608 w 1739754"/>
                  <a:gd name="connsiteY74" fmla="*/ 2082552 h 2673102"/>
                  <a:gd name="connsiteX75" fmla="*/ 955083 w 1739754"/>
                  <a:gd name="connsiteY75" fmla="*/ 2101602 h 2673102"/>
                  <a:gd name="connsiteX76" fmla="*/ 926508 w 1739754"/>
                  <a:gd name="connsiteY76" fmla="*/ 2144464 h 2673102"/>
                  <a:gd name="connsiteX77" fmla="*/ 907458 w 1739754"/>
                  <a:gd name="connsiteY77" fmla="*/ 2192089 h 2673102"/>
                  <a:gd name="connsiteX78" fmla="*/ 902696 w 1739754"/>
                  <a:gd name="connsiteY78" fmla="*/ 2211139 h 2673102"/>
                  <a:gd name="connsiteX79" fmla="*/ 893171 w 1739754"/>
                  <a:gd name="connsiteY79" fmla="*/ 2239714 h 2673102"/>
                  <a:gd name="connsiteX80" fmla="*/ 897933 w 1739754"/>
                  <a:gd name="connsiteY80" fmla="*/ 2287339 h 2673102"/>
                  <a:gd name="connsiteX81" fmla="*/ 893171 w 1739754"/>
                  <a:gd name="connsiteY81" fmla="*/ 2396877 h 2673102"/>
                  <a:gd name="connsiteX82" fmla="*/ 688383 w 1739754"/>
                  <a:gd name="connsiteY82" fmla="*/ 2449264 h 2673102"/>
                  <a:gd name="connsiteX83" fmla="*/ 655046 w 1739754"/>
                  <a:gd name="connsiteY83" fmla="*/ 2473077 h 2673102"/>
                  <a:gd name="connsiteX84" fmla="*/ 607421 w 1739754"/>
                  <a:gd name="connsiteY84" fmla="*/ 2511177 h 2673102"/>
                  <a:gd name="connsiteX85" fmla="*/ 574083 w 1739754"/>
                  <a:gd name="connsiteY85" fmla="*/ 2534989 h 2673102"/>
                  <a:gd name="connsiteX86" fmla="*/ 540746 w 1739754"/>
                  <a:gd name="connsiteY86" fmla="*/ 2554039 h 2673102"/>
                  <a:gd name="connsiteX87" fmla="*/ 497883 w 1739754"/>
                  <a:gd name="connsiteY87" fmla="*/ 2587377 h 2673102"/>
                  <a:gd name="connsiteX88" fmla="*/ 483596 w 1739754"/>
                  <a:gd name="connsiteY88" fmla="*/ 2601664 h 2673102"/>
                  <a:gd name="connsiteX89" fmla="*/ 459783 w 1739754"/>
                  <a:gd name="connsiteY89" fmla="*/ 2620714 h 2673102"/>
                  <a:gd name="connsiteX90" fmla="*/ 450258 w 1739754"/>
                  <a:gd name="connsiteY90" fmla="*/ 2635002 h 2673102"/>
                  <a:gd name="connsiteX91" fmla="*/ 416921 w 1739754"/>
                  <a:gd name="connsiteY91" fmla="*/ 2654052 h 2673102"/>
                  <a:gd name="connsiteX92" fmla="*/ 374058 w 1739754"/>
                  <a:gd name="connsiteY92" fmla="*/ 2673102 h 2673102"/>
                  <a:gd name="connsiteX93" fmla="*/ 359771 w 1739754"/>
                  <a:gd name="connsiteY93" fmla="*/ 2663577 h 2673102"/>
                  <a:gd name="connsiteX94" fmla="*/ 345483 w 1739754"/>
                  <a:gd name="connsiteY94" fmla="*/ 2635002 h 2673102"/>
                  <a:gd name="connsiteX95" fmla="*/ 335958 w 1739754"/>
                  <a:gd name="connsiteY95" fmla="*/ 2620714 h 2673102"/>
                  <a:gd name="connsiteX96" fmla="*/ 297858 w 1739754"/>
                  <a:gd name="connsiteY96" fmla="*/ 2611189 h 2673102"/>
                  <a:gd name="connsiteX97" fmla="*/ 278808 w 1739754"/>
                  <a:gd name="connsiteY97" fmla="*/ 2592139 h 2673102"/>
                  <a:gd name="connsiteX98" fmla="*/ 274046 w 1739754"/>
                  <a:gd name="connsiteY98" fmla="*/ 2573089 h 2673102"/>
                  <a:gd name="connsiteX99" fmla="*/ 235946 w 1739754"/>
                  <a:gd name="connsiteY99" fmla="*/ 2539752 h 2673102"/>
                  <a:gd name="connsiteX100" fmla="*/ 231183 w 1739754"/>
                  <a:gd name="connsiteY100" fmla="*/ 2525464 h 2673102"/>
                  <a:gd name="connsiteX101" fmla="*/ 226421 w 1739754"/>
                  <a:gd name="connsiteY101" fmla="*/ 2506414 h 2673102"/>
                  <a:gd name="connsiteX102" fmla="*/ 212133 w 1739754"/>
                  <a:gd name="connsiteY102" fmla="*/ 2492127 h 2673102"/>
                  <a:gd name="connsiteX103" fmla="*/ 154983 w 1739754"/>
                  <a:gd name="connsiteY103" fmla="*/ 2439739 h 2673102"/>
                  <a:gd name="connsiteX104" fmla="*/ 150221 w 1739754"/>
                  <a:gd name="connsiteY104" fmla="*/ 2415927 h 2673102"/>
                  <a:gd name="connsiteX105" fmla="*/ 135933 w 1739754"/>
                  <a:gd name="connsiteY105" fmla="*/ 2358777 h 2673102"/>
                  <a:gd name="connsiteX106" fmla="*/ 121646 w 1739754"/>
                  <a:gd name="connsiteY106" fmla="*/ 2315914 h 2673102"/>
                  <a:gd name="connsiteX107" fmla="*/ 107358 w 1739754"/>
                  <a:gd name="connsiteY107" fmla="*/ 2258764 h 2673102"/>
                  <a:gd name="connsiteX108" fmla="*/ 102596 w 1739754"/>
                  <a:gd name="connsiteY108" fmla="*/ 2234952 h 2673102"/>
                  <a:gd name="connsiteX109" fmla="*/ 93071 w 1739754"/>
                  <a:gd name="connsiteY109" fmla="*/ 2211139 h 2673102"/>
                  <a:gd name="connsiteX110" fmla="*/ 88308 w 1739754"/>
                  <a:gd name="connsiteY110" fmla="*/ 2187327 h 2673102"/>
                  <a:gd name="connsiteX111" fmla="*/ 78783 w 1739754"/>
                  <a:gd name="connsiteY111" fmla="*/ 2111127 h 2673102"/>
                  <a:gd name="connsiteX112" fmla="*/ 97833 w 1739754"/>
                  <a:gd name="connsiteY112" fmla="*/ 1944439 h 2673102"/>
                  <a:gd name="connsiteX113" fmla="*/ 107358 w 1739754"/>
                  <a:gd name="connsiteY113" fmla="*/ 1930152 h 2673102"/>
                  <a:gd name="connsiteX114" fmla="*/ 126408 w 1739754"/>
                  <a:gd name="connsiteY114" fmla="*/ 1901577 h 2673102"/>
                  <a:gd name="connsiteX115" fmla="*/ 135933 w 1739754"/>
                  <a:gd name="connsiteY115" fmla="*/ 1868239 h 2673102"/>
                  <a:gd name="connsiteX116" fmla="*/ 131171 w 1739754"/>
                  <a:gd name="connsiteY116" fmla="*/ 1825377 h 2673102"/>
                  <a:gd name="connsiteX117" fmla="*/ 112121 w 1739754"/>
                  <a:gd name="connsiteY117" fmla="*/ 1820614 h 2673102"/>
                  <a:gd name="connsiteX118" fmla="*/ 102596 w 1739754"/>
                  <a:gd name="connsiteY118" fmla="*/ 1806327 h 2673102"/>
                  <a:gd name="connsiteX119" fmla="*/ 145458 w 1739754"/>
                  <a:gd name="connsiteY119" fmla="*/ 1720602 h 2673102"/>
                  <a:gd name="connsiteX120" fmla="*/ 159746 w 1739754"/>
                  <a:gd name="connsiteY120" fmla="*/ 1715839 h 2673102"/>
                  <a:gd name="connsiteX121" fmla="*/ 174033 w 1739754"/>
                  <a:gd name="connsiteY121" fmla="*/ 1696789 h 2673102"/>
                  <a:gd name="connsiteX122" fmla="*/ 188321 w 1739754"/>
                  <a:gd name="connsiteY122" fmla="*/ 1687264 h 2673102"/>
                  <a:gd name="connsiteX123" fmla="*/ 202608 w 1739754"/>
                  <a:gd name="connsiteY123" fmla="*/ 1653927 h 2673102"/>
                  <a:gd name="connsiteX124" fmla="*/ 193083 w 1739754"/>
                  <a:gd name="connsiteY124" fmla="*/ 1606302 h 2673102"/>
                  <a:gd name="connsiteX125" fmla="*/ 164508 w 1739754"/>
                  <a:gd name="connsiteY125" fmla="*/ 1596777 h 2673102"/>
                  <a:gd name="connsiteX126" fmla="*/ 154983 w 1739754"/>
                  <a:gd name="connsiteY126" fmla="*/ 1549152 h 2673102"/>
                  <a:gd name="connsiteX127" fmla="*/ 150221 w 1739754"/>
                  <a:gd name="connsiteY127" fmla="*/ 1411039 h 2673102"/>
                  <a:gd name="connsiteX128" fmla="*/ 140696 w 1739754"/>
                  <a:gd name="connsiteY128" fmla="*/ 1377702 h 2673102"/>
                  <a:gd name="connsiteX129" fmla="*/ 121646 w 1739754"/>
                  <a:gd name="connsiteY129" fmla="*/ 1311027 h 2673102"/>
                  <a:gd name="connsiteX130" fmla="*/ 116883 w 1739754"/>
                  <a:gd name="connsiteY130" fmla="*/ 1258639 h 2673102"/>
                  <a:gd name="connsiteX131" fmla="*/ 107358 w 1739754"/>
                  <a:gd name="connsiteY131" fmla="*/ 1244352 h 2673102"/>
                  <a:gd name="connsiteX132" fmla="*/ 93071 w 1739754"/>
                  <a:gd name="connsiteY132" fmla="*/ 1196727 h 2673102"/>
                  <a:gd name="connsiteX133" fmla="*/ 78783 w 1739754"/>
                  <a:gd name="connsiteY133" fmla="*/ 1177677 h 2673102"/>
                  <a:gd name="connsiteX134" fmla="*/ 59733 w 1739754"/>
                  <a:gd name="connsiteY134" fmla="*/ 1139577 h 2673102"/>
                  <a:gd name="connsiteX135" fmla="*/ 50208 w 1739754"/>
                  <a:gd name="connsiteY135" fmla="*/ 1111002 h 2673102"/>
                  <a:gd name="connsiteX136" fmla="*/ 45446 w 1739754"/>
                  <a:gd name="connsiteY136" fmla="*/ 1096714 h 2673102"/>
                  <a:gd name="connsiteX137" fmla="*/ 21633 w 1739754"/>
                  <a:gd name="connsiteY137" fmla="*/ 1025277 h 2673102"/>
                  <a:gd name="connsiteX138" fmla="*/ 202 w 1739754"/>
                  <a:gd name="connsiteY138" fmla="*/ 980033 h 2673102"/>
                  <a:gd name="connsiteX139" fmla="*/ 14490 w 1739754"/>
                  <a:gd name="connsiteY139" fmla="*/ 930027 h 2673102"/>
                  <a:gd name="connsiteX140" fmla="*/ 69259 w 1739754"/>
                  <a:gd name="connsiteY140" fmla="*/ 810964 h 2673102"/>
                  <a:gd name="connsiteX141" fmla="*/ 221658 w 1739754"/>
                  <a:gd name="connsiteY141" fmla="*/ 601414 h 2673102"/>
                  <a:gd name="connsiteX142" fmla="*/ 288333 w 1739754"/>
                  <a:gd name="connsiteY142" fmla="*/ 515689 h 2673102"/>
                  <a:gd name="connsiteX143" fmla="*/ 412158 w 1739754"/>
                  <a:gd name="connsiteY143" fmla="*/ 406152 h 2673102"/>
                  <a:gd name="connsiteX144" fmla="*/ 535983 w 1739754"/>
                  <a:gd name="connsiteY144" fmla="*/ 291851 h 2673102"/>
                  <a:gd name="connsiteX145" fmla="*/ 640758 w 1739754"/>
                  <a:gd name="connsiteY145" fmla="*/ 229939 h 2673102"/>
                  <a:gd name="connsiteX146" fmla="*/ 733628 w 1739754"/>
                  <a:gd name="connsiteY146" fmla="*/ 168026 h 2673102"/>
                  <a:gd name="connsiteX147" fmla="*/ 978896 w 1739754"/>
                  <a:gd name="connsiteY147" fmla="*/ 63251 h 2673102"/>
                  <a:gd name="connsiteX148" fmla="*/ 1159871 w 1739754"/>
                  <a:gd name="connsiteY148" fmla="*/ 6102 h 2673102"/>
                  <a:gd name="connsiteX149" fmla="*/ 1202733 w 1739754"/>
                  <a:gd name="connsiteY14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297858 w 1739754"/>
                  <a:gd name="connsiteY40" fmla="*/ 1153864 h 2673102"/>
                  <a:gd name="connsiteX41" fmla="*/ 326433 w 1739754"/>
                  <a:gd name="connsiteY41" fmla="*/ 1163389 h 2673102"/>
                  <a:gd name="connsiteX42" fmla="*/ 326433 w 1739754"/>
                  <a:gd name="connsiteY42" fmla="*/ 1244352 h 2673102"/>
                  <a:gd name="connsiteX43" fmla="*/ 312146 w 1739754"/>
                  <a:gd name="connsiteY43" fmla="*/ 1258639 h 2673102"/>
                  <a:gd name="connsiteX44" fmla="*/ 259758 w 1739754"/>
                  <a:gd name="connsiteY44" fmla="*/ 1296739 h 2673102"/>
                  <a:gd name="connsiteX45" fmla="*/ 240708 w 1739754"/>
                  <a:gd name="connsiteY45" fmla="*/ 1325314 h 2673102"/>
                  <a:gd name="connsiteX46" fmla="*/ 250233 w 1739754"/>
                  <a:gd name="connsiteY46" fmla="*/ 1425327 h 2673102"/>
                  <a:gd name="connsiteX47" fmla="*/ 278808 w 1739754"/>
                  <a:gd name="connsiteY47" fmla="*/ 1472952 h 2673102"/>
                  <a:gd name="connsiteX48" fmla="*/ 293096 w 1739754"/>
                  <a:gd name="connsiteY48" fmla="*/ 1492002 h 2673102"/>
                  <a:gd name="connsiteX49" fmla="*/ 383583 w 1739754"/>
                  <a:gd name="connsiteY49" fmla="*/ 1525339 h 2673102"/>
                  <a:gd name="connsiteX50" fmla="*/ 407396 w 1739754"/>
                  <a:gd name="connsiteY50" fmla="*/ 1492002 h 2673102"/>
                  <a:gd name="connsiteX51" fmla="*/ 412158 w 1739754"/>
                  <a:gd name="connsiteY51" fmla="*/ 1468189 h 2673102"/>
                  <a:gd name="connsiteX52" fmla="*/ 416921 w 1739754"/>
                  <a:gd name="connsiteY52" fmla="*/ 1449139 h 2673102"/>
                  <a:gd name="connsiteX53" fmla="*/ 445496 w 1739754"/>
                  <a:gd name="connsiteY53" fmla="*/ 1439614 h 2673102"/>
                  <a:gd name="connsiteX54" fmla="*/ 545508 w 1739754"/>
                  <a:gd name="connsiteY54" fmla="*/ 1458664 h 2673102"/>
                  <a:gd name="connsiteX55" fmla="*/ 555033 w 1739754"/>
                  <a:gd name="connsiteY55" fmla="*/ 1482477 h 2673102"/>
                  <a:gd name="connsiteX56" fmla="*/ 564558 w 1739754"/>
                  <a:gd name="connsiteY56" fmla="*/ 1515814 h 2673102"/>
                  <a:gd name="connsiteX57" fmla="*/ 550271 w 1739754"/>
                  <a:gd name="connsiteY57" fmla="*/ 1534864 h 2673102"/>
                  <a:gd name="connsiteX58" fmla="*/ 550271 w 1739754"/>
                  <a:gd name="connsiteY58" fmla="*/ 1601539 h 2673102"/>
                  <a:gd name="connsiteX59" fmla="*/ 559796 w 1739754"/>
                  <a:gd name="connsiteY59" fmla="*/ 1620589 h 2673102"/>
                  <a:gd name="connsiteX60" fmla="*/ 626471 w 1739754"/>
                  <a:gd name="connsiteY60" fmla="*/ 1639639 h 2673102"/>
                  <a:gd name="connsiteX61" fmla="*/ 645521 w 1739754"/>
                  <a:gd name="connsiteY61" fmla="*/ 1592014 h 2673102"/>
                  <a:gd name="connsiteX62" fmla="*/ 702671 w 1739754"/>
                  <a:gd name="connsiteY62" fmla="*/ 1620589 h 2673102"/>
                  <a:gd name="connsiteX63" fmla="*/ 731246 w 1739754"/>
                  <a:gd name="connsiteY63" fmla="*/ 1630114 h 2673102"/>
                  <a:gd name="connsiteX64" fmla="*/ 783633 w 1739754"/>
                  <a:gd name="connsiteY64" fmla="*/ 1663452 h 2673102"/>
                  <a:gd name="connsiteX65" fmla="*/ 859833 w 1739754"/>
                  <a:gd name="connsiteY65" fmla="*/ 1687264 h 2673102"/>
                  <a:gd name="connsiteX66" fmla="*/ 878883 w 1739754"/>
                  <a:gd name="connsiteY66" fmla="*/ 1701552 h 2673102"/>
                  <a:gd name="connsiteX67" fmla="*/ 888408 w 1739754"/>
                  <a:gd name="connsiteY67" fmla="*/ 1739652 h 2673102"/>
                  <a:gd name="connsiteX68" fmla="*/ 897933 w 1739754"/>
                  <a:gd name="connsiteY68" fmla="*/ 1782514 h 2673102"/>
                  <a:gd name="connsiteX69" fmla="*/ 940796 w 1739754"/>
                  <a:gd name="connsiteY69" fmla="*/ 1892052 h 2673102"/>
                  <a:gd name="connsiteX70" fmla="*/ 950321 w 1739754"/>
                  <a:gd name="connsiteY70" fmla="*/ 1906339 h 2673102"/>
                  <a:gd name="connsiteX71" fmla="*/ 959846 w 1739754"/>
                  <a:gd name="connsiteY71" fmla="*/ 1939677 h 2673102"/>
                  <a:gd name="connsiteX72" fmla="*/ 974133 w 1739754"/>
                  <a:gd name="connsiteY72" fmla="*/ 1977777 h 2673102"/>
                  <a:gd name="connsiteX73" fmla="*/ 964608 w 1739754"/>
                  <a:gd name="connsiteY73" fmla="*/ 2082552 h 2673102"/>
                  <a:gd name="connsiteX74" fmla="*/ 955083 w 1739754"/>
                  <a:gd name="connsiteY74" fmla="*/ 2101602 h 2673102"/>
                  <a:gd name="connsiteX75" fmla="*/ 926508 w 1739754"/>
                  <a:gd name="connsiteY75" fmla="*/ 2144464 h 2673102"/>
                  <a:gd name="connsiteX76" fmla="*/ 907458 w 1739754"/>
                  <a:gd name="connsiteY76" fmla="*/ 2192089 h 2673102"/>
                  <a:gd name="connsiteX77" fmla="*/ 902696 w 1739754"/>
                  <a:gd name="connsiteY77" fmla="*/ 2211139 h 2673102"/>
                  <a:gd name="connsiteX78" fmla="*/ 893171 w 1739754"/>
                  <a:gd name="connsiteY78" fmla="*/ 2239714 h 2673102"/>
                  <a:gd name="connsiteX79" fmla="*/ 897933 w 1739754"/>
                  <a:gd name="connsiteY79" fmla="*/ 2287339 h 2673102"/>
                  <a:gd name="connsiteX80" fmla="*/ 893171 w 1739754"/>
                  <a:gd name="connsiteY80" fmla="*/ 2396877 h 2673102"/>
                  <a:gd name="connsiteX81" fmla="*/ 688383 w 1739754"/>
                  <a:gd name="connsiteY81" fmla="*/ 2449264 h 2673102"/>
                  <a:gd name="connsiteX82" fmla="*/ 655046 w 1739754"/>
                  <a:gd name="connsiteY82" fmla="*/ 2473077 h 2673102"/>
                  <a:gd name="connsiteX83" fmla="*/ 607421 w 1739754"/>
                  <a:gd name="connsiteY83" fmla="*/ 2511177 h 2673102"/>
                  <a:gd name="connsiteX84" fmla="*/ 574083 w 1739754"/>
                  <a:gd name="connsiteY84" fmla="*/ 2534989 h 2673102"/>
                  <a:gd name="connsiteX85" fmla="*/ 540746 w 1739754"/>
                  <a:gd name="connsiteY85" fmla="*/ 2554039 h 2673102"/>
                  <a:gd name="connsiteX86" fmla="*/ 497883 w 1739754"/>
                  <a:gd name="connsiteY86" fmla="*/ 2587377 h 2673102"/>
                  <a:gd name="connsiteX87" fmla="*/ 483596 w 1739754"/>
                  <a:gd name="connsiteY87" fmla="*/ 2601664 h 2673102"/>
                  <a:gd name="connsiteX88" fmla="*/ 459783 w 1739754"/>
                  <a:gd name="connsiteY88" fmla="*/ 2620714 h 2673102"/>
                  <a:gd name="connsiteX89" fmla="*/ 450258 w 1739754"/>
                  <a:gd name="connsiteY89" fmla="*/ 2635002 h 2673102"/>
                  <a:gd name="connsiteX90" fmla="*/ 416921 w 1739754"/>
                  <a:gd name="connsiteY90" fmla="*/ 2654052 h 2673102"/>
                  <a:gd name="connsiteX91" fmla="*/ 374058 w 1739754"/>
                  <a:gd name="connsiteY91" fmla="*/ 2673102 h 2673102"/>
                  <a:gd name="connsiteX92" fmla="*/ 359771 w 1739754"/>
                  <a:gd name="connsiteY92" fmla="*/ 2663577 h 2673102"/>
                  <a:gd name="connsiteX93" fmla="*/ 345483 w 1739754"/>
                  <a:gd name="connsiteY93" fmla="*/ 2635002 h 2673102"/>
                  <a:gd name="connsiteX94" fmla="*/ 335958 w 1739754"/>
                  <a:gd name="connsiteY94" fmla="*/ 2620714 h 2673102"/>
                  <a:gd name="connsiteX95" fmla="*/ 297858 w 1739754"/>
                  <a:gd name="connsiteY95" fmla="*/ 2611189 h 2673102"/>
                  <a:gd name="connsiteX96" fmla="*/ 278808 w 1739754"/>
                  <a:gd name="connsiteY96" fmla="*/ 2592139 h 2673102"/>
                  <a:gd name="connsiteX97" fmla="*/ 274046 w 1739754"/>
                  <a:gd name="connsiteY97" fmla="*/ 2573089 h 2673102"/>
                  <a:gd name="connsiteX98" fmla="*/ 235946 w 1739754"/>
                  <a:gd name="connsiteY98" fmla="*/ 2539752 h 2673102"/>
                  <a:gd name="connsiteX99" fmla="*/ 231183 w 1739754"/>
                  <a:gd name="connsiteY99" fmla="*/ 2525464 h 2673102"/>
                  <a:gd name="connsiteX100" fmla="*/ 226421 w 1739754"/>
                  <a:gd name="connsiteY100" fmla="*/ 2506414 h 2673102"/>
                  <a:gd name="connsiteX101" fmla="*/ 212133 w 1739754"/>
                  <a:gd name="connsiteY101" fmla="*/ 2492127 h 2673102"/>
                  <a:gd name="connsiteX102" fmla="*/ 154983 w 1739754"/>
                  <a:gd name="connsiteY102" fmla="*/ 2439739 h 2673102"/>
                  <a:gd name="connsiteX103" fmla="*/ 150221 w 1739754"/>
                  <a:gd name="connsiteY103" fmla="*/ 2415927 h 2673102"/>
                  <a:gd name="connsiteX104" fmla="*/ 135933 w 1739754"/>
                  <a:gd name="connsiteY104" fmla="*/ 2358777 h 2673102"/>
                  <a:gd name="connsiteX105" fmla="*/ 121646 w 1739754"/>
                  <a:gd name="connsiteY105" fmla="*/ 2315914 h 2673102"/>
                  <a:gd name="connsiteX106" fmla="*/ 107358 w 1739754"/>
                  <a:gd name="connsiteY106" fmla="*/ 2258764 h 2673102"/>
                  <a:gd name="connsiteX107" fmla="*/ 102596 w 1739754"/>
                  <a:gd name="connsiteY107" fmla="*/ 2234952 h 2673102"/>
                  <a:gd name="connsiteX108" fmla="*/ 93071 w 1739754"/>
                  <a:gd name="connsiteY108" fmla="*/ 2211139 h 2673102"/>
                  <a:gd name="connsiteX109" fmla="*/ 88308 w 1739754"/>
                  <a:gd name="connsiteY109" fmla="*/ 2187327 h 2673102"/>
                  <a:gd name="connsiteX110" fmla="*/ 78783 w 1739754"/>
                  <a:gd name="connsiteY110" fmla="*/ 2111127 h 2673102"/>
                  <a:gd name="connsiteX111" fmla="*/ 97833 w 1739754"/>
                  <a:gd name="connsiteY111" fmla="*/ 1944439 h 2673102"/>
                  <a:gd name="connsiteX112" fmla="*/ 107358 w 1739754"/>
                  <a:gd name="connsiteY112" fmla="*/ 1930152 h 2673102"/>
                  <a:gd name="connsiteX113" fmla="*/ 126408 w 1739754"/>
                  <a:gd name="connsiteY113" fmla="*/ 1901577 h 2673102"/>
                  <a:gd name="connsiteX114" fmla="*/ 135933 w 1739754"/>
                  <a:gd name="connsiteY114" fmla="*/ 1868239 h 2673102"/>
                  <a:gd name="connsiteX115" fmla="*/ 131171 w 1739754"/>
                  <a:gd name="connsiteY115" fmla="*/ 1825377 h 2673102"/>
                  <a:gd name="connsiteX116" fmla="*/ 112121 w 1739754"/>
                  <a:gd name="connsiteY116" fmla="*/ 1820614 h 2673102"/>
                  <a:gd name="connsiteX117" fmla="*/ 102596 w 1739754"/>
                  <a:gd name="connsiteY117" fmla="*/ 1806327 h 2673102"/>
                  <a:gd name="connsiteX118" fmla="*/ 145458 w 1739754"/>
                  <a:gd name="connsiteY118" fmla="*/ 1720602 h 2673102"/>
                  <a:gd name="connsiteX119" fmla="*/ 159746 w 1739754"/>
                  <a:gd name="connsiteY119" fmla="*/ 1715839 h 2673102"/>
                  <a:gd name="connsiteX120" fmla="*/ 174033 w 1739754"/>
                  <a:gd name="connsiteY120" fmla="*/ 1696789 h 2673102"/>
                  <a:gd name="connsiteX121" fmla="*/ 188321 w 1739754"/>
                  <a:gd name="connsiteY121" fmla="*/ 1687264 h 2673102"/>
                  <a:gd name="connsiteX122" fmla="*/ 202608 w 1739754"/>
                  <a:gd name="connsiteY122" fmla="*/ 1653927 h 2673102"/>
                  <a:gd name="connsiteX123" fmla="*/ 193083 w 1739754"/>
                  <a:gd name="connsiteY123" fmla="*/ 1606302 h 2673102"/>
                  <a:gd name="connsiteX124" fmla="*/ 164508 w 1739754"/>
                  <a:gd name="connsiteY124" fmla="*/ 1596777 h 2673102"/>
                  <a:gd name="connsiteX125" fmla="*/ 154983 w 1739754"/>
                  <a:gd name="connsiteY125" fmla="*/ 1549152 h 2673102"/>
                  <a:gd name="connsiteX126" fmla="*/ 150221 w 1739754"/>
                  <a:gd name="connsiteY126" fmla="*/ 1411039 h 2673102"/>
                  <a:gd name="connsiteX127" fmla="*/ 140696 w 1739754"/>
                  <a:gd name="connsiteY127" fmla="*/ 1377702 h 2673102"/>
                  <a:gd name="connsiteX128" fmla="*/ 121646 w 1739754"/>
                  <a:gd name="connsiteY128" fmla="*/ 1311027 h 2673102"/>
                  <a:gd name="connsiteX129" fmla="*/ 116883 w 1739754"/>
                  <a:gd name="connsiteY129" fmla="*/ 1258639 h 2673102"/>
                  <a:gd name="connsiteX130" fmla="*/ 107358 w 1739754"/>
                  <a:gd name="connsiteY130" fmla="*/ 1244352 h 2673102"/>
                  <a:gd name="connsiteX131" fmla="*/ 93071 w 1739754"/>
                  <a:gd name="connsiteY131" fmla="*/ 1196727 h 2673102"/>
                  <a:gd name="connsiteX132" fmla="*/ 78783 w 1739754"/>
                  <a:gd name="connsiteY132" fmla="*/ 1177677 h 2673102"/>
                  <a:gd name="connsiteX133" fmla="*/ 59733 w 1739754"/>
                  <a:gd name="connsiteY133" fmla="*/ 1139577 h 2673102"/>
                  <a:gd name="connsiteX134" fmla="*/ 50208 w 1739754"/>
                  <a:gd name="connsiteY134" fmla="*/ 1111002 h 2673102"/>
                  <a:gd name="connsiteX135" fmla="*/ 45446 w 1739754"/>
                  <a:gd name="connsiteY135" fmla="*/ 1096714 h 2673102"/>
                  <a:gd name="connsiteX136" fmla="*/ 21633 w 1739754"/>
                  <a:gd name="connsiteY136" fmla="*/ 1025277 h 2673102"/>
                  <a:gd name="connsiteX137" fmla="*/ 202 w 1739754"/>
                  <a:gd name="connsiteY137" fmla="*/ 980033 h 2673102"/>
                  <a:gd name="connsiteX138" fmla="*/ 14490 w 1739754"/>
                  <a:gd name="connsiteY138" fmla="*/ 930027 h 2673102"/>
                  <a:gd name="connsiteX139" fmla="*/ 69259 w 1739754"/>
                  <a:gd name="connsiteY139" fmla="*/ 810964 h 2673102"/>
                  <a:gd name="connsiteX140" fmla="*/ 221658 w 1739754"/>
                  <a:gd name="connsiteY140" fmla="*/ 601414 h 2673102"/>
                  <a:gd name="connsiteX141" fmla="*/ 288333 w 1739754"/>
                  <a:gd name="connsiteY141" fmla="*/ 515689 h 2673102"/>
                  <a:gd name="connsiteX142" fmla="*/ 412158 w 1739754"/>
                  <a:gd name="connsiteY142" fmla="*/ 406152 h 2673102"/>
                  <a:gd name="connsiteX143" fmla="*/ 535983 w 1739754"/>
                  <a:gd name="connsiteY143" fmla="*/ 291851 h 2673102"/>
                  <a:gd name="connsiteX144" fmla="*/ 640758 w 1739754"/>
                  <a:gd name="connsiteY144" fmla="*/ 229939 h 2673102"/>
                  <a:gd name="connsiteX145" fmla="*/ 733628 w 1739754"/>
                  <a:gd name="connsiteY145" fmla="*/ 168026 h 2673102"/>
                  <a:gd name="connsiteX146" fmla="*/ 978896 w 1739754"/>
                  <a:gd name="connsiteY146" fmla="*/ 63251 h 2673102"/>
                  <a:gd name="connsiteX147" fmla="*/ 1159871 w 1739754"/>
                  <a:gd name="connsiteY147" fmla="*/ 6102 h 2673102"/>
                  <a:gd name="connsiteX148" fmla="*/ 1202733 w 1739754"/>
                  <a:gd name="connsiteY14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312146 w 1739754"/>
                  <a:gd name="connsiteY42" fmla="*/ 1258639 h 2673102"/>
                  <a:gd name="connsiteX43" fmla="*/ 259758 w 1739754"/>
                  <a:gd name="connsiteY43" fmla="*/ 1296739 h 2673102"/>
                  <a:gd name="connsiteX44" fmla="*/ 240708 w 1739754"/>
                  <a:gd name="connsiteY44" fmla="*/ 1325314 h 2673102"/>
                  <a:gd name="connsiteX45" fmla="*/ 250233 w 1739754"/>
                  <a:gd name="connsiteY45" fmla="*/ 1425327 h 2673102"/>
                  <a:gd name="connsiteX46" fmla="*/ 278808 w 1739754"/>
                  <a:gd name="connsiteY46" fmla="*/ 1472952 h 2673102"/>
                  <a:gd name="connsiteX47" fmla="*/ 293096 w 1739754"/>
                  <a:gd name="connsiteY47" fmla="*/ 1492002 h 2673102"/>
                  <a:gd name="connsiteX48" fmla="*/ 383583 w 1739754"/>
                  <a:gd name="connsiteY48" fmla="*/ 1525339 h 2673102"/>
                  <a:gd name="connsiteX49" fmla="*/ 407396 w 1739754"/>
                  <a:gd name="connsiteY49" fmla="*/ 1492002 h 2673102"/>
                  <a:gd name="connsiteX50" fmla="*/ 412158 w 1739754"/>
                  <a:gd name="connsiteY50" fmla="*/ 1468189 h 2673102"/>
                  <a:gd name="connsiteX51" fmla="*/ 416921 w 1739754"/>
                  <a:gd name="connsiteY51" fmla="*/ 1449139 h 2673102"/>
                  <a:gd name="connsiteX52" fmla="*/ 445496 w 1739754"/>
                  <a:gd name="connsiteY52" fmla="*/ 1439614 h 2673102"/>
                  <a:gd name="connsiteX53" fmla="*/ 545508 w 1739754"/>
                  <a:gd name="connsiteY53" fmla="*/ 1458664 h 2673102"/>
                  <a:gd name="connsiteX54" fmla="*/ 555033 w 1739754"/>
                  <a:gd name="connsiteY54" fmla="*/ 1482477 h 2673102"/>
                  <a:gd name="connsiteX55" fmla="*/ 564558 w 1739754"/>
                  <a:gd name="connsiteY55" fmla="*/ 1515814 h 2673102"/>
                  <a:gd name="connsiteX56" fmla="*/ 550271 w 1739754"/>
                  <a:gd name="connsiteY56" fmla="*/ 1534864 h 2673102"/>
                  <a:gd name="connsiteX57" fmla="*/ 550271 w 1739754"/>
                  <a:gd name="connsiteY57" fmla="*/ 1601539 h 2673102"/>
                  <a:gd name="connsiteX58" fmla="*/ 559796 w 1739754"/>
                  <a:gd name="connsiteY58" fmla="*/ 1620589 h 2673102"/>
                  <a:gd name="connsiteX59" fmla="*/ 626471 w 1739754"/>
                  <a:gd name="connsiteY59" fmla="*/ 1639639 h 2673102"/>
                  <a:gd name="connsiteX60" fmla="*/ 645521 w 1739754"/>
                  <a:gd name="connsiteY60" fmla="*/ 1592014 h 2673102"/>
                  <a:gd name="connsiteX61" fmla="*/ 702671 w 1739754"/>
                  <a:gd name="connsiteY61" fmla="*/ 1620589 h 2673102"/>
                  <a:gd name="connsiteX62" fmla="*/ 731246 w 1739754"/>
                  <a:gd name="connsiteY62" fmla="*/ 1630114 h 2673102"/>
                  <a:gd name="connsiteX63" fmla="*/ 783633 w 1739754"/>
                  <a:gd name="connsiteY63" fmla="*/ 1663452 h 2673102"/>
                  <a:gd name="connsiteX64" fmla="*/ 859833 w 1739754"/>
                  <a:gd name="connsiteY64" fmla="*/ 1687264 h 2673102"/>
                  <a:gd name="connsiteX65" fmla="*/ 878883 w 1739754"/>
                  <a:gd name="connsiteY65" fmla="*/ 1701552 h 2673102"/>
                  <a:gd name="connsiteX66" fmla="*/ 888408 w 1739754"/>
                  <a:gd name="connsiteY66" fmla="*/ 1739652 h 2673102"/>
                  <a:gd name="connsiteX67" fmla="*/ 897933 w 1739754"/>
                  <a:gd name="connsiteY67" fmla="*/ 1782514 h 2673102"/>
                  <a:gd name="connsiteX68" fmla="*/ 940796 w 1739754"/>
                  <a:gd name="connsiteY68" fmla="*/ 1892052 h 2673102"/>
                  <a:gd name="connsiteX69" fmla="*/ 950321 w 1739754"/>
                  <a:gd name="connsiteY69" fmla="*/ 1906339 h 2673102"/>
                  <a:gd name="connsiteX70" fmla="*/ 959846 w 1739754"/>
                  <a:gd name="connsiteY70" fmla="*/ 1939677 h 2673102"/>
                  <a:gd name="connsiteX71" fmla="*/ 974133 w 1739754"/>
                  <a:gd name="connsiteY71" fmla="*/ 1977777 h 2673102"/>
                  <a:gd name="connsiteX72" fmla="*/ 964608 w 1739754"/>
                  <a:gd name="connsiteY72" fmla="*/ 2082552 h 2673102"/>
                  <a:gd name="connsiteX73" fmla="*/ 955083 w 1739754"/>
                  <a:gd name="connsiteY73" fmla="*/ 2101602 h 2673102"/>
                  <a:gd name="connsiteX74" fmla="*/ 926508 w 1739754"/>
                  <a:gd name="connsiteY74" fmla="*/ 2144464 h 2673102"/>
                  <a:gd name="connsiteX75" fmla="*/ 907458 w 1739754"/>
                  <a:gd name="connsiteY75" fmla="*/ 2192089 h 2673102"/>
                  <a:gd name="connsiteX76" fmla="*/ 902696 w 1739754"/>
                  <a:gd name="connsiteY76" fmla="*/ 2211139 h 2673102"/>
                  <a:gd name="connsiteX77" fmla="*/ 893171 w 1739754"/>
                  <a:gd name="connsiteY77" fmla="*/ 2239714 h 2673102"/>
                  <a:gd name="connsiteX78" fmla="*/ 897933 w 1739754"/>
                  <a:gd name="connsiteY78" fmla="*/ 2287339 h 2673102"/>
                  <a:gd name="connsiteX79" fmla="*/ 893171 w 1739754"/>
                  <a:gd name="connsiteY79" fmla="*/ 2396877 h 2673102"/>
                  <a:gd name="connsiteX80" fmla="*/ 688383 w 1739754"/>
                  <a:gd name="connsiteY80" fmla="*/ 2449264 h 2673102"/>
                  <a:gd name="connsiteX81" fmla="*/ 655046 w 1739754"/>
                  <a:gd name="connsiteY81" fmla="*/ 2473077 h 2673102"/>
                  <a:gd name="connsiteX82" fmla="*/ 607421 w 1739754"/>
                  <a:gd name="connsiteY82" fmla="*/ 2511177 h 2673102"/>
                  <a:gd name="connsiteX83" fmla="*/ 574083 w 1739754"/>
                  <a:gd name="connsiteY83" fmla="*/ 2534989 h 2673102"/>
                  <a:gd name="connsiteX84" fmla="*/ 540746 w 1739754"/>
                  <a:gd name="connsiteY84" fmla="*/ 2554039 h 2673102"/>
                  <a:gd name="connsiteX85" fmla="*/ 497883 w 1739754"/>
                  <a:gd name="connsiteY85" fmla="*/ 2587377 h 2673102"/>
                  <a:gd name="connsiteX86" fmla="*/ 483596 w 1739754"/>
                  <a:gd name="connsiteY86" fmla="*/ 2601664 h 2673102"/>
                  <a:gd name="connsiteX87" fmla="*/ 459783 w 1739754"/>
                  <a:gd name="connsiteY87" fmla="*/ 2620714 h 2673102"/>
                  <a:gd name="connsiteX88" fmla="*/ 450258 w 1739754"/>
                  <a:gd name="connsiteY88" fmla="*/ 2635002 h 2673102"/>
                  <a:gd name="connsiteX89" fmla="*/ 416921 w 1739754"/>
                  <a:gd name="connsiteY89" fmla="*/ 2654052 h 2673102"/>
                  <a:gd name="connsiteX90" fmla="*/ 374058 w 1739754"/>
                  <a:gd name="connsiteY90" fmla="*/ 2673102 h 2673102"/>
                  <a:gd name="connsiteX91" fmla="*/ 359771 w 1739754"/>
                  <a:gd name="connsiteY91" fmla="*/ 2663577 h 2673102"/>
                  <a:gd name="connsiteX92" fmla="*/ 345483 w 1739754"/>
                  <a:gd name="connsiteY92" fmla="*/ 2635002 h 2673102"/>
                  <a:gd name="connsiteX93" fmla="*/ 335958 w 1739754"/>
                  <a:gd name="connsiteY93" fmla="*/ 2620714 h 2673102"/>
                  <a:gd name="connsiteX94" fmla="*/ 297858 w 1739754"/>
                  <a:gd name="connsiteY94" fmla="*/ 2611189 h 2673102"/>
                  <a:gd name="connsiteX95" fmla="*/ 278808 w 1739754"/>
                  <a:gd name="connsiteY95" fmla="*/ 2592139 h 2673102"/>
                  <a:gd name="connsiteX96" fmla="*/ 274046 w 1739754"/>
                  <a:gd name="connsiteY96" fmla="*/ 2573089 h 2673102"/>
                  <a:gd name="connsiteX97" fmla="*/ 235946 w 1739754"/>
                  <a:gd name="connsiteY97" fmla="*/ 2539752 h 2673102"/>
                  <a:gd name="connsiteX98" fmla="*/ 231183 w 1739754"/>
                  <a:gd name="connsiteY98" fmla="*/ 2525464 h 2673102"/>
                  <a:gd name="connsiteX99" fmla="*/ 226421 w 1739754"/>
                  <a:gd name="connsiteY99" fmla="*/ 2506414 h 2673102"/>
                  <a:gd name="connsiteX100" fmla="*/ 212133 w 1739754"/>
                  <a:gd name="connsiteY100" fmla="*/ 2492127 h 2673102"/>
                  <a:gd name="connsiteX101" fmla="*/ 154983 w 1739754"/>
                  <a:gd name="connsiteY101" fmla="*/ 2439739 h 2673102"/>
                  <a:gd name="connsiteX102" fmla="*/ 150221 w 1739754"/>
                  <a:gd name="connsiteY102" fmla="*/ 2415927 h 2673102"/>
                  <a:gd name="connsiteX103" fmla="*/ 135933 w 1739754"/>
                  <a:gd name="connsiteY103" fmla="*/ 2358777 h 2673102"/>
                  <a:gd name="connsiteX104" fmla="*/ 121646 w 1739754"/>
                  <a:gd name="connsiteY104" fmla="*/ 2315914 h 2673102"/>
                  <a:gd name="connsiteX105" fmla="*/ 107358 w 1739754"/>
                  <a:gd name="connsiteY105" fmla="*/ 2258764 h 2673102"/>
                  <a:gd name="connsiteX106" fmla="*/ 102596 w 1739754"/>
                  <a:gd name="connsiteY106" fmla="*/ 2234952 h 2673102"/>
                  <a:gd name="connsiteX107" fmla="*/ 93071 w 1739754"/>
                  <a:gd name="connsiteY107" fmla="*/ 2211139 h 2673102"/>
                  <a:gd name="connsiteX108" fmla="*/ 88308 w 1739754"/>
                  <a:gd name="connsiteY108" fmla="*/ 2187327 h 2673102"/>
                  <a:gd name="connsiteX109" fmla="*/ 78783 w 1739754"/>
                  <a:gd name="connsiteY109" fmla="*/ 2111127 h 2673102"/>
                  <a:gd name="connsiteX110" fmla="*/ 97833 w 1739754"/>
                  <a:gd name="connsiteY110" fmla="*/ 1944439 h 2673102"/>
                  <a:gd name="connsiteX111" fmla="*/ 107358 w 1739754"/>
                  <a:gd name="connsiteY111" fmla="*/ 1930152 h 2673102"/>
                  <a:gd name="connsiteX112" fmla="*/ 126408 w 1739754"/>
                  <a:gd name="connsiteY112" fmla="*/ 1901577 h 2673102"/>
                  <a:gd name="connsiteX113" fmla="*/ 135933 w 1739754"/>
                  <a:gd name="connsiteY113" fmla="*/ 1868239 h 2673102"/>
                  <a:gd name="connsiteX114" fmla="*/ 131171 w 1739754"/>
                  <a:gd name="connsiteY114" fmla="*/ 1825377 h 2673102"/>
                  <a:gd name="connsiteX115" fmla="*/ 112121 w 1739754"/>
                  <a:gd name="connsiteY115" fmla="*/ 1820614 h 2673102"/>
                  <a:gd name="connsiteX116" fmla="*/ 102596 w 1739754"/>
                  <a:gd name="connsiteY116" fmla="*/ 1806327 h 2673102"/>
                  <a:gd name="connsiteX117" fmla="*/ 145458 w 1739754"/>
                  <a:gd name="connsiteY117" fmla="*/ 1720602 h 2673102"/>
                  <a:gd name="connsiteX118" fmla="*/ 159746 w 1739754"/>
                  <a:gd name="connsiteY118" fmla="*/ 1715839 h 2673102"/>
                  <a:gd name="connsiteX119" fmla="*/ 174033 w 1739754"/>
                  <a:gd name="connsiteY119" fmla="*/ 1696789 h 2673102"/>
                  <a:gd name="connsiteX120" fmla="*/ 188321 w 1739754"/>
                  <a:gd name="connsiteY120" fmla="*/ 1687264 h 2673102"/>
                  <a:gd name="connsiteX121" fmla="*/ 202608 w 1739754"/>
                  <a:gd name="connsiteY121" fmla="*/ 1653927 h 2673102"/>
                  <a:gd name="connsiteX122" fmla="*/ 193083 w 1739754"/>
                  <a:gd name="connsiteY122" fmla="*/ 1606302 h 2673102"/>
                  <a:gd name="connsiteX123" fmla="*/ 164508 w 1739754"/>
                  <a:gd name="connsiteY123" fmla="*/ 1596777 h 2673102"/>
                  <a:gd name="connsiteX124" fmla="*/ 154983 w 1739754"/>
                  <a:gd name="connsiteY124" fmla="*/ 1549152 h 2673102"/>
                  <a:gd name="connsiteX125" fmla="*/ 150221 w 1739754"/>
                  <a:gd name="connsiteY125" fmla="*/ 1411039 h 2673102"/>
                  <a:gd name="connsiteX126" fmla="*/ 140696 w 1739754"/>
                  <a:gd name="connsiteY126" fmla="*/ 1377702 h 2673102"/>
                  <a:gd name="connsiteX127" fmla="*/ 121646 w 1739754"/>
                  <a:gd name="connsiteY127" fmla="*/ 1311027 h 2673102"/>
                  <a:gd name="connsiteX128" fmla="*/ 116883 w 1739754"/>
                  <a:gd name="connsiteY128" fmla="*/ 1258639 h 2673102"/>
                  <a:gd name="connsiteX129" fmla="*/ 107358 w 1739754"/>
                  <a:gd name="connsiteY129" fmla="*/ 1244352 h 2673102"/>
                  <a:gd name="connsiteX130" fmla="*/ 93071 w 1739754"/>
                  <a:gd name="connsiteY130" fmla="*/ 1196727 h 2673102"/>
                  <a:gd name="connsiteX131" fmla="*/ 78783 w 1739754"/>
                  <a:gd name="connsiteY131" fmla="*/ 1177677 h 2673102"/>
                  <a:gd name="connsiteX132" fmla="*/ 59733 w 1739754"/>
                  <a:gd name="connsiteY132" fmla="*/ 1139577 h 2673102"/>
                  <a:gd name="connsiteX133" fmla="*/ 50208 w 1739754"/>
                  <a:gd name="connsiteY133" fmla="*/ 1111002 h 2673102"/>
                  <a:gd name="connsiteX134" fmla="*/ 45446 w 1739754"/>
                  <a:gd name="connsiteY134" fmla="*/ 1096714 h 2673102"/>
                  <a:gd name="connsiteX135" fmla="*/ 21633 w 1739754"/>
                  <a:gd name="connsiteY135" fmla="*/ 1025277 h 2673102"/>
                  <a:gd name="connsiteX136" fmla="*/ 202 w 1739754"/>
                  <a:gd name="connsiteY136" fmla="*/ 980033 h 2673102"/>
                  <a:gd name="connsiteX137" fmla="*/ 14490 w 1739754"/>
                  <a:gd name="connsiteY137" fmla="*/ 930027 h 2673102"/>
                  <a:gd name="connsiteX138" fmla="*/ 69259 w 1739754"/>
                  <a:gd name="connsiteY138" fmla="*/ 810964 h 2673102"/>
                  <a:gd name="connsiteX139" fmla="*/ 221658 w 1739754"/>
                  <a:gd name="connsiteY139" fmla="*/ 601414 h 2673102"/>
                  <a:gd name="connsiteX140" fmla="*/ 288333 w 1739754"/>
                  <a:gd name="connsiteY140" fmla="*/ 515689 h 2673102"/>
                  <a:gd name="connsiteX141" fmla="*/ 412158 w 1739754"/>
                  <a:gd name="connsiteY141" fmla="*/ 406152 h 2673102"/>
                  <a:gd name="connsiteX142" fmla="*/ 535983 w 1739754"/>
                  <a:gd name="connsiteY142" fmla="*/ 291851 h 2673102"/>
                  <a:gd name="connsiteX143" fmla="*/ 640758 w 1739754"/>
                  <a:gd name="connsiteY143" fmla="*/ 229939 h 2673102"/>
                  <a:gd name="connsiteX144" fmla="*/ 733628 w 1739754"/>
                  <a:gd name="connsiteY144" fmla="*/ 168026 h 2673102"/>
                  <a:gd name="connsiteX145" fmla="*/ 978896 w 1739754"/>
                  <a:gd name="connsiteY145" fmla="*/ 63251 h 2673102"/>
                  <a:gd name="connsiteX146" fmla="*/ 1159871 w 1739754"/>
                  <a:gd name="connsiteY146" fmla="*/ 6102 h 2673102"/>
                  <a:gd name="connsiteX147" fmla="*/ 1202733 w 1739754"/>
                  <a:gd name="connsiteY14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59758 w 1739754"/>
                  <a:gd name="connsiteY42" fmla="*/ 1296739 h 2673102"/>
                  <a:gd name="connsiteX43" fmla="*/ 240708 w 1739754"/>
                  <a:gd name="connsiteY43" fmla="*/ 1325314 h 2673102"/>
                  <a:gd name="connsiteX44" fmla="*/ 250233 w 1739754"/>
                  <a:gd name="connsiteY44" fmla="*/ 1425327 h 2673102"/>
                  <a:gd name="connsiteX45" fmla="*/ 278808 w 1739754"/>
                  <a:gd name="connsiteY45" fmla="*/ 1472952 h 2673102"/>
                  <a:gd name="connsiteX46" fmla="*/ 293096 w 1739754"/>
                  <a:gd name="connsiteY46" fmla="*/ 1492002 h 2673102"/>
                  <a:gd name="connsiteX47" fmla="*/ 383583 w 1739754"/>
                  <a:gd name="connsiteY47" fmla="*/ 1525339 h 2673102"/>
                  <a:gd name="connsiteX48" fmla="*/ 407396 w 1739754"/>
                  <a:gd name="connsiteY48" fmla="*/ 1492002 h 2673102"/>
                  <a:gd name="connsiteX49" fmla="*/ 412158 w 1739754"/>
                  <a:gd name="connsiteY49" fmla="*/ 1468189 h 2673102"/>
                  <a:gd name="connsiteX50" fmla="*/ 416921 w 1739754"/>
                  <a:gd name="connsiteY50" fmla="*/ 1449139 h 2673102"/>
                  <a:gd name="connsiteX51" fmla="*/ 445496 w 1739754"/>
                  <a:gd name="connsiteY51" fmla="*/ 1439614 h 2673102"/>
                  <a:gd name="connsiteX52" fmla="*/ 545508 w 1739754"/>
                  <a:gd name="connsiteY52" fmla="*/ 1458664 h 2673102"/>
                  <a:gd name="connsiteX53" fmla="*/ 555033 w 1739754"/>
                  <a:gd name="connsiteY53" fmla="*/ 1482477 h 2673102"/>
                  <a:gd name="connsiteX54" fmla="*/ 564558 w 1739754"/>
                  <a:gd name="connsiteY54" fmla="*/ 1515814 h 2673102"/>
                  <a:gd name="connsiteX55" fmla="*/ 550271 w 1739754"/>
                  <a:gd name="connsiteY55" fmla="*/ 1534864 h 2673102"/>
                  <a:gd name="connsiteX56" fmla="*/ 550271 w 1739754"/>
                  <a:gd name="connsiteY56" fmla="*/ 1601539 h 2673102"/>
                  <a:gd name="connsiteX57" fmla="*/ 559796 w 1739754"/>
                  <a:gd name="connsiteY57" fmla="*/ 1620589 h 2673102"/>
                  <a:gd name="connsiteX58" fmla="*/ 626471 w 1739754"/>
                  <a:gd name="connsiteY58" fmla="*/ 1639639 h 2673102"/>
                  <a:gd name="connsiteX59" fmla="*/ 645521 w 1739754"/>
                  <a:gd name="connsiteY59" fmla="*/ 1592014 h 2673102"/>
                  <a:gd name="connsiteX60" fmla="*/ 702671 w 1739754"/>
                  <a:gd name="connsiteY60" fmla="*/ 1620589 h 2673102"/>
                  <a:gd name="connsiteX61" fmla="*/ 731246 w 1739754"/>
                  <a:gd name="connsiteY61" fmla="*/ 1630114 h 2673102"/>
                  <a:gd name="connsiteX62" fmla="*/ 783633 w 1739754"/>
                  <a:gd name="connsiteY62" fmla="*/ 1663452 h 2673102"/>
                  <a:gd name="connsiteX63" fmla="*/ 859833 w 1739754"/>
                  <a:gd name="connsiteY63" fmla="*/ 1687264 h 2673102"/>
                  <a:gd name="connsiteX64" fmla="*/ 878883 w 1739754"/>
                  <a:gd name="connsiteY64" fmla="*/ 1701552 h 2673102"/>
                  <a:gd name="connsiteX65" fmla="*/ 888408 w 1739754"/>
                  <a:gd name="connsiteY65" fmla="*/ 1739652 h 2673102"/>
                  <a:gd name="connsiteX66" fmla="*/ 897933 w 1739754"/>
                  <a:gd name="connsiteY66" fmla="*/ 1782514 h 2673102"/>
                  <a:gd name="connsiteX67" fmla="*/ 940796 w 1739754"/>
                  <a:gd name="connsiteY67" fmla="*/ 1892052 h 2673102"/>
                  <a:gd name="connsiteX68" fmla="*/ 950321 w 1739754"/>
                  <a:gd name="connsiteY68" fmla="*/ 1906339 h 2673102"/>
                  <a:gd name="connsiteX69" fmla="*/ 959846 w 1739754"/>
                  <a:gd name="connsiteY69" fmla="*/ 1939677 h 2673102"/>
                  <a:gd name="connsiteX70" fmla="*/ 974133 w 1739754"/>
                  <a:gd name="connsiteY70" fmla="*/ 1977777 h 2673102"/>
                  <a:gd name="connsiteX71" fmla="*/ 964608 w 1739754"/>
                  <a:gd name="connsiteY71" fmla="*/ 2082552 h 2673102"/>
                  <a:gd name="connsiteX72" fmla="*/ 955083 w 1739754"/>
                  <a:gd name="connsiteY72" fmla="*/ 2101602 h 2673102"/>
                  <a:gd name="connsiteX73" fmla="*/ 926508 w 1739754"/>
                  <a:gd name="connsiteY73" fmla="*/ 2144464 h 2673102"/>
                  <a:gd name="connsiteX74" fmla="*/ 907458 w 1739754"/>
                  <a:gd name="connsiteY74" fmla="*/ 2192089 h 2673102"/>
                  <a:gd name="connsiteX75" fmla="*/ 902696 w 1739754"/>
                  <a:gd name="connsiteY75" fmla="*/ 2211139 h 2673102"/>
                  <a:gd name="connsiteX76" fmla="*/ 893171 w 1739754"/>
                  <a:gd name="connsiteY76" fmla="*/ 2239714 h 2673102"/>
                  <a:gd name="connsiteX77" fmla="*/ 897933 w 1739754"/>
                  <a:gd name="connsiteY77" fmla="*/ 2287339 h 2673102"/>
                  <a:gd name="connsiteX78" fmla="*/ 893171 w 1739754"/>
                  <a:gd name="connsiteY78" fmla="*/ 2396877 h 2673102"/>
                  <a:gd name="connsiteX79" fmla="*/ 688383 w 1739754"/>
                  <a:gd name="connsiteY79" fmla="*/ 2449264 h 2673102"/>
                  <a:gd name="connsiteX80" fmla="*/ 655046 w 1739754"/>
                  <a:gd name="connsiteY80" fmla="*/ 2473077 h 2673102"/>
                  <a:gd name="connsiteX81" fmla="*/ 607421 w 1739754"/>
                  <a:gd name="connsiteY81" fmla="*/ 2511177 h 2673102"/>
                  <a:gd name="connsiteX82" fmla="*/ 574083 w 1739754"/>
                  <a:gd name="connsiteY82" fmla="*/ 2534989 h 2673102"/>
                  <a:gd name="connsiteX83" fmla="*/ 540746 w 1739754"/>
                  <a:gd name="connsiteY83" fmla="*/ 2554039 h 2673102"/>
                  <a:gd name="connsiteX84" fmla="*/ 497883 w 1739754"/>
                  <a:gd name="connsiteY84" fmla="*/ 2587377 h 2673102"/>
                  <a:gd name="connsiteX85" fmla="*/ 483596 w 1739754"/>
                  <a:gd name="connsiteY85" fmla="*/ 2601664 h 2673102"/>
                  <a:gd name="connsiteX86" fmla="*/ 459783 w 1739754"/>
                  <a:gd name="connsiteY86" fmla="*/ 2620714 h 2673102"/>
                  <a:gd name="connsiteX87" fmla="*/ 450258 w 1739754"/>
                  <a:gd name="connsiteY87" fmla="*/ 2635002 h 2673102"/>
                  <a:gd name="connsiteX88" fmla="*/ 416921 w 1739754"/>
                  <a:gd name="connsiteY88" fmla="*/ 2654052 h 2673102"/>
                  <a:gd name="connsiteX89" fmla="*/ 374058 w 1739754"/>
                  <a:gd name="connsiteY89" fmla="*/ 2673102 h 2673102"/>
                  <a:gd name="connsiteX90" fmla="*/ 359771 w 1739754"/>
                  <a:gd name="connsiteY90" fmla="*/ 2663577 h 2673102"/>
                  <a:gd name="connsiteX91" fmla="*/ 345483 w 1739754"/>
                  <a:gd name="connsiteY91" fmla="*/ 2635002 h 2673102"/>
                  <a:gd name="connsiteX92" fmla="*/ 335958 w 1739754"/>
                  <a:gd name="connsiteY92" fmla="*/ 2620714 h 2673102"/>
                  <a:gd name="connsiteX93" fmla="*/ 297858 w 1739754"/>
                  <a:gd name="connsiteY93" fmla="*/ 2611189 h 2673102"/>
                  <a:gd name="connsiteX94" fmla="*/ 278808 w 1739754"/>
                  <a:gd name="connsiteY94" fmla="*/ 2592139 h 2673102"/>
                  <a:gd name="connsiteX95" fmla="*/ 274046 w 1739754"/>
                  <a:gd name="connsiteY95" fmla="*/ 2573089 h 2673102"/>
                  <a:gd name="connsiteX96" fmla="*/ 235946 w 1739754"/>
                  <a:gd name="connsiteY96" fmla="*/ 2539752 h 2673102"/>
                  <a:gd name="connsiteX97" fmla="*/ 231183 w 1739754"/>
                  <a:gd name="connsiteY97" fmla="*/ 2525464 h 2673102"/>
                  <a:gd name="connsiteX98" fmla="*/ 226421 w 1739754"/>
                  <a:gd name="connsiteY98" fmla="*/ 2506414 h 2673102"/>
                  <a:gd name="connsiteX99" fmla="*/ 212133 w 1739754"/>
                  <a:gd name="connsiteY99" fmla="*/ 2492127 h 2673102"/>
                  <a:gd name="connsiteX100" fmla="*/ 154983 w 1739754"/>
                  <a:gd name="connsiteY100" fmla="*/ 2439739 h 2673102"/>
                  <a:gd name="connsiteX101" fmla="*/ 150221 w 1739754"/>
                  <a:gd name="connsiteY101" fmla="*/ 2415927 h 2673102"/>
                  <a:gd name="connsiteX102" fmla="*/ 135933 w 1739754"/>
                  <a:gd name="connsiteY102" fmla="*/ 2358777 h 2673102"/>
                  <a:gd name="connsiteX103" fmla="*/ 121646 w 1739754"/>
                  <a:gd name="connsiteY103" fmla="*/ 2315914 h 2673102"/>
                  <a:gd name="connsiteX104" fmla="*/ 107358 w 1739754"/>
                  <a:gd name="connsiteY104" fmla="*/ 2258764 h 2673102"/>
                  <a:gd name="connsiteX105" fmla="*/ 102596 w 1739754"/>
                  <a:gd name="connsiteY105" fmla="*/ 2234952 h 2673102"/>
                  <a:gd name="connsiteX106" fmla="*/ 93071 w 1739754"/>
                  <a:gd name="connsiteY106" fmla="*/ 2211139 h 2673102"/>
                  <a:gd name="connsiteX107" fmla="*/ 88308 w 1739754"/>
                  <a:gd name="connsiteY107" fmla="*/ 2187327 h 2673102"/>
                  <a:gd name="connsiteX108" fmla="*/ 78783 w 1739754"/>
                  <a:gd name="connsiteY108" fmla="*/ 2111127 h 2673102"/>
                  <a:gd name="connsiteX109" fmla="*/ 97833 w 1739754"/>
                  <a:gd name="connsiteY109" fmla="*/ 1944439 h 2673102"/>
                  <a:gd name="connsiteX110" fmla="*/ 107358 w 1739754"/>
                  <a:gd name="connsiteY110" fmla="*/ 1930152 h 2673102"/>
                  <a:gd name="connsiteX111" fmla="*/ 126408 w 1739754"/>
                  <a:gd name="connsiteY111" fmla="*/ 1901577 h 2673102"/>
                  <a:gd name="connsiteX112" fmla="*/ 135933 w 1739754"/>
                  <a:gd name="connsiteY112" fmla="*/ 1868239 h 2673102"/>
                  <a:gd name="connsiteX113" fmla="*/ 131171 w 1739754"/>
                  <a:gd name="connsiteY113" fmla="*/ 1825377 h 2673102"/>
                  <a:gd name="connsiteX114" fmla="*/ 112121 w 1739754"/>
                  <a:gd name="connsiteY114" fmla="*/ 1820614 h 2673102"/>
                  <a:gd name="connsiteX115" fmla="*/ 102596 w 1739754"/>
                  <a:gd name="connsiteY115" fmla="*/ 1806327 h 2673102"/>
                  <a:gd name="connsiteX116" fmla="*/ 145458 w 1739754"/>
                  <a:gd name="connsiteY116" fmla="*/ 1720602 h 2673102"/>
                  <a:gd name="connsiteX117" fmla="*/ 159746 w 1739754"/>
                  <a:gd name="connsiteY117" fmla="*/ 1715839 h 2673102"/>
                  <a:gd name="connsiteX118" fmla="*/ 174033 w 1739754"/>
                  <a:gd name="connsiteY118" fmla="*/ 1696789 h 2673102"/>
                  <a:gd name="connsiteX119" fmla="*/ 188321 w 1739754"/>
                  <a:gd name="connsiteY119" fmla="*/ 1687264 h 2673102"/>
                  <a:gd name="connsiteX120" fmla="*/ 202608 w 1739754"/>
                  <a:gd name="connsiteY120" fmla="*/ 1653927 h 2673102"/>
                  <a:gd name="connsiteX121" fmla="*/ 193083 w 1739754"/>
                  <a:gd name="connsiteY121" fmla="*/ 1606302 h 2673102"/>
                  <a:gd name="connsiteX122" fmla="*/ 164508 w 1739754"/>
                  <a:gd name="connsiteY122" fmla="*/ 1596777 h 2673102"/>
                  <a:gd name="connsiteX123" fmla="*/ 154983 w 1739754"/>
                  <a:gd name="connsiteY123" fmla="*/ 1549152 h 2673102"/>
                  <a:gd name="connsiteX124" fmla="*/ 150221 w 1739754"/>
                  <a:gd name="connsiteY124" fmla="*/ 1411039 h 2673102"/>
                  <a:gd name="connsiteX125" fmla="*/ 140696 w 1739754"/>
                  <a:gd name="connsiteY125" fmla="*/ 1377702 h 2673102"/>
                  <a:gd name="connsiteX126" fmla="*/ 121646 w 1739754"/>
                  <a:gd name="connsiteY126" fmla="*/ 1311027 h 2673102"/>
                  <a:gd name="connsiteX127" fmla="*/ 116883 w 1739754"/>
                  <a:gd name="connsiteY127" fmla="*/ 1258639 h 2673102"/>
                  <a:gd name="connsiteX128" fmla="*/ 107358 w 1739754"/>
                  <a:gd name="connsiteY128" fmla="*/ 1244352 h 2673102"/>
                  <a:gd name="connsiteX129" fmla="*/ 93071 w 1739754"/>
                  <a:gd name="connsiteY129" fmla="*/ 1196727 h 2673102"/>
                  <a:gd name="connsiteX130" fmla="*/ 78783 w 1739754"/>
                  <a:gd name="connsiteY130" fmla="*/ 1177677 h 2673102"/>
                  <a:gd name="connsiteX131" fmla="*/ 59733 w 1739754"/>
                  <a:gd name="connsiteY131" fmla="*/ 1139577 h 2673102"/>
                  <a:gd name="connsiteX132" fmla="*/ 50208 w 1739754"/>
                  <a:gd name="connsiteY132" fmla="*/ 1111002 h 2673102"/>
                  <a:gd name="connsiteX133" fmla="*/ 45446 w 1739754"/>
                  <a:gd name="connsiteY133" fmla="*/ 1096714 h 2673102"/>
                  <a:gd name="connsiteX134" fmla="*/ 21633 w 1739754"/>
                  <a:gd name="connsiteY134" fmla="*/ 1025277 h 2673102"/>
                  <a:gd name="connsiteX135" fmla="*/ 202 w 1739754"/>
                  <a:gd name="connsiteY135" fmla="*/ 980033 h 2673102"/>
                  <a:gd name="connsiteX136" fmla="*/ 14490 w 1739754"/>
                  <a:gd name="connsiteY136" fmla="*/ 930027 h 2673102"/>
                  <a:gd name="connsiteX137" fmla="*/ 69259 w 1739754"/>
                  <a:gd name="connsiteY137" fmla="*/ 810964 h 2673102"/>
                  <a:gd name="connsiteX138" fmla="*/ 221658 w 1739754"/>
                  <a:gd name="connsiteY138" fmla="*/ 601414 h 2673102"/>
                  <a:gd name="connsiteX139" fmla="*/ 288333 w 1739754"/>
                  <a:gd name="connsiteY139" fmla="*/ 515689 h 2673102"/>
                  <a:gd name="connsiteX140" fmla="*/ 412158 w 1739754"/>
                  <a:gd name="connsiteY140" fmla="*/ 406152 h 2673102"/>
                  <a:gd name="connsiteX141" fmla="*/ 535983 w 1739754"/>
                  <a:gd name="connsiteY141" fmla="*/ 291851 h 2673102"/>
                  <a:gd name="connsiteX142" fmla="*/ 640758 w 1739754"/>
                  <a:gd name="connsiteY142" fmla="*/ 229939 h 2673102"/>
                  <a:gd name="connsiteX143" fmla="*/ 733628 w 1739754"/>
                  <a:gd name="connsiteY143" fmla="*/ 168026 h 2673102"/>
                  <a:gd name="connsiteX144" fmla="*/ 978896 w 1739754"/>
                  <a:gd name="connsiteY144" fmla="*/ 63251 h 2673102"/>
                  <a:gd name="connsiteX145" fmla="*/ 1159871 w 1739754"/>
                  <a:gd name="connsiteY145" fmla="*/ 6102 h 2673102"/>
                  <a:gd name="connsiteX146" fmla="*/ 1202733 w 1739754"/>
                  <a:gd name="connsiteY14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59758 w 1739754"/>
                  <a:gd name="connsiteY42" fmla="*/ 1296739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293096 w 1739754"/>
                  <a:gd name="connsiteY45" fmla="*/ 1492002 h 2673102"/>
                  <a:gd name="connsiteX46" fmla="*/ 383583 w 1739754"/>
                  <a:gd name="connsiteY46" fmla="*/ 1525339 h 2673102"/>
                  <a:gd name="connsiteX47" fmla="*/ 407396 w 1739754"/>
                  <a:gd name="connsiteY47" fmla="*/ 1492002 h 2673102"/>
                  <a:gd name="connsiteX48" fmla="*/ 412158 w 1739754"/>
                  <a:gd name="connsiteY48" fmla="*/ 1468189 h 2673102"/>
                  <a:gd name="connsiteX49" fmla="*/ 416921 w 1739754"/>
                  <a:gd name="connsiteY49" fmla="*/ 1449139 h 2673102"/>
                  <a:gd name="connsiteX50" fmla="*/ 445496 w 1739754"/>
                  <a:gd name="connsiteY50" fmla="*/ 1439614 h 2673102"/>
                  <a:gd name="connsiteX51" fmla="*/ 545508 w 1739754"/>
                  <a:gd name="connsiteY51" fmla="*/ 1458664 h 2673102"/>
                  <a:gd name="connsiteX52" fmla="*/ 555033 w 1739754"/>
                  <a:gd name="connsiteY52" fmla="*/ 1482477 h 2673102"/>
                  <a:gd name="connsiteX53" fmla="*/ 564558 w 1739754"/>
                  <a:gd name="connsiteY53" fmla="*/ 1515814 h 2673102"/>
                  <a:gd name="connsiteX54" fmla="*/ 550271 w 1739754"/>
                  <a:gd name="connsiteY54" fmla="*/ 1534864 h 2673102"/>
                  <a:gd name="connsiteX55" fmla="*/ 550271 w 1739754"/>
                  <a:gd name="connsiteY55" fmla="*/ 1601539 h 2673102"/>
                  <a:gd name="connsiteX56" fmla="*/ 559796 w 1739754"/>
                  <a:gd name="connsiteY56" fmla="*/ 1620589 h 2673102"/>
                  <a:gd name="connsiteX57" fmla="*/ 626471 w 1739754"/>
                  <a:gd name="connsiteY57" fmla="*/ 1639639 h 2673102"/>
                  <a:gd name="connsiteX58" fmla="*/ 645521 w 1739754"/>
                  <a:gd name="connsiteY58" fmla="*/ 1592014 h 2673102"/>
                  <a:gd name="connsiteX59" fmla="*/ 702671 w 1739754"/>
                  <a:gd name="connsiteY59" fmla="*/ 1620589 h 2673102"/>
                  <a:gd name="connsiteX60" fmla="*/ 731246 w 1739754"/>
                  <a:gd name="connsiteY60" fmla="*/ 1630114 h 2673102"/>
                  <a:gd name="connsiteX61" fmla="*/ 783633 w 1739754"/>
                  <a:gd name="connsiteY61" fmla="*/ 1663452 h 2673102"/>
                  <a:gd name="connsiteX62" fmla="*/ 859833 w 1739754"/>
                  <a:gd name="connsiteY62" fmla="*/ 1687264 h 2673102"/>
                  <a:gd name="connsiteX63" fmla="*/ 878883 w 1739754"/>
                  <a:gd name="connsiteY63" fmla="*/ 1701552 h 2673102"/>
                  <a:gd name="connsiteX64" fmla="*/ 888408 w 1739754"/>
                  <a:gd name="connsiteY64" fmla="*/ 1739652 h 2673102"/>
                  <a:gd name="connsiteX65" fmla="*/ 897933 w 1739754"/>
                  <a:gd name="connsiteY65" fmla="*/ 1782514 h 2673102"/>
                  <a:gd name="connsiteX66" fmla="*/ 940796 w 1739754"/>
                  <a:gd name="connsiteY66" fmla="*/ 1892052 h 2673102"/>
                  <a:gd name="connsiteX67" fmla="*/ 950321 w 1739754"/>
                  <a:gd name="connsiteY67" fmla="*/ 1906339 h 2673102"/>
                  <a:gd name="connsiteX68" fmla="*/ 959846 w 1739754"/>
                  <a:gd name="connsiteY68" fmla="*/ 1939677 h 2673102"/>
                  <a:gd name="connsiteX69" fmla="*/ 974133 w 1739754"/>
                  <a:gd name="connsiteY69" fmla="*/ 1977777 h 2673102"/>
                  <a:gd name="connsiteX70" fmla="*/ 964608 w 1739754"/>
                  <a:gd name="connsiteY70" fmla="*/ 2082552 h 2673102"/>
                  <a:gd name="connsiteX71" fmla="*/ 955083 w 1739754"/>
                  <a:gd name="connsiteY71" fmla="*/ 2101602 h 2673102"/>
                  <a:gd name="connsiteX72" fmla="*/ 926508 w 1739754"/>
                  <a:gd name="connsiteY72" fmla="*/ 2144464 h 2673102"/>
                  <a:gd name="connsiteX73" fmla="*/ 907458 w 1739754"/>
                  <a:gd name="connsiteY73" fmla="*/ 2192089 h 2673102"/>
                  <a:gd name="connsiteX74" fmla="*/ 902696 w 1739754"/>
                  <a:gd name="connsiteY74" fmla="*/ 2211139 h 2673102"/>
                  <a:gd name="connsiteX75" fmla="*/ 893171 w 1739754"/>
                  <a:gd name="connsiteY75" fmla="*/ 2239714 h 2673102"/>
                  <a:gd name="connsiteX76" fmla="*/ 897933 w 1739754"/>
                  <a:gd name="connsiteY76" fmla="*/ 2287339 h 2673102"/>
                  <a:gd name="connsiteX77" fmla="*/ 893171 w 1739754"/>
                  <a:gd name="connsiteY77" fmla="*/ 2396877 h 2673102"/>
                  <a:gd name="connsiteX78" fmla="*/ 688383 w 1739754"/>
                  <a:gd name="connsiteY78" fmla="*/ 2449264 h 2673102"/>
                  <a:gd name="connsiteX79" fmla="*/ 655046 w 1739754"/>
                  <a:gd name="connsiteY79" fmla="*/ 2473077 h 2673102"/>
                  <a:gd name="connsiteX80" fmla="*/ 607421 w 1739754"/>
                  <a:gd name="connsiteY80" fmla="*/ 2511177 h 2673102"/>
                  <a:gd name="connsiteX81" fmla="*/ 574083 w 1739754"/>
                  <a:gd name="connsiteY81" fmla="*/ 2534989 h 2673102"/>
                  <a:gd name="connsiteX82" fmla="*/ 540746 w 1739754"/>
                  <a:gd name="connsiteY82" fmla="*/ 2554039 h 2673102"/>
                  <a:gd name="connsiteX83" fmla="*/ 497883 w 1739754"/>
                  <a:gd name="connsiteY83" fmla="*/ 2587377 h 2673102"/>
                  <a:gd name="connsiteX84" fmla="*/ 483596 w 1739754"/>
                  <a:gd name="connsiteY84" fmla="*/ 2601664 h 2673102"/>
                  <a:gd name="connsiteX85" fmla="*/ 459783 w 1739754"/>
                  <a:gd name="connsiteY85" fmla="*/ 2620714 h 2673102"/>
                  <a:gd name="connsiteX86" fmla="*/ 450258 w 1739754"/>
                  <a:gd name="connsiteY86" fmla="*/ 2635002 h 2673102"/>
                  <a:gd name="connsiteX87" fmla="*/ 416921 w 1739754"/>
                  <a:gd name="connsiteY87" fmla="*/ 2654052 h 2673102"/>
                  <a:gd name="connsiteX88" fmla="*/ 374058 w 1739754"/>
                  <a:gd name="connsiteY88" fmla="*/ 2673102 h 2673102"/>
                  <a:gd name="connsiteX89" fmla="*/ 359771 w 1739754"/>
                  <a:gd name="connsiteY89" fmla="*/ 2663577 h 2673102"/>
                  <a:gd name="connsiteX90" fmla="*/ 345483 w 1739754"/>
                  <a:gd name="connsiteY90" fmla="*/ 2635002 h 2673102"/>
                  <a:gd name="connsiteX91" fmla="*/ 335958 w 1739754"/>
                  <a:gd name="connsiteY91" fmla="*/ 2620714 h 2673102"/>
                  <a:gd name="connsiteX92" fmla="*/ 297858 w 1739754"/>
                  <a:gd name="connsiteY92" fmla="*/ 2611189 h 2673102"/>
                  <a:gd name="connsiteX93" fmla="*/ 278808 w 1739754"/>
                  <a:gd name="connsiteY93" fmla="*/ 2592139 h 2673102"/>
                  <a:gd name="connsiteX94" fmla="*/ 274046 w 1739754"/>
                  <a:gd name="connsiteY94" fmla="*/ 2573089 h 2673102"/>
                  <a:gd name="connsiteX95" fmla="*/ 235946 w 1739754"/>
                  <a:gd name="connsiteY95" fmla="*/ 2539752 h 2673102"/>
                  <a:gd name="connsiteX96" fmla="*/ 231183 w 1739754"/>
                  <a:gd name="connsiteY96" fmla="*/ 2525464 h 2673102"/>
                  <a:gd name="connsiteX97" fmla="*/ 226421 w 1739754"/>
                  <a:gd name="connsiteY97" fmla="*/ 2506414 h 2673102"/>
                  <a:gd name="connsiteX98" fmla="*/ 212133 w 1739754"/>
                  <a:gd name="connsiteY98" fmla="*/ 2492127 h 2673102"/>
                  <a:gd name="connsiteX99" fmla="*/ 154983 w 1739754"/>
                  <a:gd name="connsiteY99" fmla="*/ 2439739 h 2673102"/>
                  <a:gd name="connsiteX100" fmla="*/ 150221 w 1739754"/>
                  <a:gd name="connsiteY100" fmla="*/ 2415927 h 2673102"/>
                  <a:gd name="connsiteX101" fmla="*/ 135933 w 1739754"/>
                  <a:gd name="connsiteY101" fmla="*/ 2358777 h 2673102"/>
                  <a:gd name="connsiteX102" fmla="*/ 121646 w 1739754"/>
                  <a:gd name="connsiteY102" fmla="*/ 2315914 h 2673102"/>
                  <a:gd name="connsiteX103" fmla="*/ 107358 w 1739754"/>
                  <a:gd name="connsiteY103" fmla="*/ 2258764 h 2673102"/>
                  <a:gd name="connsiteX104" fmla="*/ 102596 w 1739754"/>
                  <a:gd name="connsiteY104" fmla="*/ 2234952 h 2673102"/>
                  <a:gd name="connsiteX105" fmla="*/ 93071 w 1739754"/>
                  <a:gd name="connsiteY105" fmla="*/ 2211139 h 2673102"/>
                  <a:gd name="connsiteX106" fmla="*/ 88308 w 1739754"/>
                  <a:gd name="connsiteY106" fmla="*/ 2187327 h 2673102"/>
                  <a:gd name="connsiteX107" fmla="*/ 78783 w 1739754"/>
                  <a:gd name="connsiteY107" fmla="*/ 2111127 h 2673102"/>
                  <a:gd name="connsiteX108" fmla="*/ 97833 w 1739754"/>
                  <a:gd name="connsiteY108" fmla="*/ 1944439 h 2673102"/>
                  <a:gd name="connsiteX109" fmla="*/ 107358 w 1739754"/>
                  <a:gd name="connsiteY109" fmla="*/ 1930152 h 2673102"/>
                  <a:gd name="connsiteX110" fmla="*/ 126408 w 1739754"/>
                  <a:gd name="connsiteY110" fmla="*/ 1901577 h 2673102"/>
                  <a:gd name="connsiteX111" fmla="*/ 135933 w 1739754"/>
                  <a:gd name="connsiteY111" fmla="*/ 1868239 h 2673102"/>
                  <a:gd name="connsiteX112" fmla="*/ 131171 w 1739754"/>
                  <a:gd name="connsiteY112" fmla="*/ 1825377 h 2673102"/>
                  <a:gd name="connsiteX113" fmla="*/ 112121 w 1739754"/>
                  <a:gd name="connsiteY113" fmla="*/ 1820614 h 2673102"/>
                  <a:gd name="connsiteX114" fmla="*/ 102596 w 1739754"/>
                  <a:gd name="connsiteY114" fmla="*/ 1806327 h 2673102"/>
                  <a:gd name="connsiteX115" fmla="*/ 145458 w 1739754"/>
                  <a:gd name="connsiteY115" fmla="*/ 1720602 h 2673102"/>
                  <a:gd name="connsiteX116" fmla="*/ 159746 w 1739754"/>
                  <a:gd name="connsiteY116" fmla="*/ 1715839 h 2673102"/>
                  <a:gd name="connsiteX117" fmla="*/ 174033 w 1739754"/>
                  <a:gd name="connsiteY117" fmla="*/ 1696789 h 2673102"/>
                  <a:gd name="connsiteX118" fmla="*/ 188321 w 1739754"/>
                  <a:gd name="connsiteY118" fmla="*/ 1687264 h 2673102"/>
                  <a:gd name="connsiteX119" fmla="*/ 202608 w 1739754"/>
                  <a:gd name="connsiteY119" fmla="*/ 1653927 h 2673102"/>
                  <a:gd name="connsiteX120" fmla="*/ 193083 w 1739754"/>
                  <a:gd name="connsiteY120" fmla="*/ 1606302 h 2673102"/>
                  <a:gd name="connsiteX121" fmla="*/ 164508 w 1739754"/>
                  <a:gd name="connsiteY121" fmla="*/ 1596777 h 2673102"/>
                  <a:gd name="connsiteX122" fmla="*/ 154983 w 1739754"/>
                  <a:gd name="connsiteY122" fmla="*/ 1549152 h 2673102"/>
                  <a:gd name="connsiteX123" fmla="*/ 150221 w 1739754"/>
                  <a:gd name="connsiteY123" fmla="*/ 1411039 h 2673102"/>
                  <a:gd name="connsiteX124" fmla="*/ 140696 w 1739754"/>
                  <a:gd name="connsiteY124" fmla="*/ 1377702 h 2673102"/>
                  <a:gd name="connsiteX125" fmla="*/ 121646 w 1739754"/>
                  <a:gd name="connsiteY125" fmla="*/ 1311027 h 2673102"/>
                  <a:gd name="connsiteX126" fmla="*/ 116883 w 1739754"/>
                  <a:gd name="connsiteY126" fmla="*/ 1258639 h 2673102"/>
                  <a:gd name="connsiteX127" fmla="*/ 107358 w 1739754"/>
                  <a:gd name="connsiteY127" fmla="*/ 1244352 h 2673102"/>
                  <a:gd name="connsiteX128" fmla="*/ 93071 w 1739754"/>
                  <a:gd name="connsiteY128" fmla="*/ 1196727 h 2673102"/>
                  <a:gd name="connsiteX129" fmla="*/ 78783 w 1739754"/>
                  <a:gd name="connsiteY129" fmla="*/ 1177677 h 2673102"/>
                  <a:gd name="connsiteX130" fmla="*/ 59733 w 1739754"/>
                  <a:gd name="connsiteY130" fmla="*/ 1139577 h 2673102"/>
                  <a:gd name="connsiteX131" fmla="*/ 50208 w 1739754"/>
                  <a:gd name="connsiteY131" fmla="*/ 1111002 h 2673102"/>
                  <a:gd name="connsiteX132" fmla="*/ 45446 w 1739754"/>
                  <a:gd name="connsiteY132" fmla="*/ 1096714 h 2673102"/>
                  <a:gd name="connsiteX133" fmla="*/ 21633 w 1739754"/>
                  <a:gd name="connsiteY133" fmla="*/ 1025277 h 2673102"/>
                  <a:gd name="connsiteX134" fmla="*/ 202 w 1739754"/>
                  <a:gd name="connsiteY134" fmla="*/ 980033 h 2673102"/>
                  <a:gd name="connsiteX135" fmla="*/ 14490 w 1739754"/>
                  <a:gd name="connsiteY135" fmla="*/ 930027 h 2673102"/>
                  <a:gd name="connsiteX136" fmla="*/ 69259 w 1739754"/>
                  <a:gd name="connsiteY136" fmla="*/ 810964 h 2673102"/>
                  <a:gd name="connsiteX137" fmla="*/ 221658 w 1739754"/>
                  <a:gd name="connsiteY137" fmla="*/ 601414 h 2673102"/>
                  <a:gd name="connsiteX138" fmla="*/ 288333 w 1739754"/>
                  <a:gd name="connsiteY138" fmla="*/ 515689 h 2673102"/>
                  <a:gd name="connsiteX139" fmla="*/ 412158 w 1739754"/>
                  <a:gd name="connsiteY139" fmla="*/ 406152 h 2673102"/>
                  <a:gd name="connsiteX140" fmla="*/ 535983 w 1739754"/>
                  <a:gd name="connsiteY140" fmla="*/ 291851 h 2673102"/>
                  <a:gd name="connsiteX141" fmla="*/ 640758 w 1739754"/>
                  <a:gd name="connsiteY141" fmla="*/ 229939 h 2673102"/>
                  <a:gd name="connsiteX142" fmla="*/ 733628 w 1739754"/>
                  <a:gd name="connsiteY142" fmla="*/ 168026 h 2673102"/>
                  <a:gd name="connsiteX143" fmla="*/ 978896 w 1739754"/>
                  <a:gd name="connsiteY143" fmla="*/ 63251 h 2673102"/>
                  <a:gd name="connsiteX144" fmla="*/ 1159871 w 1739754"/>
                  <a:gd name="connsiteY144" fmla="*/ 6102 h 2673102"/>
                  <a:gd name="connsiteX145" fmla="*/ 1202733 w 1739754"/>
                  <a:gd name="connsiteY14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293096 w 1739754"/>
                  <a:gd name="connsiteY45" fmla="*/ 1492002 h 2673102"/>
                  <a:gd name="connsiteX46" fmla="*/ 383583 w 1739754"/>
                  <a:gd name="connsiteY46" fmla="*/ 1525339 h 2673102"/>
                  <a:gd name="connsiteX47" fmla="*/ 407396 w 1739754"/>
                  <a:gd name="connsiteY47" fmla="*/ 1492002 h 2673102"/>
                  <a:gd name="connsiteX48" fmla="*/ 412158 w 1739754"/>
                  <a:gd name="connsiteY48" fmla="*/ 1468189 h 2673102"/>
                  <a:gd name="connsiteX49" fmla="*/ 416921 w 1739754"/>
                  <a:gd name="connsiteY49" fmla="*/ 1449139 h 2673102"/>
                  <a:gd name="connsiteX50" fmla="*/ 445496 w 1739754"/>
                  <a:gd name="connsiteY50" fmla="*/ 1439614 h 2673102"/>
                  <a:gd name="connsiteX51" fmla="*/ 545508 w 1739754"/>
                  <a:gd name="connsiteY51" fmla="*/ 1458664 h 2673102"/>
                  <a:gd name="connsiteX52" fmla="*/ 555033 w 1739754"/>
                  <a:gd name="connsiteY52" fmla="*/ 1482477 h 2673102"/>
                  <a:gd name="connsiteX53" fmla="*/ 564558 w 1739754"/>
                  <a:gd name="connsiteY53" fmla="*/ 1515814 h 2673102"/>
                  <a:gd name="connsiteX54" fmla="*/ 550271 w 1739754"/>
                  <a:gd name="connsiteY54" fmla="*/ 1534864 h 2673102"/>
                  <a:gd name="connsiteX55" fmla="*/ 550271 w 1739754"/>
                  <a:gd name="connsiteY55" fmla="*/ 1601539 h 2673102"/>
                  <a:gd name="connsiteX56" fmla="*/ 559796 w 1739754"/>
                  <a:gd name="connsiteY56" fmla="*/ 1620589 h 2673102"/>
                  <a:gd name="connsiteX57" fmla="*/ 626471 w 1739754"/>
                  <a:gd name="connsiteY57" fmla="*/ 1639639 h 2673102"/>
                  <a:gd name="connsiteX58" fmla="*/ 645521 w 1739754"/>
                  <a:gd name="connsiteY58" fmla="*/ 1592014 h 2673102"/>
                  <a:gd name="connsiteX59" fmla="*/ 702671 w 1739754"/>
                  <a:gd name="connsiteY59" fmla="*/ 1620589 h 2673102"/>
                  <a:gd name="connsiteX60" fmla="*/ 731246 w 1739754"/>
                  <a:gd name="connsiteY60" fmla="*/ 1630114 h 2673102"/>
                  <a:gd name="connsiteX61" fmla="*/ 783633 w 1739754"/>
                  <a:gd name="connsiteY61" fmla="*/ 1663452 h 2673102"/>
                  <a:gd name="connsiteX62" fmla="*/ 859833 w 1739754"/>
                  <a:gd name="connsiteY62" fmla="*/ 1687264 h 2673102"/>
                  <a:gd name="connsiteX63" fmla="*/ 878883 w 1739754"/>
                  <a:gd name="connsiteY63" fmla="*/ 1701552 h 2673102"/>
                  <a:gd name="connsiteX64" fmla="*/ 888408 w 1739754"/>
                  <a:gd name="connsiteY64" fmla="*/ 1739652 h 2673102"/>
                  <a:gd name="connsiteX65" fmla="*/ 897933 w 1739754"/>
                  <a:gd name="connsiteY65" fmla="*/ 1782514 h 2673102"/>
                  <a:gd name="connsiteX66" fmla="*/ 940796 w 1739754"/>
                  <a:gd name="connsiteY66" fmla="*/ 1892052 h 2673102"/>
                  <a:gd name="connsiteX67" fmla="*/ 950321 w 1739754"/>
                  <a:gd name="connsiteY67" fmla="*/ 1906339 h 2673102"/>
                  <a:gd name="connsiteX68" fmla="*/ 959846 w 1739754"/>
                  <a:gd name="connsiteY68" fmla="*/ 1939677 h 2673102"/>
                  <a:gd name="connsiteX69" fmla="*/ 974133 w 1739754"/>
                  <a:gd name="connsiteY69" fmla="*/ 1977777 h 2673102"/>
                  <a:gd name="connsiteX70" fmla="*/ 964608 w 1739754"/>
                  <a:gd name="connsiteY70" fmla="*/ 2082552 h 2673102"/>
                  <a:gd name="connsiteX71" fmla="*/ 955083 w 1739754"/>
                  <a:gd name="connsiteY71" fmla="*/ 2101602 h 2673102"/>
                  <a:gd name="connsiteX72" fmla="*/ 926508 w 1739754"/>
                  <a:gd name="connsiteY72" fmla="*/ 2144464 h 2673102"/>
                  <a:gd name="connsiteX73" fmla="*/ 907458 w 1739754"/>
                  <a:gd name="connsiteY73" fmla="*/ 2192089 h 2673102"/>
                  <a:gd name="connsiteX74" fmla="*/ 902696 w 1739754"/>
                  <a:gd name="connsiteY74" fmla="*/ 2211139 h 2673102"/>
                  <a:gd name="connsiteX75" fmla="*/ 893171 w 1739754"/>
                  <a:gd name="connsiteY75" fmla="*/ 2239714 h 2673102"/>
                  <a:gd name="connsiteX76" fmla="*/ 897933 w 1739754"/>
                  <a:gd name="connsiteY76" fmla="*/ 2287339 h 2673102"/>
                  <a:gd name="connsiteX77" fmla="*/ 893171 w 1739754"/>
                  <a:gd name="connsiteY77" fmla="*/ 2396877 h 2673102"/>
                  <a:gd name="connsiteX78" fmla="*/ 688383 w 1739754"/>
                  <a:gd name="connsiteY78" fmla="*/ 2449264 h 2673102"/>
                  <a:gd name="connsiteX79" fmla="*/ 655046 w 1739754"/>
                  <a:gd name="connsiteY79" fmla="*/ 2473077 h 2673102"/>
                  <a:gd name="connsiteX80" fmla="*/ 607421 w 1739754"/>
                  <a:gd name="connsiteY80" fmla="*/ 2511177 h 2673102"/>
                  <a:gd name="connsiteX81" fmla="*/ 574083 w 1739754"/>
                  <a:gd name="connsiteY81" fmla="*/ 2534989 h 2673102"/>
                  <a:gd name="connsiteX82" fmla="*/ 540746 w 1739754"/>
                  <a:gd name="connsiteY82" fmla="*/ 2554039 h 2673102"/>
                  <a:gd name="connsiteX83" fmla="*/ 497883 w 1739754"/>
                  <a:gd name="connsiteY83" fmla="*/ 2587377 h 2673102"/>
                  <a:gd name="connsiteX84" fmla="*/ 483596 w 1739754"/>
                  <a:gd name="connsiteY84" fmla="*/ 2601664 h 2673102"/>
                  <a:gd name="connsiteX85" fmla="*/ 459783 w 1739754"/>
                  <a:gd name="connsiteY85" fmla="*/ 2620714 h 2673102"/>
                  <a:gd name="connsiteX86" fmla="*/ 450258 w 1739754"/>
                  <a:gd name="connsiteY86" fmla="*/ 2635002 h 2673102"/>
                  <a:gd name="connsiteX87" fmla="*/ 416921 w 1739754"/>
                  <a:gd name="connsiteY87" fmla="*/ 2654052 h 2673102"/>
                  <a:gd name="connsiteX88" fmla="*/ 374058 w 1739754"/>
                  <a:gd name="connsiteY88" fmla="*/ 2673102 h 2673102"/>
                  <a:gd name="connsiteX89" fmla="*/ 359771 w 1739754"/>
                  <a:gd name="connsiteY89" fmla="*/ 2663577 h 2673102"/>
                  <a:gd name="connsiteX90" fmla="*/ 345483 w 1739754"/>
                  <a:gd name="connsiteY90" fmla="*/ 2635002 h 2673102"/>
                  <a:gd name="connsiteX91" fmla="*/ 335958 w 1739754"/>
                  <a:gd name="connsiteY91" fmla="*/ 2620714 h 2673102"/>
                  <a:gd name="connsiteX92" fmla="*/ 297858 w 1739754"/>
                  <a:gd name="connsiteY92" fmla="*/ 2611189 h 2673102"/>
                  <a:gd name="connsiteX93" fmla="*/ 278808 w 1739754"/>
                  <a:gd name="connsiteY93" fmla="*/ 2592139 h 2673102"/>
                  <a:gd name="connsiteX94" fmla="*/ 274046 w 1739754"/>
                  <a:gd name="connsiteY94" fmla="*/ 2573089 h 2673102"/>
                  <a:gd name="connsiteX95" fmla="*/ 235946 w 1739754"/>
                  <a:gd name="connsiteY95" fmla="*/ 2539752 h 2673102"/>
                  <a:gd name="connsiteX96" fmla="*/ 231183 w 1739754"/>
                  <a:gd name="connsiteY96" fmla="*/ 2525464 h 2673102"/>
                  <a:gd name="connsiteX97" fmla="*/ 226421 w 1739754"/>
                  <a:gd name="connsiteY97" fmla="*/ 2506414 h 2673102"/>
                  <a:gd name="connsiteX98" fmla="*/ 212133 w 1739754"/>
                  <a:gd name="connsiteY98" fmla="*/ 2492127 h 2673102"/>
                  <a:gd name="connsiteX99" fmla="*/ 154983 w 1739754"/>
                  <a:gd name="connsiteY99" fmla="*/ 2439739 h 2673102"/>
                  <a:gd name="connsiteX100" fmla="*/ 150221 w 1739754"/>
                  <a:gd name="connsiteY100" fmla="*/ 2415927 h 2673102"/>
                  <a:gd name="connsiteX101" fmla="*/ 135933 w 1739754"/>
                  <a:gd name="connsiteY101" fmla="*/ 2358777 h 2673102"/>
                  <a:gd name="connsiteX102" fmla="*/ 121646 w 1739754"/>
                  <a:gd name="connsiteY102" fmla="*/ 2315914 h 2673102"/>
                  <a:gd name="connsiteX103" fmla="*/ 107358 w 1739754"/>
                  <a:gd name="connsiteY103" fmla="*/ 2258764 h 2673102"/>
                  <a:gd name="connsiteX104" fmla="*/ 102596 w 1739754"/>
                  <a:gd name="connsiteY104" fmla="*/ 2234952 h 2673102"/>
                  <a:gd name="connsiteX105" fmla="*/ 93071 w 1739754"/>
                  <a:gd name="connsiteY105" fmla="*/ 2211139 h 2673102"/>
                  <a:gd name="connsiteX106" fmla="*/ 88308 w 1739754"/>
                  <a:gd name="connsiteY106" fmla="*/ 2187327 h 2673102"/>
                  <a:gd name="connsiteX107" fmla="*/ 78783 w 1739754"/>
                  <a:gd name="connsiteY107" fmla="*/ 2111127 h 2673102"/>
                  <a:gd name="connsiteX108" fmla="*/ 97833 w 1739754"/>
                  <a:gd name="connsiteY108" fmla="*/ 1944439 h 2673102"/>
                  <a:gd name="connsiteX109" fmla="*/ 107358 w 1739754"/>
                  <a:gd name="connsiteY109" fmla="*/ 1930152 h 2673102"/>
                  <a:gd name="connsiteX110" fmla="*/ 126408 w 1739754"/>
                  <a:gd name="connsiteY110" fmla="*/ 1901577 h 2673102"/>
                  <a:gd name="connsiteX111" fmla="*/ 135933 w 1739754"/>
                  <a:gd name="connsiteY111" fmla="*/ 1868239 h 2673102"/>
                  <a:gd name="connsiteX112" fmla="*/ 131171 w 1739754"/>
                  <a:gd name="connsiteY112" fmla="*/ 1825377 h 2673102"/>
                  <a:gd name="connsiteX113" fmla="*/ 112121 w 1739754"/>
                  <a:gd name="connsiteY113" fmla="*/ 1820614 h 2673102"/>
                  <a:gd name="connsiteX114" fmla="*/ 102596 w 1739754"/>
                  <a:gd name="connsiteY114" fmla="*/ 1806327 h 2673102"/>
                  <a:gd name="connsiteX115" fmla="*/ 145458 w 1739754"/>
                  <a:gd name="connsiteY115" fmla="*/ 1720602 h 2673102"/>
                  <a:gd name="connsiteX116" fmla="*/ 159746 w 1739754"/>
                  <a:gd name="connsiteY116" fmla="*/ 1715839 h 2673102"/>
                  <a:gd name="connsiteX117" fmla="*/ 174033 w 1739754"/>
                  <a:gd name="connsiteY117" fmla="*/ 1696789 h 2673102"/>
                  <a:gd name="connsiteX118" fmla="*/ 188321 w 1739754"/>
                  <a:gd name="connsiteY118" fmla="*/ 1687264 h 2673102"/>
                  <a:gd name="connsiteX119" fmla="*/ 202608 w 1739754"/>
                  <a:gd name="connsiteY119" fmla="*/ 1653927 h 2673102"/>
                  <a:gd name="connsiteX120" fmla="*/ 193083 w 1739754"/>
                  <a:gd name="connsiteY120" fmla="*/ 1606302 h 2673102"/>
                  <a:gd name="connsiteX121" fmla="*/ 164508 w 1739754"/>
                  <a:gd name="connsiteY121" fmla="*/ 1596777 h 2673102"/>
                  <a:gd name="connsiteX122" fmla="*/ 154983 w 1739754"/>
                  <a:gd name="connsiteY122" fmla="*/ 1549152 h 2673102"/>
                  <a:gd name="connsiteX123" fmla="*/ 150221 w 1739754"/>
                  <a:gd name="connsiteY123" fmla="*/ 1411039 h 2673102"/>
                  <a:gd name="connsiteX124" fmla="*/ 140696 w 1739754"/>
                  <a:gd name="connsiteY124" fmla="*/ 1377702 h 2673102"/>
                  <a:gd name="connsiteX125" fmla="*/ 121646 w 1739754"/>
                  <a:gd name="connsiteY125" fmla="*/ 1311027 h 2673102"/>
                  <a:gd name="connsiteX126" fmla="*/ 116883 w 1739754"/>
                  <a:gd name="connsiteY126" fmla="*/ 1258639 h 2673102"/>
                  <a:gd name="connsiteX127" fmla="*/ 107358 w 1739754"/>
                  <a:gd name="connsiteY127" fmla="*/ 1244352 h 2673102"/>
                  <a:gd name="connsiteX128" fmla="*/ 93071 w 1739754"/>
                  <a:gd name="connsiteY128" fmla="*/ 1196727 h 2673102"/>
                  <a:gd name="connsiteX129" fmla="*/ 78783 w 1739754"/>
                  <a:gd name="connsiteY129" fmla="*/ 1177677 h 2673102"/>
                  <a:gd name="connsiteX130" fmla="*/ 59733 w 1739754"/>
                  <a:gd name="connsiteY130" fmla="*/ 1139577 h 2673102"/>
                  <a:gd name="connsiteX131" fmla="*/ 50208 w 1739754"/>
                  <a:gd name="connsiteY131" fmla="*/ 1111002 h 2673102"/>
                  <a:gd name="connsiteX132" fmla="*/ 45446 w 1739754"/>
                  <a:gd name="connsiteY132" fmla="*/ 1096714 h 2673102"/>
                  <a:gd name="connsiteX133" fmla="*/ 21633 w 1739754"/>
                  <a:gd name="connsiteY133" fmla="*/ 1025277 h 2673102"/>
                  <a:gd name="connsiteX134" fmla="*/ 202 w 1739754"/>
                  <a:gd name="connsiteY134" fmla="*/ 980033 h 2673102"/>
                  <a:gd name="connsiteX135" fmla="*/ 14490 w 1739754"/>
                  <a:gd name="connsiteY135" fmla="*/ 930027 h 2673102"/>
                  <a:gd name="connsiteX136" fmla="*/ 69259 w 1739754"/>
                  <a:gd name="connsiteY136" fmla="*/ 810964 h 2673102"/>
                  <a:gd name="connsiteX137" fmla="*/ 221658 w 1739754"/>
                  <a:gd name="connsiteY137" fmla="*/ 601414 h 2673102"/>
                  <a:gd name="connsiteX138" fmla="*/ 288333 w 1739754"/>
                  <a:gd name="connsiteY138" fmla="*/ 515689 h 2673102"/>
                  <a:gd name="connsiteX139" fmla="*/ 412158 w 1739754"/>
                  <a:gd name="connsiteY139" fmla="*/ 406152 h 2673102"/>
                  <a:gd name="connsiteX140" fmla="*/ 535983 w 1739754"/>
                  <a:gd name="connsiteY140" fmla="*/ 291851 h 2673102"/>
                  <a:gd name="connsiteX141" fmla="*/ 640758 w 1739754"/>
                  <a:gd name="connsiteY141" fmla="*/ 229939 h 2673102"/>
                  <a:gd name="connsiteX142" fmla="*/ 733628 w 1739754"/>
                  <a:gd name="connsiteY142" fmla="*/ 168026 h 2673102"/>
                  <a:gd name="connsiteX143" fmla="*/ 978896 w 1739754"/>
                  <a:gd name="connsiteY143" fmla="*/ 63251 h 2673102"/>
                  <a:gd name="connsiteX144" fmla="*/ 1159871 w 1739754"/>
                  <a:gd name="connsiteY144" fmla="*/ 6102 h 2673102"/>
                  <a:gd name="connsiteX145" fmla="*/ 1202733 w 1739754"/>
                  <a:gd name="connsiteY14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83583 w 1739754"/>
                  <a:gd name="connsiteY45" fmla="*/ 1525339 h 2673102"/>
                  <a:gd name="connsiteX46" fmla="*/ 407396 w 1739754"/>
                  <a:gd name="connsiteY46" fmla="*/ 1492002 h 2673102"/>
                  <a:gd name="connsiteX47" fmla="*/ 412158 w 1739754"/>
                  <a:gd name="connsiteY47" fmla="*/ 1468189 h 2673102"/>
                  <a:gd name="connsiteX48" fmla="*/ 416921 w 1739754"/>
                  <a:gd name="connsiteY48" fmla="*/ 1449139 h 2673102"/>
                  <a:gd name="connsiteX49" fmla="*/ 445496 w 1739754"/>
                  <a:gd name="connsiteY49" fmla="*/ 1439614 h 2673102"/>
                  <a:gd name="connsiteX50" fmla="*/ 545508 w 1739754"/>
                  <a:gd name="connsiteY50" fmla="*/ 1458664 h 2673102"/>
                  <a:gd name="connsiteX51" fmla="*/ 555033 w 1739754"/>
                  <a:gd name="connsiteY51" fmla="*/ 1482477 h 2673102"/>
                  <a:gd name="connsiteX52" fmla="*/ 564558 w 1739754"/>
                  <a:gd name="connsiteY52" fmla="*/ 1515814 h 2673102"/>
                  <a:gd name="connsiteX53" fmla="*/ 550271 w 1739754"/>
                  <a:gd name="connsiteY53" fmla="*/ 1534864 h 2673102"/>
                  <a:gd name="connsiteX54" fmla="*/ 550271 w 1739754"/>
                  <a:gd name="connsiteY54" fmla="*/ 1601539 h 2673102"/>
                  <a:gd name="connsiteX55" fmla="*/ 559796 w 1739754"/>
                  <a:gd name="connsiteY55" fmla="*/ 1620589 h 2673102"/>
                  <a:gd name="connsiteX56" fmla="*/ 626471 w 1739754"/>
                  <a:gd name="connsiteY56" fmla="*/ 1639639 h 2673102"/>
                  <a:gd name="connsiteX57" fmla="*/ 645521 w 1739754"/>
                  <a:gd name="connsiteY57" fmla="*/ 1592014 h 2673102"/>
                  <a:gd name="connsiteX58" fmla="*/ 702671 w 1739754"/>
                  <a:gd name="connsiteY58" fmla="*/ 1620589 h 2673102"/>
                  <a:gd name="connsiteX59" fmla="*/ 731246 w 1739754"/>
                  <a:gd name="connsiteY59" fmla="*/ 1630114 h 2673102"/>
                  <a:gd name="connsiteX60" fmla="*/ 783633 w 1739754"/>
                  <a:gd name="connsiteY60" fmla="*/ 1663452 h 2673102"/>
                  <a:gd name="connsiteX61" fmla="*/ 859833 w 1739754"/>
                  <a:gd name="connsiteY61" fmla="*/ 1687264 h 2673102"/>
                  <a:gd name="connsiteX62" fmla="*/ 878883 w 1739754"/>
                  <a:gd name="connsiteY62" fmla="*/ 1701552 h 2673102"/>
                  <a:gd name="connsiteX63" fmla="*/ 888408 w 1739754"/>
                  <a:gd name="connsiteY63" fmla="*/ 1739652 h 2673102"/>
                  <a:gd name="connsiteX64" fmla="*/ 897933 w 1739754"/>
                  <a:gd name="connsiteY64" fmla="*/ 1782514 h 2673102"/>
                  <a:gd name="connsiteX65" fmla="*/ 940796 w 1739754"/>
                  <a:gd name="connsiteY65" fmla="*/ 1892052 h 2673102"/>
                  <a:gd name="connsiteX66" fmla="*/ 950321 w 1739754"/>
                  <a:gd name="connsiteY66" fmla="*/ 1906339 h 2673102"/>
                  <a:gd name="connsiteX67" fmla="*/ 959846 w 1739754"/>
                  <a:gd name="connsiteY67" fmla="*/ 1939677 h 2673102"/>
                  <a:gd name="connsiteX68" fmla="*/ 974133 w 1739754"/>
                  <a:gd name="connsiteY68" fmla="*/ 1977777 h 2673102"/>
                  <a:gd name="connsiteX69" fmla="*/ 964608 w 1739754"/>
                  <a:gd name="connsiteY69" fmla="*/ 2082552 h 2673102"/>
                  <a:gd name="connsiteX70" fmla="*/ 955083 w 1739754"/>
                  <a:gd name="connsiteY70" fmla="*/ 2101602 h 2673102"/>
                  <a:gd name="connsiteX71" fmla="*/ 926508 w 1739754"/>
                  <a:gd name="connsiteY71" fmla="*/ 2144464 h 2673102"/>
                  <a:gd name="connsiteX72" fmla="*/ 907458 w 1739754"/>
                  <a:gd name="connsiteY72" fmla="*/ 2192089 h 2673102"/>
                  <a:gd name="connsiteX73" fmla="*/ 902696 w 1739754"/>
                  <a:gd name="connsiteY73" fmla="*/ 2211139 h 2673102"/>
                  <a:gd name="connsiteX74" fmla="*/ 893171 w 1739754"/>
                  <a:gd name="connsiteY74" fmla="*/ 2239714 h 2673102"/>
                  <a:gd name="connsiteX75" fmla="*/ 897933 w 1739754"/>
                  <a:gd name="connsiteY75" fmla="*/ 2287339 h 2673102"/>
                  <a:gd name="connsiteX76" fmla="*/ 893171 w 1739754"/>
                  <a:gd name="connsiteY76" fmla="*/ 2396877 h 2673102"/>
                  <a:gd name="connsiteX77" fmla="*/ 688383 w 1739754"/>
                  <a:gd name="connsiteY77" fmla="*/ 2449264 h 2673102"/>
                  <a:gd name="connsiteX78" fmla="*/ 655046 w 1739754"/>
                  <a:gd name="connsiteY78" fmla="*/ 2473077 h 2673102"/>
                  <a:gd name="connsiteX79" fmla="*/ 607421 w 1739754"/>
                  <a:gd name="connsiteY79" fmla="*/ 2511177 h 2673102"/>
                  <a:gd name="connsiteX80" fmla="*/ 574083 w 1739754"/>
                  <a:gd name="connsiteY80" fmla="*/ 2534989 h 2673102"/>
                  <a:gd name="connsiteX81" fmla="*/ 540746 w 1739754"/>
                  <a:gd name="connsiteY81" fmla="*/ 2554039 h 2673102"/>
                  <a:gd name="connsiteX82" fmla="*/ 497883 w 1739754"/>
                  <a:gd name="connsiteY82" fmla="*/ 2587377 h 2673102"/>
                  <a:gd name="connsiteX83" fmla="*/ 483596 w 1739754"/>
                  <a:gd name="connsiteY83" fmla="*/ 2601664 h 2673102"/>
                  <a:gd name="connsiteX84" fmla="*/ 459783 w 1739754"/>
                  <a:gd name="connsiteY84" fmla="*/ 2620714 h 2673102"/>
                  <a:gd name="connsiteX85" fmla="*/ 450258 w 1739754"/>
                  <a:gd name="connsiteY85" fmla="*/ 2635002 h 2673102"/>
                  <a:gd name="connsiteX86" fmla="*/ 416921 w 1739754"/>
                  <a:gd name="connsiteY86" fmla="*/ 2654052 h 2673102"/>
                  <a:gd name="connsiteX87" fmla="*/ 374058 w 1739754"/>
                  <a:gd name="connsiteY87" fmla="*/ 2673102 h 2673102"/>
                  <a:gd name="connsiteX88" fmla="*/ 359771 w 1739754"/>
                  <a:gd name="connsiteY88" fmla="*/ 2663577 h 2673102"/>
                  <a:gd name="connsiteX89" fmla="*/ 345483 w 1739754"/>
                  <a:gd name="connsiteY89" fmla="*/ 2635002 h 2673102"/>
                  <a:gd name="connsiteX90" fmla="*/ 335958 w 1739754"/>
                  <a:gd name="connsiteY90" fmla="*/ 2620714 h 2673102"/>
                  <a:gd name="connsiteX91" fmla="*/ 297858 w 1739754"/>
                  <a:gd name="connsiteY91" fmla="*/ 2611189 h 2673102"/>
                  <a:gd name="connsiteX92" fmla="*/ 278808 w 1739754"/>
                  <a:gd name="connsiteY92" fmla="*/ 2592139 h 2673102"/>
                  <a:gd name="connsiteX93" fmla="*/ 274046 w 1739754"/>
                  <a:gd name="connsiteY93" fmla="*/ 2573089 h 2673102"/>
                  <a:gd name="connsiteX94" fmla="*/ 235946 w 1739754"/>
                  <a:gd name="connsiteY94" fmla="*/ 2539752 h 2673102"/>
                  <a:gd name="connsiteX95" fmla="*/ 231183 w 1739754"/>
                  <a:gd name="connsiteY95" fmla="*/ 2525464 h 2673102"/>
                  <a:gd name="connsiteX96" fmla="*/ 226421 w 1739754"/>
                  <a:gd name="connsiteY96" fmla="*/ 2506414 h 2673102"/>
                  <a:gd name="connsiteX97" fmla="*/ 212133 w 1739754"/>
                  <a:gd name="connsiteY97" fmla="*/ 2492127 h 2673102"/>
                  <a:gd name="connsiteX98" fmla="*/ 154983 w 1739754"/>
                  <a:gd name="connsiteY98" fmla="*/ 2439739 h 2673102"/>
                  <a:gd name="connsiteX99" fmla="*/ 150221 w 1739754"/>
                  <a:gd name="connsiteY99" fmla="*/ 2415927 h 2673102"/>
                  <a:gd name="connsiteX100" fmla="*/ 135933 w 1739754"/>
                  <a:gd name="connsiteY100" fmla="*/ 2358777 h 2673102"/>
                  <a:gd name="connsiteX101" fmla="*/ 121646 w 1739754"/>
                  <a:gd name="connsiteY101" fmla="*/ 2315914 h 2673102"/>
                  <a:gd name="connsiteX102" fmla="*/ 107358 w 1739754"/>
                  <a:gd name="connsiteY102" fmla="*/ 2258764 h 2673102"/>
                  <a:gd name="connsiteX103" fmla="*/ 102596 w 1739754"/>
                  <a:gd name="connsiteY103" fmla="*/ 2234952 h 2673102"/>
                  <a:gd name="connsiteX104" fmla="*/ 93071 w 1739754"/>
                  <a:gd name="connsiteY104" fmla="*/ 2211139 h 2673102"/>
                  <a:gd name="connsiteX105" fmla="*/ 88308 w 1739754"/>
                  <a:gd name="connsiteY105" fmla="*/ 2187327 h 2673102"/>
                  <a:gd name="connsiteX106" fmla="*/ 78783 w 1739754"/>
                  <a:gd name="connsiteY106" fmla="*/ 2111127 h 2673102"/>
                  <a:gd name="connsiteX107" fmla="*/ 97833 w 1739754"/>
                  <a:gd name="connsiteY107" fmla="*/ 1944439 h 2673102"/>
                  <a:gd name="connsiteX108" fmla="*/ 107358 w 1739754"/>
                  <a:gd name="connsiteY108" fmla="*/ 1930152 h 2673102"/>
                  <a:gd name="connsiteX109" fmla="*/ 126408 w 1739754"/>
                  <a:gd name="connsiteY109" fmla="*/ 1901577 h 2673102"/>
                  <a:gd name="connsiteX110" fmla="*/ 135933 w 1739754"/>
                  <a:gd name="connsiteY110" fmla="*/ 1868239 h 2673102"/>
                  <a:gd name="connsiteX111" fmla="*/ 131171 w 1739754"/>
                  <a:gd name="connsiteY111" fmla="*/ 1825377 h 2673102"/>
                  <a:gd name="connsiteX112" fmla="*/ 112121 w 1739754"/>
                  <a:gd name="connsiteY112" fmla="*/ 1820614 h 2673102"/>
                  <a:gd name="connsiteX113" fmla="*/ 102596 w 1739754"/>
                  <a:gd name="connsiteY113" fmla="*/ 1806327 h 2673102"/>
                  <a:gd name="connsiteX114" fmla="*/ 145458 w 1739754"/>
                  <a:gd name="connsiteY114" fmla="*/ 1720602 h 2673102"/>
                  <a:gd name="connsiteX115" fmla="*/ 159746 w 1739754"/>
                  <a:gd name="connsiteY115" fmla="*/ 1715839 h 2673102"/>
                  <a:gd name="connsiteX116" fmla="*/ 174033 w 1739754"/>
                  <a:gd name="connsiteY116" fmla="*/ 1696789 h 2673102"/>
                  <a:gd name="connsiteX117" fmla="*/ 188321 w 1739754"/>
                  <a:gd name="connsiteY117" fmla="*/ 1687264 h 2673102"/>
                  <a:gd name="connsiteX118" fmla="*/ 202608 w 1739754"/>
                  <a:gd name="connsiteY118" fmla="*/ 1653927 h 2673102"/>
                  <a:gd name="connsiteX119" fmla="*/ 193083 w 1739754"/>
                  <a:gd name="connsiteY119" fmla="*/ 1606302 h 2673102"/>
                  <a:gd name="connsiteX120" fmla="*/ 164508 w 1739754"/>
                  <a:gd name="connsiteY120" fmla="*/ 1596777 h 2673102"/>
                  <a:gd name="connsiteX121" fmla="*/ 154983 w 1739754"/>
                  <a:gd name="connsiteY121" fmla="*/ 1549152 h 2673102"/>
                  <a:gd name="connsiteX122" fmla="*/ 150221 w 1739754"/>
                  <a:gd name="connsiteY122" fmla="*/ 1411039 h 2673102"/>
                  <a:gd name="connsiteX123" fmla="*/ 140696 w 1739754"/>
                  <a:gd name="connsiteY123" fmla="*/ 1377702 h 2673102"/>
                  <a:gd name="connsiteX124" fmla="*/ 121646 w 1739754"/>
                  <a:gd name="connsiteY124" fmla="*/ 1311027 h 2673102"/>
                  <a:gd name="connsiteX125" fmla="*/ 116883 w 1739754"/>
                  <a:gd name="connsiteY125" fmla="*/ 1258639 h 2673102"/>
                  <a:gd name="connsiteX126" fmla="*/ 107358 w 1739754"/>
                  <a:gd name="connsiteY126" fmla="*/ 1244352 h 2673102"/>
                  <a:gd name="connsiteX127" fmla="*/ 93071 w 1739754"/>
                  <a:gd name="connsiteY127" fmla="*/ 1196727 h 2673102"/>
                  <a:gd name="connsiteX128" fmla="*/ 78783 w 1739754"/>
                  <a:gd name="connsiteY128" fmla="*/ 1177677 h 2673102"/>
                  <a:gd name="connsiteX129" fmla="*/ 59733 w 1739754"/>
                  <a:gd name="connsiteY129" fmla="*/ 1139577 h 2673102"/>
                  <a:gd name="connsiteX130" fmla="*/ 50208 w 1739754"/>
                  <a:gd name="connsiteY130" fmla="*/ 1111002 h 2673102"/>
                  <a:gd name="connsiteX131" fmla="*/ 45446 w 1739754"/>
                  <a:gd name="connsiteY131" fmla="*/ 1096714 h 2673102"/>
                  <a:gd name="connsiteX132" fmla="*/ 21633 w 1739754"/>
                  <a:gd name="connsiteY132" fmla="*/ 1025277 h 2673102"/>
                  <a:gd name="connsiteX133" fmla="*/ 202 w 1739754"/>
                  <a:gd name="connsiteY133" fmla="*/ 980033 h 2673102"/>
                  <a:gd name="connsiteX134" fmla="*/ 14490 w 1739754"/>
                  <a:gd name="connsiteY134" fmla="*/ 930027 h 2673102"/>
                  <a:gd name="connsiteX135" fmla="*/ 69259 w 1739754"/>
                  <a:gd name="connsiteY135" fmla="*/ 810964 h 2673102"/>
                  <a:gd name="connsiteX136" fmla="*/ 221658 w 1739754"/>
                  <a:gd name="connsiteY136" fmla="*/ 601414 h 2673102"/>
                  <a:gd name="connsiteX137" fmla="*/ 288333 w 1739754"/>
                  <a:gd name="connsiteY137" fmla="*/ 515689 h 2673102"/>
                  <a:gd name="connsiteX138" fmla="*/ 412158 w 1739754"/>
                  <a:gd name="connsiteY138" fmla="*/ 406152 h 2673102"/>
                  <a:gd name="connsiteX139" fmla="*/ 535983 w 1739754"/>
                  <a:gd name="connsiteY139" fmla="*/ 291851 h 2673102"/>
                  <a:gd name="connsiteX140" fmla="*/ 640758 w 1739754"/>
                  <a:gd name="connsiteY140" fmla="*/ 229939 h 2673102"/>
                  <a:gd name="connsiteX141" fmla="*/ 733628 w 1739754"/>
                  <a:gd name="connsiteY141" fmla="*/ 168026 h 2673102"/>
                  <a:gd name="connsiteX142" fmla="*/ 978896 w 1739754"/>
                  <a:gd name="connsiteY142" fmla="*/ 63251 h 2673102"/>
                  <a:gd name="connsiteX143" fmla="*/ 1159871 w 1739754"/>
                  <a:gd name="connsiteY143" fmla="*/ 6102 h 2673102"/>
                  <a:gd name="connsiteX144" fmla="*/ 1202733 w 1739754"/>
                  <a:gd name="connsiteY14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407396 w 1739754"/>
                  <a:gd name="connsiteY46" fmla="*/ 1492002 h 2673102"/>
                  <a:gd name="connsiteX47" fmla="*/ 412158 w 1739754"/>
                  <a:gd name="connsiteY47" fmla="*/ 1468189 h 2673102"/>
                  <a:gd name="connsiteX48" fmla="*/ 416921 w 1739754"/>
                  <a:gd name="connsiteY48" fmla="*/ 1449139 h 2673102"/>
                  <a:gd name="connsiteX49" fmla="*/ 445496 w 1739754"/>
                  <a:gd name="connsiteY49" fmla="*/ 1439614 h 2673102"/>
                  <a:gd name="connsiteX50" fmla="*/ 545508 w 1739754"/>
                  <a:gd name="connsiteY50" fmla="*/ 1458664 h 2673102"/>
                  <a:gd name="connsiteX51" fmla="*/ 555033 w 1739754"/>
                  <a:gd name="connsiteY51" fmla="*/ 1482477 h 2673102"/>
                  <a:gd name="connsiteX52" fmla="*/ 564558 w 1739754"/>
                  <a:gd name="connsiteY52" fmla="*/ 1515814 h 2673102"/>
                  <a:gd name="connsiteX53" fmla="*/ 550271 w 1739754"/>
                  <a:gd name="connsiteY53" fmla="*/ 1534864 h 2673102"/>
                  <a:gd name="connsiteX54" fmla="*/ 550271 w 1739754"/>
                  <a:gd name="connsiteY54" fmla="*/ 1601539 h 2673102"/>
                  <a:gd name="connsiteX55" fmla="*/ 559796 w 1739754"/>
                  <a:gd name="connsiteY55" fmla="*/ 1620589 h 2673102"/>
                  <a:gd name="connsiteX56" fmla="*/ 626471 w 1739754"/>
                  <a:gd name="connsiteY56" fmla="*/ 1639639 h 2673102"/>
                  <a:gd name="connsiteX57" fmla="*/ 645521 w 1739754"/>
                  <a:gd name="connsiteY57" fmla="*/ 1592014 h 2673102"/>
                  <a:gd name="connsiteX58" fmla="*/ 702671 w 1739754"/>
                  <a:gd name="connsiteY58" fmla="*/ 1620589 h 2673102"/>
                  <a:gd name="connsiteX59" fmla="*/ 731246 w 1739754"/>
                  <a:gd name="connsiteY59" fmla="*/ 1630114 h 2673102"/>
                  <a:gd name="connsiteX60" fmla="*/ 783633 w 1739754"/>
                  <a:gd name="connsiteY60" fmla="*/ 1663452 h 2673102"/>
                  <a:gd name="connsiteX61" fmla="*/ 859833 w 1739754"/>
                  <a:gd name="connsiteY61" fmla="*/ 1687264 h 2673102"/>
                  <a:gd name="connsiteX62" fmla="*/ 878883 w 1739754"/>
                  <a:gd name="connsiteY62" fmla="*/ 1701552 h 2673102"/>
                  <a:gd name="connsiteX63" fmla="*/ 888408 w 1739754"/>
                  <a:gd name="connsiteY63" fmla="*/ 1739652 h 2673102"/>
                  <a:gd name="connsiteX64" fmla="*/ 897933 w 1739754"/>
                  <a:gd name="connsiteY64" fmla="*/ 1782514 h 2673102"/>
                  <a:gd name="connsiteX65" fmla="*/ 940796 w 1739754"/>
                  <a:gd name="connsiteY65" fmla="*/ 1892052 h 2673102"/>
                  <a:gd name="connsiteX66" fmla="*/ 950321 w 1739754"/>
                  <a:gd name="connsiteY66" fmla="*/ 1906339 h 2673102"/>
                  <a:gd name="connsiteX67" fmla="*/ 959846 w 1739754"/>
                  <a:gd name="connsiteY67" fmla="*/ 1939677 h 2673102"/>
                  <a:gd name="connsiteX68" fmla="*/ 974133 w 1739754"/>
                  <a:gd name="connsiteY68" fmla="*/ 1977777 h 2673102"/>
                  <a:gd name="connsiteX69" fmla="*/ 964608 w 1739754"/>
                  <a:gd name="connsiteY69" fmla="*/ 2082552 h 2673102"/>
                  <a:gd name="connsiteX70" fmla="*/ 955083 w 1739754"/>
                  <a:gd name="connsiteY70" fmla="*/ 2101602 h 2673102"/>
                  <a:gd name="connsiteX71" fmla="*/ 926508 w 1739754"/>
                  <a:gd name="connsiteY71" fmla="*/ 2144464 h 2673102"/>
                  <a:gd name="connsiteX72" fmla="*/ 907458 w 1739754"/>
                  <a:gd name="connsiteY72" fmla="*/ 2192089 h 2673102"/>
                  <a:gd name="connsiteX73" fmla="*/ 902696 w 1739754"/>
                  <a:gd name="connsiteY73" fmla="*/ 2211139 h 2673102"/>
                  <a:gd name="connsiteX74" fmla="*/ 893171 w 1739754"/>
                  <a:gd name="connsiteY74" fmla="*/ 2239714 h 2673102"/>
                  <a:gd name="connsiteX75" fmla="*/ 897933 w 1739754"/>
                  <a:gd name="connsiteY75" fmla="*/ 2287339 h 2673102"/>
                  <a:gd name="connsiteX76" fmla="*/ 893171 w 1739754"/>
                  <a:gd name="connsiteY76" fmla="*/ 2396877 h 2673102"/>
                  <a:gd name="connsiteX77" fmla="*/ 688383 w 1739754"/>
                  <a:gd name="connsiteY77" fmla="*/ 2449264 h 2673102"/>
                  <a:gd name="connsiteX78" fmla="*/ 655046 w 1739754"/>
                  <a:gd name="connsiteY78" fmla="*/ 2473077 h 2673102"/>
                  <a:gd name="connsiteX79" fmla="*/ 607421 w 1739754"/>
                  <a:gd name="connsiteY79" fmla="*/ 2511177 h 2673102"/>
                  <a:gd name="connsiteX80" fmla="*/ 574083 w 1739754"/>
                  <a:gd name="connsiteY80" fmla="*/ 2534989 h 2673102"/>
                  <a:gd name="connsiteX81" fmla="*/ 540746 w 1739754"/>
                  <a:gd name="connsiteY81" fmla="*/ 2554039 h 2673102"/>
                  <a:gd name="connsiteX82" fmla="*/ 497883 w 1739754"/>
                  <a:gd name="connsiteY82" fmla="*/ 2587377 h 2673102"/>
                  <a:gd name="connsiteX83" fmla="*/ 483596 w 1739754"/>
                  <a:gd name="connsiteY83" fmla="*/ 2601664 h 2673102"/>
                  <a:gd name="connsiteX84" fmla="*/ 459783 w 1739754"/>
                  <a:gd name="connsiteY84" fmla="*/ 2620714 h 2673102"/>
                  <a:gd name="connsiteX85" fmla="*/ 450258 w 1739754"/>
                  <a:gd name="connsiteY85" fmla="*/ 2635002 h 2673102"/>
                  <a:gd name="connsiteX86" fmla="*/ 416921 w 1739754"/>
                  <a:gd name="connsiteY86" fmla="*/ 2654052 h 2673102"/>
                  <a:gd name="connsiteX87" fmla="*/ 374058 w 1739754"/>
                  <a:gd name="connsiteY87" fmla="*/ 2673102 h 2673102"/>
                  <a:gd name="connsiteX88" fmla="*/ 359771 w 1739754"/>
                  <a:gd name="connsiteY88" fmla="*/ 2663577 h 2673102"/>
                  <a:gd name="connsiteX89" fmla="*/ 345483 w 1739754"/>
                  <a:gd name="connsiteY89" fmla="*/ 2635002 h 2673102"/>
                  <a:gd name="connsiteX90" fmla="*/ 335958 w 1739754"/>
                  <a:gd name="connsiteY90" fmla="*/ 2620714 h 2673102"/>
                  <a:gd name="connsiteX91" fmla="*/ 297858 w 1739754"/>
                  <a:gd name="connsiteY91" fmla="*/ 2611189 h 2673102"/>
                  <a:gd name="connsiteX92" fmla="*/ 278808 w 1739754"/>
                  <a:gd name="connsiteY92" fmla="*/ 2592139 h 2673102"/>
                  <a:gd name="connsiteX93" fmla="*/ 274046 w 1739754"/>
                  <a:gd name="connsiteY93" fmla="*/ 2573089 h 2673102"/>
                  <a:gd name="connsiteX94" fmla="*/ 235946 w 1739754"/>
                  <a:gd name="connsiteY94" fmla="*/ 2539752 h 2673102"/>
                  <a:gd name="connsiteX95" fmla="*/ 231183 w 1739754"/>
                  <a:gd name="connsiteY95" fmla="*/ 2525464 h 2673102"/>
                  <a:gd name="connsiteX96" fmla="*/ 226421 w 1739754"/>
                  <a:gd name="connsiteY96" fmla="*/ 2506414 h 2673102"/>
                  <a:gd name="connsiteX97" fmla="*/ 212133 w 1739754"/>
                  <a:gd name="connsiteY97" fmla="*/ 2492127 h 2673102"/>
                  <a:gd name="connsiteX98" fmla="*/ 154983 w 1739754"/>
                  <a:gd name="connsiteY98" fmla="*/ 2439739 h 2673102"/>
                  <a:gd name="connsiteX99" fmla="*/ 150221 w 1739754"/>
                  <a:gd name="connsiteY99" fmla="*/ 2415927 h 2673102"/>
                  <a:gd name="connsiteX100" fmla="*/ 135933 w 1739754"/>
                  <a:gd name="connsiteY100" fmla="*/ 2358777 h 2673102"/>
                  <a:gd name="connsiteX101" fmla="*/ 121646 w 1739754"/>
                  <a:gd name="connsiteY101" fmla="*/ 2315914 h 2673102"/>
                  <a:gd name="connsiteX102" fmla="*/ 107358 w 1739754"/>
                  <a:gd name="connsiteY102" fmla="*/ 2258764 h 2673102"/>
                  <a:gd name="connsiteX103" fmla="*/ 102596 w 1739754"/>
                  <a:gd name="connsiteY103" fmla="*/ 2234952 h 2673102"/>
                  <a:gd name="connsiteX104" fmla="*/ 93071 w 1739754"/>
                  <a:gd name="connsiteY104" fmla="*/ 2211139 h 2673102"/>
                  <a:gd name="connsiteX105" fmla="*/ 88308 w 1739754"/>
                  <a:gd name="connsiteY105" fmla="*/ 2187327 h 2673102"/>
                  <a:gd name="connsiteX106" fmla="*/ 78783 w 1739754"/>
                  <a:gd name="connsiteY106" fmla="*/ 2111127 h 2673102"/>
                  <a:gd name="connsiteX107" fmla="*/ 97833 w 1739754"/>
                  <a:gd name="connsiteY107" fmla="*/ 1944439 h 2673102"/>
                  <a:gd name="connsiteX108" fmla="*/ 107358 w 1739754"/>
                  <a:gd name="connsiteY108" fmla="*/ 1930152 h 2673102"/>
                  <a:gd name="connsiteX109" fmla="*/ 126408 w 1739754"/>
                  <a:gd name="connsiteY109" fmla="*/ 1901577 h 2673102"/>
                  <a:gd name="connsiteX110" fmla="*/ 135933 w 1739754"/>
                  <a:gd name="connsiteY110" fmla="*/ 1868239 h 2673102"/>
                  <a:gd name="connsiteX111" fmla="*/ 131171 w 1739754"/>
                  <a:gd name="connsiteY111" fmla="*/ 1825377 h 2673102"/>
                  <a:gd name="connsiteX112" fmla="*/ 112121 w 1739754"/>
                  <a:gd name="connsiteY112" fmla="*/ 1820614 h 2673102"/>
                  <a:gd name="connsiteX113" fmla="*/ 102596 w 1739754"/>
                  <a:gd name="connsiteY113" fmla="*/ 1806327 h 2673102"/>
                  <a:gd name="connsiteX114" fmla="*/ 145458 w 1739754"/>
                  <a:gd name="connsiteY114" fmla="*/ 1720602 h 2673102"/>
                  <a:gd name="connsiteX115" fmla="*/ 159746 w 1739754"/>
                  <a:gd name="connsiteY115" fmla="*/ 1715839 h 2673102"/>
                  <a:gd name="connsiteX116" fmla="*/ 174033 w 1739754"/>
                  <a:gd name="connsiteY116" fmla="*/ 1696789 h 2673102"/>
                  <a:gd name="connsiteX117" fmla="*/ 188321 w 1739754"/>
                  <a:gd name="connsiteY117" fmla="*/ 1687264 h 2673102"/>
                  <a:gd name="connsiteX118" fmla="*/ 202608 w 1739754"/>
                  <a:gd name="connsiteY118" fmla="*/ 1653927 h 2673102"/>
                  <a:gd name="connsiteX119" fmla="*/ 193083 w 1739754"/>
                  <a:gd name="connsiteY119" fmla="*/ 1606302 h 2673102"/>
                  <a:gd name="connsiteX120" fmla="*/ 164508 w 1739754"/>
                  <a:gd name="connsiteY120" fmla="*/ 1596777 h 2673102"/>
                  <a:gd name="connsiteX121" fmla="*/ 154983 w 1739754"/>
                  <a:gd name="connsiteY121" fmla="*/ 1549152 h 2673102"/>
                  <a:gd name="connsiteX122" fmla="*/ 150221 w 1739754"/>
                  <a:gd name="connsiteY122" fmla="*/ 1411039 h 2673102"/>
                  <a:gd name="connsiteX123" fmla="*/ 140696 w 1739754"/>
                  <a:gd name="connsiteY123" fmla="*/ 1377702 h 2673102"/>
                  <a:gd name="connsiteX124" fmla="*/ 121646 w 1739754"/>
                  <a:gd name="connsiteY124" fmla="*/ 1311027 h 2673102"/>
                  <a:gd name="connsiteX125" fmla="*/ 116883 w 1739754"/>
                  <a:gd name="connsiteY125" fmla="*/ 1258639 h 2673102"/>
                  <a:gd name="connsiteX126" fmla="*/ 107358 w 1739754"/>
                  <a:gd name="connsiteY126" fmla="*/ 1244352 h 2673102"/>
                  <a:gd name="connsiteX127" fmla="*/ 93071 w 1739754"/>
                  <a:gd name="connsiteY127" fmla="*/ 1196727 h 2673102"/>
                  <a:gd name="connsiteX128" fmla="*/ 78783 w 1739754"/>
                  <a:gd name="connsiteY128" fmla="*/ 1177677 h 2673102"/>
                  <a:gd name="connsiteX129" fmla="*/ 59733 w 1739754"/>
                  <a:gd name="connsiteY129" fmla="*/ 1139577 h 2673102"/>
                  <a:gd name="connsiteX130" fmla="*/ 50208 w 1739754"/>
                  <a:gd name="connsiteY130" fmla="*/ 1111002 h 2673102"/>
                  <a:gd name="connsiteX131" fmla="*/ 45446 w 1739754"/>
                  <a:gd name="connsiteY131" fmla="*/ 1096714 h 2673102"/>
                  <a:gd name="connsiteX132" fmla="*/ 21633 w 1739754"/>
                  <a:gd name="connsiteY132" fmla="*/ 1025277 h 2673102"/>
                  <a:gd name="connsiteX133" fmla="*/ 202 w 1739754"/>
                  <a:gd name="connsiteY133" fmla="*/ 980033 h 2673102"/>
                  <a:gd name="connsiteX134" fmla="*/ 14490 w 1739754"/>
                  <a:gd name="connsiteY134" fmla="*/ 930027 h 2673102"/>
                  <a:gd name="connsiteX135" fmla="*/ 69259 w 1739754"/>
                  <a:gd name="connsiteY135" fmla="*/ 810964 h 2673102"/>
                  <a:gd name="connsiteX136" fmla="*/ 221658 w 1739754"/>
                  <a:gd name="connsiteY136" fmla="*/ 601414 h 2673102"/>
                  <a:gd name="connsiteX137" fmla="*/ 288333 w 1739754"/>
                  <a:gd name="connsiteY137" fmla="*/ 515689 h 2673102"/>
                  <a:gd name="connsiteX138" fmla="*/ 412158 w 1739754"/>
                  <a:gd name="connsiteY138" fmla="*/ 406152 h 2673102"/>
                  <a:gd name="connsiteX139" fmla="*/ 535983 w 1739754"/>
                  <a:gd name="connsiteY139" fmla="*/ 291851 h 2673102"/>
                  <a:gd name="connsiteX140" fmla="*/ 640758 w 1739754"/>
                  <a:gd name="connsiteY140" fmla="*/ 229939 h 2673102"/>
                  <a:gd name="connsiteX141" fmla="*/ 733628 w 1739754"/>
                  <a:gd name="connsiteY141" fmla="*/ 168026 h 2673102"/>
                  <a:gd name="connsiteX142" fmla="*/ 978896 w 1739754"/>
                  <a:gd name="connsiteY142" fmla="*/ 63251 h 2673102"/>
                  <a:gd name="connsiteX143" fmla="*/ 1159871 w 1739754"/>
                  <a:gd name="connsiteY143" fmla="*/ 6102 h 2673102"/>
                  <a:gd name="connsiteX144" fmla="*/ 1202733 w 1739754"/>
                  <a:gd name="connsiteY14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55008 w 1739754"/>
                  <a:gd name="connsiteY46" fmla="*/ 1472952 h 2673102"/>
                  <a:gd name="connsiteX47" fmla="*/ 412158 w 1739754"/>
                  <a:gd name="connsiteY47" fmla="*/ 1468189 h 2673102"/>
                  <a:gd name="connsiteX48" fmla="*/ 416921 w 1739754"/>
                  <a:gd name="connsiteY48" fmla="*/ 1449139 h 2673102"/>
                  <a:gd name="connsiteX49" fmla="*/ 445496 w 1739754"/>
                  <a:gd name="connsiteY49" fmla="*/ 1439614 h 2673102"/>
                  <a:gd name="connsiteX50" fmla="*/ 545508 w 1739754"/>
                  <a:gd name="connsiteY50" fmla="*/ 1458664 h 2673102"/>
                  <a:gd name="connsiteX51" fmla="*/ 555033 w 1739754"/>
                  <a:gd name="connsiteY51" fmla="*/ 1482477 h 2673102"/>
                  <a:gd name="connsiteX52" fmla="*/ 564558 w 1739754"/>
                  <a:gd name="connsiteY52" fmla="*/ 1515814 h 2673102"/>
                  <a:gd name="connsiteX53" fmla="*/ 550271 w 1739754"/>
                  <a:gd name="connsiteY53" fmla="*/ 1534864 h 2673102"/>
                  <a:gd name="connsiteX54" fmla="*/ 550271 w 1739754"/>
                  <a:gd name="connsiteY54" fmla="*/ 1601539 h 2673102"/>
                  <a:gd name="connsiteX55" fmla="*/ 559796 w 1739754"/>
                  <a:gd name="connsiteY55" fmla="*/ 1620589 h 2673102"/>
                  <a:gd name="connsiteX56" fmla="*/ 626471 w 1739754"/>
                  <a:gd name="connsiteY56" fmla="*/ 1639639 h 2673102"/>
                  <a:gd name="connsiteX57" fmla="*/ 645521 w 1739754"/>
                  <a:gd name="connsiteY57" fmla="*/ 1592014 h 2673102"/>
                  <a:gd name="connsiteX58" fmla="*/ 702671 w 1739754"/>
                  <a:gd name="connsiteY58" fmla="*/ 1620589 h 2673102"/>
                  <a:gd name="connsiteX59" fmla="*/ 731246 w 1739754"/>
                  <a:gd name="connsiteY59" fmla="*/ 1630114 h 2673102"/>
                  <a:gd name="connsiteX60" fmla="*/ 783633 w 1739754"/>
                  <a:gd name="connsiteY60" fmla="*/ 1663452 h 2673102"/>
                  <a:gd name="connsiteX61" fmla="*/ 859833 w 1739754"/>
                  <a:gd name="connsiteY61" fmla="*/ 1687264 h 2673102"/>
                  <a:gd name="connsiteX62" fmla="*/ 878883 w 1739754"/>
                  <a:gd name="connsiteY62" fmla="*/ 1701552 h 2673102"/>
                  <a:gd name="connsiteX63" fmla="*/ 888408 w 1739754"/>
                  <a:gd name="connsiteY63" fmla="*/ 1739652 h 2673102"/>
                  <a:gd name="connsiteX64" fmla="*/ 897933 w 1739754"/>
                  <a:gd name="connsiteY64" fmla="*/ 1782514 h 2673102"/>
                  <a:gd name="connsiteX65" fmla="*/ 940796 w 1739754"/>
                  <a:gd name="connsiteY65" fmla="*/ 1892052 h 2673102"/>
                  <a:gd name="connsiteX66" fmla="*/ 950321 w 1739754"/>
                  <a:gd name="connsiteY66" fmla="*/ 1906339 h 2673102"/>
                  <a:gd name="connsiteX67" fmla="*/ 959846 w 1739754"/>
                  <a:gd name="connsiteY67" fmla="*/ 1939677 h 2673102"/>
                  <a:gd name="connsiteX68" fmla="*/ 974133 w 1739754"/>
                  <a:gd name="connsiteY68" fmla="*/ 1977777 h 2673102"/>
                  <a:gd name="connsiteX69" fmla="*/ 964608 w 1739754"/>
                  <a:gd name="connsiteY69" fmla="*/ 2082552 h 2673102"/>
                  <a:gd name="connsiteX70" fmla="*/ 955083 w 1739754"/>
                  <a:gd name="connsiteY70" fmla="*/ 2101602 h 2673102"/>
                  <a:gd name="connsiteX71" fmla="*/ 926508 w 1739754"/>
                  <a:gd name="connsiteY71" fmla="*/ 2144464 h 2673102"/>
                  <a:gd name="connsiteX72" fmla="*/ 907458 w 1739754"/>
                  <a:gd name="connsiteY72" fmla="*/ 2192089 h 2673102"/>
                  <a:gd name="connsiteX73" fmla="*/ 902696 w 1739754"/>
                  <a:gd name="connsiteY73" fmla="*/ 2211139 h 2673102"/>
                  <a:gd name="connsiteX74" fmla="*/ 893171 w 1739754"/>
                  <a:gd name="connsiteY74" fmla="*/ 2239714 h 2673102"/>
                  <a:gd name="connsiteX75" fmla="*/ 897933 w 1739754"/>
                  <a:gd name="connsiteY75" fmla="*/ 2287339 h 2673102"/>
                  <a:gd name="connsiteX76" fmla="*/ 893171 w 1739754"/>
                  <a:gd name="connsiteY76" fmla="*/ 2396877 h 2673102"/>
                  <a:gd name="connsiteX77" fmla="*/ 688383 w 1739754"/>
                  <a:gd name="connsiteY77" fmla="*/ 2449264 h 2673102"/>
                  <a:gd name="connsiteX78" fmla="*/ 655046 w 1739754"/>
                  <a:gd name="connsiteY78" fmla="*/ 2473077 h 2673102"/>
                  <a:gd name="connsiteX79" fmla="*/ 607421 w 1739754"/>
                  <a:gd name="connsiteY79" fmla="*/ 2511177 h 2673102"/>
                  <a:gd name="connsiteX80" fmla="*/ 574083 w 1739754"/>
                  <a:gd name="connsiteY80" fmla="*/ 2534989 h 2673102"/>
                  <a:gd name="connsiteX81" fmla="*/ 540746 w 1739754"/>
                  <a:gd name="connsiteY81" fmla="*/ 2554039 h 2673102"/>
                  <a:gd name="connsiteX82" fmla="*/ 497883 w 1739754"/>
                  <a:gd name="connsiteY82" fmla="*/ 2587377 h 2673102"/>
                  <a:gd name="connsiteX83" fmla="*/ 483596 w 1739754"/>
                  <a:gd name="connsiteY83" fmla="*/ 2601664 h 2673102"/>
                  <a:gd name="connsiteX84" fmla="*/ 459783 w 1739754"/>
                  <a:gd name="connsiteY84" fmla="*/ 2620714 h 2673102"/>
                  <a:gd name="connsiteX85" fmla="*/ 450258 w 1739754"/>
                  <a:gd name="connsiteY85" fmla="*/ 2635002 h 2673102"/>
                  <a:gd name="connsiteX86" fmla="*/ 416921 w 1739754"/>
                  <a:gd name="connsiteY86" fmla="*/ 2654052 h 2673102"/>
                  <a:gd name="connsiteX87" fmla="*/ 374058 w 1739754"/>
                  <a:gd name="connsiteY87" fmla="*/ 2673102 h 2673102"/>
                  <a:gd name="connsiteX88" fmla="*/ 359771 w 1739754"/>
                  <a:gd name="connsiteY88" fmla="*/ 2663577 h 2673102"/>
                  <a:gd name="connsiteX89" fmla="*/ 345483 w 1739754"/>
                  <a:gd name="connsiteY89" fmla="*/ 2635002 h 2673102"/>
                  <a:gd name="connsiteX90" fmla="*/ 335958 w 1739754"/>
                  <a:gd name="connsiteY90" fmla="*/ 2620714 h 2673102"/>
                  <a:gd name="connsiteX91" fmla="*/ 297858 w 1739754"/>
                  <a:gd name="connsiteY91" fmla="*/ 2611189 h 2673102"/>
                  <a:gd name="connsiteX92" fmla="*/ 278808 w 1739754"/>
                  <a:gd name="connsiteY92" fmla="*/ 2592139 h 2673102"/>
                  <a:gd name="connsiteX93" fmla="*/ 274046 w 1739754"/>
                  <a:gd name="connsiteY93" fmla="*/ 2573089 h 2673102"/>
                  <a:gd name="connsiteX94" fmla="*/ 235946 w 1739754"/>
                  <a:gd name="connsiteY94" fmla="*/ 2539752 h 2673102"/>
                  <a:gd name="connsiteX95" fmla="*/ 231183 w 1739754"/>
                  <a:gd name="connsiteY95" fmla="*/ 2525464 h 2673102"/>
                  <a:gd name="connsiteX96" fmla="*/ 226421 w 1739754"/>
                  <a:gd name="connsiteY96" fmla="*/ 2506414 h 2673102"/>
                  <a:gd name="connsiteX97" fmla="*/ 212133 w 1739754"/>
                  <a:gd name="connsiteY97" fmla="*/ 2492127 h 2673102"/>
                  <a:gd name="connsiteX98" fmla="*/ 154983 w 1739754"/>
                  <a:gd name="connsiteY98" fmla="*/ 2439739 h 2673102"/>
                  <a:gd name="connsiteX99" fmla="*/ 150221 w 1739754"/>
                  <a:gd name="connsiteY99" fmla="*/ 2415927 h 2673102"/>
                  <a:gd name="connsiteX100" fmla="*/ 135933 w 1739754"/>
                  <a:gd name="connsiteY100" fmla="*/ 2358777 h 2673102"/>
                  <a:gd name="connsiteX101" fmla="*/ 121646 w 1739754"/>
                  <a:gd name="connsiteY101" fmla="*/ 2315914 h 2673102"/>
                  <a:gd name="connsiteX102" fmla="*/ 107358 w 1739754"/>
                  <a:gd name="connsiteY102" fmla="*/ 2258764 h 2673102"/>
                  <a:gd name="connsiteX103" fmla="*/ 102596 w 1739754"/>
                  <a:gd name="connsiteY103" fmla="*/ 2234952 h 2673102"/>
                  <a:gd name="connsiteX104" fmla="*/ 93071 w 1739754"/>
                  <a:gd name="connsiteY104" fmla="*/ 2211139 h 2673102"/>
                  <a:gd name="connsiteX105" fmla="*/ 88308 w 1739754"/>
                  <a:gd name="connsiteY105" fmla="*/ 2187327 h 2673102"/>
                  <a:gd name="connsiteX106" fmla="*/ 78783 w 1739754"/>
                  <a:gd name="connsiteY106" fmla="*/ 2111127 h 2673102"/>
                  <a:gd name="connsiteX107" fmla="*/ 97833 w 1739754"/>
                  <a:gd name="connsiteY107" fmla="*/ 1944439 h 2673102"/>
                  <a:gd name="connsiteX108" fmla="*/ 107358 w 1739754"/>
                  <a:gd name="connsiteY108" fmla="*/ 1930152 h 2673102"/>
                  <a:gd name="connsiteX109" fmla="*/ 126408 w 1739754"/>
                  <a:gd name="connsiteY109" fmla="*/ 1901577 h 2673102"/>
                  <a:gd name="connsiteX110" fmla="*/ 135933 w 1739754"/>
                  <a:gd name="connsiteY110" fmla="*/ 1868239 h 2673102"/>
                  <a:gd name="connsiteX111" fmla="*/ 131171 w 1739754"/>
                  <a:gd name="connsiteY111" fmla="*/ 1825377 h 2673102"/>
                  <a:gd name="connsiteX112" fmla="*/ 112121 w 1739754"/>
                  <a:gd name="connsiteY112" fmla="*/ 1820614 h 2673102"/>
                  <a:gd name="connsiteX113" fmla="*/ 102596 w 1739754"/>
                  <a:gd name="connsiteY113" fmla="*/ 1806327 h 2673102"/>
                  <a:gd name="connsiteX114" fmla="*/ 145458 w 1739754"/>
                  <a:gd name="connsiteY114" fmla="*/ 1720602 h 2673102"/>
                  <a:gd name="connsiteX115" fmla="*/ 159746 w 1739754"/>
                  <a:gd name="connsiteY115" fmla="*/ 1715839 h 2673102"/>
                  <a:gd name="connsiteX116" fmla="*/ 174033 w 1739754"/>
                  <a:gd name="connsiteY116" fmla="*/ 1696789 h 2673102"/>
                  <a:gd name="connsiteX117" fmla="*/ 188321 w 1739754"/>
                  <a:gd name="connsiteY117" fmla="*/ 1687264 h 2673102"/>
                  <a:gd name="connsiteX118" fmla="*/ 202608 w 1739754"/>
                  <a:gd name="connsiteY118" fmla="*/ 1653927 h 2673102"/>
                  <a:gd name="connsiteX119" fmla="*/ 193083 w 1739754"/>
                  <a:gd name="connsiteY119" fmla="*/ 1606302 h 2673102"/>
                  <a:gd name="connsiteX120" fmla="*/ 164508 w 1739754"/>
                  <a:gd name="connsiteY120" fmla="*/ 1596777 h 2673102"/>
                  <a:gd name="connsiteX121" fmla="*/ 154983 w 1739754"/>
                  <a:gd name="connsiteY121" fmla="*/ 1549152 h 2673102"/>
                  <a:gd name="connsiteX122" fmla="*/ 150221 w 1739754"/>
                  <a:gd name="connsiteY122" fmla="*/ 1411039 h 2673102"/>
                  <a:gd name="connsiteX123" fmla="*/ 140696 w 1739754"/>
                  <a:gd name="connsiteY123" fmla="*/ 1377702 h 2673102"/>
                  <a:gd name="connsiteX124" fmla="*/ 121646 w 1739754"/>
                  <a:gd name="connsiteY124" fmla="*/ 1311027 h 2673102"/>
                  <a:gd name="connsiteX125" fmla="*/ 116883 w 1739754"/>
                  <a:gd name="connsiteY125" fmla="*/ 1258639 h 2673102"/>
                  <a:gd name="connsiteX126" fmla="*/ 107358 w 1739754"/>
                  <a:gd name="connsiteY126" fmla="*/ 1244352 h 2673102"/>
                  <a:gd name="connsiteX127" fmla="*/ 93071 w 1739754"/>
                  <a:gd name="connsiteY127" fmla="*/ 1196727 h 2673102"/>
                  <a:gd name="connsiteX128" fmla="*/ 78783 w 1739754"/>
                  <a:gd name="connsiteY128" fmla="*/ 1177677 h 2673102"/>
                  <a:gd name="connsiteX129" fmla="*/ 59733 w 1739754"/>
                  <a:gd name="connsiteY129" fmla="*/ 1139577 h 2673102"/>
                  <a:gd name="connsiteX130" fmla="*/ 50208 w 1739754"/>
                  <a:gd name="connsiteY130" fmla="*/ 1111002 h 2673102"/>
                  <a:gd name="connsiteX131" fmla="*/ 45446 w 1739754"/>
                  <a:gd name="connsiteY131" fmla="*/ 1096714 h 2673102"/>
                  <a:gd name="connsiteX132" fmla="*/ 21633 w 1739754"/>
                  <a:gd name="connsiteY132" fmla="*/ 1025277 h 2673102"/>
                  <a:gd name="connsiteX133" fmla="*/ 202 w 1739754"/>
                  <a:gd name="connsiteY133" fmla="*/ 980033 h 2673102"/>
                  <a:gd name="connsiteX134" fmla="*/ 14490 w 1739754"/>
                  <a:gd name="connsiteY134" fmla="*/ 930027 h 2673102"/>
                  <a:gd name="connsiteX135" fmla="*/ 69259 w 1739754"/>
                  <a:gd name="connsiteY135" fmla="*/ 810964 h 2673102"/>
                  <a:gd name="connsiteX136" fmla="*/ 221658 w 1739754"/>
                  <a:gd name="connsiteY136" fmla="*/ 601414 h 2673102"/>
                  <a:gd name="connsiteX137" fmla="*/ 288333 w 1739754"/>
                  <a:gd name="connsiteY137" fmla="*/ 515689 h 2673102"/>
                  <a:gd name="connsiteX138" fmla="*/ 412158 w 1739754"/>
                  <a:gd name="connsiteY138" fmla="*/ 406152 h 2673102"/>
                  <a:gd name="connsiteX139" fmla="*/ 535983 w 1739754"/>
                  <a:gd name="connsiteY139" fmla="*/ 291851 h 2673102"/>
                  <a:gd name="connsiteX140" fmla="*/ 640758 w 1739754"/>
                  <a:gd name="connsiteY140" fmla="*/ 229939 h 2673102"/>
                  <a:gd name="connsiteX141" fmla="*/ 733628 w 1739754"/>
                  <a:gd name="connsiteY141" fmla="*/ 168026 h 2673102"/>
                  <a:gd name="connsiteX142" fmla="*/ 978896 w 1739754"/>
                  <a:gd name="connsiteY142" fmla="*/ 63251 h 2673102"/>
                  <a:gd name="connsiteX143" fmla="*/ 1159871 w 1739754"/>
                  <a:gd name="connsiteY143" fmla="*/ 6102 h 2673102"/>
                  <a:gd name="connsiteX144" fmla="*/ 1202733 w 1739754"/>
                  <a:gd name="connsiteY14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412158 w 1739754"/>
                  <a:gd name="connsiteY46" fmla="*/ 1468189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64558 w 1739754"/>
                  <a:gd name="connsiteY51" fmla="*/ 1515814 h 2673102"/>
                  <a:gd name="connsiteX52" fmla="*/ 550271 w 1739754"/>
                  <a:gd name="connsiteY52" fmla="*/ 1534864 h 2673102"/>
                  <a:gd name="connsiteX53" fmla="*/ 550271 w 1739754"/>
                  <a:gd name="connsiteY53" fmla="*/ 1601539 h 2673102"/>
                  <a:gd name="connsiteX54" fmla="*/ 559796 w 1739754"/>
                  <a:gd name="connsiteY54" fmla="*/ 1620589 h 2673102"/>
                  <a:gd name="connsiteX55" fmla="*/ 626471 w 1739754"/>
                  <a:gd name="connsiteY55" fmla="*/ 1639639 h 2673102"/>
                  <a:gd name="connsiteX56" fmla="*/ 645521 w 1739754"/>
                  <a:gd name="connsiteY56" fmla="*/ 1592014 h 2673102"/>
                  <a:gd name="connsiteX57" fmla="*/ 702671 w 1739754"/>
                  <a:gd name="connsiteY57" fmla="*/ 1620589 h 2673102"/>
                  <a:gd name="connsiteX58" fmla="*/ 731246 w 1739754"/>
                  <a:gd name="connsiteY58" fmla="*/ 1630114 h 2673102"/>
                  <a:gd name="connsiteX59" fmla="*/ 783633 w 1739754"/>
                  <a:gd name="connsiteY59" fmla="*/ 1663452 h 2673102"/>
                  <a:gd name="connsiteX60" fmla="*/ 859833 w 1739754"/>
                  <a:gd name="connsiteY60" fmla="*/ 1687264 h 2673102"/>
                  <a:gd name="connsiteX61" fmla="*/ 878883 w 1739754"/>
                  <a:gd name="connsiteY61" fmla="*/ 1701552 h 2673102"/>
                  <a:gd name="connsiteX62" fmla="*/ 888408 w 1739754"/>
                  <a:gd name="connsiteY62" fmla="*/ 1739652 h 2673102"/>
                  <a:gd name="connsiteX63" fmla="*/ 897933 w 1739754"/>
                  <a:gd name="connsiteY63" fmla="*/ 1782514 h 2673102"/>
                  <a:gd name="connsiteX64" fmla="*/ 940796 w 1739754"/>
                  <a:gd name="connsiteY64" fmla="*/ 1892052 h 2673102"/>
                  <a:gd name="connsiteX65" fmla="*/ 950321 w 1739754"/>
                  <a:gd name="connsiteY65" fmla="*/ 1906339 h 2673102"/>
                  <a:gd name="connsiteX66" fmla="*/ 959846 w 1739754"/>
                  <a:gd name="connsiteY66" fmla="*/ 1939677 h 2673102"/>
                  <a:gd name="connsiteX67" fmla="*/ 974133 w 1739754"/>
                  <a:gd name="connsiteY67" fmla="*/ 1977777 h 2673102"/>
                  <a:gd name="connsiteX68" fmla="*/ 964608 w 1739754"/>
                  <a:gd name="connsiteY68" fmla="*/ 2082552 h 2673102"/>
                  <a:gd name="connsiteX69" fmla="*/ 955083 w 1739754"/>
                  <a:gd name="connsiteY69" fmla="*/ 2101602 h 2673102"/>
                  <a:gd name="connsiteX70" fmla="*/ 926508 w 1739754"/>
                  <a:gd name="connsiteY70" fmla="*/ 2144464 h 2673102"/>
                  <a:gd name="connsiteX71" fmla="*/ 907458 w 1739754"/>
                  <a:gd name="connsiteY71" fmla="*/ 2192089 h 2673102"/>
                  <a:gd name="connsiteX72" fmla="*/ 902696 w 1739754"/>
                  <a:gd name="connsiteY72" fmla="*/ 2211139 h 2673102"/>
                  <a:gd name="connsiteX73" fmla="*/ 893171 w 1739754"/>
                  <a:gd name="connsiteY73" fmla="*/ 2239714 h 2673102"/>
                  <a:gd name="connsiteX74" fmla="*/ 897933 w 1739754"/>
                  <a:gd name="connsiteY74" fmla="*/ 2287339 h 2673102"/>
                  <a:gd name="connsiteX75" fmla="*/ 893171 w 1739754"/>
                  <a:gd name="connsiteY75" fmla="*/ 2396877 h 2673102"/>
                  <a:gd name="connsiteX76" fmla="*/ 688383 w 1739754"/>
                  <a:gd name="connsiteY76" fmla="*/ 2449264 h 2673102"/>
                  <a:gd name="connsiteX77" fmla="*/ 655046 w 1739754"/>
                  <a:gd name="connsiteY77" fmla="*/ 2473077 h 2673102"/>
                  <a:gd name="connsiteX78" fmla="*/ 607421 w 1739754"/>
                  <a:gd name="connsiteY78" fmla="*/ 2511177 h 2673102"/>
                  <a:gd name="connsiteX79" fmla="*/ 574083 w 1739754"/>
                  <a:gd name="connsiteY79" fmla="*/ 2534989 h 2673102"/>
                  <a:gd name="connsiteX80" fmla="*/ 540746 w 1739754"/>
                  <a:gd name="connsiteY80" fmla="*/ 2554039 h 2673102"/>
                  <a:gd name="connsiteX81" fmla="*/ 497883 w 1739754"/>
                  <a:gd name="connsiteY81" fmla="*/ 2587377 h 2673102"/>
                  <a:gd name="connsiteX82" fmla="*/ 483596 w 1739754"/>
                  <a:gd name="connsiteY82" fmla="*/ 2601664 h 2673102"/>
                  <a:gd name="connsiteX83" fmla="*/ 459783 w 1739754"/>
                  <a:gd name="connsiteY83" fmla="*/ 2620714 h 2673102"/>
                  <a:gd name="connsiteX84" fmla="*/ 450258 w 1739754"/>
                  <a:gd name="connsiteY84" fmla="*/ 2635002 h 2673102"/>
                  <a:gd name="connsiteX85" fmla="*/ 416921 w 1739754"/>
                  <a:gd name="connsiteY85" fmla="*/ 2654052 h 2673102"/>
                  <a:gd name="connsiteX86" fmla="*/ 374058 w 1739754"/>
                  <a:gd name="connsiteY86" fmla="*/ 2673102 h 2673102"/>
                  <a:gd name="connsiteX87" fmla="*/ 359771 w 1739754"/>
                  <a:gd name="connsiteY87" fmla="*/ 2663577 h 2673102"/>
                  <a:gd name="connsiteX88" fmla="*/ 345483 w 1739754"/>
                  <a:gd name="connsiteY88" fmla="*/ 2635002 h 2673102"/>
                  <a:gd name="connsiteX89" fmla="*/ 335958 w 1739754"/>
                  <a:gd name="connsiteY89" fmla="*/ 2620714 h 2673102"/>
                  <a:gd name="connsiteX90" fmla="*/ 297858 w 1739754"/>
                  <a:gd name="connsiteY90" fmla="*/ 2611189 h 2673102"/>
                  <a:gd name="connsiteX91" fmla="*/ 278808 w 1739754"/>
                  <a:gd name="connsiteY91" fmla="*/ 2592139 h 2673102"/>
                  <a:gd name="connsiteX92" fmla="*/ 274046 w 1739754"/>
                  <a:gd name="connsiteY92" fmla="*/ 2573089 h 2673102"/>
                  <a:gd name="connsiteX93" fmla="*/ 235946 w 1739754"/>
                  <a:gd name="connsiteY93" fmla="*/ 2539752 h 2673102"/>
                  <a:gd name="connsiteX94" fmla="*/ 231183 w 1739754"/>
                  <a:gd name="connsiteY94" fmla="*/ 2525464 h 2673102"/>
                  <a:gd name="connsiteX95" fmla="*/ 226421 w 1739754"/>
                  <a:gd name="connsiteY95" fmla="*/ 2506414 h 2673102"/>
                  <a:gd name="connsiteX96" fmla="*/ 212133 w 1739754"/>
                  <a:gd name="connsiteY96" fmla="*/ 2492127 h 2673102"/>
                  <a:gd name="connsiteX97" fmla="*/ 154983 w 1739754"/>
                  <a:gd name="connsiteY97" fmla="*/ 2439739 h 2673102"/>
                  <a:gd name="connsiteX98" fmla="*/ 150221 w 1739754"/>
                  <a:gd name="connsiteY98" fmla="*/ 2415927 h 2673102"/>
                  <a:gd name="connsiteX99" fmla="*/ 135933 w 1739754"/>
                  <a:gd name="connsiteY99" fmla="*/ 2358777 h 2673102"/>
                  <a:gd name="connsiteX100" fmla="*/ 121646 w 1739754"/>
                  <a:gd name="connsiteY100" fmla="*/ 2315914 h 2673102"/>
                  <a:gd name="connsiteX101" fmla="*/ 107358 w 1739754"/>
                  <a:gd name="connsiteY101" fmla="*/ 2258764 h 2673102"/>
                  <a:gd name="connsiteX102" fmla="*/ 102596 w 1739754"/>
                  <a:gd name="connsiteY102" fmla="*/ 2234952 h 2673102"/>
                  <a:gd name="connsiteX103" fmla="*/ 93071 w 1739754"/>
                  <a:gd name="connsiteY103" fmla="*/ 2211139 h 2673102"/>
                  <a:gd name="connsiteX104" fmla="*/ 88308 w 1739754"/>
                  <a:gd name="connsiteY104" fmla="*/ 2187327 h 2673102"/>
                  <a:gd name="connsiteX105" fmla="*/ 78783 w 1739754"/>
                  <a:gd name="connsiteY105" fmla="*/ 2111127 h 2673102"/>
                  <a:gd name="connsiteX106" fmla="*/ 97833 w 1739754"/>
                  <a:gd name="connsiteY106" fmla="*/ 1944439 h 2673102"/>
                  <a:gd name="connsiteX107" fmla="*/ 107358 w 1739754"/>
                  <a:gd name="connsiteY107" fmla="*/ 1930152 h 2673102"/>
                  <a:gd name="connsiteX108" fmla="*/ 126408 w 1739754"/>
                  <a:gd name="connsiteY108" fmla="*/ 1901577 h 2673102"/>
                  <a:gd name="connsiteX109" fmla="*/ 135933 w 1739754"/>
                  <a:gd name="connsiteY109" fmla="*/ 1868239 h 2673102"/>
                  <a:gd name="connsiteX110" fmla="*/ 131171 w 1739754"/>
                  <a:gd name="connsiteY110" fmla="*/ 1825377 h 2673102"/>
                  <a:gd name="connsiteX111" fmla="*/ 112121 w 1739754"/>
                  <a:gd name="connsiteY111" fmla="*/ 1820614 h 2673102"/>
                  <a:gd name="connsiteX112" fmla="*/ 102596 w 1739754"/>
                  <a:gd name="connsiteY112" fmla="*/ 1806327 h 2673102"/>
                  <a:gd name="connsiteX113" fmla="*/ 145458 w 1739754"/>
                  <a:gd name="connsiteY113" fmla="*/ 1720602 h 2673102"/>
                  <a:gd name="connsiteX114" fmla="*/ 159746 w 1739754"/>
                  <a:gd name="connsiteY114" fmla="*/ 1715839 h 2673102"/>
                  <a:gd name="connsiteX115" fmla="*/ 174033 w 1739754"/>
                  <a:gd name="connsiteY115" fmla="*/ 1696789 h 2673102"/>
                  <a:gd name="connsiteX116" fmla="*/ 188321 w 1739754"/>
                  <a:gd name="connsiteY116" fmla="*/ 1687264 h 2673102"/>
                  <a:gd name="connsiteX117" fmla="*/ 202608 w 1739754"/>
                  <a:gd name="connsiteY117" fmla="*/ 1653927 h 2673102"/>
                  <a:gd name="connsiteX118" fmla="*/ 193083 w 1739754"/>
                  <a:gd name="connsiteY118" fmla="*/ 1606302 h 2673102"/>
                  <a:gd name="connsiteX119" fmla="*/ 164508 w 1739754"/>
                  <a:gd name="connsiteY119" fmla="*/ 1596777 h 2673102"/>
                  <a:gd name="connsiteX120" fmla="*/ 154983 w 1739754"/>
                  <a:gd name="connsiteY120" fmla="*/ 1549152 h 2673102"/>
                  <a:gd name="connsiteX121" fmla="*/ 150221 w 1739754"/>
                  <a:gd name="connsiteY121" fmla="*/ 1411039 h 2673102"/>
                  <a:gd name="connsiteX122" fmla="*/ 140696 w 1739754"/>
                  <a:gd name="connsiteY122" fmla="*/ 1377702 h 2673102"/>
                  <a:gd name="connsiteX123" fmla="*/ 121646 w 1739754"/>
                  <a:gd name="connsiteY123" fmla="*/ 1311027 h 2673102"/>
                  <a:gd name="connsiteX124" fmla="*/ 116883 w 1739754"/>
                  <a:gd name="connsiteY124" fmla="*/ 1258639 h 2673102"/>
                  <a:gd name="connsiteX125" fmla="*/ 107358 w 1739754"/>
                  <a:gd name="connsiteY125" fmla="*/ 1244352 h 2673102"/>
                  <a:gd name="connsiteX126" fmla="*/ 93071 w 1739754"/>
                  <a:gd name="connsiteY126" fmla="*/ 1196727 h 2673102"/>
                  <a:gd name="connsiteX127" fmla="*/ 78783 w 1739754"/>
                  <a:gd name="connsiteY127" fmla="*/ 1177677 h 2673102"/>
                  <a:gd name="connsiteX128" fmla="*/ 59733 w 1739754"/>
                  <a:gd name="connsiteY128" fmla="*/ 1139577 h 2673102"/>
                  <a:gd name="connsiteX129" fmla="*/ 50208 w 1739754"/>
                  <a:gd name="connsiteY129" fmla="*/ 1111002 h 2673102"/>
                  <a:gd name="connsiteX130" fmla="*/ 45446 w 1739754"/>
                  <a:gd name="connsiteY130" fmla="*/ 1096714 h 2673102"/>
                  <a:gd name="connsiteX131" fmla="*/ 21633 w 1739754"/>
                  <a:gd name="connsiteY131" fmla="*/ 1025277 h 2673102"/>
                  <a:gd name="connsiteX132" fmla="*/ 202 w 1739754"/>
                  <a:gd name="connsiteY132" fmla="*/ 980033 h 2673102"/>
                  <a:gd name="connsiteX133" fmla="*/ 14490 w 1739754"/>
                  <a:gd name="connsiteY133" fmla="*/ 930027 h 2673102"/>
                  <a:gd name="connsiteX134" fmla="*/ 69259 w 1739754"/>
                  <a:gd name="connsiteY134" fmla="*/ 810964 h 2673102"/>
                  <a:gd name="connsiteX135" fmla="*/ 221658 w 1739754"/>
                  <a:gd name="connsiteY135" fmla="*/ 601414 h 2673102"/>
                  <a:gd name="connsiteX136" fmla="*/ 288333 w 1739754"/>
                  <a:gd name="connsiteY136" fmla="*/ 515689 h 2673102"/>
                  <a:gd name="connsiteX137" fmla="*/ 412158 w 1739754"/>
                  <a:gd name="connsiteY137" fmla="*/ 406152 h 2673102"/>
                  <a:gd name="connsiteX138" fmla="*/ 535983 w 1739754"/>
                  <a:gd name="connsiteY138" fmla="*/ 291851 h 2673102"/>
                  <a:gd name="connsiteX139" fmla="*/ 640758 w 1739754"/>
                  <a:gd name="connsiteY139" fmla="*/ 229939 h 2673102"/>
                  <a:gd name="connsiteX140" fmla="*/ 733628 w 1739754"/>
                  <a:gd name="connsiteY140" fmla="*/ 168026 h 2673102"/>
                  <a:gd name="connsiteX141" fmla="*/ 978896 w 1739754"/>
                  <a:gd name="connsiteY141" fmla="*/ 63251 h 2673102"/>
                  <a:gd name="connsiteX142" fmla="*/ 1159871 w 1739754"/>
                  <a:gd name="connsiteY142" fmla="*/ 6102 h 2673102"/>
                  <a:gd name="connsiteX143" fmla="*/ 1202733 w 1739754"/>
                  <a:gd name="connsiteY14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64558 w 1739754"/>
                  <a:gd name="connsiteY51" fmla="*/ 1515814 h 2673102"/>
                  <a:gd name="connsiteX52" fmla="*/ 550271 w 1739754"/>
                  <a:gd name="connsiteY52" fmla="*/ 1534864 h 2673102"/>
                  <a:gd name="connsiteX53" fmla="*/ 550271 w 1739754"/>
                  <a:gd name="connsiteY53" fmla="*/ 1601539 h 2673102"/>
                  <a:gd name="connsiteX54" fmla="*/ 559796 w 1739754"/>
                  <a:gd name="connsiteY54" fmla="*/ 1620589 h 2673102"/>
                  <a:gd name="connsiteX55" fmla="*/ 626471 w 1739754"/>
                  <a:gd name="connsiteY55" fmla="*/ 1639639 h 2673102"/>
                  <a:gd name="connsiteX56" fmla="*/ 645521 w 1739754"/>
                  <a:gd name="connsiteY56" fmla="*/ 1592014 h 2673102"/>
                  <a:gd name="connsiteX57" fmla="*/ 702671 w 1739754"/>
                  <a:gd name="connsiteY57" fmla="*/ 1620589 h 2673102"/>
                  <a:gd name="connsiteX58" fmla="*/ 731246 w 1739754"/>
                  <a:gd name="connsiteY58" fmla="*/ 1630114 h 2673102"/>
                  <a:gd name="connsiteX59" fmla="*/ 783633 w 1739754"/>
                  <a:gd name="connsiteY59" fmla="*/ 1663452 h 2673102"/>
                  <a:gd name="connsiteX60" fmla="*/ 859833 w 1739754"/>
                  <a:gd name="connsiteY60" fmla="*/ 1687264 h 2673102"/>
                  <a:gd name="connsiteX61" fmla="*/ 878883 w 1739754"/>
                  <a:gd name="connsiteY61" fmla="*/ 1701552 h 2673102"/>
                  <a:gd name="connsiteX62" fmla="*/ 888408 w 1739754"/>
                  <a:gd name="connsiteY62" fmla="*/ 1739652 h 2673102"/>
                  <a:gd name="connsiteX63" fmla="*/ 897933 w 1739754"/>
                  <a:gd name="connsiteY63" fmla="*/ 1782514 h 2673102"/>
                  <a:gd name="connsiteX64" fmla="*/ 940796 w 1739754"/>
                  <a:gd name="connsiteY64" fmla="*/ 1892052 h 2673102"/>
                  <a:gd name="connsiteX65" fmla="*/ 950321 w 1739754"/>
                  <a:gd name="connsiteY65" fmla="*/ 1906339 h 2673102"/>
                  <a:gd name="connsiteX66" fmla="*/ 959846 w 1739754"/>
                  <a:gd name="connsiteY66" fmla="*/ 1939677 h 2673102"/>
                  <a:gd name="connsiteX67" fmla="*/ 974133 w 1739754"/>
                  <a:gd name="connsiteY67" fmla="*/ 1977777 h 2673102"/>
                  <a:gd name="connsiteX68" fmla="*/ 964608 w 1739754"/>
                  <a:gd name="connsiteY68" fmla="*/ 2082552 h 2673102"/>
                  <a:gd name="connsiteX69" fmla="*/ 955083 w 1739754"/>
                  <a:gd name="connsiteY69" fmla="*/ 2101602 h 2673102"/>
                  <a:gd name="connsiteX70" fmla="*/ 926508 w 1739754"/>
                  <a:gd name="connsiteY70" fmla="*/ 2144464 h 2673102"/>
                  <a:gd name="connsiteX71" fmla="*/ 907458 w 1739754"/>
                  <a:gd name="connsiteY71" fmla="*/ 2192089 h 2673102"/>
                  <a:gd name="connsiteX72" fmla="*/ 902696 w 1739754"/>
                  <a:gd name="connsiteY72" fmla="*/ 2211139 h 2673102"/>
                  <a:gd name="connsiteX73" fmla="*/ 893171 w 1739754"/>
                  <a:gd name="connsiteY73" fmla="*/ 2239714 h 2673102"/>
                  <a:gd name="connsiteX74" fmla="*/ 897933 w 1739754"/>
                  <a:gd name="connsiteY74" fmla="*/ 2287339 h 2673102"/>
                  <a:gd name="connsiteX75" fmla="*/ 893171 w 1739754"/>
                  <a:gd name="connsiteY75" fmla="*/ 2396877 h 2673102"/>
                  <a:gd name="connsiteX76" fmla="*/ 688383 w 1739754"/>
                  <a:gd name="connsiteY76" fmla="*/ 2449264 h 2673102"/>
                  <a:gd name="connsiteX77" fmla="*/ 655046 w 1739754"/>
                  <a:gd name="connsiteY77" fmla="*/ 2473077 h 2673102"/>
                  <a:gd name="connsiteX78" fmla="*/ 607421 w 1739754"/>
                  <a:gd name="connsiteY78" fmla="*/ 2511177 h 2673102"/>
                  <a:gd name="connsiteX79" fmla="*/ 574083 w 1739754"/>
                  <a:gd name="connsiteY79" fmla="*/ 2534989 h 2673102"/>
                  <a:gd name="connsiteX80" fmla="*/ 540746 w 1739754"/>
                  <a:gd name="connsiteY80" fmla="*/ 2554039 h 2673102"/>
                  <a:gd name="connsiteX81" fmla="*/ 497883 w 1739754"/>
                  <a:gd name="connsiteY81" fmla="*/ 2587377 h 2673102"/>
                  <a:gd name="connsiteX82" fmla="*/ 483596 w 1739754"/>
                  <a:gd name="connsiteY82" fmla="*/ 2601664 h 2673102"/>
                  <a:gd name="connsiteX83" fmla="*/ 459783 w 1739754"/>
                  <a:gd name="connsiteY83" fmla="*/ 2620714 h 2673102"/>
                  <a:gd name="connsiteX84" fmla="*/ 450258 w 1739754"/>
                  <a:gd name="connsiteY84" fmla="*/ 2635002 h 2673102"/>
                  <a:gd name="connsiteX85" fmla="*/ 416921 w 1739754"/>
                  <a:gd name="connsiteY85" fmla="*/ 2654052 h 2673102"/>
                  <a:gd name="connsiteX86" fmla="*/ 374058 w 1739754"/>
                  <a:gd name="connsiteY86" fmla="*/ 2673102 h 2673102"/>
                  <a:gd name="connsiteX87" fmla="*/ 359771 w 1739754"/>
                  <a:gd name="connsiteY87" fmla="*/ 2663577 h 2673102"/>
                  <a:gd name="connsiteX88" fmla="*/ 345483 w 1739754"/>
                  <a:gd name="connsiteY88" fmla="*/ 2635002 h 2673102"/>
                  <a:gd name="connsiteX89" fmla="*/ 335958 w 1739754"/>
                  <a:gd name="connsiteY89" fmla="*/ 2620714 h 2673102"/>
                  <a:gd name="connsiteX90" fmla="*/ 297858 w 1739754"/>
                  <a:gd name="connsiteY90" fmla="*/ 2611189 h 2673102"/>
                  <a:gd name="connsiteX91" fmla="*/ 278808 w 1739754"/>
                  <a:gd name="connsiteY91" fmla="*/ 2592139 h 2673102"/>
                  <a:gd name="connsiteX92" fmla="*/ 274046 w 1739754"/>
                  <a:gd name="connsiteY92" fmla="*/ 2573089 h 2673102"/>
                  <a:gd name="connsiteX93" fmla="*/ 235946 w 1739754"/>
                  <a:gd name="connsiteY93" fmla="*/ 2539752 h 2673102"/>
                  <a:gd name="connsiteX94" fmla="*/ 231183 w 1739754"/>
                  <a:gd name="connsiteY94" fmla="*/ 2525464 h 2673102"/>
                  <a:gd name="connsiteX95" fmla="*/ 226421 w 1739754"/>
                  <a:gd name="connsiteY95" fmla="*/ 2506414 h 2673102"/>
                  <a:gd name="connsiteX96" fmla="*/ 212133 w 1739754"/>
                  <a:gd name="connsiteY96" fmla="*/ 2492127 h 2673102"/>
                  <a:gd name="connsiteX97" fmla="*/ 154983 w 1739754"/>
                  <a:gd name="connsiteY97" fmla="*/ 2439739 h 2673102"/>
                  <a:gd name="connsiteX98" fmla="*/ 150221 w 1739754"/>
                  <a:gd name="connsiteY98" fmla="*/ 2415927 h 2673102"/>
                  <a:gd name="connsiteX99" fmla="*/ 135933 w 1739754"/>
                  <a:gd name="connsiteY99" fmla="*/ 2358777 h 2673102"/>
                  <a:gd name="connsiteX100" fmla="*/ 121646 w 1739754"/>
                  <a:gd name="connsiteY100" fmla="*/ 2315914 h 2673102"/>
                  <a:gd name="connsiteX101" fmla="*/ 107358 w 1739754"/>
                  <a:gd name="connsiteY101" fmla="*/ 2258764 h 2673102"/>
                  <a:gd name="connsiteX102" fmla="*/ 102596 w 1739754"/>
                  <a:gd name="connsiteY102" fmla="*/ 2234952 h 2673102"/>
                  <a:gd name="connsiteX103" fmla="*/ 93071 w 1739754"/>
                  <a:gd name="connsiteY103" fmla="*/ 2211139 h 2673102"/>
                  <a:gd name="connsiteX104" fmla="*/ 88308 w 1739754"/>
                  <a:gd name="connsiteY104" fmla="*/ 2187327 h 2673102"/>
                  <a:gd name="connsiteX105" fmla="*/ 78783 w 1739754"/>
                  <a:gd name="connsiteY105" fmla="*/ 2111127 h 2673102"/>
                  <a:gd name="connsiteX106" fmla="*/ 97833 w 1739754"/>
                  <a:gd name="connsiteY106" fmla="*/ 1944439 h 2673102"/>
                  <a:gd name="connsiteX107" fmla="*/ 107358 w 1739754"/>
                  <a:gd name="connsiteY107" fmla="*/ 1930152 h 2673102"/>
                  <a:gd name="connsiteX108" fmla="*/ 126408 w 1739754"/>
                  <a:gd name="connsiteY108" fmla="*/ 1901577 h 2673102"/>
                  <a:gd name="connsiteX109" fmla="*/ 135933 w 1739754"/>
                  <a:gd name="connsiteY109" fmla="*/ 1868239 h 2673102"/>
                  <a:gd name="connsiteX110" fmla="*/ 131171 w 1739754"/>
                  <a:gd name="connsiteY110" fmla="*/ 1825377 h 2673102"/>
                  <a:gd name="connsiteX111" fmla="*/ 112121 w 1739754"/>
                  <a:gd name="connsiteY111" fmla="*/ 1820614 h 2673102"/>
                  <a:gd name="connsiteX112" fmla="*/ 102596 w 1739754"/>
                  <a:gd name="connsiteY112" fmla="*/ 1806327 h 2673102"/>
                  <a:gd name="connsiteX113" fmla="*/ 145458 w 1739754"/>
                  <a:gd name="connsiteY113" fmla="*/ 1720602 h 2673102"/>
                  <a:gd name="connsiteX114" fmla="*/ 159746 w 1739754"/>
                  <a:gd name="connsiteY114" fmla="*/ 1715839 h 2673102"/>
                  <a:gd name="connsiteX115" fmla="*/ 174033 w 1739754"/>
                  <a:gd name="connsiteY115" fmla="*/ 1696789 h 2673102"/>
                  <a:gd name="connsiteX116" fmla="*/ 188321 w 1739754"/>
                  <a:gd name="connsiteY116" fmla="*/ 1687264 h 2673102"/>
                  <a:gd name="connsiteX117" fmla="*/ 202608 w 1739754"/>
                  <a:gd name="connsiteY117" fmla="*/ 1653927 h 2673102"/>
                  <a:gd name="connsiteX118" fmla="*/ 193083 w 1739754"/>
                  <a:gd name="connsiteY118" fmla="*/ 1606302 h 2673102"/>
                  <a:gd name="connsiteX119" fmla="*/ 164508 w 1739754"/>
                  <a:gd name="connsiteY119" fmla="*/ 1596777 h 2673102"/>
                  <a:gd name="connsiteX120" fmla="*/ 154983 w 1739754"/>
                  <a:gd name="connsiteY120" fmla="*/ 1549152 h 2673102"/>
                  <a:gd name="connsiteX121" fmla="*/ 150221 w 1739754"/>
                  <a:gd name="connsiteY121" fmla="*/ 1411039 h 2673102"/>
                  <a:gd name="connsiteX122" fmla="*/ 140696 w 1739754"/>
                  <a:gd name="connsiteY122" fmla="*/ 1377702 h 2673102"/>
                  <a:gd name="connsiteX123" fmla="*/ 121646 w 1739754"/>
                  <a:gd name="connsiteY123" fmla="*/ 1311027 h 2673102"/>
                  <a:gd name="connsiteX124" fmla="*/ 116883 w 1739754"/>
                  <a:gd name="connsiteY124" fmla="*/ 1258639 h 2673102"/>
                  <a:gd name="connsiteX125" fmla="*/ 107358 w 1739754"/>
                  <a:gd name="connsiteY125" fmla="*/ 1244352 h 2673102"/>
                  <a:gd name="connsiteX126" fmla="*/ 93071 w 1739754"/>
                  <a:gd name="connsiteY126" fmla="*/ 1196727 h 2673102"/>
                  <a:gd name="connsiteX127" fmla="*/ 78783 w 1739754"/>
                  <a:gd name="connsiteY127" fmla="*/ 1177677 h 2673102"/>
                  <a:gd name="connsiteX128" fmla="*/ 59733 w 1739754"/>
                  <a:gd name="connsiteY128" fmla="*/ 1139577 h 2673102"/>
                  <a:gd name="connsiteX129" fmla="*/ 50208 w 1739754"/>
                  <a:gd name="connsiteY129" fmla="*/ 1111002 h 2673102"/>
                  <a:gd name="connsiteX130" fmla="*/ 45446 w 1739754"/>
                  <a:gd name="connsiteY130" fmla="*/ 1096714 h 2673102"/>
                  <a:gd name="connsiteX131" fmla="*/ 21633 w 1739754"/>
                  <a:gd name="connsiteY131" fmla="*/ 1025277 h 2673102"/>
                  <a:gd name="connsiteX132" fmla="*/ 202 w 1739754"/>
                  <a:gd name="connsiteY132" fmla="*/ 980033 h 2673102"/>
                  <a:gd name="connsiteX133" fmla="*/ 14490 w 1739754"/>
                  <a:gd name="connsiteY133" fmla="*/ 930027 h 2673102"/>
                  <a:gd name="connsiteX134" fmla="*/ 69259 w 1739754"/>
                  <a:gd name="connsiteY134" fmla="*/ 810964 h 2673102"/>
                  <a:gd name="connsiteX135" fmla="*/ 221658 w 1739754"/>
                  <a:gd name="connsiteY135" fmla="*/ 601414 h 2673102"/>
                  <a:gd name="connsiteX136" fmla="*/ 288333 w 1739754"/>
                  <a:gd name="connsiteY136" fmla="*/ 515689 h 2673102"/>
                  <a:gd name="connsiteX137" fmla="*/ 412158 w 1739754"/>
                  <a:gd name="connsiteY137" fmla="*/ 406152 h 2673102"/>
                  <a:gd name="connsiteX138" fmla="*/ 535983 w 1739754"/>
                  <a:gd name="connsiteY138" fmla="*/ 291851 h 2673102"/>
                  <a:gd name="connsiteX139" fmla="*/ 640758 w 1739754"/>
                  <a:gd name="connsiteY139" fmla="*/ 229939 h 2673102"/>
                  <a:gd name="connsiteX140" fmla="*/ 733628 w 1739754"/>
                  <a:gd name="connsiteY140" fmla="*/ 168026 h 2673102"/>
                  <a:gd name="connsiteX141" fmla="*/ 978896 w 1739754"/>
                  <a:gd name="connsiteY141" fmla="*/ 63251 h 2673102"/>
                  <a:gd name="connsiteX142" fmla="*/ 1159871 w 1739754"/>
                  <a:gd name="connsiteY142" fmla="*/ 6102 h 2673102"/>
                  <a:gd name="connsiteX143" fmla="*/ 1202733 w 1739754"/>
                  <a:gd name="connsiteY14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16883 w 1739754"/>
                  <a:gd name="connsiteY123" fmla="*/ 1258639 h 2673102"/>
                  <a:gd name="connsiteX124" fmla="*/ 107358 w 1739754"/>
                  <a:gd name="connsiteY124" fmla="*/ 1244352 h 2673102"/>
                  <a:gd name="connsiteX125" fmla="*/ 93071 w 1739754"/>
                  <a:gd name="connsiteY125" fmla="*/ 1196727 h 2673102"/>
                  <a:gd name="connsiteX126" fmla="*/ 78783 w 1739754"/>
                  <a:gd name="connsiteY126" fmla="*/ 1177677 h 2673102"/>
                  <a:gd name="connsiteX127" fmla="*/ 59733 w 1739754"/>
                  <a:gd name="connsiteY127" fmla="*/ 1139577 h 2673102"/>
                  <a:gd name="connsiteX128" fmla="*/ 50208 w 1739754"/>
                  <a:gd name="connsiteY128" fmla="*/ 1111002 h 2673102"/>
                  <a:gd name="connsiteX129" fmla="*/ 45446 w 1739754"/>
                  <a:gd name="connsiteY129" fmla="*/ 1096714 h 2673102"/>
                  <a:gd name="connsiteX130" fmla="*/ 21633 w 1739754"/>
                  <a:gd name="connsiteY130" fmla="*/ 1025277 h 2673102"/>
                  <a:gd name="connsiteX131" fmla="*/ 202 w 1739754"/>
                  <a:gd name="connsiteY131" fmla="*/ 980033 h 2673102"/>
                  <a:gd name="connsiteX132" fmla="*/ 14490 w 1739754"/>
                  <a:gd name="connsiteY132" fmla="*/ 930027 h 2673102"/>
                  <a:gd name="connsiteX133" fmla="*/ 69259 w 1739754"/>
                  <a:gd name="connsiteY133" fmla="*/ 810964 h 2673102"/>
                  <a:gd name="connsiteX134" fmla="*/ 221658 w 1739754"/>
                  <a:gd name="connsiteY134" fmla="*/ 601414 h 2673102"/>
                  <a:gd name="connsiteX135" fmla="*/ 288333 w 1739754"/>
                  <a:gd name="connsiteY135" fmla="*/ 515689 h 2673102"/>
                  <a:gd name="connsiteX136" fmla="*/ 412158 w 1739754"/>
                  <a:gd name="connsiteY136" fmla="*/ 406152 h 2673102"/>
                  <a:gd name="connsiteX137" fmla="*/ 535983 w 1739754"/>
                  <a:gd name="connsiteY137" fmla="*/ 291851 h 2673102"/>
                  <a:gd name="connsiteX138" fmla="*/ 640758 w 1739754"/>
                  <a:gd name="connsiteY138" fmla="*/ 229939 h 2673102"/>
                  <a:gd name="connsiteX139" fmla="*/ 733628 w 1739754"/>
                  <a:gd name="connsiteY139" fmla="*/ 168026 h 2673102"/>
                  <a:gd name="connsiteX140" fmla="*/ 978896 w 1739754"/>
                  <a:gd name="connsiteY140" fmla="*/ 63251 h 2673102"/>
                  <a:gd name="connsiteX141" fmla="*/ 1159871 w 1739754"/>
                  <a:gd name="connsiteY141" fmla="*/ 6102 h 2673102"/>
                  <a:gd name="connsiteX142" fmla="*/ 1202733 w 1739754"/>
                  <a:gd name="connsiteY14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93071 w 1739754"/>
                  <a:gd name="connsiteY124" fmla="*/ 1196727 h 2673102"/>
                  <a:gd name="connsiteX125" fmla="*/ 78783 w 1739754"/>
                  <a:gd name="connsiteY125" fmla="*/ 1177677 h 2673102"/>
                  <a:gd name="connsiteX126" fmla="*/ 59733 w 1739754"/>
                  <a:gd name="connsiteY126" fmla="*/ 1139577 h 2673102"/>
                  <a:gd name="connsiteX127" fmla="*/ 50208 w 1739754"/>
                  <a:gd name="connsiteY127" fmla="*/ 1111002 h 2673102"/>
                  <a:gd name="connsiteX128" fmla="*/ 45446 w 1739754"/>
                  <a:gd name="connsiteY128" fmla="*/ 1096714 h 2673102"/>
                  <a:gd name="connsiteX129" fmla="*/ 21633 w 1739754"/>
                  <a:gd name="connsiteY129" fmla="*/ 1025277 h 2673102"/>
                  <a:gd name="connsiteX130" fmla="*/ 202 w 1739754"/>
                  <a:gd name="connsiteY130" fmla="*/ 980033 h 2673102"/>
                  <a:gd name="connsiteX131" fmla="*/ 14490 w 1739754"/>
                  <a:gd name="connsiteY131" fmla="*/ 930027 h 2673102"/>
                  <a:gd name="connsiteX132" fmla="*/ 69259 w 1739754"/>
                  <a:gd name="connsiteY132" fmla="*/ 810964 h 2673102"/>
                  <a:gd name="connsiteX133" fmla="*/ 221658 w 1739754"/>
                  <a:gd name="connsiteY133" fmla="*/ 601414 h 2673102"/>
                  <a:gd name="connsiteX134" fmla="*/ 288333 w 1739754"/>
                  <a:gd name="connsiteY134" fmla="*/ 515689 h 2673102"/>
                  <a:gd name="connsiteX135" fmla="*/ 412158 w 1739754"/>
                  <a:gd name="connsiteY135" fmla="*/ 406152 h 2673102"/>
                  <a:gd name="connsiteX136" fmla="*/ 535983 w 1739754"/>
                  <a:gd name="connsiteY136" fmla="*/ 291851 h 2673102"/>
                  <a:gd name="connsiteX137" fmla="*/ 640758 w 1739754"/>
                  <a:gd name="connsiteY137" fmla="*/ 229939 h 2673102"/>
                  <a:gd name="connsiteX138" fmla="*/ 733628 w 1739754"/>
                  <a:gd name="connsiteY138" fmla="*/ 168026 h 2673102"/>
                  <a:gd name="connsiteX139" fmla="*/ 978896 w 1739754"/>
                  <a:gd name="connsiteY139" fmla="*/ 63251 h 2673102"/>
                  <a:gd name="connsiteX140" fmla="*/ 1159871 w 1739754"/>
                  <a:gd name="connsiteY140" fmla="*/ 6102 h 2673102"/>
                  <a:gd name="connsiteX141" fmla="*/ 1202733 w 1739754"/>
                  <a:gd name="connsiteY14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78783 w 1739754"/>
                  <a:gd name="connsiteY124" fmla="*/ 1177677 h 2673102"/>
                  <a:gd name="connsiteX125" fmla="*/ 59733 w 1739754"/>
                  <a:gd name="connsiteY125" fmla="*/ 1139577 h 2673102"/>
                  <a:gd name="connsiteX126" fmla="*/ 50208 w 1739754"/>
                  <a:gd name="connsiteY126" fmla="*/ 1111002 h 2673102"/>
                  <a:gd name="connsiteX127" fmla="*/ 45446 w 1739754"/>
                  <a:gd name="connsiteY127" fmla="*/ 1096714 h 2673102"/>
                  <a:gd name="connsiteX128" fmla="*/ 21633 w 1739754"/>
                  <a:gd name="connsiteY128" fmla="*/ 1025277 h 2673102"/>
                  <a:gd name="connsiteX129" fmla="*/ 202 w 1739754"/>
                  <a:gd name="connsiteY129" fmla="*/ 980033 h 2673102"/>
                  <a:gd name="connsiteX130" fmla="*/ 14490 w 1739754"/>
                  <a:gd name="connsiteY130" fmla="*/ 930027 h 2673102"/>
                  <a:gd name="connsiteX131" fmla="*/ 69259 w 1739754"/>
                  <a:gd name="connsiteY131" fmla="*/ 810964 h 2673102"/>
                  <a:gd name="connsiteX132" fmla="*/ 221658 w 1739754"/>
                  <a:gd name="connsiteY132" fmla="*/ 601414 h 2673102"/>
                  <a:gd name="connsiteX133" fmla="*/ 288333 w 1739754"/>
                  <a:gd name="connsiteY133" fmla="*/ 515689 h 2673102"/>
                  <a:gd name="connsiteX134" fmla="*/ 412158 w 1739754"/>
                  <a:gd name="connsiteY134" fmla="*/ 406152 h 2673102"/>
                  <a:gd name="connsiteX135" fmla="*/ 535983 w 1739754"/>
                  <a:gd name="connsiteY135" fmla="*/ 291851 h 2673102"/>
                  <a:gd name="connsiteX136" fmla="*/ 640758 w 1739754"/>
                  <a:gd name="connsiteY136" fmla="*/ 229939 h 2673102"/>
                  <a:gd name="connsiteX137" fmla="*/ 733628 w 1739754"/>
                  <a:gd name="connsiteY137" fmla="*/ 168026 h 2673102"/>
                  <a:gd name="connsiteX138" fmla="*/ 978896 w 1739754"/>
                  <a:gd name="connsiteY138" fmla="*/ 63251 h 2673102"/>
                  <a:gd name="connsiteX139" fmla="*/ 1159871 w 1739754"/>
                  <a:gd name="connsiteY139" fmla="*/ 6102 h 2673102"/>
                  <a:gd name="connsiteX140" fmla="*/ 1202733 w 1739754"/>
                  <a:gd name="connsiteY14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78783 w 1739754"/>
                  <a:gd name="connsiteY124" fmla="*/ 1177677 h 2673102"/>
                  <a:gd name="connsiteX125" fmla="*/ 59733 w 1739754"/>
                  <a:gd name="connsiteY125" fmla="*/ 1139577 h 2673102"/>
                  <a:gd name="connsiteX126" fmla="*/ 45446 w 1739754"/>
                  <a:gd name="connsiteY126" fmla="*/ 1096714 h 2673102"/>
                  <a:gd name="connsiteX127" fmla="*/ 21633 w 1739754"/>
                  <a:gd name="connsiteY127" fmla="*/ 1025277 h 2673102"/>
                  <a:gd name="connsiteX128" fmla="*/ 202 w 1739754"/>
                  <a:gd name="connsiteY128" fmla="*/ 980033 h 2673102"/>
                  <a:gd name="connsiteX129" fmla="*/ 14490 w 1739754"/>
                  <a:gd name="connsiteY129" fmla="*/ 930027 h 2673102"/>
                  <a:gd name="connsiteX130" fmla="*/ 69259 w 1739754"/>
                  <a:gd name="connsiteY130" fmla="*/ 810964 h 2673102"/>
                  <a:gd name="connsiteX131" fmla="*/ 221658 w 1739754"/>
                  <a:gd name="connsiteY131" fmla="*/ 601414 h 2673102"/>
                  <a:gd name="connsiteX132" fmla="*/ 288333 w 1739754"/>
                  <a:gd name="connsiteY132" fmla="*/ 515689 h 2673102"/>
                  <a:gd name="connsiteX133" fmla="*/ 412158 w 1739754"/>
                  <a:gd name="connsiteY133" fmla="*/ 406152 h 2673102"/>
                  <a:gd name="connsiteX134" fmla="*/ 535983 w 1739754"/>
                  <a:gd name="connsiteY134" fmla="*/ 291851 h 2673102"/>
                  <a:gd name="connsiteX135" fmla="*/ 640758 w 1739754"/>
                  <a:gd name="connsiteY135" fmla="*/ 229939 h 2673102"/>
                  <a:gd name="connsiteX136" fmla="*/ 733628 w 1739754"/>
                  <a:gd name="connsiteY136" fmla="*/ 168026 h 2673102"/>
                  <a:gd name="connsiteX137" fmla="*/ 978896 w 1739754"/>
                  <a:gd name="connsiteY137" fmla="*/ 63251 h 2673102"/>
                  <a:gd name="connsiteX138" fmla="*/ 1159871 w 1739754"/>
                  <a:gd name="connsiteY138" fmla="*/ 6102 h 2673102"/>
                  <a:gd name="connsiteX139" fmla="*/ 1202733 w 1739754"/>
                  <a:gd name="connsiteY13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78783 w 1739754"/>
                  <a:gd name="connsiteY124" fmla="*/ 1177677 h 2673102"/>
                  <a:gd name="connsiteX125" fmla="*/ 45446 w 1739754"/>
                  <a:gd name="connsiteY125" fmla="*/ 1096714 h 2673102"/>
                  <a:gd name="connsiteX126" fmla="*/ 21633 w 1739754"/>
                  <a:gd name="connsiteY126" fmla="*/ 1025277 h 2673102"/>
                  <a:gd name="connsiteX127" fmla="*/ 202 w 1739754"/>
                  <a:gd name="connsiteY127" fmla="*/ 980033 h 2673102"/>
                  <a:gd name="connsiteX128" fmla="*/ 14490 w 1739754"/>
                  <a:gd name="connsiteY128" fmla="*/ 930027 h 2673102"/>
                  <a:gd name="connsiteX129" fmla="*/ 69259 w 1739754"/>
                  <a:gd name="connsiteY129" fmla="*/ 810964 h 2673102"/>
                  <a:gd name="connsiteX130" fmla="*/ 221658 w 1739754"/>
                  <a:gd name="connsiteY130" fmla="*/ 601414 h 2673102"/>
                  <a:gd name="connsiteX131" fmla="*/ 288333 w 1739754"/>
                  <a:gd name="connsiteY131" fmla="*/ 515689 h 2673102"/>
                  <a:gd name="connsiteX132" fmla="*/ 412158 w 1739754"/>
                  <a:gd name="connsiteY132" fmla="*/ 406152 h 2673102"/>
                  <a:gd name="connsiteX133" fmla="*/ 535983 w 1739754"/>
                  <a:gd name="connsiteY133" fmla="*/ 291851 h 2673102"/>
                  <a:gd name="connsiteX134" fmla="*/ 640758 w 1739754"/>
                  <a:gd name="connsiteY134" fmla="*/ 229939 h 2673102"/>
                  <a:gd name="connsiteX135" fmla="*/ 733628 w 1739754"/>
                  <a:gd name="connsiteY135" fmla="*/ 168026 h 2673102"/>
                  <a:gd name="connsiteX136" fmla="*/ 978896 w 1739754"/>
                  <a:gd name="connsiteY136" fmla="*/ 63251 h 2673102"/>
                  <a:gd name="connsiteX137" fmla="*/ 1159871 w 1739754"/>
                  <a:gd name="connsiteY137" fmla="*/ 6102 h 2673102"/>
                  <a:gd name="connsiteX138" fmla="*/ 1202733 w 1739754"/>
                  <a:gd name="connsiteY13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40696 w 1739754"/>
                  <a:gd name="connsiteY120" fmla="*/ 1377702 h 2673102"/>
                  <a:gd name="connsiteX121" fmla="*/ 121646 w 1739754"/>
                  <a:gd name="connsiteY121" fmla="*/ 1311027 h 2673102"/>
                  <a:gd name="connsiteX122" fmla="*/ 107358 w 1739754"/>
                  <a:gd name="connsiteY122" fmla="*/ 1244352 h 2673102"/>
                  <a:gd name="connsiteX123" fmla="*/ 78783 w 1739754"/>
                  <a:gd name="connsiteY123" fmla="*/ 1177677 h 2673102"/>
                  <a:gd name="connsiteX124" fmla="*/ 45446 w 1739754"/>
                  <a:gd name="connsiteY124" fmla="*/ 1096714 h 2673102"/>
                  <a:gd name="connsiteX125" fmla="*/ 21633 w 1739754"/>
                  <a:gd name="connsiteY125" fmla="*/ 1025277 h 2673102"/>
                  <a:gd name="connsiteX126" fmla="*/ 202 w 1739754"/>
                  <a:gd name="connsiteY126" fmla="*/ 980033 h 2673102"/>
                  <a:gd name="connsiteX127" fmla="*/ 14490 w 1739754"/>
                  <a:gd name="connsiteY127" fmla="*/ 930027 h 2673102"/>
                  <a:gd name="connsiteX128" fmla="*/ 69259 w 1739754"/>
                  <a:gd name="connsiteY128" fmla="*/ 810964 h 2673102"/>
                  <a:gd name="connsiteX129" fmla="*/ 221658 w 1739754"/>
                  <a:gd name="connsiteY129" fmla="*/ 601414 h 2673102"/>
                  <a:gd name="connsiteX130" fmla="*/ 288333 w 1739754"/>
                  <a:gd name="connsiteY130" fmla="*/ 515689 h 2673102"/>
                  <a:gd name="connsiteX131" fmla="*/ 412158 w 1739754"/>
                  <a:gd name="connsiteY131" fmla="*/ 406152 h 2673102"/>
                  <a:gd name="connsiteX132" fmla="*/ 535983 w 1739754"/>
                  <a:gd name="connsiteY132" fmla="*/ 291851 h 2673102"/>
                  <a:gd name="connsiteX133" fmla="*/ 640758 w 1739754"/>
                  <a:gd name="connsiteY133" fmla="*/ 229939 h 2673102"/>
                  <a:gd name="connsiteX134" fmla="*/ 733628 w 1739754"/>
                  <a:gd name="connsiteY134" fmla="*/ 168026 h 2673102"/>
                  <a:gd name="connsiteX135" fmla="*/ 978896 w 1739754"/>
                  <a:gd name="connsiteY135" fmla="*/ 63251 h 2673102"/>
                  <a:gd name="connsiteX136" fmla="*/ 1159871 w 1739754"/>
                  <a:gd name="connsiteY136" fmla="*/ 6102 h 2673102"/>
                  <a:gd name="connsiteX137" fmla="*/ 1202733 w 1739754"/>
                  <a:gd name="connsiteY13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54983 w 1739754"/>
                  <a:gd name="connsiteY118" fmla="*/ 1549152 h 2673102"/>
                  <a:gd name="connsiteX119" fmla="*/ 140696 w 1739754"/>
                  <a:gd name="connsiteY119" fmla="*/ 1377702 h 2673102"/>
                  <a:gd name="connsiteX120" fmla="*/ 121646 w 1739754"/>
                  <a:gd name="connsiteY120" fmla="*/ 1311027 h 2673102"/>
                  <a:gd name="connsiteX121" fmla="*/ 107358 w 1739754"/>
                  <a:gd name="connsiteY121" fmla="*/ 1244352 h 2673102"/>
                  <a:gd name="connsiteX122" fmla="*/ 78783 w 1739754"/>
                  <a:gd name="connsiteY122" fmla="*/ 1177677 h 2673102"/>
                  <a:gd name="connsiteX123" fmla="*/ 45446 w 1739754"/>
                  <a:gd name="connsiteY123" fmla="*/ 1096714 h 2673102"/>
                  <a:gd name="connsiteX124" fmla="*/ 21633 w 1739754"/>
                  <a:gd name="connsiteY124" fmla="*/ 1025277 h 2673102"/>
                  <a:gd name="connsiteX125" fmla="*/ 202 w 1739754"/>
                  <a:gd name="connsiteY125" fmla="*/ 980033 h 2673102"/>
                  <a:gd name="connsiteX126" fmla="*/ 14490 w 1739754"/>
                  <a:gd name="connsiteY126" fmla="*/ 930027 h 2673102"/>
                  <a:gd name="connsiteX127" fmla="*/ 69259 w 1739754"/>
                  <a:gd name="connsiteY127" fmla="*/ 810964 h 2673102"/>
                  <a:gd name="connsiteX128" fmla="*/ 221658 w 1739754"/>
                  <a:gd name="connsiteY128" fmla="*/ 601414 h 2673102"/>
                  <a:gd name="connsiteX129" fmla="*/ 288333 w 1739754"/>
                  <a:gd name="connsiteY129" fmla="*/ 515689 h 2673102"/>
                  <a:gd name="connsiteX130" fmla="*/ 412158 w 1739754"/>
                  <a:gd name="connsiteY130" fmla="*/ 406152 h 2673102"/>
                  <a:gd name="connsiteX131" fmla="*/ 535983 w 1739754"/>
                  <a:gd name="connsiteY131" fmla="*/ 291851 h 2673102"/>
                  <a:gd name="connsiteX132" fmla="*/ 640758 w 1739754"/>
                  <a:gd name="connsiteY132" fmla="*/ 229939 h 2673102"/>
                  <a:gd name="connsiteX133" fmla="*/ 733628 w 1739754"/>
                  <a:gd name="connsiteY133" fmla="*/ 168026 h 2673102"/>
                  <a:gd name="connsiteX134" fmla="*/ 978896 w 1739754"/>
                  <a:gd name="connsiteY134" fmla="*/ 63251 h 2673102"/>
                  <a:gd name="connsiteX135" fmla="*/ 1159871 w 1739754"/>
                  <a:gd name="connsiteY135" fmla="*/ 6102 h 2673102"/>
                  <a:gd name="connsiteX136" fmla="*/ 1202733 w 1739754"/>
                  <a:gd name="connsiteY13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88321 w 1739754"/>
                  <a:gd name="connsiteY114" fmla="*/ 1687264 h 2673102"/>
                  <a:gd name="connsiteX115" fmla="*/ 202608 w 1739754"/>
                  <a:gd name="connsiteY115" fmla="*/ 1653927 h 2673102"/>
                  <a:gd name="connsiteX116" fmla="*/ 193083 w 1739754"/>
                  <a:gd name="connsiteY116" fmla="*/ 1606302 h 2673102"/>
                  <a:gd name="connsiteX117" fmla="*/ 154983 w 1739754"/>
                  <a:gd name="connsiteY117" fmla="*/ 1549152 h 2673102"/>
                  <a:gd name="connsiteX118" fmla="*/ 140696 w 1739754"/>
                  <a:gd name="connsiteY118" fmla="*/ 1377702 h 2673102"/>
                  <a:gd name="connsiteX119" fmla="*/ 121646 w 1739754"/>
                  <a:gd name="connsiteY119" fmla="*/ 1311027 h 2673102"/>
                  <a:gd name="connsiteX120" fmla="*/ 107358 w 1739754"/>
                  <a:gd name="connsiteY120" fmla="*/ 1244352 h 2673102"/>
                  <a:gd name="connsiteX121" fmla="*/ 78783 w 1739754"/>
                  <a:gd name="connsiteY121" fmla="*/ 1177677 h 2673102"/>
                  <a:gd name="connsiteX122" fmla="*/ 45446 w 1739754"/>
                  <a:gd name="connsiteY122" fmla="*/ 1096714 h 2673102"/>
                  <a:gd name="connsiteX123" fmla="*/ 21633 w 1739754"/>
                  <a:gd name="connsiteY123" fmla="*/ 1025277 h 2673102"/>
                  <a:gd name="connsiteX124" fmla="*/ 202 w 1739754"/>
                  <a:gd name="connsiteY124" fmla="*/ 980033 h 2673102"/>
                  <a:gd name="connsiteX125" fmla="*/ 14490 w 1739754"/>
                  <a:gd name="connsiteY125" fmla="*/ 930027 h 2673102"/>
                  <a:gd name="connsiteX126" fmla="*/ 69259 w 1739754"/>
                  <a:gd name="connsiteY126" fmla="*/ 810964 h 2673102"/>
                  <a:gd name="connsiteX127" fmla="*/ 221658 w 1739754"/>
                  <a:gd name="connsiteY127" fmla="*/ 601414 h 2673102"/>
                  <a:gd name="connsiteX128" fmla="*/ 288333 w 1739754"/>
                  <a:gd name="connsiteY128" fmla="*/ 515689 h 2673102"/>
                  <a:gd name="connsiteX129" fmla="*/ 412158 w 1739754"/>
                  <a:gd name="connsiteY129" fmla="*/ 406152 h 2673102"/>
                  <a:gd name="connsiteX130" fmla="*/ 535983 w 1739754"/>
                  <a:gd name="connsiteY130" fmla="*/ 291851 h 2673102"/>
                  <a:gd name="connsiteX131" fmla="*/ 640758 w 1739754"/>
                  <a:gd name="connsiteY131" fmla="*/ 229939 h 2673102"/>
                  <a:gd name="connsiteX132" fmla="*/ 733628 w 1739754"/>
                  <a:gd name="connsiteY132" fmla="*/ 168026 h 2673102"/>
                  <a:gd name="connsiteX133" fmla="*/ 978896 w 1739754"/>
                  <a:gd name="connsiteY133" fmla="*/ 63251 h 2673102"/>
                  <a:gd name="connsiteX134" fmla="*/ 1159871 w 1739754"/>
                  <a:gd name="connsiteY134" fmla="*/ 6102 h 2673102"/>
                  <a:gd name="connsiteX135" fmla="*/ 1202733 w 1739754"/>
                  <a:gd name="connsiteY13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88321 w 1739754"/>
                  <a:gd name="connsiteY113" fmla="*/ 1687264 h 2673102"/>
                  <a:gd name="connsiteX114" fmla="*/ 202608 w 1739754"/>
                  <a:gd name="connsiteY114" fmla="*/ 1653927 h 2673102"/>
                  <a:gd name="connsiteX115" fmla="*/ 193083 w 1739754"/>
                  <a:gd name="connsiteY115" fmla="*/ 1606302 h 2673102"/>
                  <a:gd name="connsiteX116" fmla="*/ 154983 w 1739754"/>
                  <a:gd name="connsiteY116" fmla="*/ 1549152 h 2673102"/>
                  <a:gd name="connsiteX117" fmla="*/ 140696 w 1739754"/>
                  <a:gd name="connsiteY117" fmla="*/ 1377702 h 2673102"/>
                  <a:gd name="connsiteX118" fmla="*/ 121646 w 1739754"/>
                  <a:gd name="connsiteY118" fmla="*/ 1311027 h 2673102"/>
                  <a:gd name="connsiteX119" fmla="*/ 107358 w 1739754"/>
                  <a:gd name="connsiteY119" fmla="*/ 1244352 h 2673102"/>
                  <a:gd name="connsiteX120" fmla="*/ 78783 w 1739754"/>
                  <a:gd name="connsiteY120" fmla="*/ 1177677 h 2673102"/>
                  <a:gd name="connsiteX121" fmla="*/ 45446 w 1739754"/>
                  <a:gd name="connsiteY121" fmla="*/ 1096714 h 2673102"/>
                  <a:gd name="connsiteX122" fmla="*/ 21633 w 1739754"/>
                  <a:gd name="connsiteY122" fmla="*/ 1025277 h 2673102"/>
                  <a:gd name="connsiteX123" fmla="*/ 202 w 1739754"/>
                  <a:gd name="connsiteY123" fmla="*/ 980033 h 2673102"/>
                  <a:gd name="connsiteX124" fmla="*/ 14490 w 1739754"/>
                  <a:gd name="connsiteY124" fmla="*/ 930027 h 2673102"/>
                  <a:gd name="connsiteX125" fmla="*/ 69259 w 1739754"/>
                  <a:gd name="connsiteY125" fmla="*/ 810964 h 2673102"/>
                  <a:gd name="connsiteX126" fmla="*/ 221658 w 1739754"/>
                  <a:gd name="connsiteY126" fmla="*/ 601414 h 2673102"/>
                  <a:gd name="connsiteX127" fmla="*/ 288333 w 1739754"/>
                  <a:gd name="connsiteY127" fmla="*/ 515689 h 2673102"/>
                  <a:gd name="connsiteX128" fmla="*/ 412158 w 1739754"/>
                  <a:gd name="connsiteY128" fmla="*/ 406152 h 2673102"/>
                  <a:gd name="connsiteX129" fmla="*/ 535983 w 1739754"/>
                  <a:gd name="connsiteY129" fmla="*/ 291851 h 2673102"/>
                  <a:gd name="connsiteX130" fmla="*/ 640758 w 1739754"/>
                  <a:gd name="connsiteY130" fmla="*/ 229939 h 2673102"/>
                  <a:gd name="connsiteX131" fmla="*/ 733628 w 1739754"/>
                  <a:gd name="connsiteY131" fmla="*/ 168026 h 2673102"/>
                  <a:gd name="connsiteX132" fmla="*/ 978896 w 1739754"/>
                  <a:gd name="connsiteY132" fmla="*/ 63251 h 2673102"/>
                  <a:gd name="connsiteX133" fmla="*/ 1159871 w 1739754"/>
                  <a:gd name="connsiteY133" fmla="*/ 6102 h 2673102"/>
                  <a:gd name="connsiteX134" fmla="*/ 1202733 w 1739754"/>
                  <a:gd name="connsiteY13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35933 w 1739754"/>
                  <a:gd name="connsiteY107" fmla="*/ 1868239 h 2673102"/>
                  <a:gd name="connsiteX108" fmla="*/ 131171 w 1739754"/>
                  <a:gd name="connsiteY108" fmla="*/ 1825377 h 2673102"/>
                  <a:gd name="connsiteX109" fmla="*/ 112121 w 1739754"/>
                  <a:gd name="connsiteY109" fmla="*/ 1820614 h 2673102"/>
                  <a:gd name="connsiteX110" fmla="*/ 102596 w 1739754"/>
                  <a:gd name="connsiteY110" fmla="*/ 1806327 h 2673102"/>
                  <a:gd name="connsiteX111" fmla="*/ 145458 w 1739754"/>
                  <a:gd name="connsiteY111" fmla="*/ 1720602 h 2673102"/>
                  <a:gd name="connsiteX112" fmla="*/ 188321 w 1739754"/>
                  <a:gd name="connsiteY112" fmla="*/ 1687264 h 2673102"/>
                  <a:gd name="connsiteX113" fmla="*/ 202608 w 1739754"/>
                  <a:gd name="connsiteY113" fmla="*/ 1653927 h 2673102"/>
                  <a:gd name="connsiteX114" fmla="*/ 193083 w 1739754"/>
                  <a:gd name="connsiteY114" fmla="*/ 1606302 h 2673102"/>
                  <a:gd name="connsiteX115" fmla="*/ 154983 w 1739754"/>
                  <a:gd name="connsiteY115" fmla="*/ 1549152 h 2673102"/>
                  <a:gd name="connsiteX116" fmla="*/ 140696 w 1739754"/>
                  <a:gd name="connsiteY116" fmla="*/ 1377702 h 2673102"/>
                  <a:gd name="connsiteX117" fmla="*/ 121646 w 1739754"/>
                  <a:gd name="connsiteY117" fmla="*/ 1311027 h 2673102"/>
                  <a:gd name="connsiteX118" fmla="*/ 107358 w 1739754"/>
                  <a:gd name="connsiteY118" fmla="*/ 1244352 h 2673102"/>
                  <a:gd name="connsiteX119" fmla="*/ 78783 w 1739754"/>
                  <a:gd name="connsiteY119" fmla="*/ 1177677 h 2673102"/>
                  <a:gd name="connsiteX120" fmla="*/ 45446 w 1739754"/>
                  <a:gd name="connsiteY120" fmla="*/ 1096714 h 2673102"/>
                  <a:gd name="connsiteX121" fmla="*/ 21633 w 1739754"/>
                  <a:gd name="connsiteY121" fmla="*/ 1025277 h 2673102"/>
                  <a:gd name="connsiteX122" fmla="*/ 202 w 1739754"/>
                  <a:gd name="connsiteY122" fmla="*/ 980033 h 2673102"/>
                  <a:gd name="connsiteX123" fmla="*/ 14490 w 1739754"/>
                  <a:gd name="connsiteY123" fmla="*/ 930027 h 2673102"/>
                  <a:gd name="connsiteX124" fmla="*/ 69259 w 1739754"/>
                  <a:gd name="connsiteY124" fmla="*/ 810964 h 2673102"/>
                  <a:gd name="connsiteX125" fmla="*/ 221658 w 1739754"/>
                  <a:gd name="connsiteY125" fmla="*/ 601414 h 2673102"/>
                  <a:gd name="connsiteX126" fmla="*/ 288333 w 1739754"/>
                  <a:gd name="connsiteY126" fmla="*/ 515689 h 2673102"/>
                  <a:gd name="connsiteX127" fmla="*/ 412158 w 1739754"/>
                  <a:gd name="connsiteY127" fmla="*/ 406152 h 2673102"/>
                  <a:gd name="connsiteX128" fmla="*/ 535983 w 1739754"/>
                  <a:gd name="connsiteY128" fmla="*/ 291851 h 2673102"/>
                  <a:gd name="connsiteX129" fmla="*/ 640758 w 1739754"/>
                  <a:gd name="connsiteY129" fmla="*/ 229939 h 2673102"/>
                  <a:gd name="connsiteX130" fmla="*/ 733628 w 1739754"/>
                  <a:gd name="connsiteY130" fmla="*/ 168026 h 2673102"/>
                  <a:gd name="connsiteX131" fmla="*/ 978896 w 1739754"/>
                  <a:gd name="connsiteY131" fmla="*/ 63251 h 2673102"/>
                  <a:gd name="connsiteX132" fmla="*/ 1159871 w 1739754"/>
                  <a:gd name="connsiteY132" fmla="*/ 6102 h 2673102"/>
                  <a:gd name="connsiteX133" fmla="*/ 1202733 w 1739754"/>
                  <a:gd name="connsiteY13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35933 w 1739754"/>
                  <a:gd name="connsiteY106" fmla="*/ 1868239 h 2673102"/>
                  <a:gd name="connsiteX107" fmla="*/ 131171 w 1739754"/>
                  <a:gd name="connsiteY107" fmla="*/ 1825377 h 2673102"/>
                  <a:gd name="connsiteX108" fmla="*/ 112121 w 1739754"/>
                  <a:gd name="connsiteY108" fmla="*/ 1820614 h 2673102"/>
                  <a:gd name="connsiteX109" fmla="*/ 102596 w 1739754"/>
                  <a:gd name="connsiteY109" fmla="*/ 1806327 h 2673102"/>
                  <a:gd name="connsiteX110" fmla="*/ 145458 w 1739754"/>
                  <a:gd name="connsiteY110" fmla="*/ 1720602 h 2673102"/>
                  <a:gd name="connsiteX111" fmla="*/ 188321 w 1739754"/>
                  <a:gd name="connsiteY111" fmla="*/ 1687264 h 2673102"/>
                  <a:gd name="connsiteX112" fmla="*/ 202608 w 1739754"/>
                  <a:gd name="connsiteY112" fmla="*/ 1653927 h 2673102"/>
                  <a:gd name="connsiteX113" fmla="*/ 193083 w 1739754"/>
                  <a:gd name="connsiteY113" fmla="*/ 1606302 h 2673102"/>
                  <a:gd name="connsiteX114" fmla="*/ 154983 w 1739754"/>
                  <a:gd name="connsiteY114" fmla="*/ 1549152 h 2673102"/>
                  <a:gd name="connsiteX115" fmla="*/ 140696 w 1739754"/>
                  <a:gd name="connsiteY115" fmla="*/ 1377702 h 2673102"/>
                  <a:gd name="connsiteX116" fmla="*/ 121646 w 1739754"/>
                  <a:gd name="connsiteY116" fmla="*/ 1311027 h 2673102"/>
                  <a:gd name="connsiteX117" fmla="*/ 107358 w 1739754"/>
                  <a:gd name="connsiteY117" fmla="*/ 1244352 h 2673102"/>
                  <a:gd name="connsiteX118" fmla="*/ 78783 w 1739754"/>
                  <a:gd name="connsiteY118" fmla="*/ 1177677 h 2673102"/>
                  <a:gd name="connsiteX119" fmla="*/ 45446 w 1739754"/>
                  <a:gd name="connsiteY119" fmla="*/ 1096714 h 2673102"/>
                  <a:gd name="connsiteX120" fmla="*/ 21633 w 1739754"/>
                  <a:gd name="connsiteY120" fmla="*/ 1025277 h 2673102"/>
                  <a:gd name="connsiteX121" fmla="*/ 202 w 1739754"/>
                  <a:gd name="connsiteY121" fmla="*/ 980033 h 2673102"/>
                  <a:gd name="connsiteX122" fmla="*/ 14490 w 1739754"/>
                  <a:gd name="connsiteY122" fmla="*/ 930027 h 2673102"/>
                  <a:gd name="connsiteX123" fmla="*/ 69259 w 1739754"/>
                  <a:gd name="connsiteY123" fmla="*/ 810964 h 2673102"/>
                  <a:gd name="connsiteX124" fmla="*/ 221658 w 1739754"/>
                  <a:gd name="connsiteY124" fmla="*/ 601414 h 2673102"/>
                  <a:gd name="connsiteX125" fmla="*/ 288333 w 1739754"/>
                  <a:gd name="connsiteY125" fmla="*/ 515689 h 2673102"/>
                  <a:gd name="connsiteX126" fmla="*/ 412158 w 1739754"/>
                  <a:gd name="connsiteY126" fmla="*/ 406152 h 2673102"/>
                  <a:gd name="connsiteX127" fmla="*/ 535983 w 1739754"/>
                  <a:gd name="connsiteY127" fmla="*/ 291851 h 2673102"/>
                  <a:gd name="connsiteX128" fmla="*/ 640758 w 1739754"/>
                  <a:gd name="connsiteY128" fmla="*/ 229939 h 2673102"/>
                  <a:gd name="connsiteX129" fmla="*/ 733628 w 1739754"/>
                  <a:gd name="connsiteY129" fmla="*/ 168026 h 2673102"/>
                  <a:gd name="connsiteX130" fmla="*/ 978896 w 1739754"/>
                  <a:gd name="connsiteY130" fmla="*/ 63251 h 2673102"/>
                  <a:gd name="connsiteX131" fmla="*/ 1159871 w 1739754"/>
                  <a:gd name="connsiteY131" fmla="*/ 6102 h 2673102"/>
                  <a:gd name="connsiteX132" fmla="*/ 1202733 w 1739754"/>
                  <a:gd name="connsiteY13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93071 w 1739754"/>
                  <a:gd name="connsiteY101" fmla="*/ 2211139 h 2673102"/>
                  <a:gd name="connsiteX102" fmla="*/ 88308 w 1739754"/>
                  <a:gd name="connsiteY102" fmla="*/ 2187327 h 2673102"/>
                  <a:gd name="connsiteX103" fmla="*/ 78783 w 1739754"/>
                  <a:gd name="connsiteY103" fmla="*/ 2111127 h 2673102"/>
                  <a:gd name="connsiteX104" fmla="*/ 97833 w 1739754"/>
                  <a:gd name="connsiteY104" fmla="*/ 1944439 h 2673102"/>
                  <a:gd name="connsiteX105" fmla="*/ 135933 w 1739754"/>
                  <a:gd name="connsiteY105" fmla="*/ 1868239 h 2673102"/>
                  <a:gd name="connsiteX106" fmla="*/ 131171 w 1739754"/>
                  <a:gd name="connsiteY106" fmla="*/ 1825377 h 2673102"/>
                  <a:gd name="connsiteX107" fmla="*/ 112121 w 1739754"/>
                  <a:gd name="connsiteY107" fmla="*/ 1820614 h 2673102"/>
                  <a:gd name="connsiteX108" fmla="*/ 102596 w 1739754"/>
                  <a:gd name="connsiteY108" fmla="*/ 1806327 h 2673102"/>
                  <a:gd name="connsiteX109" fmla="*/ 145458 w 1739754"/>
                  <a:gd name="connsiteY109" fmla="*/ 1720602 h 2673102"/>
                  <a:gd name="connsiteX110" fmla="*/ 188321 w 1739754"/>
                  <a:gd name="connsiteY110" fmla="*/ 1687264 h 2673102"/>
                  <a:gd name="connsiteX111" fmla="*/ 202608 w 1739754"/>
                  <a:gd name="connsiteY111" fmla="*/ 1653927 h 2673102"/>
                  <a:gd name="connsiteX112" fmla="*/ 193083 w 1739754"/>
                  <a:gd name="connsiteY112" fmla="*/ 1606302 h 2673102"/>
                  <a:gd name="connsiteX113" fmla="*/ 154983 w 1739754"/>
                  <a:gd name="connsiteY113" fmla="*/ 1549152 h 2673102"/>
                  <a:gd name="connsiteX114" fmla="*/ 140696 w 1739754"/>
                  <a:gd name="connsiteY114" fmla="*/ 1377702 h 2673102"/>
                  <a:gd name="connsiteX115" fmla="*/ 121646 w 1739754"/>
                  <a:gd name="connsiteY115" fmla="*/ 1311027 h 2673102"/>
                  <a:gd name="connsiteX116" fmla="*/ 107358 w 1739754"/>
                  <a:gd name="connsiteY116" fmla="*/ 1244352 h 2673102"/>
                  <a:gd name="connsiteX117" fmla="*/ 78783 w 1739754"/>
                  <a:gd name="connsiteY117" fmla="*/ 1177677 h 2673102"/>
                  <a:gd name="connsiteX118" fmla="*/ 45446 w 1739754"/>
                  <a:gd name="connsiteY118" fmla="*/ 1096714 h 2673102"/>
                  <a:gd name="connsiteX119" fmla="*/ 21633 w 1739754"/>
                  <a:gd name="connsiteY119" fmla="*/ 1025277 h 2673102"/>
                  <a:gd name="connsiteX120" fmla="*/ 202 w 1739754"/>
                  <a:gd name="connsiteY120" fmla="*/ 980033 h 2673102"/>
                  <a:gd name="connsiteX121" fmla="*/ 14490 w 1739754"/>
                  <a:gd name="connsiteY121" fmla="*/ 930027 h 2673102"/>
                  <a:gd name="connsiteX122" fmla="*/ 69259 w 1739754"/>
                  <a:gd name="connsiteY122" fmla="*/ 810964 h 2673102"/>
                  <a:gd name="connsiteX123" fmla="*/ 221658 w 1739754"/>
                  <a:gd name="connsiteY123" fmla="*/ 601414 h 2673102"/>
                  <a:gd name="connsiteX124" fmla="*/ 288333 w 1739754"/>
                  <a:gd name="connsiteY124" fmla="*/ 515689 h 2673102"/>
                  <a:gd name="connsiteX125" fmla="*/ 412158 w 1739754"/>
                  <a:gd name="connsiteY125" fmla="*/ 406152 h 2673102"/>
                  <a:gd name="connsiteX126" fmla="*/ 535983 w 1739754"/>
                  <a:gd name="connsiteY126" fmla="*/ 291851 h 2673102"/>
                  <a:gd name="connsiteX127" fmla="*/ 640758 w 1739754"/>
                  <a:gd name="connsiteY127" fmla="*/ 229939 h 2673102"/>
                  <a:gd name="connsiteX128" fmla="*/ 733628 w 1739754"/>
                  <a:gd name="connsiteY128" fmla="*/ 168026 h 2673102"/>
                  <a:gd name="connsiteX129" fmla="*/ 978896 w 1739754"/>
                  <a:gd name="connsiteY129" fmla="*/ 63251 h 2673102"/>
                  <a:gd name="connsiteX130" fmla="*/ 1159871 w 1739754"/>
                  <a:gd name="connsiteY130" fmla="*/ 6102 h 2673102"/>
                  <a:gd name="connsiteX131" fmla="*/ 1202733 w 1739754"/>
                  <a:gd name="connsiteY13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93071 w 1739754"/>
                  <a:gd name="connsiteY100" fmla="*/ 2211139 h 2673102"/>
                  <a:gd name="connsiteX101" fmla="*/ 88308 w 1739754"/>
                  <a:gd name="connsiteY101" fmla="*/ 2187327 h 2673102"/>
                  <a:gd name="connsiteX102" fmla="*/ 78783 w 1739754"/>
                  <a:gd name="connsiteY102" fmla="*/ 2111127 h 2673102"/>
                  <a:gd name="connsiteX103" fmla="*/ 97833 w 1739754"/>
                  <a:gd name="connsiteY103" fmla="*/ 1944439 h 2673102"/>
                  <a:gd name="connsiteX104" fmla="*/ 135933 w 1739754"/>
                  <a:gd name="connsiteY104" fmla="*/ 1868239 h 2673102"/>
                  <a:gd name="connsiteX105" fmla="*/ 131171 w 1739754"/>
                  <a:gd name="connsiteY105" fmla="*/ 1825377 h 2673102"/>
                  <a:gd name="connsiteX106" fmla="*/ 112121 w 1739754"/>
                  <a:gd name="connsiteY106" fmla="*/ 1820614 h 2673102"/>
                  <a:gd name="connsiteX107" fmla="*/ 102596 w 1739754"/>
                  <a:gd name="connsiteY107" fmla="*/ 1806327 h 2673102"/>
                  <a:gd name="connsiteX108" fmla="*/ 145458 w 1739754"/>
                  <a:gd name="connsiteY108" fmla="*/ 1720602 h 2673102"/>
                  <a:gd name="connsiteX109" fmla="*/ 188321 w 1739754"/>
                  <a:gd name="connsiteY109" fmla="*/ 1687264 h 2673102"/>
                  <a:gd name="connsiteX110" fmla="*/ 202608 w 1739754"/>
                  <a:gd name="connsiteY110" fmla="*/ 1653927 h 2673102"/>
                  <a:gd name="connsiteX111" fmla="*/ 193083 w 1739754"/>
                  <a:gd name="connsiteY111" fmla="*/ 1606302 h 2673102"/>
                  <a:gd name="connsiteX112" fmla="*/ 154983 w 1739754"/>
                  <a:gd name="connsiteY112" fmla="*/ 1549152 h 2673102"/>
                  <a:gd name="connsiteX113" fmla="*/ 140696 w 1739754"/>
                  <a:gd name="connsiteY113" fmla="*/ 1377702 h 2673102"/>
                  <a:gd name="connsiteX114" fmla="*/ 121646 w 1739754"/>
                  <a:gd name="connsiteY114" fmla="*/ 1311027 h 2673102"/>
                  <a:gd name="connsiteX115" fmla="*/ 107358 w 1739754"/>
                  <a:gd name="connsiteY115" fmla="*/ 1244352 h 2673102"/>
                  <a:gd name="connsiteX116" fmla="*/ 78783 w 1739754"/>
                  <a:gd name="connsiteY116" fmla="*/ 1177677 h 2673102"/>
                  <a:gd name="connsiteX117" fmla="*/ 45446 w 1739754"/>
                  <a:gd name="connsiteY117" fmla="*/ 1096714 h 2673102"/>
                  <a:gd name="connsiteX118" fmla="*/ 21633 w 1739754"/>
                  <a:gd name="connsiteY118" fmla="*/ 1025277 h 2673102"/>
                  <a:gd name="connsiteX119" fmla="*/ 202 w 1739754"/>
                  <a:gd name="connsiteY119" fmla="*/ 980033 h 2673102"/>
                  <a:gd name="connsiteX120" fmla="*/ 14490 w 1739754"/>
                  <a:gd name="connsiteY120" fmla="*/ 930027 h 2673102"/>
                  <a:gd name="connsiteX121" fmla="*/ 69259 w 1739754"/>
                  <a:gd name="connsiteY121" fmla="*/ 810964 h 2673102"/>
                  <a:gd name="connsiteX122" fmla="*/ 221658 w 1739754"/>
                  <a:gd name="connsiteY122" fmla="*/ 601414 h 2673102"/>
                  <a:gd name="connsiteX123" fmla="*/ 288333 w 1739754"/>
                  <a:gd name="connsiteY123" fmla="*/ 515689 h 2673102"/>
                  <a:gd name="connsiteX124" fmla="*/ 412158 w 1739754"/>
                  <a:gd name="connsiteY124" fmla="*/ 406152 h 2673102"/>
                  <a:gd name="connsiteX125" fmla="*/ 535983 w 1739754"/>
                  <a:gd name="connsiteY125" fmla="*/ 291851 h 2673102"/>
                  <a:gd name="connsiteX126" fmla="*/ 640758 w 1739754"/>
                  <a:gd name="connsiteY126" fmla="*/ 229939 h 2673102"/>
                  <a:gd name="connsiteX127" fmla="*/ 733628 w 1739754"/>
                  <a:gd name="connsiteY127" fmla="*/ 168026 h 2673102"/>
                  <a:gd name="connsiteX128" fmla="*/ 978896 w 1739754"/>
                  <a:gd name="connsiteY128" fmla="*/ 63251 h 2673102"/>
                  <a:gd name="connsiteX129" fmla="*/ 1159871 w 1739754"/>
                  <a:gd name="connsiteY129" fmla="*/ 6102 h 2673102"/>
                  <a:gd name="connsiteX130" fmla="*/ 1202733 w 1739754"/>
                  <a:gd name="connsiteY13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88308 w 1739754"/>
                  <a:gd name="connsiteY100" fmla="*/ 2187327 h 2673102"/>
                  <a:gd name="connsiteX101" fmla="*/ 78783 w 1739754"/>
                  <a:gd name="connsiteY101" fmla="*/ 2111127 h 2673102"/>
                  <a:gd name="connsiteX102" fmla="*/ 97833 w 1739754"/>
                  <a:gd name="connsiteY102" fmla="*/ 1944439 h 2673102"/>
                  <a:gd name="connsiteX103" fmla="*/ 135933 w 1739754"/>
                  <a:gd name="connsiteY103" fmla="*/ 1868239 h 2673102"/>
                  <a:gd name="connsiteX104" fmla="*/ 131171 w 1739754"/>
                  <a:gd name="connsiteY104" fmla="*/ 1825377 h 2673102"/>
                  <a:gd name="connsiteX105" fmla="*/ 112121 w 1739754"/>
                  <a:gd name="connsiteY105" fmla="*/ 1820614 h 2673102"/>
                  <a:gd name="connsiteX106" fmla="*/ 102596 w 1739754"/>
                  <a:gd name="connsiteY106" fmla="*/ 1806327 h 2673102"/>
                  <a:gd name="connsiteX107" fmla="*/ 145458 w 1739754"/>
                  <a:gd name="connsiteY107" fmla="*/ 1720602 h 2673102"/>
                  <a:gd name="connsiteX108" fmla="*/ 188321 w 1739754"/>
                  <a:gd name="connsiteY108" fmla="*/ 1687264 h 2673102"/>
                  <a:gd name="connsiteX109" fmla="*/ 202608 w 1739754"/>
                  <a:gd name="connsiteY109" fmla="*/ 1653927 h 2673102"/>
                  <a:gd name="connsiteX110" fmla="*/ 193083 w 1739754"/>
                  <a:gd name="connsiteY110" fmla="*/ 1606302 h 2673102"/>
                  <a:gd name="connsiteX111" fmla="*/ 154983 w 1739754"/>
                  <a:gd name="connsiteY111" fmla="*/ 1549152 h 2673102"/>
                  <a:gd name="connsiteX112" fmla="*/ 140696 w 1739754"/>
                  <a:gd name="connsiteY112" fmla="*/ 1377702 h 2673102"/>
                  <a:gd name="connsiteX113" fmla="*/ 121646 w 1739754"/>
                  <a:gd name="connsiteY113" fmla="*/ 1311027 h 2673102"/>
                  <a:gd name="connsiteX114" fmla="*/ 107358 w 1739754"/>
                  <a:gd name="connsiteY114" fmla="*/ 1244352 h 2673102"/>
                  <a:gd name="connsiteX115" fmla="*/ 78783 w 1739754"/>
                  <a:gd name="connsiteY115" fmla="*/ 1177677 h 2673102"/>
                  <a:gd name="connsiteX116" fmla="*/ 45446 w 1739754"/>
                  <a:gd name="connsiteY116" fmla="*/ 1096714 h 2673102"/>
                  <a:gd name="connsiteX117" fmla="*/ 21633 w 1739754"/>
                  <a:gd name="connsiteY117" fmla="*/ 1025277 h 2673102"/>
                  <a:gd name="connsiteX118" fmla="*/ 202 w 1739754"/>
                  <a:gd name="connsiteY118" fmla="*/ 980033 h 2673102"/>
                  <a:gd name="connsiteX119" fmla="*/ 14490 w 1739754"/>
                  <a:gd name="connsiteY119" fmla="*/ 930027 h 2673102"/>
                  <a:gd name="connsiteX120" fmla="*/ 69259 w 1739754"/>
                  <a:gd name="connsiteY120" fmla="*/ 810964 h 2673102"/>
                  <a:gd name="connsiteX121" fmla="*/ 221658 w 1739754"/>
                  <a:gd name="connsiteY121" fmla="*/ 601414 h 2673102"/>
                  <a:gd name="connsiteX122" fmla="*/ 288333 w 1739754"/>
                  <a:gd name="connsiteY122" fmla="*/ 515689 h 2673102"/>
                  <a:gd name="connsiteX123" fmla="*/ 412158 w 1739754"/>
                  <a:gd name="connsiteY123" fmla="*/ 406152 h 2673102"/>
                  <a:gd name="connsiteX124" fmla="*/ 535983 w 1739754"/>
                  <a:gd name="connsiteY124" fmla="*/ 291851 h 2673102"/>
                  <a:gd name="connsiteX125" fmla="*/ 640758 w 1739754"/>
                  <a:gd name="connsiteY125" fmla="*/ 229939 h 2673102"/>
                  <a:gd name="connsiteX126" fmla="*/ 733628 w 1739754"/>
                  <a:gd name="connsiteY126" fmla="*/ 168026 h 2673102"/>
                  <a:gd name="connsiteX127" fmla="*/ 978896 w 1739754"/>
                  <a:gd name="connsiteY127" fmla="*/ 63251 h 2673102"/>
                  <a:gd name="connsiteX128" fmla="*/ 1159871 w 1739754"/>
                  <a:gd name="connsiteY128" fmla="*/ 6102 h 2673102"/>
                  <a:gd name="connsiteX129" fmla="*/ 1202733 w 1739754"/>
                  <a:gd name="connsiteY12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12133 w 1739754"/>
                  <a:gd name="connsiteY94" fmla="*/ 2492127 h 2673102"/>
                  <a:gd name="connsiteX95" fmla="*/ 154983 w 1739754"/>
                  <a:gd name="connsiteY95" fmla="*/ 2439739 h 2673102"/>
                  <a:gd name="connsiteX96" fmla="*/ 150221 w 1739754"/>
                  <a:gd name="connsiteY96" fmla="*/ 2415927 h 2673102"/>
                  <a:gd name="connsiteX97" fmla="*/ 135933 w 1739754"/>
                  <a:gd name="connsiteY97" fmla="*/ 2358777 h 2673102"/>
                  <a:gd name="connsiteX98" fmla="*/ 121646 w 1739754"/>
                  <a:gd name="connsiteY98" fmla="*/ 2315914 h 2673102"/>
                  <a:gd name="connsiteX99" fmla="*/ 88308 w 1739754"/>
                  <a:gd name="connsiteY99" fmla="*/ 2187327 h 2673102"/>
                  <a:gd name="connsiteX100" fmla="*/ 78783 w 1739754"/>
                  <a:gd name="connsiteY100" fmla="*/ 2111127 h 2673102"/>
                  <a:gd name="connsiteX101" fmla="*/ 97833 w 1739754"/>
                  <a:gd name="connsiteY101" fmla="*/ 1944439 h 2673102"/>
                  <a:gd name="connsiteX102" fmla="*/ 135933 w 1739754"/>
                  <a:gd name="connsiteY102" fmla="*/ 1868239 h 2673102"/>
                  <a:gd name="connsiteX103" fmla="*/ 131171 w 1739754"/>
                  <a:gd name="connsiteY103" fmla="*/ 1825377 h 2673102"/>
                  <a:gd name="connsiteX104" fmla="*/ 112121 w 1739754"/>
                  <a:gd name="connsiteY104" fmla="*/ 1820614 h 2673102"/>
                  <a:gd name="connsiteX105" fmla="*/ 102596 w 1739754"/>
                  <a:gd name="connsiteY105" fmla="*/ 1806327 h 2673102"/>
                  <a:gd name="connsiteX106" fmla="*/ 145458 w 1739754"/>
                  <a:gd name="connsiteY106" fmla="*/ 1720602 h 2673102"/>
                  <a:gd name="connsiteX107" fmla="*/ 188321 w 1739754"/>
                  <a:gd name="connsiteY107" fmla="*/ 1687264 h 2673102"/>
                  <a:gd name="connsiteX108" fmla="*/ 202608 w 1739754"/>
                  <a:gd name="connsiteY108" fmla="*/ 1653927 h 2673102"/>
                  <a:gd name="connsiteX109" fmla="*/ 193083 w 1739754"/>
                  <a:gd name="connsiteY109" fmla="*/ 1606302 h 2673102"/>
                  <a:gd name="connsiteX110" fmla="*/ 154983 w 1739754"/>
                  <a:gd name="connsiteY110" fmla="*/ 1549152 h 2673102"/>
                  <a:gd name="connsiteX111" fmla="*/ 140696 w 1739754"/>
                  <a:gd name="connsiteY111" fmla="*/ 1377702 h 2673102"/>
                  <a:gd name="connsiteX112" fmla="*/ 121646 w 1739754"/>
                  <a:gd name="connsiteY112" fmla="*/ 1311027 h 2673102"/>
                  <a:gd name="connsiteX113" fmla="*/ 107358 w 1739754"/>
                  <a:gd name="connsiteY113" fmla="*/ 1244352 h 2673102"/>
                  <a:gd name="connsiteX114" fmla="*/ 78783 w 1739754"/>
                  <a:gd name="connsiteY114" fmla="*/ 1177677 h 2673102"/>
                  <a:gd name="connsiteX115" fmla="*/ 45446 w 1739754"/>
                  <a:gd name="connsiteY115" fmla="*/ 1096714 h 2673102"/>
                  <a:gd name="connsiteX116" fmla="*/ 21633 w 1739754"/>
                  <a:gd name="connsiteY116" fmla="*/ 1025277 h 2673102"/>
                  <a:gd name="connsiteX117" fmla="*/ 202 w 1739754"/>
                  <a:gd name="connsiteY117" fmla="*/ 980033 h 2673102"/>
                  <a:gd name="connsiteX118" fmla="*/ 14490 w 1739754"/>
                  <a:gd name="connsiteY118" fmla="*/ 930027 h 2673102"/>
                  <a:gd name="connsiteX119" fmla="*/ 69259 w 1739754"/>
                  <a:gd name="connsiteY119" fmla="*/ 810964 h 2673102"/>
                  <a:gd name="connsiteX120" fmla="*/ 221658 w 1739754"/>
                  <a:gd name="connsiteY120" fmla="*/ 601414 h 2673102"/>
                  <a:gd name="connsiteX121" fmla="*/ 288333 w 1739754"/>
                  <a:gd name="connsiteY121" fmla="*/ 515689 h 2673102"/>
                  <a:gd name="connsiteX122" fmla="*/ 412158 w 1739754"/>
                  <a:gd name="connsiteY122" fmla="*/ 406152 h 2673102"/>
                  <a:gd name="connsiteX123" fmla="*/ 535983 w 1739754"/>
                  <a:gd name="connsiteY123" fmla="*/ 291851 h 2673102"/>
                  <a:gd name="connsiteX124" fmla="*/ 640758 w 1739754"/>
                  <a:gd name="connsiteY124" fmla="*/ 229939 h 2673102"/>
                  <a:gd name="connsiteX125" fmla="*/ 733628 w 1739754"/>
                  <a:gd name="connsiteY125" fmla="*/ 168026 h 2673102"/>
                  <a:gd name="connsiteX126" fmla="*/ 978896 w 1739754"/>
                  <a:gd name="connsiteY126" fmla="*/ 63251 h 2673102"/>
                  <a:gd name="connsiteX127" fmla="*/ 1159871 w 1739754"/>
                  <a:gd name="connsiteY127" fmla="*/ 6102 h 2673102"/>
                  <a:gd name="connsiteX128" fmla="*/ 1202733 w 1739754"/>
                  <a:gd name="connsiteY12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12133 w 1739754"/>
                  <a:gd name="connsiteY93" fmla="*/ 2492127 h 2673102"/>
                  <a:gd name="connsiteX94" fmla="*/ 154983 w 1739754"/>
                  <a:gd name="connsiteY94" fmla="*/ 2439739 h 2673102"/>
                  <a:gd name="connsiteX95" fmla="*/ 150221 w 1739754"/>
                  <a:gd name="connsiteY95" fmla="*/ 2415927 h 2673102"/>
                  <a:gd name="connsiteX96" fmla="*/ 135933 w 1739754"/>
                  <a:gd name="connsiteY96" fmla="*/ 2358777 h 2673102"/>
                  <a:gd name="connsiteX97" fmla="*/ 121646 w 1739754"/>
                  <a:gd name="connsiteY97" fmla="*/ 2315914 h 2673102"/>
                  <a:gd name="connsiteX98" fmla="*/ 88308 w 1739754"/>
                  <a:gd name="connsiteY98" fmla="*/ 2187327 h 2673102"/>
                  <a:gd name="connsiteX99" fmla="*/ 78783 w 1739754"/>
                  <a:gd name="connsiteY99" fmla="*/ 2111127 h 2673102"/>
                  <a:gd name="connsiteX100" fmla="*/ 97833 w 1739754"/>
                  <a:gd name="connsiteY100" fmla="*/ 1944439 h 2673102"/>
                  <a:gd name="connsiteX101" fmla="*/ 135933 w 1739754"/>
                  <a:gd name="connsiteY101" fmla="*/ 1868239 h 2673102"/>
                  <a:gd name="connsiteX102" fmla="*/ 131171 w 1739754"/>
                  <a:gd name="connsiteY102" fmla="*/ 1825377 h 2673102"/>
                  <a:gd name="connsiteX103" fmla="*/ 112121 w 1739754"/>
                  <a:gd name="connsiteY103" fmla="*/ 1820614 h 2673102"/>
                  <a:gd name="connsiteX104" fmla="*/ 102596 w 1739754"/>
                  <a:gd name="connsiteY104" fmla="*/ 1806327 h 2673102"/>
                  <a:gd name="connsiteX105" fmla="*/ 145458 w 1739754"/>
                  <a:gd name="connsiteY105" fmla="*/ 1720602 h 2673102"/>
                  <a:gd name="connsiteX106" fmla="*/ 188321 w 1739754"/>
                  <a:gd name="connsiteY106" fmla="*/ 1687264 h 2673102"/>
                  <a:gd name="connsiteX107" fmla="*/ 202608 w 1739754"/>
                  <a:gd name="connsiteY107" fmla="*/ 1653927 h 2673102"/>
                  <a:gd name="connsiteX108" fmla="*/ 193083 w 1739754"/>
                  <a:gd name="connsiteY108" fmla="*/ 1606302 h 2673102"/>
                  <a:gd name="connsiteX109" fmla="*/ 154983 w 1739754"/>
                  <a:gd name="connsiteY109" fmla="*/ 1549152 h 2673102"/>
                  <a:gd name="connsiteX110" fmla="*/ 140696 w 1739754"/>
                  <a:gd name="connsiteY110" fmla="*/ 1377702 h 2673102"/>
                  <a:gd name="connsiteX111" fmla="*/ 121646 w 1739754"/>
                  <a:gd name="connsiteY111" fmla="*/ 1311027 h 2673102"/>
                  <a:gd name="connsiteX112" fmla="*/ 107358 w 1739754"/>
                  <a:gd name="connsiteY112" fmla="*/ 1244352 h 2673102"/>
                  <a:gd name="connsiteX113" fmla="*/ 78783 w 1739754"/>
                  <a:gd name="connsiteY113" fmla="*/ 1177677 h 2673102"/>
                  <a:gd name="connsiteX114" fmla="*/ 45446 w 1739754"/>
                  <a:gd name="connsiteY114" fmla="*/ 1096714 h 2673102"/>
                  <a:gd name="connsiteX115" fmla="*/ 21633 w 1739754"/>
                  <a:gd name="connsiteY115" fmla="*/ 1025277 h 2673102"/>
                  <a:gd name="connsiteX116" fmla="*/ 202 w 1739754"/>
                  <a:gd name="connsiteY116" fmla="*/ 980033 h 2673102"/>
                  <a:gd name="connsiteX117" fmla="*/ 14490 w 1739754"/>
                  <a:gd name="connsiteY117" fmla="*/ 930027 h 2673102"/>
                  <a:gd name="connsiteX118" fmla="*/ 69259 w 1739754"/>
                  <a:gd name="connsiteY118" fmla="*/ 810964 h 2673102"/>
                  <a:gd name="connsiteX119" fmla="*/ 221658 w 1739754"/>
                  <a:gd name="connsiteY119" fmla="*/ 601414 h 2673102"/>
                  <a:gd name="connsiteX120" fmla="*/ 288333 w 1739754"/>
                  <a:gd name="connsiteY120" fmla="*/ 515689 h 2673102"/>
                  <a:gd name="connsiteX121" fmla="*/ 412158 w 1739754"/>
                  <a:gd name="connsiteY121" fmla="*/ 406152 h 2673102"/>
                  <a:gd name="connsiteX122" fmla="*/ 535983 w 1739754"/>
                  <a:gd name="connsiteY122" fmla="*/ 291851 h 2673102"/>
                  <a:gd name="connsiteX123" fmla="*/ 640758 w 1739754"/>
                  <a:gd name="connsiteY123" fmla="*/ 229939 h 2673102"/>
                  <a:gd name="connsiteX124" fmla="*/ 733628 w 1739754"/>
                  <a:gd name="connsiteY124" fmla="*/ 168026 h 2673102"/>
                  <a:gd name="connsiteX125" fmla="*/ 978896 w 1739754"/>
                  <a:gd name="connsiteY125" fmla="*/ 63251 h 2673102"/>
                  <a:gd name="connsiteX126" fmla="*/ 1159871 w 1739754"/>
                  <a:gd name="connsiteY126" fmla="*/ 6102 h 2673102"/>
                  <a:gd name="connsiteX127" fmla="*/ 1202733 w 1739754"/>
                  <a:gd name="connsiteY12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12133 w 1739754"/>
                  <a:gd name="connsiteY92" fmla="*/ 2492127 h 2673102"/>
                  <a:gd name="connsiteX93" fmla="*/ 154983 w 1739754"/>
                  <a:gd name="connsiteY93" fmla="*/ 2439739 h 2673102"/>
                  <a:gd name="connsiteX94" fmla="*/ 150221 w 1739754"/>
                  <a:gd name="connsiteY94" fmla="*/ 2415927 h 2673102"/>
                  <a:gd name="connsiteX95" fmla="*/ 135933 w 1739754"/>
                  <a:gd name="connsiteY95" fmla="*/ 2358777 h 2673102"/>
                  <a:gd name="connsiteX96" fmla="*/ 121646 w 1739754"/>
                  <a:gd name="connsiteY96" fmla="*/ 2315914 h 2673102"/>
                  <a:gd name="connsiteX97" fmla="*/ 88308 w 1739754"/>
                  <a:gd name="connsiteY97" fmla="*/ 2187327 h 2673102"/>
                  <a:gd name="connsiteX98" fmla="*/ 78783 w 1739754"/>
                  <a:gd name="connsiteY98" fmla="*/ 2111127 h 2673102"/>
                  <a:gd name="connsiteX99" fmla="*/ 97833 w 1739754"/>
                  <a:gd name="connsiteY99" fmla="*/ 1944439 h 2673102"/>
                  <a:gd name="connsiteX100" fmla="*/ 135933 w 1739754"/>
                  <a:gd name="connsiteY100" fmla="*/ 1868239 h 2673102"/>
                  <a:gd name="connsiteX101" fmla="*/ 131171 w 1739754"/>
                  <a:gd name="connsiteY101" fmla="*/ 1825377 h 2673102"/>
                  <a:gd name="connsiteX102" fmla="*/ 112121 w 1739754"/>
                  <a:gd name="connsiteY102" fmla="*/ 1820614 h 2673102"/>
                  <a:gd name="connsiteX103" fmla="*/ 102596 w 1739754"/>
                  <a:gd name="connsiteY103" fmla="*/ 1806327 h 2673102"/>
                  <a:gd name="connsiteX104" fmla="*/ 145458 w 1739754"/>
                  <a:gd name="connsiteY104" fmla="*/ 1720602 h 2673102"/>
                  <a:gd name="connsiteX105" fmla="*/ 188321 w 1739754"/>
                  <a:gd name="connsiteY105" fmla="*/ 1687264 h 2673102"/>
                  <a:gd name="connsiteX106" fmla="*/ 202608 w 1739754"/>
                  <a:gd name="connsiteY106" fmla="*/ 1653927 h 2673102"/>
                  <a:gd name="connsiteX107" fmla="*/ 193083 w 1739754"/>
                  <a:gd name="connsiteY107" fmla="*/ 1606302 h 2673102"/>
                  <a:gd name="connsiteX108" fmla="*/ 154983 w 1739754"/>
                  <a:gd name="connsiteY108" fmla="*/ 1549152 h 2673102"/>
                  <a:gd name="connsiteX109" fmla="*/ 140696 w 1739754"/>
                  <a:gd name="connsiteY109" fmla="*/ 1377702 h 2673102"/>
                  <a:gd name="connsiteX110" fmla="*/ 121646 w 1739754"/>
                  <a:gd name="connsiteY110" fmla="*/ 1311027 h 2673102"/>
                  <a:gd name="connsiteX111" fmla="*/ 107358 w 1739754"/>
                  <a:gd name="connsiteY111" fmla="*/ 1244352 h 2673102"/>
                  <a:gd name="connsiteX112" fmla="*/ 78783 w 1739754"/>
                  <a:gd name="connsiteY112" fmla="*/ 1177677 h 2673102"/>
                  <a:gd name="connsiteX113" fmla="*/ 45446 w 1739754"/>
                  <a:gd name="connsiteY113" fmla="*/ 1096714 h 2673102"/>
                  <a:gd name="connsiteX114" fmla="*/ 21633 w 1739754"/>
                  <a:gd name="connsiteY114" fmla="*/ 1025277 h 2673102"/>
                  <a:gd name="connsiteX115" fmla="*/ 202 w 1739754"/>
                  <a:gd name="connsiteY115" fmla="*/ 980033 h 2673102"/>
                  <a:gd name="connsiteX116" fmla="*/ 14490 w 1739754"/>
                  <a:gd name="connsiteY116" fmla="*/ 930027 h 2673102"/>
                  <a:gd name="connsiteX117" fmla="*/ 69259 w 1739754"/>
                  <a:gd name="connsiteY117" fmla="*/ 810964 h 2673102"/>
                  <a:gd name="connsiteX118" fmla="*/ 221658 w 1739754"/>
                  <a:gd name="connsiteY118" fmla="*/ 601414 h 2673102"/>
                  <a:gd name="connsiteX119" fmla="*/ 288333 w 1739754"/>
                  <a:gd name="connsiteY119" fmla="*/ 515689 h 2673102"/>
                  <a:gd name="connsiteX120" fmla="*/ 412158 w 1739754"/>
                  <a:gd name="connsiteY120" fmla="*/ 406152 h 2673102"/>
                  <a:gd name="connsiteX121" fmla="*/ 535983 w 1739754"/>
                  <a:gd name="connsiteY121" fmla="*/ 291851 h 2673102"/>
                  <a:gd name="connsiteX122" fmla="*/ 640758 w 1739754"/>
                  <a:gd name="connsiteY122" fmla="*/ 229939 h 2673102"/>
                  <a:gd name="connsiteX123" fmla="*/ 733628 w 1739754"/>
                  <a:gd name="connsiteY123" fmla="*/ 168026 h 2673102"/>
                  <a:gd name="connsiteX124" fmla="*/ 978896 w 1739754"/>
                  <a:gd name="connsiteY124" fmla="*/ 63251 h 2673102"/>
                  <a:gd name="connsiteX125" fmla="*/ 1159871 w 1739754"/>
                  <a:gd name="connsiteY125" fmla="*/ 6102 h 2673102"/>
                  <a:gd name="connsiteX126" fmla="*/ 1202733 w 1739754"/>
                  <a:gd name="connsiteY12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12133 w 1739754"/>
                  <a:gd name="connsiteY91" fmla="*/ 2492127 h 2673102"/>
                  <a:gd name="connsiteX92" fmla="*/ 154983 w 1739754"/>
                  <a:gd name="connsiteY92" fmla="*/ 2439739 h 2673102"/>
                  <a:gd name="connsiteX93" fmla="*/ 150221 w 1739754"/>
                  <a:gd name="connsiteY93" fmla="*/ 2415927 h 2673102"/>
                  <a:gd name="connsiteX94" fmla="*/ 135933 w 1739754"/>
                  <a:gd name="connsiteY94" fmla="*/ 2358777 h 2673102"/>
                  <a:gd name="connsiteX95" fmla="*/ 121646 w 1739754"/>
                  <a:gd name="connsiteY95" fmla="*/ 2315914 h 2673102"/>
                  <a:gd name="connsiteX96" fmla="*/ 88308 w 1739754"/>
                  <a:gd name="connsiteY96" fmla="*/ 2187327 h 2673102"/>
                  <a:gd name="connsiteX97" fmla="*/ 78783 w 1739754"/>
                  <a:gd name="connsiteY97" fmla="*/ 2111127 h 2673102"/>
                  <a:gd name="connsiteX98" fmla="*/ 97833 w 1739754"/>
                  <a:gd name="connsiteY98" fmla="*/ 1944439 h 2673102"/>
                  <a:gd name="connsiteX99" fmla="*/ 135933 w 1739754"/>
                  <a:gd name="connsiteY99" fmla="*/ 1868239 h 2673102"/>
                  <a:gd name="connsiteX100" fmla="*/ 131171 w 1739754"/>
                  <a:gd name="connsiteY100" fmla="*/ 1825377 h 2673102"/>
                  <a:gd name="connsiteX101" fmla="*/ 112121 w 1739754"/>
                  <a:gd name="connsiteY101" fmla="*/ 1820614 h 2673102"/>
                  <a:gd name="connsiteX102" fmla="*/ 102596 w 1739754"/>
                  <a:gd name="connsiteY102" fmla="*/ 1806327 h 2673102"/>
                  <a:gd name="connsiteX103" fmla="*/ 145458 w 1739754"/>
                  <a:gd name="connsiteY103" fmla="*/ 1720602 h 2673102"/>
                  <a:gd name="connsiteX104" fmla="*/ 188321 w 1739754"/>
                  <a:gd name="connsiteY104" fmla="*/ 1687264 h 2673102"/>
                  <a:gd name="connsiteX105" fmla="*/ 202608 w 1739754"/>
                  <a:gd name="connsiteY105" fmla="*/ 1653927 h 2673102"/>
                  <a:gd name="connsiteX106" fmla="*/ 193083 w 1739754"/>
                  <a:gd name="connsiteY106" fmla="*/ 1606302 h 2673102"/>
                  <a:gd name="connsiteX107" fmla="*/ 154983 w 1739754"/>
                  <a:gd name="connsiteY107" fmla="*/ 1549152 h 2673102"/>
                  <a:gd name="connsiteX108" fmla="*/ 140696 w 1739754"/>
                  <a:gd name="connsiteY108" fmla="*/ 1377702 h 2673102"/>
                  <a:gd name="connsiteX109" fmla="*/ 121646 w 1739754"/>
                  <a:gd name="connsiteY109" fmla="*/ 1311027 h 2673102"/>
                  <a:gd name="connsiteX110" fmla="*/ 107358 w 1739754"/>
                  <a:gd name="connsiteY110" fmla="*/ 1244352 h 2673102"/>
                  <a:gd name="connsiteX111" fmla="*/ 78783 w 1739754"/>
                  <a:gd name="connsiteY111" fmla="*/ 1177677 h 2673102"/>
                  <a:gd name="connsiteX112" fmla="*/ 45446 w 1739754"/>
                  <a:gd name="connsiteY112" fmla="*/ 1096714 h 2673102"/>
                  <a:gd name="connsiteX113" fmla="*/ 21633 w 1739754"/>
                  <a:gd name="connsiteY113" fmla="*/ 1025277 h 2673102"/>
                  <a:gd name="connsiteX114" fmla="*/ 202 w 1739754"/>
                  <a:gd name="connsiteY114" fmla="*/ 980033 h 2673102"/>
                  <a:gd name="connsiteX115" fmla="*/ 14490 w 1739754"/>
                  <a:gd name="connsiteY115" fmla="*/ 930027 h 2673102"/>
                  <a:gd name="connsiteX116" fmla="*/ 69259 w 1739754"/>
                  <a:gd name="connsiteY116" fmla="*/ 810964 h 2673102"/>
                  <a:gd name="connsiteX117" fmla="*/ 221658 w 1739754"/>
                  <a:gd name="connsiteY117" fmla="*/ 601414 h 2673102"/>
                  <a:gd name="connsiteX118" fmla="*/ 288333 w 1739754"/>
                  <a:gd name="connsiteY118" fmla="*/ 515689 h 2673102"/>
                  <a:gd name="connsiteX119" fmla="*/ 412158 w 1739754"/>
                  <a:gd name="connsiteY119" fmla="*/ 406152 h 2673102"/>
                  <a:gd name="connsiteX120" fmla="*/ 535983 w 1739754"/>
                  <a:gd name="connsiteY120" fmla="*/ 291851 h 2673102"/>
                  <a:gd name="connsiteX121" fmla="*/ 640758 w 1739754"/>
                  <a:gd name="connsiteY121" fmla="*/ 229939 h 2673102"/>
                  <a:gd name="connsiteX122" fmla="*/ 733628 w 1739754"/>
                  <a:gd name="connsiteY122" fmla="*/ 168026 h 2673102"/>
                  <a:gd name="connsiteX123" fmla="*/ 978896 w 1739754"/>
                  <a:gd name="connsiteY123" fmla="*/ 63251 h 2673102"/>
                  <a:gd name="connsiteX124" fmla="*/ 1159871 w 1739754"/>
                  <a:gd name="connsiteY124" fmla="*/ 6102 h 2673102"/>
                  <a:gd name="connsiteX125" fmla="*/ 1202733 w 1739754"/>
                  <a:gd name="connsiteY12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12133 w 1739754"/>
                  <a:gd name="connsiteY90" fmla="*/ 2492127 h 2673102"/>
                  <a:gd name="connsiteX91" fmla="*/ 154983 w 1739754"/>
                  <a:gd name="connsiteY91" fmla="*/ 2439739 h 2673102"/>
                  <a:gd name="connsiteX92" fmla="*/ 150221 w 1739754"/>
                  <a:gd name="connsiteY92" fmla="*/ 2415927 h 2673102"/>
                  <a:gd name="connsiteX93" fmla="*/ 135933 w 1739754"/>
                  <a:gd name="connsiteY93" fmla="*/ 2358777 h 2673102"/>
                  <a:gd name="connsiteX94" fmla="*/ 121646 w 1739754"/>
                  <a:gd name="connsiteY94" fmla="*/ 2315914 h 2673102"/>
                  <a:gd name="connsiteX95" fmla="*/ 88308 w 1739754"/>
                  <a:gd name="connsiteY95" fmla="*/ 2187327 h 2673102"/>
                  <a:gd name="connsiteX96" fmla="*/ 78783 w 1739754"/>
                  <a:gd name="connsiteY96" fmla="*/ 2111127 h 2673102"/>
                  <a:gd name="connsiteX97" fmla="*/ 97833 w 1739754"/>
                  <a:gd name="connsiteY97" fmla="*/ 1944439 h 2673102"/>
                  <a:gd name="connsiteX98" fmla="*/ 135933 w 1739754"/>
                  <a:gd name="connsiteY98" fmla="*/ 1868239 h 2673102"/>
                  <a:gd name="connsiteX99" fmla="*/ 131171 w 1739754"/>
                  <a:gd name="connsiteY99" fmla="*/ 1825377 h 2673102"/>
                  <a:gd name="connsiteX100" fmla="*/ 112121 w 1739754"/>
                  <a:gd name="connsiteY100" fmla="*/ 1820614 h 2673102"/>
                  <a:gd name="connsiteX101" fmla="*/ 102596 w 1739754"/>
                  <a:gd name="connsiteY101" fmla="*/ 1806327 h 2673102"/>
                  <a:gd name="connsiteX102" fmla="*/ 145458 w 1739754"/>
                  <a:gd name="connsiteY102" fmla="*/ 1720602 h 2673102"/>
                  <a:gd name="connsiteX103" fmla="*/ 188321 w 1739754"/>
                  <a:gd name="connsiteY103" fmla="*/ 1687264 h 2673102"/>
                  <a:gd name="connsiteX104" fmla="*/ 202608 w 1739754"/>
                  <a:gd name="connsiteY104" fmla="*/ 1653927 h 2673102"/>
                  <a:gd name="connsiteX105" fmla="*/ 193083 w 1739754"/>
                  <a:gd name="connsiteY105" fmla="*/ 1606302 h 2673102"/>
                  <a:gd name="connsiteX106" fmla="*/ 154983 w 1739754"/>
                  <a:gd name="connsiteY106" fmla="*/ 1549152 h 2673102"/>
                  <a:gd name="connsiteX107" fmla="*/ 140696 w 1739754"/>
                  <a:gd name="connsiteY107" fmla="*/ 1377702 h 2673102"/>
                  <a:gd name="connsiteX108" fmla="*/ 121646 w 1739754"/>
                  <a:gd name="connsiteY108" fmla="*/ 1311027 h 2673102"/>
                  <a:gd name="connsiteX109" fmla="*/ 107358 w 1739754"/>
                  <a:gd name="connsiteY109" fmla="*/ 1244352 h 2673102"/>
                  <a:gd name="connsiteX110" fmla="*/ 78783 w 1739754"/>
                  <a:gd name="connsiteY110" fmla="*/ 1177677 h 2673102"/>
                  <a:gd name="connsiteX111" fmla="*/ 45446 w 1739754"/>
                  <a:gd name="connsiteY111" fmla="*/ 1096714 h 2673102"/>
                  <a:gd name="connsiteX112" fmla="*/ 21633 w 1739754"/>
                  <a:gd name="connsiteY112" fmla="*/ 1025277 h 2673102"/>
                  <a:gd name="connsiteX113" fmla="*/ 202 w 1739754"/>
                  <a:gd name="connsiteY113" fmla="*/ 980033 h 2673102"/>
                  <a:gd name="connsiteX114" fmla="*/ 14490 w 1739754"/>
                  <a:gd name="connsiteY114" fmla="*/ 930027 h 2673102"/>
                  <a:gd name="connsiteX115" fmla="*/ 69259 w 1739754"/>
                  <a:gd name="connsiteY115" fmla="*/ 810964 h 2673102"/>
                  <a:gd name="connsiteX116" fmla="*/ 221658 w 1739754"/>
                  <a:gd name="connsiteY116" fmla="*/ 601414 h 2673102"/>
                  <a:gd name="connsiteX117" fmla="*/ 288333 w 1739754"/>
                  <a:gd name="connsiteY117" fmla="*/ 515689 h 2673102"/>
                  <a:gd name="connsiteX118" fmla="*/ 412158 w 1739754"/>
                  <a:gd name="connsiteY118" fmla="*/ 406152 h 2673102"/>
                  <a:gd name="connsiteX119" fmla="*/ 535983 w 1739754"/>
                  <a:gd name="connsiteY119" fmla="*/ 291851 h 2673102"/>
                  <a:gd name="connsiteX120" fmla="*/ 640758 w 1739754"/>
                  <a:gd name="connsiteY120" fmla="*/ 229939 h 2673102"/>
                  <a:gd name="connsiteX121" fmla="*/ 733628 w 1739754"/>
                  <a:gd name="connsiteY121" fmla="*/ 168026 h 2673102"/>
                  <a:gd name="connsiteX122" fmla="*/ 978896 w 1739754"/>
                  <a:gd name="connsiteY122" fmla="*/ 63251 h 2673102"/>
                  <a:gd name="connsiteX123" fmla="*/ 1159871 w 1739754"/>
                  <a:gd name="connsiteY123" fmla="*/ 6102 h 2673102"/>
                  <a:gd name="connsiteX124" fmla="*/ 1202733 w 1739754"/>
                  <a:gd name="connsiteY12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154983 w 1739754"/>
                  <a:gd name="connsiteY90" fmla="*/ 2439739 h 2673102"/>
                  <a:gd name="connsiteX91" fmla="*/ 150221 w 1739754"/>
                  <a:gd name="connsiteY91" fmla="*/ 2415927 h 2673102"/>
                  <a:gd name="connsiteX92" fmla="*/ 135933 w 1739754"/>
                  <a:gd name="connsiteY92" fmla="*/ 2358777 h 2673102"/>
                  <a:gd name="connsiteX93" fmla="*/ 121646 w 1739754"/>
                  <a:gd name="connsiteY93" fmla="*/ 2315914 h 2673102"/>
                  <a:gd name="connsiteX94" fmla="*/ 88308 w 1739754"/>
                  <a:gd name="connsiteY94" fmla="*/ 2187327 h 2673102"/>
                  <a:gd name="connsiteX95" fmla="*/ 78783 w 1739754"/>
                  <a:gd name="connsiteY95" fmla="*/ 2111127 h 2673102"/>
                  <a:gd name="connsiteX96" fmla="*/ 97833 w 1739754"/>
                  <a:gd name="connsiteY96" fmla="*/ 1944439 h 2673102"/>
                  <a:gd name="connsiteX97" fmla="*/ 135933 w 1739754"/>
                  <a:gd name="connsiteY97" fmla="*/ 1868239 h 2673102"/>
                  <a:gd name="connsiteX98" fmla="*/ 131171 w 1739754"/>
                  <a:gd name="connsiteY98" fmla="*/ 1825377 h 2673102"/>
                  <a:gd name="connsiteX99" fmla="*/ 112121 w 1739754"/>
                  <a:gd name="connsiteY99" fmla="*/ 1820614 h 2673102"/>
                  <a:gd name="connsiteX100" fmla="*/ 102596 w 1739754"/>
                  <a:gd name="connsiteY100" fmla="*/ 1806327 h 2673102"/>
                  <a:gd name="connsiteX101" fmla="*/ 145458 w 1739754"/>
                  <a:gd name="connsiteY101" fmla="*/ 1720602 h 2673102"/>
                  <a:gd name="connsiteX102" fmla="*/ 188321 w 1739754"/>
                  <a:gd name="connsiteY102" fmla="*/ 1687264 h 2673102"/>
                  <a:gd name="connsiteX103" fmla="*/ 202608 w 1739754"/>
                  <a:gd name="connsiteY103" fmla="*/ 1653927 h 2673102"/>
                  <a:gd name="connsiteX104" fmla="*/ 193083 w 1739754"/>
                  <a:gd name="connsiteY104" fmla="*/ 1606302 h 2673102"/>
                  <a:gd name="connsiteX105" fmla="*/ 154983 w 1739754"/>
                  <a:gd name="connsiteY105" fmla="*/ 1549152 h 2673102"/>
                  <a:gd name="connsiteX106" fmla="*/ 140696 w 1739754"/>
                  <a:gd name="connsiteY106" fmla="*/ 1377702 h 2673102"/>
                  <a:gd name="connsiteX107" fmla="*/ 121646 w 1739754"/>
                  <a:gd name="connsiteY107" fmla="*/ 1311027 h 2673102"/>
                  <a:gd name="connsiteX108" fmla="*/ 107358 w 1739754"/>
                  <a:gd name="connsiteY108" fmla="*/ 1244352 h 2673102"/>
                  <a:gd name="connsiteX109" fmla="*/ 78783 w 1739754"/>
                  <a:gd name="connsiteY109" fmla="*/ 1177677 h 2673102"/>
                  <a:gd name="connsiteX110" fmla="*/ 45446 w 1739754"/>
                  <a:gd name="connsiteY110" fmla="*/ 1096714 h 2673102"/>
                  <a:gd name="connsiteX111" fmla="*/ 21633 w 1739754"/>
                  <a:gd name="connsiteY111" fmla="*/ 1025277 h 2673102"/>
                  <a:gd name="connsiteX112" fmla="*/ 202 w 1739754"/>
                  <a:gd name="connsiteY112" fmla="*/ 980033 h 2673102"/>
                  <a:gd name="connsiteX113" fmla="*/ 14490 w 1739754"/>
                  <a:gd name="connsiteY113" fmla="*/ 930027 h 2673102"/>
                  <a:gd name="connsiteX114" fmla="*/ 69259 w 1739754"/>
                  <a:gd name="connsiteY114" fmla="*/ 810964 h 2673102"/>
                  <a:gd name="connsiteX115" fmla="*/ 221658 w 1739754"/>
                  <a:gd name="connsiteY115" fmla="*/ 601414 h 2673102"/>
                  <a:gd name="connsiteX116" fmla="*/ 288333 w 1739754"/>
                  <a:gd name="connsiteY116" fmla="*/ 515689 h 2673102"/>
                  <a:gd name="connsiteX117" fmla="*/ 412158 w 1739754"/>
                  <a:gd name="connsiteY117" fmla="*/ 406152 h 2673102"/>
                  <a:gd name="connsiteX118" fmla="*/ 535983 w 1739754"/>
                  <a:gd name="connsiteY118" fmla="*/ 291851 h 2673102"/>
                  <a:gd name="connsiteX119" fmla="*/ 640758 w 1739754"/>
                  <a:gd name="connsiteY119" fmla="*/ 229939 h 2673102"/>
                  <a:gd name="connsiteX120" fmla="*/ 733628 w 1739754"/>
                  <a:gd name="connsiteY120" fmla="*/ 168026 h 2673102"/>
                  <a:gd name="connsiteX121" fmla="*/ 978896 w 1739754"/>
                  <a:gd name="connsiteY121" fmla="*/ 63251 h 2673102"/>
                  <a:gd name="connsiteX122" fmla="*/ 1159871 w 1739754"/>
                  <a:gd name="connsiteY122" fmla="*/ 6102 h 2673102"/>
                  <a:gd name="connsiteX123" fmla="*/ 1202733 w 1739754"/>
                  <a:gd name="connsiteY12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181177 w 1739754"/>
                  <a:gd name="connsiteY90" fmla="*/ 2456408 h 2673102"/>
                  <a:gd name="connsiteX91" fmla="*/ 150221 w 1739754"/>
                  <a:gd name="connsiteY91" fmla="*/ 2415927 h 2673102"/>
                  <a:gd name="connsiteX92" fmla="*/ 135933 w 1739754"/>
                  <a:gd name="connsiteY92" fmla="*/ 2358777 h 2673102"/>
                  <a:gd name="connsiteX93" fmla="*/ 121646 w 1739754"/>
                  <a:gd name="connsiteY93" fmla="*/ 2315914 h 2673102"/>
                  <a:gd name="connsiteX94" fmla="*/ 88308 w 1739754"/>
                  <a:gd name="connsiteY94" fmla="*/ 2187327 h 2673102"/>
                  <a:gd name="connsiteX95" fmla="*/ 78783 w 1739754"/>
                  <a:gd name="connsiteY95" fmla="*/ 2111127 h 2673102"/>
                  <a:gd name="connsiteX96" fmla="*/ 97833 w 1739754"/>
                  <a:gd name="connsiteY96" fmla="*/ 1944439 h 2673102"/>
                  <a:gd name="connsiteX97" fmla="*/ 135933 w 1739754"/>
                  <a:gd name="connsiteY97" fmla="*/ 1868239 h 2673102"/>
                  <a:gd name="connsiteX98" fmla="*/ 131171 w 1739754"/>
                  <a:gd name="connsiteY98" fmla="*/ 1825377 h 2673102"/>
                  <a:gd name="connsiteX99" fmla="*/ 112121 w 1739754"/>
                  <a:gd name="connsiteY99" fmla="*/ 1820614 h 2673102"/>
                  <a:gd name="connsiteX100" fmla="*/ 102596 w 1739754"/>
                  <a:gd name="connsiteY100" fmla="*/ 1806327 h 2673102"/>
                  <a:gd name="connsiteX101" fmla="*/ 145458 w 1739754"/>
                  <a:gd name="connsiteY101" fmla="*/ 1720602 h 2673102"/>
                  <a:gd name="connsiteX102" fmla="*/ 188321 w 1739754"/>
                  <a:gd name="connsiteY102" fmla="*/ 1687264 h 2673102"/>
                  <a:gd name="connsiteX103" fmla="*/ 202608 w 1739754"/>
                  <a:gd name="connsiteY103" fmla="*/ 1653927 h 2673102"/>
                  <a:gd name="connsiteX104" fmla="*/ 193083 w 1739754"/>
                  <a:gd name="connsiteY104" fmla="*/ 1606302 h 2673102"/>
                  <a:gd name="connsiteX105" fmla="*/ 154983 w 1739754"/>
                  <a:gd name="connsiteY105" fmla="*/ 1549152 h 2673102"/>
                  <a:gd name="connsiteX106" fmla="*/ 140696 w 1739754"/>
                  <a:gd name="connsiteY106" fmla="*/ 1377702 h 2673102"/>
                  <a:gd name="connsiteX107" fmla="*/ 121646 w 1739754"/>
                  <a:gd name="connsiteY107" fmla="*/ 1311027 h 2673102"/>
                  <a:gd name="connsiteX108" fmla="*/ 107358 w 1739754"/>
                  <a:gd name="connsiteY108" fmla="*/ 1244352 h 2673102"/>
                  <a:gd name="connsiteX109" fmla="*/ 78783 w 1739754"/>
                  <a:gd name="connsiteY109" fmla="*/ 1177677 h 2673102"/>
                  <a:gd name="connsiteX110" fmla="*/ 45446 w 1739754"/>
                  <a:gd name="connsiteY110" fmla="*/ 1096714 h 2673102"/>
                  <a:gd name="connsiteX111" fmla="*/ 21633 w 1739754"/>
                  <a:gd name="connsiteY111" fmla="*/ 1025277 h 2673102"/>
                  <a:gd name="connsiteX112" fmla="*/ 202 w 1739754"/>
                  <a:gd name="connsiteY112" fmla="*/ 980033 h 2673102"/>
                  <a:gd name="connsiteX113" fmla="*/ 14490 w 1739754"/>
                  <a:gd name="connsiteY113" fmla="*/ 930027 h 2673102"/>
                  <a:gd name="connsiteX114" fmla="*/ 69259 w 1739754"/>
                  <a:gd name="connsiteY114" fmla="*/ 810964 h 2673102"/>
                  <a:gd name="connsiteX115" fmla="*/ 221658 w 1739754"/>
                  <a:gd name="connsiteY115" fmla="*/ 601414 h 2673102"/>
                  <a:gd name="connsiteX116" fmla="*/ 288333 w 1739754"/>
                  <a:gd name="connsiteY116" fmla="*/ 515689 h 2673102"/>
                  <a:gd name="connsiteX117" fmla="*/ 412158 w 1739754"/>
                  <a:gd name="connsiteY117" fmla="*/ 406152 h 2673102"/>
                  <a:gd name="connsiteX118" fmla="*/ 535983 w 1739754"/>
                  <a:gd name="connsiteY118" fmla="*/ 291851 h 2673102"/>
                  <a:gd name="connsiteX119" fmla="*/ 640758 w 1739754"/>
                  <a:gd name="connsiteY119" fmla="*/ 229939 h 2673102"/>
                  <a:gd name="connsiteX120" fmla="*/ 733628 w 1739754"/>
                  <a:gd name="connsiteY120" fmla="*/ 168026 h 2673102"/>
                  <a:gd name="connsiteX121" fmla="*/ 978896 w 1739754"/>
                  <a:gd name="connsiteY121" fmla="*/ 63251 h 2673102"/>
                  <a:gd name="connsiteX122" fmla="*/ 1159871 w 1739754"/>
                  <a:gd name="connsiteY122" fmla="*/ 6102 h 2673102"/>
                  <a:gd name="connsiteX123" fmla="*/ 1202733 w 1739754"/>
                  <a:gd name="connsiteY12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181177 w 1739754"/>
                  <a:gd name="connsiteY90" fmla="*/ 2456408 h 2673102"/>
                  <a:gd name="connsiteX91" fmla="*/ 150221 w 1739754"/>
                  <a:gd name="connsiteY91" fmla="*/ 2415927 h 2673102"/>
                  <a:gd name="connsiteX92" fmla="*/ 135933 w 1739754"/>
                  <a:gd name="connsiteY92" fmla="*/ 2358777 h 2673102"/>
                  <a:gd name="connsiteX93" fmla="*/ 121646 w 1739754"/>
                  <a:gd name="connsiteY93" fmla="*/ 2315914 h 2673102"/>
                  <a:gd name="connsiteX94" fmla="*/ 88308 w 1739754"/>
                  <a:gd name="connsiteY94" fmla="*/ 2187327 h 2673102"/>
                  <a:gd name="connsiteX95" fmla="*/ 78783 w 1739754"/>
                  <a:gd name="connsiteY95" fmla="*/ 2111127 h 2673102"/>
                  <a:gd name="connsiteX96" fmla="*/ 97833 w 1739754"/>
                  <a:gd name="connsiteY96" fmla="*/ 1944439 h 2673102"/>
                  <a:gd name="connsiteX97" fmla="*/ 135933 w 1739754"/>
                  <a:gd name="connsiteY97" fmla="*/ 1868239 h 2673102"/>
                  <a:gd name="connsiteX98" fmla="*/ 131171 w 1739754"/>
                  <a:gd name="connsiteY98" fmla="*/ 1825377 h 2673102"/>
                  <a:gd name="connsiteX99" fmla="*/ 112121 w 1739754"/>
                  <a:gd name="connsiteY99" fmla="*/ 1820614 h 2673102"/>
                  <a:gd name="connsiteX100" fmla="*/ 102596 w 1739754"/>
                  <a:gd name="connsiteY100" fmla="*/ 1806327 h 2673102"/>
                  <a:gd name="connsiteX101" fmla="*/ 145458 w 1739754"/>
                  <a:gd name="connsiteY101" fmla="*/ 1720602 h 2673102"/>
                  <a:gd name="connsiteX102" fmla="*/ 188321 w 1739754"/>
                  <a:gd name="connsiteY102" fmla="*/ 1687264 h 2673102"/>
                  <a:gd name="connsiteX103" fmla="*/ 202608 w 1739754"/>
                  <a:gd name="connsiteY103" fmla="*/ 1653927 h 2673102"/>
                  <a:gd name="connsiteX104" fmla="*/ 193083 w 1739754"/>
                  <a:gd name="connsiteY104" fmla="*/ 1606302 h 2673102"/>
                  <a:gd name="connsiteX105" fmla="*/ 154983 w 1739754"/>
                  <a:gd name="connsiteY105" fmla="*/ 1549152 h 2673102"/>
                  <a:gd name="connsiteX106" fmla="*/ 140696 w 1739754"/>
                  <a:gd name="connsiteY106" fmla="*/ 1377702 h 2673102"/>
                  <a:gd name="connsiteX107" fmla="*/ 121646 w 1739754"/>
                  <a:gd name="connsiteY107" fmla="*/ 1311027 h 2673102"/>
                  <a:gd name="connsiteX108" fmla="*/ 107358 w 1739754"/>
                  <a:gd name="connsiteY108" fmla="*/ 1244352 h 2673102"/>
                  <a:gd name="connsiteX109" fmla="*/ 78783 w 1739754"/>
                  <a:gd name="connsiteY109" fmla="*/ 1177677 h 2673102"/>
                  <a:gd name="connsiteX110" fmla="*/ 45446 w 1739754"/>
                  <a:gd name="connsiteY110" fmla="*/ 1096714 h 2673102"/>
                  <a:gd name="connsiteX111" fmla="*/ 21633 w 1739754"/>
                  <a:gd name="connsiteY111" fmla="*/ 1025277 h 2673102"/>
                  <a:gd name="connsiteX112" fmla="*/ 202 w 1739754"/>
                  <a:gd name="connsiteY112" fmla="*/ 980033 h 2673102"/>
                  <a:gd name="connsiteX113" fmla="*/ 14490 w 1739754"/>
                  <a:gd name="connsiteY113" fmla="*/ 930027 h 2673102"/>
                  <a:gd name="connsiteX114" fmla="*/ 69259 w 1739754"/>
                  <a:gd name="connsiteY114" fmla="*/ 810964 h 2673102"/>
                  <a:gd name="connsiteX115" fmla="*/ 221658 w 1739754"/>
                  <a:gd name="connsiteY115" fmla="*/ 601414 h 2673102"/>
                  <a:gd name="connsiteX116" fmla="*/ 288333 w 1739754"/>
                  <a:gd name="connsiteY116" fmla="*/ 515689 h 2673102"/>
                  <a:gd name="connsiteX117" fmla="*/ 412158 w 1739754"/>
                  <a:gd name="connsiteY117" fmla="*/ 406152 h 2673102"/>
                  <a:gd name="connsiteX118" fmla="*/ 535983 w 1739754"/>
                  <a:gd name="connsiteY118" fmla="*/ 291851 h 2673102"/>
                  <a:gd name="connsiteX119" fmla="*/ 640758 w 1739754"/>
                  <a:gd name="connsiteY119" fmla="*/ 229939 h 2673102"/>
                  <a:gd name="connsiteX120" fmla="*/ 733628 w 1739754"/>
                  <a:gd name="connsiteY120" fmla="*/ 168026 h 2673102"/>
                  <a:gd name="connsiteX121" fmla="*/ 978896 w 1739754"/>
                  <a:gd name="connsiteY121" fmla="*/ 63251 h 2673102"/>
                  <a:gd name="connsiteX122" fmla="*/ 1159871 w 1739754"/>
                  <a:gd name="connsiteY122" fmla="*/ 6102 h 2673102"/>
                  <a:gd name="connsiteX123" fmla="*/ 1202733 w 1739754"/>
                  <a:gd name="connsiteY12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297858 w 1739754"/>
                  <a:gd name="connsiteY88" fmla="*/ 2611189 h 2673102"/>
                  <a:gd name="connsiteX89" fmla="*/ 181177 w 1739754"/>
                  <a:gd name="connsiteY89" fmla="*/ 2456408 h 2673102"/>
                  <a:gd name="connsiteX90" fmla="*/ 150221 w 1739754"/>
                  <a:gd name="connsiteY90" fmla="*/ 2415927 h 2673102"/>
                  <a:gd name="connsiteX91" fmla="*/ 135933 w 1739754"/>
                  <a:gd name="connsiteY91" fmla="*/ 2358777 h 2673102"/>
                  <a:gd name="connsiteX92" fmla="*/ 121646 w 1739754"/>
                  <a:gd name="connsiteY92" fmla="*/ 2315914 h 2673102"/>
                  <a:gd name="connsiteX93" fmla="*/ 88308 w 1739754"/>
                  <a:gd name="connsiteY93" fmla="*/ 2187327 h 2673102"/>
                  <a:gd name="connsiteX94" fmla="*/ 78783 w 1739754"/>
                  <a:gd name="connsiteY94" fmla="*/ 2111127 h 2673102"/>
                  <a:gd name="connsiteX95" fmla="*/ 97833 w 1739754"/>
                  <a:gd name="connsiteY95" fmla="*/ 1944439 h 2673102"/>
                  <a:gd name="connsiteX96" fmla="*/ 135933 w 1739754"/>
                  <a:gd name="connsiteY96" fmla="*/ 1868239 h 2673102"/>
                  <a:gd name="connsiteX97" fmla="*/ 131171 w 1739754"/>
                  <a:gd name="connsiteY97" fmla="*/ 1825377 h 2673102"/>
                  <a:gd name="connsiteX98" fmla="*/ 112121 w 1739754"/>
                  <a:gd name="connsiteY98" fmla="*/ 1820614 h 2673102"/>
                  <a:gd name="connsiteX99" fmla="*/ 102596 w 1739754"/>
                  <a:gd name="connsiteY99" fmla="*/ 1806327 h 2673102"/>
                  <a:gd name="connsiteX100" fmla="*/ 145458 w 1739754"/>
                  <a:gd name="connsiteY100" fmla="*/ 1720602 h 2673102"/>
                  <a:gd name="connsiteX101" fmla="*/ 188321 w 1739754"/>
                  <a:gd name="connsiteY101" fmla="*/ 1687264 h 2673102"/>
                  <a:gd name="connsiteX102" fmla="*/ 202608 w 1739754"/>
                  <a:gd name="connsiteY102" fmla="*/ 1653927 h 2673102"/>
                  <a:gd name="connsiteX103" fmla="*/ 193083 w 1739754"/>
                  <a:gd name="connsiteY103" fmla="*/ 1606302 h 2673102"/>
                  <a:gd name="connsiteX104" fmla="*/ 154983 w 1739754"/>
                  <a:gd name="connsiteY104" fmla="*/ 1549152 h 2673102"/>
                  <a:gd name="connsiteX105" fmla="*/ 140696 w 1739754"/>
                  <a:gd name="connsiteY105" fmla="*/ 1377702 h 2673102"/>
                  <a:gd name="connsiteX106" fmla="*/ 121646 w 1739754"/>
                  <a:gd name="connsiteY106" fmla="*/ 1311027 h 2673102"/>
                  <a:gd name="connsiteX107" fmla="*/ 107358 w 1739754"/>
                  <a:gd name="connsiteY107" fmla="*/ 1244352 h 2673102"/>
                  <a:gd name="connsiteX108" fmla="*/ 78783 w 1739754"/>
                  <a:gd name="connsiteY108" fmla="*/ 1177677 h 2673102"/>
                  <a:gd name="connsiteX109" fmla="*/ 45446 w 1739754"/>
                  <a:gd name="connsiteY109" fmla="*/ 1096714 h 2673102"/>
                  <a:gd name="connsiteX110" fmla="*/ 21633 w 1739754"/>
                  <a:gd name="connsiteY110" fmla="*/ 1025277 h 2673102"/>
                  <a:gd name="connsiteX111" fmla="*/ 202 w 1739754"/>
                  <a:gd name="connsiteY111" fmla="*/ 980033 h 2673102"/>
                  <a:gd name="connsiteX112" fmla="*/ 14490 w 1739754"/>
                  <a:gd name="connsiteY112" fmla="*/ 930027 h 2673102"/>
                  <a:gd name="connsiteX113" fmla="*/ 69259 w 1739754"/>
                  <a:gd name="connsiteY113" fmla="*/ 810964 h 2673102"/>
                  <a:gd name="connsiteX114" fmla="*/ 221658 w 1739754"/>
                  <a:gd name="connsiteY114" fmla="*/ 601414 h 2673102"/>
                  <a:gd name="connsiteX115" fmla="*/ 288333 w 1739754"/>
                  <a:gd name="connsiteY115" fmla="*/ 515689 h 2673102"/>
                  <a:gd name="connsiteX116" fmla="*/ 412158 w 1739754"/>
                  <a:gd name="connsiteY116" fmla="*/ 406152 h 2673102"/>
                  <a:gd name="connsiteX117" fmla="*/ 535983 w 1739754"/>
                  <a:gd name="connsiteY117" fmla="*/ 291851 h 2673102"/>
                  <a:gd name="connsiteX118" fmla="*/ 640758 w 1739754"/>
                  <a:gd name="connsiteY118" fmla="*/ 229939 h 2673102"/>
                  <a:gd name="connsiteX119" fmla="*/ 733628 w 1739754"/>
                  <a:gd name="connsiteY119" fmla="*/ 168026 h 2673102"/>
                  <a:gd name="connsiteX120" fmla="*/ 978896 w 1739754"/>
                  <a:gd name="connsiteY120" fmla="*/ 63251 h 2673102"/>
                  <a:gd name="connsiteX121" fmla="*/ 1159871 w 1739754"/>
                  <a:gd name="connsiteY121" fmla="*/ 6102 h 2673102"/>
                  <a:gd name="connsiteX122" fmla="*/ 1202733 w 1739754"/>
                  <a:gd name="connsiteY12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297858 w 1739754"/>
                  <a:gd name="connsiteY87" fmla="*/ 2611189 h 2673102"/>
                  <a:gd name="connsiteX88" fmla="*/ 181177 w 1739754"/>
                  <a:gd name="connsiteY88" fmla="*/ 2456408 h 2673102"/>
                  <a:gd name="connsiteX89" fmla="*/ 150221 w 1739754"/>
                  <a:gd name="connsiteY89" fmla="*/ 2415927 h 2673102"/>
                  <a:gd name="connsiteX90" fmla="*/ 135933 w 1739754"/>
                  <a:gd name="connsiteY90" fmla="*/ 2358777 h 2673102"/>
                  <a:gd name="connsiteX91" fmla="*/ 121646 w 1739754"/>
                  <a:gd name="connsiteY91" fmla="*/ 2315914 h 2673102"/>
                  <a:gd name="connsiteX92" fmla="*/ 88308 w 1739754"/>
                  <a:gd name="connsiteY92" fmla="*/ 2187327 h 2673102"/>
                  <a:gd name="connsiteX93" fmla="*/ 78783 w 1739754"/>
                  <a:gd name="connsiteY93" fmla="*/ 2111127 h 2673102"/>
                  <a:gd name="connsiteX94" fmla="*/ 97833 w 1739754"/>
                  <a:gd name="connsiteY94" fmla="*/ 1944439 h 2673102"/>
                  <a:gd name="connsiteX95" fmla="*/ 135933 w 1739754"/>
                  <a:gd name="connsiteY95" fmla="*/ 1868239 h 2673102"/>
                  <a:gd name="connsiteX96" fmla="*/ 131171 w 1739754"/>
                  <a:gd name="connsiteY96" fmla="*/ 1825377 h 2673102"/>
                  <a:gd name="connsiteX97" fmla="*/ 112121 w 1739754"/>
                  <a:gd name="connsiteY97" fmla="*/ 1820614 h 2673102"/>
                  <a:gd name="connsiteX98" fmla="*/ 102596 w 1739754"/>
                  <a:gd name="connsiteY98" fmla="*/ 1806327 h 2673102"/>
                  <a:gd name="connsiteX99" fmla="*/ 145458 w 1739754"/>
                  <a:gd name="connsiteY99" fmla="*/ 1720602 h 2673102"/>
                  <a:gd name="connsiteX100" fmla="*/ 188321 w 1739754"/>
                  <a:gd name="connsiteY100" fmla="*/ 1687264 h 2673102"/>
                  <a:gd name="connsiteX101" fmla="*/ 202608 w 1739754"/>
                  <a:gd name="connsiteY101" fmla="*/ 1653927 h 2673102"/>
                  <a:gd name="connsiteX102" fmla="*/ 193083 w 1739754"/>
                  <a:gd name="connsiteY102" fmla="*/ 1606302 h 2673102"/>
                  <a:gd name="connsiteX103" fmla="*/ 154983 w 1739754"/>
                  <a:gd name="connsiteY103" fmla="*/ 1549152 h 2673102"/>
                  <a:gd name="connsiteX104" fmla="*/ 140696 w 1739754"/>
                  <a:gd name="connsiteY104" fmla="*/ 1377702 h 2673102"/>
                  <a:gd name="connsiteX105" fmla="*/ 121646 w 1739754"/>
                  <a:gd name="connsiteY105" fmla="*/ 1311027 h 2673102"/>
                  <a:gd name="connsiteX106" fmla="*/ 107358 w 1739754"/>
                  <a:gd name="connsiteY106" fmla="*/ 1244352 h 2673102"/>
                  <a:gd name="connsiteX107" fmla="*/ 78783 w 1739754"/>
                  <a:gd name="connsiteY107" fmla="*/ 1177677 h 2673102"/>
                  <a:gd name="connsiteX108" fmla="*/ 45446 w 1739754"/>
                  <a:gd name="connsiteY108" fmla="*/ 1096714 h 2673102"/>
                  <a:gd name="connsiteX109" fmla="*/ 21633 w 1739754"/>
                  <a:gd name="connsiteY109" fmla="*/ 1025277 h 2673102"/>
                  <a:gd name="connsiteX110" fmla="*/ 202 w 1739754"/>
                  <a:gd name="connsiteY110" fmla="*/ 980033 h 2673102"/>
                  <a:gd name="connsiteX111" fmla="*/ 14490 w 1739754"/>
                  <a:gd name="connsiteY111" fmla="*/ 930027 h 2673102"/>
                  <a:gd name="connsiteX112" fmla="*/ 69259 w 1739754"/>
                  <a:gd name="connsiteY112" fmla="*/ 810964 h 2673102"/>
                  <a:gd name="connsiteX113" fmla="*/ 221658 w 1739754"/>
                  <a:gd name="connsiteY113" fmla="*/ 601414 h 2673102"/>
                  <a:gd name="connsiteX114" fmla="*/ 288333 w 1739754"/>
                  <a:gd name="connsiteY114" fmla="*/ 515689 h 2673102"/>
                  <a:gd name="connsiteX115" fmla="*/ 412158 w 1739754"/>
                  <a:gd name="connsiteY115" fmla="*/ 406152 h 2673102"/>
                  <a:gd name="connsiteX116" fmla="*/ 535983 w 1739754"/>
                  <a:gd name="connsiteY116" fmla="*/ 291851 h 2673102"/>
                  <a:gd name="connsiteX117" fmla="*/ 640758 w 1739754"/>
                  <a:gd name="connsiteY117" fmla="*/ 229939 h 2673102"/>
                  <a:gd name="connsiteX118" fmla="*/ 733628 w 1739754"/>
                  <a:gd name="connsiteY118" fmla="*/ 168026 h 2673102"/>
                  <a:gd name="connsiteX119" fmla="*/ 978896 w 1739754"/>
                  <a:gd name="connsiteY119" fmla="*/ 63251 h 2673102"/>
                  <a:gd name="connsiteX120" fmla="*/ 1159871 w 1739754"/>
                  <a:gd name="connsiteY120" fmla="*/ 6102 h 2673102"/>
                  <a:gd name="connsiteX121" fmla="*/ 1202733 w 1739754"/>
                  <a:gd name="connsiteY12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297858 w 1739754"/>
                  <a:gd name="connsiteY87" fmla="*/ 2601664 h 2673102"/>
                  <a:gd name="connsiteX88" fmla="*/ 181177 w 1739754"/>
                  <a:gd name="connsiteY88" fmla="*/ 2456408 h 2673102"/>
                  <a:gd name="connsiteX89" fmla="*/ 150221 w 1739754"/>
                  <a:gd name="connsiteY89" fmla="*/ 2415927 h 2673102"/>
                  <a:gd name="connsiteX90" fmla="*/ 135933 w 1739754"/>
                  <a:gd name="connsiteY90" fmla="*/ 2358777 h 2673102"/>
                  <a:gd name="connsiteX91" fmla="*/ 121646 w 1739754"/>
                  <a:gd name="connsiteY91" fmla="*/ 2315914 h 2673102"/>
                  <a:gd name="connsiteX92" fmla="*/ 88308 w 1739754"/>
                  <a:gd name="connsiteY92" fmla="*/ 2187327 h 2673102"/>
                  <a:gd name="connsiteX93" fmla="*/ 78783 w 1739754"/>
                  <a:gd name="connsiteY93" fmla="*/ 2111127 h 2673102"/>
                  <a:gd name="connsiteX94" fmla="*/ 97833 w 1739754"/>
                  <a:gd name="connsiteY94" fmla="*/ 1944439 h 2673102"/>
                  <a:gd name="connsiteX95" fmla="*/ 135933 w 1739754"/>
                  <a:gd name="connsiteY95" fmla="*/ 1868239 h 2673102"/>
                  <a:gd name="connsiteX96" fmla="*/ 131171 w 1739754"/>
                  <a:gd name="connsiteY96" fmla="*/ 1825377 h 2673102"/>
                  <a:gd name="connsiteX97" fmla="*/ 112121 w 1739754"/>
                  <a:gd name="connsiteY97" fmla="*/ 1820614 h 2673102"/>
                  <a:gd name="connsiteX98" fmla="*/ 102596 w 1739754"/>
                  <a:gd name="connsiteY98" fmla="*/ 1806327 h 2673102"/>
                  <a:gd name="connsiteX99" fmla="*/ 145458 w 1739754"/>
                  <a:gd name="connsiteY99" fmla="*/ 1720602 h 2673102"/>
                  <a:gd name="connsiteX100" fmla="*/ 188321 w 1739754"/>
                  <a:gd name="connsiteY100" fmla="*/ 1687264 h 2673102"/>
                  <a:gd name="connsiteX101" fmla="*/ 202608 w 1739754"/>
                  <a:gd name="connsiteY101" fmla="*/ 1653927 h 2673102"/>
                  <a:gd name="connsiteX102" fmla="*/ 193083 w 1739754"/>
                  <a:gd name="connsiteY102" fmla="*/ 1606302 h 2673102"/>
                  <a:gd name="connsiteX103" fmla="*/ 154983 w 1739754"/>
                  <a:gd name="connsiteY103" fmla="*/ 1549152 h 2673102"/>
                  <a:gd name="connsiteX104" fmla="*/ 140696 w 1739754"/>
                  <a:gd name="connsiteY104" fmla="*/ 1377702 h 2673102"/>
                  <a:gd name="connsiteX105" fmla="*/ 121646 w 1739754"/>
                  <a:gd name="connsiteY105" fmla="*/ 1311027 h 2673102"/>
                  <a:gd name="connsiteX106" fmla="*/ 107358 w 1739754"/>
                  <a:gd name="connsiteY106" fmla="*/ 1244352 h 2673102"/>
                  <a:gd name="connsiteX107" fmla="*/ 78783 w 1739754"/>
                  <a:gd name="connsiteY107" fmla="*/ 1177677 h 2673102"/>
                  <a:gd name="connsiteX108" fmla="*/ 45446 w 1739754"/>
                  <a:gd name="connsiteY108" fmla="*/ 1096714 h 2673102"/>
                  <a:gd name="connsiteX109" fmla="*/ 21633 w 1739754"/>
                  <a:gd name="connsiteY109" fmla="*/ 1025277 h 2673102"/>
                  <a:gd name="connsiteX110" fmla="*/ 202 w 1739754"/>
                  <a:gd name="connsiteY110" fmla="*/ 980033 h 2673102"/>
                  <a:gd name="connsiteX111" fmla="*/ 14490 w 1739754"/>
                  <a:gd name="connsiteY111" fmla="*/ 930027 h 2673102"/>
                  <a:gd name="connsiteX112" fmla="*/ 69259 w 1739754"/>
                  <a:gd name="connsiteY112" fmla="*/ 810964 h 2673102"/>
                  <a:gd name="connsiteX113" fmla="*/ 221658 w 1739754"/>
                  <a:gd name="connsiteY113" fmla="*/ 601414 h 2673102"/>
                  <a:gd name="connsiteX114" fmla="*/ 288333 w 1739754"/>
                  <a:gd name="connsiteY114" fmla="*/ 515689 h 2673102"/>
                  <a:gd name="connsiteX115" fmla="*/ 412158 w 1739754"/>
                  <a:gd name="connsiteY115" fmla="*/ 406152 h 2673102"/>
                  <a:gd name="connsiteX116" fmla="*/ 535983 w 1739754"/>
                  <a:gd name="connsiteY116" fmla="*/ 291851 h 2673102"/>
                  <a:gd name="connsiteX117" fmla="*/ 640758 w 1739754"/>
                  <a:gd name="connsiteY117" fmla="*/ 229939 h 2673102"/>
                  <a:gd name="connsiteX118" fmla="*/ 733628 w 1739754"/>
                  <a:gd name="connsiteY118" fmla="*/ 168026 h 2673102"/>
                  <a:gd name="connsiteX119" fmla="*/ 978896 w 1739754"/>
                  <a:gd name="connsiteY119" fmla="*/ 63251 h 2673102"/>
                  <a:gd name="connsiteX120" fmla="*/ 1159871 w 1739754"/>
                  <a:gd name="connsiteY120" fmla="*/ 6102 h 2673102"/>
                  <a:gd name="connsiteX121" fmla="*/ 1202733 w 1739754"/>
                  <a:gd name="connsiteY121" fmla="*/ 10864 h 2673102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74083 w 1739754"/>
                  <a:gd name="connsiteY78" fmla="*/ 2534989 h 2666451"/>
                  <a:gd name="connsiteX79" fmla="*/ 540746 w 1739754"/>
                  <a:gd name="connsiteY79" fmla="*/ 2554039 h 2666451"/>
                  <a:gd name="connsiteX80" fmla="*/ 497883 w 1739754"/>
                  <a:gd name="connsiteY80" fmla="*/ 2587377 h 2666451"/>
                  <a:gd name="connsiteX81" fmla="*/ 483596 w 1739754"/>
                  <a:gd name="connsiteY81" fmla="*/ 2601664 h 2666451"/>
                  <a:gd name="connsiteX82" fmla="*/ 459783 w 1739754"/>
                  <a:gd name="connsiteY82" fmla="*/ 2620714 h 2666451"/>
                  <a:gd name="connsiteX83" fmla="*/ 450258 w 1739754"/>
                  <a:gd name="connsiteY83" fmla="*/ 2635002 h 2666451"/>
                  <a:gd name="connsiteX84" fmla="*/ 416921 w 1739754"/>
                  <a:gd name="connsiteY84" fmla="*/ 2654052 h 2666451"/>
                  <a:gd name="connsiteX85" fmla="*/ 359771 w 1739754"/>
                  <a:gd name="connsiteY85" fmla="*/ 2663577 h 2666451"/>
                  <a:gd name="connsiteX86" fmla="*/ 297858 w 1739754"/>
                  <a:gd name="connsiteY86" fmla="*/ 2601664 h 2666451"/>
                  <a:gd name="connsiteX87" fmla="*/ 181177 w 1739754"/>
                  <a:gd name="connsiteY87" fmla="*/ 2456408 h 2666451"/>
                  <a:gd name="connsiteX88" fmla="*/ 150221 w 1739754"/>
                  <a:gd name="connsiteY88" fmla="*/ 2415927 h 2666451"/>
                  <a:gd name="connsiteX89" fmla="*/ 135933 w 1739754"/>
                  <a:gd name="connsiteY89" fmla="*/ 2358777 h 2666451"/>
                  <a:gd name="connsiteX90" fmla="*/ 121646 w 1739754"/>
                  <a:gd name="connsiteY90" fmla="*/ 2315914 h 2666451"/>
                  <a:gd name="connsiteX91" fmla="*/ 88308 w 1739754"/>
                  <a:gd name="connsiteY91" fmla="*/ 2187327 h 2666451"/>
                  <a:gd name="connsiteX92" fmla="*/ 78783 w 1739754"/>
                  <a:gd name="connsiteY92" fmla="*/ 2111127 h 2666451"/>
                  <a:gd name="connsiteX93" fmla="*/ 97833 w 1739754"/>
                  <a:gd name="connsiteY93" fmla="*/ 1944439 h 2666451"/>
                  <a:gd name="connsiteX94" fmla="*/ 135933 w 1739754"/>
                  <a:gd name="connsiteY94" fmla="*/ 1868239 h 2666451"/>
                  <a:gd name="connsiteX95" fmla="*/ 131171 w 1739754"/>
                  <a:gd name="connsiteY95" fmla="*/ 1825377 h 2666451"/>
                  <a:gd name="connsiteX96" fmla="*/ 112121 w 1739754"/>
                  <a:gd name="connsiteY96" fmla="*/ 1820614 h 2666451"/>
                  <a:gd name="connsiteX97" fmla="*/ 102596 w 1739754"/>
                  <a:gd name="connsiteY97" fmla="*/ 1806327 h 2666451"/>
                  <a:gd name="connsiteX98" fmla="*/ 145458 w 1739754"/>
                  <a:gd name="connsiteY98" fmla="*/ 1720602 h 2666451"/>
                  <a:gd name="connsiteX99" fmla="*/ 188321 w 1739754"/>
                  <a:gd name="connsiteY99" fmla="*/ 1687264 h 2666451"/>
                  <a:gd name="connsiteX100" fmla="*/ 202608 w 1739754"/>
                  <a:gd name="connsiteY100" fmla="*/ 1653927 h 2666451"/>
                  <a:gd name="connsiteX101" fmla="*/ 193083 w 1739754"/>
                  <a:gd name="connsiteY101" fmla="*/ 1606302 h 2666451"/>
                  <a:gd name="connsiteX102" fmla="*/ 154983 w 1739754"/>
                  <a:gd name="connsiteY102" fmla="*/ 1549152 h 2666451"/>
                  <a:gd name="connsiteX103" fmla="*/ 140696 w 1739754"/>
                  <a:gd name="connsiteY103" fmla="*/ 1377702 h 2666451"/>
                  <a:gd name="connsiteX104" fmla="*/ 121646 w 1739754"/>
                  <a:gd name="connsiteY104" fmla="*/ 1311027 h 2666451"/>
                  <a:gd name="connsiteX105" fmla="*/ 107358 w 1739754"/>
                  <a:gd name="connsiteY105" fmla="*/ 1244352 h 2666451"/>
                  <a:gd name="connsiteX106" fmla="*/ 78783 w 1739754"/>
                  <a:gd name="connsiteY106" fmla="*/ 1177677 h 2666451"/>
                  <a:gd name="connsiteX107" fmla="*/ 45446 w 1739754"/>
                  <a:gd name="connsiteY107" fmla="*/ 1096714 h 2666451"/>
                  <a:gd name="connsiteX108" fmla="*/ 21633 w 1739754"/>
                  <a:gd name="connsiteY108" fmla="*/ 1025277 h 2666451"/>
                  <a:gd name="connsiteX109" fmla="*/ 202 w 1739754"/>
                  <a:gd name="connsiteY109" fmla="*/ 980033 h 2666451"/>
                  <a:gd name="connsiteX110" fmla="*/ 14490 w 1739754"/>
                  <a:gd name="connsiteY110" fmla="*/ 930027 h 2666451"/>
                  <a:gd name="connsiteX111" fmla="*/ 69259 w 1739754"/>
                  <a:gd name="connsiteY111" fmla="*/ 810964 h 2666451"/>
                  <a:gd name="connsiteX112" fmla="*/ 221658 w 1739754"/>
                  <a:gd name="connsiteY112" fmla="*/ 601414 h 2666451"/>
                  <a:gd name="connsiteX113" fmla="*/ 288333 w 1739754"/>
                  <a:gd name="connsiteY113" fmla="*/ 515689 h 2666451"/>
                  <a:gd name="connsiteX114" fmla="*/ 412158 w 1739754"/>
                  <a:gd name="connsiteY114" fmla="*/ 406152 h 2666451"/>
                  <a:gd name="connsiteX115" fmla="*/ 535983 w 1739754"/>
                  <a:gd name="connsiteY115" fmla="*/ 291851 h 2666451"/>
                  <a:gd name="connsiteX116" fmla="*/ 640758 w 1739754"/>
                  <a:gd name="connsiteY116" fmla="*/ 229939 h 2666451"/>
                  <a:gd name="connsiteX117" fmla="*/ 733628 w 1739754"/>
                  <a:gd name="connsiteY117" fmla="*/ 168026 h 2666451"/>
                  <a:gd name="connsiteX118" fmla="*/ 978896 w 1739754"/>
                  <a:gd name="connsiteY118" fmla="*/ 63251 h 2666451"/>
                  <a:gd name="connsiteX119" fmla="*/ 1159871 w 1739754"/>
                  <a:gd name="connsiteY119" fmla="*/ 6102 h 2666451"/>
                  <a:gd name="connsiteX120" fmla="*/ 1202733 w 1739754"/>
                  <a:gd name="connsiteY120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74083 w 1739754"/>
                  <a:gd name="connsiteY78" fmla="*/ 2534989 h 2666451"/>
                  <a:gd name="connsiteX79" fmla="*/ 540746 w 1739754"/>
                  <a:gd name="connsiteY79" fmla="*/ 2554039 h 2666451"/>
                  <a:gd name="connsiteX80" fmla="*/ 497883 w 1739754"/>
                  <a:gd name="connsiteY80" fmla="*/ 2587377 h 2666451"/>
                  <a:gd name="connsiteX81" fmla="*/ 459783 w 1739754"/>
                  <a:gd name="connsiteY81" fmla="*/ 2620714 h 2666451"/>
                  <a:gd name="connsiteX82" fmla="*/ 450258 w 1739754"/>
                  <a:gd name="connsiteY82" fmla="*/ 2635002 h 2666451"/>
                  <a:gd name="connsiteX83" fmla="*/ 416921 w 1739754"/>
                  <a:gd name="connsiteY83" fmla="*/ 2654052 h 2666451"/>
                  <a:gd name="connsiteX84" fmla="*/ 359771 w 1739754"/>
                  <a:gd name="connsiteY84" fmla="*/ 2663577 h 2666451"/>
                  <a:gd name="connsiteX85" fmla="*/ 297858 w 1739754"/>
                  <a:gd name="connsiteY85" fmla="*/ 2601664 h 2666451"/>
                  <a:gd name="connsiteX86" fmla="*/ 181177 w 1739754"/>
                  <a:gd name="connsiteY86" fmla="*/ 2456408 h 2666451"/>
                  <a:gd name="connsiteX87" fmla="*/ 150221 w 1739754"/>
                  <a:gd name="connsiteY87" fmla="*/ 2415927 h 2666451"/>
                  <a:gd name="connsiteX88" fmla="*/ 135933 w 1739754"/>
                  <a:gd name="connsiteY88" fmla="*/ 2358777 h 2666451"/>
                  <a:gd name="connsiteX89" fmla="*/ 121646 w 1739754"/>
                  <a:gd name="connsiteY89" fmla="*/ 2315914 h 2666451"/>
                  <a:gd name="connsiteX90" fmla="*/ 88308 w 1739754"/>
                  <a:gd name="connsiteY90" fmla="*/ 2187327 h 2666451"/>
                  <a:gd name="connsiteX91" fmla="*/ 78783 w 1739754"/>
                  <a:gd name="connsiteY91" fmla="*/ 2111127 h 2666451"/>
                  <a:gd name="connsiteX92" fmla="*/ 97833 w 1739754"/>
                  <a:gd name="connsiteY92" fmla="*/ 1944439 h 2666451"/>
                  <a:gd name="connsiteX93" fmla="*/ 135933 w 1739754"/>
                  <a:gd name="connsiteY93" fmla="*/ 1868239 h 2666451"/>
                  <a:gd name="connsiteX94" fmla="*/ 131171 w 1739754"/>
                  <a:gd name="connsiteY94" fmla="*/ 1825377 h 2666451"/>
                  <a:gd name="connsiteX95" fmla="*/ 112121 w 1739754"/>
                  <a:gd name="connsiteY95" fmla="*/ 1820614 h 2666451"/>
                  <a:gd name="connsiteX96" fmla="*/ 102596 w 1739754"/>
                  <a:gd name="connsiteY96" fmla="*/ 1806327 h 2666451"/>
                  <a:gd name="connsiteX97" fmla="*/ 145458 w 1739754"/>
                  <a:gd name="connsiteY97" fmla="*/ 1720602 h 2666451"/>
                  <a:gd name="connsiteX98" fmla="*/ 188321 w 1739754"/>
                  <a:gd name="connsiteY98" fmla="*/ 1687264 h 2666451"/>
                  <a:gd name="connsiteX99" fmla="*/ 202608 w 1739754"/>
                  <a:gd name="connsiteY99" fmla="*/ 1653927 h 2666451"/>
                  <a:gd name="connsiteX100" fmla="*/ 193083 w 1739754"/>
                  <a:gd name="connsiteY100" fmla="*/ 1606302 h 2666451"/>
                  <a:gd name="connsiteX101" fmla="*/ 154983 w 1739754"/>
                  <a:gd name="connsiteY101" fmla="*/ 1549152 h 2666451"/>
                  <a:gd name="connsiteX102" fmla="*/ 140696 w 1739754"/>
                  <a:gd name="connsiteY102" fmla="*/ 1377702 h 2666451"/>
                  <a:gd name="connsiteX103" fmla="*/ 121646 w 1739754"/>
                  <a:gd name="connsiteY103" fmla="*/ 1311027 h 2666451"/>
                  <a:gd name="connsiteX104" fmla="*/ 107358 w 1739754"/>
                  <a:gd name="connsiteY104" fmla="*/ 1244352 h 2666451"/>
                  <a:gd name="connsiteX105" fmla="*/ 78783 w 1739754"/>
                  <a:gd name="connsiteY105" fmla="*/ 1177677 h 2666451"/>
                  <a:gd name="connsiteX106" fmla="*/ 45446 w 1739754"/>
                  <a:gd name="connsiteY106" fmla="*/ 1096714 h 2666451"/>
                  <a:gd name="connsiteX107" fmla="*/ 21633 w 1739754"/>
                  <a:gd name="connsiteY107" fmla="*/ 1025277 h 2666451"/>
                  <a:gd name="connsiteX108" fmla="*/ 202 w 1739754"/>
                  <a:gd name="connsiteY108" fmla="*/ 980033 h 2666451"/>
                  <a:gd name="connsiteX109" fmla="*/ 14490 w 1739754"/>
                  <a:gd name="connsiteY109" fmla="*/ 930027 h 2666451"/>
                  <a:gd name="connsiteX110" fmla="*/ 69259 w 1739754"/>
                  <a:gd name="connsiteY110" fmla="*/ 810964 h 2666451"/>
                  <a:gd name="connsiteX111" fmla="*/ 221658 w 1739754"/>
                  <a:gd name="connsiteY111" fmla="*/ 601414 h 2666451"/>
                  <a:gd name="connsiteX112" fmla="*/ 288333 w 1739754"/>
                  <a:gd name="connsiteY112" fmla="*/ 515689 h 2666451"/>
                  <a:gd name="connsiteX113" fmla="*/ 412158 w 1739754"/>
                  <a:gd name="connsiteY113" fmla="*/ 406152 h 2666451"/>
                  <a:gd name="connsiteX114" fmla="*/ 535983 w 1739754"/>
                  <a:gd name="connsiteY114" fmla="*/ 291851 h 2666451"/>
                  <a:gd name="connsiteX115" fmla="*/ 640758 w 1739754"/>
                  <a:gd name="connsiteY115" fmla="*/ 229939 h 2666451"/>
                  <a:gd name="connsiteX116" fmla="*/ 733628 w 1739754"/>
                  <a:gd name="connsiteY116" fmla="*/ 168026 h 2666451"/>
                  <a:gd name="connsiteX117" fmla="*/ 978896 w 1739754"/>
                  <a:gd name="connsiteY117" fmla="*/ 63251 h 2666451"/>
                  <a:gd name="connsiteX118" fmla="*/ 1159871 w 1739754"/>
                  <a:gd name="connsiteY118" fmla="*/ 6102 h 2666451"/>
                  <a:gd name="connsiteX119" fmla="*/ 1202733 w 1739754"/>
                  <a:gd name="connsiteY119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74083 w 1739754"/>
                  <a:gd name="connsiteY78" fmla="*/ 2534989 h 2666451"/>
                  <a:gd name="connsiteX79" fmla="*/ 540746 w 1739754"/>
                  <a:gd name="connsiteY79" fmla="*/ 2554039 h 2666451"/>
                  <a:gd name="connsiteX80" fmla="*/ 497883 w 1739754"/>
                  <a:gd name="connsiteY80" fmla="*/ 2587377 h 2666451"/>
                  <a:gd name="connsiteX81" fmla="*/ 450258 w 1739754"/>
                  <a:gd name="connsiteY81" fmla="*/ 2635002 h 2666451"/>
                  <a:gd name="connsiteX82" fmla="*/ 416921 w 1739754"/>
                  <a:gd name="connsiteY82" fmla="*/ 2654052 h 2666451"/>
                  <a:gd name="connsiteX83" fmla="*/ 359771 w 1739754"/>
                  <a:gd name="connsiteY83" fmla="*/ 2663577 h 2666451"/>
                  <a:gd name="connsiteX84" fmla="*/ 297858 w 1739754"/>
                  <a:gd name="connsiteY84" fmla="*/ 2601664 h 2666451"/>
                  <a:gd name="connsiteX85" fmla="*/ 181177 w 1739754"/>
                  <a:gd name="connsiteY85" fmla="*/ 2456408 h 2666451"/>
                  <a:gd name="connsiteX86" fmla="*/ 150221 w 1739754"/>
                  <a:gd name="connsiteY86" fmla="*/ 2415927 h 2666451"/>
                  <a:gd name="connsiteX87" fmla="*/ 135933 w 1739754"/>
                  <a:gd name="connsiteY87" fmla="*/ 2358777 h 2666451"/>
                  <a:gd name="connsiteX88" fmla="*/ 121646 w 1739754"/>
                  <a:gd name="connsiteY88" fmla="*/ 2315914 h 2666451"/>
                  <a:gd name="connsiteX89" fmla="*/ 88308 w 1739754"/>
                  <a:gd name="connsiteY89" fmla="*/ 2187327 h 2666451"/>
                  <a:gd name="connsiteX90" fmla="*/ 78783 w 1739754"/>
                  <a:gd name="connsiteY90" fmla="*/ 2111127 h 2666451"/>
                  <a:gd name="connsiteX91" fmla="*/ 97833 w 1739754"/>
                  <a:gd name="connsiteY91" fmla="*/ 1944439 h 2666451"/>
                  <a:gd name="connsiteX92" fmla="*/ 135933 w 1739754"/>
                  <a:gd name="connsiteY92" fmla="*/ 1868239 h 2666451"/>
                  <a:gd name="connsiteX93" fmla="*/ 131171 w 1739754"/>
                  <a:gd name="connsiteY93" fmla="*/ 1825377 h 2666451"/>
                  <a:gd name="connsiteX94" fmla="*/ 112121 w 1739754"/>
                  <a:gd name="connsiteY94" fmla="*/ 1820614 h 2666451"/>
                  <a:gd name="connsiteX95" fmla="*/ 102596 w 1739754"/>
                  <a:gd name="connsiteY95" fmla="*/ 1806327 h 2666451"/>
                  <a:gd name="connsiteX96" fmla="*/ 145458 w 1739754"/>
                  <a:gd name="connsiteY96" fmla="*/ 1720602 h 2666451"/>
                  <a:gd name="connsiteX97" fmla="*/ 188321 w 1739754"/>
                  <a:gd name="connsiteY97" fmla="*/ 1687264 h 2666451"/>
                  <a:gd name="connsiteX98" fmla="*/ 202608 w 1739754"/>
                  <a:gd name="connsiteY98" fmla="*/ 1653927 h 2666451"/>
                  <a:gd name="connsiteX99" fmla="*/ 193083 w 1739754"/>
                  <a:gd name="connsiteY99" fmla="*/ 1606302 h 2666451"/>
                  <a:gd name="connsiteX100" fmla="*/ 154983 w 1739754"/>
                  <a:gd name="connsiteY100" fmla="*/ 1549152 h 2666451"/>
                  <a:gd name="connsiteX101" fmla="*/ 140696 w 1739754"/>
                  <a:gd name="connsiteY101" fmla="*/ 1377702 h 2666451"/>
                  <a:gd name="connsiteX102" fmla="*/ 121646 w 1739754"/>
                  <a:gd name="connsiteY102" fmla="*/ 1311027 h 2666451"/>
                  <a:gd name="connsiteX103" fmla="*/ 107358 w 1739754"/>
                  <a:gd name="connsiteY103" fmla="*/ 1244352 h 2666451"/>
                  <a:gd name="connsiteX104" fmla="*/ 78783 w 1739754"/>
                  <a:gd name="connsiteY104" fmla="*/ 1177677 h 2666451"/>
                  <a:gd name="connsiteX105" fmla="*/ 45446 w 1739754"/>
                  <a:gd name="connsiteY105" fmla="*/ 1096714 h 2666451"/>
                  <a:gd name="connsiteX106" fmla="*/ 21633 w 1739754"/>
                  <a:gd name="connsiteY106" fmla="*/ 1025277 h 2666451"/>
                  <a:gd name="connsiteX107" fmla="*/ 202 w 1739754"/>
                  <a:gd name="connsiteY107" fmla="*/ 980033 h 2666451"/>
                  <a:gd name="connsiteX108" fmla="*/ 14490 w 1739754"/>
                  <a:gd name="connsiteY108" fmla="*/ 930027 h 2666451"/>
                  <a:gd name="connsiteX109" fmla="*/ 69259 w 1739754"/>
                  <a:gd name="connsiteY109" fmla="*/ 810964 h 2666451"/>
                  <a:gd name="connsiteX110" fmla="*/ 221658 w 1739754"/>
                  <a:gd name="connsiteY110" fmla="*/ 601414 h 2666451"/>
                  <a:gd name="connsiteX111" fmla="*/ 288333 w 1739754"/>
                  <a:gd name="connsiteY111" fmla="*/ 515689 h 2666451"/>
                  <a:gd name="connsiteX112" fmla="*/ 412158 w 1739754"/>
                  <a:gd name="connsiteY112" fmla="*/ 406152 h 2666451"/>
                  <a:gd name="connsiteX113" fmla="*/ 535983 w 1739754"/>
                  <a:gd name="connsiteY113" fmla="*/ 291851 h 2666451"/>
                  <a:gd name="connsiteX114" fmla="*/ 640758 w 1739754"/>
                  <a:gd name="connsiteY114" fmla="*/ 229939 h 2666451"/>
                  <a:gd name="connsiteX115" fmla="*/ 733628 w 1739754"/>
                  <a:gd name="connsiteY115" fmla="*/ 168026 h 2666451"/>
                  <a:gd name="connsiteX116" fmla="*/ 978896 w 1739754"/>
                  <a:gd name="connsiteY116" fmla="*/ 63251 h 2666451"/>
                  <a:gd name="connsiteX117" fmla="*/ 1159871 w 1739754"/>
                  <a:gd name="connsiteY117" fmla="*/ 6102 h 2666451"/>
                  <a:gd name="connsiteX118" fmla="*/ 1202733 w 1739754"/>
                  <a:gd name="connsiteY118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40746 w 1739754"/>
                  <a:gd name="connsiteY78" fmla="*/ 2554039 h 2666451"/>
                  <a:gd name="connsiteX79" fmla="*/ 497883 w 1739754"/>
                  <a:gd name="connsiteY79" fmla="*/ 2587377 h 2666451"/>
                  <a:gd name="connsiteX80" fmla="*/ 450258 w 1739754"/>
                  <a:gd name="connsiteY80" fmla="*/ 2635002 h 2666451"/>
                  <a:gd name="connsiteX81" fmla="*/ 416921 w 1739754"/>
                  <a:gd name="connsiteY81" fmla="*/ 2654052 h 2666451"/>
                  <a:gd name="connsiteX82" fmla="*/ 359771 w 1739754"/>
                  <a:gd name="connsiteY82" fmla="*/ 2663577 h 2666451"/>
                  <a:gd name="connsiteX83" fmla="*/ 297858 w 1739754"/>
                  <a:gd name="connsiteY83" fmla="*/ 2601664 h 2666451"/>
                  <a:gd name="connsiteX84" fmla="*/ 181177 w 1739754"/>
                  <a:gd name="connsiteY84" fmla="*/ 2456408 h 2666451"/>
                  <a:gd name="connsiteX85" fmla="*/ 150221 w 1739754"/>
                  <a:gd name="connsiteY85" fmla="*/ 2415927 h 2666451"/>
                  <a:gd name="connsiteX86" fmla="*/ 135933 w 1739754"/>
                  <a:gd name="connsiteY86" fmla="*/ 2358777 h 2666451"/>
                  <a:gd name="connsiteX87" fmla="*/ 121646 w 1739754"/>
                  <a:gd name="connsiteY87" fmla="*/ 2315914 h 2666451"/>
                  <a:gd name="connsiteX88" fmla="*/ 88308 w 1739754"/>
                  <a:gd name="connsiteY88" fmla="*/ 2187327 h 2666451"/>
                  <a:gd name="connsiteX89" fmla="*/ 78783 w 1739754"/>
                  <a:gd name="connsiteY89" fmla="*/ 2111127 h 2666451"/>
                  <a:gd name="connsiteX90" fmla="*/ 97833 w 1739754"/>
                  <a:gd name="connsiteY90" fmla="*/ 1944439 h 2666451"/>
                  <a:gd name="connsiteX91" fmla="*/ 135933 w 1739754"/>
                  <a:gd name="connsiteY91" fmla="*/ 1868239 h 2666451"/>
                  <a:gd name="connsiteX92" fmla="*/ 131171 w 1739754"/>
                  <a:gd name="connsiteY92" fmla="*/ 1825377 h 2666451"/>
                  <a:gd name="connsiteX93" fmla="*/ 112121 w 1739754"/>
                  <a:gd name="connsiteY93" fmla="*/ 1820614 h 2666451"/>
                  <a:gd name="connsiteX94" fmla="*/ 102596 w 1739754"/>
                  <a:gd name="connsiteY94" fmla="*/ 1806327 h 2666451"/>
                  <a:gd name="connsiteX95" fmla="*/ 145458 w 1739754"/>
                  <a:gd name="connsiteY95" fmla="*/ 1720602 h 2666451"/>
                  <a:gd name="connsiteX96" fmla="*/ 188321 w 1739754"/>
                  <a:gd name="connsiteY96" fmla="*/ 1687264 h 2666451"/>
                  <a:gd name="connsiteX97" fmla="*/ 202608 w 1739754"/>
                  <a:gd name="connsiteY97" fmla="*/ 1653927 h 2666451"/>
                  <a:gd name="connsiteX98" fmla="*/ 193083 w 1739754"/>
                  <a:gd name="connsiteY98" fmla="*/ 1606302 h 2666451"/>
                  <a:gd name="connsiteX99" fmla="*/ 154983 w 1739754"/>
                  <a:gd name="connsiteY99" fmla="*/ 1549152 h 2666451"/>
                  <a:gd name="connsiteX100" fmla="*/ 140696 w 1739754"/>
                  <a:gd name="connsiteY100" fmla="*/ 1377702 h 2666451"/>
                  <a:gd name="connsiteX101" fmla="*/ 121646 w 1739754"/>
                  <a:gd name="connsiteY101" fmla="*/ 1311027 h 2666451"/>
                  <a:gd name="connsiteX102" fmla="*/ 107358 w 1739754"/>
                  <a:gd name="connsiteY102" fmla="*/ 1244352 h 2666451"/>
                  <a:gd name="connsiteX103" fmla="*/ 78783 w 1739754"/>
                  <a:gd name="connsiteY103" fmla="*/ 1177677 h 2666451"/>
                  <a:gd name="connsiteX104" fmla="*/ 45446 w 1739754"/>
                  <a:gd name="connsiteY104" fmla="*/ 1096714 h 2666451"/>
                  <a:gd name="connsiteX105" fmla="*/ 21633 w 1739754"/>
                  <a:gd name="connsiteY105" fmla="*/ 1025277 h 2666451"/>
                  <a:gd name="connsiteX106" fmla="*/ 202 w 1739754"/>
                  <a:gd name="connsiteY106" fmla="*/ 980033 h 2666451"/>
                  <a:gd name="connsiteX107" fmla="*/ 14490 w 1739754"/>
                  <a:gd name="connsiteY107" fmla="*/ 930027 h 2666451"/>
                  <a:gd name="connsiteX108" fmla="*/ 69259 w 1739754"/>
                  <a:gd name="connsiteY108" fmla="*/ 810964 h 2666451"/>
                  <a:gd name="connsiteX109" fmla="*/ 221658 w 1739754"/>
                  <a:gd name="connsiteY109" fmla="*/ 601414 h 2666451"/>
                  <a:gd name="connsiteX110" fmla="*/ 288333 w 1739754"/>
                  <a:gd name="connsiteY110" fmla="*/ 515689 h 2666451"/>
                  <a:gd name="connsiteX111" fmla="*/ 412158 w 1739754"/>
                  <a:gd name="connsiteY111" fmla="*/ 406152 h 2666451"/>
                  <a:gd name="connsiteX112" fmla="*/ 535983 w 1739754"/>
                  <a:gd name="connsiteY112" fmla="*/ 291851 h 2666451"/>
                  <a:gd name="connsiteX113" fmla="*/ 640758 w 1739754"/>
                  <a:gd name="connsiteY113" fmla="*/ 229939 h 2666451"/>
                  <a:gd name="connsiteX114" fmla="*/ 733628 w 1739754"/>
                  <a:gd name="connsiteY114" fmla="*/ 168026 h 2666451"/>
                  <a:gd name="connsiteX115" fmla="*/ 978896 w 1739754"/>
                  <a:gd name="connsiteY115" fmla="*/ 63251 h 2666451"/>
                  <a:gd name="connsiteX116" fmla="*/ 1159871 w 1739754"/>
                  <a:gd name="connsiteY116" fmla="*/ 6102 h 2666451"/>
                  <a:gd name="connsiteX117" fmla="*/ 1202733 w 1739754"/>
                  <a:gd name="connsiteY117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07421 w 1739754"/>
                  <a:gd name="connsiteY76" fmla="*/ 2511177 h 2666451"/>
                  <a:gd name="connsiteX77" fmla="*/ 540746 w 1739754"/>
                  <a:gd name="connsiteY77" fmla="*/ 2554039 h 2666451"/>
                  <a:gd name="connsiteX78" fmla="*/ 497883 w 1739754"/>
                  <a:gd name="connsiteY78" fmla="*/ 2587377 h 2666451"/>
                  <a:gd name="connsiteX79" fmla="*/ 450258 w 1739754"/>
                  <a:gd name="connsiteY79" fmla="*/ 2635002 h 2666451"/>
                  <a:gd name="connsiteX80" fmla="*/ 416921 w 1739754"/>
                  <a:gd name="connsiteY80" fmla="*/ 2654052 h 2666451"/>
                  <a:gd name="connsiteX81" fmla="*/ 359771 w 1739754"/>
                  <a:gd name="connsiteY81" fmla="*/ 2663577 h 2666451"/>
                  <a:gd name="connsiteX82" fmla="*/ 297858 w 1739754"/>
                  <a:gd name="connsiteY82" fmla="*/ 2601664 h 2666451"/>
                  <a:gd name="connsiteX83" fmla="*/ 181177 w 1739754"/>
                  <a:gd name="connsiteY83" fmla="*/ 2456408 h 2666451"/>
                  <a:gd name="connsiteX84" fmla="*/ 150221 w 1739754"/>
                  <a:gd name="connsiteY84" fmla="*/ 2415927 h 2666451"/>
                  <a:gd name="connsiteX85" fmla="*/ 135933 w 1739754"/>
                  <a:gd name="connsiteY85" fmla="*/ 2358777 h 2666451"/>
                  <a:gd name="connsiteX86" fmla="*/ 121646 w 1739754"/>
                  <a:gd name="connsiteY86" fmla="*/ 2315914 h 2666451"/>
                  <a:gd name="connsiteX87" fmla="*/ 88308 w 1739754"/>
                  <a:gd name="connsiteY87" fmla="*/ 2187327 h 2666451"/>
                  <a:gd name="connsiteX88" fmla="*/ 78783 w 1739754"/>
                  <a:gd name="connsiteY88" fmla="*/ 2111127 h 2666451"/>
                  <a:gd name="connsiteX89" fmla="*/ 97833 w 1739754"/>
                  <a:gd name="connsiteY89" fmla="*/ 1944439 h 2666451"/>
                  <a:gd name="connsiteX90" fmla="*/ 135933 w 1739754"/>
                  <a:gd name="connsiteY90" fmla="*/ 1868239 h 2666451"/>
                  <a:gd name="connsiteX91" fmla="*/ 131171 w 1739754"/>
                  <a:gd name="connsiteY91" fmla="*/ 1825377 h 2666451"/>
                  <a:gd name="connsiteX92" fmla="*/ 112121 w 1739754"/>
                  <a:gd name="connsiteY92" fmla="*/ 1820614 h 2666451"/>
                  <a:gd name="connsiteX93" fmla="*/ 102596 w 1739754"/>
                  <a:gd name="connsiteY93" fmla="*/ 1806327 h 2666451"/>
                  <a:gd name="connsiteX94" fmla="*/ 145458 w 1739754"/>
                  <a:gd name="connsiteY94" fmla="*/ 1720602 h 2666451"/>
                  <a:gd name="connsiteX95" fmla="*/ 188321 w 1739754"/>
                  <a:gd name="connsiteY95" fmla="*/ 1687264 h 2666451"/>
                  <a:gd name="connsiteX96" fmla="*/ 202608 w 1739754"/>
                  <a:gd name="connsiteY96" fmla="*/ 1653927 h 2666451"/>
                  <a:gd name="connsiteX97" fmla="*/ 193083 w 1739754"/>
                  <a:gd name="connsiteY97" fmla="*/ 1606302 h 2666451"/>
                  <a:gd name="connsiteX98" fmla="*/ 154983 w 1739754"/>
                  <a:gd name="connsiteY98" fmla="*/ 1549152 h 2666451"/>
                  <a:gd name="connsiteX99" fmla="*/ 140696 w 1739754"/>
                  <a:gd name="connsiteY99" fmla="*/ 1377702 h 2666451"/>
                  <a:gd name="connsiteX100" fmla="*/ 121646 w 1739754"/>
                  <a:gd name="connsiteY100" fmla="*/ 1311027 h 2666451"/>
                  <a:gd name="connsiteX101" fmla="*/ 107358 w 1739754"/>
                  <a:gd name="connsiteY101" fmla="*/ 1244352 h 2666451"/>
                  <a:gd name="connsiteX102" fmla="*/ 78783 w 1739754"/>
                  <a:gd name="connsiteY102" fmla="*/ 1177677 h 2666451"/>
                  <a:gd name="connsiteX103" fmla="*/ 45446 w 1739754"/>
                  <a:gd name="connsiteY103" fmla="*/ 1096714 h 2666451"/>
                  <a:gd name="connsiteX104" fmla="*/ 21633 w 1739754"/>
                  <a:gd name="connsiteY104" fmla="*/ 1025277 h 2666451"/>
                  <a:gd name="connsiteX105" fmla="*/ 202 w 1739754"/>
                  <a:gd name="connsiteY105" fmla="*/ 980033 h 2666451"/>
                  <a:gd name="connsiteX106" fmla="*/ 14490 w 1739754"/>
                  <a:gd name="connsiteY106" fmla="*/ 930027 h 2666451"/>
                  <a:gd name="connsiteX107" fmla="*/ 69259 w 1739754"/>
                  <a:gd name="connsiteY107" fmla="*/ 810964 h 2666451"/>
                  <a:gd name="connsiteX108" fmla="*/ 221658 w 1739754"/>
                  <a:gd name="connsiteY108" fmla="*/ 601414 h 2666451"/>
                  <a:gd name="connsiteX109" fmla="*/ 288333 w 1739754"/>
                  <a:gd name="connsiteY109" fmla="*/ 515689 h 2666451"/>
                  <a:gd name="connsiteX110" fmla="*/ 412158 w 1739754"/>
                  <a:gd name="connsiteY110" fmla="*/ 406152 h 2666451"/>
                  <a:gd name="connsiteX111" fmla="*/ 535983 w 1739754"/>
                  <a:gd name="connsiteY111" fmla="*/ 291851 h 2666451"/>
                  <a:gd name="connsiteX112" fmla="*/ 640758 w 1739754"/>
                  <a:gd name="connsiteY112" fmla="*/ 229939 h 2666451"/>
                  <a:gd name="connsiteX113" fmla="*/ 733628 w 1739754"/>
                  <a:gd name="connsiteY113" fmla="*/ 168026 h 2666451"/>
                  <a:gd name="connsiteX114" fmla="*/ 978896 w 1739754"/>
                  <a:gd name="connsiteY114" fmla="*/ 63251 h 2666451"/>
                  <a:gd name="connsiteX115" fmla="*/ 1159871 w 1739754"/>
                  <a:gd name="connsiteY115" fmla="*/ 6102 h 2666451"/>
                  <a:gd name="connsiteX116" fmla="*/ 1202733 w 1739754"/>
                  <a:gd name="connsiteY116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07421 w 1739754"/>
                  <a:gd name="connsiteY76" fmla="*/ 2511177 h 2666451"/>
                  <a:gd name="connsiteX77" fmla="*/ 540746 w 1739754"/>
                  <a:gd name="connsiteY77" fmla="*/ 2554039 h 2666451"/>
                  <a:gd name="connsiteX78" fmla="*/ 497883 w 1739754"/>
                  <a:gd name="connsiteY78" fmla="*/ 2587377 h 2666451"/>
                  <a:gd name="connsiteX79" fmla="*/ 450258 w 1739754"/>
                  <a:gd name="connsiteY79" fmla="*/ 2635002 h 2666451"/>
                  <a:gd name="connsiteX80" fmla="*/ 416921 w 1739754"/>
                  <a:gd name="connsiteY80" fmla="*/ 2654052 h 2666451"/>
                  <a:gd name="connsiteX81" fmla="*/ 359771 w 1739754"/>
                  <a:gd name="connsiteY81" fmla="*/ 2663577 h 2666451"/>
                  <a:gd name="connsiteX82" fmla="*/ 297858 w 1739754"/>
                  <a:gd name="connsiteY82" fmla="*/ 2601664 h 2666451"/>
                  <a:gd name="connsiteX83" fmla="*/ 181177 w 1739754"/>
                  <a:gd name="connsiteY83" fmla="*/ 2456408 h 2666451"/>
                  <a:gd name="connsiteX84" fmla="*/ 150221 w 1739754"/>
                  <a:gd name="connsiteY84" fmla="*/ 2415927 h 2666451"/>
                  <a:gd name="connsiteX85" fmla="*/ 135933 w 1739754"/>
                  <a:gd name="connsiteY85" fmla="*/ 2358777 h 2666451"/>
                  <a:gd name="connsiteX86" fmla="*/ 121646 w 1739754"/>
                  <a:gd name="connsiteY86" fmla="*/ 2315914 h 2666451"/>
                  <a:gd name="connsiteX87" fmla="*/ 88308 w 1739754"/>
                  <a:gd name="connsiteY87" fmla="*/ 2187327 h 2666451"/>
                  <a:gd name="connsiteX88" fmla="*/ 78783 w 1739754"/>
                  <a:gd name="connsiteY88" fmla="*/ 2111127 h 2666451"/>
                  <a:gd name="connsiteX89" fmla="*/ 97833 w 1739754"/>
                  <a:gd name="connsiteY89" fmla="*/ 1944439 h 2666451"/>
                  <a:gd name="connsiteX90" fmla="*/ 135933 w 1739754"/>
                  <a:gd name="connsiteY90" fmla="*/ 1868239 h 2666451"/>
                  <a:gd name="connsiteX91" fmla="*/ 131171 w 1739754"/>
                  <a:gd name="connsiteY91" fmla="*/ 1825377 h 2666451"/>
                  <a:gd name="connsiteX92" fmla="*/ 112121 w 1739754"/>
                  <a:gd name="connsiteY92" fmla="*/ 1820614 h 2666451"/>
                  <a:gd name="connsiteX93" fmla="*/ 102596 w 1739754"/>
                  <a:gd name="connsiteY93" fmla="*/ 1806327 h 2666451"/>
                  <a:gd name="connsiteX94" fmla="*/ 145458 w 1739754"/>
                  <a:gd name="connsiteY94" fmla="*/ 1720602 h 2666451"/>
                  <a:gd name="connsiteX95" fmla="*/ 188321 w 1739754"/>
                  <a:gd name="connsiteY95" fmla="*/ 1687264 h 2666451"/>
                  <a:gd name="connsiteX96" fmla="*/ 202608 w 1739754"/>
                  <a:gd name="connsiteY96" fmla="*/ 1653927 h 2666451"/>
                  <a:gd name="connsiteX97" fmla="*/ 193083 w 1739754"/>
                  <a:gd name="connsiteY97" fmla="*/ 1606302 h 2666451"/>
                  <a:gd name="connsiteX98" fmla="*/ 154983 w 1739754"/>
                  <a:gd name="connsiteY98" fmla="*/ 1549152 h 2666451"/>
                  <a:gd name="connsiteX99" fmla="*/ 140696 w 1739754"/>
                  <a:gd name="connsiteY99" fmla="*/ 1377702 h 2666451"/>
                  <a:gd name="connsiteX100" fmla="*/ 121646 w 1739754"/>
                  <a:gd name="connsiteY100" fmla="*/ 1311027 h 2666451"/>
                  <a:gd name="connsiteX101" fmla="*/ 107358 w 1739754"/>
                  <a:gd name="connsiteY101" fmla="*/ 1244352 h 2666451"/>
                  <a:gd name="connsiteX102" fmla="*/ 78783 w 1739754"/>
                  <a:gd name="connsiteY102" fmla="*/ 1177677 h 2666451"/>
                  <a:gd name="connsiteX103" fmla="*/ 45446 w 1739754"/>
                  <a:gd name="connsiteY103" fmla="*/ 1096714 h 2666451"/>
                  <a:gd name="connsiteX104" fmla="*/ 21633 w 1739754"/>
                  <a:gd name="connsiteY104" fmla="*/ 1025277 h 2666451"/>
                  <a:gd name="connsiteX105" fmla="*/ 202 w 1739754"/>
                  <a:gd name="connsiteY105" fmla="*/ 980033 h 2666451"/>
                  <a:gd name="connsiteX106" fmla="*/ 14490 w 1739754"/>
                  <a:gd name="connsiteY106" fmla="*/ 930027 h 2666451"/>
                  <a:gd name="connsiteX107" fmla="*/ 69259 w 1739754"/>
                  <a:gd name="connsiteY107" fmla="*/ 810964 h 2666451"/>
                  <a:gd name="connsiteX108" fmla="*/ 221658 w 1739754"/>
                  <a:gd name="connsiteY108" fmla="*/ 601414 h 2666451"/>
                  <a:gd name="connsiteX109" fmla="*/ 288333 w 1739754"/>
                  <a:gd name="connsiteY109" fmla="*/ 515689 h 2666451"/>
                  <a:gd name="connsiteX110" fmla="*/ 412158 w 1739754"/>
                  <a:gd name="connsiteY110" fmla="*/ 406152 h 2666451"/>
                  <a:gd name="connsiteX111" fmla="*/ 535983 w 1739754"/>
                  <a:gd name="connsiteY111" fmla="*/ 291851 h 2666451"/>
                  <a:gd name="connsiteX112" fmla="*/ 640758 w 1739754"/>
                  <a:gd name="connsiteY112" fmla="*/ 229939 h 2666451"/>
                  <a:gd name="connsiteX113" fmla="*/ 733628 w 1739754"/>
                  <a:gd name="connsiteY113" fmla="*/ 168026 h 2666451"/>
                  <a:gd name="connsiteX114" fmla="*/ 978896 w 1739754"/>
                  <a:gd name="connsiteY114" fmla="*/ 63251 h 2666451"/>
                  <a:gd name="connsiteX115" fmla="*/ 1159871 w 1739754"/>
                  <a:gd name="connsiteY115" fmla="*/ 6102 h 2666451"/>
                  <a:gd name="connsiteX116" fmla="*/ 1202733 w 1739754"/>
                  <a:gd name="connsiteY116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893171 w 1739754"/>
                  <a:gd name="connsiteY71" fmla="*/ 2239714 h 2666451"/>
                  <a:gd name="connsiteX72" fmla="*/ 897933 w 1739754"/>
                  <a:gd name="connsiteY72" fmla="*/ 2287339 h 2666451"/>
                  <a:gd name="connsiteX73" fmla="*/ 893171 w 1739754"/>
                  <a:gd name="connsiteY73" fmla="*/ 2396877 h 2666451"/>
                  <a:gd name="connsiteX74" fmla="*/ 688383 w 1739754"/>
                  <a:gd name="connsiteY74" fmla="*/ 2449264 h 2666451"/>
                  <a:gd name="connsiteX75" fmla="*/ 607421 w 1739754"/>
                  <a:gd name="connsiteY75" fmla="*/ 2511177 h 2666451"/>
                  <a:gd name="connsiteX76" fmla="*/ 540746 w 1739754"/>
                  <a:gd name="connsiteY76" fmla="*/ 2554039 h 2666451"/>
                  <a:gd name="connsiteX77" fmla="*/ 497883 w 1739754"/>
                  <a:gd name="connsiteY77" fmla="*/ 2587377 h 2666451"/>
                  <a:gd name="connsiteX78" fmla="*/ 450258 w 1739754"/>
                  <a:gd name="connsiteY78" fmla="*/ 2635002 h 2666451"/>
                  <a:gd name="connsiteX79" fmla="*/ 416921 w 1739754"/>
                  <a:gd name="connsiteY79" fmla="*/ 2654052 h 2666451"/>
                  <a:gd name="connsiteX80" fmla="*/ 359771 w 1739754"/>
                  <a:gd name="connsiteY80" fmla="*/ 2663577 h 2666451"/>
                  <a:gd name="connsiteX81" fmla="*/ 297858 w 1739754"/>
                  <a:gd name="connsiteY81" fmla="*/ 2601664 h 2666451"/>
                  <a:gd name="connsiteX82" fmla="*/ 181177 w 1739754"/>
                  <a:gd name="connsiteY82" fmla="*/ 2456408 h 2666451"/>
                  <a:gd name="connsiteX83" fmla="*/ 150221 w 1739754"/>
                  <a:gd name="connsiteY83" fmla="*/ 2415927 h 2666451"/>
                  <a:gd name="connsiteX84" fmla="*/ 135933 w 1739754"/>
                  <a:gd name="connsiteY84" fmla="*/ 2358777 h 2666451"/>
                  <a:gd name="connsiteX85" fmla="*/ 121646 w 1739754"/>
                  <a:gd name="connsiteY85" fmla="*/ 2315914 h 2666451"/>
                  <a:gd name="connsiteX86" fmla="*/ 88308 w 1739754"/>
                  <a:gd name="connsiteY86" fmla="*/ 2187327 h 2666451"/>
                  <a:gd name="connsiteX87" fmla="*/ 78783 w 1739754"/>
                  <a:gd name="connsiteY87" fmla="*/ 2111127 h 2666451"/>
                  <a:gd name="connsiteX88" fmla="*/ 97833 w 1739754"/>
                  <a:gd name="connsiteY88" fmla="*/ 1944439 h 2666451"/>
                  <a:gd name="connsiteX89" fmla="*/ 135933 w 1739754"/>
                  <a:gd name="connsiteY89" fmla="*/ 1868239 h 2666451"/>
                  <a:gd name="connsiteX90" fmla="*/ 131171 w 1739754"/>
                  <a:gd name="connsiteY90" fmla="*/ 1825377 h 2666451"/>
                  <a:gd name="connsiteX91" fmla="*/ 112121 w 1739754"/>
                  <a:gd name="connsiteY91" fmla="*/ 1820614 h 2666451"/>
                  <a:gd name="connsiteX92" fmla="*/ 102596 w 1739754"/>
                  <a:gd name="connsiteY92" fmla="*/ 1806327 h 2666451"/>
                  <a:gd name="connsiteX93" fmla="*/ 145458 w 1739754"/>
                  <a:gd name="connsiteY93" fmla="*/ 1720602 h 2666451"/>
                  <a:gd name="connsiteX94" fmla="*/ 188321 w 1739754"/>
                  <a:gd name="connsiteY94" fmla="*/ 1687264 h 2666451"/>
                  <a:gd name="connsiteX95" fmla="*/ 202608 w 1739754"/>
                  <a:gd name="connsiteY95" fmla="*/ 1653927 h 2666451"/>
                  <a:gd name="connsiteX96" fmla="*/ 193083 w 1739754"/>
                  <a:gd name="connsiteY96" fmla="*/ 1606302 h 2666451"/>
                  <a:gd name="connsiteX97" fmla="*/ 154983 w 1739754"/>
                  <a:gd name="connsiteY97" fmla="*/ 1549152 h 2666451"/>
                  <a:gd name="connsiteX98" fmla="*/ 140696 w 1739754"/>
                  <a:gd name="connsiteY98" fmla="*/ 1377702 h 2666451"/>
                  <a:gd name="connsiteX99" fmla="*/ 121646 w 1739754"/>
                  <a:gd name="connsiteY99" fmla="*/ 1311027 h 2666451"/>
                  <a:gd name="connsiteX100" fmla="*/ 107358 w 1739754"/>
                  <a:gd name="connsiteY100" fmla="*/ 1244352 h 2666451"/>
                  <a:gd name="connsiteX101" fmla="*/ 78783 w 1739754"/>
                  <a:gd name="connsiteY101" fmla="*/ 1177677 h 2666451"/>
                  <a:gd name="connsiteX102" fmla="*/ 45446 w 1739754"/>
                  <a:gd name="connsiteY102" fmla="*/ 1096714 h 2666451"/>
                  <a:gd name="connsiteX103" fmla="*/ 21633 w 1739754"/>
                  <a:gd name="connsiteY103" fmla="*/ 1025277 h 2666451"/>
                  <a:gd name="connsiteX104" fmla="*/ 202 w 1739754"/>
                  <a:gd name="connsiteY104" fmla="*/ 980033 h 2666451"/>
                  <a:gd name="connsiteX105" fmla="*/ 14490 w 1739754"/>
                  <a:gd name="connsiteY105" fmla="*/ 930027 h 2666451"/>
                  <a:gd name="connsiteX106" fmla="*/ 69259 w 1739754"/>
                  <a:gd name="connsiteY106" fmla="*/ 810964 h 2666451"/>
                  <a:gd name="connsiteX107" fmla="*/ 221658 w 1739754"/>
                  <a:gd name="connsiteY107" fmla="*/ 601414 h 2666451"/>
                  <a:gd name="connsiteX108" fmla="*/ 288333 w 1739754"/>
                  <a:gd name="connsiteY108" fmla="*/ 515689 h 2666451"/>
                  <a:gd name="connsiteX109" fmla="*/ 412158 w 1739754"/>
                  <a:gd name="connsiteY109" fmla="*/ 406152 h 2666451"/>
                  <a:gd name="connsiteX110" fmla="*/ 535983 w 1739754"/>
                  <a:gd name="connsiteY110" fmla="*/ 291851 h 2666451"/>
                  <a:gd name="connsiteX111" fmla="*/ 640758 w 1739754"/>
                  <a:gd name="connsiteY111" fmla="*/ 229939 h 2666451"/>
                  <a:gd name="connsiteX112" fmla="*/ 733628 w 1739754"/>
                  <a:gd name="connsiteY112" fmla="*/ 168026 h 2666451"/>
                  <a:gd name="connsiteX113" fmla="*/ 978896 w 1739754"/>
                  <a:gd name="connsiteY113" fmla="*/ 63251 h 2666451"/>
                  <a:gd name="connsiteX114" fmla="*/ 1159871 w 1739754"/>
                  <a:gd name="connsiteY114" fmla="*/ 6102 h 2666451"/>
                  <a:gd name="connsiteX115" fmla="*/ 1202733 w 1739754"/>
                  <a:gd name="connsiteY115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26508 w 1739754"/>
                  <a:gd name="connsiteY68" fmla="*/ 2144464 h 2666451"/>
                  <a:gd name="connsiteX69" fmla="*/ 907458 w 1739754"/>
                  <a:gd name="connsiteY69" fmla="*/ 2192089 h 2666451"/>
                  <a:gd name="connsiteX70" fmla="*/ 893171 w 1739754"/>
                  <a:gd name="connsiteY70" fmla="*/ 2239714 h 2666451"/>
                  <a:gd name="connsiteX71" fmla="*/ 897933 w 1739754"/>
                  <a:gd name="connsiteY71" fmla="*/ 2287339 h 2666451"/>
                  <a:gd name="connsiteX72" fmla="*/ 893171 w 1739754"/>
                  <a:gd name="connsiteY72" fmla="*/ 2396877 h 2666451"/>
                  <a:gd name="connsiteX73" fmla="*/ 688383 w 1739754"/>
                  <a:gd name="connsiteY73" fmla="*/ 2449264 h 2666451"/>
                  <a:gd name="connsiteX74" fmla="*/ 607421 w 1739754"/>
                  <a:gd name="connsiteY74" fmla="*/ 2511177 h 2666451"/>
                  <a:gd name="connsiteX75" fmla="*/ 540746 w 1739754"/>
                  <a:gd name="connsiteY75" fmla="*/ 2554039 h 2666451"/>
                  <a:gd name="connsiteX76" fmla="*/ 497883 w 1739754"/>
                  <a:gd name="connsiteY76" fmla="*/ 2587377 h 2666451"/>
                  <a:gd name="connsiteX77" fmla="*/ 450258 w 1739754"/>
                  <a:gd name="connsiteY77" fmla="*/ 2635002 h 2666451"/>
                  <a:gd name="connsiteX78" fmla="*/ 416921 w 1739754"/>
                  <a:gd name="connsiteY78" fmla="*/ 2654052 h 2666451"/>
                  <a:gd name="connsiteX79" fmla="*/ 359771 w 1739754"/>
                  <a:gd name="connsiteY79" fmla="*/ 2663577 h 2666451"/>
                  <a:gd name="connsiteX80" fmla="*/ 297858 w 1739754"/>
                  <a:gd name="connsiteY80" fmla="*/ 2601664 h 2666451"/>
                  <a:gd name="connsiteX81" fmla="*/ 181177 w 1739754"/>
                  <a:gd name="connsiteY81" fmla="*/ 2456408 h 2666451"/>
                  <a:gd name="connsiteX82" fmla="*/ 150221 w 1739754"/>
                  <a:gd name="connsiteY82" fmla="*/ 2415927 h 2666451"/>
                  <a:gd name="connsiteX83" fmla="*/ 135933 w 1739754"/>
                  <a:gd name="connsiteY83" fmla="*/ 2358777 h 2666451"/>
                  <a:gd name="connsiteX84" fmla="*/ 121646 w 1739754"/>
                  <a:gd name="connsiteY84" fmla="*/ 2315914 h 2666451"/>
                  <a:gd name="connsiteX85" fmla="*/ 88308 w 1739754"/>
                  <a:gd name="connsiteY85" fmla="*/ 2187327 h 2666451"/>
                  <a:gd name="connsiteX86" fmla="*/ 78783 w 1739754"/>
                  <a:gd name="connsiteY86" fmla="*/ 2111127 h 2666451"/>
                  <a:gd name="connsiteX87" fmla="*/ 97833 w 1739754"/>
                  <a:gd name="connsiteY87" fmla="*/ 1944439 h 2666451"/>
                  <a:gd name="connsiteX88" fmla="*/ 135933 w 1739754"/>
                  <a:gd name="connsiteY88" fmla="*/ 1868239 h 2666451"/>
                  <a:gd name="connsiteX89" fmla="*/ 131171 w 1739754"/>
                  <a:gd name="connsiteY89" fmla="*/ 1825377 h 2666451"/>
                  <a:gd name="connsiteX90" fmla="*/ 112121 w 1739754"/>
                  <a:gd name="connsiteY90" fmla="*/ 1820614 h 2666451"/>
                  <a:gd name="connsiteX91" fmla="*/ 102596 w 1739754"/>
                  <a:gd name="connsiteY91" fmla="*/ 1806327 h 2666451"/>
                  <a:gd name="connsiteX92" fmla="*/ 145458 w 1739754"/>
                  <a:gd name="connsiteY92" fmla="*/ 1720602 h 2666451"/>
                  <a:gd name="connsiteX93" fmla="*/ 188321 w 1739754"/>
                  <a:gd name="connsiteY93" fmla="*/ 1687264 h 2666451"/>
                  <a:gd name="connsiteX94" fmla="*/ 202608 w 1739754"/>
                  <a:gd name="connsiteY94" fmla="*/ 1653927 h 2666451"/>
                  <a:gd name="connsiteX95" fmla="*/ 193083 w 1739754"/>
                  <a:gd name="connsiteY95" fmla="*/ 1606302 h 2666451"/>
                  <a:gd name="connsiteX96" fmla="*/ 154983 w 1739754"/>
                  <a:gd name="connsiteY96" fmla="*/ 1549152 h 2666451"/>
                  <a:gd name="connsiteX97" fmla="*/ 140696 w 1739754"/>
                  <a:gd name="connsiteY97" fmla="*/ 1377702 h 2666451"/>
                  <a:gd name="connsiteX98" fmla="*/ 121646 w 1739754"/>
                  <a:gd name="connsiteY98" fmla="*/ 1311027 h 2666451"/>
                  <a:gd name="connsiteX99" fmla="*/ 107358 w 1739754"/>
                  <a:gd name="connsiteY99" fmla="*/ 1244352 h 2666451"/>
                  <a:gd name="connsiteX100" fmla="*/ 78783 w 1739754"/>
                  <a:gd name="connsiteY100" fmla="*/ 1177677 h 2666451"/>
                  <a:gd name="connsiteX101" fmla="*/ 45446 w 1739754"/>
                  <a:gd name="connsiteY101" fmla="*/ 1096714 h 2666451"/>
                  <a:gd name="connsiteX102" fmla="*/ 21633 w 1739754"/>
                  <a:gd name="connsiteY102" fmla="*/ 1025277 h 2666451"/>
                  <a:gd name="connsiteX103" fmla="*/ 202 w 1739754"/>
                  <a:gd name="connsiteY103" fmla="*/ 980033 h 2666451"/>
                  <a:gd name="connsiteX104" fmla="*/ 14490 w 1739754"/>
                  <a:gd name="connsiteY104" fmla="*/ 930027 h 2666451"/>
                  <a:gd name="connsiteX105" fmla="*/ 69259 w 1739754"/>
                  <a:gd name="connsiteY105" fmla="*/ 810964 h 2666451"/>
                  <a:gd name="connsiteX106" fmla="*/ 221658 w 1739754"/>
                  <a:gd name="connsiteY106" fmla="*/ 601414 h 2666451"/>
                  <a:gd name="connsiteX107" fmla="*/ 288333 w 1739754"/>
                  <a:gd name="connsiteY107" fmla="*/ 515689 h 2666451"/>
                  <a:gd name="connsiteX108" fmla="*/ 412158 w 1739754"/>
                  <a:gd name="connsiteY108" fmla="*/ 406152 h 2666451"/>
                  <a:gd name="connsiteX109" fmla="*/ 535983 w 1739754"/>
                  <a:gd name="connsiteY109" fmla="*/ 291851 h 2666451"/>
                  <a:gd name="connsiteX110" fmla="*/ 640758 w 1739754"/>
                  <a:gd name="connsiteY110" fmla="*/ 229939 h 2666451"/>
                  <a:gd name="connsiteX111" fmla="*/ 733628 w 1739754"/>
                  <a:gd name="connsiteY111" fmla="*/ 168026 h 2666451"/>
                  <a:gd name="connsiteX112" fmla="*/ 978896 w 1739754"/>
                  <a:gd name="connsiteY112" fmla="*/ 63251 h 2666451"/>
                  <a:gd name="connsiteX113" fmla="*/ 1159871 w 1739754"/>
                  <a:gd name="connsiteY113" fmla="*/ 6102 h 2666451"/>
                  <a:gd name="connsiteX114" fmla="*/ 1202733 w 1739754"/>
                  <a:gd name="connsiteY114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26508 w 1739754"/>
                  <a:gd name="connsiteY68" fmla="*/ 2144464 h 2666451"/>
                  <a:gd name="connsiteX69" fmla="*/ 893171 w 1739754"/>
                  <a:gd name="connsiteY69" fmla="*/ 2239714 h 2666451"/>
                  <a:gd name="connsiteX70" fmla="*/ 897933 w 1739754"/>
                  <a:gd name="connsiteY70" fmla="*/ 2287339 h 2666451"/>
                  <a:gd name="connsiteX71" fmla="*/ 893171 w 1739754"/>
                  <a:gd name="connsiteY71" fmla="*/ 2396877 h 2666451"/>
                  <a:gd name="connsiteX72" fmla="*/ 688383 w 1739754"/>
                  <a:gd name="connsiteY72" fmla="*/ 2449264 h 2666451"/>
                  <a:gd name="connsiteX73" fmla="*/ 607421 w 1739754"/>
                  <a:gd name="connsiteY73" fmla="*/ 2511177 h 2666451"/>
                  <a:gd name="connsiteX74" fmla="*/ 540746 w 1739754"/>
                  <a:gd name="connsiteY74" fmla="*/ 2554039 h 2666451"/>
                  <a:gd name="connsiteX75" fmla="*/ 497883 w 1739754"/>
                  <a:gd name="connsiteY75" fmla="*/ 2587377 h 2666451"/>
                  <a:gd name="connsiteX76" fmla="*/ 450258 w 1739754"/>
                  <a:gd name="connsiteY76" fmla="*/ 2635002 h 2666451"/>
                  <a:gd name="connsiteX77" fmla="*/ 416921 w 1739754"/>
                  <a:gd name="connsiteY77" fmla="*/ 2654052 h 2666451"/>
                  <a:gd name="connsiteX78" fmla="*/ 359771 w 1739754"/>
                  <a:gd name="connsiteY78" fmla="*/ 2663577 h 2666451"/>
                  <a:gd name="connsiteX79" fmla="*/ 297858 w 1739754"/>
                  <a:gd name="connsiteY79" fmla="*/ 2601664 h 2666451"/>
                  <a:gd name="connsiteX80" fmla="*/ 181177 w 1739754"/>
                  <a:gd name="connsiteY80" fmla="*/ 2456408 h 2666451"/>
                  <a:gd name="connsiteX81" fmla="*/ 150221 w 1739754"/>
                  <a:gd name="connsiteY81" fmla="*/ 2415927 h 2666451"/>
                  <a:gd name="connsiteX82" fmla="*/ 135933 w 1739754"/>
                  <a:gd name="connsiteY82" fmla="*/ 2358777 h 2666451"/>
                  <a:gd name="connsiteX83" fmla="*/ 121646 w 1739754"/>
                  <a:gd name="connsiteY83" fmla="*/ 2315914 h 2666451"/>
                  <a:gd name="connsiteX84" fmla="*/ 88308 w 1739754"/>
                  <a:gd name="connsiteY84" fmla="*/ 2187327 h 2666451"/>
                  <a:gd name="connsiteX85" fmla="*/ 78783 w 1739754"/>
                  <a:gd name="connsiteY85" fmla="*/ 2111127 h 2666451"/>
                  <a:gd name="connsiteX86" fmla="*/ 97833 w 1739754"/>
                  <a:gd name="connsiteY86" fmla="*/ 1944439 h 2666451"/>
                  <a:gd name="connsiteX87" fmla="*/ 135933 w 1739754"/>
                  <a:gd name="connsiteY87" fmla="*/ 1868239 h 2666451"/>
                  <a:gd name="connsiteX88" fmla="*/ 131171 w 1739754"/>
                  <a:gd name="connsiteY88" fmla="*/ 1825377 h 2666451"/>
                  <a:gd name="connsiteX89" fmla="*/ 112121 w 1739754"/>
                  <a:gd name="connsiteY89" fmla="*/ 1820614 h 2666451"/>
                  <a:gd name="connsiteX90" fmla="*/ 102596 w 1739754"/>
                  <a:gd name="connsiteY90" fmla="*/ 1806327 h 2666451"/>
                  <a:gd name="connsiteX91" fmla="*/ 145458 w 1739754"/>
                  <a:gd name="connsiteY91" fmla="*/ 1720602 h 2666451"/>
                  <a:gd name="connsiteX92" fmla="*/ 188321 w 1739754"/>
                  <a:gd name="connsiteY92" fmla="*/ 1687264 h 2666451"/>
                  <a:gd name="connsiteX93" fmla="*/ 202608 w 1739754"/>
                  <a:gd name="connsiteY93" fmla="*/ 1653927 h 2666451"/>
                  <a:gd name="connsiteX94" fmla="*/ 193083 w 1739754"/>
                  <a:gd name="connsiteY94" fmla="*/ 1606302 h 2666451"/>
                  <a:gd name="connsiteX95" fmla="*/ 154983 w 1739754"/>
                  <a:gd name="connsiteY95" fmla="*/ 1549152 h 2666451"/>
                  <a:gd name="connsiteX96" fmla="*/ 140696 w 1739754"/>
                  <a:gd name="connsiteY96" fmla="*/ 1377702 h 2666451"/>
                  <a:gd name="connsiteX97" fmla="*/ 121646 w 1739754"/>
                  <a:gd name="connsiteY97" fmla="*/ 1311027 h 2666451"/>
                  <a:gd name="connsiteX98" fmla="*/ 107358 w 1739754"/>
                  <a:gd name="connsiteY98" fmla="*/ 1244352 h 2666451"/>
                  <a:gd name="connsiteX99" fmla="*/ 78783 w 1739754"/>
                  <a:gd name="connsiteY99" fmla="*/ 1177677 h 2666451"/>
                  <a:gd name="connsiteX100" fmla="*/ 45446 w 1739754"/>
                  <a:gd name="connsiteY100" fmla="*/ 1096714 h 2666451"/>
                  <a:gd name="connsiteX101" fmla="*/ 21633 w 1739754"/>
                  <a:gd name="connsiteY101" fmla="*/ 1025277 h 2666451"/>
                  <a:gd name="connsiteX102" fmla="*/ 202 w 1739754"/>
                  <a:gd name="connsiteY102" fmla="*/ 980033 h 2666451"/>
                  <a:gd name="connsiteX103" fmla="*/ 14490 w 1739754"/>
                  <a:gd name="connsiteY103" fmla="*/ 930027 h 2666451"/>
                  <a:gd name="connsiteX104" fmla="*/ 69259 w 1739754"/>
                  <a:gd name="connsiteY104" fmla="*/ 810964 h 2666451"/>
                  <a:gd name="connsiteX105" fmla="*/ 221658 w 1739754"/>
                  <a:gd name="connsiteY105" fmla="*/ 601414 h 2666451"/>
                  <a:gd name="connsiteX106" fmla="*/ 288333 w 1739754"/>
                  <a:gd name="connsiteY106" fmla="*/ 515689 h 2666451"/>
                  <a:gd name="connsiteX107" fmla="*/ 412158 w 1739754"/>
                  <a:gd name="connsiteY107" fmla="*/ 406152 h 2666451"/>
                  <a:gd name="connsiteX108" fmla="*/ 535983 w 1739754"/>
                  <a:gd name="connsiteY108" fmla="*/ 291851 h 2666451"/>
                  <a:gd name="connsiteX109" fmla="*/ 640758 w 1739754"/>
                  <a:gd name="connsiteY109" fmla="*/ 229939 h 2666451"/>
                  <a:gd name="connsiteX110" fmla="*/ 733628 w 1739754"/>
                  <a:gd name="connsiteY110" fmla="*/ 168026 h 2666451"/>
                  <a:gd name="connsiteX111" fmla="*/ 978896 w 1739754"/>
                  <a:gd name="connsiteY111" fmla="*/ 63251 h 2666451"/>
                  <a:gd name="connsiteX112" fmla="*/ 1159871 w 1739754"/>
                  <a:gd name="connsiteY112" fmla="*/ 6102 h 2666451"/>
                  <a:gd name="connsiteX113" fmla="*/ 1202733 w 1739754"/>
                  <a:gd name="connsiteY113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76514 w 1739754"/>
                  <a:gd name="connsiteY67" fmla="*/ 2080171 h 2666451"/>
                  <a:gd name="connsiteX68" fmla="*/ 926508 w 1739754"/>
                  <a:gd name="connsiteY68" fmla="*/ 2144464 h 2666451"/>
                  <a:gd name="connsiteX69" fmla="*/ 893171 w 1739754"/>
                  <a:gd name="connsiteY69" fmla="*/ 2239714 h 2666451"/>
                  <a:gd name="connsiteX70" fmla="*/ 897933 w 1739754"/>
                  <a:gd name="connsiteY70" fmla="*/ 2287339 h 2666451"/>
                  <a:gd name="connsiteX71" fmla="*/ 893171 w 1739754"/>
                  <a:gd name="connsiteY71" fmla="*/ 2396877 h 2666451"/>
                  <a:gd name="connsiteX72" fmla="*/ 688383 w 1739754"/>
                  <a:gd name="connsiteY72" fmla="*/ 2449264 h 2666451"/>
                  <a:gd name="connsiteX73" fmla="*/ 607421 w 1739754"/>
                  <a:gd name="connsiteY73" fmla="*/ 2511177 h 2666451"/>
                  <a:gd name="connsiteX74" fmla="*/ 540746 w 1739754"/>
                  <a:gd name="connsiteY74" fmla="*/ 2554039 h 2666451"/>
                  <a:gd name="connsiteX75" fmla="*/ 497883 w 1739754"/>
                  <a:gd name="connsiteY75" fmla="*/ 2587377 h 2666451"/>
                  <a:gd name="connsiteX76" fmla="*/ 450258 w 1739754"/>
                  <a:gd name="connsiteY76" fmla="*/ 2635002 h 2666451"/>
                  <a:gd name="connsiteX77" fmla="*/ 416921 w 1739754"/>
                  <a:gd name="connsiteY77" fmla="*/ 2654052 h 2666451"/>
                  <a:gd name="connsiteX78" fmla="*/ 359771 w 1739754"/>
                  <a:gd name="connsiteY78" fmla="*/ 2663577 h 2666451"/>
                  <a:gd name="connsiteX79" fmla="*/ 297858 w 1739754"/>
                  <a:gd name="connsiteY79" fmla="*/ 2601664 h 2666451"/>
                  <a:gd name="connsiteX80" fmla="*/ 181177 w 1739754"/>
                  <a:gd name="connsiteY80" fmla="*/ 2456408 h 2666451"/>
                  <a:gd name="connsiteX81" fmla="*/ 150221 w 1739754"/>
                  <a:gd name="connsiteY81" fmla="*/ 2415927 h 2666451"/>
                  <a:gd name="connsiteX82" fmla="*/ 135933 w 1739754"/>
                  <a:gd name="connsiteY82" fmla="*/ 2358777 h 2666451"/>
                  <a:gd name="connsiteX83" fmla="*/ 121646 w 1739754"/>
                  <a:gd name="connsiteY83" fmla="*/ 2315914 h 2666451"/>
                  <a:gd name="connsiteX84" fmla="*/ 88308 w 1739754"/>
                  <a:gd name="connsiteY84" fmla="*/ 2187327 h 2666451"/>
                  <a:gd name="connsiteX85" fmla="*/ 78783 w 1739754"/>
                  <a:gd name="connsiteY85" fmla="*/ 2111127 h 2666451"/>
                  <a:gd name="connsiteX86" fmla="*/ 97833 w 1739754"/>
                  <a:gd name="connsiteY86" fmla="*/ 1944439 h 2666451"/>
                  <a:gd name="connsiteX87" fmla="*/ 135933 w 1739754"/>
                  <a:gd name="connsiteY87" fmla="*/ 1868239 h 2666451"/>
                  <a:gd name="connsiteX88" fmla="*/ 131171 w 1739754"/>
                  <a:gd name="connsiteY88" fmla="*/ 1825377 h 2666451"/>
                  <a:gd name="connsiteX89" fmla="*/ 112121 w 1739754"/>
                  <a:gd name="connsiteY89" fmla="*/ 1820614 h 2666451"/>
                  <a:gd name="connsiteX90" fmla="*/ 102596 w 1739754"/>
                  <a:gd name="connsiteY90" fmla="*/ 1806327 h 2666451"/>
                  <a:gd name="connsiteX91" fmla="*/ 145458 w 1739754"/>
                  <a:gd name="connsiteY91" fmla="*/ 1720602 h 2666451"/>
                  <a:gd name="connsiteX92" fmla="*/ 188321 w 1739754"/>
                  <a:gd name="connsiteY92" fmla="*/ 1687264 h 2666451"/>
                  <a:gd name="connsiteX93" fmla="*/ 202608 w 1739754"/>
                  <a:gd name="connsiteY93" fmla="*/ 1653927 h 2666451"/>
                  <a:gd name="connsiteX94" fmla="*/ 193083 w 1739754"/>
                  <a:gd name="connsiteY94" fmla="*/ 1606302 h 2666451"/>
                  <a:gd name="connsiteX95" fmla="*/ 154983 w 1739754"/>
                  <a:gd name="connsiteY95" fmla="*/ 1549152 h 2666451"/>
                  <a:gd name="connsiteX96" fmla="*/ 140696 w 1739754"/>
                  <a:gd name="connsiteY96" fmla="*/ 1377702 h 2666451"/>
                  <a:gd name="connsiteX97" fmla="*/ 121646 w 1739754"/>
                  <a:gd name="connsiteY97" fmla="*/ 1311027 h 2666451"/>
                  <a:gd name="connsiteX98" fmla="*/ 107358 w 1739754"/>
                  <a:gd name="connsiteY98" fmla="*/ 1244352 h 2666451"/>
                  <a:gd name="connsiteX99" fmla="*/ 78783 w 1739754"/>
                  <a:gd name="connsiteY99" fmla="*/ 1177677 h 2666451"/>
                  <a:gd name="connsiteX100" fmla="*/ 45446 w 1739754"/>
                  <a:gd name="connsiteY100" fmla="*/ 1096714 h 2666451"/>
                  <a:gd name="connsiteX101" fmla="*/ 21633 w 1739754"/>
                  <a:gd name="connsiteY101" fmla="*/ 1025277 h 2666451"/>
                  <a:gd name="connsiteX102" fmla="*/ 202 w 1739754"/>
                  <a:gd name="connsiteY102" fmla="*/ 980033 h 2666451"/>
                  <a:gd name="connsiteX103" fmla="*/ 14490 w 1739754"/>
                  <a:gd name="connsiteY103" fmla="*/ 930027 h 2666451"/>
                  <a:gd name="connsiteX104" fmla="*/ 69259 w 1739754"/>
                  <a:gd name="connsiteY104" fmla="*/ 810964 h 2666451"/>
                  <a:gd name="connsiteX105" fmla="*/ 221658 w 1739754"/>
                  <a:gd name="connsiteY105" fmla="*/ 601414 h 2666451"/>
                  <a:gd name="connsiteX106" fmla="*/ 288333 w 1739754"/>
                  <a:gd name="connsiteY106" fmla="*/ 515689 h 2666451"/>
                  <a:gd name="connsiteX107" fmla="*/ 412158 w 1739754"/>
                  <a:gd name="connsiteY107" fmla="*/ 406152 h 2666451"/>
                  <a:gd name="connsiteX108" fmla="*/ 535983 w 1739754"/>
                  <a:gd name="connsiteY108" fmla="*/ 291851 h 2666451"/>
                  <a:gd name="connsiteX109" fmla="*/ 640758 w 1739754"/>
                  <a:gd name="connsiteY109" fmla="*/ 229939 h 2666451"/>
                  <a:gd name="connsiteX110" fmla="*/ 733628 w 1739754"/>
                  <a:gd name="connsiteY110" fmla="*/ 168026 h 2666451"/>
                  <a:gd name="connsiteX111" fmla="*/ 978896 w 1739754"/>
                  <a:gd name="connsiteY111" fmla="*/ 63251 h 2666451"/>
                  <a:gd name="connsiteX112" fmla="*/ 1159871 w 1739754"/>
                  <a:gd name="connsiteY112" fmla="*/ 6102 h 2666451"/>
                  <a:gd name="connsiteX113" fmla="*/ 1202733 w 1739754"/>
                  <a:gd name="connsiteY113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74133 w 1739754"/>
                  <a:gd name="connsiteY65" fmla="*/ 1977777 h 2666451"/>
                  <a:gd name="connsiteX66" fmla="*/ 976514 w 1739754"/>
                  <a:gd name="connsiteY66" fmla="*/ 2080171 h 2666451"/>
                  <a:gd name="connsiteX67" fmla="*/ 926508 w 1739754"/>
                  <a:gd name="connsiteY67" fmla="*/ 2144464 h 2666451"/>
                  <a:gd name="connsiteX68" fmla="*/ 893171 w 1739754"/>
                  <a:gd name="connsiteY68" fmla="*/ 2239714 h 2666451"/>
                  <a:gd name="connsiteX69" fmla="*/ 897933 w 1739754"/>
                  <a:gd name="connsiteY69" fmla="*/ 2287339 h 2666451"/>
                  <a:gd name="connsiteX70" fmla="*/ 893171 w 1739754"/>
                  <a:gd name="connsiteY70" fmla="*/ 2396877 h 2666451"/>
                  <a:gd name="connsiteX71" fmla="*/ 688383 w 1739754"/>
                  <a:gd name="connsiteY71" fmla="*/ 2449264 h 2666451"/>
                  <a:gd name="connsiteX72" fmla="*/ 607421 w 1739754"/>
                  <a:gd name="connsiteY72" fmla="*/ 2511177 h 2666451"/>
                  <a:gd name="connsiteX73" fmla="*/ 540746 w 1739754"/>
                  <a:gd name="connsiteY73" fmla="*/ 2554039 h 2666451"/>
                  <a:gd name="connsiteX74" fmla="*/ 497883 w 1739754"/>
                  <a:gd name="connsiteY74" fmla="*/ 2587377 h 2666451"/>
                  <a:gd name="connsiteX75" fmla="*/ 450258 w 1739754"/>
                  <a:gd name="connsiteY75" fmla="*/ 2635002 h 2666451"/>
                  <a:gd name="connsiteX76" fmla="*/ 416921 w 1739754"/>
                  <a:gd name="connsiteY76" fmla="*/ 2654052 h 2666451"/>
                  <a:gd name="connsiteX77" fmla="*/ 359771 w 1739754"/>
                  <a:gd name="connsiteY77" fmla="*/ 2663577 h 2666451"/>
                  <a:gd name="connsiteX78" fmla="*/ 297858 w 1739754"/>
                  <a:gd name="connsiteY78" fmla="*/ 2601664 h 2666451"/>
                  <a:gd name="connsiteX79" fmla="*/ 181177 w 1739754"/>
                  <a:gd name="connsiteY79" fmla="*/ 2456408 h 2666451"/>
                  <a:gd name="connsiteX80" fmla="*/ 150221 w 1739754"/>
                  <a:gd name="connsiteY80" fmla="*/ 2415927 h 2666451"/>
                  <a:gd name="connsiteX81" fmla="*/ 135933 w 1739754"/>
                  <a:gd name="connsiteY81" fmla="*/ 2358777 h 2666451"/>
                  <a:gd name="connsiteX82" fmla="*/ 121646 w 1739754"/>
                  <a:gd name="connsiteY82" fmla="*/ 2315914 h 2666451"/>
                  <a:gd name="connsiteX83" fmla="*/ 88308 w 1739754"/>
                  <a:gd name="connsiteY83" fmla="*/ 2187327 h 2666451"/>
                  <a:gd name="connsiteX84" fmla="*/ 78783 w 1739754"/>
                  <a:gd name="connsiteY84" fmla="*/ 2111127 h 2666451"/>
                  <a:gd name="connsiteX85" fmla="*/ 97833 w 1739754"/>
                  <a:gd name="connsiteY85" fmla="*/ 1944439 h 2666451"/>
                  <a:gd name="connsiteX86" fmla="*/ 135933 w 1739754"/>
                  <a:gd name="connsiteY86" fmla="*/ 1868239 h 2666451"/>
                  <a:gd name="connsiteX87" fmla="*/ 131171 w 1739754"/>
                  <a:gd name="connsiteY87" fmla="*/ 1825377 h 2666451"/>
                  <a:gd name="connsiteX88" fmla="*/ 112121 w 1739754"/>
                  <a:gd name="connsiteY88" fmla="*/ 1820614 h 2666451"/>
                  <a:gd name="connsiteX89" fmla="*/ 102596 w 1739754"/>
                  <a:gd name="connsiteY89" fmla="*/ 1806327 h 2666451"/>
                  <a:gd name="connsiteX90" fmla="*/ 145458 w 1739754"/>
                  <a:gd name="connsiteY90" fmla="*/ 1720602 h 2666451"/>
                  <a:gd name="connsiteX91" fmla="*/ 188321 w 1739754"/>
                  <a:gd name="connsiteY91" fmla="*/ 1687264 h 2666451"/>
                  <a:gd name="connsiteX92" fmla="*/ 202608 w 1739754"/>
                  <a:gd name="connsiteY92" fmla="*/ 1653927 h 2666451"/>
                  <a:gd name="connsiteX93" fmla="*/ 193083 w 1739754"/>
                  <a:gd name="connsiteY93" fmla="*/ 1606302 h 2666451"/>
                  <a:gd name="connsiteX94" fmla="*/ 154983 w 1739754"/>
                  <a:gd name="connsiteY94" fmla="*/ 1549152 h 2666451"/>
                  <a:gd name="connsiteX95" fmla="*/ 140696 w 1739754"/>
                  <a:gd name="connsiteY95" fmla="*/ 1377702 h 2666451"/>
                  <a:gd name="connsiteX96" fmla="*/ 121646 w 1739754"/>
                  <a:gd name="connsiteY96" fmla="*/ 1311027 h 2666451"/>
                  <a:gd name="connsiteX97" fmla="*/ 107358 w 1739754"/>
                  <a:gd name="connsiteY97" fmla="*/ 1244352 h 2666451"/>
                  <a:gd name="connsiteX98" fmla="*/ 78783 w 1739754"/>
                  <a:gd name="connsiteY98" fmla="*/ 1177677 h 2666451"/>
                  <a:gd name="connsiteX99" fmla="*/ 45446 w 1739754"/>
                  <a:gd name="connsiteY99" fmla="*/ 1096714 h 2666451"/>
                  <a:gd name="connsiteX100" fmla="*/ 21633 w 1739754"/>
                  <a:gd name="connsiteY100" fmla="*/ 1025277 h 2666451"/>
                  <a:gd name="connsiteX101" fmla="*/ 202 w 1739754"/>
                  <a:gd name="connsiteY101" fmla="*/ 980033 h 2666451"/>
                  <a:gd name="connsiteX102" fmla="*/ 14490 w 1739754"/>
                  <a:gd name="connsiteY102" fmla="*/ 930027 h 2666451"/>
                  <a:gd name="connsiteX103" fmla="*/ 69259 w 1739754"/>
                  <a:gd name="connsiteY103" fmla="*/ 810964 h 2666451"/>
                  <a:gd name="connsiteX104" fmla="*/ 221658 w 1739754"/>
                  <a:gd name="connsiteY104" fmla="*/ 601414 h 2666451"/>
                  <a:gd name="connsiteX105" fmla="*/ 288333 w 1739754"/>
                  <a:gd name="connsiteY105" fmla="*/ 515689 h 2666451"/>
                  <a:gd name="connsiteX106" fmla="*/ 412158 w 1739754"/>
                  <a:gd name="connsiteY106" fmla="*/ 406152 h 2666451"/>
                  <a:gd name="connsiteX107" fmla="*/ 535983 w 1739754"/>
                  <a:gd name="connsiteY107" fmla="*/ 291851 h 2666451"/>
                  <a:gd name="connsiteX108" fmla="*/ 640758 w 1739754"/>
                  <a:gd name="connsiteY108" fmla="*/ 229939 h 2666451"/>
                  <a:gd name="connsiteX109" fmla="*/ 733628 w 1739754"/>
                  <a:gd name="connsiteY109" fmla="*/ 168026 h 2666451"/>
                  <a:gd name="connsiteX110" fmla="*/ 978896 w 1739754"/>
                  <a:gd name="connsiteY110" fmla="*/ 63251 h 2666451"/>
                  <a:gd name="connsiteX111" fmla="*/ 1159871 w 1739754"/>
                  <a:gd name="connsiteY111" fmla="*/ 6102 h 2666451"/>
                  <a:gd name="connsiteX112" fmla="*/ 1202733 w 1739754"/>
                  <a:gd name="connsiteY112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90801 w 1739754"/>
                  <a:gd name="connsiteY65" fmla="*/ 1975396 h 2666451"/>
                  <a:gd name="connsiteX66" fmla="*/ 976514 w 1739754"/>
                  <a:gd name="connsiteY66" fmla="*/ 2080171 h 2666451"/>
                  <a:gd name="connsiteX67" fmla="*/ 926508 w 1739754"/>
                  <a:gd name="connsiteY67" fmla="*/ 2144464 h 2666451"/>
                  <a:gd name="connsiteX68" fmla="*/ 893171 w 1739754"/>
                  <a:gd name="connsiteY68" fmla="*/ 2239714 h 2666451"/>
                  <a:gd name="connsiteX69" fmla="*/ 897933 w 1739754"/>
                  <a:gd name="connsiteY69" fmla="*/ 2287339 h 2666451"/>
                  <a:gd name="connsiteX70" fmla="*/ 893171 w 1739754"/>
                  <a:gd name="connsiteY70" fmla="*/ 2396877 h 2666451"/>
                  <a:gd name="connsiteX71" fmla="*/ 688383 w 1739754"/>
                  <a:gd name="connsiteY71" fmla="*/ 2449264 h 2666451"/>
                  <a:gd name="connsiteX72" fmla="*/ 607421 w 1739754"/>
                  <a:gd name="connsiteY72" fmla="*/ 2511177 h 2666451"/>
                  <a:gd name="connsiteX73" fmla="*/ 540746 w 1739754"/>
                  <a:gd name="connsiteY73" fmla="*/ 2554039 h 2666451"/>
                  <a:gd name="connsiteX74" fmla="*/ 497883 w 1739754"/>
                  <a:gd name="connsiteY74" fmla="*/ 2587377 h 2666451"/>
                  <a:gd name="connsiteX75" fmla="*/ 450258 w 1739754"/>
                  <a:gd name="connsiteY75" fmla="*/ 2635002 h 2666451"/>
                  <a:gd name="connsiteX76" fmla="*/ 416921 w 1739754"/>
                  <a:gd name="connsiteY76" fmla="*/ 2654052 h 2666451"/>
                  <a:gd name="connsiteX77" fmla="*/ 359771 w 1739754"/>
                  <a:gd name="connsiteY77" fmla="*/ 2663577 h 2666451"/>
                  <a:gd name="connsiteX78" fmla="*/ 297858 w 1739754"/>
                  <a:gd name="connsiteY78" fmla="*/ 2601664 h 2666451"/>
                  <a:gd name="connsiteX79" fmla="*/ 181177 w 1739754"/>
                  <a:gd name="connsiteY79" fmla="*/ 2456408 h 2666451"/>
                  <a:gd name="connsiteX80" fmla="*/ 150221 w 1739754"/>
                  <a:gd name="connsiteY80" fmla="*/ 2415927 h 2666451"/>
                  <a:gd name="connsiteX81" fmla="*/ 135933 w 1739754"/>
                  <a:gd name="connsiteY81" fmla="*/ 2358777 h 2666451"/>
                  <a:gd name="connsiteX82" fmla="*/ 121646 w 1739754"/>
                  <a:gd name="connsiteY82" fmla="*/ 2315914 h 2666451"/>
                  <a:gd name="connsiteX83" fmla="*/ 88308 w 1739754"/>
                  <a:gd name="connsiteY83" fmla="*/ 2187327 h 2666451"/>
                  <a:gd name="connsiteX84" fmla="*/ 78783 w 1739754"/>
                  <a:gd name="connsiteY84" fmla="*/ 2111127 h 2666451"/>
                  <a:gd name="connsiteX85" fmla="*/ 97833 w 1739754"/>
                  <a:gd name="connsiteY85" fmla="*/ 1944439 h 2666451"/>
                  <a:gd name="connsiteX86" fmla="*/ 135933 w 1739754"/>
                  <a:gd name="connsiteY86" fmla="*/ 1868239 h 2666451"/>
                  <a:gd name="connsiteX87" fmla="*/ 131171 w 1739754"/>
                  <a:gd name="connsiteY87" fmla="*/ 1825377 h 2666451"/>
                  <a:gd name="connsiteX88" fmla="*/ 112121 w 1739754"/>
                  <a:gd name="connsiteY88" fmla="*/ 1820614 h 2666451"/>
                  <a:gd name="connsiteX89" fmla="*/ 102596 w 1739754"/>
                  <a:gd name="connsiteY89" fmla="*/ 1806327 h 2666451"/>
                  <a:gd name="connsiteX90" fmla="*/ 145458 w 1739754"/>
                  <a:gd name="connsiteY90" fmla="*/ 1720602 h 2666451"/>
                  <a:gd name="connsiteX91" fmla="*/ 188321 w 1739754"/>
                  <a:gd name="connsiteY91" fmla="*/ 1687264 h 2666451"/>
                  <a:gd name="connsiteX92" fmla="*/ 202608 w 1739754"/>
                  <a:gd name="connsiteY92" fmla="*/ 1653927 h 2666451"/>
                  <a:gd name="connsiteX93" fmla="*/ 193083 w 1739754"/>
                  <a:gd name="connsiteY93" fmla="*/ 1606302 h 2666451"/>
                  <a:gd name="connsiteX94" fmla="*/ 154983 w 1739754"/>
                  <a:gd name="connsiteY94" fmla="*/ 1549152 h 2666451"/>
                  <a:gd name="connsiteX95" fmla="*/ 140696 w 1739754"/>
                  <a:gd name="connsiteY95" fmla="*/ 1377702 h 2666451"/>
                  <a:gd name="connsiteX96" fmla="*/ 121646 w 1739754"/>
                  <a:gd name="connsiteY96" fmla="*/ 1311027 h 2666451"/>
                  <a:gd name="connsiteX97" fmla="*/ 107358 w 1739754"/>
                  <a:gd name="connsiteY97" fmla="*/ 1244352 h 2666451"/>
                  <a:gd name="connsiteX98" fmla="*/ 78783 w 1739754"/>
                  <a:gd name="connsiteY98" fmla="*/ 1177677 h 2666451"/>
                  <a:gd name="connsiteX99" fmla="*/ 45446 w 1739754"/>
                  <a:gd name="connsiteY99" fmla="*/ 1096714 h 2666451"/>
                  <a:gd name="connsiteX100" fmla="*/ 21633 w 1739754"/>
                  <a:gd name="connsiteY100" fmla="*/ 1025277 h 2666451"/>
                  <a:gd name="connsiteX101" fmla="*/ 202 w 1739754"/>
                  <a:gd name="connsiteY101" fmla="*/ 980033 h 2666451"/>
                  <a:gd name="connsiteX102" fmla="*/ 14490 w 1739754"/>
                  <a:gd name="connsiteY102" fmla="*/ 930027 h 2666451"/>
                  <a:gd name="connsiteX103" fmla="*/ 69259 w 1739754"/>
                  <a:gd name="connsiteY103" fmla="*/ 810964 h 2666451"/>
                  <a:gd name="connsiteX104" fmla="*/ 221658 w 1739754"/>
                  <a:gd name="connsiteY104" fmla="*/ 601414 h 2666451"/>
                  <a:gd name="connsiteX105" fmla="*/ 288333 w 1739754"/>
                  <a:gd name="connsiteY105" fmla="*/ 515689 h 2666451"/>
                  <a:gd name="connsiteX106" fmla="*/ 412158 w 1739754"/>
                  <a:gd name="connsiteY106" fmla="*/ 406152 h 2666451"/>
                  <a:gd name="connsiteX107" fmla="*/ 535983 w 1739754"/>
                  <a:gd name="connsiteY107" fmla="*/ 291851 h 2666451"/>
                  <a:gd name="connsiteX108" fmla="*/ 640758 w 1739754"/>
                  <a:gd name="connsiteY108" fmla="*/ 229939 h 2666451"/>
                  <a:gd name="connsiteX109" fmla="*/ 733628 w 1739754"/>
                  <a:gd name="connsiteY109" fmla="*/ 168026 h 2666451"/>
                  <a:gd name="connsiteX110" fmla="*/ 978896 w 1739754"/>
                  <a:gd name="connsiteY110" fmla="*/ 63251 h 2666451"/>
                  <a:gd name="connsiteX111" fmla="*/ 1159871 w 1739754"/>
                  <a:gd name="connsiteY111" fmla="*/ 6102 h 2666451"/>
                  <a:gd name="connsiteX112" fmla="*/ 1202733 w 1739754"/>
                  <a:gd name="connsiteY112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938414 w 1739754"/>
                  <a:gd name="connsiteY62" fmla="*/ 1799183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938414 w 1739754"/>
                  <a:gd name="connsiteY62" fmla="*/ 1799183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1739754" h="2666451">
                    <a:moveTo>
                      <a:pt x="1202733" y="10864"/>
                    </a:moveTo>
                    <a:cubicBezTo>
                      <a:pt x="1209083" y="21183"/>
                      <a:pt x="1204321" y="48170"/>
                      <a:pt x="1197971" y="68014"/>
                    </a:cubicBezTo>
                    <a:cubicBezTo>
                      <a:pt x="1191621" y="87858"/>
                      <a:pt x="1170189" y="106908"/>
                      <a:pt x="1164633" y="129927"/>
                    </a:cubicBezTo>
                    <a:cubicBezTo>
                      <a:pt x="1159077" y="152946"/>
                      <a:pt x="1158283" y="184696"/>
                      <a:pt x="1164633" y="206127"/>
                    </a:cubicBezTo>
                    <a:cubicBezTo>
                      <a:pt x="1170983" y="227558"/>
                      <a:pt x="1189239" y="243433"/>
                      <a:pt x="1202733" y="258514"/>
                    </a:cubicBezTo>
                    <a:cubicBezTo>
                      <a:pt x="1216227" y="273595"/>
                      <a:pt x="1236865" y="287089"/>
                      <a:pt x="1245596" y="296614"/>
                    </a:cubicBezTo>
                    <a:cubicBezTo>
                      <a:pt x="1254327" y="306139"/>
                      <a:pt x="1251946" y="309314"/>
                      <a:pt x="1255121" y="315664"/>
                    </a:cubicBezTo>
                    <a:cubicBezTo>
                      <a:pt x="1253533" y="325189"/>
                      <a:pt x="1251152" y="325983"/>
                      <a:pt x="1250358" y="344239"/>
                    </a:cubicBezTo>
                    <a:cubicBezTo>
                      <a:pt x="1249564" y="362495"/>
                      <a:pt x="1247183" y="405358"/>
                      <a:pt x="1250358" y="425202"/>
                    </a:cubicBezTo>
                    <a:cubicBezTo>
                      <a:pt x="1253533" y="445046"/>
                      <a:pt x="1247977" y="447427"/>
                      <a:pt x="1269408" y="463302"/>
                    </a:cubicBezTo>
                    <a:cubicBezTo>
                      <a:pt x="1290839" y="479177"/>
                      <a:pt x="1355927" y="507752"/>
                      <a:pt x="1378946" y="520452"/>
                    </a:cubicBezTo>
                    <a:cubicBezTo>
                      <a:pt x="1401965" y="533152"/>
                      <a:pt x="1383709" y="528390"/>
                      <a:pt x="1407521" y="539502"/>
                    </a:cubicBezTo>
                    <a:cubicBezTo>
                      <a:pt x="1431334" y="550615"/>
                      <a:pt x="1499596" y="577602"/>
                      <a:pt x="1521821" y="587127"/>
                    </a:cubicBezTo>
                    <a:cubicBezTo>
                      <a:pt x="1547221" y="597446"/>
                      <a:pt x="1545634" y="592683"/>
                      <a:pt x="1559921" y="601414"/>
                    </a:cubicBezTo>
                    <a:cubicBezTo>
                      <a:pt x="1574208" y="610145"/>
                      <a:pt x="1607059" y="639027"/>
                      <a:pt x="1607546" y="639514"/>
                    </a:cubicBezTo>
                    <a:cubicBezTo>
                      <a:pt x="1617895" y="649863"/>
                      <a:pt x="1623421" y="661740"/>
                      <a:pt x="1636121" y="672852"/>
                    </a:cubicBezTo>
                    <a:cubicBezTo>
                      <a:pt x="1648821" y="683964"/>
                      <a:pt x="1671443" y="693489"/>
                      <a:pt x="1683746" y="706189"/>
                    </a:cubicBezTo>
                    <a:cubicBezTo>
                      <a:pt x="1701544" y="732887"/>
                      <a:pt x="1692397" y="731509"/>
                      <a:pt x="1709940" y="749052"/>
                    </a:cubicBezTo>
                    <a:cubicBezTo>
                      <a:pt x="1777409" y="816520"/>
                      <a:pt x="1710337" y="830808"/>
                      <a:pt x="1702796" y="853827"/>
                    </a:cubicBezTo>
                    <a:cubicBezTo>
                      <a:pt x="1695255" y="876846"/>
                      <a:pt x="1682158" y="878433"/>
                      <a:pt x="1664696" y="887164"/>
                    </a:cubicBezTo>
                    <a:cubicBezTo>
                      <a:pt x="1647234" y="895895"/>
                      <a:pt x="1616277" y="899864"/>
                      <a:pt x="1598021" y="906214"/>
                    </a:cubicBezTo>
                    <a:cubicBezTo>
                      <a:pt x="1575796" y="914945"/>
                      <a:pt x="1548015" y="926058"/>
                      <a:pt x="1531346" y="939552"/>
                    </a:cubicBezTo>
                    <a:cubicBezTo>
                      <a:pt x="1507893" y="974731"/>
                      <a:pt x="1519165" y="958969"/>
                      <a:pt x="1498008" y="987177"/>
                    </a:cubicBezTo>
                    <a:cubicBezTo>
                      <a:pt x="1419427" y="1078458"/>
                      <a:pt x="1378945" y="1018927"/>
                      <a:pt x="1345608" y="1030039"/>
                    </a:cubicBezTo>
                    <a:cubicBezTo>
                      <a:pt x="1329733" y="1037977"/>
                      <a:pt x="1313203" y="1044720"/>
                      <a:pt x="1297983" y="1053852"/>
                    </a:cubicBezTo>
                    <a:cubicBezTo>
                      <a:pt x="1274742" y="1067796"/>
                      <a:pt x="1256708" y="1076077"/>
                      <a:pt x="1231308" y="1082427"/>
                    </a:cubicBezTo>
                    <a:cubicBezTo>
                      <a:pt x="1205908" y="1088777"/>
                      <a:pt x="1170983" y="1084014"/>
                      <a:pt x="1145583" y="1091951"/>
                    </a:cubicBezTo>
                    <a:cubicBezTo>
                      <a:pt x="1120183" y="1099888"/>
                      <a:pt x="1108673" y="1124893"/>
                      <a:pt x="1078908" y="1130052"/>
                    </a:cubicBezTo>
                    <a:cubicBezTo>
                      <a:pt x="1049143" y="1135211"/>
                      <a:pt x="1003502" y="1134814"/>
                      <a:pt x="966990" y="1122908"/>
                    </a:cubicBezTo>
                    <a:cubicBezTo>
                      <a:pt x="930478" y="1111002"/>
                      <a:pt x="885630" y="1073298"/>
                      <a:pt x="859833" y="1058614"/>
                    </a:cubicBezTo>
                    <a:cubicBezTo>
                      <a:pt x="834036" y="1043930"/>
                      <a:pt x="827289" y="1043533"/>
                      <a:pt x="812208" y="1034802"/>
                    </a:cubicBezTo>
                    <a:cubicBezTo>
                      <a:pt x="797127" y="1026071"/>
                      <a:pt x="791571" y="1018927"/>
                      <a:pt x="769346" y="1006227"/>
                    </a:cubicBezTo>
                    <a:cubicBezTo>
                      <a:pt x="747121" y="993527"/>
                      <a:pt x="712968" y="976555"/>
                      <a:pt x="678858" y="958602"/>
                    </a:cubicBezTo>
                    <a:cubicBezTo>
                      <a:pt x="667532" y="952641"/>
                      <a:pt x="657609" y="943757"/>
                      <a:pt x="645521" y="939552"/>
                    </a:cubicBezTo>
                    <a:cubicBezTo>
                      <a:pt x="625528" y="932598"/>
                      <a:pt x="555521" y="917435"/>
                      <a:pt x="526458" y="910977"/>
                    </a:cubicBezTo>
                    <a:cubicBezTo>
                      <a:pt x="489152" y="901452"/>
                      <a:pt x="455814" y="884783"/>
                      <a:pt x="421683" y="882402"/>
                    </a:cubicBezTo>
                    <a:cubicBezTo>
                      <a:pt x="388346" y="887164"/>
                      <a:pt x="344690" y="885576"/>
                      <a:pt x="321671" y="896689"/>
                    </a:cubicBezTo>
                    <a:cubicBezTo>
                      <a:pt x="298652" y="907802"/>
                      <a:pt x="293096" y="925265"/>
                      <a:pt x="283571" y="949077"/>
                    </a:cubicBezTo>
                    <a:cubicBezTo>
                      <a:pt x="274046" y="972890"/>
                      <a:pt x="267696" y="1010989"/>
                      <a:pt x="264521" y="1039564"/>
                    </a:cubicBezTo>
                    <a:cubicBezTo>
                      <a:pt x="261346" y="1068139"/>
                      <a:pt x="254202" y="1099890"/>
                      <a:pt x="264521" y="1120527"/>
                    </a:cubicBezTo>
                    <a:cubicBezTo>
                      <a:pt x="274840" y="1141165"/>
                      <a:pt x="316114" y="1142752"/>
                      <a:pt x="326433" y="1163389"/>
                    </a:cubicBezTo>
                    <a:cubicBezTo>
                      <a:pt x="336752" y="1184027"/>
                      <a:pt x="334767" y="1217365"/>
                      <a:pt x="326433" y="1244352"/>
                    </a:cubicBezTo>
                    <a:cubicBezTo>
                      <a:pt x="318099" y="1271339"/>
                      <a:pt x="289127" y="1295152"/>
                      <a:pt x="276427" y="1325314"/>
                    </a:cubicBezTo>
                    <a:cubicBezTo>
                      <a:pt x="263727" y="1355477"/>
                      <a:pt x="249836" y="1400721"/>
                      <a:pt x="250233" y="1425327"/>
                    </a:cubicBezTo>
                    <a:cubicBezTo>
                      <a:pt x="250630" y="1449933"/>
                      <a:pt x="259361" y="1456680"/>
                      <a:pt x="278808" y="1472952"/>
                    </a:cubicBezTo>
                    <a:cubicBezTo>
                      <a:pt x="298255" y="1489224"/>
                      <a:pt x="345484" y="1519783"/>
                      <a:pt x="366915" y="1522958"/>
                    </a:cubicBezTo>
                    <a:cubicBezTo>
                      <a:pt x="389140" y="1522164"/>
                      <a:pt x="360961" y="1492398"/>
                      <a:pt x="369295" y="1480095"/>
                    </a:cubicBezTo>
                    <a:cubicBezTo>
                      <a:pt x="377629" y="1467792"/>
                      <a:pt x="404221" y="1455886"/>
                      <a:pt x="416921" y="1449139"/>
                    </a:cubicBezTo>
                    <a:cubicBezTo>
                      <a:pt x="429621" y="1442392"/>
                      <a:pt x="435971" y="1442789"/>
                      <a:pt x="445496" y="1439614"/>
                    </a:cubicBezTo>
                    <a:cubicBezTo>
                      <a:pt x="478833" y="1445964"/>
                      <a:pt x="513905" y="1446297"/>
                      <a:pt x="545508" y="1458664"/>
                    </a:cubicBezTo>
                    <a:cubicBezTo>
                      <a:pt x="553469" y="1461779"/>
                      <a:pt x="554239" y="1469777"/>
                      <a:pt x="555033" y="1482477"/>
                    </a:cubicBezTo>
                    <a:cubicBezTo>
                      <a:pt x="555827" y="1495177"/>
                      <a:pt x="551065" y="1515020"/>
                      <a:pt x="550271" y="1534864"/>
                    </a:cubicBezTo>
                    <a:cubicBezTo>
                      <a:pt x="549477" y="1554708"/>
                      <a:pt x="546837" y="1585515"/>
                      <a:pt x="550271" y="1601539"/>
                    </a:cubicBezTo>
                    <a:cubicBezTo>
                      <a:pt x="551759" y="1608481"/>
                      <a:pt x="553806" y="1616777"/>
                      <a:pt x="559796" y="1620589"/>
                    </a:cubicBezTo>
                    <a:cubicBezTo>
                      <a:pt x="575242" y="1630419"/>
                      <a:pt x="606754" y="1635696"/>
                      <a:pt x="626471" y="1639639"/>
                    </a:cubicBezTo>
                    <a:cubicBezTo>
                      <a:pt x="632821" y="1623764"/>
                      <a:pt x="630228" y="1584368"/>
                      <a:pt x="645521" y="1592014"/>
                    </a:cubicBezTo>
                    <a:cubicBezTo>
                      <a:pt x="664571" y="1601539"/>
                      <a:pt x="683208" y="1611939"/>
                      <a:pt x="702671" y="1620589"/>
                    </a:cubicBezTo>
                    <a:cubicBezTo>
                      <a:pt x="711846" y="1624667"/>
                      <a:pt x="722373" y="1625416"/>
                      <a:pt x="731246" y="1630114"/>
                    </a:cubicBezTo>
                    <a:cubicBezTo>
                      <a:pt x="749539" y="1639799"/>
                      <a:pt x="764415" y="1655765"/>
                      <a:pt x="783633" y="1663452"/>
                    </a:cubicBezTo>
                    <a:cubicBezTo>
                      <a:pt x="840224" y="1686088"/>
                      <a:pt x="814393" y="1679691"/>
                      <a:pt x="859833" y="1687264"/>
                    </a:cubicBezTo>
                    <a:cubicBezTo>
                      <a:pt x="866183" y="1692027"/>
                      <a:pt x="875082" y="1694584"/>
                      <a:pt x="878883" y="1701552"/>
                    </a:cubicBezTo>
                    <a:cubicBezTo>
                      <a:pt x="885152" y="1713044"/>
                      <a:pt x="878486" y="1723380"/>
                      <a:pt x="888408" y="1739652"/>
                    </a:cubicBezTo>
                    <a:cubicBezTo>
                      <a:pt x="898330" y="1755924"/>
                      <a:pt x="940583" y="1788781"/>
                      <a:pt x="938414" y="1799183"/>
                    </a:cubicBezTo>
                    <a:cubicBezTo>
                      <a:pt x="924670" y="1865106"/>
                      <a:pt x="932065" y="1862683"/>
                      <a:pt x="940796" y="1892052"/>
                    </a:cubicBezTo>
                    <a:cubicBezTo>
                      <a:pt x="949527" y="1921421"/>
                      <a:pt x="984848" y="1944043"/>
                      <a:pt x="990801" y="1975396"/>
                    </a:cubicBezTo>
                    <a:cubicBezTo>
                      <a:pt x="996754" y="2006749"/>
                      <a:pt x="987230" y="2051993"/>
                      <a:pt x="976514" y="2080171"/>
                    </a:cubicBezTo>
                    <a:cubicBezTo>
                      <a:pt x="965799" y="2108349"/>
                      <a:pt x="940398" y="2117874"/>
                      <a:pt x="926508" y="2144464"/>
                    </a:cubicBezTo>
                    <a:cubicBezTo>
                      <a:pt x="912618" y="2171054"/>
                      <a:pt x="897933" y="2215902"/>
                      <a:pt x="893171" y="2239714"/>
                    </a:cubicBezTo>
                    <a:cubicBezTo>
                      <a:pt x="894758" y="2255589"/>
                      <a:pt x="895507" y="2271570"/>
                      <a:pt x="897933" y="2287339"/>
                    </a:cubicBezTo>
                    <a:cubicBezTo>
                      <a:pt x="904013" y="2326860"/>
                      <a:pt x="958961" y="2328651"/>
                      <a:pt x="893171" y="2396877"/>
                    </a:cubicBezTo>
                    <a:cubicBezTo>
                      <a:pt x="867334" y="2423671"/>
                      <a:pt x="752650" y="2477844"/>
                      <a:pt x="688383" y="2449264"/>
                    </a:cubicBezTo>
                    <a:cubicBezTo>
                      <a:pt x="640758" y="2468314"/>
                      <a:pt x="632027" y="2493715"/>
                      <a:pt x="607421" y="2511177"/>
                    </a:cubicBezTo>
                    <a:cubicBezTo>
                      <a:pt x="582815" y="2528639"/>
                      <a:pt x="559002" y="2541339"/>
                      <a:pt x="540746" y="2554039"/>
                    </a:cubicBezTo>
                    <a:cubicBezTo>
                      <a:pt x="522490" y="2566739"/>
                      <a:pt x="531289" y="2576241"/>
                      <a:pt x="497883" y="2587377"/>
                    </a:cubicBezTo>
                    <a:cubicBezTo>
                      <a:pt x="482802" y="2600871"/>
                      <a:pt x="463752" y="2623890"/>
                      <a:pt x="450258" y="2635002"/>
                    </a:cubicBezTo>
                    <a:cubicBezTo>
                      <a:pt x="436764" y="2646115"/>
                      <a:pt x="432002" y="2649290"/>
                      <a:pt x="416921" y="2654052"/>
                    </a:cubicBezTo>
                    <a:cubicBezTo>
                      <a:pt x="401840" y="2658814"/>
                      <a:pt x="379615" y="2672308"/>
                      <a:pt x="359771" y="2663577"/>
                    </a:cubicBezTo>
                    <a:cubicBezTo>
                      <a:pt x="339927" y="2654846"/>
                      <a:pt x="327624" y="2636192"/>
                      <a:pt x="297858" y="2601664"/>
                    </a:cubicBezTo>
                    <a:cubicBezTo>
                      <a:pt x="268092" y="2567136"/>
                      <a:pt x="215308" y="2531814"/>
                      <a:pt x="181177" y="2456408"/>
                    </a:cubicBezTo>
                    <a:cubicBezTo>
                      <a:pt x="179590" y="2448471"/>
                      <a:pt x="157762" y="2432199"/>
                      <a:pt x="150221" y="2415927"/>
                    </a:cubicBezTo>
                    <a:cubicBezTo>
                      <a:pt x="142680" y="2399655"/>
                      <a:pt x="139784" y="2378032"/>
                      <a:pt x="135933" y="2358777"/>
                    </a:cubicBezTo>
                    <a:cubicBezTo>
                      <a:pt x="129779" y="2328002"/>
                      <a:pt x="134791" y="2342204"/>
                      <a:pt x="121646" y="2315914"/>
                    </a:cubicBezTo>
                    <a:cubicBezTo>
                      <a:pt x="113708" y="2287339"/>
                      <a:pt x="95452" y="2221458"/>
                      <a:pt x="88308" y="2187327"/>
                    </a:cubicBezTo>
                    <a:cubicBezTo>
                      <a:pt x="81164" y="2153196"/>
                      <a:pt x="81882" y="2139014"/>
                      <a:pt x="78783" y="2111127"/>
                    </a:cubicBezTo>
                    <a:cubicBezTo>
                      <a:pt x="84776" y="2018230"/>
                      <a:pt x="88308" y="1984920"/>
                      <a:pt x="97833" y="1944439"/>
                    </a:cubicBezTo>
                    <a:cubicBezTo>
                      <a:pt x="107358" y="1903958"/>
                      <a:pt x="130377" y="1888083"/>
                      <a:pt x="135933" y="1868239"/>
                    </a:cubicBezTo>
                    <a:cubicBezTo>
                      <a:pt x="134346" y="1853952"/>
                      <a:pt x="137600" y="1838235"/>
                      <a:pt x="131171" y="1825377"/>
                    </a:cubicBezTo>
                    <a:cubicBezTo>
                      <a:pt x="128244" y="1819523"/>
                      <a:pt x="117567" y="1824245"/>
                      <a:pt x="112121" y="1820614"/>
                    </a:cubicBezTo>
                    <a:cubicBezTo>
                      <a:pt x="107359" y="1817439"/>
                      <a:pt x="105771" y="1811089"/>
                      <a:pt x="102596" y="1806327"/>
                    </a:cubicBezTo>
                    <a:cubicBezTo>
                      <a:pt x="116733" y="1740350"/>
                      <a:pt x="131171" y="1740446"/>
                      <a:pt x="145458" y="1720602"/>
                    </a:cubicBezTo>
                    <a:cubicBezTo>
                      <a:pt x="159745" y="1700758"/>
                      <a:pt x="178796" y="1698377"/>
                      <a:pt x="188321" y="1687264"/>
                    </a:cubicBezTo>
                    <a:cubicBezTo>
                      <a:pt x="197846" y="1676152"/>
                      <a:pt x="199299" y="1663853"/>
                      <a:pt x="202608" y="1653927"/>
                    </a:cubicBezTo>
                    <a:cubicBezTo>
                      <a:pt x="199433" y="1638052"/>
                      <a:pt x="201020" y="1623764"/>
                      <a:pt x="193083" y="1606302"/>
                    </a:cubicBezTo>
                    <a:cubicBezTo>
                      <a:pt x="185146" y="1588840"/>
                      <a:pt x="163714" y="1587252"/>
                      <a:pt x="154983" y="1549152"/>
                    </a:cubicBezTo>
                    <a:cubicBezTo>
                      <a:pt x="146252" y="1511052"/>
                      <a:pt x="146252" y="1417390"/>
                      <a:pt x="140696" y="1377702"/>
                    </a:cubicBezTo>
                    <a:cubicBezTo>
                      <a:pt x="135140" y="1338015"/>
                      <a:pt x="146718" y="1361173"/>
                      <a:pt x="121646" y="1311027"/>
                    </a:cubicBezTo>
                    <a:cubicBezTo>
                      <a:pt x="116090" y="1288802"/>
                      <a:pt x="114502" y="1266577"/>
                      <a:pt x="107358" y="1244352"/>
                    </a:cubicBezTo>
                    <a:cubicBezTo>
                      <a:pt x="100214" y="1222127"/>
                      <a:pt x="86720" y="1195139"/>
                      <a:pt x="78783" y="1177677"/>
                    </a:cubicBezTo>
                    <a:cubicBezTo>
                      <a:pt x="68464" y="1153071"/>
                      <a:pt x="54971" y="1122114"/>
                      <a:pt x="45446" y="1096714"/>
                    </a:cubicBezTo>
                    <a:cubicBezTo>
                      <a:pt x="35921" y="1071314"/>
                      <a:pt x="42051" y="1055902"/>
                      <a:pt x="21633" y="1025277"/>
                    </a:cubicBezTo>
                    <a:cubicBezTo>
                      <a:pt x="18458" y="1014164"/>
                      <a:pt x="1393" y="995908"/>
                      <a:pt x="202" y="980033"/>
                    </a:cubicBezTo>
                    <a:cubicBezTo>
                      <a:pt x="-988" y="964158"/>
                      <a:pt x="2981" y="958205"/>
                      <a:pt x="14490" y="930027"/>
                    </a:cubicBezTo>
                    <a:cubicBezTo>
                      <a:pt x="25999" y="901849"/>
                      <a:pt x="34731" y="865733"/>
                      <a:pt x="69259" y="810964"/>
                    </a:cubicBezTo>
                    <a:cubicBezTo>
                      <a:pt x="103787" y="756195"/>
                      <a:pt x="185146" y="650626"/>
                      <a:pt x="221658" y="601414"/>
                    </a:cubicBezTo>
                    <a:cubicBezTo>
                      <a:pt x="258170" y="552202"/>
                      <a:pt x="256583" y="548232"/>
                      <a:pt x="288333" y="515689"/>
                    </a:cubicBezTo>
                    <a:cubicBezTo>
                      <a:pt x="320083" y="483146"/>
                      <a:pt x="370883" y="443458"/>
                      <a:pt x="412158" y="406152"/>
                    </a:cubicBezTo>
                    <a:cubicBezTo>
                      <a:pt x="453433" y="368846"/>
                      <a:pt x="497883" y="321220"/>
                      <a:pt x="535983" y="291851"/>
                    </a:cubicBezTo>
                    <a:cubicBezTo>
                      <a:pt x="574083" y="262482"/>
                      <a:pt x="607817" y="250576"/>
                      <a:pt x="640758" y="229939"/>
                    </a:cubicBezTo>
                    <a:cubicBezTo>
                      <a:pt x="673699" y="209302"/>
                      <a:pt x="684933" y="207732"/>
                      <a:pt x="733628" y="168026"/>
                    </a:cubicBezTo>
                    <a:cubicBezTo>
                      <a:pt x="785222" y="125957"/>
                      <a:pt x="907856" y="90238"/>
                      <a:pt x="978896" y="63251"/>
                    </a:cubicBezTo>
                    <a:cubicBezTo>
                      <a:pt x="1049937" y="36264"/>
                      <a:pt x="1017790" y="41028"/>
                      <a:pt x="1159871" y="6102"/>
                    </a:cubicBezTo>
                    <a:cubicBezTo>
                      <a:pt x="1182890" y="-5011"/>
                      <a:pt x="1196383" y="545"/>
                      <a:pt x="1202733" y="10864"/>
                    </a:cubicBezTo>
                    <a:close/>
                  </a:path>
                </a:pathLst>
              </a:custGeom>
              <a:solidFill>
                <a:srgbClr val="88BCA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/>
                <a:endParaRPr lang="da-DK" sz="1400">
                  <a:solidFill>
                    <a:srgbClr val="FFFFFF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40" name="Freeform: Shape 57">
                <a:extLst>
                  <a:ext uri="{FF2B5EF4-FFF2-40B4-BE49-F238E27FC236}">
                    <a16:creationId xmlns:a16="http://schemas.microsoft.com/office/drawing/2014/main" id="{C056F064-807D-E50F-E7FB-755B85499558}"/>
                  </a:ext>
                </a:extLst>
              </p:cNvPr>
              <p:cNvSpPr/>
              <p:nvPr/>
            </p:nvSpPr>
            <p:spPr>
              <a:xfrm>
                <a:off x="5210175" y="2875261"/>
                <a:ext cx="1596224" cy="2249189"/>
              </a:xfrm>
              <a:custGeom>
                <a:avLst/>
                <a:gdLst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281113 w 1602771"/>
                  <a:gd name="connsiteY143" fmla="*/ 1701565 h 2249252"/>
                  <a:gd name="connsiteX144" fmla="*/ 1309688 w 1602771"/>
                  <a:gd name="connsiteY144" fmla="*/ 1668227 h 2249252"/>
                  <a:gd name="connsiteX145" fmla="*/ 1333500 w 1602771"/>
                  <a:gd name="connsiteY145" fmla="*/ 1639652 h 2249252"/>
                  <a:gd name="connsiteX146" fmla="*/ 1352550 w 1602771"/>
                  <a:gd name="connsiteY146" fmla="*/ 1596790 h 2249252"/>
                  <a:gd name="connsiteX147" fmla="*/ 1357313 w 1602771"/>
                  <a:gd name="connsiteY147" fmla="*/ 1577740 h 2249252"/>
                  <a:gd name="connsiteX148" fmla="*/ 1371600 w 1602771"/>
                  <a:gd name="connsiteY148" fmla="*/ 1544402 h 2249252"/>
                  <a:gd name="connsiteX149" fmla="*/ 1376363 w 1602771"/>
                  <a:gd name="connsiteY149" fmla="*/ 1525352 h 2249252"/>
                  <a:gd name="connsiteX150" fmla="*/ 1400175 w 1602771"/>
                  <a:gd name="connsiteY150" fmla="*/ 1492015 h 2249252"/>
                  <a:gd name="connsiteX151" fmla="*/ 1414463 w 1602771"/>
                  <a:gd name="connsiteY151" fmla="*/ 1458677 h 2249252"/>
                  <a:gd name="connsiteX152" fmla="*/ 1433513 w 1602771"/>
                  <a:gd name="connsiteY152" fmla="*/ 1434865 h 2249252"/>
                  <a:gd name="connsiteX153" fmla="*/ 1462088 w 1602771"/>
                  <a:gd name="connsiteY153" fmla="*/ 1368190 h 2249252"/>
                  <a:gd name="connsiteX154" fmla="*/ 1471613 w 1602771"/>
                  <a:gd name="connsiteY154" fmla="*/ 1334852 h 2249252"/>
                  <a:gd name="connsiteX155" fmla="*/ 1481138 w 1602771"/>
                  <a:gd name="connsiteY155" fmla="*/ 1311040 h 2249252"/>
                  <a:gd name="connsiteX156" fmla="*/ 1490663 w 1602771"/>
                  <a:gd name="connsiteY156" fmla="*/ 1282465 h 2249252"/>
                  <a:gd name="connsiteX157" fmla="*/ 1504950 w 1602771"/>
                  <a:gd name="connsiteY157" fmla="*/ 1225315 h 2249252"/>
                  <a:gd name="connsiteX158" fmla="*/ 1514475 w 1602771"/>
                  <a:gd name="connsiteY158" fmla="*/ 1211027 h 2249252"/>
                  <a:gd name="connsiteX159" fmla="*/ 1528763 w 1602771"/>
                  <a:gd name="connsiteY159" fmla="*/ 1149115 h 2249252"/>
                  <a:gd name="connsiteX160" fmla="*/ 1533525 w 1602771"/>
                  <a:gd name="connsiteY160" fmla="*/ 1120540 h 2249252"/>
                  <a:gd name="connsiteX161" fmla="*/ 1538288 w 1602771"/>
                  <a:gd name="connsiteY161" fmla="*/ 1101490 h 2249252"/>
                  <a:gd name="connsiteX162" fmla="*/ 1543050 w 1602771"/>
                  <a:gd name="connsiteY162" fmla="*/ 1063390 h 2249252"/>
                  <a:gd name="connsiteX163" fmla="*/ 1552575 w 1602771"/>
                  <a:gd name="connsiteY163" fmla="*/ 1049102 h 2249252"/>
                  <a:gd name="connsiteX164" fmla="*/ 1557338 w 1602771"/>
                  <a:gd name="connsiteY164" fmla="*/ 1015765 h 2249252"/>
                  <a:gd name="connsiteX165" fmla="*/ 1566863 w 1602771"/>
                  <a:gd name="connsiteY165" fmla="*/ 987190 h 2249252"/>
                  <a:gd name="connsiteX166" fmla="*/ 1571625 w 1602771"/>
                  <a:gd name="connsiteY166" fmla="*/ 968140 h 2249252"/>
                  <a:gd name="connsiteX167" fmla="*/ 1581150 w 1602771"/>
                  <a:gd name="connsiteY167" fmla="*/ 920515 h 2249252"/>
                  <a:gd name="connsiteX168" fmla="*/ 1590675 w 1602771"/>
                  <a:gd name="connsiteY168" fmla="*/ 868127 h 2249252"/>
                  <a:gd name="connsiteX169" fmla="*/ 1590675 w 1602771"/>
                  <a:gd name="connsiteY169" fmla="*/ 596665 h 2249252"/>
                  <a:gd name="connsiteX170" fmla="*/ 1581150 w 1602771"/>
                  <a:gd name="connsiteY170" fmla="*/ 525227 h 2249252"/>
                  <a:gd name="connsiteX171" fmla="*/ 1576388 w 1602771"/>
                  <a:gd name="connsiteY171" fmla="*/ 510940 h 2249252"/>
                  <a:gd name="connsiteX172" fmla="*/ 1571625 w 1602771"/>
                  <a:gd name="connsiteY172" fmla="*/ 491890 h 2249252"/>
                  <a:gd name="connsiteX173" fmla="*/ 1557338 w 1602771"/>
                  <a:gd name="connsiteY173" fmla="*/ 458552 h 2249252"/>
                  <a:gd name="connsiteX174" fmla="*/ 1538288 w 1602771"/>
                  <a:gd name="connsiteY174" fmla="*/ 401402 h 2249252"/>
                  <a:gd name="connsiteX175" fmla="*/ 1533525 w 1602771"/>
                  <a:gd name="connsiteY175" fmla="*/ 377590 h 2249252"/>
                  <a:gd name="connsiteX176" fmla="*/ 1524000 w 1602771"/>
                  <a:gd name="connsiteY176" fmla="*/ 353777 h 2249252"/>
                  <a:gd name="connsiteX177" fmla="*/ 1514475 w 1602771"/>
                  <a:gd name="connsiteY177" fmla="*/ 325202 h 2249252"/>
                  <a:gd name="connsiteX178" fmla="*/ 1500188 w 1602771"/>
                  <a:gd name="connsiteY178" fmla="*/ 291865 h 2249252"/>
                  <a:gd name="connsiteX179" fmla="*/ 1481138 w 1602771"/>
                  <a:gd name="connsiteY179" fmla="*/ 244240 h 2249252"/>
                  <a:gd name="connsiteX180" fmla="*/ 1471613 w 1602771"/>
                  <a:gd name="connsiteY180" fmla="*/ 201377 h 2249252"/>
                  <a:gd name="connsiteX181" fmla="*/ 1462088 w 1602771"/>
                  <a:gd name="connsiteY181" fmla="*/ 177565 h 2249252"/>
                  <a:gd name="connsiteX182" fmla="*/ 1447800 w 1602771"/>
                  <a:gd name="connsiteY182" fmla="*/ 125177 h 2249252"/>
                  <a:gd name="connsiteX183" fmla="*/ 1443038 w 1602771"/>
                  <a:gd name="connsiteY183" fmla="*/ 110890 h 2249252"/>
                  <a:gd name="connsiteX184" fmla="*/ 1419225 w 1602771"/>
                  <a:gd name="connsiteY184" fmla="*/ 68027 h 2249252"/>
                  <a:gd name="connsiteX185" fmla="*/ 1395413 w 1602771"/>
                  <a:gd name="connsiteY18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281113 w 1602771"/>
                  <a:gd name="connsiteY143" fmla="*/ 1701565 h 2249252"/>
                  <a:gd name="connsiteX144" fmla="*/ 1309688 w 1602771"/>
                  <a:gd name="connsiteY144" fmla="*/ 1668227 h 2249252"/>
                  <a:gd name="connsiteX145" fmla="*/ 1352550 w 1602771"/>
                  <a:gd name="connsiteY145" fmla="*/ 1596790 h 2249252"/>
                  <a:gd name="connsiteX146" fmla="*/ 1357313 w 1602771"/>
                  <a:gd name="connsiteY146" fmla="*/ 1577740 h 2249252"/>
                  <a:gd name="connsiteX147" fmla="*/ 1371600 w 1602771"/>
                  <a:gd name="connsiteY147" fmla="*/ 1544402 h 2249252"/>
                  <a:gd name="connsiteX148" fmla="*/ 1376363 w 1602771"/>
                  <a:gd name="connsiteY148" fmla="*/ 1525352 h 2249252"/>
                  <a:gd name="connsiteX149" fmla="*/ 1400175 w 1602771"/>
                  <a:gd name="connsiteY149" fmla="*/ 1492015 h 2249252"/>
                  <a:gd name="connsiteX150" fmla="*/ 1414463 w 1602771"/>
                  <a:gd name="connsiteY150" fmla="*/ 1458677 h 2249252"/>
                  <a:gd name="connsiteX151" fmla="*/ 1433513 w 1602771"/>
                  <a:gd name="connsiteY151" fmla="*/ 1434865 h 2249252"/>
                  <a:gd name="connsiteX152" fmla="*/ 1462088 w 1602771"/>
                  <a:gd name="connsiteY152" fmla="*/ 1368190 h 2249252"/>
                  <a:gd name="connsiteX153" fmla="*/ 1471613 w 1602771"/>
                  <a:gd name="connsiteY153" fmla="*/ 1334852 h 2249252"/>
                  <a:gd name="connsiteX154" fmla="*/ 1481138 w 1602771"/>
                  <a:gd name="connsiteY154" fmla="*/ 1311040 h 2249252"/>
                  <a:gd name="connsiteX155" fmla="*/ 1490663 w 1602771"/>
                  <a:gd name="connsiteY155" fmla="*/ 1282465 h 2249252"/>
                  <a:gd name="connsiteX156" fmla="*/ 1504950 w 1602771"/>
                  <a:gd name="connsiteY156" fmla="*/ 1225315 h 2249252"/>
                  <a:gd name="connsiteX157" fmla="*/ 1514475 w 1602771"/>
                  <a:gd name="connsiteY157" fmla="*/ 1211027 h 2249252"/>
                  <a:gd name="connsiteX158" fmla="*/ 1528763 w 1602771"/>
                  <a:gd name="connsiteY158" fmla="*/ 1149115 h 2249252"/>
                  <a:gd name="connsiteX159" fmla="*/ 1533525 w 1602771"/>
                  <a:gd name="connsiteY159" fmla="*/ 1120540 h 2249252"/>
                  <a:gd name="connsiteX160" fmla="*/ 1538288 w 1602771"/>
                  <a:gd name="connsiteY160" fmla="*/ 1101490 h 2249252"/>
                  <a:gd name="connsiteX161" fmla="*/ 1543050 w 1602771"/>
                  <a:gd name="connsiteY161" fmla="*/ 1063390 h 2249252"/>
                  <a:gd name="connsiteX162" fmla="*/ 1552575 w 1602771"/>
                  <a:gd name="connsiteY162" fmla="*/ 1049102 h 2249252"/>
                  <a:gd name="connsiteX163" fmla="*/ 1557338 w 1602771"/>
                  <a:gd name="connsiteY163" fmla="*/ 1015765 h 2249252"/>
                  <a:gd name="connsiteX164" fmla="*/ 1566863 w 1602771"/>
                  <a:gd name="connsiteY164" fmla="*/ 987190 h 2249252"/>
                  <a:gd name="connsiteX165" fmla="*/ 1571625 w 1602771"/>
                  <a:gd name="connsiteY165" fmla="*/ 968140 h 2249252"/>
                  <a:gd name="connsiteX166" fmla="*/ 1581150 w 1602771"/>
                  <a:gd name="connsiteY166" fmla="*/ 920515 h 2249252"/>
                  <a:gd name="connsiteX167" fmla="*/ 1590675 w 1602771"/>
                  <a:gd name="connsiteY167" fmla="*/ 868127 h 2249252"/>
                  <a:gd name="connsiteX168" fmla="*/ 1590675 w 1602771"/>
                  <a:gd name="connsiteY168" fmla="*/ 596665 h 2249252"/>
                  <a:gd name="connsiteX169" fmla="*/ 1581150 w 1602771"/>
                  <a:gd name="connsiteY169" fmla="*/ 525227 h 2249252"/>
                  <a:gd name="connsiteX170" fmla="*/ 1576388 w 1602771"/>
                  <a:gd name="connsiteY170" fmla="*/ 510940 h 2249252"/>
                  <a:gd name="connsiteX171" fmla="*/ 1571625 w 1602771"/>
                  <a:gd name="connsiteY171" fmla="*/ 491890 h 2249252"/>
                  <a:gd name="connsiteX172" fmla="*/ 1557338 w 1602771"/>
                  <a:gd name="connsiteY172" fmla="*/ 458552 h 2249252"/>
                  <a:gd name="connsiteX173" fmla="*/ 1538288 w 1602771"/>
                  <a:gd name="connsiteY173" fmla="*/ 401402 h 2249252"/>
                  <a:gd name="connsiteX174" fmla="*/ 1533525 w 1602771"/>
                  <a:gd name="connsiteY174" fmla="*/ 377590 h 2249252"/>
                  <a:gd name="connsiteX175" fmla="*/ 1524000 w 1602771"/>
                  <a:gd name="connsiteY175" fmla="*/ 353777 h 2249252"/>
                  <a:gd name="connsiteX176" fmla="*/ 1514475 w 1602771"/>
                  <a:gd name="connsiteY176" fmla="*/ 325202 h 2249252"/>
                  <a:gd name="connsiteX177" fmla="*/ 1500188 w 1602771"/>
                  <a:gd name="connsiteY177" fmla="*/ 291865 h 2249252"/>
                  <a:gd name="connsiteX178" fmla="*/ 1481138 w 1602771"/>
                  <a:gd name="connsiteY178" fmla="*/ 244240 h 2249252"/>
                  <a:gd name="connsiteX179" fmla="*/ 1471613 w 1602771"/>
                  <a:gd name="connsiteY179" fmla="*/ 201377 h 2249252"/>
                  <a:gd name="connsiteX180" fmla="*/ 1462088 w 1602771"/>
                  <a:gd name="connsiteY180" fmla="*/ 177565 h 2249252"/>
                  <a:gd name="connsiteX181" fmla="*/ 1447800 w 1602771"/>
                  <a:gd name="connsiteY181" fmla="*/ 125177 h 2249252"/>
                  <a:gd name="connsiteX182" fmla="*/ 1443038 w 1602771"/>
                  <a:gd name="connsiteY182" fmla="*/ 110890 h 2249252"/>
                  <a:gd name="connsiteX183" fmla="*/ 1419225 w 1602771"/>
                  <a:gd name="connsiteY183" fmla="*/ 68027 h 2249252"/>
                  <a:gd name="connsiteX184" fmla="*/ 1395413 w 1602771"/>
                  <a:gd name="connsiteY18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281113 w 1602771"/>
                  <a:gd name="connsiteY143" fmla="*/ 1701565 h 2249252"/>
                  <a:gd name="connsiteX144" fmla="*/ 1352550 w 1602771"/>
                  <a:gd name="connsiteY144" fmla="*/ 1596790 h 2249252"/>
                  <a:gd name="connsiteX145" fmla="*/ 1357313 w 1602771"/>
                  <a:gd name="connsiteY145" fmla="*/ 1577740 h 2249252"/>
                  <a:gd name="connsiteX146" fmla="*/ 1371600 w 1602771"/>
                  <a:gd name="connsiteY146" fmla="*/ 1544402 h 2249252"/>
                  <a:gd name="connsiteX147" fmla="*/ 1376363 w 1602771"/>
                  <a:gd name="connsiteY147" fmla="*/ 1525352 h 2249252"/>
                  <a:gd name="connsiteX148" fmla="*/ 1400175 w 1602771"/>
                  <a:gd name="connsiteY148" fmla="*/ 1492015 h 2249252"/>
                  <a:gd name="connsiteX149" fmla="*/ 1414463 w 1602771"/>
                  <a:gd name="connsiteY149" fmla="*/ 1458677 h 2249252"/>
                  <a:gd name="connsiteX150" fmla="*/ 1433513 w 1602771"/>
                  <a:gd name="connsiteY150" fmla="*/ 1434865 h 2249252"/>
                  <a:gd name="connsiteX151" fmla="*/ 1462088 w 1602771"/>
                  <a:gd name="connsiteY151" fmla="*/ 1368190 h 2249252"/>
                  <a:gd name="connsiteX152" fmla="*/ 1471613 w 1602771"/>
                  <a:gd name="connsiteY152" fmla="*/ 1334852 h 2249252"/>
                  <a:gd name="connsiteX153" fmla="*/ 1481138 w 1602771"/>
                  <a:gd name="connsiteY153" fmla="*/ 1311040 h 2249252"/>
                  <a:gd name="connsiteX154" fmla="*/ 1490663 w 1602771"/>
                  <a:gd name="connsiteY154" fmla="*/ 1282465 h 2249252"/>
                  <a:gd name="connsiteX155" fmla="*/ 1504950 w 1602771"/>
                  <a:gd name="connsiteY155" fmla="*/ 1225315 h 2249252"/>
                  <a:gd name="connsiteX156" fmla="*/ 1514475 w 1602771"/>
                  <a:gd name="connsiteY156" fmla="*/ 1211027 h 2249252"/>
                  <a:gd name="connsiteX157" fmla="*/ 1528763 w 1602771"/>
                  <a:gd name="connsiteY157" fmla="*/ 1149115 h 2249252"/>
                  <a:gd name="connsiteX158" fmla="*/ 1533525 w 1602771"/>
                  <a:gd name="connsiteY158" fmla="*/ 1120540 h 2249252"/>
                  <a:gd name="connsiteX159" fmla="*/ 1538288 w 1602771"/>
                  <a:gd name="connsiteY159" fmla="*/ 1101490 h 2249252"/>
                  <a:gd name="connsiteX160" fmla="*/ 1543050 w 1602771"/>
                  <a:gd name="connsiteY160" fmla="*/ 1063390 h 2249252"/>
                  <a:gd name="connsiteX161" fmla="*/ 1552575 w 1602771"/>
                  <a:gd name="connsiteY161" fmla="*/ 1049102 h 2249252"/>
                  <a:gd name="connsiteX162" fmla="*/ 1557338 w 1602771"/>
                  <a:gd name="connsiteY162" fmla="*/ 1015765 h 2249252"/>
                  <a:gd name="connsiteX163" fmla="*/ 1566863 w 1602771"/>
                  <a:gd name="connsiteY163" fmla="*/ 987190 h 2249252"/>
                  <a:gd name="connsiteX164" fmla="*/ 1571625 w 1602771"/>
                  <a:gd name="connsiteY164" fmla="*/ 968140 h 2249252"/>
                  <a:gd name="connsiteX165" fmla="*/ 1581150 w 1602771"/>
                  <a:gd name="connsiteY165" fmla="*/ 920515 h 2249252"/>
                  <a:gd name="connsiteX166" fmla="*/ 1590675 w 1602771"/>
                  <a:gd name="connsiteY166" fmla="*/ 868127 h 2249252"/>
                  <a:gd name="connsiteX167" fmla="*/ 1590675 w 1602771"/>
                  <a:gd name="connsiteY167" fmla="*/ 596665 h 2249252"/>
                  <a:gd name="connsiteX168" fmla="*/ 1581150 w 1602771"/>
                  <a:gd name="connsiteY168" fmla="*/ 525227 h 2249252"/>
                  <a:gd name="connsiteX169" fmla="*/ 1576388 w 1602771"/>
                  <a:gd name="connsiteY169" fmla="*/ 510940 h 2249252"/>
                  <a:gd name="connsiteX170" fmla="*/ 1571625 w 1602771"/>
                  <a:gd name="connsiteY170" fmla="*/ 491890 h 2249252"/>
                  <a:gd name="connsiteX171" fmla="*/ 1557338 w 1602771"/>
                  <a:gd name="connsiteY171" fmla="*/ 458552 h 2249252"/>
                  <a:gd name="connsiteX172" fmla="*/ 1538288 w 1602771"/>
                  <a:gd name="connsiteY172" fmla="*/ 401402 h 2249252"/>
                  <a:gd name="connsiteX173" fmla="*/ 1533525 w 1602771"/>
                  <a:gd name="connsiteY173" fmla="*/ 377590 h 2249252"/>
                  <a:gd name="connsiteX174" fmla="*/ 1524000 w 1602771"/>
                  <a:gd name="connsiteY174" fmla="*/ 353777 h 2249252"/>
                  <a:gd name="connsiteX175" fmla="*/ 1514475 w 1602771"/>
                  <a:gd name="connsiteY175" fmla="*/ 325202 h 2249252"/>
                  <a:gd name="connsiteX176" fmla="*/ 1500188 w 1602771"/>
                  <a:gd name="connsiteY176" fmla="*/ 291865 h 2249252"/>
                  <a:gd name="connsiteX177" fmla="*/ 1481138 w 1602771"/>
                  <a:gd name="connsiteY177" fmla="*/ 244240 h 2249252"/>
                  <a:gd name="connsiteX178" fmla="*/ 1471613 w 1602771"/>
                  <a:gd name="connsiteY178" fmla="*/ 201377 h 2249252"/>
                  <a:gd name="connsiteX179" fmla="*/ 1462088 w 1602771"/>
                  <a:gd name="connsiteY179" fmla="*/ 177565 h 2249252"/>
                  <a:gd name="connsiteX180" fmla="*/ 1447800 w 1602771"/>
                  <a:gd name="connsiteY180" fmla="*/ 125177 h 2249252"/>
                  <a:gd name="connsiteX181" fmla="*/ 1443038 w 1602771"/>
                  <a:gd name="connsiteY181" fmla="*/ 110890 h 2249252"/>
                  <a:gd name="connsiteX182" fmla="*/ 1419225 w 1602771"/>
                  <a:gd name="connsiteY182" fmla="*/ 68027 h 2249252"/>
                  <a:gd name="connsiteX183" fmla="*/ 1395413 w 1602771"/>
                  <a:gd name="connsiteY18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352550 w 1602771"/>
                  <a:gd name="connsiteY143" fmla="*/ 1596790 h 2249252"/>
                  <a:gd name="connsiteX144" fmla="*/ 1357313 w 1602771"/>
                  <a:gd name="connsiteY144" fmla="*/ 1577740 h 2249252"/>
                  <a:gd name="connsiteX145" fmla="*/ 1371600 w 1602771"/>
                  <a:gd name="connsiteY145" fmla="*/ 1544402 h 2249252"/>
                  <a:gd name="connsiteX146" fmla="*/ 1376363 w 1602771"/>
                  <a:gd name="connsiteY146" fmla="*/ 1525352 h 2249252"/>
                  <a:gd name="connsiteX147" fmla="*/ 1400175 w 1602771"/>
                  <a:gd name="connsiteY147" fmla="*/ 1492015 h 2249252"/>
                  <a:gd name="connsiteX148" fmla="*/ 1414463 w 1602771"/>
                  <a:gd name="connsiteY148" fmla="*/ 1458677 h 2249252"/>
                  <a:gd name="connsiteX149" fmla="*/ 1433513 w 1602771"/>
                  <a:gd name="connsiteY149" fmla="*/ 1434865 h 2249252"/>
                  <a:gd name="connsiteX150" fmla="*/ 1462088 w 1602771"/>
                  <a:gd name="connsiteY150" fmla="*/ 1368190 h 2249252"/>
                  <a:gd name="connsiteX151" fmla="*/ 1471613 w 1602771"/>
                  <a:gd name="connsiteY151" fmla="*/ 1334852 h 2249252"/>
                  <a:gd name="connsiteX152" fmla="*/ 1481138 w 1602771"/>
                  <a:gd name="connsiteY152" fmla="*/ 1311040 h 2249252"/>
                  <a:gd name="connsiteX153" fmla="*/ 1490663 w 1602771"/>
                  <a:gd name="connsiteY153" fmla="*/ 1282465 h 2249252"/>
                  <a:gd name="connsiteX154" fmla="*/ 1504950 w 1602771"/>
                  <a:gd name="connsiteY154" fmla="*/ 1225315 h 2249252"/>
                  <a:gd name="connsiteX155" fmla="*/ 1514475 w 1602771"/>
                  <a:gd name="connsiteY155" fmla="*/ 1211027 h 2249252"/>
                  <a:gd name="connsiteX156" fmla="*/ 1528763 w 1602771"/>
                  <a:gd name="connsiteY156" fmla="*/ 1149115 h 2249252"/>
                  <a:gd name="connsiteX157" fmla="*/ 1533525 w 1602771"/>
                  <a:gd name="connsiteY157" fmla="*/ 1120540 h 2249252"/>
                  <a:gd name="connsiteX158" fmla="*/ 1538288 w 1602771"/>
                  <a:gd name="connsiteY158" fmla="*/ 1101490 h 2249252"/>
                  <a:gd name="connsiteX159" fmla="*/ 1543050 w 1602771"/>
                  <a:gd name="connsiteY159" fmla="*/ 1063390 h 2249252"/>
                  <a:gd name="connsiteX160" fmla="*/ 1552575 w 1602771"/>
                  <a:gd name="connsiteY160" fmla="*/ 1049102 h 2249252"/>
                  <a:gd name="connsiteX161" fmla="*/ 1557338 w 1602771"/>
                  <a:gd name="connsiteY161" fmla="*/ 1015765 h 2249252"/>
                  <a:gd name="connsiteX162" fmla="*/ 1566863 w 1602771"/>
                  <a:gd name="connsiteY162" fmla="*/ 987190 h 2249252"/>
                  <a:gd name="connsiteX163" fmla="*/ 1571625 w 1602771"/>
                  <a:gd name="connsiteY163" fmla="*/ 968140 h 2249252"/>
                  <a:gd name="connsiteX164" fmla="*/ 1581150 w 1602771"/>
                  <a:gd name="connsiteY164" fmla="*/ 920515 h 2249252"/>
                  <a:gd name="connsiteX165" fmla="*/ 1590675 w 1602771"/>
                  <a:gd name="connsiteY165" fmla="*/ 868127 h 2249252"/>
                  <a:gd name="connsiteX166" fmla="*/ 1590675 w 1602771"/>
                  <a:gd name="connsiteY166" fmla="*/ 596665 h 2249252"/>
                  <a:gd name="connsiteX167" fmla="*/ 1581150 w 1602771"/>
                  <a:gd name="connsiteY167" fmla="*/ 525227 h 2249252"/>
                  <a:gd name="connsiteX168" fmla="*/ 1576388 w 1602771"/>
                  <a:gd name="connsiteY168" fmla="*/ 510940 h 2249252"/>
                  <a:gd name="connsiteX169" fmla="*/ 1571625 w 1602771"/>
                  <a:gd name="connsiteY169" fmla="*/ 491890 h 2249252"/>
                  <a:gd name="connsiteX170" fmla="*/ 1557338 w 1602771"/>
                  <a:gd name="connsiteY170" fmla="*/ 458552 h 2249252"/>
                  <a:gd name="connsiteX171" fmla="*/ 1538288 w 1602771"/>
                  <a:gd name="connsiteY171" fmla="*/ 401402 h 2249252"/>
                  <a:gd name="connsiteX172" fmla="*/ 1533525 w 1602771"/>
                  <a:gd name="connsiteY172" fmla="*/ 377590 h 2249252"/>
                  <a:gd name="connsiteX173" fmla="*/ 1524000 w 1602771"/>
                  <a:gd name="connsiteY173" fmla="*/ 353777 h 2249252"/>
                  <a:gd name="connsiteX174" fmla="*/ 1514475 w 1602771"/>
                  <a:gd name="connsiteY174" fmla="*/ 325202 h 2249252"/>
                  <a:gd name="connsiteX175" fmla="*/ 1500188 w 1602771"/>
                  <a:gd name="connsiteY175" fmla="*/ 291865 h 2249252"/>
                  <a:gd name="connsiteX176" fmla="*/ 1481138 w 1602771"/>
                  <a:gd name="connsiteY176" fmla="*/ 244240 h 2249252"/>
                  <a:gd name="connsiteX177" fmla="*/ 1471613 w 1602771"/>
                  <a:gd name="connsiteY177" fmla="*/ 201377 h 2249252"/>
                  <a:gd name="connsiteX178" fmla="*/ 1462088 w 1602771"/>
                  <a:gd name="connsiteY178" fmla="*/ 177565 h 2249252"/>
                  <a:gd name="connsiteX179" fmla="*/ 1447800 w 1602771"/>
                  <a:gd name="connsiteY179" fmla="*/ 125177 h 2249252"/>
                  <a:gd name="connsiteX180" fmla="*/ 1443038 w 1602771"/>
                  <a:gd name="connsiteY180" fmla="*/ 110890 h 2249252"/>
                  <a:gd name="connsiteX181" fmla="*/ 1419225 w 1602771"/>
                  <a:gd name="connsiteY181" fmla="*/ 68027 h 2249252"/>
                  <a:gd name="connsiteX182" fmla="*/ 1395413 w 1602771"/>
                  <a:gd name="connsiteY182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1600 w 1602771"/>
                  <a:gd name="connsiteY144" fmla="*/ 1544402 h 2249252"/>
                  <a:gd name="connsiteX145" fmla="*/ 1376363 w 1602771"/>
                  <a:gd name="connsiteY145" fmla="*/ 1525352 h 2249252"/>
                  <a:gd name="connsiteX146" fmla="*/ 1400175 w 1602771"/>
                  <a:gd name="connsiteY146" fmla="*/ 1492015 h 2249252"/>
                  <a:gd name="connsiteX147" fmla="*/ 1414463 w 1602771"/>
                  <a:gd name="connsiteY147" fmla="*/ 1458677 h 2249252"/>
                  <a:gd name="connsiteX148" fmla="*/ 1433513 w 1602771"/>
                  <a:gd name="connsiteY148" fmla="*/ 1434865 h 2249252"/>
                  <a:gd name="connsiteX149" fmla="*/ 1462088 w 1602771"/>
                  <a:gd name="connsiteY149" fmla="*/ 1368190 h 2249252"/>
                  <a:gd name="connsiteX150" fmla="*/ 1471613 w 1602771"/>
                  <a:gd name="connsiteY150" fmla="*/ 1334852 h 2249252"/>
                  <a:gd name="connsiteX151" fmla="*/ 1481138 w 1602771"/>
                  <a:gd name="connsiteY151" fmla="*/ 1311040 h 2249252"/>
                  <a:gd name="connsiteX152" fmla="*/ 1490663 w 1602771"/>
                  <a:gd name="connsiteY152" fmla="*/ 1282465 h 2249252"/>
                  <a:gd name="connsiteX153" fmla="*/ 1504950 w 1602771"/>
                  <a:gd name="connsiteY153" fmla="*/ 1225315 h 2249252"/>
                  <a:gd name="connsiteX154" fmla="*/ 1514475 w 1602771"/>
                  <a:gd name="connsiteY154" fmla="*/ 1211027 h 2249252"/>
                  <a:gd name="connsiteX155" fmla="*/ 1528763 w 1602771"/>
                  <a:gd name="connsiteY155" fmla="*/ 1149115 h 2249252"/>
                  <a:gd name="connsiteX156" fmla="*/ 1533525 w 1602771"/>
                  <a:gd name="connsiteY156" fmla="*/ 1120540 h 2249252"/>
                  <a:gd name="connsiteX157" fmla="*/ 1538288 w 1602771"/>
                  <a:gd name="connsiteY157" fmla="*/ 1101490 h 2249252"/>
                  <a:gd name="connsiteX158" fmla="*/ 1543050 w 1602771"/>
                  <a:gd name="connsiteY158" fmla="*/ 1063390 h 2249252"/>
                  <a:gd name="connsiteX159" fmla="*/ 1552575 w 1602771"/>
                  <a:gd name="connsiteY159" fmla="*/ 1049102 h 2249252"/>
                  <a:gd name="connsiteX160" fmla="*/ 1557338 w 1602771"/>
                  <a:gd name="connsiteY160" fmla="*/ 1015765 h 2249252"/>
                  <a:gd name="connsiteX161" fmla="*/ 1566863 w 1602771"/>
                  <a:gd name="connsiteY161" fmla="*/ 987190 h 2249252"/>
                  <a:gd name="connsiteX162" fmla="*/ 1571625 w 1602771"/>
                  <a:gd name="connsiteY162" fmla="*/ 968140 h 2249252"/>
                  <a:gd name="connsiteX163" fmla="*/ 1581150 w 1602771"/>
                  <a:gd name="connsiteY163" fmla="*/ 920515 h 2249252"/>
                  <a:gd name="connsiteX164" fmla="*/ 1590675 w 1602771"/>
                  <a:gd name="connsiteY164" fmla="*/ 868127 h 2249252"/>
                  <a:gd name="connsiteX165" fmla="*/ 1590675 w 1602771"/>
                  <a:gd name="connsiteY165" fmla="*/ 596665 h 2249252"/>
                  <a:gd name="connsiteX166" fmla="*/ 1581150 w 1602771"/>
                  <a:gd name="connsiteY166" fmla="*/ 525227 h 2249252"/>
                  <a:gd name="connsiteX167" fmla="*/ 1576388 w 1602771"/>
                  <a:gd name="connsiteY167" fmla="*/ 510940 h 2249252"/>
                  <a:gd name="connsiteX168" fmla="*/ 1571625 w 1602771"/>
                  <a:gd name="connsiteY168" fmla="*/ 491890 h 2249252"/>
                  <a:gd name="connsiteX169" fmla="*/ 1557338 w 1602771"/>
                  <a:gd name="connsiteY169" fmla="*/ 458552 h 2249252"/>
                  <a:gd name="connsiteX170" fmla="*/ 1538288 w 1602771"/>
                  <a:gd name="connsiteY170" fmla="*/ 401402 h 2249252"/>
                  <a:gd name="connsiteX171" fmla="*/ 1533525 w 1602771"/>
                  <a:gd name="connsiteY171" fmla="*/ 377590 h 2249252"/>
                  <a:gd name="connsiteX172" fmla="*/ 1524000 w 1602771"/>
                  <a:gd name="connsiteY172" fmla="*/ 353777 h 2249252"/>
                  <a:gd name="connsiteX173" fmla="*/ 1514475 w 1602771"/>
                  <a:gd name="connsiteY173" fmla="*/ 325202 h 2249252"/>
                  <a:gd name="connsiteX174" fmla="*/ 1500188 w 1602771"/>
                  <a:gd name="connsiteY174" fmla="*/ 291865 h 2249252"/>
                  <a:gd name="connsiteX175" fmla="*/ 1481138 w 1602771"/>
                  <a:gd name="connsiteY175" fmla="*/ 244240 h 2249252"/>
                  <a:gd name="connsiteX176" fmla="*/ 1471613 w 1602771"/>
                  <a:gd name="connsiteY176" fmla="*/ 201377 h 2249252"/>
                  <a:gd name="connsiteX177" fmla="*/ 1462088 w 1602771"/>
                  <a:gd name="connsiteY177" fmla="*/ 177565 h 2249252"/>
                  <a:gd name="connsiteX178" fmla="*/ 1447800 w 1602771"/>
                  <a:gd name="connsiteY178" fmla="*/ 125177 h 2249252"/>
                  <a:gd name="connsiteX179" fmla="*/ 1443038 w 1602771"/>
                  <a:gd name="connsiteY179" fmla="*/ 110890 h 2249252"/>
                  <a:gd name="connsiteX180" fmla="*/ 1419225 w 1602771"/>
                  <a:gd name="connsiteY180" fmla="*/ 68027 h 2249252"/>
                  <a:gd name="connsiteX181" fmla="*/ 1395413 w 1602771"/>
                  <a:gd name="connsiteY18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1600 w 1602771"/>
                  <a:gd name="connsiteY144" fmla="*/ 1544402 h 2249252"/>
                  <a:gd name="connsiteX145" fmla="*/ 1376363 w 1602771"/>
                  <a:gd name="connsiteY145" fmla="*/ 1525352 h 2249252"/>
                  <a:gd name="connsiteX146" fmla="*/ 1400175 w 1602771"/>
                  <a:gd name="connsiteY146" fmla="*/ 1492015 h 2249252"/>
                  <a:gd name="connsiteX147" fmla="*/ 1414463 w 1602771"/>
                  <a:gd name="connsiteY147" fmla="*/ 1458677 h 2249252"/>
                  <a:gd name="connsiteX148" fmla="*/ 1433513 w 1602771"/>
                  <a:gd name="connsiteY148" fmla="*/ 1434865 h 2249252"/>
                  <a:gd name="connsiteX149" fmla="*/ 1462088 w 1602771"/>
                  <a:gd name="connsiteY149" fmla="*/ 1368190 h 2249252"/>
                  <a:gd name="connsiteX150" fmla="*/ 1471613 w 1602771"/>
                  <a:gd name="connsiteY150" fmla="*/ 1334852 h 2249252"/>
                  <a:gd name="connsiteX151" fmla="*/ 1481138 w 1602771"/>
                  <a:gd name="connsiteY151" fmla="*/ 1311040 h 2249252"/>
                  <a:gd name="connsiteX152" fmla="*/ 1490663 w 1602771"/>
                  <a:gd name="connsiteY152" fmla="*/ 1282465 h 2249252"/>
                  <a:gd name="connsiteX153" fmla="*/ 1504950 w 1602771"/>
                  <a:gd name="connsiteY153" fmla="*/ 1225315 h 2249252"/>
                  <a:gd name="connsiteX154" fmla="*/ 1514475 w 1602771"/>
                  <a:gd name="connsiteY154" fmla="*/ 1211027 h 2249252"/>
                  <a:gd name="connsiteX155" fmla="*/ 1528763 w 1602771"/>
                  <a:gd name="connsiteY155" fmla="*/ 1149115 h 2249252"/>
                  <a:gd name="connsiteX156" fmla="*/ 1533525 w 1602771"/>
                  <a:gd name="connsiteY156" fmla="*/ 1120540 h 2249252"/>
                  <a:gd name="connsiteX157" fmla="*/ 1538288 w 1602771"/>
                  <a:gd name="connsiteY157" fmla="*/ 1101490 h 2249252"/>
                  <a:gd name="connsiteX158" fmla="*/ 1543050 w 1602771"/>
                  <a:gd name="connsiteY158" fmla="*/ 1063390 h 2249252"/>
                  <a:gd name="connsiteX159" fmla="*/ 1552575 w 1602771"/>
                  <a:gd name="connsiteY159" fmla="*/ 1049102 h 2249252"/>
                  <a:gd name="connsiteX160" fmla="*/ 1557338 w 1602771"/>
                  <a:gd name="connsiteY160" fmla="*/ 1015765 h 2249252"/>
                  <a:gd name="connsiteX161" fmla="*/ 1566863 w 1602771"/>
                  <a:gd name="connsiteY161" fmla="*/ 987190 h 2249252"/>
                  <a:gd name="connsiteX162" fmla="*/ 1571625 w 1602771"/>
                  <a:gd name="connsiteY162" fmla="*/ 968140 h 2249252"/>
                  <a:gd name="connsiteX163" fmla="*/ 1581150 w 1602771"/>
                  <a:gd name="connsiteY163" fmla="*/ 920515 h 2249252"/>
                  <a:gd name="connsiteX164" fmla="*/ 1590675 w 1602771"/>
                  <a:gd name="connsiteY164" fmla="*/ 868127 h 2249252"/>
                  <a:gd name="connsiteX165" fmla="*/ 1590675 w 1602771"/>
                  <a:gd name="connsiteY165" fmla="*/ 596665 h 2249252"/>
                  <a:gd name="connsiteX166" fmla="*/ 1581150 w 1602771"/>
                  <a:gd name="connsiteY166" fmla="*/ 525227 h 2249252"/>
                  <a:gd name="connsiteX167" fmla="*/ 1576388 w 1602771"/>
                  <a:gd name="connsiteY167" fmla="*/ 510940 h 2249252"/>
                  <a:gd name="connsiteX168" fmla="*/ 1571625 w 1602771"/>
                  <a:gd name="connsiteY168" fmla="*/ 491890 h 2249252"/>
                  <a:gd name="connsiteX169" fmla="*/ 1557338 w 1602771"/>
                  <a:gd name="connsiteY169" fmla="*/ 458552 h 2249252"/>
                  <a:gd name="connsiteX170" fmla="*/ 1538288 w 1602771"/>
                  <a:gd name="connsiteY170" fmla="*/ 401402 h 2249252"/>
                  <a:gd name="connsiteX171" fmla="*/ 1533525 w 1602771"/>
                  <a:gd name="connsiteY171" fmla="*/ 377590 h 2249252"/>
                  <a:gd name="connsiteX172" fmla="*/ 1524000 w 1602771"/>
                  <a:gd name="connsiteY172" fmla="*/ 353777 h 2249252"/>
                  <a:gd name="connsiteX173" fmla="*/ 1514475 w 1602771"/>
                  <a:gd name="connsiteY173" fmla="*/ 325202 h 2249252"/>
                  <a:gd name="connsiteX174" fmla="*/ 1500188 w 1602771"/>
                  <a:gd name="connsiteY174" fmla="*/ 291865 h 2249252"/>
                  <a:gd name="connsiteX175" fmla="*/ 1481138 w 1602771"/>
                  <a:gd name="connsiteY175" fmla="*/ 244240 h 2249252"/>
                  <a:gd name="connsiteX176" fmla="*/ 1471613 w 1602771"/>
                  <a:gd name="connsiteY176" fmla="*/ 201377 h 2249252"/>
                  <a:gd name="connsiteX177" fmla="*/ 1462088 w 1602771"/>
                  <a:gd name="connsiteY177" fmla="*/ 177565 h 2249252"/>
                  <a:gd name="connsiteX178" fmla="*/ 1447800 w 1602771"/>
                  <a:gd name="connsiteY178" fmla="*/ 125177 h 2249252"/>
                  <a:gd name="connsiteX179" fmla="*/ 1443038 w 1602771"/>
                  <a:gd name="connsiteY179" fmla="*/ 110890 h 2249252"/>
                  <a:gd name="connsiteX180" fmla="*/ 1419225 w 1602771"/>
                  <a:gd name="connsiteY180" fmla="*/ 68027 h 2249252"/>
                  <a:gd name="connsiteX181" fmla="*/ 1395413 w 1602771"/>
                  <a:gd name="connsiteY18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1600 w 1602771"/>
                  <a:gd name="connsiteY144" fmla="*/ 1544402 h 2249252"/>
                  <a:gd name="connsiteX145" fmla="*/ 1376363 w 1602771"/>
                  <a:gd name="connsiteY145" fmla="*/ 1525352 h 2249252"/>
                  <a:gd name="connsiteX146" fmla="*/ 1400175 w 1602771"/>
                  <a:gd name="connsiteY146" fmla="*/ 1492015 h 2249252"/>
                  <a:gd name="connsiteX147" fmla="*/ 1414463 w 1602771"/>
                  <a:gd name="connsiteY147" fmla="*/ 1458677 h 2249252"/>
                  <a:gd name="connsiteX148" fmla="*/ 1433513 w 1602771"/>
                  <a:gd name="connsiteY148" fmla="*/ 1434865 h 2249252"/>
                  <a:gd name="connsiteX149" fmla="*/ 1462088 w 1602771"/>
                  <a:gd name="connsiteY149" fmla="*/ 1368190 h 2249252"/>
                  <a:gd name="connsiteX150" fmla="*/ 1471613 w 1602771"/>
                  <a:gd name="connsiteY150" fmla="*/ 1334852 h 2249252"/>
                  <a:gd name="connsiteX151" fmla="*/ 1481138 w 1602771"/>
                  <a:gd name="connsiteY151" fmla="*/ 1311040 h 2249252"/>
                  <a:gd name="connsiteX152" fmla="*/ 1490663 w 1602771"/>
                  <a:gd name="connsiteY152" fmla="*/ 1282465 h 2249252"/>
                  <a:gd name="connsiteX153" fmla="*/ 1504950 w 1602771"/>
                  <a:gd name="connsiteY153" fmla="*/ 1225315 h 2249252"/>
                  <a:gd name="connsiteX154" fmla="*/ 1514475 w 1602771"/>
                  <a:gd name="connsiteY154" fmla="*/ 1211027 h 2249252"/>
                  <a:gd name="connsiteX155" fmla="*/ 1528763 w 1602771"/>
                  <a:gd name="connsiteY155" fmla="*/ 1149115 h 2249252"/>
                  <a:gd name="connsiteX156" fmla="*/ 1533525 w 1602771"/>
                  <a:gd name="connsiteY156" fmla="*/ 1120540 h 2249252"/>
                  <a:gd name="connsiteX157" fmla="*/ 1538288 w 1602771"/>
                  <a:gd name="connsiteY157" fmla="*/ 1101490 h 2249252"/>
                  <a:gd name="connsiteX158" fmla="*/ 1543050 w 1602771"/>
                  <a:gd name="connsiteY158" fmla="*/ 1063390 h 2249252"/>
                  <a:gd name="connsiteX159" fmla="*/ 1552575 w 1602771"/>
                  <a:gd name="connsiteY159" fmla="*/ 1049102 h 2249252"/>
                  <a:gd name="connsiteX160" fmla="*/ 1557338 w 1602771"/>
                  <a:gd name="connsiteY160" fmla="*/ 1015765 h 2249252"/>
                  <a:gd name="connsiteX161" fmla="*/ 1566863 w 1602771"/>
                  <a:gd name="connsiteY161" fmla="*/ 987190 h 2249252"/>
                  <a:gd name="connsiteX162" fmla="*/ 1571625 w 1602771"/>
                  <a:gd name="connsiteY162" fmla="*/ 968140 h 2249252"/>
                  <a:gd name="connsiteX163" fmla="*/ 1581150 w 1602771"/>
                  <a:gd name="connsiteY163" fmla="*/ 920515 h 2249252"/>
                  <a:gd name="connsiteX164" fmla="*/ 1590675 w 1602771"/>
                  <a:gd name="connsiteY164" fmla="*/ 868127 h 2249252"/>
                  <a:gd name="connsiteX165" fmla="*/ 1590675 w 1602771"/>
                  <a:gd name="connsiteY165" fmla="*/ 596665 h 2249252"/>
                  <a:gd name="connsiteX166" fmla="*/ 1581150 w 1602771"/>
                  <a:gd name="connsiteY166" fmla="*/ 525227 h 2249252"/>
                  <a:gd name="connsiteX167" fmla="*/ 1576388 w 1602771"/>
                  <a:gd name="connsiteY167" fmla="*/ 510940 h 2249252"/>
                  <a:gd name="connsiteX168" fmla="*/ 1571625 w 1602771"/>
                  <a:gd name="connsiteY168" fmla="*/ 491890 h 2249252"/>
                  <a:gd name="connsiteX169" fmla="*/ 1557338 w 1602771"/>
                  <a:gd name="connsiteY169" fmla="*/ 458552 h 2249252"/>
                  <a:gd name="connsiteX170" fmla="*/ 1538288 w 1602771"/>
                  <a:gd name="connsiteY170" fmla="*/ 401402 h 2249252"/>
                  <a:gd name="connsiteX171" fmla="*/ 1533525 w 1602771"/>
                  <a:gd name="connsiteY171" fmla="*/ 377590 h 2249252"/>
                  <a:gd name="connsiteX172" fmla="*/ 1524000 w 1602771"/>
                  <a:gd name="connsiteY172" fmla="*/ 353777 h 2249252"/>
                  <a:gd name="connsiteX173" fmla="*/ 1514475 w 1602771"/>
                  <a:gd name="connsiteY173" fmla="*/ 325202 h 2249252"/>
                  <a:gd name="connsiteX174" fmla="*/ 1500188 w 1602771"/>
                  <a:gd name="connsiteY174" fmla="*/ 291865 h 2249252"/>
                  <a:gd name="connsiteX175" fmla="*/ 1481138 w 1602771"/>
                  <a:gd name="connsiteY175" fmla="*/ 244240 h 2249252"/>
                  <a:gd name="connsiteX176" fmla="*/ 1471613 w 1602771"/>
                  <a:gd name="connsiteY176" fmla="*/ 201377 h 2249252"/>
                  <a:gd name="connsiteX177" fmla="*/ 1462088 w 1602771"/>
                  <a:gd name="connsiteY177" fmla="*/ 177565 h 2249252"/>
                  <a:gd name="connsiteX178" fmla="*/ 1447800 w 1602771"/>
                  <a:gd name="connsiteY178" fmla="*/ 125177 h 2249252"/>
                  <a:gd name="connsiteX179" fmla="*/ 1443038 w 1602771"/>
                  <a:gd name="connsiteY179" fmla="*/ 110890 h 2249252"/>
                  <a:gd name="connsiteX180" fmla="*/ 1419225 w 1602771"/>
                  <a:gd name="connsiteY180" fmla="*/ 68027 h 2249252"/>
                  <a:gd name="connsiteX181" fmla="*/ 1395413 w 1602771"/>
                  <a:gd name="connsiteY18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6363 w 1602771"/>
                  <a:gd name="connsiteY144" fmla="*/ 1525352 h 2249252"/>
                  <a:gd name="connsiteX145" fmla="*/ 1400175 w 1602771"/>
                  <a:gd name="connsiteY145" fmla="*/ 1492015 h 2249252"/>
                  <a:gd name="connsiteX146" fmla="*/ 1414463 w 1602771"/>
                  <a:gd name="connsiteY146" fmla="*/ 1458677 h 2249252"/>
                  <a:gd name="connsiteX147" fmla="*/ 1433513 w 1602771"/>
                  <a:gd name="connsiteY147" fmla="*/ 1434865 h 2249252"/>
                  <a:gd name="connsiteX148" fmla="*/ 1462088 w 1602771"/>
                  <a:gd name="connsiteY148" fmla="*/ 1368190 h 2249252"/>
                  <a:gd name="connsiteX149" fmla="*/ 1471613 w 1602771"/>
                  <a:gd name="connsiteY149" fmla="*/ 1334852 h 2249252"/>
                  <a:gd name="connsiteX150" fmla="*/ 1481138 w 1602771"/>
                  <a:gd name="connsiteY150" fmla="*/ 1311040 h 2249252"/>
                  <a:gd name="connsiteX151" fmla="*/ 1490663 w 1602771"/>
                  <a:gd name="connsiteY151" fmla="*/ 1282465 h 2249252"/>
                  <a:gd name="connsiteX152" fmla="*/ 1504950 w 1602771"/>
                  <a:gd name="connsiteY152" fmla="*/ 1225315 h 2249252"/>
                  <a:gd name="connsiteX153" fmla="*/ 1514475 w 1602771"/>
                  <a:gd name="connsiteY153" fmla="*/ 1211027 h 2249252"/>
                  <a:gd name="connsiteX154" fmla="*/ 1528763 w 1602771"/>
                  <a:gd name="connsiteY154" fmla="*/ 1149115 h 2249252"/>
                  <a:gd name="connsiteX155" fmla="*/ 1533525 w 1602771"/>
                  <a:gd name="connsiteY155" fmla="*/ 1120540 h 2249252"/>
                  <a:gd name="connsiteX156" fmla="*/ 1538288 w 1602771"/>
                  <a:gd name="connsiteY156" fmla="*/ 1101490 h 2249252"/>
                  <a:gd name="connsiteX157" fmla="*/ 1543050 w 1602771"/>
                  <a:gd name="connsiteY157" fmla="*/ 1063390 h 2249252"/>
                  <a:gd name="connsiteX158" fmla="*/ 1552575 w 1602771"/>
                  <a:gd name="connsiteY158" fmla="*/ 1049102 h 2249252"/>
                  <a:gd name="connsiteX159" fmla="*/ 1557338 w 1602771"/>
                  <a:gd name="connsiteY159" fmla="*/ 1015765 h 2249252"/>
                  <a:gd name="connsiteX160" fmla="*/ 1566863 w 1602771"/>
                  <a:gd name="connsiteY160" fmla="*/ 987190 h 2249252"/>
                  <a:gd name="connsiteX161" fmla="*/ 1571625 w 1602771"/>
                  <a:gd name="connsiteY161" fmla="*/ 968140 h 2249252"/>
                  <a:gd name="connsiteX162" fmla="*/ 1581150 w 1602771"/>
                  <a:gd name="connsiteY162" fmla="*/ 920515 h 2249252"/>
                  <a:gd name="connsiteX163" fmla="*/ 1590675 w 1602771"/>
                  <a:gd name="connsiteY163" fmla="*/ 868127 h 2249252"/>
                  <a:gd name="connsiteX164" fmla="*/ 1590675 w 1602771"/>
                  <a:gd name="connsiteY164" fmla="*/ 596665 h 2249252"/>
                  <a:gd name="connsiteX165" fmla="*/ 1581150 w 1602771"/>
                  <a:gd name="connsiteY165" fmla="*/ 525227 h 2249252"/>
                  <a:gd name="connsiteX166" fmla="*/ 1576388 w 1602771"/>
                  <a:gd name="connsiteY166" fmla="*/ 510940 h 2249252"/>
                  <a:gd name="connsiteX167" fmla="*/ 1571625 w 1602771"/>
                  <a:gd name="connsiteY167" fmla="*/ 491890 h 2249252"/>
                  <a:gd name="connsiteX168" fmla="*/ 1557338 w 1602771"/>
                  <a:gd name="connsiteY168" fmla="*/ 458552 h 2249252"/>
                  <a:gd name="connsiteX169" fmla="*/ 1538288 w 1602771"/>
                  <a:gd name="connsiteY169" fmla="*/ 401402 h 2249252"/>
                  <a:gd name="connsiteX170" fmla="*/ 1533525 w 1602771"/>
                  <a:gd name="connsiteY170" fmla="*/ 377590 h 2249252"/>
                  <a:gd name="connsiteX171" fmla="*/ 1524000 w 1602771"/>
                  <a:gd name="connsiteY171" fmla="*/ 353777 h 2249252"/>
                  <a:gd name="connsiteX172" fmla="*/ 1514475 w 1602771"/>
                  <a:gd name="connsiteY172" fmla="*/ 325202 h 2249252"/>
                  <a:gd name="connsiteX173" fmla="*/ 1500188 w 1602771"/>
                  <a:gd name="connsiteY173" fmla="*/ 291865 h 2249252"/>
                  <a:gd name="connsiteX174" fmla="*/ 1481138 w 1602771"/>
                  <a:gd name="connsiteY174" fmla="*/ 244240 h 2249252"/>
                  <a:gd name="connsiteX175" fmla="*/ 1471613 w 1602771"/>
                  <a:gd name="connsiteY175" fmla="*/ 201377 h 2249252"/>
                  <a:gd name="connsiteX176" fmla="*/ 1462088 w 1602771"/>
                  <a:gd name="connsiteY176" fmla="*/ 177565 h 2249252"/>
                  <a:gd name="connsiteX177" fmla="*/ 1447800 w 1602771"/>
                  <a:gd name="connsiteY177" fmla="*/ 125177 h 2249252"/>
                  <a:gd name="connsiteX178" fmla="*/ 1443038 w 1602771"/>
                  <a:gd name="connsiteY178" fmla="*/ 110890 h 2249252"/>
                  <a:gd name="connsiteX179" fmla="*/ 1419225 w 1602771"/>
                  <a:gd name="connsiteY179" fmla="*/ 68027 h 2249252"/>
                  <a:gd name="connsiteX180" fmla="*/ 1395413 w 1602771"/>
                  <a:gd name="connsiteY180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76363 w 1602771"/>
                  <a:gd name="connsiteY143" fmla="*/ 1525352 h 2249252"/>
                  <a:gd name="connsiteX144" fmla="*/ 1400175 w 1602771"/>
                  <a:gd name="connsiteY144" fmla="*/ 1492015 h 2249252"/>
                  <a:gd name="connsiteX145" fmla="*/ 1414463 w 1602771"/>
                  <a:gd name="connsiteY145" fmla="*/ 1458677 h 2249252"/>
                  <a:gd name="connsiteX146" fmla="*/ 1433513 w 1602771"/>
                  <a:gd name="connsiteY146" fmla="*/ 1434865 h 2249252"/>
                  <a:gd name="connsiteX147" fmla="*/ 1462088 w 1602771"/>
                  <a:gd name="connsiteY147" fmla="*/ 1368190 h 2249252"/>
                  <a:gd name="connsiteX148" fmla="*/ 1471613 w 1602771"/>
                  <a:gd name="connsiteY148" fmla="*/ 1334852 h 2249252"/>
                  <a:gd name="connsiteX149" fmla="*/ 1481138 w 1602771"/>
                  <a:gd name="connsiteY149" fmla="*/ 1311040 h 2249252"/>
                  <a:gd name="connsiteX150" fmla="*/ 1490663 w 1602771"/>
                  <a:gd name="connsiteY150" fmla="*/ 1282465 h 2249252"/>
                  <a:gd name="connsiteX151" fmla="*/ 1504950 w 1602771"/>
                  <a:gd name="connsiteY151" fmla="*/ 1225315 h 2249252"/>
                  <a:gd name="connsiteX152" fmla="*/ 1514475 w 1602771"/>
                  <a:gd name="connsiteY152" fmla="*/ 1211027 h 2249252"/>
                  <a:gd name="connsiteX153" fmla="*/ 1528763 w 1602771"/>
                  <a:gd name="connsiteY153" fmla="*/ 1149115 h 2249252"/>
                  <a:gd name="connsiteX154" fmla="*/ 1533525 w 1602771"/>
                  <a:gd name="connsiteY154" fmla="*/ 1120540 h 2249252"/>
                  <a:gd name="connsiteX155" fmla="*/ 1538288 w 1602771"/>
                  <a:gd name="connsiteY155" fmla="*/ 1101490 h 2249252"/>
                  <a:gd name="connsiteX156" fmla="*/ 1543050 w 1602771"/>
                  <a:gd name="connsiteY156" fmla="*/ 1063390 h 2249252"/>
                  <a:gd name="connsiteX157" fmla="*/ 1552575 w 1602771"/>
                  <a:gd name="connsiteY157" fmla="*/ 1049102 h 2249252"/>
                  <a:gd name="connsiteX158" fmla="*/ 1557338 w 1602771"/>
                  <a:gd name="connsiteY158" fmla="*/ 1015765 h 2249252"/>
                  <a:gd name="connsiteX159" fmla="*/ 1566863 w 1602771"/>
                  <a:gd name="connsiteY159" fmla="*/ 987190 h 2249252"/>
                  <a:gd name="connsiteX160" fmla="*/ 1571625 w 1602771"/>
                  <a:gd name="connsiteY160" fmla="*/ 968140 h 2249252"/>
                  <a:gd name="connsiteX161" fmla="*/ 1581150 w 1602771"/>
                  <a:gd name="connsiteY161" fmla="*/ 920515 h 2249252"/>
                  <a:gd name="connsiteX162" fmla="*/ 1590675 w 1602771"/>
                  <a:gd name="connsiteY162" fmla="*/ 868127 h 2249252"/>
                  <a:gd name="connsiteX163" fmla="*/ 1590675 w 1602771"/>
                  <a:gd name="connsiteY163" fmla="*/ 596665 h 2249252"/>
                  <a:gd name="connsiteX164" fmla="*/ 1581150 w 1602771"/>
                  <a:gd name="connsiteY164" fmla="*/ 525227 h 2249252"/>
                  <a:gd name="connsiteX165" fmla="*/ 1576388 w 1602771"/>
                  <a:gd name="connsiteY165" fmla="*/ 510940 h 2249252"/>
                  <a:gd name="connsiteX166" fmla="*/ 1571625 w 1602771"/>
                  <a:gd name="connsiteY166" fmla="*/ 491890 h 2249252"/>
                  <a:gd name="connsiteX167" fmla="*/ 1557338 w 1602771"/>
                  <a:gd name="connsiteY167" fmla="*/ 458552 h 2249252"/>
                  <a:gd name="connsiteX168" fmla="*/ 1538288 w 1602771"/>
                  <a:gd name="connsiteY168" fmla="*/ 401402 h 2249252"/>
                  <a:gd name="connsiteX169" fmla="*/ 1533525 w 1602771"/>
                  <a:gd name="connsiteY169" fmla="*/ 377590 h 2249252"/>
                  <a:gd name="connsiteX170" fmla="*/ 1524000 w 1602771"/>
                  <a:gd name="connsiteY170" fmla="*/ 353777 h 2249252"/>
                  <a:gd name="connsiteX171" fmla="*/ 1514475 w 1602771"/>
                  <a:gd name="connsiteY171" fmla="*/ 325202 h 2249252"/>
                  <a:gd name="connsiteX172" fmla="*/ 1500188 w 1602771"/>
                  <a:gd name="connsiteY172" fmla="*/ 291865 h 2249252"/>
                  <a:gd name="connsiteX173" fmla="*/ 1481138 w 1602771"/>
                  <a:gd name="connsiteY173" fmla="*/ 244240 h 2249252"/>
                  <a:gd name="connsiteX174" fmla="*/ 1471613 w 1602771"/>
                  <a:gd name="connsiteY174" fmla="*/ 201377 h 2249252"/>
                  <a:gd name="connsiteX175" fmla="*/ 1462088 w 1602771"/>
                  <a:gd name="connsiteY175" fmla="*/ 177565 h 2249252"/>
                  <a:gd name="connsiteX176" fmla="*/ 1447800 w 1602771"/>
                  <a:gd name="connsiteY176" fmla="*/ 125177 h 2249252"/>
                  <a:gd name="connsiteX177" fmla="*/ 1443038 w 1602771"/>
                  <a:gd name="connsiteY177" fmla="*/ 110890 h 2249252"/>
                  <a:gd name="connsiteX178" fmla="*/ 1419225 w 1602771"/>
                  <a:gd name="connsiteY178" fmla="*/ 68027 h 2249252"/>
                  <a:gd name="connsiteX179" fmla="*/ 1395413 w 1602771"/>
                  <a:gd name="connsiteY179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00175 w 1602771"/>
                  <a:gd name="connsiteY143" fmla="*/ 1492015 h 2249252"/>
                  <a:gd name="connsiteX144" fmla="*/ 1414463 w 1602771"/>
                  <a:gd name="connsiteY144" fmla="*/ 1458677 h 2249252"/>
                  <a:gd name="connsiteX145" fmla="*/ 1433513 w 1602771"/>
                  <a:gd name="connsiteY145" fmla="*/ 1434865 h 2249252"/>
                  <a:gd name="connsiteX146" fmla="*/ 1462088 w 1602771"/>
                  <a:gd name="connsiteY146" fmla="*/ 1368190 h 2249252"/>
                  <a:gd name="connsiteX147" fmla="*/ 1471613 w 1602771"/>
                  <a:gd name="connsiteY147" fmla="*/ 1334852 h 2249252"/>
                  <a:gd name="connsiteX148" fmla="*/ 1481138 w 1602771"/>
                  <a:gd name="connsiteY148" fmla="*/ 1311040 h 2249252"/>
                  <a:gd name="connsiteX149" fmla="*/ 1490663 w 1602771"/>
                  <a:gd name="connsiteY149" fmla="*/ 1282465 h 2249252"/>
                  <a:gd name="connsiteX150" fmla="*/ 1504950 w 1602771"/>
                  <a:gd name="connsiteY150" fmla="*/ 1225315 h 2249252"/>
                  <a:gd name="connsiteX151" fmla="*/ 1514475 w 1602771"/>
                  <a:gd name="connsiteY151" fmla="*/ 1211027 h 2249252"/>
                  <a:gd name="connsiteX152" fmla="*/ 1528763 w 1602771"/>
                  <a:gd name="connsiteY152" fmla="*/ 1149115 h 2249252"/>
                  <a:gd name="connsiteX153" fmla="*/ 1533525 w 1602771"/>
                  <a:gd name="connsiteY153" fmla="*/ 1120540 h 2249252"/>
                  <a:gd name="connsiteX154" fmla="*/ 1538288 w 1602771"/>
                  <a:gd name="connsiteY154" fmla="*/ 1101490 h 2249252"/>
                  <a:gd name="connsiteX155" fmla="*/ 1543050 w 1602771"/>
                  <a:gd name="connsiteY155" fmla="*/ 1063390 h 2249252"/>
                  <a:gd name="connsiteX156" fmla="*/ 1552575 w 1602771"/>
                  <a:gd name="connsiteY156" fmla="*/ 1049102 h 2249252"/>
                  <a:gd name="connsiteX157" fmla="*/ 1557338 w 1602771"/>
                  <a:gd name="connsiteY157" fmla="*/ 1015765 h 2249252"/>
                  <a:gd name="connsiteX158" fmla="*/ 1566863 w 1602771"/>
                  <a:gd name="connsiteY158" fmla="*/ 987190 h 2249252"/>
                  <a:gd name="connsiteX159" fmla="*/ 1571625 w 1602771"/>
                  <a:gd name="connsiteY159" fmla="*/ 968140 h 2249252"/>
                  <a:gd name="connsiteX160" fmla="*/ 1581150 w 1602771"/>
                  <a:gd name="connsiteY160" fmla="*/ 920515 h 2249252"/>
                  <a:gd name="connsiteX161" fmla="*/ 1590675 w 1602771"/>
                  <a:gd name="connsiteY161" fmla="*/ 868127 h 2249252"/>
                  <a:gd name="connsiteX162" fmla="*/ 1590675 w 1602771"/>
                  <a:gd name="connsiteY162" fmla="*/ 596665 h 2249252"/>
                  <a:gd name="connsiteX163" fmla="*/ 1581150 w 1602771"/>
                  <a:gd name="connsiteY163" fmla="*/ 525227 h 2249252"/>
                  <a:gd name="connsiteX164" fmla="*/ 1576388 w 1602771"/>
                  <a:gd name="connsiteY164" fmla="*/ 510940 h 2249252"/>
                  <a:gd name="connsiteX165" fmla="*/ 1571625 w 1602771"/>
                  <a:gd name="connsiteY165" fmla="*/ 491890 h 2249252"/>
                  <a:gd name="connsiteX166" fmla="*/ 1557338 w 1602771"/>
                  <a:gd name="connsiteY166" fmla="*/ 458552 h 2249252"/>
                  <a:gd name="connsiteX167" fmla="*/ 1538288 w 1602771"/>
                  <a:gd name="connsiteY167" fmla="*/ 401402 h 2249252"/>
                  <a:gd name="connsiteX168" fmla="*/ 1533525 w 1602771"/>
                  <a:gd name="connsiteY168" fmla="*/ 377590 h 2249252"/>
                  <a:gd name="connsiteX169" fmla="*/ 1524000 w 1602771"/>
                  <a:gd name="connsiteY169" fmla="*/ 353777 h 2249252"/>
                  <a:gd name="connsiteX170" fmla="*/ 1514475 w 1602771"/>
                  <a:gd name="connsiteY170" fmla="*/ 325202 h 2249252"/>
                  <a:gd name="connsiteX171" fmla="*/ 1500188 w 1602771"/>
                  <a:gd name="connsiteY171" fmla="*/ 291865 h 2249252"/>
                  <a:gd name="connsiteX172" fmla="*/ 1481138 w 1602771"/>
                  <a:gd name="connsiteY172" fmla="*/ 244240 h 2249252"/>
                  <a:gd name="connsiteX173" fmla="*/ 1471613 w 1602771"/>
                  <a:gd name="connsiteY173" fmla="*/ 201377 h 2249252"/>
                  <a:gd name="connsiteX174" fmla="*/ 1462088 w 1602771"/>
                  <a:gd name="connsiteY174" fmla="*/ 177565 h 2249252"/>
                  <a:gd name="connsiteX175" fmla="*/ 1447800 w 1602771"/>
                  <a:gd name="connsiteY175" fmla="*/ 125177 h 2249252"/>
                  <a:gd name="connsiteX176" fmla="*/ 1443038 w 1602771"/>
                  <a:gd name="connsiteY176" fmla="*/ 110890 h 2249252"/>
                  <a:gd name="connsiteX177" fmla="*/ 1419225 w 1602771"/>
                  <a:gd name="connsiteY177" fmla="*/ 68027 h 2249252"/>
                  <a:gd name="connsiteX178" fmla="*/ 1395413 w 1602771"/>
                  <a:gd name="connsiteY178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14463 w 1602771"/>
                  <a:gd name="connsiteY143" fmla="*/ 1458677 h 2249252"/>
                  <a:gd name="connsiteX144" fmla="*/ 1433513 w 1602771"/>
                  <a:gd name="connsiteY144" fmla="*/ 1434865 h 2249252"/>
                  <a:gd name="connsiteX145" fmla="*/ 1462088 w 1602771"/>
                  <a:gd name="connsiteY145" fmla="*/ 1368190 h 2249252"/>
                  <a:gd name="connsiteX146" fmla="*/ 1471613 w 1602771"/>
                  <a:gd name="connsiteY146" fmla="*/ 1334852 h 2249252"/>
                  <a:gd name="connsiteX147" fmla="*/ 1481138 w 1602771"/>
                  <a:gd name="connsiteY147" fmla="*/ 1311040 h 2249252"/>
                  <a:gd name="connsiteX148" fmla="*/ 1490663 w 1602771"/>
                  <a:gd name="connsiteY148" fmla="*/ 1282465 h 2249252"/>
                  <a:gd name="connsiteX149" fmla="*/ 1504950 w 1602771"/>
                  <a:gd name="connsiteY149" fmla="*/ 1225315 h 2249252"/>
                  <a:gd name="connsiteX150" fmla="*/ 1514475 w 1602771"/>
                  <a:gd name="connsiteY150" fmla="*/ 1211027 h 2249252"/>
                  <a:gd name="connsiteX151" fmla="*/ 1528763 w 1602771"/>
                  <a:gd name="connsiteY151" fmla="*/ 1149115 h 2249252"/>
                  <a:gd name="connsiteX152" fmla="*/ 1533525 w 1602771"/>
                  <a:gd name="connsiteY152" fmla="*/ 1120540 h 2249252"/>
                  <a:gd name="connsiteX153" fmla="*/ 1538288 w 1602771"/>
                  <a:gd name="connsiteY153" fmla="*/ 1101490 h 2249252"/>
                  <a:gd name="connsiteX154" fmla="*/ 1543050 w 1602771"/>
                  <a:gd name="connsiteY154" fmla="*/ 1063390 h 2249252"/>
                  <a:gd name="connsiteX155" fmla="*/ 1552575 w 1602771"/>
                  <a:gd name="connsiteY155" fmla="*/ 1049102 h 2249252"/>
                  <a:gd name="connsiteX156" fmla="*/ 1557338 w 1602771"/>
                  <a:gd name="connsiteY156" fmla="*/ 1015765 h 2249252"/>
                  <a:gd name="connsiteX157" fmla="*/ 1566863 w 1602771"/>
                  <a:gd name="connsiteY157" fmla="*/ 987190 h 2249252"/>
                  <a:gd name="connsiteX158" fmla="*/ 1571625 w 1602771"/>
                  <a:gd name="connsiteY158" fmla="*/ 968140 h 2249252"/>
                  <a:gd name="connsiteX159" fmla="*/ 1581150 w 1602771"/>
                  <a:gd name="connsiteY159" fmla="*/ 920515 h 2249252"/>
                  <a:gd name="connsiteX160" fmla="*/ 1590675 w 1602771"/>
                  <a:gd name="connsiteY160" fmla="*/ 868127 h 2249252"/>
                  <a:gd name="connsiteX161" fmla="*/ 1590675 w 1602771"/>
                  <a:gd name="connsiteY161" fmla="*/ 596665 h 2249252"/>
                  <a:gd name="connsiteX162" fmla="*/ 1581150 w 1602771"/>
                  <a:gd name="connsiteY162" fmla="*/ 525227 h 2249252"/>
                  <a:gd name="connsiteX163" fmla="*/ 1576388 w 1602771"/>
                  <a:gd name="connsiteY163" fmla="*/ 510940 h 2249252"/>
                  <a:gd name="connsiteX164" fmla="*/ 1571625 w 1602771"/>
                  <a:gd name="connsiteY164" fmla="*/ 491890 h 2249252"/>
                  <a:gd name="connsiteX165" fmla="*/ 1557338 w 1602771"/>
                  <a:gd name="connsiteY165" fmla="*/ 458552 h 2249252"/>
                  <a:gd name="connsiteX166" fmla="*/ 1538288 w 1602771"/>
                  <a:gd name="connsiteY166" fmla="*/ 401402 h 2249252"/>
                  <a:gd name="connsiteX167" fmla="*/ 1533525 w 1602771"/>
                  <a:gd name="connsiteY167" fmla="*/ 377590 h 2249252"/>
                  <a:gd name="connsiteX168" fmla="*/ 1524000 w 1602771"/>
                  <a:gd name="connsiteY168" fmla="*/ 353777 h 2249252"/>
                  <a:gd name="connsiteX169" fmla="*/ 1514475 w 1602771"/>
                  <a:gd name="connsiteY169" fmla="*/ 325202 h 2249252"/>
                  <a:gd name="connsiteX170" fmla="*/ 1500188 w 1602771"/>
                  <a:gd name="connsiteY170" fmla="*/ 291865 h 2249252"/>
                  <a:gd name="connsiteX171" fmla="*/ 1481138 w 1602771"/>
                  <a:gd name="connsiteY171" fmla="*/ 244240 h 2249252"/>
                  <a:gd name="connsiteX172" fmla="*/ 1471613 w 1602771"/>
                  <a:gd name="connsiteY172" fmla="*/ 201377 h 2249252"/>
                  <a:gd name="connsiteX173" fmla="*/ 1462088 w 1602771"/>
                  <a:gd name="connsiteY173" fmla="*/ 177565 h 2249252"/>
                  <a:gd name="connsiteX174" fmla="*/ 1447800 w 1602771"/>
                  <a:gd name="connsiteY174" fmla="*/ 125177 h 2249252"/>
                  <a:gd name="connsiteX175" fmla="*/ 1443038 w 1602771"/>
                  <a:gd name="connsiteY175" fmla="*/ 110890 h 2249252"/>
                  <a:gd name="connsiteX176" fmla="*/ 1419225 w 1602771"/>
                  <a:gd name="connsiteY176" fmla="*/ 68027 h 2249252"/>
                  <a:gd name="connsiteX177" fmla="*/ 1395413 w 1602771"/>
                  <a:gd name="connsiteY177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62088 w 1602771"/>
                  <a:gd name="connsiteY144" fmla="*/ 1368190 h 2249252"/>
                  <a:gd name="connsiteX145" fmla="*/ 1471613 w 1602771"/>
                  <a:gd name="connsiteY145" fmla="*/ 1334852 h 2249252"/>
                  <a:gd name="connsiteX146" fmla="*/ 1481138 w 1602771"/>
                  <a:gd name="connsiteY146" fmla="*/ 1311040 h 2249252"/>
                  <a:gd name="connsiteX147" fmla="*/ 1490663 w 1602771"/>
                  <a:gd name="connsiteY147" fmla="*/ 1282465 h 2249252"/>
                  <a:gd name="connsiteX148" fmla="*/ 1504950 w 1602771"/>
                  <a:gd name="connsiteY148" fmla="*/ 1225315 h 2249252"/>
                  <a:gd name="connsiteX149" fmla="*/ 1514475 w 1602771"/>
                  <a:gd name="connsiteY149" fmla="*/ 1211027 h 2249252"/>
                  <a:gd name="connsiteX150" fmla="*/ 1528763 w 1602771"/>
                  <a:gd name="connsiteY150" fmla="*/ 1149115 h 2249252"/>
                  <a:gd name="connsiteX151" fmla="*/ 1533525 w 1602771"/>
                  <a:gd name="connsiteY151" fmla="*/ 1120540 h 2249252"/>
                  <a:gd name="connsiteX152" fmla="*/ 1538288 w 1602771"/>
                  <a:gd name="connsiteY152" fmla="*/ 1101490 h 2249252"/>
                  <a:gd name="connsiteX153" fmla="*/ 1543050 w 1602771"/>
                  <a:gd name="connsiteY153" fmla="*/ 1063390 h 2249252"/>
                  <a:gd name="connsiteX154" fmla="*/ 1552575 w 1602771"/>
                  <a:gd name="connsiteY154" fmla="*/ 1049102 h 2249252"/>
                  <a:gd name="connsiteX155" fmla="*/ 1557338 w 1602771"/>
                  <a:gd name="connsiteY155" fmla="*/ 1015765 h 2249252"/>
                  <a:gd name="connsiteX156" fmla="*/ 1566863 w 1602771"/>
                  <a:gd name="connsiteY156" fmla="*/ 987190 h 2249252"/>
                  <a:gd name="connsiteX157" fmla="*/ 1571625 w 1602771"/>
                  <a:gd name="connsiteY157" fmla="*/ 968140 h 2249252"/>
                  <a:gd name="connsiteX158" fmla="*/ 1581150 w 1602771"/>
                  <a:gd name="connsiteY158" fmla="*/ 920515 h 2249252"/>
                  <a:gd name="connsiteX159" fmla="*/ 1590675 w 1602771"/>
                  <a:gd name="connsiteY159" fmla="*/ 868127 h 2249252"/>
                  <a:gd name="connsiteX160" fmla="*/ 1590675 w 1602771"/>
                  <a:gd name="connsiteY160" fmla="*/ 596665 h 2249252"/>
                  <a:gd name="connsiteX161" fmla="*/ 1581150 w 1602771"/>
                  <a:gd name="connsiteY161" fmla="*/ 525227 h 2249252"/>
                  <a:gd name="connsiteX162" fmla="*/ 1576388 w 1602771"/>
                  <a:gd name="connsiteY162" fmla="*/ 510940 h 2249252"/>
                  <a:gd name="connsiteX163" fmla="*/ 1571625 w 1602771"/>
                  <a:gd name="connsiteY163" fmla="*/ 491890 h 2249252"/>
                  <a:gd name="connsiteX164" fmla="*/ 1557338 w 1602771"/>
                  <a:gd name="connsiteY164" fmla="*/ 458552 h 2249252"/>
                  <a:gd name="connsiteX165" fmla="*/ 1538288 w 1602771"/>
                  <a:gd name="connsiteY165" fmla="*/ 401402 h 2249252"/>
                  <a:gd name="connsiteX166" fmla="*/ 1533525 w 1602771"/>
                  <a:gd name="connsiteY166" fmla="*/ 377590 h 2249252"/>
                  <a:gd name="connsiteX167" fmla="*/ 1524000 w 1602771"/>
                  <a:gd name="connsiteY167" fmla="*/ 353777 h 2249252"/>
                  <a:gd name="connsiteX168" fmla="*/ 1514475 w 1602771"/>
                  <a:gd name="connsiteY168" fmla="*/ 325202 h 2249252"/>
                  <a:gd name="connsiteX169" fmla="*/ 1500188 w 1602771"/>
                  <a:gd name="connsiteY169" fmla="*/ 291865 h 2249252"/>
                  <a:gd name="connsiteX170" fmla="*/ 1481138 w 1602771"/>
                  <a:gd name="connsiteY170" fmla="*/ 244240 h 2249252"/>
                  <a:gd name="connsiteX171" fmla="*/ 1471613 w 1602771"/>
                  <a:gd name="connsiteY171" fmla="*/ 201377 h 2249252"/>
                  <a:gd name="connsiteX172" fmla="*/ 1462088 w 1602771"/>
                  <a:gd name="connsiteY172" fmla="*/ 177565 h 2249252"/>
                  <a:gd name="connsiteX173" fmla="*/ 1447800 w 1602771"/>
                  <a:gd name="connsiteY173" fmla="*/ 125177 h 2249252"/>
                  <a:gd name="connsiteX174" fmla="*/ 1443038 w 1602771"/>
                  <a:gd name="connsiteY174" fmla="*/ 110890 h 2249252"/>
                  <a:gd name="connsiteX175" fmla="*/ 1419225 w 1602771"/>
                  <a:gd name="connsiteY175" fmla="*/ 68027 h 2249252"/>
                  <a:gd name="connsiteX176" fmla="*/ 1395413 w 1602771"/>
                  <a:gd name="connsiteY176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81138 w 1602771"/>
                  <a:gd name="connsiteY145" fmla="*/ 1311040 h 2249252"/>
                  <a:gd name="connsiteX146" fmla="*/ 1490663 w 1602771"/>
                  <a:gd name="connsiteY146" fmla="*/ 1282465 h 2249252"/>
                  <a:gd name="connsiteX147" fmla="*/ 1504950 w 1602771"/>
                  <a:gd name="connsiteY147" fmla="*/ 1225315 h 2249252"/>
                  <a:gd name="connsiteX148" fmla="*/ 1514475 w 1602771"/>
                  <a:gd name="connsiteY148" fmla="*/ 1211027 h 2249252"/>
                  <a:gd name="connsiteX149" fmla="*/ 1528763 w 1602771"/>
                  <a:gd name="connsiteY149" fmla="*/ 1149115 h 2249252"/>
                  <a:gd name="connsiteX150" fmla="*/ 1533525 w 1602771"/>
                  <a:gd name="connsiteY150" fmla="*/ 1120540 h 2249252"/>
                  <a:gd name="connsiteX151" fmla="*/ 1538288 w 1602771"/>
                  <a:gd name="connsiteY151" fmla="*/ 1101490 h 2249252"/>
                  <a:gd name="connsiteX152" fmla="*/ 1543050 w 1602771"/>
                  <a:gd name="connsiteY152" fmla="*/ 1063390 h 2249252"/>
                  <a:gd name="connsiteX153" fmla="*/ 1552575 w 1602771"/>
                  <a:gd name="connsiteY153" fmla="*/ 1049102 h 2249252"/>
                  <a:gd name="connsiteX154" fmla="*/ 1557338 w 1602771"/>
                  <a:gd name="connsiteY154" fmla="*/ 1015765 h 2249252"/>
                  <a:gd name="connsiteX155" fmla="*/ 1566863 w 1602771"/>
                  <a:gd name="connsiteY155" fmla="*/ 987190 h 2249252"/>
                  <a:gd name="connsiteX156" fmla="*/ 1571625 w 1602771"/>
                  <a:gd name="connsiteY156" fmla="*/ 968140 h 2249252"/>
                  <a:gd name="connsiteX157" fmla="*/ 1581150 w 1602771"/>
                  <a:gd name="connsiteY157" fmla="*/ 920515 h 2249252"/>
                  <a:gd name="connsiteX158" fmla="*/ 1590675 w 1602771"/>
                  <a:gd name="connsiteY158" fmla="*/ 868127 h 2249252"/>
                  <a:gd name="connsiteX159" fmla="*/ 1590675 w 1602771"/>
                  <a:gd name="connsiteY159" fmla="*/ 596665 h 2249252"/>
                  <a:gd name="connsiteX160" fmla="*/ 1581150 w 1602771"/>
                  <a:gd name="connsiteY160" fmla="*/ 525227 h 2249252"/>
                  <a:gd name="connsiteX161" fmla="*/ 1576388 w 1602771"/>
                  <a:gd name="connsiteY161" fmla="*/ 510940 h 2249252"/>
                  <a:gd name="connsiteX162" fmla="*/ 1571625 w 1602771"/>
                  <a:gd name="connsiteY162" fmla="*/ 491890 h 2249252"/>
                  <a:gd name="connsiteX163" fmla="*/ 1557338 w 1602771"/>
                  <a:gd name="connsiteY163" fmla="*/ 458552 h 2249252"/>
                  <a:gd name="connsiteX164" fmla="*/ 1538288 w 1602771"/>
                  <a:gd name="connsiteY164" fmla="*/ 401402 h 2249252"/>
                  <a:gd name="connsiteX165" fmla="*/ 1533525 w 1602771"/>
                  <a:gd name="connsiteY165" fmla="*/ 377590 h 2249252"/>
                  <a:gd name="connsiteX166" fmla="*/ 1524000 w 1602771"/>
                  <a:gd name="connsiteY166" fmla="*/ 353777 h 2249252"/>
                  <a:gd name="connsiteX167" fmla="*/ 1514475 w 1602771"/>
                  <a:gd name="connsiteY167" fmla="*/ 325202 h 2249252"/>
                  <a:gd name="connsiteX168" fmla="*/ 1500188 w 1602771"/>
                  <a:gd name="connsiteY168" fmla="*/ 291865 h 2249252"/>
                  <a:gd name="connsiteX169" fmla="*/ 1481138 w 1602771"/>
                  <a:gd name="connsiteY169" fmla="*/ 244240 h 2249252"/>
                  <a:gd name="connsiteX170" fmla="*/ 1471613 w 1602771"/>
                  <a:gd name="connsiteY170" fmla="*/ 201377 h 2249252"/>
                  <a:gd name="connsiteX171" fmla="*/ 1462088 w 1602771"/>
                  <a:gd name="connsiteY171" fmla="*/ 177565 h 2249252"/>
                  <a:gd name="connsiteX172" fmla="*/ 1447800 w 1602771"/>
                  <a:gd name="connsiteY172" fmla="*/ 125177 h 2249252"/>
                  <a:gd name="connsiteX173" fmla="*/ 1443038 w 1602771"/>
                  <a:gd name="connsiteY173" fmla="*/ 110890 h 2249252"/>
                  <a:gd name="connsiteX174" fmla="*/ 1419225 w 1602771"/>
                  <a:gd name="connsiteY174" fmla="*/ 68027 h 2249252"/>
                  <a:gd name="connsiteX175" fmla="*/ 1395413 w 1602771"/>
                  <a:gd name="connsiteY17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04950 w 1602771"/>
                  <a:gd name="connsiteY146" fmla="*/ 1225315 h 2249252"/>
                  <a:gd name="connsiteX147" fmla="*/ 1514475 w 1602771"/>
                  <a:gd name="connsiteY147" fmla="*/ 1211027 h 2249252"/>
                  <a:gd name="connsiteX148" fmla="*/ 1528763 w 1602771"/>
                  <a:gd name="connsiteY148" fmla="*/ 1149115 h 2249252"/>
                  <a:gd name="connsiteX149" fmla="*/ 1533525 w 1602771"/>
                  <a:gd name="connsiteY149" fmla="*/ 1120540 h 2249252"/>
                  <a:gd name="connsiteX150" fmla="*/ 1538288 w 1602771"/>
                  <a:gd name="connsiteY150" fmla="*/ 1101490 h 2249252"/>
                  <a:gd name="connsiteX151" fmla="*/ 1543050 w 1602771"/>
                  <a:gd name="connsiteY151" fmla="*/ 1063390 h 2249252"/>
                  <a:gd name="connsiteX152" fmla="*/ 1552575 w 1602771"/>
                  <a:gd name="connsiteY152" fmla="*/ 1049102 h 2249252"/>
                  <a:gd name="connsiteX153" fmla="*/ 1557338 w 1602771"/>
                  <a:gd name="connsiteY153" fmla="*/ 1015765 h 2249252"/>
                  <a:gd name="connsiteX154" fmla="*/ 1566863 w 1602771"/>
                  <a:gd name="connsiteY154" fmla="*/ 987190 h 2249252"/>
                  <a:gd name="connsiteX155" fmla="*/ 1571625 w 1602771"/>
                  <a:gd name="connsiteY155" fmla="*/ 968140 h 2249252"/>
                  <a:gd name="connsiteX156" fmla="*/ 1581150 w 1602771"/>
                  <a:gd name="connsiteY156" fmla="*/ 920515 h 2249252"/>
                  <a:gd name="connsiteX157" fmla="*/ 1590675 w 1602771"/>
                  <a:gd name="connsiteY157" fmla="*/ 868127 h 2249252"/>
                  <a:gd name="connsiteX158" fmla="*/ 1590675 w 1602771"/>
                  <a:gd name="connsiteY158" fmla="*/ 596665 h 2249252"/>
                  <a:gd name="connsiteX159" fmla="*/ 1581150 w 1602771"/>
                  <a:gd name="connsiteY159" fmla="*/ 525227 h 2249252"/>
                  <a:gd name="connsiteX160" fmla="*/ 1576388 w 1602771"/>
                  <a:gd name="connsiteY160" fmla="*/ 510940 h 2249252"/>
                  <a:gd name="connsiteX161" fmla="*/ 1571625 w 1602771"/>
                  <a:gd name="connsiteY161" fmla="*/ 491890 h 2249252"/>
                  <a:gd name="connsiteX162" fmla="*/ 1557338 w 1602771"/>
                  <a:gd name="connsiteY162" fmla="*/ 458552 h 2249252"/>
                  <a:gd name="connsiteX163" fmla="*/ 1538288 w 1602771"/>
                  <a:gd name="connsiteY163" fmla="*/ 401402 h 2249252"/>
                  <a:gd name="connsiteX164" fmla="*/ 1533525 w 1602771"/>
                  <a:gd name="connsiteY164" fmla="*/ 377590 h 2249252"/>
                  <a:gd name="connsiteX165" fmla="*/ 1524000 w 1602771"/>
                  <a:gd name="connsiteY165" fmla="*/ 353777 h 2249252"/>
                  <a:gd name="connsiteX166" fmla="*/ 1514475 w 1602771"/>
                  <a:gd name="connsiteY166" fmla="*/ 325202 h 2249252"/>
                  <a:gd name="connsiteX167" fmla="*/ 1500188 w 1602771"/>
                  <a:gd name="connsiteY167" fmla="*/ 291865 h 2249252"/>
                  <a:gd name="connsiteX168" fmla="*/ 1481138 w 1602771"/>
                  <a:gd name="connsiteY168" fmla="*/ 244240 h 2249252"/>
                  <a:gd name="connsiteX169" fmla="*/ 1471613 w 1602771"/>
                  <a:gd name="connsiteY169" fmla="*/ 201377 h 2249252"/>
                  <a:gd name="connsiteX170" fmla="*/ 1462088 w 1602771"/>
                  <a:gd name="connsiteY170" fmla="*/ 177565 h 2249252"/>
                  <a:gd name="connsiteX171" fmla="*/ 1447800 w 1602771"/>
                  <a:gd name="connsiteY171" fmla="*/ 125177 h 2249252"/>
                  <a:gd name="connsiteX172" fmla="*/ 1443038 w 1602771"/>
                  <a:gd name="connsiteY172" fmla="*/ 110890 h 2249252"/>
                  <a:gd name="connsiteX173" fmla="*/ 1419225 w 1602771"/>
                  <a:gd name="connsiteY173" fmla="*/ 68027 h 2249252"/>
                  <a:gd name="connsiteX174" fmla="*/ 1395413 w 1602771"/>
                  <a:gd name="connsiteY17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33525 w 1602771"/>
                  <a:gd name="connsiteY148" fmla="*/ 1120540 h 2249252"/>
                  <a:gd name="connsiteX149" fmla="*/ 1538288 w 1602771"/>
                  <a:gd name="connsiteY149" fmla="*/ 1101490 h 2249252"/>
                  <a:gd name="connsiteX150" fmla="*/ 1543050 w 1602771"/>
                  <a:gd name="connsiteY150" fmla="*/ 1063390 h 2249252"/>
                  <a:gd name="connsiteX151" fmla="*/ 1552575 w 1602771"/>
                  <a:gd name="connsiteY151" fmla="*/ 1049102 h 2249252"/>
                  <a:gd name="connsiteX152" fmla="*/ 1557338 w 1602771"/>
                  <a:gd name="connsiteY152" fmla="*/ 1015765 h 2249252"/>
                  <a:gd name="connsiteX153" fmla="*/ 1566863 w 1602771"/>
                  <a:gd name="connsiteY153" fmla="*/ 987190 h 2249252"/>
                  <a:gd name="connsiteX154" fmla="*/ 1571625 w 1602771"/>
                  <a:gd name="connsiteY154" fmla="*/ 968140 h 2249252"/>
                  <a:gd name="connsiteX155" fmla="*/ 1581150 w 1602771"/>
                  <a:gd name="connsiteY155" fmla="*/ 920515 h 2249252"/>
                  <a:gd name="connsiteX156" fmla="*/ 1590675 w 1602771"/>
                  <a:gd name="connsiteY156" fmla="*/ 868127 h 2249252"/>
                  <a:gd name="connsiteX157" fmla="*/ 1590675 w 1602771"/>
                  <a:gd name="connsiteY157" fmla="*/ 596665 h 2249252"/>
                  <a:gd name="connsiteX158" fmla="*/ 1581150 w 1602771"/>
                  <a:gd name="connsiteY158" fmla="*/ 525227 h 2249252"/>
                  <a:gd name="connsiteX159" fmla="*/ 1576388 w 1602771"/>
                  <a:gd name="connsiteY159" fmla="*/ 510940 h 2249252"/>
                  <a:gd name="connsiteX160" fmla="*/ 1571625 w 1602771"/>
                  <a:gd name="connsiteY160" fmla="*/ 491890 h 2249252"/>
                  <a:gd name="connsiteX161" fmla="*/ 1557338 w 1602771"/>
                  <a:gd name="connsiteY161" fmla="*/ 458552 h 2249252"/>
                  <a:gd name="connsiteX162" fmla="*/ 1538288 w 1602771"/>
                  <a:gd name="connsiteY162" fmla="*/ 401402 h 2249252"/>
                  <a:gd name="connsiteX163" fmla="*/ 1533525 w 1602771"/>
                  <a:gd name="connsiteY163" fmla="*/ 377590 h 2249252"/>
                  <a:gd name="connsiteX164" fmla="*/ 1524000 w 1602771"/>
                  <a:gd name="connsiteY164" fmla="*/ 353777 h 2249252"/>
                  <a:gd name="connsiteX165" fmla="*/ 1514475 w 1602771"/>
                  <a:gd name="connsiteY165" fmla="*/ 325202 h 2249252"/>
                  <a:gd name="connsiteX166" fmla="*/ 1500188 w 1602771"/>
                  <a:gd name="connsiteY166" fmla="*/ 291865 h 2249252"/>
                  <a:gd name="connsiteX167" fmla="*/ 1481138 w 1602771"/>
                  <a:gd name="connsiteY167" fmla="*/ 244240 h 2249252"/>
                  <a:gd name="connsiteX168" fmla="*/ 1471613 w 1602771"/>
                  <a:gd name="connsiteY168" fmla="*/ 201377 h 2249252"/>
                  <a:gd name="connsiteX169" fmla="*/ 1462088 w 1602771"/>
                  <a:gd name="connsiteY169" fmla="*/ 177565 h 2249252"/>
                  <a:gd name="connsiteX170" fmla="*/ 1447800 w 1602771"/>
                  <a:gd name="connsiteY170" fmla="*/ 125177 h 2249252"/>
                  <a:gd name="connsiteX171" fmla="*/ 1443038 w 1602771"/>
                  <a:gd name="connsiteY171" fmla="*/ 110890 h 2249252"/>
                  <a:gd name="connsiteX172" fmla="*/ 1419225 w 1602771"/>
                  <a:gd name="connsiteY172" fmla="*/ 68027 h 2249252"/>
                  <a:gd name="connsiteX173" fmla="*/ 1395413 w 1602771"/>
                  <a:gd name="connsiteY17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33525 w 1602771"/>
                  <a:gd name="connsiteY148" fmla="*/ 1120540 h 2249252"/>
                  <a:gd name="connsiteX149" fmla="*/ 1543050 w 1602771"/>
                  <a:gd name="connsiteY149" fmla="*/ 1063390 h 2249252"/>
                  <a:gd name="connsiteX150" fmla="*/ 1552575 w 1602771"/>
                  <a:gd name="connsiteY150" fmla="*/ 1049102 h 2249252"/>
                  <a:gd name="connsiteX151" fmla="*/ 1557338 w 1602771"/>
                  <a:gd name="connsiteY151" fmla="*/ 1015765 h 2249252"/>
                  <a:gd name="connsiteX152" fmla="*/ 1566863 w 1602771"/>
                  <a:gd name="connsiteY152" fmla="*/ 987190 h 2249252"/>
                  <a:gd name="connsiteX153" fmla="*/ 1571625 w 1602771"/>
                  <a:gd name="connsiteY153" fmla="*/ 968140 h 2249252"/>
                  <a:gd name="connsiteX154" fmla="*/ 1581150 w 1602771"/>
                  <a:gd name="connsiteY154" fmla="*/ 920515 h 2249252"/>
                  <a:gd name="connsiteX155" fmla="*/ 1590675 w 1602771"/>
                  <a:gd name="connsiteY155" fmla="*/ 868127 h 2249252"/>
                  <a:gd name="connsiteX156" fmla="*/ 1590675 w 1602771"/>
                  <a:gd name="connsiteY156" fmla="*/ 596665 h 2249252"/>
                  <a:gd name="connsiteX157" fmla="*/ 1581150 w 1602771"/>
                  <a:gd name="connsiteY157" fmla="*/ 525227 h 2249252"/>
                  <a:gd name="connsiteX158" fmla="*/ 1576388 w 1602771"/>
                  <a:gd name="connsiteY158" fmla="*/ 510940 h 2249252"/>
                  <a:gd name="connsiteX159" fmla="*/ 1571625 w 1602771"/>
                  <a:gd name="connsiteY159" fmla="*/ 491890 h 2249252"/>
                  <a:gd name="connsiteX160" fmla="*/ 1557338 w 1602771"/>
                  <a:gd name="connsiteY160" fmla="*/ 458552 h 2249252"/>
                  <a:gd name="connsiteX161" fmla="*/ 1538288 w 1602771"/>
                  <a:gd name="connsiteY161" fmla="*/ 401402 h 2249252"/>
                  <a:gd name="connsiteX162" fmla="*/ 1533525 w 1602771"/>
                  <a:gd name="connsiteY162" fmla="*/ 377590 h 2249252"/>
                  <a:gd name="connsiteX163" fmla="*/ 1524000 w 1602771"/>
                  <a:gd name="connsiteY163" fmla="*/ 353777 h 2249252"/>
                  <a:gd name="connsiteX164" fmla="*/ 1514475 w 1602771"/>
                  <a:gd name="connsiteY164" fmla="*/ 325202 h 2249252"/>
                  <a:gd name="connsiteX165" fmla="*/ 1500188 w 1602771"/>
                  <a:gd name="connsiteY165" fmla="*/ 291865 h 2249252"/>
                  <a:gd name="connsiteX166" fmla="*/ 1481138 w 1602771"/>
                  <a:gd name="connsiteY166" fmla="*/ 244240 h 2249252"/>
                  <a:gd name="connsiteX167" fmla="*/ 1471613 w 1602771"/>
                  <a:gd name="connsiteY167" fmla="*/ 201377 h 2249252"/>
                  <a:gd name="connsiteX168" fmla="*/ 1462088 w 1602771"/>
                  <a:gd name="connsiteY168" fmla="*/ 177565 h 2249252"/>
                  <a:gd name="connsiteX169" fmla="*/ 1447800 w 1602771"/>
                  <a:gd name="connsiteY169" fmla="*/ 125177 h 2249252"/>
                  <a:gd name="connsiteX170" fmla="*/ 1443038 w 1602771"/>
                  <a:gd name="connsiteY170" fmla="*/ 110890 h 2249252"/>
                  <a:gd name="connsiteX171" fmla="*/ 1419225 w 1602771"/>
                  <a:gd name="connsiteY171" fmla="*/ 68027 h 2249252"/>
                  <a:gd name="connsiteX172" fmla="*/ 1395413 w 1602771"/>
                  <a:gd name="connsiteY172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43050 w 1602771"/>
                  <a:gd name="connsiteY148" fmla="*/ 1063390 h 2249252"/>
                  <a:gd name="connsiteX149" fmla="*/ 1552575 w 1602771"/>
                  <a:gd name="connsiteY149" fmla="*/ 1049102 h 2249252"/>
                  <a:gd name="connsiteX150" fmla="*/ 1557338 w 1602771"/>
                  <a:gd name="connsiteY150" fmla="*/ 1015765 h 2249252"/>
                  <a:gd name="connsiteX151" fmla="*/ 1566863 w 1602771"/>
                  <a:gd name="connsiteY151" fmla="*/ 987190 h 2249252"/>
                  <a:gd name="connsiteX152" fmla="*/ 1571625 w 1602771"/>
                  <a:gd name="connsiteY152" fmla="*/ 968140 h 2249252"/>
                  <a:gd name="connsiteX153" fmla="*/ 1581150 w 1602771"/>
                  <a:gd name="connsiteY153" fmla="*/ 920515 h 2249252"/>
                  <a:gd name="connsiteX154" fmla="*/ 1590675 w 1602771"/>
                  <a:gd name="connsiteY154" fmla="*/ 868127 h 2249252"/>
                  <a:gd name="connsiteX155" fmla="*/ 1590675 w 1602771"/>
                  <a:gd name="connsiteY155" fmla="*/ 596665 h 2249252"/>
                  <a:gd name="connsiteX156" fmla="*/ 1581150 w 1602771"/>
                  <a:gd name="connsiteY156" fmla="*/ 525227 h 2249252"/>
                  <a:gd name="connsiteX157" fmla="*/ 1576388 w 1602771"/>
                  <a:gd name="connsiteY157" fmla="*/ 510940 h 2249252"/>
                  <a:gd name="connsiteX158" fmla="*/ 1571625 w 1602771"/>
                  <a:gd name="connsiteY158" fmla="*/ 491890 h 2249252"/>
                  <a:gd name="connsiteX159" fmla="*/ 1557338 w 1602771"/>
                  <a:gd name="connsiteY159" fmla="*/ 458552 h 2249252"/>
                  <a:gd name="connsiteX160" fmla="*/ 1538288 w 1602771"/>
                  <a:gd name="connsiteY160" fmla="*/ 401402 h 2249252"/>
                  <a:gd name="connsiteX161" fmla="*/ 1533525 w 1602771"/>
                  <a:gd name="connsiteY161" fmla="*/ 377590 h 2249252"/>
                  <a:gd name="connsiteX162" fmla="*/ 1524000 w 1602771"/>
                  <a:gd name="connsiteY162" fmla="*/ 353777 h 2249252"/>
                  <a:gd name="connsiteX163" fmla="*/ 1514475 w 1602771"/>
                  <a:gd name="connsiteY163" fmla="*/ 325202 h 2249252"/>
                  <a:gd name="connsiteX164" fmla="*/ 1500188 w 1602771"/>
                  <a:gd name="connsiteY164" fmla="*/ 291865 h 2249252"/>
                  <a:gd name="connsiteX165" fmla="*/ 1481138 w 1602771"/>
                  <a:gd name="connsiteY165" fmla="*/ 244240 h 2249252"/>
                  <a:gd name="connsiteX166" fmla="*/ 1471613 w 1602771"/>
                  <a:gd name="connsiteY166" fmla="*/ 201377 h 2249252"/>
                  <a:gd name="connsiteX167" fmla="*/ 1462088 w 1602771"/>
                  <a:gd name="connsiteY167" fmla="*/ 177565 h 2249252"/>
                  <a:gd name="connsiteX168" fmla="*/ 1447800 w 1602771"/>
                  <a:gd name="connsiteY168" fmla="*/ 125177 h 2249252"/>
                  <a:gd name="connsiteX169" fmla="*/ 1443038 w 1602771"/>
                  <a:gd name="connsiteY169" fmla="*/ 110890 h 2249252"/>
                  <a:gd name="connsiteX170" fmla="*/ 1419225 w 1602771"/>
                  <a:gd name="connsiteY170" fmla="*/ 68027 h 2249252"/>
                  <a:gd name="connsiteX171" fmla="*/ 1395413 w 1602771"/>
                  <a:gd name="connsiteY17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52575 w 1602771"/>
                  <a:gd name="connsiteY148" fmla="*/ 1049102 h 2249252"/>
                  <a:gd name="connsiteX149" fmla="*/ 1557338 w 1602771"/>
                  <a:gd name="connsiteY149" fmla="*/ 1015765 h 2249252"/>
                  <a:gd name="connsiteX150" fmla="*/ 1566863 w 1602771"/>
                  <a:gd name="connsiteY150" fmla="*/ 987190 h 2249252"/>
                  <a:gd name="connsiteX151" fmla="*/ 1571625 w 1602771"/>
                  <a:gd name="connsiteY151" fmla="*/ 968140 h 2249252"/>
                  <a:gd name="connsiteX152" fmla="*/ 1581150 w 1602771"/>
                  <a:gd name="connsiteY152" fmla="*/ 920515 h 2249252"/>
                  <a:gd name="connsiteX153" fmla="*/ 1590675 w 1602771"/>
                  <a:gd name="connsiteY153" fmla="*/ 868127 h 2249252"/>
                  <a:gd name="connsiteX154" fmla="*/ 1590675 w 1602771"/>
                  <a:gd name="connsiteY154" fmla="*/ 596665 h 2249252"/>
                  <a:gd name="connsiteX155" fmla="*/ 1581150 w 1602771"/>
                  <a:gd name="connsiteY155" fmla="*/ 525227 h 2249252"/>
                  <a:gd name="connsiteX156" fmla="*/ 1576388 w 1602771"/>
                  <a:gd name="connsiteY156" fmla="*/ 510940 h 2249252"/>
                  <a:gd name="connsiteX157" fmla="*/ 1571625 w 1602771"/>
                  <a:gd name="connsiteY157" fmla="*/ 491890 h 2249252"/>
                  <a:gd name="connsiteX158" fmla="*/ 1557338 w 1602771"/>
                  <a:gd name="connsiteY158" fmla="*/ 458552 h 2249252"/>
                  <a:gd name="connsiteX159" fmla="*/ 1538288 w 1602771"/>
                  <a:gd name="connsiteY159" fmla="*/ 401402 h 2249252"/>
                  <a:gd name="connsiteX160" fmla="*/ 1533525 w 1602771"/>
                  <a:gd name="connsiteY160" fmla="*/ 377590 h 2249252"/>
                  <a:gd name="connsiteX161" fmla="*/ 1524000 w 1602771"/>
                  <a:gd name="connsiteY161" fmla="*/ 353777 h 2249252"/>
                  <a:gd name="connsiteX162" fmla="*/ 1514475 w 1602771"/>
                  <a:gd name="connsiteY162" fmla="*/ 325202 h 2249252"/>
                  <a:gd name="connsiteX163" fmla="*/ 1500188 w 1602771"/>
                  <a:gd name="connsiteY163" fmla="*/ 291865 h 2249252"/>
                  <a:gd name="connsiteX164" fmla="*/ 1481138 w 1602771"/>
                  <a:gd name="connsiteY164" fmla="*/ 244240 h 2249252"/>
                  <a:gd name="connsiteX165" fmla="*/ 1471613 w 1602771"/>
                  <a:gd name="connsiteY165" fmla="*/ 201377 h 2249252"/>
                  <a:gd name="connsiteX166" fmla="*/ 1462088 w 1602771"/>
                  <a:gd name="connsiteY166" fmla="*/ 177565 h 2249252"/>
                  <a:gd name="connsiteX167" fmla="*/ 1447800 w 1602771"/>
                  <a:gd name="connsiteY167" fmla="*/ 125177 h 2249252"/>
                  <a:gd name="connsiteX168" fmla="*/ 1443038 w 1602771"/>
                  <a:gd name="connsiteY168" fmla="*/ 110890 h 2249252"/>
                  <a:gd name="connsiteX169" fmla="*/ 1419225 w 1602771"/>
                  <a:gd name="connsiteY169" fmla="*/ 68027 h 2249252"/>
                  <a:gd name="connsiteX170" fmla="*/ 1395413 w 1602771"/>
                  <a:gd name="connsiteY170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57338 w 1602771"/>
                  <a:gd name="connsiteY148" fmla="*/ 1015765 h 2249252"/>
                  <a:gd name="connsiteX149" fmla="*/ 1566863 w 1602771"/>
                  <a:gd name="connsiteY149" fmla="*/ 987190 h 2249252"/>
                  <a:gd name="connsiteX150" fmla="*/ 1571625 w 1602771"/>
                  <a:gd name="connsiteY150" fmla="*/ 968140 h 2249252"/>
                  <a:gd name="connsiteX151" fmla="*/ 1581150 w 1602771"/>
                  <a:gd name="connsiteY151" fmla="*/ 920515 h 2249252"/>
                  <a:gd name="connsiteX152" fmla="*/ 1590675 w 1602771"/>
                  <a:gd name="connsiteY152" fmla="*/ 868127 h 2249252"/>
                  <a:gd name="connsiteX153" fmla="*/ 1590675 w 1602771"/>
                  <a:gd name="connsiteY153" fmla="*/ 596665 h 2249252"/>
                  <a:gd name="connsiteX154" fmla="*/ 1581150 w 1602771"/>
                  <a:gd name="connsiteY154" fmla="*/ 525227 h 2249252"/>
                  <a:gd name="connsiteX155" fmla="*/ 1576388 w 1602771"/>
                  <a:gd name="connsiteY155" fmla="*/ 510940 h 2249252"/>
                  <a:gd name="connsiteX156" fmla="*/ 1571625 w 1602771"/>
                  <a:gd name="connsiteY156" fmla="*/ 491890 h 2249252"/>
                  <a:gd name="connsiteX157" fmla="*/ 1557338 w 1602771"/>
                  <a:gd name="connsiteY157" fmla="*/ 458552 h 2249252"/>
                  <a:gd name="connsiteX158" fmla="*/ 1538288 w 1602771"/>
                  <a:gd name="connsiteY158" fmla="*/ 401402 h 2249252"/>
                  <a:gd name="connsiteX159" fmla="*/ 1533525 w 1602771"/>
                  <a:gd name="connsiteY159" fmla="*/ 377590 h 2249252"/>
                  <a:gd name="connsiteX160" fmla="*/ 1524000 w 1602771"/>
                  <a:gd name="connsiteY160" fmla="*/ 353777 h 2249252"/>
                  <a:gd name="connsiteX161" fmla="*/ 1514475 w 1602771"/>
                  <a:gd name="connsiteY161" fmla="*/ 325202 h 2249252"/>
                  <a:gd name="connsiteX162" fmla="*/ 1500188 w 1602771"/>
                  <a:gd name="connsiteY162" fmla="*/ 291865 h 2249252"/>
                  <a:gd name="connsiteX163" fmla="*/ 1481138 w 1602771"/>
                  <a:gd name="connsiteY163" fmla="*/ 244240 h 2249252"/>
                  <a:gd name="connsiteX164" fmla="*/ 1471613 w 1602771"/>
                  <a:gd name="connsiteY164" fmla="*/ 201377 h 2249252"/>
                  <a:gd name="connsiteX165" fmla="*/ 1462088 w 1602771"/>
                  <a:gd name="connsiteY165" fmla="*/ 177565 h 2249252"/>
                  <a:gd name="connsiteX166" fmla="*/ 1447800 w 1602771"/>
                  <a:gd name="connsiteY166" fmla="*/ 125177 h 2249252"/>
                  <a:gd name="connsiteX167" fmla="*/ 1443038 w 1602771"/>
                  <a:gd name="connsiteY167" fmla="*/ 110890 h 2249252"/>
                  <a:gd name="connsiteX168" fmla="*/ 1419225 w 1602771"/>
                  <a:gd name="connsiteY168" fmla="*/ 68027 h 2249252"/>
                  <a:gd name="connsiteX169" fmla="*/ 1395413 w 1602771"/>
                  <a:gd name="connsiteY169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71625 w 1602771"/>
                  <a:gd name="connsiteY149" fmla="*/ 968140 h 2249252"/>
                  <a:gd name="connsiteX150" fmla="*/ 1581150 w 1602771"/>
                  <a:gd name="connsiteY150" fmla="*/ 920515 h 2249252"/>
                  <a:gd name="connsiteX151" fmla="*/ 1590675 w 1602771"/>
                  <a:gd name="connsiteY151" fmla="*/ 868127 h 2249252"/>
                  <a:gd name="connsiteX152" fmla="*/ 1590675 w 1602771"/>
                  <a:gd name="connsiteY152" fmla="*/ 596665 h 2249252"/>
                  <a:gd name="connsiteX153" fmla="*/ 1581150 w 1602771"/>
                  <a:gd name="connsiteY153" fmla="*/ 525227 h 2249252"/>
                  <a:gd name="connsiteX154" fmla="*/ 1576388 w 1602771"/>
                  <a:gd name="connsiteY154" fmla="*/ 510940 h 2249252"/>
                  <a:gd name="connsiteX155" fmla="*/ 1571625 w 1602771"/>
                  <a:gd name="connsiteY155" fmla="*/ 491890 h 2249252"/>
                  <a:gd name="connsiteX156" fmla="*/ 1557338 w 1602771"/>
                  <a:gd name="connsiteY156" fmla="*/ 458552 h 2249252"/>
                  <a:gd name="connsiteX157" fmla="*/ 1538288 w 1602771"/>
                  <a:gd name="connsiteY157" fmla="*/ 401402 h 2249252"/>
                  <a:gd name="connsiteX158" fmla="*/ 1533525 w 1602771"/>
                  <a:gd name="connsiteY158" fmla="*/ 377590 h 2249252"/>
                  <a:gd name="connsiteX159" fmla="*/ 1524000 w 1602771"/>
                  <a:gd name="connsiteY159" fmla="*/ 353777 h 2249252"/>
                  <a:gd name="connsiteX160" fmla="*/ 1514475 w 1602771"/>
                  <a:gd name="connsiteY160" fmla="*/ 325202 h 2249252"/>
                  <a:gd name="connsiteX161" fmla="*/ 1500188 w 1602771"/>
                  <a:gd name="connsiteY161" fmla="*/ 291865 h 2249252"/>
                  <a:gd name="connsiteX162" fmla="*/ 1481138 w 1602771"/>
                  <a:gd name="connsiteY162" fmla="*/ 244240 h 2249252"/>
                  <a:gd name="connsiteX163" fmla="*/ 1471613 w 1602771"/>
                  <a:gd name="connsiteY163" fmla="*/ 201377 h 2249252"/>
                  <a:gd name="connsiteX164" fmla="*/ 1462088 w 1602771"/>
                  <a:gd name="connsiteY164" fmla="*/ 177565 h 2249252"/>
                  <a:gd name="connsiteX165" fmla="*/ 1447800 w 1602771"/>
                  <a:gd name="connsiteY165" fmla="*/ 125177 h 2249252"/>
                  <a:gd name="connsiteX166" fmla="*/ 1443038 w 1602771"/>
                  <a:gd name="connsiteY166" fmla="*/ 110890 h 2249252"/>
                  <a:gd name="connsiteX167" fmla="*/ 1419225 w 1602771"/>
                  <a:gd name="connsiteY167" fmla="*/ 68027 h 2249252"/>
                  <a:gd name="connsiteX168" fmla="*/ 1395413 w 1602771"/>
                  <a:gd name="connsiteY168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81150 w 1602771"/>
                  <a:gd name="connsiteY149" fmla="*/ 920515 h 2249252"/>
                  <a:gd name="connsiteX150" fmla="*/ 1590675 w 1602771"/>
                  <a:gd name="connsiteY150" fmla="*/ 868127 h 2249252"/>
                  <a:gd name="connsiteX151" fmla="*/ 1590675 w 1602771"/>
                  <a:gd name="connsiteY151" fmla="*/ 596665 h 2249252"/>
                  <a:gd name="connsiteX152" fmla="*/ 1581150 w 1602771"/>
                  <a:gd name="connsiteY152" fmla="*/ 525227 h 2249252"/>
                  <a:gd name="connsiteX153" fmla="*/ 1576388 w 1602771"/>
                  <a:gd name="connsiteY153" fmla="*/ 510940 h 2249252"/>
                  <a:gd name="connsiteX154" fmla="*/ 1571625 w 1602771"/>
                  <a:gd name="connsiteY154" fmla="*/ 491890 h 2249252"/>
                  <a:gd name="connsiteX155" fmla="*/ 1557338 w 1602771"/>
                  <a:gd name="connsiteY155" fmla="*/ 458552 h 2249252"/>
                  <a:gd name="connsiteX156" fmla="*/ 1538288 w 1602771"/>
                  <a:gd name="connsiteY156" fmla="*/ 401402 h 2249252"/>
                  <a:gd name="connsiteX157" fmla="*/ 1533525 w 1602771"/>
                  <a:gd name="connsiteY157" fmla="*/ 377590 h 2249252"/>
                  <a:gd name="connsiteX158" fmla="*/ 1524000 w 1602771"/>
                  <a:gd name="connsiteY158" fmla="*/ 353777 h 2249252"/>
                  <a:gd name="connsiteX159" fmla="*/ 1514475 w 1602771"/>
                  <a:gd name="connsiteY159" fmla="*/ 325202 h 2249252"/>
                  <a:gd name="connsiteX160" fmla="*/ 1500188 w 1602771"/>
                  <a:gd name="connsiteY160" fmla="*/ 291865 h 2249252"/>
                  <a:gd name="connsiteX161" fmla="*/ 1481138 w 1602771"/>
                  <a:gd name="connsiteY161" fmla="*/ 244240 h 2249252"/>
                  <a:gd name="connsiteX162" fmla="*/ 1471613 w 1602771"/>
                  <a:gd name="connsiteY162" fmla="*/ 201377 h 2249252"/>
                  <a:gd name="connsiteX163" fmla="*/ 1462088 w 1602771"/>
                  <a:gd name="connsiteY163" fmla="*/ 177565 h 2249252"/>
                  <a:gd name="connsiteX164" fmla="*/ 1447800 w 1602771"/>
                  <a:gd name="connsiteY164" fmla="*/ 125177 h 2249252"/>
                  <a:gd name="connsiteX165" fmla="*/ 1443038 w 1602771"/>
                  <a:gd name="connsiteY165" fmla="*/ 110890 h 2249252"/>
                  <a:gd name="connsiteX166" fmla="*/ 1419225 w 1602771"/>
                  <a:gd name="connsiteY166" fmla="*/ 68027 h 2249252"/>
                  <a:gd name="connsiteX167" fmla="*/ 1395413 w 1602771"/>
                  <a:gd name="connsiteY167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71625 w 1602771"/>
                  <a:gd name="connsiteY153" fmla="*/ 491890 h 2249252"/>
                  <a:gd name="connsiteX154" fmla="*/ 1557338 w 1602771"/>
                  <a:gd name="connsiteY154" fmla="*/ 458552 h 2249252"/>
                  <a:gd name="connsiteX155" fmla="*/ 1538288 w 1602771"/>
                  <a:gd name="connsiteY155" fmla="*/ 401402 h 2249252"/>
                  <a:gd name="connsiteX156" fmla="*/ 1533525 w 1602771"/>
                  <a:gd name="connsiteY156" fmla="*/ 377590 h 2249252"/>
                  <a:gd name="connsiteX157" fmla="*/ 1524000 w 1602771"/>
                  <a:gd name="connsiteY157" fmla="*/ 353777 h 2249252"/>
                  <a:gd name="connsiteX158" fmla="*/ 1514475 w 1602771"/>
                  <a:gd name="connsiteY158" fmla="*/ 325202 h 2249252"/>
                  <a:gd name="connsiteX159" fmla="*/ 1500188 w 1602771"/>
                  <a:gd name="connsiteY159" fmla="*/ 291865 h 2249252"/>
                  <a:gd name="connsiteX160" fmla="*/ 1481138 w 1602771"/>
                  <a:gd name="connsiteY160" fmla="*/ 244240 h 2249252"/>
                  <a:gd name="connsiteX161" fmla="*/ 1471613 w 1602771"/>
                  <a:gd name="connsiteY161" fmla="*/ 201377 h 2249252"/>
                  <a:gd name="connsiteX162" fmla="*/ 1462088 w 1602771"/>
                  <a:gd name="connsiteY162" fmla="*/ 177565 h 2249252"/>
                  <a:gd name="connsiteX163" fmla="*/ 1447800 w 1602771"/>
                  <a:gd name="connsiteY163" fmla="*/ 125177 h 2249252"/>
                  <a:gd name="connsiteX164" fmla="*/ 1443038 w 1602771"/>
                  <a:gd name="connsiteY164" fmla="*/ 110890 h 2249252"/>
                  <a:gd name="connsiteX165" fmla="*/ 1419225 w 1602771"/>
                  <a:gd name="connsiteY165" fmla="*/ 68027 h 2249252"/>
                  <a:gd name="connsiteX166" fmla="*/ 1395413 w 1602771"/>
                  <a:gd name="connsiteY166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57338 w 1602771"/>
                  <a:gd name="connsiteY153" fmla="*/ 458552 h 2249252"/>
                  <a:gd name="connsiteX154" fmla="*/ 1538288 w 1602771"/>
                  <a:gd name="connsiteY154" fmla="*/ 401402 h 2249252"/>
                  <a:gd name="connsiteX155" fmla="*/ 1533525 w 1602771"/>
                  <a:gd name="connsiteY155" fmla="*/ 377590 h 2249252"/>
                  <a:gd name="connsiteX156" fmla="*/ 1524000 w 1602771"/>
                  <a:gd name="connsiteY156" fmla="*/ 353777 h 2249252"/>
                  <a:gd name="connsiteX157" fmla="*/ 1514475 w 1602771"/>
                  <a:gd name="connsiteY157" fmla="*/ 325202 h 2249252"/>
                  <a:gd name="connsiteX158" fmla="*/ 1500188 w 1602771"/>
                  <a:gd name="connsiteY158" fmla="*/ 291865 h 2249252"/>
                  <a:gd name="connsiteX159" fmla="*/ 1481138 w 1602771"/>
                  <a:gd name="connsiteY159" fmla="*/ 244240 h 2249252"/>
                  <a:gd name="connsiteX160" fmla="*/ 1471613 w 1602771"/>
                  <a:gd name="connsiteY160" fmla="*/ 201377 h 2249252"/>
                  <a:gd name="connsiteX161" fmla="*/ 1462088 w 1602771"/>
                  <a:gd name="connsiteY161" fmla="*/ 177565 h 2249252"/>
                  <a:gd name="connsiteX162" fmla="*/ 1447800 w 1602771"/>
                  <a:gd name="connsiteY162" fmla="*/ 125177 h 2249252"/>
                  <a:gd name="connsiteX163" fmla="*/ 1443038 w 1602771"/>
                  <a:gd name="connsiteY163" fmla="*/ 110890 h 2249252"/>
                  <a:gd name="connsiteX164" fmla="*/ 1419225 w 1602771"/>
                  <a:gd name="connsiteY164" fmla="*/ 68027 h 2249252"/>
                  <a:gd name="connsiteX165" fmla="*/ 1395413 w 1602771"/>
                  <a:gd name="connsiteY16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38288 w 1602771"/>
                  <a:gd name="connsiteY153" fmla="*/ 401402 h 2249252"/>
                  <a:gd name="connsiteX154" fmla="*/ 1533525 w 1602771"/>
                  <a:gd name="connsiteY154" fmla="*/ 377590 h 2249252"/>
                  <a:gd name="connsiteX155" fmla="*/ 1524000 w 1602771"/>
                  <a:gd name="connsiteY155" fmla="*/ 353777 h 2249252"/>
                  <a:gd name="connsiteX156" fmla="*/ 1514475 w 1602771"/>
                  <a:gd name="connsiteY156" fmla="*/ 325202 h 2249252"/>
                  <a:gd name="connsiteX157" fmla="*/ 1500188 w 1602771"/>
                  <a:gd name="connsiteY157" fmla="*/ 291865 h 2249252"/>
                  <a:gd name="connsiteX158" fmla="*/ 1481138 w 1602771"/>
                  <a:gd name="connsiteY158" fmla="*/ 244240 h 2249252"/>
                  <a:gd name="connsiteX159" fmla="*/ 1471613 w 1602771"/>
                  <a:gd name="connsiteY159" fmla="*/ 201377 h 2249252"/>
                  <a:gd name="connsiteX160" fmla="*/ 1462088 w 1602771"/>
                  <a:gd name="connsiteY160" fmla="*/ 177565 h 2249252"/>
                  <a:gd name="connsiteX161" fmla="*/ 1447800 w 1602771"/>
                  <a:gd name="connsiteY161" fmla="*/ 125177 h 2249252"/>
                  <a:gd name="connsiteX162" fmla="*/ 1443038 w 1602771"/>
                  <a:gd name="connsiteY162" fmla="*/ 110890 h 2249252"/>
                  <a:gd name="connsiteX163" fmla="*/ 1419225 w 1602771"/>
                  <a:gd name="connsiteY163" fmla="*/ 68027 h 2249252"/>
                  <a:gd name="connsiteX164" fmla="*/ 1395413 w 1602771"/>
                  <a:gd name="connsiteY16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33525 w 1602771"/>
                  <a:gd name="connsiteY153" fmla="*/ 377590 h 2249252"/>
                  <a:gd name="connsiteX154" fmla="*/ 1524000 w 1602771"/>
                  <a:gd name="connsiteY154" fmla="*/ 353777 h 2249252"/>
                  <a:gd name="connsiteX155" fmla="*/ 1514475 w 1602771"/>
                  <a:gd name="connsiteY155" fmla="*/ 325202 h 2249252"/>
                  <a:gd name="connsiteX156" fmla="*/ 1500188 w 1602771"/>
                  <a:gd name="connsiteY156" fmla="*/ 291865 h 2249252"/>
                  <a:gd name="connsiteX157" fmla="*/ 1481138 w 1602771"/>
                  <a:gd name="connsiteY157" fmla="*/ 244240 h 2249252"/>
                  <a:gd name="connsiteX158" fmla="*/ 1471613 w 1602771"/>
                  <a:gd name="connsiteY158" fmla="*/ 201377 h 2249252"/>
                  <a:gd name="connsiteX159" fmla="*/ 1462088 w 1602771"/>
                  <a:gd name="connsiteY159" fmla="*/ 177565 h 2249252"/>
                  <a:gd name="connsiteX160" fmla="*/ 1447800 w 1602771"/>
                  <a:gd name="connsiteY160" fmla="*/ 125177 h 2249252"/>
                  <a:gd name="connsiteX161" fmla="*/ 1443038 w 1602771"/>
                  <a:gd name="connsiteY161" fmla="*/ 110890 h 2249252"/>
                  <a:gd name="connsiteX162" fmla="*/ 1419225 w 1602771"/>
                  <a:gd name="connsiteY162" fmla="*/ 68027 h 2249252"/>
                  <a:gd name="connsiteX163" fmla="*/ 1395413 w 1602771"/>
                  <a:gd name="connsiteY16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24000 w 1602771"/>
                  <a:gd name="connsiteY153" fmla="*/ 353777 h 2249252"/>
                  <a:gd name="connsiteX154" fmla="*/ 1514475 w 1602771"/>
                  <a:gd name="connsiteY154" fmla="*/ 325202 h 2249252"/>
                  <a:gd name="connsiteX155" fmla="*/ 1500188 w 1602771"/>
                  <a:gd name="connsiteY155" fmla="*/ 291865 h 2249252"/>
                  <a:gd name="connsiteX156" fmla="*/ 1481138 w 1602771"/>
                  <a:gd name="connsiteY156" fmla="*/ 244240 h 2249252"/>
                  <a:gd name="connsiteX157" fmla="*/ 1471613 w 1602771"/>
                  <a:gd name="connsiteY157" fmla="*/ 201377 h 2249252"/>
                  <a:gd name="connsiteX158" fmla="*/ 1462088 w 1602771"/>
                  <a:gd name="connsiteY158" fmla="*/ 177565 h 2249252"/>
                  <a:gd name="connsiteX159" fmla="*/ 1447800 w 1602771"/>
                  <a:gd name="connsiteY159" fmla="*/ 125177 h 2249252"/>
                  <a:gd name="connsiteX160" fmla="*/ 1443038 w 1602771"/>
                  <a:gd name="connsiteY160" fmla="*/ 110890 h 2249252"/>
                  <a:gd name="connsiteX161" fmla="*/ 1419225 w 1602771"/>
                  <a:gd name="connsiteY161" fmla="*/ 68027 h 2249252"/>
                  <a:gd name="connsiteX162" fmla="*/ 1395413 w 1602771"/>
                  <a:gd name="connsiteY162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14475 w 1602771"/>
                  <a:gd name="connsiteY153" fmla="*/ 325202 h 2249252"/>
                  <a:gd name="connsiteX154" fmla="*/ 1500188 w 1602771"/>
                  <a:gd name="connsiteY154" fmla="*/ 291865 h 2249252"/>
                  <a:gd name="connsiteX155" fmla="*/ 1481138 w 1602771"/>
                  <a:gd name="connsiteY155" fmla="*/ 244240 h 2249252"/>
                  <a:gd name="connsiteX156" fmla="*/ 1471613 w 1602771"/>
                  <a:gd name="connsiteY156" fmla="*/ 201377 h 2249252"/>
                  <a:gd name="connsiteX157" fmla="*/ 1462088 w 1602771"/>
                  <a:gd name="connsiteY157" fmla="*/ 177565 h 2249252"/>
                  <a:gd name="connsiteX158" fmla="*/ 1447800 w 1602771"/>
                  <a:gd name="connsiteY158" fmla="*/ 125177 h 2249252"/>
                  <a:gd name="connsiteX159" fmla="*/ 1443038 w 1602771"/>
                  <a:gd name="connsiteY159" fmla="*/ 110890 h 2249252"/>
                  <a:gd name="connsiteX160" fmla="*/ 1419225 w 1602771"/>
                  <a:gd name="connsiteY160" fmla="*/ 68027 h 2249252"/>
                  <a:gd name="connsiteX161" fmla="*/ 1395413 w 1602771"/>
                  <a:gd name="connsiteY16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00188 w 1602771"/>
                  <a:gd name="connsiteY153" fmla="*/ 291865 h 2249252"/>
                  <a:gd name="connsiteX154" fmla="*/ 1481138 w 1602771"/>
                  <a:gd name="connsiteY154" fmla="*/ 244240 h 2249252"/>
                  <a:gd name="connsiteX155" fmla="*/ 1471613 w 1602771"/>
                  <a:gd name="connsiteY155" fmla="*/ 201377 h 2249252"/>
                  <a:gd name="connsiteX156" fmla="*/ 1462088 w 1602771"/>
                  <a:gd name="connsiteY156" fmla="*/ 177565 h 2249252"/>
                  <a:gd name="connsiteX157" fmla="*/ 1447800 w 1602771"/>
                  <a:gd name="connsiteY157" fmla="*/ 125177 h 2249252"/>
                  <a:gd name="connsiteX158" fmla="*/ 1443038 w 1602771"/>
                  <a:gd name="connsiteY158" fmla="*/ 110890 h 2249252"/>
                  <a:gd name="connsiteX159" fmla="*/ 1419225 w 1602771"/>
                  <a:gd name="connsiteY159" fmla="*/ 68027 h 2249252"/>
                  <a:gd name="connsiteX160" fmla="*/ 1395413 w 1602771"/>
                  <a:gd name="connsiteY160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81138 w 1602771"/>
                  <a:gd name="connsiteY153" fmla="*/ 244240 h 2249252"/>
                  <a:gd name="connsiteX154" fmla="*/ 1471613 w 1602771"/>
                  <a:gd name="connsiteY154" fmla="*/ 201377 h 2249252"/>
                  <a:gd name="connsiteX155" fmla="*/ 1462088 w 1602771"/>
                  <a:gd name="connsiteY155" fmla="*/ 177565 h 2249252"/>
                  <a:gd name="connsiteX156" fmla="*/ 1447800 w 1602771"/>
                  <a:gd name="connsiteY156" fmla="*/ 125177 h 2249252"/>
                  <a:gd name="connsiteX157" fmla="*/ 1443038 w 1602771"/>
                  <a:gd name="connsiteY157" fmla="*/ 110890 h 2249252"/>
                  <a:gd name="connsiteX158" fmla="*/ 1419225 w 1602771"/>
                  <a:gd name="connsiteY158" fmla="*/ 68027 h 2249252"/>
                  <a:gd name="connsiteX159" fmla="*/ 1395413 w 1602771"/>
                  <a:gd name="connsiteY159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71613 w 1602771"/>
                  <a:gd name="connsiteY153" fmla="*/ 201377 h 2249252"/>
                  <a:gd name="connsiteX154" fmla="*/ 1462088 w 1602771"/>
                  <a:gd name="connsiteY154" fmla="*/ 177565 h 2249252"/>
                  <a:gd name="connsiteX155" fmla="*/ 1447800 w 1602771"/>
                  <a:gd name="connsiteY155" fmla="*/ 125177 h 2249252"/>
                  <a:gd name="connsiteX156" fmla="*/ 1443038 w 1602771"/>
                  <a:gd name="connsiteY156" fmla="*/ 110890 h 2249252"/>
                  <a:gd name="connsiteX157" fmla="*/ 1419225 w 1602771"/>
                  <a:gd name="connsiteY157" fmla="*/ 68027 h 2249252"/>
                  <a:gd name="connsiteX158" fmla="*/ 1395413 w 1602771"/>
                  <a:gd name="connsiteY158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62088 w 1602771"/>
                  <a:gd name="connsiteY153" fmla="*/ 177565 h 2249252"/>
                  <a:gd name="connsiteX154" fmla="*/ 1447800 w 1602771"/>
                  <a:gd name="connsiteY154" fmla="*/ 125177 h 2249252"/>
                  <a:gd name="connsiteX155" fmla="*/ 1443038 w 1602771"/>
                  <a:gd name="connsiteY155" fmla="*/ 110890 h 2249252"/>
                  <a:gd name="connsiteX156" fmla="*/ 1419225 w 1602771"/>
                  <a:gd name="connsiteY156" fmla="*/ 68027 h 2249252"/>
                  <a:gd name="connsiteX157" fmla="*/ 1395413 w 1602771"/>
                  <a:gd name="connsiteY157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47800 w 1602771"/>
                  <a:gd name="connsiteY153" fmla="*/ 125177 h 2249252"/>
                  <a:gd name="connsiteX154" fmla="*/ 1443038 w 1602771"/>
                  <a:gd name="connsiteY154" fmla="*/ 110890 h 2249252"/>
                  <a:gd name="connsiteX155" fmla="*/ 1419225 w 1602771"/>
                  <a:gd name="connsiteY155" fmla="*/ 68027 h 2249252"/>
                  <a:gd name="connsiteX156" fmla="*/ 1395413 w 1602771"/>
                  <a:gd name="connsiteY156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43038 w 1602771"/>
                  <a:gd name="connsiteY153" fmla="*/ 110890 h 2249252"/>
                  <a:gd name="connsiteX154" fmla="*/ 1419225 w 1602771"/>
                  <a:gd name="connsiteY154" fmla="*/ 68027 h 2249252"/>
                  <a:gd name="connsiteX155" fmla="*/ 1395413 w 1602771"/>
                  <a:gd name="connsiteY15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19225 w 1602771"/>
                  <a:gd name="connsiteY153" fmla="*/ 68027 h 2249252"/>
                  <a:gd name="connsiteX154" fmla="*/ 1395413 w 1602771"/>
                  <a:gd name="connsiteY15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395413 w 1602771"/>
                  <a:gd name="connsiteY15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395413 w 1602771"/>
                  <a:gd name="connsiteY153" fmla="*/ 1352 h 2249252"/>
                  <a:gd name="connsiteX0" fmla="*/ 1395413 w 1596224"/>
                  <a:gd name="connsiteY0" fmla="*/ 1352 h 2249252"/>
                  <a:gd name="connsiteX1" fmla="*/ 1381125 w 1596224"/>
                  <a:gd name="connsiteY1" fmla="*/ 25165 h 2249252"/>
                  <a:gd name="connsiteX2" fmla="*/ 1371600 w 1596224"/>
                  <a:gd name="connsiteY2" fmla="*/ 39452 h 2249252"/>
                  <a:gd name="connsiteX3" fmla="*/ 1347788 w 1596224"/>
                  <a:gd name="connsiteY3" fmla="*/ 58502 h 2249252"/>
                  <a:gd name="connsiteX4" fmla="*/ 1333500 w 1596224"/>
                  <a:gd name="connsiteY4" fmla="*/ 68027 h 2249252"/>
                  <a:gd name="connsiteX5" fmla="*/ 1304925 w 1596224"/>
                  <a:gd name="connsiteY5" fmla="*/ 72790 h 2249252"/>
                  <a:gd name="connsiteX6" fmla="*/ 1281113 w 1596224"/>
                  <a:gd name="connsiteY6" fmla="*/ 82315 h 2249252"/>
                  <a:gd name="connsiteX7" fmla="*/ 1195388 w 1596224"/>
                  <a:gd name="connsiteY7" fmla="*/ 63265 h 2249252"/>
                  <a:gd name="connsiteX8" fmla="*/ 1076325 w 1596224"/>
                  <a:gd name="connsiteY8" fmla="*/ 68027 h 2249252"/>
                  <a:gd name="connsiteX9" fmla="*/ 1052513 w 1596224"/>
                  <a:gd name="connsiteY9" fmla="*/ 96602 h 2249252"/>
                  <a:gd name="connsiteX10" fmla="*/ 1038225 w 1596224"/>
                  <a:gd name="connsiteY10" fmla="*/ 120415 h 2249252"/>
                  <a:gd name="connsiteX11" fmla="*/ 1023938 w 1596224"/>
                  <a:gd name="connsiteY11" fmla="*/ 139465 h 2249252"/>
                  <a:gd name="connsiteX12" fmla="*/ 1019175 w 1596224"/>
                  <a:gd name="connsiteY12" fmla="*/ 153752 h 2249252"/>
                  <a:gd name="connsiteX13" fmla="*/ 981075 w 1596224"/>
                  <a:gd name="connsiteY13" fmla="*/ 148990 h 2249252"/>
                  <a:gd name="connsiteX14" fmla="*/ 966788 w 1596224"/>
                  <a:gd name="connsiteY14" fmla="*/ 144227 h 2249252"/>
                  <a:gd name="connsiteX15" fmla="*/ 919163 w 1596224"/>
                  <a:gd name="connsiteY15" fmla="*/ 172802 h 2249252"/>
                  <a:gd name="connsiteX16" fmla="*/ 900113 w 1596224"/>
                  <a:gd name="connsiteY16" fmla="*/ 187090 h 2249252"/>
                  <a:gd name="connsiteX17" fmla="*/ 881063 w 1596224"/>
                  <a:gd name="connsiteY17" fmla="*/ 215665 h 2249252"/>
                  <a:gd name="connsiteX18" fmla="*/ 876300 w 1596224"/>
                  <a:gd name="connsiteY18" fmla="*/ 229952 h 2249252"/>
                  <a:gd name="connsiteX19" fmla="*/ 857250 w 1596224"/>
                  <a:gd name="connsiteY19" fmla="*/ 249002 h 2249252"/>
                  <a:gd name="connsiteX20" fmla="*/ 809625 w 1596224"/>
                  <a:gd name="connsiteY20" fmla="*/ 296627 h 2249252"/>
                  <a:gd name="connsiteX21" fmla="*/ 795338 w 1596224"/>
                  <a:gd name="connsiteY21" fmla="*/ 310915 h 2249252"/>
                  <a:gd name="connsiteX22" fmla="*/ 752475 w 1596224"/>
                  <a:gd name="connsiteY22" fmla="*/ 334727 h 2249252"/>
                  <a:gd name="connsiteX23" fmla="*/ 685800 w 1596224"/>
                  <a:gd name="connsiteY23" fmla="*/ 372827 h 2249252"/>
                  <a:gd name="connsiteX24" fmla="*/ 628650 w 1596224"/>
                  <a:gd name="connsiteY24" fmla="*/ 391877 h 2249252"/>
                  <a:gd name="connsiteX25" fmla="*/ 619125 w 1596224"/>
                  <a:gd name="connsiteY25" fmla="*/ 410927 h 2249252"/>
                  <a:gd name="connsiteX26" fmla="*/ 623888 w 1596224"/>
                  <a:gd name="connsiteY26" fmla="*/ 434740 h 2249252"/>
                  <a:gd name="connsiteX27" fmla="*/ 647700 w 1596224"/>
                  <a:gd name="connsiteY27" fmla="*/ 468077 h 2249252"/>
                  <a:gd name="connsiteX28" fmla="*/ 661988 w 1596224"/>
                  <a:gd name="connsiteY28" fmla="*/ 477602 h 2249252"/>
                  <a:gd name="connsiteX29" fmla="*/ 695325 w 1596224"/>
                  <a:gd name="connsiteY29" fmla="*/ 472840 h 2249252"/>
                  <a:gd name="connsiteX30" fmla="*/ 742950 w 1596224"/>
                  <a:gd name="connsiteY30" fmla="*/ 468077 h 2249252"/>
                  <a:gd name="connsiteX31" fmla="*/ 762000 w 1596224"/>
                  <a:gd name="connsiteY31" fmla="*/ 453790 h 2249252"/>
                  <a:gd name="connsiteX32" fmla="*/ 766763 w 1596224"/>
                  <a:gd name="connsiteY32" fmla="*/ 439502 h 2249252"/>
                  <a:gd name="connsiteX33" fmla="*/ 781050 w 1596224"/>
                  <a:gd name="connsiteY33" fmla="*/ 434740 h 2249252"/>
                  <a:gd name="connsiteX34" fmla="*/ 847725 w 1596224"/>
                  <a:gd name="connsiteY34" fmla="*/ 477602 h 2249252"/>
                  <a:gd name="connsiteX35" fmla="*/ 862013 w 1596224"/>
                  <a:gd name="connsiteY35" fmla="*/ 487127 h 2249252"/>
                  <a:gd name="connsiteX36" fmla="*/ 933450 w 1596224"/>
                  <a:gd name="connsiteY36" fmla="*/ 496652 h 2249252"/>
                  <a:gd name="connsiteX37" fmla="*/ 966788 w 1596224"/>
                  <a:gd name="connsiteY37" fmla="*/ 491890 h 2249252"/>
                  <a:gd name="connsiteX38" fmla="*/ 981075 w 1596224"/>
                  <a:gd name="connsiteY38" fmla="*/ 482365 h 2249252"/>
                  <a:gd name="connsiteX39" fmla="*/ 1004888 w 1596224"/>
                  <a:gd name="connsiteY39" fmla="*/ 472840 h 2249252"/>
                  <a:gd name="connsiteX40" fmla="*/ 1081088 w 1596224"/>
                  <a:gd name="connsiteY40" fmla="*/ 487127 h 2249252"/>
                  <a:gd name="connsiteX41" fmla="*/ 1100138 w 1596224"/>
                  <a:gd name="connsiteY41" fmla="*/ 506177 h 2249252"/>
                  <a:gd name="connsiteX42" fmla="*/ 1119188 w 1596224"/>
                  <a:gd name="connsiteY42" fmla="*/ 529990 h 2249252"/>
                  <a:gd name="connsiteX43" fmla="*/ 1133475 w 1596224"/>
                  <a:gd name="connsiteY43" fmla="*/ 568090 h 2249252"/>
                  <a:gd name="connsiteX44" fmla="*/ 1147763 w 1596224"/>
                  <a:gd name="connsiteY44" fmla="*/ 596665 h 2249252"/>
                  <a:gd name="connsiteX45" fmla="*/ 1162050 w 1596224"/>
                  <a:gd name="connsiteY45" fmla="*/ 625240 h 2249252"/>
                  <a:gd name="connsiteX46" fmla="*/ 1166813 w 1596224"/>
                  <a:gd name="connsiteY46" fmla="*/ 649052 h 2249252"/>
                  <a:gd name="connsiteX47" fmla="*/ 1176338 w 1596224"/>
                  <a:gd name="connsiteY47" fmla="*/ 730015 h 2249252"/>
                  <a:gd name="connsiteX48" fmla="*/ 1100138 w 1596224"/>
                  <a:gd name="connsiteY48" fmla="*/ 734777 h 2249252"/>
                  <a:gd name="connsiteX49" fmla="*/ 1085850 w 1596224"/>
                  <a:gd name="connsiteY49" fmla="*/ 725252 h 2249252"/>
                  <a:gd name="connsiteX50" fmla="*/ 1052513 w 1596224"/>
                  <a:gd name="connsiteY50" fmla="*/ 687152 h 2249252"/>
                  <a:gd name="connsiteX51" fmla="*/ 966788 w 1596224"/>
                  <a:gd name="connsiteY51" fmla="*/ 691915 h 2249252"/>
                  <a:gd name="connsiteX52" fmla="*/ 866775 w 1596224"/>
                  <a:gd name="connsiteY52" fmla="*/ 677627 h 2249252"/>
                  <a:gd name="connsiteX53" fmla="*/ 766763 w 1596224"/>
                  <a:gd name="connsiteY53" fmla="*/ 682390 h 2249252"/>
                  <a:gd name="connsiteX54" fmla="*/ 704850 w 1596224"/>
                  <a:gd name="connsiteY54" fmla="*/ 691915 h 2249252"/>
                  <a:gd name="connsiteX55" fmla="*/ 661988 w 1596224"/>
                  <a:gd name="connsiteY55" fmla="*/ 696677 h 2249252"/>
                  <a:gd name="connsiteX56" fmla="*/ 619125 w 1596224"/>
                  <a:gd name="connsiteY56" fmla="*/ 677627 h 2249252"/>
                  <a:gd name="connsiteX57" fmla="*/ 585788 w 1596224"/>
                  <a:gd name="connsiteY57" fmla="*/ 649052 h 2249252"/>
                  <a:gd name="connsiteX58" fmla="*/ 481013 w 1596224"/>
                  <a:gd name="connsiteY58" fmla="*/ 672865 h 2249252"/>
                  <a:gd name="connsiteX59" fmla="*/ 442913 w 1596224"/>
                  <a:gd name="connsiteY59" fmla="*/ 701440 h 2249252"/>
                  <a:gd name="connsiteX60" fmla="*/ 428625 w 1596224"/>
                  <a:gd name="connsiteY60" fmla="*/ 710965 h 2249252"/>
                  <a:gd name="connsiteX61" fmla="*/ 395288 w 1596224"/>
                  <a:gd name="connsiteY61" fmla="*/ 734777 h 2249252"/>
                  <a:gd name="connsiteX62" fmla="*/ 357188 w 1596224"/>
                  <a:gd name="connsiteY62" fmla="*/ 777640 h 2249252"/>
                  <a:gd name="connsiteX63" fmla="*/ 328613 w 1596224"/>
                  <a:gd name="connsiteY63" fmla="*/ 801452 h 2249252"/>
                  <a:gd name="connsiteX64" fmla="*/ 309563 w 1596224"/>
                  <a:gd name="connsiteY64" fmla="*/ 820502 h 2249252"/>
                  <a:gd name="connsiteX65" fmla="*/ 290513 w 1596224"/>
                  <a:gd name="connsiteY65" fmla="*/ 830027 h 2249252"/>
                  <a:gd name="connsiteX66" fmla="*/ 247650 w 1596224"/>
                  <a:gd name="connsiteY66" fmla="*/ 863365 h 2249252"/>
                  <a:gd name="connsiteX67" fmla="*/ 223838 w 1596224"/>
                  <a:gd name="connsiteY67" fmla="*/ 882415 h 2249252"/>
                  <a:gd name="connsiteX68" fmla="*/ 200025 w 1596224"/>
                  <a:gd name="connsiteY68" fmla="*/ 910990 h 2249252"/>
                  <a:gd name="connsiteX69" fmla="*/ 166688 w 1596224"/>
                  <a:gd name="connsiteY69" fmla="*/ 958615 h 2249252"/>
                  <a:gd name="connsiteX70" fmla="*/ 133350 w 1596224"/>
                  <a:gd name="connsiteY70" fmla="*/ 991952 h 2249252"/>
                  <a:gd name="connsiteX71" fmla="*/ 114300 w 1596224"/>
                  <a:gd name="connsiteY71" fmla="*/ 1025290 h 2249252"/>
                  <a:gd name="connsiteX72" fmla="*/ 85725 w 1596224"/>
                  <a:gd name="connsiteY72" fmla="*/ 1063390 h 2249252"/>
                  <a:gd name="connsiteX73" fmla="*/ 66675 w 1596224"/>
                  <a:gd name="connsiteY73" fmla="*/ 1082440 h 2249252"/>
                  <a:gd name="connsiteX74" fmla="*/ 57150 w 1596224"/>
                  <a:gd name="connsiteY74" fmla="*/ 1101490 h 2249252"/>
                  <a:gd name="connsiteX75" fmla="*/ 33338 w 1596224"/>
                  <a:gd name="connsiteY75" fmla="*/ 1139590 h 2249252"/>
                  <a:gd name="connsiteX76" fmla="*/ 23813 w 1596224"/>
                  <a:gd name="connsiteY76" fmla="*/ 1163402 h 2249252"/>
                  <a:gd name="connsiteX77" fmla="*/ 14288 w 1596224"/>
                  <a:gd name="connsiteY77" fmla="*/ 1182452 h 2249252"/>
                  <a:gd name="connsiteX78" fmla="*/ 9525 w 1596224"/>
                  <a:gd name="connsiteY78" fmla="*/ 1215790 h 2249252"/>
                  <a:gd name="connsiteX79" fmla="*/ 0 w 1596224"/>
                  <a:gd name="connsiteY79" fmla="*/ 1258652 h 2249252"/>
                  <a:gd name="connsiteX80" fmla="*/ 4763 w 1596224"/>
                  <a:gd name="connsiteY80" fmla="*/ 1320565 h 2249252"/>
                  <a:gd name="connsiteX81" fmla="*/ 33338 w 1596224"/>
                  <a:gd name="connsiteY81" fmla="*/ 1363427 h 2249252"/>
                  <a:gd name="connsiteX82" fmla="*/ 100013 w 1596224"/>
                  <a:gd name="connsiteY82" fmla="*/ 1411052 h 2249252"/>
                  <a:gd name="connsiteX83" fmla="*/ 157163 w 1596224"/>
                  <a:gd name="connsiteY83" fmla="*/ 1425340 h 2249252"/>
                  <a:gd name="connsiteX84" fmla="*/ 338138 w 1596224"/>
                  <a:gd name="connsiteY84" fmla="*/ 1420577 h 2249252"/>
                  <a:gd name="connsiteX85" fmla="*/ 361950 w 1596224"/>
                  <a:gd name="connsiteY85" fmla="*/ 1415815 h 2249252"/>
                  <a:gd name="connsiteX86" fmla="*/ 476250 w 1596224"/>
                  <a:gd name="connsiteY86" fmla="*/ 1425340 h 2249252"/>
                  <a:gd name="connsiteX87" fmla="*/ 495300 w 1596224"/>
                  <a:gd name="connsiteY87" fmla="*/ 1434865 h 2249252"/>
                  <a:gd name="connsiteX88" fmla="*/ 519113 w 1596224"/>
                  <a:gd name="connsiteY88" fmla="*/ 1492015 h 2249252"/>
                  <a:gd name="connsiteX89" fmla="*/ 528638 w 1596224"/>
                  <a:gd name="connsiteY89" fmla="*/ 1506302 h 2249252"/>
                  <a:gd name="connsiteX90" fmla="*/ 523875 w 1596224"/>
                  <a:gd name="connsiteY90" fmla="*/ 1606315 h 2249252"/>
                  <a:gd name="connsiteX91" fmla="*/ 514350 w 1596224"/>
                  <a:gd name="connsiteY91" fmla="*/ 1620602 h 2249252"/>
                  <a:gd name="connsiteX92" fmla="*/ 504825 w 1596224"/>
                  <a:gd name="connsiteY92" fmla="*/ 1653940 h 2249252"/>
                  <a:gd name="connsiteX93" fmla="*/ 533400 w 1596224"/>
                  <a:gd name="connsiteY93" fmla="*/ 1715852 h 2249252"/>
                  <a:gd name="connsiteX94" fmla="*/ 547688 w 1596224"/>
                  <a:gd name="connsiteY94" fmla="*/ 1725377 h 2249252"/>
                  <a:gd name="connsiteX95" fmla="*/ 566738 w 1596224"/>
                  <a:gd name="connsiteY95" fmla="*/ 1763477 h 2249252"/>
                  <a:gd name="connsiteX96" fmla="*/ 581025 w 1596224"/>
                  <a:gd name="connsiteY96" fmla="*/ 1806340 h 2249252"/>
                  <a:gd name="connsiteX97" fmla="*/ 557213 w 1596224"/>
                  <a:gd name="connsiteY97" fmla="*/ 1853965 h 2249252"/>
                  <a:gd name="connsiteX98" fmla="*/ 533400 w 1596224"/>
                  <a:gd name="connsiteY98" fmla="*/ 1858727 h 2249252"/>
                  <a:gd name="connsiteX99" fmla="*/ 490538 w 1596224"/>
                  <a:gd name="connsiteY99" fmla="*/ 1877777 h 2249252"/>
                  <a:gd name="connsiteX100" fmla="*/ 452438 w 1596224"/>
                  <a:gd name="connsiteY100" fmla="*/ 1892065 h 2249252"/>
                  <a:gd name="connsiteX101" fmla="*/ 447675 w 1596224"/>
                  <a:gd name="connsiteY101" fmla="*/ 1925402 h 2249252"/>
                  <a:gd name="connsiteX102" fmla="*/ 438150 w 1596224"/>
                  <a:gd name="connsiteY102" fmla="*/ 1939690 h 2249252"/>
                  <a:gd name="connsiteX103" fmla="*/ 428625 w 1596224"/>
                  <a:gd name="connsiteY103" fmla="*/ 1958740 h 2249252"/>
                  <a:gd name="connsiteX104" fmla="*/ 414338 w 1596224"/>
                  <a:gd name="connsiteY104" fmla="*/ 1977790 h 2249252"/>
                  <a:gd name="connsiteX105" fmla="*/ 404813 w 1596224"/>
                  <a:gd name="connsiteY105" fmla="*/ 1992077 h 2249252"/>
                  <a:gd name="connsiteX106" fmla="*/ 385763 w 1596224"/>
                  <a:gd name="connsiteY106" fmla="*/ 2011127 h 2249252"/>
                  <a:gd name="connsiteX107" fmla="*/ 352425 w 1596224"/>
                  <a:gd name="connsiteY107" fmla="*/ 2053990 h 2249252"/>
                  <a:gd name="connsiteX108" fmla="*/ 314325 w 1596224"/>
                  <a:gd name="connsiteY108" fmla="*/ 2096852 h 2249252"/>
                  <a:gd name="connsiteX109" fmla="*/ 300038 w 1596224"/>
                  <a:gd name="connsiteY109" fmla="*/ 2115902 h 2249252"/>
                  <a:gd name="connsiteX110" fmla="*/ 276225 w 1596224"/>
                  <a:gd name="connsiteY110" fmla="*/ 2130190 h 2249252"/>
                  <a:gd name="connsiteX111" fmla="*/ 261938 w 1596224"/>
                  <a:gd name="connsiteY111" fmla="*/ 2144477 h 2249252"/>
                  <a:gd name="connsiteX112" fmla="*/ 252413 w 1596224"/>
                  <a:gd name="connsiteY112" fmla="*/ 2168290 h 2249252"/>
                  <a:gd name="connsiteX113" fmla="*/ 252413 w 1596224"/>
                  <a:gd name="connsiteY113" fmla="*/ 2234965 h 2249252"/>
                  <a:gd name="connsiteX114" fmla="*/ 280988 w 1596224"/>
                  <a:gd name="connsiteY114" fmla="*/ 2249252 h 2249252"/>
                  <a:gd name="connsiteX115" fmla="*/ 400050 w 1596224"/>
                  <a:gd name="connsiteY115" fmla="*/ 2244490 h 2249252"/>
                  <a:gd name="connsiteX116" fmla="*/ 423863 w 1596224"/>
                  <a:gd name="connsiteY116" fmla="*/ 2230202 h 2249252"/>
                  <a:gd name="connsiteX117" fmla="*/ 471488 w 1596224"/>
                  <a:gd name="connsiteY117" fmla="*/ 2187340 h 2249252"/>
                  <a:gd name="connsiteX118" fmla="*/ 509588 w 1596224"/>
                  <a:gd name="connsiteY118" fmla="*/ 2163527 h 2249252"/>
                  <a:gd name="connsiteX119" fmla="*/ 533400 w 1596224"/>
                  <a:gd name="connsiteY119" fmla="*/ 2144477 h 2249252"/>
                  <a:gd name="connsiteX120" fmla="*/ 581025 w 1596224"/>
                  <a:gd name="connsiteY120" fmla="*/ 2120665 h 2249252"/>
                  <a:gd name="connsiteX121" fmla="*/ 604838 w 1596224"/>
                  <a:gd name="connsiteY121" fmla="*/ 2106377 h 2249252"/>
                  <a:gd name="connsiteX122" fmla="*/ 642938 w 1596224"/>
                  <a:gd name="connsiteY122" fmla="*/ 2082565 h 2249252"/>
                  <a:gd name="connsiteX123" fmla="*/ 666750 w 1596224"/>
                  <a:gd name="connsiteY123" fmla="*/ 2073040 h 2249252"/>
                  <a:gd name="connsiteX124" fmla="*/ 685800 w 1596224"/>
                  <a:gd name="connsiteY124" fmla="*/ 2063515 h 2249252"/>
                  <a:gd name="connsiteX125" fmla="*/ 728663 w 1596224"/>
                  <a:gd name="connsiteY125" fmla="*/ 2049227 h 2249252"/>
                  <a:gd name="connsiteX126" fmla="*/ 747713 w 1596224"/>
                  <a:gd name="connsiteY126" fmla="*/ 2034940 h 2249252"/>
                  <a:gd name="connsiteX127" fmla="*/ 762000 w 1596224"/>
                  <a:gd name="connsiteY127" fmla="*/ 2025415 h 2249252"/>
                  <a:gd name="connsiteX128" fmla="*/ 776288 w 1596224"/>
                  <a:gd name="connsiteY128" fmla="*/ 2011127 h 2249252"/>
                  <a:gd name="connsiteX129" fmla="*/ 790575 w 1596224"/>
                  <a:gd name="connsiteY129" fmla="*/ 2006365 h 2249252"/>
                  <a:gd name="connsiteX130" fmla="*/ 833438 w 1596224"/>
                  <a:gd name="connsiteY130" fmla="*/ 1996840 h 2249252"/>
                  <a:gd name="connsiteX131" fmla="*/ 881063 w 1596224"/>
                  <a:gd name="connsiteY131" fmla="*/ 1973027 h 2249252"/>
                  <a:gd name="connsiteX132" fmla="*/ 904875 w 1596224"/>
                  <a:gd name="connsiteY132" fmla="*/ 1963502 h 2249252"/>
                  <a:gd name="connsiteX133" fmla="*/ 966788 w 1596224"/>
                  <a:gd name="connsiteY133" fmla="*/ 1911115 h 2249252"/>
                  <a:gd name="connsiteX134" fmla="*/ 981075 w 1596224"/>
                  <a:gd name="connsiteY134" fmla="*/ 1887302 h 2249252"/>
                  <a:gd name="connsiteX135" fmla="*/ 995363 w 1596224"/>
                  <a:gd name="connsiteY135" fmla="*/ 1873015 h 2249252"/>
                  <a:gd name="connsiteX136" fmla="*/ 1000125 w 1596224"/>
                  <a:gd name="connsiteY136" fmla="*/ 1858727 h 2249252"/>
                  <a:gd name="connsiteX137" fmla="*/ 1033463 w 1596224"/>
                  <a:gd name="connsiteY137" fmla="*/ 1834915 h 2249252"/>
                  <a:gd name="connsiteX138" fmla="*/ 1095375 w 1596224"/>
                  <a:gd name="connsiteY138" fmla="*/ 1801577 h 2249252"/>
                  <a:gd name="connsiteX139" fmla="*/ 1114425 w 1596224"/>
                  <a:gd name="connsiteY139" fmla="*/ 1792052 h 2249252"/>
                  <a:gd name="connsiteX140" fmla="*/ 1204913 w 1596224"/>
                  <a:gd name="connsiteY140" fmla="*/ 1790465 h 2249252"/>
                  <a:gd name="connsiteX141" fmla="*/ 1254125 w 1596224"/>
                  <a:gd name="connsiteY141" fmla="*/ 1731727 h 2249252"/>
                  <a:gd name="connsiteX142" fmla="*/ 1352550 w 1596224"/>
                  <a:gd name="connsiteY142" fmla="*/ 1596790 h 2249252"/>
                  <a:gd name="connsiteX143" fmla="*/ 1433513 w 1596224"/>
                  <a:gd name="connsiteY143" fmla="*/ 1434865 h 2249252"/>
                  <a:gd name="connsiteX144" fmla="*/ 1471613 w 1596224"/>
                  <a:gd name="connsiteY144" fmla="*/ 1334852 h 2249252"/>
                  <a:gd name="connsiteX145" fmla="*/ 1490663 w 1596224"/>
                  <a:gd name="connsiteY145" fmla="*/ 1282465 h 2249252"/>
                  <a:gd name="connsiteX146" fmla="*/ 1514475 w 1596224"/>
                  <a:gd name="connsiteY146" fmla="*/ 1211027 h 2249252"/>
                  <a:gd name="connsiteX147" fmla="*/ 1528763 w 1596224"/>
                  <a:gd name="connsiteY147" fmla="*/ 1149115 h 2249252"/>
                  <a:gd name="connsiteX148" fmla="*/ 1566863 w 1596224"/>
                  <a:gd name="connsiteY148" fmla="*/ 987190 h 2249252"/>
                  <a:gd name="connsiteX149" fmla="*/ 1590675 w 1596224"/>
                  <a:gd name="connsiteY149" fmla="*/ 868127 h 2249252"/>
                  <a:gd name="connsiteX150" fmla="*/ 1590675 w 1596224"/>
                  <a:gd name="connsiteY150" fmla="*/ 596665 h 2249252"/>
                  <a:gd name="connsiteX151" fmla="*/ 1581150 w 1596224"/>
                  <a:gd name="connsiteY151" fmla="*/ 525227 h 2249252"/>
                  <a:gd name="connsiteX152" fmla="*/ 1576388 w 1596224"/>
                  <a:gd name="connsiteY152" fmla="*/ 510940 h 2249252"/>
                  <a:gd name="connsiteX153" fmla="*/ 1395413 w 1596224"/>
                  <a:gd name="connsiteY153" fmla="*/ 1352 h 2249252"/>
                  <a:gd name="connsiteX0" fmla="*/ 1408113 w 1596224"/>
                  <a:gd name="connsiteY0" fmla="*/ 1289 h 2249189"/>
                  <a:gd name="connsiteX1" fmla="*/ 1381125 w 1596224"/>
                  <a:gd name="connsiteY1" fmla="*/ 25102 h 2249189"/>
                  <a:gd name="connsiteX2" fmla="*/ 1371600 w 1596224"/>
                  <a:gd name="connsiteY2" fmla="*/ 39389 h 2249189"/>
                  <a:gd name="connsiteX3" fmla="*/ 1347788 w 1596224"/>
                  <a:gd name="connsiteY3" fmla="*/ 58439 h 2249189"/>
                  <a:gd name="connsiteX4" fmla="*/ 1333500 w 1596224"/>
                  <a:gd name="connsiteY4" fmla="*/ 67964 h 2249189"/>
                  <a:gd name="connsiteX5" fmla="*/ 1304925 w 1596224"/>
                  <a:gd name="connsiteY5" fmla="*/ 72727 h 2249189"/>
                  <a:gd name="connsiteX6" fmla="*/ 1281113 w 1596224"/>
                  <a:gd name="connsiteY6" fmla="*/ 82252 h 2249189"/>
                  <a:gd name="connsiteX7" fmla="*/ 1195388 w 1596224"/>
                  <a:gd name="connsiteY7" fmla="*/ 63202 h 2249189"/>
                  <a:gd name="connsiteX8" fmla="*/ 1076325 w 1596224"/>
                  <a:gd name="connsiteY8" fmla="*/ 67964 h 2249189"/>
                  <a:gd name="connsiteX9" fmla="*/ 1052513 w 1596224"/>
                  <a:gd name="connsiteY9" fmla="*/ 96539 h 2249189"/>
                  <a:gd name="connsiteX10" fmla="*/ 1038225 w 1596224"/>
                  <a:gd name="connsiteY10" fmla="*/ 120352 h 2249189"/>
                  <a:gd name="connsiteX11" fmla="*/ 1023938 w 1596224"/>
                  <a:gd name="connsiteY11" fmla="*/ 139402 h 2249189"/>
                  <a:gd name="connsiteX12" fmla="*/ 1019175 w 1596224"/>
                  <a:gd name="connsiteY12" fmla="*/ 153689 h 2249189"/>
                  <a:gd name="connsiteX13" fmla="*/ 981075 w 1596224"/>
                  <a:gd name="connsiteY13" fmla="*/ 148927 h 2249189"/>
                  <a:gd name="connsiteX14" fmla="*/ 966788 w 1596224"/>
                  <a:gd name="connsiteY14" fmla="*/ 144164 h 2249189"/>
                  <a:gd name="connsiteX15" fmla="*/ 919163 w 1596224"/>
                  <a:gd name="connsiteY15" fmla="*/ 172739 h 2249189"/>
                  <a:gd name="connsiteX16" fmla="*/ 900113 w 1596224"/>
                  <a:gd name="connsiteY16" fmla="*/ 187027 h 2249189"/>
                  <a:gd name="connsiteX17" fmla="*/ 881063 w 1596224"/>
                  <a:gd name="connsiteY17" fmla="*/ 215602 h 2249189"/>
                  <a:gd name="connsiteX18" fmla="*/ 876300 w 1596224"/>
                  <a:gd name="connsiteY18" fmla="*/ 229889 h 2249189"/>
                  <a:gd name="connsiteX19" fmla="*/ 857250 w 1596224"/>
                  <a:gd name="connsiteY19" fmla="*/ 248939 h 2249189"/>
                  <a:gd name="connsiteX20" fmla="*/ 809625 w 1596224"/>
                  <a:gd name="connsiteY20" fmla="*/ 296564 h 2249189"/>
                  <a:gd name="connsiteX21" fmla="*/ 795338 w 1596224"/>
                  <a:gd name="connsiteY21" fmla="*/ 310852 h 2249189"/>
                  <a:gd name="connsiteX22" fmla="*/ 752475 w 1596224"/>
                  <a:gd name="connsiteY22" fmla="*/ 334664 h 2249189"/>
                  <a:gd name="connsiteX23" fmla="*/ 685800 w 1596224"/>
                  <a:gd name="connsiteY23" fmla="*/ 372764 h 2249189"/>
                  <a:gd name="connsiteX24" fmla="*/ 628650 w 1596224"/>
                  <a:gd name="connsiteY24" fmla="*/ 391814 h 2249189"/>
                  <a:gd name="connsiteX25" fmla="*/ 619125 w 1596224"/>
                  <a:gd name="connsiteY25" fmla="*/ 410864 h 2249189"/>
                  <a:gd name="connsiteX26" fmla="*/ 623888 w 1596224"/>
                  <a:gd name="connsiteY26" fmla="*/ 434677 h 2249189"/>
                  <a:gd name="connsiteX27" fmla="*/ 647700 w 1596224"/>
                  <a:gd name="connsiteY27" fmla="*/ 468014 h 2249189"/>
                  <a:gd name="connsiteX28" fmla="*/ 661988 w 1596224"/>
                  <a:gd name="connsiteY28" fmla="*/ 477539 h 2249189"/>
                  <a:gd name="connsiteX29" fmla="*/ 695325 w 1596224"/>
                  <a:gd name="connsiteY29" fmla="*/ 472777 h 2249189"/>
                  <a:gd name="connsiteX30" fmla="*/ 742950 w 1596224"/>
                  <a:gd name="connsiteY30" fmla="*/ 468014 h 2249189"/>
                  <a:gd name="connsiteX31" fmla="*/ 762000 w 1596224"/>
                  <a:gd name="connsiteY31" fmla="*/ 453727 h 2249189"/>
                  <a:gd name="connsiteX32" fmla="*/ 766763 w 1596224"/>
                  <a:gd name="connsiteY32" fmla="*/ 439439 h 2249189"/>
                  <a:gd name="connsiteX33" fmla="*/ 781050 w 1596224"/>
                  <a:gd name="connsiteY33" fmla="*/ 434677 h 2249189"/>
                  <a:gd name="connsiteX34" fmla="*/ 847725 w 1596224"/>
                  <a:gd name="connsiteY34" fmla="*/ 477539 h 2249189"/>
                  <a:gd name="connsiteX35" fmla="*/ 862013 w 1596224"/>
                  <a:gd name="connsiteY35" fmla="*/ 487064 h 2249189"/>
                  <a:gd name="connsiteX36" fmla="*/ 933450 w 1596224"/>
                  <a:gd name="connsiteY36" fmla="*/ 496589 h 2249189"/>
                  <a:gd name="connsiteX37" fmla="*/ 966788 w 1596224"/>
                  <a:gd name="connsiteY37" fmla="*/ 491827 h 2249189"/>
                  <a:gd name="connsiteX38" fmla="*/ 981075 w 1596224"/>
                  <a:gd name="connsiteY38" fmla="*/ 482302 h 2249189"/>
                  <a:gd name="connsiteX39" fmla="*/ 1004888 w 1596224"/>
                  <a:gd name="connsiteY39" fmla="*/ 472777 h 2249189"/>
                  <a:gd name="connsiteX40" fmla="*/ 1081088 w 1596224"/>
                  <a:gd name="connsiteY40" fmla="*/ 487064 h 2249189"/>
                  <a:gd name="connsiteX41" fmla="*/ 1100138 w 1596224"/>
                  <a:gd name="connsiteY41" fmla="*/ 506114 h 2249189"/>
                  <a:gd name="connsiteX42" fmla="*/ 1119188 w 1596224"/>
                  <a:gd name="connsiteY42" fmla="*/ 529927 h 2249189"/>
                  <a:gd name="connsiteX43" fmla="*/ 1133475 w 1596224"/>
                  <a:gd name="connsiteY43" fmla="*/ 568027 h 2249189"/>
                  <a:gd name="connsiteX44" fmla="*/ 1147763 w 1596224"/>
                  <a:gd name="connsiteY44" fmla="*/ 596602 h 2249189"/>
                  <a:gd name="connsiteX45" fmla="*/ 1162050 w 1596224"/>
                  <a:gd name="connsiteY45" fmla="*/ 625177 h 2249189"/>
                  <a:gd name="connsiteX46" fmla="*/ 1166813 w 1596224"/>
                  <a:gd name="connsiteY46" fmla="*/ 648989 h 2249189"/>
                  <a:gd name="connsiteX47" fmla="*/ 1176338 w 1596224"/>
                  <a:gd name="connsiteY47" fmla="*/ 729952 h 2249189"/>
                  <a:gd name="connsiteX48" fmla="*/ 1100138 w 1596224"/>
                  <a:gd name="connsiteY48" fmla="*/ 734714 h 2249189"/>
                  <a:gd name="connsiteX49" fmla="*/ 1085850 w 1596224"/>
                  <a:gd name="connsiteY49" fmla="*/ 725189 h 2249189"/>
                  <a:gd name="connsiteX50" fmla="*/ 1052513 w 1596224"/>
                  <a:gd name="connsiteY50" fmla="*/ 687089 h 2249189"/>
                  <a:gd name="connsiteX51" fmla="*/ 966788 w 1596224"/>
                  <a:gd name="connsiteY51" fmla="*/ 691852 h 2249189"/>
                  <a:gd name="connsiteX52" fmla="*/ 866775 w 1596224"/>
                  <a:gd name="connsiteY52" fmla="*/ 677564 h 2249189"/>
                  <a:gd name="connsiteX53" fmla="*/ 766763 w 1596224"/>
                  <a:gd name="connsiteY53" fmla="*/ 682327 h 2249189"/>
                  <a:gd name="connsiteX54" fmla="*/ 704850 w 1596224"/>
                  <a:gd name="connsiteY54" fmla="*/ 691852 h 2249189"/>
                  <a:gd name="connsiteX55" fmla="*/ 661988 w 1596224"/>
                  <a:gd name="connsiteY55" fmla="*/ 696614 h 2249189"/>
                  <a:gd name="connsiteX56" fmla="*/ 619125 w 1596224"/>
                  <a:gd name="connsiteY56" fmla="*/ 677564 h 2249189"/>
                  <a:gd name="connsiteX57" fmla="*/ 585788 w 1596224"/>
                  <a:gd name="connsiteY57" fmla="*/ 648989 h 2249189"/>
                  <a:gd name="connsiteX58" fmla="*/ 481013 w 1596224"/>
                  <a:gd name="connsiteY58" fmla="*/ 672802 h 2249189"/>
                  <a:gd name="connsiteX59" fmla="*/ 442913 w 1596224"/>
                  <a:gd name="connsiteY59" fmla="*/ 701377 h 2249189"/>
                  <a:gd name="connsiteX60" fmla="*/ 428625 w 1596224"/>
                  <a:gd name="connsiteY60" fmla="*/ 710902 h 2249189"/>
                  <a:gd name="connsiteX61" fmla="*/ 395288 w 1596224"/>
                  <a:gd name="connsiteY61" fmla="*/ 734714 h 2249189"/>
                  <a:gd name="connsiteX62" fmla="*/ 357188 w 1596224"/>
                  <a:gd name="connsiteY62" fmla="*/ 777577 h 2249189"/>
                  <a:gd name="connsiteX63" fmla="*/ 328613 w 1596224"/>
                  <a:gd name="connsiteY63" fmla="*/ 801389 h 2249189"/>
                  <a:gd name="connsiteX64" fmla="*/ 309563 w 1596224"/>
                  <a:gd name="connsiteY64" fmla="*/ 820439 h 2249189"/>
                  <a:gd name="connsiteX65" fmla="*/ 290513 w 1596224"/>
                  <a:gd name="connsiteY65" fmla="*/ 829964 h 2249189"/>
                  <a:gd name="connsiteX66" fmla="*/ 247650 w 1596224"/>
                  <a:gd name="connsiteY66" fmla="*/ 863302 h 2249189"/>
                  <a:gd name="connsiteX67" fmla="*/ 223838 w 1596224"/>
                  <a:gd name="connsiteY67" fmla="*/ 882352 h 2249189"/>
                  <a:gd name="connsiteX68" fmla="*/ 200025 w 1596224"/>
                  <a:gd name="connsiteY68" fmla="*/ 910927 h 2249189"/>
                  <a:gd name="connsiteX69" fmla="*/ 166688 w 1596224"/>
                  <a:gd name="connsiteY69" fmla="*/ 958552 h 2249189"/>
                  <a:gd name="connsiteX70" fmla="*/ 133350 w 1596224"/>
                  <a:gd name="connsiteY70" fmla="*/ 991889 h 2249189"/>
                  <a:gd name="connsiteX71" fmla="*/ 114300 w 1596224"/>
                  <a:gd name="connsiteY71" fmla="*/ 1025227 h 2249189"/>
                  <a:gd name="connsiteX72" fmla="*/ 85725 w 1596224"/>
                  <a:gd name="connsiteY72" fmla="*/ 1063327 h 2249189"/>
                  <a:gd name="connsiteX73" fmla="*/ 66675 w 1596224"/>
                  <a:gd name="connsiteY73" fmla="*/ 1082377 h 2249189"/>
                  <a:gd name="connsiteX74" fmla="*/ 57150 w 1596224"/>
                  <a:gd name="connsiteY74" fmla="*/ 1101427 h 2249189"/>
                  <a:gd name="connsiteX75" fmla="*/ 33338 w 1596224"/>
                  <a:gd name="connsiteY75" fmla="*/ 1139527 h 2249189"/>
                  <a:gd name="connsiteX76" fmla="*/ 23813 w 1596224"/>
                  <a:gd name="connsiteY76" fmla="*/ 1163339 h 2249189"/>
                  <a:gd name="connsiteX77" fmla="*/ 14288 w 1596224"/>
                  <a:gd name="connsiteY77" fmla="*/ 1182389 h 2249189"/>
                  <a:gd name="connsiteX78" fmla="*/ 9525 w 1596224"/>
                  <a:gd name="connsiteY78" fmla="*/ 1215727 h 2249189"/>
                  <a:gd name="connsiteX79" fmla="*/ 0 w 1596224"/>
                  <a:gd name="connsiteY79" fmla="*/ 1258589 h 2249189"/>
                  <a:gd name="connsiteX80" fmla="*/ 4763 w 1596224"/>
                  <a:gd name="connsiteY80" fmla="*/ 1320502 h 2249189"/>
                  <a:gd name="connsiteX81" fmla="*/ 33338 w 1596224"/>
                  <a:gd name="connsiteY81" fmla="*/ 1363364 h 2249189"/>
                  <a:gd name="connsiteX82" fmla="*/ 100013 w 1596224"/>
                  <a:gd name="connsiteY82" fmla="*/ 1410989 h 2249189"/>
                  <a:gd name="connsiteX83" fmla="*/ 157163 w 1596224"/>
                  <a:gd name="connsiteY83" fmla="*/ 1425277 h 2249189"/>
                  <a:gd name="connsiteX84" fmla="*/ 338138 w 1596224"/>
                  <a:gd name="connsiteY84" fmla="*/ 1420514 h 2249189"/>
                  <a:gd name="connsiteX85" fmla="*/ 361950 w 1596224"/>
                  <a:gd name="connsiteY85" fmla="*/ 1415752 h 2249189"/>
                  <a:gd name="connsiteX86" fmla="*/ 476250 w 1596224"/>
                  <a:gd name="connsiteY86" fmla="*/ 1425277 h 2249189"/>
                  <a:gd name="connsiteX87" fmla="*/ 495300 w 1596224"/>
                  <a:gd name="connsiteY87" fmla="*/ 1434802 h 2249189"/>
                  <a:gd name="connsiteX88" fmla="*/ 519113 w 1596224"/>
                  <a:gd name="connsiteY88" fmla="*/ 1491952 h 2249189"/>
                  <a:gd name="connsiteX89" fmla="*/ 528638 w 1596224"/>
                  <a:gd name="connsiteY89" fmla="*/ 1506239 h 2249189"/>
                  <a:gd name="connsiteX90" fmla="*/ 523875 w 1596224"/>
                  <a:gd name="connsiteY90" fmla="*/ 1606252 h 2249189"/>
                  <a:gd name="connsiteX91" fmla="*/ 514350 w 1596224"/>
                  <a:gd name="connsiteY91" fmla="*/ 1620539 h 2249189"/>
                  <a:gd name="connsiteX92" fmla="*/ 504825 w 1596224"/>
                  <a:gd name="connsiteY92" fmla="*/ 1653877 h 2249189"/>
                  <a:gd name="connsiteX93" fmla="*/ 533400 w 1596224"/>
                  <a:gd name="connsiteY93" fmla="*/ 1715789 h 2249189"/>
                  <a:gd name="connsiteX94" fmla="*/ 547688 w 1596224"/>
                  <a:gd name="connsiteY94" fmla="*/ 1725314 h 2249189"/>
                  <a:gd name="connsiteX95" fmla="*/ 566738 w 1596224"/>
                  <a:gd name="connsiteY95" fmla="*/ 1763414 h 2249189"/>
                  <a:gd name="connsiteX96" fmla="*/ 581025 w 1596224"/>
                  <a:gd name="connsiteY96" fmla="*/ 1806277 h 2249189"/>
                  <a:gd name="connsiteX97" fmla="*/ 557213 w 1596224"/>
                  <a:gd name="connsiteY97" fmla="*/ 1853902 h 2249189"/>
                  <a:gd name="connsiteX98" fmla="*/ 533400 w 1596224"/>
                  <a:gd name="connsiteY98" fmla="*/ 1858664 h 2249189"/>
                  <a:gd name="connsiteX99" fmla="*/ 490538 w 1596224"/>
                  <a:gd name="connsiteY99" fmla="*/ 1877714 h 2249189"/>
                  <a:gd name="connsiteX100" fmla="*/ 452438 w 1596224"/>
                  <a:gd name="connsiteY100" fmla="*/ 1892002 h 2249189"/>
                  <a:gd name="connsiteX101" fmla="*/ 447675 w 1596224"/>
                  <a:gd name="connsiteY101" fmla="*/ 1925339 h 2249189"/>
                  <a:gd name="connsiteX102" fmla="*/ 438150 w 1596224"/>
                  <a:gd name="connsiteY102" fmla="*/ 1939627 h 2249189"/>
                  <a:gd name="connsiteX103" fmla="*/ 428625 w 1596224"/>
                  <a:gd name="connsiteY103" fmla="*/ 1958677 h 2249189"/>
                  <a:gd name="connsiteX104" fmla="*/ 414338 w 1596224"/>
                  <a:gd name="connsiteY104" fmla="*/ 1977727 h 2249189"/>
                  <a:gd name="connsiteX105" fmla="*/ 404813 w 1596224"/>
                  <a:gd name="connsiteY105" fmla="*/ 1992014 h 2249189"/>
                  <a:gd name="connsiteX106" fmla="*/ 385763 w 1596224"/>
                  <a:gd name="connsiteY106" fmla="*/ 2011064 h 2249189"/>
                  <a:gd name="connsiteX107" fmla="*/ 352425 w 1596224"/>
                  <a:gd name="connsiteY107" fmla="*/ 2053927 h 2249189"/>
                  <a:gd name="connsiteX108" fmla="*/ 314325 w 1596224"/>
                  <a:gd name="connsiteY108" fmla="*/ 2096789 h 2249189"/>
                  <a:gd name="connsiteX109" fmla="*/ 300038 w 1596224"/>
                  <a:gd name="connsiteY109" fmla="*/ 2115839 h 2249189"/>
                  <a:gd name="connsiteX110" fmla="*/ 276225 w 1596224"/>
                  <a:gd name="connsiteY110" fmla="*/ 2130127 h 2249189"/>
                  <a:gd name="connsiteX111" fmla="*/ 261938 w 1596224"/>
                  <a:gd name="connsiteY111" fmla="*/ 2144414 h 2249189"/>
                  <a:gd name="connsiteX112" fmla="*/ 252413 w 1596224"/>
                  <a:gd name="connsiteY112" fmla="*/ 2168227 h 2249189"/>
                  <a:gd name="connsiteX113" fmla="*/ 252413 w 1596224"/>
                  <a:gd name="connsiteY113" fmla="*/ 2234902 h 2249189"/>
                  <a:gd name="connsiteX114" fmla="*/ 280988 w 1596224"/>
                  <a:gd name="connsiteY114" fmla="*/ 2249189 h 2249189"/>
                  <a:gd name="connsiteX115" fmla="*/ 400050 w 1596224"/>
                  <a:gd name="connsiteY115" fmla="*/ 2244427 h 2249189"/>
                  <a:gd name="connsiteX116" fmla="*/ 423863 w 1596224"/>
                  <a:gd name="connsiteY116" fmla="*/ 2230139 h 2249189"/>
                  <a:gd name="connsiteX117" fmla="*/ 471488 w 1596224"/>
                  <a:gd name="connsiteY117" fmla="*/ 2187277 h 2249189"/>
                  <a:gd name="connsiteX118" fmla="*/ 509588 w 1596224"/>
                  <a:gd name="connsiteY118" fmla="*/ 2163464 h 2249189"/>
                  <a:gd name="connsiteX119" fmla="*/ 533400 w 1596224"/>
                  <a:gd name="connsiteY119" fmla="*/ 2144414 h 2249189"/>
                  <a:gd name="connsiteX120" fmla="*/ 581025 w 1596224"/>
                  <a:gd name="connsiteY120" fmla="*/ 2120602 h 2249189"/>
                  <a:gd name="connsiteX121" fmla="*/ 604838 w 1596224"/>
                  <a:gd name="connsiteY121" fmla="*/ 2106314 h 2249189"/>
                  <a:gd name="connsiteX122" fmla="*/ 642938 w 1596224"/>
                  <a:gd name="connsiteY122" fmla="*/ 2082502 h 2249189"/>
                  <a:gd name="connsiteX123" fmla="*/ 666750 w 1596224"/>
                  <a:gd name="connsiteY123" fmla="*/ 2072977 h 2249189"/>
                  <a:gd name="connsiteX124" fmla="*/ 685800 w 1596224"/>
                  <a:gd name="connsiteY124" fmla="*/ 2063452 h 2249189"/>
                  <a:gd name="connsiteX125" fmla="*/ 728663 w 1596224"/>
                  <a:gd name="connsiteY125" fmla="*/ 2049164 h 2249189"/>
                  <a:gd name="connsiteX126" fmla="*/ 747713 w 1596224"/>
                  <a:gd name="connsiteY126" fmla="*/ 2034877 h 2249189"/>
                  <a:gd name="connsiteX127" fmla="*/ 762000 w 1596224"/>
                  <a:gd name="connsiteY127" fmla="*/ 2025352 h 2249189"/>
                  <a:gd name="connsiteX128" fmla="*/ 776288 w 1596224"/>
                  <a:gd name="connsiteY128" fmla="*/ 2011064 h 2249189"/>
                  <a:gd name="connsiteX129" fmla="*/ 790575 w 1596224"/>
                  <a:gd name="connsiteY129" fmla="*/ 2006302 h 2249189"/>
                  <a:gd name="connsiteX130" fmla="*/ 833438 w 1596224"/>
                  <a:gd name="connsiteY130" fmla="*/ 1996777 h 2249189"/>
                  <a:gd name="connsiteX131" fmla="*/ 881063 w 1596224"/>
                  <a:gd name="connsiteY131" fmla="*/ 1972964 h 2249189"/>
                  <a:gd name="connsiteX132" fmla="*/ 904875 w 1596224"/>
                  <a:gd name="connsiteY132" fmla="*/ 1963439 h 2249189"/>
                  <a:gd name="connsiteX133" fmla="*/ 966788 w 1596224"/>
                  <a:gd name="connsiteY133" fmla="*/ 1911052 h 2249189"/>
                  <a:gd name="connsiteX134" fmla="*/ 981075 w 1596224"/>
                  <a:gd name="connsiteY134" fmla="*/ 1887239 h 2249189"/>
                  <a:gd name="connsiteX135" fmla="*/ 995363 w 1596224"/>
                  <a:gd name="connsiteY135" fmla="*/ 1872952 h 2249189"/>
                  <a:gd name="connsiteX136" fmla="*/ 1000125 w 1596224"/>
                  <a:gd name="connsiteY136" fmla="*/ 1858664 h 2249189"/>
                  <a:gd name="connsiteX137" fmla="*/ 1033463 w 1596224"/>
                  <a:gd name="connsiteY137" fmla="*/ 1834852 h 2249189"/>
                  <a:gd name="connsiteX138" fmla="*/ 1095375 w 1596224"/>
                  <a:gd name="connsiteY138" fmla="*/ 1801514 h 2249189"/>
                  <a:gd name="connsiteX139" fmla="*/ 1114425 w 1596224"/>
                  <a:gd name="connsiteY139" fmla="*/ 1791989 h 2249189"/>
                  <a:gd name="connsiteX140" fmla="*/ 1204913 w 1596224"/>
                  <a:gd name="connsiteY140" fmla="*/ 1790402 h 2249189"/>
                  <a:gd name="connsiteX141" fmla="*/ 1254125 w 1596224"/>
                  <a:gd name="connsiteY141" fmla="*/ 1731664 h 2249189"/>
                  <a:gd name="connsiteX142" fmla="*/ 1352550 w 1596224"/>
                  <a:gd name="connsiteY142" fmla="*/ 1596727 h 2249189"/>
                  <a:gd name="connsiteX143" fmla="*/ 1433513 w 1596224"/>
                  <a:gd name="connsiteY143" fmla="*/ 1434802 h 2249189"/>
                  <a:gd name="connsiteX144" fmla="*/ 1471613 w 1596224"/>
                  <a:gd name="connsiteY144" fmla="*/ 1334789 h 2249189"/>
                  <a:gd name="connsiteX145" fmla="*/ 1490663 w 1596224"/>
                  <a:gd name="connsiteY145" fmla="*/ 1282402 h 2249189"/>
                  <a:gd name="connsiteX146" fmla="*/ 1514475 w 1596224"/>
                  <a:gd name="connsiteY146" fmla="*/ 1210964 h 2249189"/>
                  <a:gd name="connsiteX147" fmla="*/ 1528763 w 1596224"/>
                  <a:gd name="connsiteY147" fmla="*/ 1149052 h 2249189"/>
                  <a:gd name="connsiteX148" fmla="*/ 1566863 w 1596224"/>
                  <a:gd name="connsiteY148" fmla="*/ 987127 h 2249189"/>
                  <a:gd name="connsiteX149" fmla="*/ 1590675 w 1596224"/>
                  <a:gd name="connsiteY149" fmla="*/ 868064 h 2249189"/>
                  <a:gd name="connsiteX150" fmla="*/ 1590675 w 1596224"/>
                  <a:gd name="connsiteY150" fmla="*/ 596602 h 2249189"/>
                  <a:gd name="connsiteX151" fmla="*/ 1581150 w 1596224"/>
                  <a:gd name="connsiteY151" fmla="*/ 525164 h 2249189"/>
                  <a:gd name="connsiteX152" fmla="*/ 1576388 w 1596224"/>
                  <a:gd name="connsiteY152" fmla="*/ 510877 h 2249189"/>
                  <a:gd name="connsiteX153" fmla="*/ 1408113 w 1596224"/>
                  <a:gd name="connsiteY153" fmla="*/ 1289 h 2249189"/>
                  <a:gd name="connsiteX0" fmla="*/ 1408113 w 1596224"/>
                  <a:gd name="connsiteY0" fmla="*/ 1289 h 2249189"/>
                  <a:gd name="connsiteX1" fmla="*/ 1381125 w 1596224"/>
                  <a:gd name="connsiteY1" fmla="*/ 25102 h 2249189"/>
                  <a:gd name="connsiteX2" fmla="*/ 1371600 w 1596224"/>
                  <a:gd name="connsiteY2" fmla="*/ 39389 h 2249189"/>
                  <a:gd name="connsiteX3" fmla="*/ 1347788 w 1596224"/>
                  <a:gd name="connsiteY3" fmla="*/ 58439 h 2249189"/>
                  <a:gd name="connsiteX4" fmla="*/ 1333500 w 1596224"/>
                  <a:gd name="connsiteY4" fmla="*/ 67964 h 2249189"/>
                  <a:gd name="connsiteX5" fmla="*/ 1304925 w 1596224"/>
                  <a:gd name="connsiteY5" fmla="*/ 72727 h 2249189"/>
                  <a:gd name="connsiteX6" fmla="*/ 1281113 w 1596224"/>
                  <a:gd name="connsiteY6" fmla="*/ 82252 h 2249189"/>
                  <a:gd name="connsiteX7" fmla="*/ 1195388 w 1596224"/>
                  <a:gd name="connsiteY7" fmla="*/ 63202 h 2249189"/>
                  <a:gd name="connsiteX8" fmla="*/ 1076325 w 1596224"/>
                  <a:gd name="connsiteY8" fmla="*/ 67964 h 2249189"/>
                  <a:gd name="connsiteX9" fmla="*/ 1052513 w 1596224"/>
                  <a:gd name="connsiteY9" fmla="*/ 96539 h 2249189"/>
                  <a:gd name="connsiteX10" fmla="*/ 1038225 w 1596224"/>
                  <a:gd name="connsiteY10" fmla="*/ 120352 h 2249189"/>
                  <a:gd name="connsiteX11" fmla="*/ 1023938 w 1596224"/>
                  <a:gd name="connsiteY11" fmla="*/ 139402 h 2249189"/>
                  <a:gd name="connsiteX12" fmla="*/ 1019175 w 1596224"/>
                  <a:gd name="connsiteY12" fmla="*/ 153689 h 2249189"/>
                  <a:gd name="connsiteX13" fmla="*/ 981075 w 1596224"/>
                  <a:gd name="connsiteY13" fmla="*/ 148927 h 2249189"/>
                  <a:gd name="connsiteX14" fmla="*/ 966788 w 1596224"/>
                  <a:gd name="connsiteY14" fmla="*/ 144164 h 2249189"/>
                  <a:gd name="connsiteX15" fmla="*/ 919163 w 1596224"/>
                  <a:gd name="connsiteY15" fmla="*/ 172739 h 2249189"/>
                  <a:gd name="connsiteX16" fmla="*/ 900113 w 1596224"/>
                  <a:gd name="connsiteY16" fmla="*/ 187027 h 2249189"/>
                  <a:gd name="connsiteX17" fmla="*/ 881063 w 1596224"/>
                  <a:gd name="connsiteY17" fmla="*/ 215602 h 2249189"/>
                  <a:gd name="connsiteX18" fmla="*/ 876300 w 1596224"/>
                  <a:gd name="connsiteY18" fmla="*/ 229889 h 2249189"/>
                  <a:gd name="connsiteX19" fmla="*/ 857250 w 1596224"/>
                  <a:gd name="connsiteY19" fmla="*/ 248939 h 2249189"/>
                  <a:gd name="connsiteX20" fmla="*/ 809625 w 1596224"/>
                  <a:gd name="connsiteY20" fmla="*/ 296564 h 2249189"/>
                  <a:gd name="connsiteX21" fmla="*/ 795338 w 1596224"/>
                  <a:gd name="connsiteY21" fmla="*/ 310852 h 2249189"/>
                  <a:gd name="connsiteX22" fmla="*/ 752475 w 1596224"/>
                  <a:gd name="connsiteY22" fmla="*/ 334664 h 2249189"/>
                  <a:gd name="connsiteX23" fmla="*/ 685800 w 1596224"/>
                  <a:gd name="connsiteY23" fmla="*/ 372764 h 2249189"/>
                  <a:gd name="connsiteX24" fmla="*/ 628650 w 1596224"/>
                  <a:gd name="connsiteY24" fmla="*/ 391814 h 2249189"/>
                  <a:gd name="connsiteX25" fmla="*/ 619125 w 1596224"/>
                  <a:gd name="connsiteY25" fmla="*/ 410864 h 2249189"/>
                  <a:gd name="connsiteX26" fmla="*/ 623888 w 1596224"/>
                  <a:gd name="connsiteY26" fmla="*/ 434677 h 2249189"/>
                  <a:gd name="connsiteX27" fmla="*/ 647700 w 1596224"/>
                  <a:gd name="connsiteY27" fmla="*/ 468014 h 2249189"/>
                  <a:gd name="connsiteX28" fmla="*/ 661988 w 1596224"/>
                  <a:gd name="connsiteY28" fmla="*/ 477539 h 2249189"/>
                  <a:gd name="connsiteX29" fmla="*/ 695325 w 1596224"/>
                  <a:gd name="connsiteY29" fmla="*/ 472777 h 2249189"/>
                  <a:gd name="connsiteX30" fmla="*/ 742950 w 1596224"/>
                  <a:gd name="connsiteY30" fmla="*/ 468014 h 2249189"/>
                  <a:gd name="connsiteX31" fmla="*/ 762000 w 1596224"/>
                  <a:gd name="connsiteY31" fmla="*/ 453727 h 2249189"/>
                  <a:gd name="connsiteX32" fmla="*/ 766763 w 1596224"/>
                  <a:gd name="connsiteY32" fmla="*/ 439439 h 2249189"/>
                  <a:gd name="connsiteX33" fmla="*/ 781050 w 1596224"/>
                  <a:gd name="connsiteY33" fmla="*/ 434677 h 2249189"/>
                  <a:gd name="connsiteX34" fmla="*/ 847725 w 1596224"/>
                  <a:gd name="connsiteY34" fmla="*/ 477539 h 2249189"/>
                  <a:gd name="connsiteX35" fmla="*/ 862013 w 1596224"/>
                  <a:gd name="connsiteY35" fmla="*/ 487064 h 2249189"/>
                  <a:gd name="connsiteX36" fmla="*/ 933450 w 1596224"/>
                  <a:gd name="connsiteY36" fmla="*/ 496589 h 2249189"/>
                  <a:gd name="connsiteX37" fmla="*/ 966788 w 1596224"/>
                  <a:gd name="connsiteY37" fmla="*/ 491827 h 2249189"/>
                  <a:gd name="connsiteX38" fmla="*/ 981075 w 1596224"/>
                  <a:gd name="connsiteY38" fmla="*/ 482302 h 2249189"/>
                  <a:gd name="connsiteX39" fmla="*/ 1004888 w 1596224"/>
                  <a:gd name="connsiteY39" fmla="*/ 472777 h 2249189"/>
                  <a:gd name="connsiteX40" fmla="*/ 1081088 w 1596224"/>
                  <a:gd name="connsiteY40" fmla="*/ 487064 h 2249189"/>
                  <a:gd name="connsiteX41" fmla="*/ 1100138 w 1596224"/>
                  <a:gd name="connsiteY41" fmla="*/ 506114 h 2249189"/>
                  <a:gd name="connsiteX42" fmla="*/ 1119188 w 1596224"/>
                  <a:gd name="connsiteY42" fmla="*/ 529927 h 2249189"/>
                  <a:gd name="connsiteX43" fmla="*/ 1133475 w 1596224"/>
                  <a:gd name="connsiteY43" fmla="*/ 568027 h 2249189"/>
                  <a:gd name="connsiteX44" fmla="*/ 1147763 w 1596224"/>
                  <a:gd name="connsiteY44" fmla="*/ 596602 h 2249189"/>
                  <a:gd name="connsiteX45" fmla="*/ 1162050 w 1596224"/>
                  <a:gd name="connsiteY45" fmla="*/ 625177 h 2249189"/>
                  <a:gd name="connsiteX46" fmla="*/ 1166813 w 1596224"/>
                  <a:gd name="connsiteY46" fmla="*/ 648989 h 2249189"/>
                  <a:gd name="connsiteX47" fmla="*/ 1176338 w 1596224"/>
                  <a:gd name="connsiteY47" fmla="*/ 729952 h 2249189"/>
                  <a:gd name="connsiteX48" fmla="*/ 1100138 w 1596224"/>
                  <a:gd name="connsiteY48" fmla="*/ 734714 h 2249189"/>
                  <a:gd name="connsiteX49" fmla="*/ 1085850 w 1596224"/>
                  <a:gd name="connsiteY49" fmla="*/ 725189 h 2249189"/>
                  <a:gd name="connsiteX50" fmla="*/ 1052513 w 1596224"/>
                  <a:gd name="connsiteY50" fmla="*/ 687089 h 2249189"/>
                  <a:gd name="connsiteX51" fmla="*/ 966788 w 1596224"/>
                  <a:gd name="connsiteY51" fmla="*/ 691852 h 2249189"/>
                  <a:gd name="connsiteX52" fmla="*/ 866775 w 1596224"/>
                  <a:gd name="connsiteY52" fmla="*/ 677564 h 2249189"/>
                  <a:gd name="connsiteX53" fmla="*/ 766763 w 1596224"/>
                  <a:gd name="connsiteY53" fmla="*/ 682327 h 2249189"/>
                  <a:gd name="connsiteX54" fmla="*/ 704850 w 1596224"/>
                  <a:gd name="connsiteY54" fmla="*/ 691852 h 2249189"/>
                  <a:gd name="connsiteX55" fmla="*/ 661988 w 1596224"/>
                  <a:gd name="connsiteY55" fmla="*/ 696614 h 2249189"/>
                  <a:gd name="connsiteX56" fmla="*/ 619125 w 1596224"/>
                  <a:gd name="connsiteY56" fmla="*/ 677564 h 2249189"/>
                  <a:gd name="connsiteX57" fmla="*/ 585788 w 1596224"/>
                  <a:gd name="connsiteY57" fmla="*/ 648989 h 2249189"/>
                  <a:gd name="connsiteX58" fmla="*/ 481013 w 1596224"/>
                  <a:gd name="connsiteY58" fmla="*/ 672802 h 2249189"/>
                  <a:gd name="connsiteX59" fmla="*/ 442913 w 1596224"/>
                  <a:gd name="connsiteY59" fmla="*/ 701377 h 2249189"/>
                  <a:gd name="connsiteX60" fmla="*/ 428625 w 1596224"/>
                  <a:gd name="connsiteY60" fmla="*/ 710902 h 2249189"/>
                  <a:gd name="connsiteX61" fmla="*/ 395288 w 1596224"/>
                  <a:gd name="connsiteY61" fmla="*/ 734714 h 2249189"/>
                  <a:gd name="connsiteX62" fmla="*/ 357188 w 1596224"/>
                  <a:gd name="connsiteY62" fmla="*/ 777577 h 2249189"/>
                  <a:gd name="connsiteX63" fmla="*/ 328613 w 1596224"/>
                  <a:gd name="connsiteY63" fmla="*/ 801389 h 2249189"/>
                  <a:gd name="connsiteX64" fmla="*/ 309563 w 1596224"/>
                  <a:gd name="connsiteY64" fmla="*/ 820439 h 2249189"/>
                  <a:gd name="connsiteX65" fmla="*/ 290513 w 1596224"/>
                  <a:gd name="connsiteY65" fmla="*/ 829964 h 2249189"/>
                  <a:gd name="connsiteX66" fmla="*/ 247650 w 1596224"/>
                  <a:gd name="connsiteY66" fmla="*/ 863302 h 2249189"/>
                  <a:gd name="connsiteX67" fmla="*/ 223838 w 1596224"/>
                  <a:gd name="connsiteY67" fmla="*/ 882352 h 2249189"/>
                  <a:gd name="connsiteX68" fmla="*/ 200025 w 1596224"/>
                  <a:gd name="connsiteY68" fmla="*/ 910927 h 2249189"/>
                  <a:gd name="connsiteX69" fmla="*/ 166688 w 1596224"/>
                  <a:gd name="connsiteY69" fmla="*/ 958552 h 2249189"/>
                  <a:gd name="connsiteX70" fmla="*/ 133350 w 1596224"/>
                  <a:gd name="connsiteY70" fmla="*/ 991889 h 2249189"/>
                  <a:gd name="connsiteX71" fmla="*/ 114300 w 1596224"/>
                  <a:gd name="connsiteY71" fmla="*/ 1025227 h 2249189"/>
                  <a:gd name="connsiteX72" fmla="*/ 85725 w 1596224"/>
                  <a:gd name="connsiteY72" fmla="*/ 1063327 h 2249189"/>
                  <a:gd name="connsiteX73" fmla="*/ 66675 w 1596224"/>
                  <a:gd name="connsiteY73" fmla="*/ 1082377 h 2249189"/>
                  <a:gd name="connsiteX74" fmla="*/ 57150 w 1596224"/>
                  <a:gd name="connsiteY74" fmla="*/ 1101427 h 2249189"/>
                  <a:gd name="connsiteX75" fmla="*/ 33338 w 1596224"/>
                  <a:gd name="connsiteY75" fmla="*/ 1139527 h 2249189"/>
                  <a:gd name="connsiteX76" fmla="*/ 23813 w 1596224"/>
                  <a:gd name="connsiteY76" fmla="*/ 1163339 h 2249189"/>
                  <a:gd name="connsiteX77" fmla="*/ 14288 w 1596224"/>
                  <a:gd name="connsiteY77" fmla="*/ 1182389 h 2249189"/>
                  <a:gd name="connsiteX78" fmla="*/ 9525 w 1596224"/>
                  <a:gd name="connsiteY78" fmla="*/ 1215727 h 2249189"/>
                  <a:gd name="connsiteX79" fmla="*/ 0 w 1596224"/>
                  <a:gd name="connsiteY79" fmla="*/ 1258589 h 2249189"/>
                  <a:gd name="connsiteX80" fmla="*/ 4763 w 1596224"/>
                  <a:gd name="connsiteY80" fmla="*/ 1320502 h 2249189"/>
                  <a:gd name="connsiteX81" fmla="*/ 33338 w 1596224"/>
                  <a:gd name="connsiteY81" fmla="*/ 1363364 h 2249189"/>
                  <a:gd name="connsiteX82" fmla="*/ 100013 w 1596224"/>
                  <a:gd name="connsiteY82" fmla="*/ 1410989 h 2249189"/>
                  <a:gd name="connsiteX83" fmla="*/ 157163 w 1596224"/>
                  <a:gd name="connsiteY83" fmla="*/ 1425277 h 2249189"/>
                  <a:gd name="connsiteX84" fmla="*/ 338138 w 1596224"/>
                  <a:gd name="connsiteY84" fmla="*/ 1420514 h 2249189"/>
                  <a:gd name="connsiteX85" fmla="*/ 361950 w 1596224"/>
                  <a:gd name="connsiteY85" fmla="*/ 1415752 h 2249189"/>
                  <a:gd name="connsiteX86" fmla="*/ 476250 w 1596224"/>
                  <a:gd name="connsiteY86" fmla="*/ 1425277 h 2249189"/>
                  <a:gd name="connsiteX87" fmla="*/ 495300 w 1596224"/>
                  <a:gd name="connsiteY87" fmla="*/ 1434802 h 2249189"/>
                  <a:gd name="connsiteX88" fmla="*/ 519113 w 1596224"/>
                  <a:gd name="connsiteY88" fmla="*/ 1491952 h 2249189"/>
                  <a:gd name="connsiteX89" fmla="*/ 528638 w 1596224"/>
                  <a:gd name="connsiteY89" fmla="*/ 1506239 h 2249189"/>
                  <a:gd name="connsiteX90" fmla="*/ 523875 w 1596224"/>
                  <a:gd name="connsiteY90" fmla="*/ 1606252 h 2249189"/>
                  <a:gd name="connsiteX91" fmla="*/ 514350 w 1596224"/>
                  <a:gd name="connsiteY91" fmla="*/ 1620539 h 2249189"/>
                  <a:gd name="connsiteX92" fmla="*/ 504825 w 1596224"/>
                  <a:gd name="connsiteY92" fmla="*/ 1653877 h 2249189"/>
                  <a:gd name="connsiteX93" fmla="*/ 533400 w 1596224"/>
                  <a:gd name="connsiteY93" fmla="*/ 1715789 h 2249189"/>
                  <a:gd name="connsiteX94" fmla="*/ 547688 w 1596224"/>
                  <a:gd name="connsiteY94" fmla="*/ 1725314 h 2249189"/>
                  <a:gd name="connsiteX95" fmla="*/ 566738 w 1596224"/>
                  <a:gd name="connsiteY95" fmla="*/ 1763414 h 2249189"/>
                  <a:gd name="connsiteX96" fmla="*/ 581025 w 1596224"/>
                  <a:gd name="connsiteY96" fmla="*/ 1806277 h 2249189"/>
                  <a:gd name="connsiteX97" fmla="*/ 557213 w 1596224"/>
                  <a:gd name="connsiteY97" fmla="*/ 1853902 h 2249189"/>
                  <a:gd name="connsiteX98" fmla="*/ 533400 w 1596224"/>
                  <a:gd name="connsiteY98" fmla="*/ 1858664 h 2249189"/>
                  <a:gd name="connsiteX99" fmla="*/ 490538 w 1596224"/>
                  <a:gd name="connsiteY99" fmla="*/ 1877714 h 2249189"/>
                  <a:gd name="connsiteX100" fmla="*/ 452438 w 1596224"/>
                  <a:gd name="connsiteY100" fmla="*/ 1892002 h 2249189"/>
                  <a:gd name="connsiteX101" fmla="*/ 447675 w 1596224"/>
                  <a:gd name="connsiteY101" fmla="*/ 1925339 h 2249189"/>
                  <a:gd name="connsiteX102" fmla="*/ 438150 w 1596224"/>
                  <a:gd name="connsiteY102" fmla="*/ 1939627 h 2249189"/>
                  <a:gd name="connsiteX103" fmla="*/ 428625 w 1596224"/>
                  <a:gd name="connsiteY103" fmla="*/ 1958677 h 2249189"/>
                  <a:gd name="connsiteX104" fmla="*/ 414338 w 1596224"/>
                  <a:gd name="connsiteY104" fmla="*/ 1977727 h 2249189"/>
                  <a:gd name="connsiteX105" fmla="*/ 404813 w 1596224"/>
                  <a:gd name="connsiteY105" fmla="*/ 1992014 h 2249189"/>
                  <a:gd name="connsiteX106" fmla="*/ 385763 w 1596224"/>
                  <a:gd name="connsiteY106" fmla="*/ 2011064 h 2249189"/>
                  <a:gd name="connsiteX107" fmla="*/ 352425 w 1596224"/>
                  <a:gd name="connsiteY107" fmla="*/ 2053927 h 2249189"/>
                  <a:gd name="connsiteX108" fmla="*/ 314325 w 1596224"/>
                  <a:gd name="connsiteY108" fmla="*/ 2096789 h 2249189"/>
                  <a:gd name="connsiteX109" fmla="*/ 300038 w 1596224"/>
                  <a:gd name="connsiteY109" fmla="*/ 2115839 h 2249189"/>
                  <a:gd name="connsiteX110" fmla="*/ 276225 w 1596224"/>
                  <a:gd name="connsiteY110" fmla="*/ 2130127 h 2249189"/>
                  <a:gd name="connsiteX111" fmla="*/ 261938 w 1596224"/>
                  <a:gd name="connsiteY111" fmla="*/ 2144414 h 2249189"/>
                  <a:gd name="connsiteX112" fmla="*/ 252413 w 1596224"/>
                  <a:gd name="connsiteY112" fmla="*/ 2168227 h 2249189"/>
                  <a:gd name="connsiteX113" fmla="*/ 252413 w 1596224"/>
                  <a:gd name="connsiteY113" fmla="*/ 2234902 h 2249189"/>
                  <a:gd name="connsiteX114" fmla="*/ 280988 w 1596224"/>
                  <a:gd name="connsiteY114" fmla="*/ 2249189 h 2249189"/>
                  <a:gd name="connsiteX115" fmla="*/ 400050 w 1596224"/>
                  <a:gd name="connsiteY115" fmla="*/ 2244427 h 2249189"/>
                  <a:gd name="connsiteX116" fmla="*/ 423863 w 1596224"/>
                  <a:gd name="connsiteY116" fmla="*/ 2230139 h 2249189"/>
                  <a:gd name="connsiteX117" fmla="*/ 471488 w 1596224"/>
                  <a:gd name="connsiteY117" fmla="*/ 2187277 h 2249189"/>
                  <a:gd name="connsiteX118" fmla="*/ 509588 w 1596224"/>
                  <a:gd name="connsiteY118" fmla="*/ 2163464 h 2249189"/>
                  <a:gd name="connsiteX119" fmla="*/ 533400 w 1596224"/>
                  <a:gd name="connsiteY119" fmla="*/ 2144414 h 2249189"/>
                  <a:gd name="connsiteX120" fmla="*/ 581025 w 1596224"/>
                  <a:gd name="connsiteY120" fmla="*/ 2120602 h 2249189"/>
                  <a:gd name="connsiteX121" fmla="*/ 604838 w 1596224"/>
                  <a:gd name="connsiteY121" fmla="*/ 2106314 h 2249189"/>
                  <a:gd name="connsiteX122" fmla="*/ 642938 w 1596224"/>
                  <a:gd name="connsiteY122" fmla="*/ 2082502 h 2249189"/>
                  <a:gd name="connsiteX123" fmla="*/ 666750 w 1596224"/>
                  <a:gd name="connsiteY123" fmla="*/ 2072977 h 2249189"/>
                  <a:gd name="connsiteX124" fmla="*/ 685800 w 1596224"/>
                  <a:gd name="connsiteY124" fmla="*/ 2063452 h 2249189"/>
                  <a:gd name="connsiteX125" fmla="*/ 728663 w 1596224"/>
                  <a:gd name="connsiteY125" fmla="*/ 2049164 h 2249189"/>
                  <a:gd name="connsiteX126" fmla="*/ 747713 w 1596224"/>
                  <a:gd name="connsiteY126" fmla="*/ 2034877 h 2249189"/>
                  <a:gd name="connsiteX127" fmla="*/ 762000 w 1596224"/>
                  <a:gd name="connsiteY127" fmla="*/ 2025352 h 2249189"/>
                  <a:gd name="connsiteX128" fmla="*/ 776288 w 1596224"/>
                  <a:gd name="connsiteY128" fmla="*/ 2011064 h 2249189"/>
                  <a:gd name="connsiteX129" fmla="*/ 790575 w 1596224"/>
                  <a:gd name="connsiteY129" fmla="*/ 2006302 h 2249189"/>
                  <a:gd name="connsiteX130" fmla="*/ 833438 w 1596224"/>
                  <a:gd name="connsiteY130" fmla="*/ 1996777 h 2249189"/>
                  <a:gd name="connsiteX131" fmla="*/ 881063 w 1596224"/>
                  <a:gd name="connsiteY131" fmla="*/ 1972964 h 2249189"/>
                  <a:gd name="connsiteX132" fmla="*/ 904875 w 1596224"/>
                  <a:gd name="connsiteY132" fmla="*/ 1963439 h 2249189"/>
                  <a:gd name="connsiteX133" fmla="*/ 966788 w 1596224"/>
                  <a:gd name="connsiteY133" fmla="*/ 1911052 h 2249189"/>
                  <a:gd name="connsiteX134" fmla="*/ 981075 w 1596224"/>
                  <a:gd name="connsiteY134" fmla="*/ 1887239 h 2249189"/>
                  <a:gd name="connsiteX135" fmla="*/ 995363 w 1596224"/>
                  <a:gd name="connsiteY135" fmla="*/ 1872952 h 2249189"/>
                  <a:gd name="connsiteX136" fmla="*/ 1000125 w 1596224"/>
                  <a:gd name="connsiteY136" fmla="*/ 1858664 h 2249189"/>
                  <a:gd name="connsiteX137" fmla="*/ 1033463 w 1596224"/>
                  <a:gd name="connsiteY137" fmla="*/ 1834852 h 2249189"/>
                  <a:gd name="connsiteX138" fmla="*/ 1095375 w 1596224"/>
                  <a:gd name="connsiteY138" fmla="*/ 1801514 h 2249189"/>
                  <a:gd name="connsiteX139" fmla="*/ 1114425 w 1596224"/>
                  <a:gd name="connsiteY139" fmla="*/ 1791989 h 2249189"/>
                  <a:gd name="connsiteX140" fmla="*/ 1204913 w 1596224"/>
                  <a:gd name="connsiteY140" fmla="*/ 1790402 h 2249189"/>
                  <a:gd name="connsiteX141" fmla="*/ 1254125 w 1596224"/>
                  <a:gd name="connsiteY141" fmla="*/ 1731664 h 2249189"/>
                  <a:gd name="connsiteX142" fmla="*/ 1352550 w 1596224"/>
                  <a:gd name="connsiteY142" fmla="*/ 1596727 h 2249189"/>
                  <a:gd name="connsiteX143" fmla="*/ 1433513 w 1596224"/>
                  <a:gd name="connsiteY143" fmla="*/ 1434802 h 2249189"/>
                  <a:gd name="connsiteX144" fmla="*/ 1471613 w 1596224"/>
                  <a:gd name="connsiteY144" fmla="*/ 1334789 h 2249189"/>
                  <a:gd name="connsiteX145" fmla="*/ 1490663 w 1596224"/>
                  <a:gd name="connsiteY145" fmla="*/ 1282402 h 2249189"/>
                  <a:gd name="connsiteX146" fmla="*/ 1514475 w 1596224"/>
                  <a:gd name="connsiteY146" fmla="*/ 1210964 h 2249189"/>
                  <a:gd name="connsiteX147" fmla="*/ 1528763 w 1596224"/>
                  <a:gd name="connsiteY147" fmla="*/ 1149052 h 2249189"/>
                  <a:gd name="connsiteX148" fmla="*/ 1566863 w 1596224"/>
                  <a:gd name="connsiteY148" fmla="*/ 987127 h 2249189"/>
                  <a:gd name="connsiteX149" fmla="*/ 1590675 w 1596224"/>
                  <a:gd name="connsiteY149" fmla="*/ 868064 h 2249189"/>
                  <a:gd name="connsiteX150" fmla="*/ 1590675 w 1596224"/>
                  <a:gd name="connsiteY150" fmla="*/ 596602 h 2249189"/>
                  <a:gd name="connsiteX151" fmla="*/ 1581150 w 1596224"/>
                  <a:gd name="connsiteY151" fmla="*/ 525164 h 2249189"/>
                  <a:gd name="connsiteX152" fmla="*/ 1576388 w 1596224"/>
                  <a:gd name="connsiteY152" fmla="*/ 510877 h 2249189"/>
                  <a:gd name="connsiteX153" fmla="*/ 1408113 w 1596224"/>
                  <a:gd name="connsiteY153" fmla="*/ 1289 h 2249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596224" h="2249189">
                    <a:moveTo>
                      <a:pt x="1408113" y="1289"/>
                    </a:moveTo>
                    <a:cubicBezTo>
                      <a:pt x="1401763" y="-5855"/>
                      <a:pt x="1387211" y="18752"/>
                      <a:pt x="1381125" y="25102"/>
                    </a:cubicBezTo>
                    <a:cubicBezTo>
                      <a:pt x="1375040" y="31452"/>
                      <a:pt x="1375647" y="35342"/>
                      <a:pt x="1371600" y="39389"/>
                    </a:cubicBezTo>
                    <a:cubicBezTo>
                      <a:pt x="1364412" y="46577"/>
                      <a:pt x="1355920" y="52340"/>
                      <a:pt x="1347788" y="58439"/>
                    </a:cubicBezTo>
                    <a:cubicBezTo>
                      <a:pt x="1343209" y="61873"/>
                      <a:pt x="1338930" y="66154"/>
                      <a:pt x="1333500" y="67964"/>
                    </a:cubicBezTo>
                    <a:cubicBezTo>
                      <a:pt x="1324339" y="71018"/>
                      <a:pt x="1314450" y="71139"/>
                      <a:pt x="1304925" y="72727"/>
                    </a:cubicBezTo>
                    <a:cubicBezTo>
                      <a:pt x="1296988" y="75902"/>
                      <a:pt x="1289632" y="81542"/>
                      <a:pt x="1281113" y="82252"/>
                    </a:cubicBezTo>
                    <a:cubicBezTo>
                      <a:pt x="1262420" y="83810"/>
                      <a:pt x="1206100" y="66123"/>
                      <a:pt x="1195388" y="63202"/>
                    </a:cubicBezTo>
                    <a:cubicBezTo>
                      <a:pt x="1155700" y="64789"/>
                      <a:pt x="1115005" y="58939"/>
                      <a:pt x="1076325" y="67964"/>
                    </a:cubicBezTo>
                    <a:cubicBezTo>
                      <a:pt x="1064251" y="70781"/>
                      <a:pt x="1059805" y="86512"/>
                      <a:pt x="1052513" y="96539"/>
                    </a:cubicBezTo>
                    <a:cubicBezTo>
                      <a:pt x="1047068" y="104025"/>
                      <a:pt x="1043360" y="112650"/>
                      <a:pt x="1038225" y="120352"/>
                    </a:cubicBezTo>
                    <a:cubicBezTo>
                      <a:pt x="1033822" y="126956"/>
                      <a:pt x="1028700" y="133052"/>
                      <a:pt x="1023938" y="139402"/>
                    </a:cubicBezTo>
                    <a:cubicBezTo>
                      <a:pt x="1022350" y="144164"/>
                      <a:pt x="1022725" y="150139"/>
                      <a:pt x="1019175" y="153689"/>
                    </a:cubicBezTo>
                    <a:cubicBezTo>
                      <a:pt x="1007332" y="165532"/>
                      <a:pt x="991574" y="152864"/>
                      <a:pt x="981075" y="148927"/>
                    </a:cubicBezTo>
                    <a:cubicBezTo>
                      <a:pt x="976375" y="147164"/>
                      <a:pt x="971550" y="145752"/>
                      <a:pt x="966788" y="144164"/>
                    </a:cubicBezTo>
                    <a:cubicBezTo>
                      <a:pt x="913596" y="166961"/>
                      <a:pt x="949610" y="146641"/>
                      <a:pt x="919163" y="172739"/>
                    </a:cubicBezTo>
                    <a:cubicBezTo>
                      <a:pt x="913136" y="177905"/>
                      <a:pt x="905386" y="181094"/>
                      <a:pt x="900113" y="187027"/>
                    </a:cubicBezTo>
                    <a:cubicBezTo>
                      <a:pt x="892508" y="195583"/>
                      <a:pt x="884684" y="204742"/>
                      <a:pt x="881063" y="215602"/>
                    </a:cubicBezTo>
                    <a:cubicBezTo>
                      <a:pt x="879475" y="220364"/>
                      <a:pt x="879218" y="225804"/>
                      <a:pt x="876300" y="229889"/>
                    </a:cubicBezTo>
                    <a:cubicBezTo>
                      <a:pt x="871080" y="237196"/>
                      <a:pt x="863216" y="242227"/>
                      <a:pt x="857250" y="248939"/>
                    </a:cubicBezTo>
                    <a:cubicBezTo>
                      <a:pt x="809245" y="302945"/>
                      <a:pt x="871879" y="241227"/>
                      <a:pt x="809625" y="296564"/>
                    </a:cubicBezTo>
                    <a:cubicBezTo>
                      <a:pt x="804591" y="301039"/>
                      <a:pt x="800942" y="307116"/>
                      <a:pt x="795338" y="310852"/>
                    </a:cubicBezTo>
                    <a:cubicBezTo>
                      <a:pt x="781739" y="319918"/>
                      <a:pt x="766490" y="326255"/>
                      <a:pt x="752475" y="334664"/>
                    </a:cubicBezTo>
                    <a:cubicBezTo>
                      <a:pt x="726345" y="350342"/>
                      <a:pt x="716453" y="362546"/>
                      <a:pt x="685800" y="372764"/>
                    </a:cubicBezTo>
                    <a:lnTo>
                      <a:pt x="628650" y="391814"/>
                    </a:lnTo>
                    <a:cubicBezTo>
                      <a:pt x="625475" y="398164"/>
                      <a:pt x="619909" y="403808"/>
                      <a:pt x="619125" y="410864"/>
                    </a:cubicBezTo>
                    <a:cubicBezTo>
                      <a:pt x="618231" y="418909"/>
                      <a:pt x="621328" y="426998"/>
                      <a:pt x="623888" y="434677"/>
                    </a:cubicBezTo>
                    <a:cubicBezTo>
                      <a:pt x="629073" y="450232"/>
                      <a:pt x="635367" y="457737"/>
                      <a:pt x="647700" y="468014"/>
                    </a:cubicBezTo>
                    <a:cubicBezTo>
                      <a:pt x="652097" y="471678"/>
                      <a:pt x="657225" y="474364"/>
                      <a:pt x="661988" y="477539"/>
                    </a:cubicBezTo>
                    <a:cubicBezTo>
                      <a:pt x="673100" y="475952"/>
                      <a:pt x="684177" y="474089"/>
                      <a:pt x="695325" y="472777"/>
                    </a:cubicBezTo>
                    <a:cubicBezTo>
                      <a:pt x="711170" y="470913"/>
                      <a:pt x="727610" y="472397"/>
                      <a:pt x="742950" y="468014"/>
                    </a:cubicBezTo>
                    <a:cubicBezTo>
                      <a:pt x="750582" y="465833"/>
                      <a:pt x="755650" y="458489"/>
                      <a:pt x="762000" y="453727"/>
                    </a:cubicBezTo>
                    <a:cubicBezTo>
                      <a:pt x="763588" y="448964"/>
                      <a:pt x="763213" y="442989"/>
                      <a:pt x="766763" y="439439"/>
                    </a:cubicBezTo>
                    <a:cubicBezTo>
                      <a:pt x="770313" y="435889"/>
                      <a:pt x="776150" y="433588"/>
                      <a:pt x="781050" y="434677"/>
                    </a:cubicBezTo>
                    <a:cubicBezTo>
                      <a:pt x="801707" y="439268"/>
                      <a:pt x="834076" y="467612"/>
                      <a:pt x="847725" y="477539"/>
                    </a:cubicBezTo>
                    <a:cubicBezTo>
                      <a:pt x="852354" y="480906"/>
                      <a:pt x="856530" y="485419"/>
                      <a:pt x="862013" y="487064"/>
                    </a:cubicBezTo>
                    <a:cubicBezTo>
                      <a:pt x="866715" y="488475"/>
                      <a:pt x="931307" y="496321"/>
                      <a:pt x="933450" y="496589"/>
                    </a:cubicBezTo>
                    <a:cubicBezTo>
                      <a:pt x="944563" y="495002"/>
                      <a:pt x="956036" y="495053"/>
                      <a:pt x="966788" y="491827"/>
                    </a:cubicBezTo>
                    <a:cubicBezTo>
                      <a:pt x="972270" y="490182"/>
                      <a:pt x="975956" y="484862"/>
                      <a:pt x="981075" y="482302"/>
                    </a:cubicBezTo>
                    <a:cubicBezTo>
                      <a:pt x="988722" y="478479"/>
                      <a:pt x="996950" y="475952"/>
                      <a:pt x="1004888" y="472777"/>
                    </a:cubicBezTo>
                    <a:cubicBezTo>
                      <a:pt x="1030288" y="477539"/>
                      <a:pt x="1056696" y="478527"/>
                      <a:pt x="1081088" y="487064"/>
                    </a:cubicBezTo>
                    <a:cubicBezTo>
                      <a:pt x="1089564" y="490031"/>
                      <a:pt x="1094172" y="499402"/>
                      <a:pt x="1100138" y="506114"/>
                    </a:cubicBezTo>
                    <a:cubicBezTo>
                      <a:pt x="1106891" y="513712"/>
                      <a:pt x="1113958" y="521211"/>
                      <a:pt x="1119188" y="529927"/>
                    </a:cubicBezTo>
                    <a:cubicBezTo>
                      <a:pt x="1130660" y="549048"/>
                      <a:pt x="1125961" y="551121"/>
                      <a:pt x="1133475" y="568027"/>
                    </a:cubicBezTo>
                    <a:cubicBezTo>
                      <a:pt x="1137800" y="577759"/>
                      <a:pt x="1143438" y="586871"/>
                      <a:pt x="1147763" y="596602"/>
                    </a:cubicBezTo>
                    <a:cubicBezTo>
                      <a:pt x="1160910" y="626182"/>
                      <a:pt x="1142244" y="595467"/>
                      <a:pt x="1162050" y="625177"/>
                    </a:cubicBezTo>
                    <a:cubicBezTo>
                      <a:pt x="1163638" y="633114"/>
                      <a:pt x="1163807" y="641473"/>
                      <a:pt x="1166813" y="648989"/>
                    </a:cubicBezTo>
                    <a:cubicBezTo>
                      <a:pt x="1175560" y="670858"/>
                      <a:pt x="1213618" y="701444"/>
                      <a:pt x="1176338" y="729952"/>
                    </a:cubicBezTo>
                    <a:cubicBezTo>
                      <a:pt x="1156122" y="745411"/>
                      <a:pt x="1125538" y="733127"/>
                      <a:pt x="1100138" y="734714"/>
                    </a:cubicBezTo>
                    <a:cubicBezTo>
                      <a:pt x="1095375" y="731539"/>
                      <a:pt x="1090247" y="728853"/>
                      <a:pt x="1085850" y="725189"/>
                    </a:cubicBezTo>
                    <a:cubicBezTo>
                      <a:pt x="1072965" y="714452"/>
                      <a:pt x="1062805" y="699955"/>
                      <a:pt x="1052513" y="687089"/>
                    </a:cubicBezTo>
                    <a:cubicBezTo>
                      <a:pt x="1023938" y="688677"/>
                      <a:pt x="995395" y="692669"/>
                      <a:pt x="966788" y="691852"/>
                    </a:cubicBezTo>
                    <a:cubicBezTo>
                      <a:pt x="914505" y="690358"/>
                      <a:pt x="903713" y="686799"/>
                      <a:pt x="866775" y="677564"/>
                    </a:cubicBezTo>
                    <a:cubicBezTo>
                      <a:pt x="833438" y="679152"/>
                      <a:pt x="800009" y="679393"/>
                      <a:pt x="766763" y="682327"/>
                    </a:cubicBezTo>
                    <a:cubicBezTo>
                      <a:pt x="745963" y="684162"/>
                      <a:pt x="725539" y="689031"/>
                      <a:pt x="704850" y="691852"/>
                    </a:cubicBezTo>
                    <a:cubicBezTo>
                      <a:pt x="690607" y="693794"/>
                      <a:pt x="676275" y="695027"/>
                      <a:pt x="661988" y="696614"/>
                    </a:cubicBezTo>
                    <a:cubicBezTo>
                      <a:pt x="647842" y="691899"/>
                      <a:pt x="630445" y="688884"/>
                      <a:pt x="619125" y="677564"/>
                    </a:cubicBezTo>
                    <a:cubicBezTo>
                      <a:pt x="588212" y="646651"/>
                      <a:pt x="622998" y="667594"/>
                      <a:pt x="585788" y="648989"/>
                    </a:cubicBezTo>
                    <a:cubicBezTo>
                      <a:pt x="550863" y="656927"/>
                      <a:pt x="515353" y="662627"/>
                      <a:pt x="481013" y="672802"/>
                    </a:cubicBezTo>
                    <a:cubicBezTo>
                      <a:pt x="459267" y="679245"/>
                      <a:pt x="458039" y="688772"/>
                      <a:pt x="442913" y="701377"/>
                    </a:cubicBezTo>
                    <a:cubicBezTo>
                      <a:pt x="438516" y="705041"/>
                      <a:pt x="432971" y="707177"/>
                      <a:pt x="428625" y="710902"/>
                    </a:cubicBezTo>
                    <a:cubicBezTo>
                      <a:pt x="399861" y="735556"/>
                      <a:pt x="421540" y="725964"/>
                      <a:pt x="395288" y="734714"/>
                    </a:cubicBezTo>
                    <a:cubicBezTo>
                      <a:pt x="382330" y="750263"/>
                      <a:pt x="372003" y="764408"/>
                      <a:pt x="357188" y="777577"/>
                    </a:cubicBezTo>
                    <a:cubicBezTo>
                      <a:pt x="347921" y="785814"/>
                      <a:pt x="337829" y="793095"/>
                      <a:pt x="328613" y="801389"/>
                    </a:cubicBezTo>
                    <a:cubicBezTo>
                      <a:pt x="321938" y="807396"/>
                      <a:pt x="316747" y="815051"/>
                      <a:pt x="309563" y="820439"/>
                    </a:cubicBezTo>
                    <a:cubicBezTo>
                      <a:pt x="303883" y="824699"/>
                      <a:pt x="296350" y="825923"/>
                      <a:pt x="290513" y="829964"/>
                    </a:cubicBezTo>
                    <a:cubicBezTo>
                      <a:pt x="275631" y="840267"/>
                      <a:pt x="261883" y="852119"/>
                      <a:pt x="247650" y="863302"/>
                    </a:cubicBezTo>
                    <a:cubicBezTo>
                      <a:pt x="239657" y="869582"/>
                      <a:pt x="229477" y="873894"/>
                      <a:pt x="223838" y="882352"/>
                    </a:cubicBezTo>
                    <a:cubicBezTo>
                      <a:pt x="189798" y="933411"/>
                      <a:pt x="242812" y="855915"/>
                      <a:pt x="200025" y="910927"/>
                    </a:cubicBezTo>
                    <a:cubicBezTo>
                      <a:pt x="187854" y="926575"/>
                      <a:pt x="180021" y="943886"/>
                      <a:pt x="166688" y="958552"/>
                    </a:cubicBezTo>
                    <a:cubicBezTo>
                      <a:pt x="156117" y="970180"/>
                      <a:pt x="143059" y="979532"/>
                      <a:pt x="133350" y="991889"/>
                    </a:cubicBezTo>
                    <a:cubicBezTo>
                      <a:pt x="125442" y="1001953"/>
                      <a:pt x="121400" y="1014578"/>
                      <a:pt x="114300" y="1025227"/>
                    </a:cubicBezTo>
                    <a:cubicBezTo>
                      <a:pt x="105494" y="1038436"/>
                      <a:pt x="95888" y="1051131"/>
                      <a:pt x="85725" y="1063327"/>
                    </a:cubicBezTo>
                    <a:cubicBezTo>
                      <a:pt x="79976" y="1070226"/>
                      <a:pt x="72063" y="1075193"/>
                      <a:pt x="66675" y="1082377"/>
                    </a:cubicBezTo>
                    <a:cubicBezTo>
                      <a:pt x="62415" y="1088057"/>
                      <a:pt x="60672" y="1095263"/>
                      <a:pt x="57150" y="1101427"/>
                    </a:cubicBezTo>
                    <a:cubicBezTo>
                      <a:pt x="42033" y="1127881"/>
                      <a:pt x="51309" y="1103585"/>
                      <a:pt x="33338" y="1139527"/>
                    </a:cubicBezTo>
                    <a:cubicBezTo>
                      <a:pt x="29515" y="1147173"/>
                      <a:pt x="27285" y="1155527"/>
                      <a:pt x="23813" y="1163339"/>
                    </a:cubicBezTo>
                    <a:cubicBezTo>
                      <a:pt x="20930" y="1169827"/>
                      <a:pt x="17463" y="1176039"/>
                      <a:pt x="14288" y="1182389"/>
                    </a:cubicBezTo>
                    <a:cubicBezTo>
                      <a:pt x="12700" y="1193502"/>
                      <a:pt x="11370" y="1204654"/>
                      <a:pt x="9525" y="1215727"/>
                    </a:cubicBezTo>
                    <a:cubicBezTo>
                      <a:pt x="6500" y="1233875"/>
                      <a:pt x="4284" y="1241456"/>
                      <a:pt x="0" y="1258589"/>
                    </a:cubicBezTo>
                    <a:cubicBezTo>
                      <a:pt x="1588" y="1279227"/>
                      <a:pt x="1166" y="1300118"/>
                      <a:pt x="4763" y="1320502"/>
                    </a:cubicBezTo>
                    <a:cubicBezTo>
                      <a:pt x="7023" y="1333306"/>
                      <a:pt x="26764" y="1355968"/>
                      <a:pt x="33338" y="1363364"/>
                    </a:cubicBezTo>
                    <a:cubicBezTo>
                      <a:pt x="49152" y="1381155"/>
                      <a:pt x="78346" y="1407377"/>
                      <a:pt x="100013" y="1410989"/>
                    </a:cubicBezTo>
                    <a:cubicBezTo>
                      <a:pt x="138492" y="1417403"/>
                      <a:pt x="119427" y="1412698"/>
                      <a:pt x="157163" y="1425277"/>
                    </a:cubicBezTo>
                    <a:cubicBezTo>
                      <a:pt x="217488" y="1423689"/>
                      <a:pt x="277857" y="1423318"/>
                      <a:pt x="338138" y="1420514"/>
                    </a:cubicBezTo>
                    <a:cubicBezTo>
                      <a:pt x="346224" y="1420138"/>
                      <a:pt x="353860" y="1415473"/>
                      <a:pt x="361950" y="1415752"/>
                    </a:cubicBezTo>
                    <a:cubicBezTo>
                      <a:pt x="400159" y="1417070"/>
                      <a:pt x="438150" y="1422102"/>
                      <a:pt x="476250" y="1425277"/>
                    </a:cubicBezTo>
                    <a:cubicBezTo>
                      <a:pt x="482600" y="1428452"/>
                      <a:pt x="490280" y="1429782"/>
                      <a:pt x="495300" y="1434802"/>
                    </a:cubicBezTo>
                    <a:cubicBezTo>
                      <a:pt x="512986" y="1452488"/>
                      <a:pt x="510227" y="1469736"/>
                      <a:pt x="519113" y="1491952"/>
                    </a:cubicBezTo>
                    <a:cubicBezTo>
                      <a:pt x="521239" y="1497266"/>
                      <a:pt x="525463" y="1501477"/>
                      <a:pt x="528638" y="1506239"/>
                    </a:cubicBezTo>
                    <a:cubicBezTo>
                      <a:pt x="534525" y="1553339"/>
                      <a:pt x="537736" y="1550809"/>
                      <a:pt x="523875" y="1606252"/>
                    </a:cubicBezTo>
                    <a:cubicBezTo>
                      <a:pt x="522487" y="1611805"/>
                      <a:pt x="517525" y="1615777"/>
                      <a:pt x="514350" y="1620539"/>
                    </a:cubicBezTo>
                    <a:cubicBezTo>
                      <a:pt x="512615" y="1625746"/>
                      <a:pt x="504161" y="1649893"/>
                      <a:pt x="504825" y="1653877"/>
                    </a:cubicBezTo>
                    <a:cubicBezTo>
                      <a:pt x="507044" y="1667190"/>
                      <a:pt x="522589" y="1703177"/>
                      <a:pt x="533400" y="1715789"/>
                    </a:cubicBezTo>
                    <a:cubicBezTo>
                      <a:pt x="537125" y="1720135"/>
                      <a:pt x="542925" y="1722139"/>
                      <a:pt x="547688" y="1725314"/>
                    </a:cubicBezTo>
                    <a:cubicBezTo>
                      <a:pt x="558426" y="1757532"/>
                      <a:pt x="544245" y="1718429"/>
                      <a:pt x="566738" y="1763414"/>
                    </a:cubicBezTo>
                    <a:cubicBezTo>
                      <a:pt x="575705" y="1781348"/>
                      <a:pt x="576478" y="1788087"/>
                      <a:pt x="581025" y="1806277"/>
                    </a:cubicBezTo>
                    <a:cubicBezTo>
                      <a:pt x="576653" y="1819393"/>
                      <a:pt x="571466" y="1844994"/>
                      <a:pt x="557213" y="1853902"/>
                    </a:cubicBezTo>
                    <a:cubicBezTo>
                      <a:pt x="550349" y="1858192"/>
                      <a:pt x="541338" y="1857077"/>
                      <a:pt x="533400" y="1858664"/>
                    </a:cubicBezTo>
                    <a:cubicBezTo>
                      <a:pt x="508821" y="1875051"/>
                      <a:pt x="527943" y="1864112"/>
                      <a:pt x="490538" y="1877714"/>
                    </a:cubicBezTo>
                    <a:cubicBezTo>
                      <a:pt x="427843" y="1900512"/>
                      <a:pt x="494930" y="1877836"/>
                      <a:pt x="452438" y="1892002"/>
                    </a:cubicBezTo>
                    <a:cubicBezTo>
                      <a:pt x="450850" y="1903114"/>
                      <a:pt x="450901" y="1914587"/>
                      <a:pt x="447675" y="1925339"/>
                    </a:cubicBezTo>
                    <a:cubicBezTo>
                      <a:pt x="446030" y="1930822"/>
                      <a:pt x="440990" y="1934657"/>
                      <a:pt x="438150" y="1939627"/>
                    </a:cubicBezTo>
                    <a:cubicBezTo>
                      <a:pt x="434628" y="1945791"/>
                      <a:pt x="432388" y="1952657"/>
                      <a:pt x="428625" y="1958677"/>
                    </a:cubicBezTo>
                    <a:cubicBezTo>
                      <a:pt x="424418" y="1965408"/>
                      <a:pt x="418952" y="1971268"/>
                      <a:pt x="414338" y="1977727"/>
                    </a:cubicBezTo>
                    <a:cubicBezTo>
                      <a:pt x="411011" y="1982385"/>
                      <a:pt x="408538" y="1987668"/>
                      <a:pt x="404813" y="1992014"/>
                    </a:cubicBezTo>
                    <a:cubicBezTo>
                      <a:pt x="398969" y="1998832"/>
                      <a:pt x="391564" y="2004209"/>
                      <a:pt x="385763" y="2011064"/>
                    </a:cubicBezTo>
                    <a:cubicBezTo>
                      <a:pt x="374071" y="2024882"/>
                      <a:pt x="365224" y="2041128"/>
                      <a:pt x="352425" y="2053927"/>
                    </a:cubicBezTo>
                    <a:cubicBezTo>
                      <a:pt x="332428" y="2073924"/>
                      <a:pt x="336822" y="2068668"/>
                      <a:pt x="314325" y="2096789"/>
                    </a:cubicBezTo>
                    <a:cubicBezTo>
                      <a:pt x="309367" y="2102987"/>
                      <a:pt x="306011" y="2110612"/>
                      <a:pt x="300038" y="2115839"/>
                    </a:cubicBezTo>
                    <a:cubicBezTo>
                      <a:pt x="293072" y="2121935"/>
                      <a:pt x="283630" y="2124573"/>
                      <a:pt x="276225" y="2130127"/>
                    </a:cubicBezTo>
                    <a:cubicBezTo>
                      <a:pt x="270837" y="2134168"/>
                      <a:pt x="266700" y="2139652"/>
                      <a:pt x="261938" y="2144414"/>
                    </a:cubicBezTo>
                    <a:cubicBezTo>
                      <a:pt x="258763" y="2152352"/>
                      <a:pt x="255117" y="2160117"/>
                      <a:pt x="252413" y="2168227"/>
                    </a:cubicBezTo>
                    <a:cubicBezTo>
                      <a:pt x="244933" y="2190666"/>
                      <a:pt x="244189" y="2210229"/>
                      <a:pt x="252413" y="2234902"/>
                    </a:cubicBezTo>
                    <a:cubicBezTo>
                      <a:pt x="254721" y="2241827"/>
                      <a:pt x="275440" y="2247340"/>
                      <a:pt x="280988" y="2249189"/>
                    </a:cubicBezTo>
                    <a:cubicBezTo>
                      <a:pt x="320675" y="2247602"/>
                      <a:pt x="360679" y="2249676"/>
                      <a:pt x="400050" y="2244427"/>
                    </a:cubicBezTo>
                    <a:cubicBezTo>
                      <a:pt x="409226" y="2243204"/>
                      <a:pt x="416161" y="2235274"/>
                      <a:pt x="423863" y="2230139"/>
                    </a:cubicBezTo>
                    <a:cubicBezTo>
                      <a:pt x="484286" y="2189858"/>
                      <a:pt x="385376" y="2251863"/>
                      <a:pt x="471488" y="2187277"/>
                    </a:cubicBezTo>
                    <a:cubicBezTo>
                      <a:pt x="554680" y="2124881"/>
                      <a:pt x="431148" y="2215758"/>
                      <a:pt x="509588" y="2163464"/>
                    </a:cubicBezTo>
                    <a:cubicBezTo>
                      <a:pt x="518046" y="2157826"/>
                      <a:pt x="524684" y="2149644"/>
                      <a:pt x="533400" y="2144414"/>
                    </a:cubicBezTo>
                    <a:cubicBezTo>
                      <a:pt x="548619" y="2135282"/>
                      <a:pt x="565806" y="2129734"/>
                      <a:pt x="581025" y="2120602"/>
                    </a:cubicBezTo>
                    <a:cubicBezTo>
                      <a:pt x="588963" y="2115839"/>
                      <a:pt x="596988" y="2111220"/>
                      <a:pt x="604838" y="2106314"/>
                    </a:cubicBezTo>
                    <a:cubicBezTo>
                      <a:pt x="619956" y="2096865"/>
                      <a:pt x="625329" y="2091306"/>
                      <a:pt x="642938" y="2082502"/>
                    </a:cubicBezTo>
                    <a:cubicBezTo>
                      <a:pt x="650584" y="2078679"/>
                      <a:pt x="658938" y="2076449"/>
                      <a:pt x="666750" y="2072977"/>
                    </a:cubicBezTo>
                    <a:cubicBezTo>
                      <a:pt x="673238" y="2070094"/>
                      <a:pt x="679174" y="2066001"/>
                      <a:pt x="685800" y="2063452"/>
                    </a:cubicBezTo>
                    <a:cubicBezTo>
                      <a:pt x="699857" y="2058046"/>
                      <a:pt x="728663" y="2049164"/>
                      <a:pt x="728663" y="2049164"/>
                    </a:cubicBezTo>
                    <a:cubicBezTo>
                      <a:pt x="735013" y="2044402"/>
                      <a:pt x="741254" y="2039491"/>
                      <a:pt x="747713" y="2034877"/>
                    </a:cubicBezTo>
                    <a:cubicBezTo>
                      <a:pt x="752371" y="2031550"/>
                      <a:pt x="757603" y="2029016"/>
                      <a:pt x="762000" y="2025352"/>
                    </a:cubicBezTo>
                    <a:cubicBezTo>
                      <a:pt x="767174" y="2021040"/>
                      <a:pt x="770684" y="2014800"/>
                      <a:pt x="776288" y="2011064"/>
                    </a:cubicBezTo>
                    <a:cubicBezTo>
                      <a:pt x="780465" y="2008279"/>
                      <a:pt x="785705" y="2007519"/>
                      <a:pt x="790575" y="2006302"/>
                    </a:cubicBezTo>
                    <a:cubicBezTo>
                      <a:pt x="804774" y="2002752"/>
                      <a:pt x="819239" y="2000327"/>
                      <a:pt x="833438" y="1996777"/>
                    </a:cubicBezTo>
                    <a:cubicBezTo>
                      <a:pt x="855277" y="1991317"/>
                      <a:pt x="855069" y="1985961"/>
                      <a:pt x="881063" y="1972964"/>
                    </a:cubicBezTo>
                    <a:cubicBezTo>
                      <a:pt x="888709" y="1969141"/>
                      <a:pt x="896938" y="1966614"/>
                      <a:pt x="904875" y="1963439"/>
                    </a:cubicBezTo>
                    <a:cubicBezTo>
                      <a:pt x="946308" y="1922007"/>
                      <a:pt x="925137" y="1938819"/>
                      <a:pt x="966788" y="1911052"/>
                    </a:cubicBezTo>
                    <a:cubicBezTo>
                      <a:pt x="971550" y="1903114"/>
                      <a:pt x="975521" y="1894644"/>
                      <a:pt x="981075" y="1887239"/>
                    </a:cubicBezTo>
                    <a:cubicBezTo>
                      <a:pt x="985116" y="1881851"/>
                      <a:pt x="991627" y="1878556"/>
                      <a:pt x="995363" y="1872952"/>
                    </a:cubicBezTo>
                    <a:cubicBezTo>
                      <a:pt x="998148" y="1868775"/>
                      <a:pt x="997340" y="1862841"/>
                      <a:pt x="1000125" y="1858664"/>
                    </a:cubicBezTo>
                    <a:cubicBezTo>
                      <a:pt x="1009778" y="1844185"/>
                      <a:pt x="1018567" y="1842300"/>
                      <a:pt x="1033463" y="1834852"/>
                    </a:cubicBezTo>
                    <a:cubicBezTo>
                      <a:pt x="1064084" y="1804229"/>
                      <a:pt x="1030722" y="1833840"/>
                      <a:pt x="1095375" y="1801514"/>
                    </a:cubicBezTo>
                    <a:cubicBezTo>
                      <a:pt x="1101725" y="1798339"/>
                      <a:pt x="1096169" y="1793841"/>
                      <a:pt x="1114425" y="1791989"/>
                    </a:cubicBezTo>
                    <a:cubicBezTo>
                      <a:pt x="1132681" y="1790137"/>
                      <a:pt x="1171575" y="1791989"/>
                      <a:pt x="1204913" y="1790402"/>
                    </a:cubicBezTo>
                    <a:cubicBezTo>
                      <a:pt x="1245742" y="1729159"/>
                      <a:pt x="1229519" y="1763943"/>
                      <a:pt x="1254125" y="1731664"/>
                    </a:cubicBezTo>
                    <a:cubicBezTo>
                      <a:pt x="1278731" y="1699385"/>
                      <a:pt x="1322652" y="1646204"/>
                      <a:pt x="1352550" y="1596727"/>
                    </a:cubicBezTo>
                    <a:cubicBezTo>
                      <a:pt x="1382448" y="1547250"/>
                      <a:pt x="1415257" y="1472902"/>
                      <a:pt x="1433513" y="1434802"/>
                    </a:cubicBezTo>
                    <a:cubicBezTo>
                      <a:pt x="1453357" y="1391146"/>
                      <a:pt x="1462088" y="1360189"/>
                      <a:pt x="1471613" y="1334789"/>
                    </a:cubicBezTo>
                    <a:cubicBezTo>
                      <a:pt x="1481138" y="1309389"/>
                      <a:pt x="1485107" y="1300658"/>
                      <a:pt x="1490663" y="1282402"/>
                    </a:cubicBezTo>
                    <a:cubicBezTo>
                      <a:pt x="1497807" y="1261765"/>
                      <a:pt x="1508125" y="1233189"/>
                      <a:pt x="1514475" y="1210964"/>
                    </a:cubicBezTo>
                    <a:cubicBezTo>
                      <a:pt x="1525533" y="1133568"/>
                      <a:pt x="1520032" y="1186358"/>
                      <a:pt x="1528763" y="1149052"/>
                    </a:cubicBezTo>
                    <a:cubicBezTo>
                      <a:pt x="1537494" y="1111746"/>
                      <a:pt x="1556544" y="1033958"/>
                      <a:pt x="1566863" y="987127"/>
                    </a:cubicBezTo>
                    <a:cubicBezTo>
                      <a:pt x="1577182" y="940296"/>
                      <a:pt x="1586706" y="933151"/>
                      <a:pt x="1590675" y="868064"/>
                    </a:cubicBezTo>
                    <a:cubicBezTo>
                      <a:pt x="1591272" y="781636"/>
                      <a:pt x="1602858" y="815898"/>
                      <a:pt x="1590675" y="596602"/>
                    </a:cubicBezTo>
                    <a:cubicBezTo>
                      <a:pt x="1589399" y="573637"/>
                      <a:pt x="1586865" y="548023"/>
                      <a:pt x="1581150" y="525164"/>
                    </a:cubicBezTo>
                    <a:cubicBezTo>
                      <a:pt x="1579932" y="520294"/>
                      <a:pt x="1582456" y="602628"/>
                      <a:pt x="1576388" y="510877"/>
                    </a:cubicBezTo>
                    <a:cubicBezTo>
                      <a:pt x="1569774" y="410865"/>
                      <a:pt x="1468438" y="171152"/>
                      <a:pt x="1408113" y="1289"/>
                    </a:cubicBezTo>
                    <a:close/>
                  </a:path>
                </a:pathLst>
              </a:custGeom>
              <a:solidFill>
                <a:srgbClr val="E1EBE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18"/>
                <a:endParaRPr lang="da-DK" sz="1400">
                  <a:solidFill>
                    <a:srgbClr val="FFFFFF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42" name="Freeform: Shape 40">
                <a:extLst>
                  <a:ext uri="{FF2B5EF4-FFF2-40B4-BE49-F238E27FC236}">
                    <a16:creationId xmlns:a16="http://schemas.microsoft.com/office/drawing/2014/main" id="{DF0B13AF-3770-9945-79BA-7CED78347636}"/>
                  </a:ext>
                </a:extLst>
              </p:cNvPr>
              <p:cNvSpPr/>
              <p:nvPr/>
            </p:nvSpPr>
            <p:spPr>
              <a:xfrm>
                <a:off x="3663419" y="2034541"/>
                <a:ext cx="3142643" cy="3131365"/>
              </a:xfrm>
              <a:custGeom>
                <a:avLst/>
                <a:gdLst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594477 w 3147279"/>
                  <a:gd name="connsiteY78" fmla="*/ 2948940 h 3147060"/>
                  <a:gd name="connsiteX79" fmla="*/ 525897 w 3147279"/>
                  <a:gd name="connsiteY79" fmla="*/ 2895600 h 3147060"/>
                  <a:gd name="connsiteX80" fmla="*/ 480177 w 3147279"/>
                  <a:gd name="connsiteY80" fmla="*/ 2819400 h 3147060"/>
                  <a:gd name="connsiteX81" fmla="*/ 449697 w 3147279"/>
                  <a:gd name="connsiteY81" fmla="*/ 2781300 h 3147060"/>
                  <a:gd name="connsiteX82" fmla="*/ 419217 w 3147279"/>
                  <a:gd name="connsiteY82" fmla="*/ 2735580 h 3147060"/>
                  <a:gd name="connsiteX83" fmla="*/ 403977 w 3147279"/>
                  <a:gd name="connsiteY83" fmla="*/ 2712720 h 3147060"/>
                  <a:gd name="connsiteX84" fmla="*/ 365877 w 3147279"/>
                  <a:gd name="connsiteY84" fmla="*/ 2613660 h 3147060"/>
                  <a:gd name="connsiteX85" fmla="*/ 343017 w 3147279"/>
                  <a:gd name="connsiteY85" fmla="*/ 2567940 h 3147060"/>
                  <a:gd name="connsiteX86" fmla="*/ 320157 w 3147279"/>
                  <a:gd name="connsiteY86" fmla="*/ 2484120 h 3147060"/>
                  <a:gd name="connsiteX87" fmla="*/ 297297 w 3147279"/>
                  <a:gd name="connsiteY87" fmla="*/ 2430780 h 3147060"/>
                  <a:gd name="connsiteX88" fmla="*/ 274437 w 3147279"/>
                  <a:gd name="connsiteY88" fmla="*/ 2377440 h 3147060"/>
                  <a:gd name="connsiteX89" fmla="*/ 228717 w 3147279"/>
                  <a:gd name="connsiteY89" fmla="*/ 2316480 h 3147060"/>
                  <a:gd name="connsiteX90" fmla="*/ 205857 w 3147279"/>
                  <a:gd name="connsiteY90" fmla="*/ 2293620 h 3147060"/>
                  <a:gd name="connsiteX91" fmla="*/ 175377 w 3147279"/>
                  <a:gd name="connsiteY91" fmla="*/ 2240280 h 3147060"/>
                  <a:gd name="connsiteX92" fmla="*/ 160137 w 3147279"/>
                  <a:gd name="connsiteY92" fmla="*/ 2202180 h 3147060"/>
                  <a:gd name="connsiteX93" fmla="*/ 144897 w 3147279"/>
                  <a:gd name="connsiteY93" fmla="*/ 2179320 h 3147060"/>
                  <a:gd name="connsiteX94" fmla="*/ 129657 w 3147279"/>
                  <a:gd name="connsiteY94" fmla="*/ 2133600 h 3147060"/>
                  <a:gd name="connsiteX95" fmla="*/ 99177 w 3147279"/>
                  <a:gd name="connsiteY95" fmla="*/ 2087880 h 3147060"/>
                  <a:gd name="connsiteX96" fmla="*/ 61077 w 3147279"/>
                  <a:gd name="connsiteY96" fmla="*/ 2026920 h 3147060"/>
                  <a:gd name="connsiteX97" fmla="*/ 53457 w 3147279"/>
                  <a:gd name="connsiteY97" fmla="*/ 2004060 h 3147060"/>
                  <a:gd name="connsiteX98" fmla="*/ 38217 w 3147279"/>
                  <a:gd name="connsiteY98" fmla="*/ 1943100 h 3147060"/>
                  <a:gd name="connsiteX99" fmla="*/ 22977 w 3147279"/>
                  <a:gd name="connsiteY99" fmla="*/ 1897380 h 3147060"/>
                  <a:gd name="connsiteX100" fmla="*/ 117 w 3147279"/>
                  <a:gd name="connsiteY100" fmla="*/ 1562100 h 3147060"/>
                  <a:gd name="connsiteX101" fmla="*/ 22977 w 3147279"/>
                  <a:gd name="connsiteY101" fmla="*/ 1135380 h 3147060"/>
                  <a:gd name="connsiteX102" fmla="*/ 38217 w 3147279"/>
                  <a:gd name="connsiteY102" fmla="*/ 1104900 h 3147060"/>
                  <a:gd name="connsiteX103" fmla="*/ 83937 w 3147279"/>
                  <a:gd name="connsiteY103" fmla="*/ 1021080 h 3147060"/>
                  <a:gd name="connsiteX104" fmla="*/ 129657 w 3147279"/>
                  <a:gd name="connsiteY104" fmla="*/ 914400 h 3147060"/>
                  <a:gd name="connsiteX105" fmla="*/ 160137 w 3147279"/>
                  <a:gd name="connsiteY105" fmla="*/ 861060 h 3147060"/>
                  <a:gd name="connsiteX106" fmla="*/ 182997 w 3147279"/>
                  <a:gd name="connsiteY106" fmla="*/ 822960 h 3147060"/>
                  <a:gd name="connsiteX107" fmla="*/ 205857 w 3147279"/>
                  <a:gd name="connsiteY107" fmla="*/ 800100 h 3147060"/>
                  <a:gd name="connsiteX108" fmla="*/ 259197 w 3147279"/>
                  <a:gd name="connsiteY108" fmla="*/ 708660 h 3147060"/>
                  <a:gd name="connsiteX109" fmla="*/ 274437 w 3147279"/>
                  <a:gd name="connsiteY109" fmla="*/ 662940 h 3147060"/>
                  <a:gd name="connsiteX110" fmla="*/ 327777 w 3147279"/>
                  <a:gd name="connsiteY110" fmla="*/ 586740 h 3147060"/>
                  <a:gd name="connsiteX111" fmla="*/ 419217 w 3147279"/>
                  <a:gd name="connsiteY111" fmla="*/ 510540 h 3147060"/>
                  <a:gd name="connsiteX112" fmla="*/ 449697 w 3147279"/>
                  <a:gd name="connsiteY112" fmla="*/ 472440 h 3147060"/>
                  <a:gd name="connsiteX113" fmla="*/ 510657 w 3147279"/>
                  <a:gd name="connsiteY113" fmla="*/ 434340 h 3147060"/>
                  <a:gd name="connsiteX114" fmla="*/ 563997 w 3147279"/>
                  <a:gd name="connsiteY114" fmla="*/ 396240 h 3147060"/>
                  <a:gd name="connsiteX115" fmla="*/ 655437 w 3147279"/>
                  <a:gd name="connsiteY115" fmla="*/ 335280 h 3147060"/>
                  <a:gd name="connsiteX116" fmla="*/ 731637 w 3147279"/>
                  <a:gd name="connsiteY116" fmla="*/ 297180 h 3147060"/>
                  <a:gd name="connsiteX117" fmla="*/ 815457 w 3147279"/>
                  <a:gd name="connsiteY117" fmla="*/ 236220 h 3147060"/>
                  <a:gd name="connsiteX118" fmla="*/ 830697 w 3147279"/>
                  <a:gd name="connsiteY118" fmla="*/ 213360 h 3147060"/>
                  <a:gd name="connsiteX119" fmla="*/ 861177 w 3147279"/>
                  <a:gd name="connsiteY119" fmla="*/ 205740 h 3147060"/>
                  <a:gd name="connsiteX120" fmla="*/ 952617 w 3147279"/>
                  <a:gd name="connsiteY120" fmla="*/ 152400 h 3147060"/>
                  <a:gd name="connsiteX121" fmla="*/ 983097 w 3147279"/>
                  <a:gd name="connsiteY121" fmla="*/ 129540 h 3147060"/>
                  <a:gd name="connsiteX122" fmla="*/ 1105017 w 3147279"/>
                  <a:gd name="connsiteY122" fmla="*/ 76200 h 3147060"/>
                  <a:gd name="connsiteX123" fmla="*/ 1127877 w 3147279"/>
                  <a:gd name="connsiteY123" fmla="*/ 68580 h 3147060"/>
                  <a:gd name="connsiteX124" fmla="*/ 1188837 w 3147279"/>
                  <a:gd name="connsiteY124" fmla="*/ 53340 h 3147060"/>
                  <a:gd name="connsiteX125" fmla="*/ 1242177 w 3147279"/>
                  <a:gd name="connsiteY125" fmla="*/ 38100 h 3147060"/>
                  <a:gd name="connsiteX126" fmla="*/ 1265037 w 3147279"/>
                  <a:gd name="connsiteY126" fmla="*/ 30480 h 3147060"/>
                  <a:gd name="connsiteX127" fmla="*/ 1386957 w 3147279"/>
                  <a:gd name="connsiteY127" fmla="*/ 15240 h 3147060"/>
                  <a:gd name="connsiteX128" fmla="*/ 1463157 w 3147279"/>
                  <a:gd name="connsiteY128" fmla="*/ 0 h 3147060"/>
                  <a:gd name="connsiteX129" fmla="*/ 1882257 w 3147279"/>
                  <a:gd name="connsiteY129" fmla="*/ 15240 h 3147060"/>
                  <a:gd name="connsiteX130" fmla="*/ 1912737 w 3147279"/>
                  <a:gd name="connsiteY130" fmla="*/ 22860 h 3147060"/>
                  <a:gd name="connsiteX131" fmla="*/ 2164197 w 3147279"/>
                  <a:gd name="connsiteY131" fmla="*/ 99060 h 3147060"/>
                  <a:gd name="connsiteX132" fmla="*/ 2339457 w 3147279"/>
                  <a:gd name="connsiteY132" fmla="*/ 182880 h 3147060"/>
                  <a:gd name="connsiteX133" fmla="*/ 2369937 w 3147279"/>
                  <a:gd name="connsiteY133" fmla="*/ 190500 h 3147060"/>
                  <a:gd name="connsiteX134" fmla="*/ 2392797 w 3147279"/>
                  <a:gd name="connsiteY134" fmla="*/ 205740 h 3147060"/>
                  <a:gd name="connsiteX135" fmla="*/ 2438517 w 3147279"/>
                  <a:gd name="connsiteY135" fmla="*/ 228600 h 3147060"/>
                  <a:gd name="connsiteX136" fmla="*/ 2446137 w 3147279"/>
                  <a:gd name="connsiteY136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525897 w 3147279"/>
                  <a:gd name="connsiteY78" fmla="*/ 2895600 h 3147060"/>
                  <a:gd name="connsiteX79" fmla="*/ 480177 w 3147279"/>
                  <a:gd name="connsiteY79" fmla="*/ 2819400 h 3147060"/>
                  <a:gd name="connsiteX80" fmla="*/ 449697 w 3147279"/>
                  <a:gd name="connsiteY80" fmla="*/ 2781300 h 3147060"/>
                  <a:gd name="connsiteX81" fmla="*/ 419217 w 3147279"/>
                  <a:gd name="connsiteY81" fmla="*/ 2735580 h 3147060"/>
                  <a:gd name="connsiteX82" fmla="*/ 403977 w 3147279"/>
                  <a:gd name="connsiteY82" fmla="*/ 2712720 h 3147060"/>
                  <a:gd name="connsiteX83" fmla="*/ 365877 w 3147279"/>
                  <a:gd name="connsiteY83" fmla="*/ 2613660 h 3147060"/>
                  <a:gd name="connsiteX84" fmla="*/ 343017 w 3147279"/>
                  <a:gd name="connsiteY84" fmla="*/ 2567940 h 3147060"/>
                  <a:gd name="connsiteX85" fmla="*/ 320157 w 3147279"/>
                  <a:gd name="connsiteY85" fmla="*/ 2484120 h 3147060"/>
                  <a:gd name="connsiteX86" fmla="*/ 297297 w 3147279"/>
                  <a:gd name="connsiteY86" fmla="*/ 2430780 h 3147060"/>
                  <a:gd name="connsiteX87" fmla="*/ 274437 w 3147279"/>
                  <a:gd name="connsiteY87" fmla="*/ 2377440 h 3147060"/>
                  <a:gd name="connsiteX88" fmla="*/ 228717 w 3147279"/>
                  <a:gd name="connsiteY88" fmla="*/ 2316480 h 3147060"/>
                  <a:gd name="connsiteX89" fmla="*/ 205857 w 3147279"/>
                  <a:gd name="connsiteY89" fmla="*/ 2293620 h 3147060"/>
                  <a:gd name="connsiteX90" fmla="*/ 175377 w 3147279"/>
                  <a:gd name="connsiteY90" fmla="*/ 2240280 h 3147060"/>
                  <a:gd name="connsiteX91" fmla="*/ 160137 w 3147279"/>
                  <a:gd name="connsiteY91" fmla="*/ 2202180 h 3147060"/>
                  <a:gd name="connsiteX92" fmla="*/ 144897 w 3147279"/>
                  <a:gd name="connsiteY92" fmla="*/ 2179320 h 3147060"/>
                  <a:gd name="connsiteX93" fmla="*/ 129657 w 3147279"/>
                  <a:gd name="connsiteY93" fmla="*/ 2133600 h 3147060"/>
                  <a:gd name="connsiteX94" fmla="*/ 99177 w 3147279"/>
                  <a:gd name="connsiteY94" fmla="*/ 2087880 h 3147060"/>
                  <a:gd name="connsiteX95" fmla="*/ 61077 w 3147279"/>
                  <a:gd name="connsiteY95" fmla="*/ 2026920 h 3147060"/>
                  <a:gd name="connsiteX96" fmla="*/ 53457 w 3147279"/>
                  <a:gd name="connsiteY96" fmla="*/ 2004060 h 3147060"/>
                  <a:gd name="connsiteX97" fmla="*/ 38217 w 3147279"/>
                  <a:gd name="connsiteY97" fmla="*/ 1943100 h 3147060"/>
                  <a:gd name="connsiteX98" fmla="*/ 22977 w 3147279"/>
                  <a:gd name="connsiteY98" fmla="*/ 1897380 h 3147060"/>
                  <a:gd name="connsiteX99" fmla="*/ 117 w 3147279"/>
                  <a:gd name="connsiteY99" fmla="*/ 1562100 h 3147060"/>
                  <a:gd name="connsiteX100" fmla="*/ 22977 w 3147279"/>
                  <a:gd name="connsiteY100" fmla="*/ 1135380 h 3147060"/>
                  <a:gd name="connsiteX101" fmla="*/ 38217 w 3147279"/>
                  <a:gd name="connsiteY101" fmla="*/ 1104900 h 3147060"/>
                  <a:gd name="connsiteX102" fmla="*/ 83937 w 3147279"/>
                  <a:gd name="connsiteY102" fmla="*/ 1021080 h 3147060"/>
                  <a:gd name="connsiteX103" fmla="*/ 129657 w 3147279"/>
                  <a:gd name="connsiteY103" fmla="*/ 914400 h 3147060"/>
                  <a:gd name="connsiteX104" fmla="*/ 160137 w 3147279"/>
                  <a:gd name="connsiteY104" fmla="*/ 861060 h 3147060"/>
                  <a:gd name="connsiteX105" fmla="*/ 182997 w 3147279"/>
                  <a:gd name="connsiteY105" fmla="*/ 822960 h 3147060"/>
                  <a:gd name="connsiteX106" fmla="*/ 205857 w 3147279"/>
                  <a:gd name="connsiteY106" fmla="*/ 800100 h 3147060"/>
                  <a:gd name="connsiteX107" fmla="*/ 259197 w 3147279"/>
                  <a:gd name="connsiteY107" fmla="*/ 708660 h 3147060"/>
                  <a:gd name="connsiteX108" fmla="*/ 274437 w 3147279"/>
                  <a:gd name="connsiteY108" fmla="*/ 662940 h 3147060"/>
                  <a:gd name="connsiteX109" fmla="*/ 327777 w 3147279"/>
                  <a:gd name="connsiteY109" fmla="*/ 586740 h 3147060"/>
                  <a:gd name="connsiteX110" fmla="*/ 419217 w 3147279"/>
                  <a:gd name="connsiteY110" fmla="*/ 510540 h 3147060"/>
                  <a:gd name="connsiteX111" fmla="*/ 449697 w 3147279"/>
                  <a:gd name="connsiteY111" fmla="*/ 472440 h 3147060"/>
                  <a:gd name="connsiteX112" fmla="*/ 510657 w 3147279"/>
                  <a:gd name="connsiteY112" fmla="*/ 434340 h 3147060"/>
                  <a:gd name="connsiteX113" fmla="*/ 563997 w 3147279"/>
                  <a:gd name="connsiteY113" fmla="*/ 396240 h 3147060"/>
                  <a:gd name="connsiteX114" fmla="*/ 655437 w 3147279"/>
                  <a:gd name="connsiteY114" fmla="*/ 335280 h 3147060"/>
                  <a:gd name="connsiteX115" fmla="*/ 731637 w 3147279"/>
                  <a:gd name="connsiteY115" fmla="*/ 297180 h 3147060"/>
                  <a:gd name="connsiteX116" fmla="*/ 815457 w 3147279"/>
                  <a:gd name="connsiteY116" fmla="*/ 236220 h 3147060"/>
                  <a:gd name="connsiteX117" fmla="*/ 830697 w 3147279"/>
                  <a:gd name="connsiteY117" fmla="*/ 213360 h 3147060"/>
                  <a:gd name="connsiteX118" fmla="*/ 861177 w 3147279"/>
                  <a:gd name="connsiteY118" fmla="*/ 205740 h 3147060"/>
                  <a:gd name="connsiteX119" fmla="*/ 952617 w 3147279"/>
                  <a:gd name="connsiteY119" fmla="*/ 152400 h 3147060"/>
                  <a:gd name="connsiteX120" fmla="*/ 983097 w 3147279"/>
                  <a:gd name="connsiteY120" fmla="*/ 129540 h 3147060"/>
                  <a:gd name="connsiteX121" fmla="*/ 1105017 w 3147279"/>
                  <a:gd name="connsiteY121" fmla="*/ 76200 h 3147060"/>
                  <a:gd name="connsiteX122" fmla="*/ 1127877 w 3147279"/>
                  <a:gd name="connsiteY122" fmla="*/ 68580 h 3147060"/>
                  <a:gd name="connsiteX123" fmla="*/ 1188837 w 3147279"/>
                  <a:gd name="connsiteY123" fmla="*/ 53340 h 3147060"/>
                  <a:gd name="connsiteX124" fmla="*/ 1242177 w 3147279"/>
                  <a:gd name="connsiteY124" fmla="*/ 38100 h 3147060"/>
                  <a:gd name="connsiteX125" fmla="*/ 1265037 w 3147279"/>
                  <a:gd name="connsiteY125" fmla="*/ 30480 h 3147060"/>
                  <a:gd name="connsiteX126" fmla="*/ 1386957 w 3147279"/>
                  <a:gd name="connsiteY126" fmla="*/ 15240 h 3147060"/>
                  <a:gd name="connsiteX127" fmla="*/ 1463157 w 3147279"/>
                  <a:gd name="connsiteY127" fmla="*/ 0 h 3147060"/>
                  <a:gd name="connsiteX128" fmla="*/ 1882257 w 3147279"/>
                  <a:gd name="connsiteY128" fmla="*/ 15240 h 3147060"/>
                  <a:gd name="connsiteX129" fmla="*/ 1912737 w 3147279"/>
                  <a:gd name="connsiteY129" fmla="*/ 22860 h 3147060"/>
                  <a:gd name="connsiteX130" fmla="*/ 2164197 w 3147279"/>
                  <a:gd name="connsiteY130" fmla="*/ 99060 h 3147060"/>
                  <a:gd name="connsiteX131" fmla="*/ 2339457 w 3147279"/>
                  <a:gd name="connsiteY131" fmla="*/ 182880 h 3147060"/>
                  <a:gd name="connsiteX132" fmla="*/ 2369937 w 3147279"/>
                  <a:gd name="connsiteY132" fmla="*/ 190500 h 3147060"/>
                  <a:gd name="connsiteX133" fmla="*/ 2392797 w 3147279"/>
                  <a:gd name="connsiteY133" fmla="*/ 205740 h 3147060"/>
                  <a:gd name="connsiteX134" fmla="*/ 2438517 w 3147279"/>
                  <a:gd name="connsiteY134" fmla="*/ 228600 h 3147060"/>
                  <a:gd name="connsiteX135" fmla="*/ 2446137 w 3147279"/>
                  <a:gd name="connsiteY135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80177 w 3147279"/>
                  <a:gd name="connsiteY78" fmla="*/ 2819400 h 3147060"/>
                  <a:gd name="connsiteX79" fmla="*/ 449697 w 3147279"/>
                  <a:gd name="connsiteY79" fmla="*/ 2781300 h 3147060"/>
                  <a:gd name="connsiteX80" fmla="*/ 419217 w 3147279"/>
                  <a:gd name="connsiteY80" fmla="*/ 2735580 h 3147060"/>
                  <a:gd name="connsiteX81" fmla="*/ 403977 w 3147279"/>
                  <a:gd name="connsiteY81" fmla="*/ 2712720 h 3147060"/>
                  <a:gd name="connsiteX82" fmla="*/ 365877 w 3147279"/>
                  <a:gd name="connsiteY82" fmla="*/ 2613660 h 3147060"/>
                  <a:gd name="connsiteX83" fmla="*/ 343017 w 3147279"/>
                  <a:gd name="connsiteY83" fmla="*/ 2567940 h 3147060"/>
                  <a:gd name="connsiteX84" fmla="*/ 320157 w 3147279"/>
                  <a:gd name="connsiteY84" fmla="*/ 2484120 h 3147060"/>
                  <a:gd name="connsiteX85" fmla="*/ 297297 w 3147279"/>
                  <a:gd name="connsiteY85" fmla="*/ 2430780 h 3147060"/>
                  <a:gd name="connsiteX86" fmla="*/ 274437 w 3147279"/>
                  <a:gd name="connsiteY86" fmla="*/ 2377440 h 3147060"/>
                  <a:gd name="connsiteX87" fmla="*/ 228717 w 3147279"/>
                  <a:gd name="connsiteY87" fmla="*/ 2316480 h 3147060"/>
                  <a:gd name="connsiteX88" fmla="*/ 205857 w 3147279"/>
                  <a:gd name="connsiteY88" fmla="*/ 2293620 h 3147060"/>
                  <a:gd name="connsiteX89" fmla="*/ 175377 w 3147279"/>
                  <a:gd name="connsiteY89" fmla="*/ 2240280 h 3147060"/>
                  <a:gd name="connsiteX90" fmla="*/ 160137 w 3147279"/>
                  <a:gd name="connsiteY90" fmla="*/ 2202180 h 3147060"/>
                  <a:gd name="connsiteX91" fmla="*/ 144897 w 3147279"/>
                  <a:gd name="connsiteY91" fmla="*/ 2179320 h 3147060"/>
                  <a:gd name="connsiteX92" fmla="*/ 129657 w 3147279"/>
                  <a:gd name="connsiteY92" fmla="*/ 2133600 h 3147060"/>
                  <a:gd name="connsiteX93" fmla="*/ 99177 w 3147279"/>
                  <a:gd name="connsiteY93" fmla="*/ 2087880 h 3147060"/>
                  <a:gd name="connsiteX94" fmla="*/ 61077 w 3147279"/>
                  <a:gd name="connsiteY94" fmla="*/ 2026920 h 3147060"/>
                  <a:gd name="connsiteX95" fmla="*/ 53457 w 3147279"/>
                  <a:gd name="connsiteY95" fmla="*/ 2004060 h 3147060"/>
                  <a:gd name="connsiteX96" fmla="*/ 38217 w 3147279"/>
                  <a:gd name="connsiteY96" fmla="*/ 1943100 h 3147060"/>
                  <a:gd name="connsiteX97" fmla="*/ 22977 w 3147279"/>
                  <a:gd name="connsiteY97" fmla="*/ 1897380 h 3147060"/>
                  <a:gd name="connsiteX98" fmla="*/ 117 w 3147279"/>
                  <a:gd name="connsiteY98" fmla="*/ 1562100 h 3147060"/>
                  <a:gd name="connsiteX99" fmla="*/ 22977 w 3147279"/>
                  <a:gd name="connsiteY99" fmla="*/ 1135380 h 3147060"/>
                  <a:gd name="connsiteX100" fmla="*/ 38217 w 3147279"/>
                  <a:gd name="connsiteY100" fmla="*/ 1104900 h 3147060"/>
                  <a:gd name="connsiteX101" fmla="*/ 83937 w 3147279"/>
                  <a:gd name="connsiteY101" fmla="*/ 1021080 h 3147060"/>
                  <a:gd name="connsiteX102" fmla="*/ 129657 w 3147279"/>
                  <a:gd name="connsiteY102" fmla="*/ 914400 h 3147060"/>
                  <a:gd name="connsiteX103" fmla="*/ 160137 w 3147279"/>
                  <a:gd name="connsiteY103" fmla="*/ 861060 h 3147060"/>
                  <a:gd name="connsiteX104" fmla="*/ 182997 w 3147279"/>
                  <a:gd name="connsiteY104" fmla="*/ 822960 h 3147060"/>
                  <a:gd name="connsiteX105" fmla="*/ 205857 w 3147279"/>
                  <a:gd name="connsiteY105" fmla="*/ 800100 h 3147060"/>
                  <a:gd name="connsiteX106" fmla="*/ 259197 w 3147279"/>
                  <a:gd name="connsiteY106" fmla="*/ 708660 h 3147060"/>
                  <a:gd name="connsiteX107" fmla="*/ 274437 w 3147279"/>
                  <a:gd name="connsiteY107" fmla="*/ 662940 h 3147060"/>
                  <a:gd name="connsiteX108" fmla="*/ 327777 w 3147279"/>
                  <a:gd name="connsiteY108" fmla="*/ 586740 h 3147060"/>
                  <a:gd name="connsiteX109" fmla="*/ 419217 w 3147279"/>
                  <a:gd name="connsiteY109" fmla="*/ 510540 h 3147060"/>
                  <a:gd name="connsiteX110" fmla="*/ 449697 w 3147279"/>
                  <a:gd name="connsiteY110" fmla="*/ 472440 h 3147060"/>
                  <a:gd name="connsiteX111" fmla="*/ 510657 w 3147279"/>
                  <a:gd name="connsiteY111" fmla="*/ 434340 h 3147060"/>
                  <a:gd name="connsiteX112" fmla="*/ 563997 w 3147279"/>
                  <a:gd name="connsiteY112" fmla="*/ 396240 h 3147060"/>
                  <a:gd name="connsiteX113" fmla="*/ 655437 w 3147279"/>
                  <a:gd name="connsiteY113" fmla="*/ 335280 h 3147060"/>
                  <a:gd name="connsiteX114" fmla="*/ 731637 w 3147279"/>
                  <a:gd name="connsiteY114" fmla="*/ 297180 h 3147060"/>
                  <a:gd name="connsiteX115" fmla="*/ 815457 w 3147279"/>
                  <a:gd name="connsiteY115" fmla="*/ 236220 h 3147060"/>
                  <a:gd name="connsiteX116" fmla="*/ 830697 w 3147279"/>
                  <a:gd name="connsiteY116" fmla="*/ 213360 h 3147060"/>
                  <a:gd name="connsiteX117" fmla="*/ 861177 w 3147279"/>
                  <a:gd name="connsiteY117" fmla="*/ 205740 h 3147060"/>
                  <a:gd name="connsiteX118" fmla="*/ 952617 w 3147279"/>
                  <a:gd name="connsiteY118" fmla="*/ 152400 h 3147060"/>
                  <a:gd name="connsiteX119" fmla="*/ 983097 w 3147279"/>
                  <a:gd name="connsiteY119" fmla="*/ 129540 h 3147060"/>
                  <a:gd name="connsiteX120" fmla="*/ 1105017 w 3147279"/>
                  <a:gd name="connsiteY120" fmla="*/ 76200 h 3147060"/>
                  <a:gd name="connsiteX121" fmla="*/ 1127877 w 3147279"/>
                  <a:gd name="connsiteY121" fmla="*/ 68580 h 3147060"/>
                  <a:gd name="connsiteX122" fmla="*/ 1188837 w 3147279"/>
                  <a:gd name="connsiteY122" fmla="*/ 53340 h 3147060"/>
                  <a:gd name="connsiteX123" fmla="*/ 1242177 w 3147279"/>
                  <a:gd name="connsiteY123" fmla="*/ 38100 h 3147060"/>
                  <a:gd name="connsiteX124" fmla="*/ 1265037 w 3147279"/>
                  <a:gd name="connsiteY124" fmla="*/ 30480 h 3147060"/>
                  <a:gd name="connsiteX125" fmla="*/ 1386957 w 3147279"/>
                  <a:gd name="connsiteY125" fmla="*/ 15240 h 3147060"/>
                  <a:gd name="connsiteX126" fmla="*/ 1463157 w 3147279"/>
                  <a:gd name="connsiteY126" fmla="*/ 0 h 3147060"/>
                  <a:gd name="connsiteX127" fmla="*/ 1882257 w 3147279"/>
                  <a:gd name="connsiteY127" fmla="*/ 15240 h 3147060"/>
                  <a:gd name="connsiteX128" fmla="*/ 1912737 w 3147279"/>
                  <a:gd name="connsiteY128" fmla="*/ 22860 h 3147060"/>
                  <a:gd name="connsiteX129" fmla="*/ 2164197 w 3147279"/>
                  <a:gd name="connsiteY129" fmla="*/ 99060 h 3147060"/>
                  <a:gd name="connsiteX130" fmla="*/ 2339457 w 3147279"/>
                  <a:gd name="connsiteY130" fmla="*/ 182880 h 3147060"/>
                  <a:gd name="connsiteX131" fmla="*/ 2369937 w 3147279"/>
                  <a:gd name="connsiteY131" fmla="*/ 190500 h 3147060"/>
                  <a:gd name="connsiteX132" fmla="*/ 2392797 w 3147279"/>
                  <a:gd name="connsiteY132" fmla="*/ 205740 h 3147060"/>
                  <a:gd name="connsiteX133" fmla="*/ 2438517 w 3147279"/>
                  <a:gd name="connsiteY133" fmla="*/ 228600 h 3147060"/>
                  <a:gd name="connsiteX134" fmla="*/ 2446137 w 3147279"/>
                  <a:gd name="connsiteY13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49697 w 3147279"/>
                  <a:gd name="connsiteY78" fmla="*/ 2781300 h 3147060"/>
                  <a:gd name="connsiteX79" fmla="*/ 419217 w 3147279"/>
                  <a:gd name="connsiteY79" fmla="*/ 2735580 h 3147060"/>
                  <a:gd name="connsiteX80" fmla="*/ 403977 w 3147279"/>
                  <a:gd name="connsiteY80" fmla="*/ 2712720 h 3147060"/>
                  <a:gd name="connsiteX81" fmla="*/ 365877 w 3147279"/>
                  <a:gd name="connsiteY81" fmla="*/ 2613660 h 3147060"/>
                  <a:gd name="connsiteX82" fmla="*/ 343017 w 3147279"/>
                  <a:gd name="connsiteY82" fmla="*/ 2567940 h 3147060"/>
                  <a:gd name="connsiteX83" fmla="*/ 320157 w 3147279"/>
                  <a:gd name="connsiteY83" fmla="*/ 2484120 h 3147060"/>
                  <a:gd name="connsiteX84" fmla="*/ 297297 w 3147279"/>
                  <a:gd name="connsiteY84" fmla="*/ 2430780 h 3147060"/>
                  <a:gd name="connsiteX85" fmla="*/ 274437 w 3147279"/>
                  <a:gd name="connsiteY85" fmla="*/ 2377440 h 3147060"/>
                  <a:gd name="connsiteX86" fmla="*/ 228717 w 3147279"/>
                  <a:gd name="connsiteY86" fmla="*/ 2316480 h 3147060"/>
                  <a:gd name="connsiteX87" fmla="*/ 205857 w 3147279"/>
                  <a:gd name="connsiteY87" fmla="*/ 2293620 h 3147060"/>
                  <a:gd name="connsiteX88" fmla="*/ 175377 w 3147279"/>
                  <a:gd name="connsiteY88" fmla="*/ 2240280 h 3147060"/>
                  <a:gd name="connsiteX89" fmla="*/ 160137 w 3147279"/>
                  <a:gd name="connsiteY89" fmla="*/ 2202180 h 3147060"/>
                  <a:gd name="connsiteX90" fmla="*/ 144897 w 3147279"/>
                  <a:gd name="connsiteY90" fmla="*/ 2179320 h 3147060"/>
                  <a:gd name="connsiteX91" fmla="*/ 129657 w 3147279"/>
                  <a:gd name="connsiteY91" fmla="*/ 2133600 h 3147060"/>
                  <a:gd name="connsiteX92" fmla="*/ 99177 w 3147279"/>
                  <a:gd name="connsiteY92" fmla="*/ 2087880 h 3147060"/>
                  <a:gd name="connsiteX93" fmla="*/ 61077 w 3147279"/>
                  <a:gd name="connsiteY93" fmla="*/ 2026920 h 3147060"/>
                  <a:gd name="connsiteX94" fmla="*/ 53457 w 3147279"/>
                  <a:gd name="connsiteY94" fmla="*/ 2004060 h 3147060"/>
                  <a:gd name="connsiteX95" fmla="*/ 38217 w 3147279"/>
                  <a:gd name="connsiteY95" fmla="*/ 1943100 h 3147060"/>
                  <a:gd name="connsiteX96" fmla="*/ 22977 w 3147279"/>
                  <a:gd name="connsiteY96" fmla="*/ 1897380 h 3147060"/>
                  <a:gd name="connsiteX97" fmla="*/ 117 w 3147279"/>
                  <a:gd name="connsiteY97" fmla="*/ 1562100 h 3147060"/>
                  <a:gd name="connsiteX98" fmla="*/ 22977 w 3147279"/>
                  <a:gd name="connsiteY98" fmla="*/ 1135380 h 3147060"/>
                  <a:gd name="connsiteX99" fmla="*/ 38217 w 3147279"/>
                  <a:gd name="connsiteY99" fmla="*/ 1104900 h 3147060"/>
                  <a:gd name="connsiteX100" fmla="*/ 83937 w 3147279"/>
                  <a:gd name="connsiteY100" fmla="*/ 1021080 h 3147060"/>
                  <a:gd name="connsiteX101" fmla="*/ 129657 w 3147279"/>
                  <a:gd name="connsiteY101" fmla="*/ 914400 h 3147060"/>
                  <a:gd name="connsiteX102" fmla="*/ 160137 w 3147279"/>
                  <a:gd name="connsiteY102" fmla="*/ 861060 h 3147060"/>
                  <a:gd name="connsiteX103" fmla="*/ 182997 w 3147279"/>
                  <a:gd name="connsiteY103" fmla="*/ 822960 h 3147060"/>
                  <a:gd name="connsiteX104" fmla="*/ 205857 w 3147279"/>
                  <a:gd name="connsiteY104" fmla="*/ 800100 h 3147060"/>
                  <a:gd name="connsiteX105" fmla="*/ 259197 w 3147279"/>
                  <a:gd name="connsiteY105" fmla="*/ 708660 h 3147060"/>
                  <a:gd name="connsiteX106" fmla="*/ 274437 w 3147279"/>
                  <a:gd name="connsiteY106" fmla="*/ 662940 h 3147060"/>
                  <a:gd name="connsiteX107" fmla="*/ 327777 w 3147279"/>
                  <a:gd name="connsiteY107" fmla="*/ 586740 h 3147060"/>
                  <a:gd name="connsiteX108" fmla="*/ 419217 w 3147279"/>
                  <a:gd name="connsiteY108" fmla="*/ 510540 h 3147060"/>
                  <a:gd name="connsiteX109" fmla="*/ 449697 w 3147279"/>
                  <a:gd name="connsiteY109" fmla="*/ 472440 h 3147060"/>
                  <a:gd name="connsiteX110" fmla="*/ 510657 w 3147279"/>
                  <a:gd name="connsiteY110" fmla="*/ 434340 h 3147060"/>
                  <a:gd name="connsiteX111" fmla="*/ 563997 w 3147279"/>
                  <a:gd name="connsiteY111" fmla="*/ 396240 h 3147060"/>
                  <a:gd name="connsiteX112" fmla="*/ 655437 w 3147279"/>
                  <a:gd name="connsiteY112" fmla="*/ 335280 h 3147060"/>
                  <a:gd name="connsiteX113" fmla="*/ 731637 w 3147279"/>
                  <a:gd name="connsiteY113" fmla="*/ 297180 h 3147060"/>
                  <a:gd name="connsiteX114" fmla="*/ 815457 w 3147279"/>
                  <a:gd name="connsiteY114" fmla="*/ 236220 h 3147060"/>
                  <a:gd name="connsiteX115" fmla="*/ 830697 w 3147279"/>
                  <a:gd name="connsiteY115" fmla="*/ 213360 h 3147060"/>
                  <a:gd name="connsiteX116" fmla="*/ 861177 w 3147279"/>
                  <a:gd name="connsiteY116" fmla="*/ 205740 h 3147060"/>
                  <a:gd name="connsiteX117" fmla="*/ 952617 w 3147279"/>
                  <a:gd name="connsiteY117" fmla="*/ 152400 h 3147060"/>
                  <a:gd name="connsiteX118" fmla="*/ 983097 w 3147279"/>
                  <a:gd name="connsiteY118" fmla="*/ 129540 h 3147060"/>
                  <a:gd name="connsiteX119" fmla="*/ 1105017 w 3147279"/>
                  <a:gd name="connsiteY119" fmla="*/ 76200 h 3147060"/>
                  <a:gd name="connsiteX120" fmla="*/ 1127877 w 3147279"/>
                  <a:gd name="connsiteY120" fmla="*/ 68580 h 3147060"/>
                  <a:gd name="connsiteX121" fmla="*/ 1188837 w 3147279"/>
                  <a:gd name="connsiteY121" fmla="*/ 53340 h 3147060"/>
                  <a:gd name="connsiteX122" fmla="*/ 1242177 w 3147279"/>
                  <a:gd name="connsiteY122" fmla="*/ 38100 h 3147060"/>
                  <a:gd name="connsiteX123" fmla="*/ 1265037 w 3147279"/>
                  <a:gd name="connsiteY123" fmla="*/ 30480 h 3147060"/>
                  <a:gd name="connsiteX124" fmla="*/ 1386957 w 3147279"/>
                  <a:gd name="connsiteY124" fmla="*/ 15240 h 3147060"/>
                  <a:gd name="connsiteX125" fmla="*/ 1463157 w 3147279"/>
                  <a:gd name="connsiteY125" fmla="*/ 0 h 3147060"/>
                  <a:gd name="connsiteX126" fmla="*/ 1882257 w 3147279"/>
                  <a:gd name="connsiteY126" fmla="*/ 15240 h 3147060"/>
                  <a:gd name="connsiteX127" fmla="*/ 1912737 w 3147279"/>
                  <a:gd name="connsiteY127" fmla="*/ 22860 h 3147060"/>
                  <a:gd name="connsiteX128" fmla="*/ 2164197 w 3147279"/>
                  <a:gd name="connsiteY128" fmla="*/ 99060 h 3147060"/>
                  <a:gd name="connsiteX129" fmla="*/ 2339457 w 3147279"/>
                  <a:gd name="connsiteY129" fmla="*/ 182880 h 3147060"/>
                  <a:gd name="connsiteX130" fmla="*/ 2369937 w 3147279"/>
                  <a:gd name="connsiteY130" fmla="*/ 190500 h 3147060"/>
                  <a:gd name="connsiteX131" fmla="*/ 2392797 w 3147279"/>
                  <a:gd name="connsiteY131" fmla="*/ 205740 h 3147060"/>
                  <a:gd name="connsiteX132" fmla="*/ 2438517 w 3147279"/>
                  <a:gd name="connsiteY132" fmla="*/ 228600 h 3147060"/>
                  <a:gd name="connsiteX133" fmla="*/ 2446137 w 3147279"/>
                  <a:gd name="connsiteY133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19217 w 3147279"/>
                  <a:gd name="connsiteY78" fmla="*/ 2735580 h 3147060"/>
                  <a:gd name="connsiteX79" fmla="*/ 403977 w 3147279"/>
                  <a:gd name="connsiteY79" fmla="*/ 2712720 h 3147060"/>
                  <a:gd name="connsiteX80" fmla="*/ 365877 w 3147279"/>
                  <a:gd name="connsiteY80" fmla="*/ 2613660 h 3147060"/>
                  <a:gd name="connsiteX81" fmla="*/ 343017 w 3147279"/>
                  <a:gd name="connsiteY81" fmla="*/ 2567940 h 3147060"/>
                  <a:gd name="connsiteX82" fmla="*/ 320157 w 3147279"/>
                  <a:gd name="connsiteY82" fmla="*/ 2484120 h 3147060"/>
                  <a:gd name="connsiteX83" fmla="*/ 297297 w 3147279"/>
                  <a:gd name="connsiteY83" fmla="*/ 2430780 h 3147060"/>
                  <a:gd name="connsiteX84" fmla="*/ 274437 w 3147279"/>
                  <a:gd name="connsiteY84" fmla="*/ 2377440 h 3147060"/>
                  <a:gd name="connsiteX85" fmla="*/ 228717 w 3147279"/>
                  <a:gd name="connsiteY85" fmla="*/ 2316480 h 3147060"/>
                  <a:gd name="connsiteX86" fmla="*/ 205857 w 3147279"/>
                  <a:gd name="connsiteY86" fmla="*/ 2293620 h 3147060"/>
                  <a:gd name="connsiteX87" fmla="*/ 175377 w 3147279"/>
                  <a:gd name="connsiteY87" fmla="*/ 2240280 h 3147060"/>
                  <a:gd name="connsiteX88" fmla="*/ 160137 w 3147279"/>
                  <a:gd name="connsiteY88" fmla="*/ 2202180 h 3147060"/>
                  <a:gd name="connsiteX89" fmla="*/ 144897 w 3147279"/>
                  <a:gd name="connsiteY89" fmla="*/ 2179320 h 3147060"/>
                  <a:gd name="connsiteX90" fmla="*/ 129657 w 3147279"/>
                  <a:gd name="connsiteY90" fmla="*/ 2133600 h 3147060"/>
                  <a:gd name="connsiteX91" fmla="*/ 99177 w 3147279"/>
                  <a:gd name="connsiteY91" fmla="*/ 2087880 h 3147060"/>
                  <a:gd name="connsiteX92" fmla="*/ 61077 w 3147279"/>
                  <a:gd name="connsiteY92" fmla="*/ 2026920 h 3147060"/>
                  <a:gd name="connsiteX93" fmla="*/ 53457 w 3147279"/>
                  <a:gd name="connsiteY93" fmla="*/ 2004060 h 3147060"/>
                  <a:gd name="connsiteX94" fmla="*/ 38217 w 3147279"/>
                  <a:gd name="connsiteY94" fmla="*/ 1943100 h 3147060"/>
                  <a:gd name="connsiteX95" fmla="*/ 22977 w 3147279"/>
                  <a:gd name="connsiteY95" fmla="*/ 1897380 h 3147060"/>
                  <a:gd name="connsiteX96" fmla="*/ 117 w 3147279"/>
                  <a:gd name="connsiteY96" fmla="*/ 1562100 h 3147060"/>
                  <a:gd name="connsiteX97" fmla="*/ 22977 w 3147279"/>
                  <a:gd name="connsiteY97" fmla="*/ 1135380 h 3147060"/>
                  <a:gd name="connsiteX98" fmla="*/ 38217 w 3147279"/>
                  <a:gd name="connsiteY98" fmla="*/ 1104900 h 3147060"/>
                  <a:gd name="connsiteX99" fmla="*/ 83937 w 3147279"/>
                  <a:gd name="connsiteY99" fmla="*/ 1021080 h 3147060"/>
                  <a:gd name="connsiteX100" fmla="*/ 129657 w 3147279"/>
                  <a:gd name="connsiteY100" fmla="*/ 914400 h 3147060"/>
                  <a:gd name="connsiteX101" fmla="*/ 160137 w 3147279"/>
                  <a:gd name="connsiteY101" fmla="*/ 861060 h 3147060"/>
                  <a:gd name="connsiteX102" fmla="*/ 182997 w 3147279"/>
                  <a:gd name="connsiteY102" fmla="*/ 822960 h 3147060"/>
                  <a:gd name="connsiteX103" fmla="*/ 205857 w 3147279"/>
                  <a:gd name="connsiteY103" fmla="*/ 800100 h 3147060"/>
                  <a:gd name="connsiteX104" fmla="*/ 259197 w 3147279"/>
                  <a:gd name="connsiteY104" fmla="*/ 708660 h 3147060"/>
                  <a:gd name="connsiteX105" fmla="*/ 274437 w 3147279"/>
                  <a:gd name="connsiteY105" fmla="*/ 662940 h 3147060"/>
                  <a:gd name="connsiteX106" fmla="*/ 327777 w 3147279"/>
                  <a:gd name="connsiteY106" fmla="*/ 586740 h 3147060"/>
                  <a:gd name="connsiteX107" fmla="*/ 419217 w 3147279"/>
                  <a:gd name="connsiteY107" fmla="*/ 510540 h 3147060"/>
                  <a:gd name="connsiteX108" fmla="*/ 449697 w 3147279"/>
                  <a:gd name="connsiteY108" fmla="*/ 472440 h 3147060"/>
                  <a:gd name="connsiteX109" fmla="*/ 510657 w 3147279"/>
                  <a:gd name="connsiteY109" fmla="*/ 434340 h 3147060"/>
                  <a:gd name="connsiteX110" fmla="*/ 563997 w 3147279"/>
                  <a:gd name="connsiteY110" fmla="*/ 396240 h 3147060"/>
                  <a:gd name="connsiteX111" fmla="*/ 655437 w 3147279"/>
                  <a:gd name="connsiteY111" fmla="*/ 335280 h 3147060"/>
                  <a:gd name="connsiteX112" fmla="*/ 731637 w 3147279"/>
                  <a:gd name="connsiteY112" fmla="*/ 297180 h 3147060"/>
                  <a:gd name="connsiteX113" fmla="*/ 815457 w 3147279"/>
                  <a:gd name="connsiteY113" fmla="*/ 236220 h 3147060"/>
                  <a:gd name="connsiteX114" fmla="*/ 830697 w 3147279"/>
                  <a:gd name="connsiteY114" fmla="*/ 213360 h 3147060"/>
                  <a:gd name="connsiteX115" fmla="*/ 861177 w 3147279"/>
                  <a:gd name="connsiteY115" fmla="*/ 205740 h 3147060"/>
                  <a:gd name="connsiteX116" fmla="*/ 952617 w 3147279"/>
                  <a:gd name="connsiteY116" fmla="*/ 152400 h 3147060"/>
                  <a:gd name="connsiteX117" fmla="*/ 983097 w 3147279"/>
                  <a:gd name="connsiteY117" fmla="*/ 129540 h 3147060"/>
                  <a:gd name="connsiteX118" fmla="*/ 1105017 w 3147279"/>
                  <a:gd name="connsiteY118" fmla="*/ 76200 h 3147060"/>
                  <a:gd name="connsiteX119" fmla="*/ 1127877 w 3147279"/>
                  <a:gd name="connsiteY119" fmla="*/ 68580 h 3147060"/>
                  <a:gd name="connsiteX120" fmla="*/ 1188837 w 3147279"/>
                  <a:gd name="connsiteY120" fmla="*/ 53340 h 3147060"/>
                  <a:gd name="connsiteX121" fmla="*/ 1242177 w 3147279"/>
                  <a:gd name="connsiteY121" fmla="*/ 38100 h 3147060"/>
                  <a:gd name="connsiteX122" fmla="*/ 1265037 w 3147279"/>
                  <a:gd name="connsiteY122" fmla="*/ 30480 h 3147060"/>
                  <a:gd name="connsiteX123" fmla="*/ 1386957 w 3147279"/>
                  <a:gd name="connsiteY123" fmla="*/ 15240 h 3147060"/>
                  <a:gd name="connsiteX124" fmla="*/ 1463157 w 3147279"/>
                  <a:gd name="connsiteY124" fmla="*/ 0 h 3147060"/>
                  <a:gd name="connsiteX125" fmla="*/ 1882257 w 3147279"/>
                  <a:gd name="connsiteY125" fmla="*/ 15240 h 3147060"/>
                  <a:gd name="connsiteX126" fmla="*/ 1912737 w 3147279"/>
                  <a:gd name="connsiteY126" fmla="*/ 22860 h 3147060"/>
                  <a:gd name="connsiteX127" fmla="*/ 2164197 w 3147279"/>
                  <a:gd name="connsiteY127" fmla="*/ 99060 h 3147060"/>
                  <a:gd name="connsiteX128" fmla="*/ 2339457 w 3147279"/>
                  <a:gd name="connsiteY128" fmla="*/ 182880 h 3147060"/>
                  <a:gd name="connsiteX129" fmla="*/ 2369937 w 3147279"/>
                  <a:gd name="connsiteY129" fmla="*/ 190500 h 3147060"/>
                  <a:gd name="connsiteX130" fmla="*/ 2392797 w 3147279"/>
                  <a:gd name="connsiteY130" fmla="*/ 205740 h 3147060"/>
                  <a:gd name="connsiteX131" fmla="*/ 2438517 w 3147279"/>
                  <a:gd name="connsiteY131" fmla="*/ 228600 h 3147060"/>
                  <a:gd name="connsiteX132" fmla="*/ 2446137 w 3147279"/>
                  <a:gd name="connsiteY132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19217 w 3147279"/>
                  <a:gd name="connsiteY78" fmla="*/ 2735580 h 3147060"/>
                  <a:gd name="connsiteX79" fmla="*/ 365877 w 3147279"/>
                  <a:gd name="connsiteY79" fmla="*/ 2613660 h 3147060"/>
                  <a:gd name="connsiteX80" fmla="*/ 343017 w 3147279"/>
                  <a:gd name="connsiteY80" fmla="*/ 2567940 h 3147060"/>
                  <a:gd name="connsiteX81" fmla="*/ 320157 w 3147279"/>
                  <a:gd name="connsiteY81" fmla="*/ 2484120 h 3147060"/>
                  <a:gd name="connsiteX82" fmla="*/ 297297 w 3147279"/>
                  <a:gd name="connsiteY82" fmla="*/ 2430780 h 3147060"/>
                  <a:gd name="connsiteX83" fmla="*/ 274437 w 3147279"/>
                  <a:gd name="connsiteY83" fmla="*/ 2377440 h 3147060"/>
                  <a:gd name="connsiteX84" fmla="*/ 228717 w 3147279"/>
                  <a:gd name="connsiteY84" fmla="*/ 2316480 h 3147060"/>
                  <a:gd name="connsiteX85" fmla="*/ 205857 w 3147279"/>
                  <a:gd name="connsiteY85" fmla="*/ 2293620 h 3147060"/>
                  <a:gd name="connsiteX86" fmla="*/ 175377 w 3147279"/>
                  <a:gd name="connsiteY86" fmla="*/ 2240280 h 3147060"/>
                  <a:gd name="connsiteX87" fmla="*/ 160137 w 3147279"/>
                  <a:gd name="connsiteY87" fmla="*/ 2202180 h 3147060"/>
                  <a:gd name="connsiteX88" fmla="*/ 144897 w 3147279"/>
                  <a:gd name="connsiteY88" fmla="*/ 2179320 h 3147060"/>
                  <a:gd name="connsiteX89" fmla="*/ 129657 w 3147279"/>
                  <a:gd name="connsiteY89" fmla="*/ 2133600 h 3147060"/>
                  <a:gd name="connsiteX90" fmla="*/ 99177 w 3147279"/>
                  <a:gd name="connsiteY90" fmla="*/ 2087880 h 3147060"/>
                  <a:gd name="connsiteX91" fmla="*/ 61077 w 3147279"/>
                  <a:gd name="connsiteY91" fmla="*/ 2026920 h 3147060"/>
                  <a:gd name="connsiteX92" fmla="*/ 53457 w 3147279"/>
                  <a:gd name="connsiteY92" fmla="*/ 2004060 h 3147060"/>
                  <a:gd name="connsiteX93" fmla="*/ 38217 w 3147279"/>
                  <a:gd name="connsiteY93" fmla="*/ 1943100 h 3147060"/>
                  <a:gd name="connsiteX94" fmla="*/ 22977 w 3147279"/>
                  <a:gd name="connsiteY94" fmla="*/ 1897380 h 3147060"/>
                  <a:gd name="connsiteX95" fmla="*/ 117 w 3147279"/>
                  <a:gd name="connsiteY95" fmla="*/ 1562100 h 3147060"/>
                  <a:gd name="connsiteX96" fmla="*/ 22977 w 3147279"/>
                  <a:gd name="connsiteY96" fmla="*/ 1135380 h 3147060"/>
                  <a:gd name="connsiteX97" fmla="*/ 38217 w 3147279"/>
                  <a:gd name="connsiteY97" fmla="*/ 1104900 h 3147060"/>
                  <a:gd name="connsiteX98" fmla="*/ 83937 w 3147279"/>
                  <a:gd name="connsiteY98" fmla="*/ 1021080 h 3147060"/>
                  <a:gd name="connsiteX99" fmla="*/ 129657 w 3147279"/>
                  <a:gd name="connsiteY99" fmla="*/ 914400 h 3147060"/>
                  <a:gd name="connsiteX100" fmla="*/ 160137 w 3147279"/>
                  <a:gd name="connsiteY100" fmla="*/ 861060 h 3147060"/>
                  <a:gd name="connsiteX101" fmla="*/ 182997 w 3147279"/>
                  <a:gd name="connsiteY101" fmla="*/ 822960 h 3147060"/>
                  <a:gd name="connsiteX102" fmla="*/ 205857 w 3147279"/>
                  <a:gd name="connsiteY102" fmla="*/ 800100 h 3147060"/>
                  <a:gd name="connsiteX103" fmla="*/ 259197 w 3147279"/>
                  <a:gd name="connsiteY103" fmla="*/ 708660 h 3147060"/>
                  <a:gd name="connsiteX104" fmla="*/ 274437 w 3147279"/>
                  <a:gd name="connsiteY104" fmla="*/ 662940 h 3147060"/>
                  <a:gd name="connsiteX105" fmla="*/ 327777 w 3147279"/>
                  <a:gd name="connsiteY105" fmla="*/ 586740 h 3147060"/>
                  <a:gd name="connsiteX106" fmla="*/ 419217 w 3147279"/>
                  <a:gd name="connsiteY106" fmla="*/ 510540 h 3147060"/>
                  <a:gd name="connsiteX107" fmla="*/ 449697 w 3147279"/>
                  <a:gd name="connsiteY107" fmla="*/ 472440 h 3147060"/>
                  <a:gd name="connsiteX108" fmla="*/ 510657 w 3147279"/>
                  <a:gd name="connsiteY108" fmla="*/ 434340 h 3147060"/>
                  <a:gd name="connsiteX109" fmla="*/ 563997 w 3147279"/>
                  <a:gd name="connsiteY109" fmla="*/ 396240 h 3147060"/>
                  <a:gd name="connsiteX110" fmla="*/ 655437 w 3147279"/>
                  <a:gd name="connsiteY110" fmla="*/ 335280 h 3147060"/>
                  <a:gd name="connsiteX111" fmla="*/ 731637 w 3147279"/>
                  <a:gd name="connsiteY111" fmla="*/ 297180 h 3147060"/>
                  <a:gd name="connsiteX112" fmla="*/ 815457 w 3147279"/>
                  <a:gd name="connsiteY112" fmla="*/ 236220 h 3147060"/>
                  <a:gd name="connsiteX113" fmla="*/ 830697 w 3147279"/>
                  <a:gd name="connsiteY113" fmla="*/ 213360 h 3147060"/>
                  <a:gd name="connsiteX114" fmla="*/ 861177 w 3147279"/>
                  <a:gd name="connsiteY114" fmla="*/ 205740 h 3147060"/>
                  <a:gd name="connsiteX115" fmla="*/ 952617 w 3147279"/>
                  <a:gd name="connsiteY115" fmla="*/ 152400 h 3147060"/>
                  <a:gd name="connsiteX116" fmla="*/ 983097 w 3147279"/>
                  <a:gd name="connsiteY116" fmla="*/ 129540 h 3147060"/>
                  <a:gd name="connsiteX117" fmla="*/ 1105017 w 3147279"/>
                  <a:gd name="connsiteY117" fmla="*/ 76200 h 3147060"/>
                  <a:gd name="connsiteX118" fmla="*/ 1127877 w 3147279"/>
                  <a:gd name="connsiteY118" fmla="*/ 68580 h 3147060"/>
                  <a:gd name="connsiteX119" fmla="*/ 1188837 w 3147279"/>
                  <a:gd name="connsiteY119" fmla="*/ 53340 h 3147060"/>
                  <a:gd name="connsiteX120" fmla="*/ 1242177 w 3147279"/>
                  <a:gd name="connsiteY120" fmla="*/ 38100 h 3147060"/>
                  <a:gd name="connsiteX121" fmla="*/ 1265037 w 3147279"/>
                  <a:gd name="connsiteY121" fmla="*/ 30480 h 3147060"/>
                  <a:gd name="connsiteX122" fmla="*/ 1386957 w 3147279"/>
                  <a:gd name="connsiteY122" fmla="*/ 15240 h 3147060"/>
                  <a:gd name="connsiteX123" fmla="*/ 1463157 w 3147279"/>
                  <a:gd name="connsiteY123" fmla="*/ 0 h 3147060"/>
                  <a:gd name="connsiteX124" fmla="*/ 1882257 w 3147279"/>
                  <a:gd name="connsiteY124" fmla="*/ 15240 h 3147060"/>
                  <a:gd name="connsiteX125" fmla="*/ 1912737 w 3147279"/>
                  <a:gd name="connsiteY125" fmla="*/ 22860 h 3147060"/>
                  <a:gd name="connsiteX126" fmla="*/ 2164197 w 3147279"/>
                  <a:gd name="connsiteY126" fmla="*/ 99060 h 3147060"/>
                  <a:gd name="connsiteX127" fmla="*/ 2339457 w 3147279"/>
                  <a:gd name="connsiteY127" fmla="*/ 182880 h 3147060"/>
                  <a:gd name="connsiteX128" fmla="*/ 2369937 w 3147279"/>
                  <a:gd name="connsiteY128" fmla="*/ 190500 h 3147060"/>
                  <a:gd name="connsiteX129" fmla="*/ 2392797 w 3147279"/>
                  <a:gd name="connsiteY129" fmla="*/ 205740 h 3147060"/>
                  <a:gd name="connsiteX130" fmla="*/ 2438517 w 3147279"/>
                  <a:gd name="connsiteY130" fmla="*/ 228600 h 3147060"/>
                  <a:gd name="connsiteX131" fmla="*/ 2446137 w 3147279"/>
                  <a:gd name="connsiteY131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365877 w 3147279"/>
                  <a:gd name="connsiteY78" fmla="*/ 2613660 h 3147060"/>
                  <a:gd name="connsiteX79" fmla="*/ 343017 w 3147279"/>
                  <a:gd name="connsiteY79" fmla="*/ 2567940 h 3147060"/>
                  <a:gd name="connsiteX80" fmla="*/ 320157 w 3147279"/>
                  <a:gd name="connsiteY80" fmla="*/ 2484120 h 3147060"/>
                  <a:gd name="connsiteX81" fmla="*/ 297297 w 3147279"/>
                  <a:gd name="connsiteY81" fmla="*/ 2430780 h 3147060"/>
                  <a:gd name="connsiteX82" fmla="*/ 274437 w 3147279"/>
                  <a:gd name="connsiteY82" fmla="*/ 2377440 h 3147060"/>
                  <a:gd name="connsiteX83" fmla="*/ 228717 w 3147279"/>
                  <a:gd name="connsiteY83" fmla="*/ 2316480 h 3147060"/>
                  <a:gd name="connsiteX84" fmla="*/ 205857 w 3147279"/>
                  <a:gd name="connsiteY84" fmla="*/ 2293620 h 3147060"/>
                  <a:gd name="connsiteX85" fmla="*/ 175377 w 3147279"/>
                  <a:gd name="connsiteY85" fmla="*/ 2240280 h 3147060"/>
                  <a:gd name="connsiteX86" fmla="*/ 160137 w 3147279"/>
                  <a:gd name="connsiteY86" fmla="*/ 2202180 h 3147060"/>
                  <a:gd name="connsiteX87" fmla="*/ 144897 w 3147279"/>
                  <a:gd name="connsiteY87" fmla="*/ 2179320 h 3147060"/>
                  <a:gd name="connsiteX88" fmla="*/ 129657 w 3147279"/>
                  <a:gd name="connsiteY88" fmla="*/ 2133600 h 3147060"/>
                  <a:gd name="connsiteX89" fmla="*/ 99177 w 3147279"/>
                  <a:gd name="connsiteY89" fmla="*/ 2087880 h 3147060"/>
                  <a:gd name="connsiteX90" fmla="*/ 61077 w 3147279"/>
                  <a:gd name="connsiteY90" fmla="*/ 2026920 h 3147060"/>
                  <a:gd name="connsiteX91" fmla="*/ 53457 w 3147279"/>
                  <a:gd name="connsiteY91" fmla="*/ 2004060 h 3147060"/>
                  <a:gd name="connsiteX92" fmla="*/ 38217 w 3147279"/>
                  <a:gd name="connsiteY92" fmla="*/ 1943100 h 3147060"/>
                  <a:gd name="connsiteX93" fmla="*/ 22977 w 3147279"/>
                  <a:gd name="connsiteY93" fmla="*/ 1897380 h 3147060"/>
                  <a:gd name="connsiteX94" fmla="*/ 117 w 3147279"/>
                  <a:gd name="connsiteY94" fmla="*/ 1562100 h 3147060"/>
                  <a:gd name="connsiteX95" fmla="*/ 22977 w 3147279"/>
                  <a:gd name="connsiteY95" fmla="*/ 1135380 h 3147060"/>
                  <a:gd name="connsiteX96" fmla="*/ 38217 w 3147279"/>
                  <a:gd name="connsiteY96" fmla="*/ 1104900 h 3147060"/>
                  <a:gd name="connsiteX97" fmla="*/ 83937 w 3147279"/>
                  <a:gd name="connsiteY97" fmla="*/ 1021080 h 3147060"/>
                  <a:gd name="connsiteX98" fmla="*/ 129657 w 3147279"/>
                  <a:gd name="connsiteY98" fmla="*/ 914400 h 3147060"/>
                  <a:gd name="connsiteX99" fmla="*/ 160137 w 3147279"/>
                  <a:gd name="connsiteY99" fmla="*/ 861060 h 3147060"/>
                  <a:gd name="connsiteX100" fmla="*/ 182997 w 3147279"/>
                  <a:gd name="connsiteY100" fmla="*/ 822960 h 3147060"/>
                  <a:gd name="connsiteX101" fmla="*/ 205857 w 3147279"/>
                  <a:gd name="connsiteY101" fmla="*/ 800100 h 3147060"/>
                  <a:gd name="connsiteX102" fmla="*/ 259197 w 3147279"/>
                  <a:gd name="connsiteY102" fmla="*/ 708660 h 3147060"/>
                  <a:gd name="connsiteX103" fmla="*/ 274437 w 3147279"/>
                  <a:gd name="connsiteY103" fmla="*/ 662940 h 3147060"/>
                  <a:gd name="connsiteX104" fmla="*/ 327777 w 3147279"/>
                  <a:gd name="connsiteY104" fmla="*/ 586740 h 3147060"/>
                  <a:gd name="connsiteX105" fmla="*/ 419217 w 3147279"/>
                  <a:gd name="connsiteY105" fmla="*/ 510540 h 3147060"/>
                  <a:gd name="connsiteX106" fmla="*/ 449697 w 3147279"/>
                  <a:gd name="connsiteY106" fmla="*/ 472440 h 3147060"/>
                  <a:gd name="connsiteX107" fmla="*/ 510657 w 3147279"/>
                  <a:gd name="connsiteY107" fmla="*/ 434340 h 3147060"/>
                  <a:gd name="connsiteX108" fmla="*/ 563997 w 3147279"/>
                  <a:gd name="connsiteY108" fmla="*/ 396240 h 3147060"/>
                  <a:gd name="connsiteX109" fmla="*/ 655437 w 3147279"/>
                  <a:gd name="connsiteY109" fmla="*/ 335280 h 3147060"/>
                  <a:gd name="connsiteX110" fmla="*/ 731637 w 3147279"/>
                  <a:gd name="connsiteY110" fmla="*/ 297180 h 3147060"/>
                  <a:gd name="connsiteX111" fmla="*/ 815457 w 3147279"/>
                  <a:gd name="connsiteY111" fmla="*/ 236220 h 3147060"/>
                  <a:gd name="connsiteX112" fmla="*/ 830697 w 3147279"/>
                  <a:gd name="connsiteY112" fmla="*/ 213360 h 3147060"/>
                  <a:gd name="connsiteX113" fmla="*/ 861177 w 3147279"/>
                  <a:gd name="connsiteY113" fmla="*/ 205740 h 3147060"/>
                  <a:gd name="connsiteX114" fmla="*/ 952617 w 3147279"/>
                  <a:gd name="connsiteY114" fmla="*/ 152400 h 3147060"/>
                  <a:gd name="connsiteX115" fmla="*/ 983097 w 3147279"/>
                  <a:gd name="connsiteY115" fmla="*/ 129540 h 3147060"/>
                  <a:gd name="connsiteX116" fmla="*/ 1105017 w 3147279"/>
                  <a:gd name="connsiteY116" fmla="*/ 76200 h 3147060"/>
                  <a:gd name="connsiteX117" fmla="*/ 1127877 w 3147279"/>
                  <a:gd name="connsiteY117" fmla="*/ 68580 h 3147060"/>
                  <a:gd name="connsiteX118" fmla="*/ 1188837 w 3147279"/>
                  <a:gd name="connsiteY118" fmla="*/ 53340 h 3147060"/>
                  <a:gd name="connsiteX119" fmla="*/ 1242177 w 3147279"/>
                  <a:gd name="connsiteY119" fmla="*/ 38100 h 3147060"/>
                  <a:gd name="connsiteX120" fmla="*/ 1265037 w 3147279"/>
                  <a:gd name="connsiteY120" fmla="*/ 30480 h 3147060"/>
                  <a:gd name="connsiteX121" fmla="*/ 1386957 w 3147279"/>
                  <a:gd name="connsiteY121" fmla="*/ 15240 h 3147060"/>
                  <a:gd name="connsiteX122" fmla="*/ 1463157 w 3147279"/>
                  <a:gd name="connsiteY122" fmla="*/ 0 h 3147060"/>
                  <a:gd name="connsiteX123" fmla="*/ 1882257 w 3147279"/>
                  <a:gd name="connsiteY123" fmla="*/ 15240 h 3147060"/>
                  <a:gd name="connsiteX124" fmla="*/ 1912737 w 3147279"/>
                  <a:gd name="connsiteY124" fmla="*/ 22860 h 3147060"/>
                  <a:gd name="connsiteX125" fmla="*/ 2164197 w 3147279"/>
                  <a:gd name="connsiteY125" fmla="*/ 99060 h 3147060"/>
                  <a:gd name="connsiteX126" fmla="*/ 2339457 w 3147279"/>
                  <a:gd name="connsiteY126" fmla="*/ 182880 h 3147060"/>
                  <a:gd name="connsiteX127" fmla="*/ 2369937 w 3147279"/>
                  <a:gd name="connsiteY127" fmla="*/ 190500 h 3147060"/>
                  <a:gd name="connsiteX128" fmla="*/ 2392797 w 3147279"/>
                  <a:gd name="connsiteY128" fmla="*/ 205740 h 3147060"/>
                  <a:gd name="connsiteX129" fmla="*/ 2438517 w 3147279"/>
                  <a:gd name="connsiteY129" fmla="*/ 228600 h 3147060"/>
                  <a:gd name="connsiteX130" fmla="*/ 2446137 w 3147279"/>
                  <a:gd name="connsiteY130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365877 w 3147279"/>
                  <a:gd name="connsiteY77" fmla="*/ 2613660 h 3147060"/>
                  <a:gd name="connsiteX78" fmla="*/ 343017 w 3147279"/>
                  <a:gd name="connsiteY78" fmla="*/ 2567940 h 3147060"/>
                  <a:gd name="connsiteX79" fmla="*/ 320157 w 3147279"/>
                  <a:gd name="connsiteY79" fmla="*/ 2484120 h 3147060"/>
                  <a:gd name="connsiteX80" fmla="*/ 297297 w 3147279"/>
                  <a:gd name="connsiteY80" fmla="*/ 2430780 h 3147060"/>
                  <a:gd name="connsiteX81" fmla="*/ 274437 w 3147279"/>
                  <a:gd name="connsiteY81" fmla="*/ 2377440 h 3147060"/>
                  <a:gd name="connsiteX82" fmla="*/ 228717 w 3147279"/>
                  <a:gd name="connsiteY82" fmla="*/ 2316480 h 3147060"/>
                  <a:gd name="connsiteX83" fmla="*/ 205857 w 3147279"/>
                  <a:gd name="connsiteY83" fmla="*/ 2293620 h 3147060"/>
                  <a:gd name="connsiteX84" fmla="*/ 175377 w 3147279"/>
                  <a:gd name="connsiteY84" fmla="*/ 2240280 h 3147060"/>
                  <a:gd name="connsiteX85" fmla="*/ 160137 w 3147279"/>
                  <a:gd name="connsiteY85" fmla="*/ 2202180 h 3147060"/>
                  <a:gd name="connsiteX86" fmla="*/ 144897 w 3147279"/>
                  <a:gd name="connsiteY86" fmla="*/ 2179320 h 3147060"/>
                  <a:gd name="connsiteX87" fmla="*/ 129657 w 3147279"/>
                  <a:gd name="connsiteY87" fmla="*/ 2133600 h 3147060"/>
                  <a:gd name="connsiteX88" fmla="*/ 99177 w 3147279"/>
                  <a:gd name="connsiteY88" fmla="*/ 2087880 h 3147060"/>
                  <a:gd name="connsiteX89" fmla="*/ 61077 w 3147279"/>
                  <a:gd name="connsiteY89" fmla="*/ 2026920 h 3147060"/>
                  <a:gd name="connsiteX90" fmla="*/ 53457 w 3147279"/>
                  <a:gd name="connsiteY90" fmla="*/ 2004060 h 3147060"/>
                  <a:gd name="connsiteX91" fmla="*/ 38217 w 3147279"/>
                  <a:gd name="connsiteY91" fmla="*/ 1943100 h 3147060"/>
                  <a:gd name="connsiteX92" fmla="*/ 22977 w 3147279"/>
                  <a:gd name="connsiteY92" fmla="*/ 1897380 h 3147060"/>
                  <a:gd name="connsiteX93" fmla="*/ 117 w 3147279"/>
                  <a:gd name="connsiteY93" fmla="*/ 1562100 h 3147060"/>
                  <a:gd name="connsiteX94" fmla="*/ 22977 w 3147279"/>
                  <a:gd name="connsiteY94" fmla="*/ 1135380 h 3147060"/>
                  <a:gd name="connsiteX95" fmla="*/ 38217 w 3147279"/>
                  <a:gd name="connsiteY95" fmla="*/ 1104900 h 3147060"/>
                  <a:gd name="connsiteX96" fmla="*/ 83937 w 3147279"/>
                  <a:gd name="connsiteY96" fmla="*/ 1021080 h 3147060"/>
                  <a:gd name="connsiteX97" fmla="*/ 129657 w 3147279"/>
                  <a:gd name="connsiteY97" fmla="*/ 914400 h 3147060"/>
                  <a:gd name="connsiteX98" fmla="*/ 160137 w 3147279"/>
                  <a:gd name="connsiteY98" fmla="*/ 861060 h 3147060"/>
                  <a:gd name="connsiteX99" fmla="*/ 182997 w 3147279"/>
                  <a:gd name="connsiteY99" fmla="*/ 822960 h 3147060"/>
                  <a:gd name="connsiteX100" fmla="*/ 205857 w 3147279"/>
                  <a:gd name="connsiteY100" fmla="*/ 800100 h 3147060"/>
                  <a:gd name="connsiteX101" fmla="*/ 259197 w 3147279"/>
                  <a:gd name="connsiteY101" fmla="*/ 708660 h 3147060"/>
                  <a:gd name="connsiteX102" fmla="*/ 274437 w 3147279"/>
                  <a:gd name="connsiteY102" fmla="*/ 662940 h 3147060"/>
                  <a:gd name="connsiteX103" fmla="*/ 327777 w 3147279"/>
                  <a:gd name="connsiteY103" fmla="*/ 586740 h 3147060"/>
                  <a:gd name="connsiteX104" fmla="*/ 419217 w 3147279"/>
                  <a:gd name="connsiteY104" fmla="*/ 510540 h 3147060"/>
                  <a:gd name="connsiteX105" fmla="*/ 449697 w 3147279"/>
                  <a:gd name="connsiteY105" fmla="*/ 472440 h 3147060"/>
                  <a:gd name="connsiteX106" fmla="*/ 510657 w 3147279"/>
                  <a:gd name="connsiteY106" fmla="*/ 434340 h 3147060"/>
                  <a:gd name="connsiteX107" fmla="*/ 563997 w 3147279"/>
                  <a:gd name="connsiteY107" fmla="*/ 396240 h 3147060"/>
                  <a:gd name="connsiteX108" fmla="*/ 655437 w 3147279"/>
                  <a:gd name="connsiteY108" fmla="*/ 335280 h 3147060"/>
                  <a:gd name="connsiteX109" fmla="*/ 731637 w 3147279"/>
                  <a:gd name="connsiteY109" fmla="*/ 297180 h 3147060"/>
                  <a:gd name="connsiteX110" fmla="*/ 815457 w 3147279"/>
                  <a:gd name="connsiteY110" fmla="*/ 236220 h 3147060"/>
                  <a:gd name="connsiteX111" fmla="*/ 830697 w 3147279"/>
                  <a:gd name="connsiteY111" fmla="*/ 213360 h 3147060"/>
                  <a:gd name="connsiteX112" fmla="*/ 861177 w 3147279"/>
                  <a:gd name="connsiteY112" fmla="*/ 205740 h 3147060"/>
                  <a:gd name="connsiteX113" fmla="*/ 952617 w 3147279"/>
                  <a:gd name="connsiteY113" fmla="*/ 152400 h 3147060"/>
                  <a:gd name="connsiteX114" fmla="*/ 983097 w 3147279"/>
                  <a:gd name="connsiteY114" fmla="*/ 129540 h 3147060"/>
                  <a:gd name="connsiteX115" fmla="*/ 1105017 w 3147279"/>
                  <a:gd name="connsiteY115" fmla="*/ 76200 h 3147060"/>
                  <a:gd name="connsiteX116" fmla="*/ 1127877 w 3147279"/>
                  <a:gd name="connsiteY116" fmla="*/ 68580 h 3147060"/>
                  <a:gd name="connsiteX117" fmla="*/ 1188837 w 3147279"/>
                  <a:gd name="connsiteY117" fmla="*/ 53340 h 3147060"/>
                  <a:gd name="connsiteX118" fmla="*/ 1242177 w 3147279"/>
                  <a:gd name="connsiteY118" fmla="*/ 38100 h 3147060"/>
                  <a:gd name="connsiteX119" fmla="*/ 1265037 w 3147279"/>
                  <a:gd name="connsiteY119" fmla="*/ 30480 h 3147060"/>
                  <a:gd name="connsiteX120" fmla="*/ 1386957 w 3147279"/>
                  <a:gd name="connsiteY120" fmla="*/ 15240 h 3147060"/>
                  <a:gd name="connsiteX121" fmla="*/ 1463157 w 3147279"/>
                  <a:gd name="connsiteY121" fmla="*/ 0 h 3147060"/>
                  <a:gd name="connsiteX122" fmla="*/ 1882257 w 3147279"/>
                  <a:gd name="connsiteY122" fmla="*/ 15240 h 3147060"/>
                  <a:gd name="connsiteX123" fmla="*/ 1912737 w 3147279"/>
                  <a:gd name="connsiteY123" fmla="*/ 22860 h 3147060"/>
                  <a:gd name="connsiteX124" fmla="*/ 2164197 w 3147279"/>
                  <a:gd name="connsiteY124" fmla="*/ 99060 h 3147060"/>
                  <a:gd name="connsiteX125" fmla="*/ 2339457 w 3147279"/>
                  <a:gd name="connsiteY125" fmla="*/ 182880 h 3147060"/>
                  <a:gd name="connsiteX126" fmla="*/ 2369937 w 3147279"/>
                  <a:gd name="connsiteY126" fmla="*/ 190500 h 3147060"/>
                  <a:gd name="connsiteX127" fmla="*/ 2392797 w 3147279"/>
                  <a:gd name="connsiteY127" fmla="*/ 205740 h 3147060"/>
                  <a:gd name="connsiteX128" fmla="*/ 2438517 w 3147279"/>
                  <a:gd name="connsiteY128" fmla="*/ 228600 h 3147060"/>
                  <a:gd name="connsiteX129" fmla="*/ 2446137 w 3147279"/>
                  <a:gd name="connsiteY129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365877 w 3147279"/>
                  <a:gd name="connsiteY76" fmla="*/ 2613660 h 3147060"/>
                  <a:gd name="connsiteX77" fmla="*/ 343017 w 3147279"/>
                  <a:gd name="connsiteY77" fmla="*/ 2567940 h 3147060"/>
                  <a:gd name="connsiteX78" fmla="*/ 320157 w 3147279"/>
                  <a:gd name="connsiteY78" fmla="*/ 2484120 h 3147060"/>
                  <a:gd name="connsiteX79" fmla="*/ 297297 w 3147279"/>
                  <a:gd name="connsiteY79" fmla="*/ 2430780 h 3147060"/>
                  <a:gd name="connsiteX80" fmla="*/ 274437 w 3147279"/>
                  <a:gd name="connsiteY80" fmla="*/ 2377440 h 3147060"/>
                  <a:gd name="connsiteX81" fmla="*/ 228717 w 3147279"/>
                  <a:gd name="connsiteY81" fmla="*/ 2316480 h 3147060"/>
                  <a:gd name="connsiteX82" fmla="*/ 205857 w 3147279"/>
                  <a:gd name="connsiteY82" fmla="*/ 2293620 h 3147060"/>
                  <a:gd name="connsiteX83" fmla="*/ 175377 w 3147279"/>
                  <a:gd name="connsiteY83" fmla="*/ 2240280 h 3147060"/>
                  <a:gd name="connsiteX84" fmla="*/ 160137 w 3147279"/>
                  <a:gd name="connsiteY84" fmla="*/ 2202180 h 3147060"/>
                  <a:gd name="connsiteX85" fmla="*/ 144897 w 3147279"/>
                  <a:gd name="connsiteY85" fmla="*/ 2179320 h 3147060"/>
                  <a:gd name="connsiteX86" fmla="*/ 129657 w 3147279"/>
                  <a:gd name="connsiteY86" fmla="*/ 2133600 h 3147060"/>
                  <a:gd name="connsiteX87" fmla="*/ 99177 w 3147279"/>
                  <a:gd name="connsiteY87" fmla="*/ 2087880 h 3147060"/>
                  <a:gd name="connsiteX88" fmla="*/ 61077 w 3147279"/>
                  <a:gd name="connsiteY88" fmla="*/ 2026920 h 3147060"/>
                  <a:gd name="connsiteX89" fmla="*/ 53457 w 3147279"/>
                  <a:gd name="connsiteY89" fmla="*/ 2004060 h 3147060"/>
                  <a:gd name="connsiteX90" fmla="*/ 38217 w 3147279"/>
                  <a:gd name="connsiteY90" fmla="*/ 1943100 h 3147060"/>
                  <a:gd name="connsiteX91" fmla="*/ 22977 w 3147279"/>
                  <a:gd name="connsiteY91" fmla="*/ 1897380 h 3147060"/>
                  <a:gd name="connsiteX92" fmla="*/ 117 w 3147279"/>
                  <a:gd name="connsiteY92" fmla="*/ 1562100 h 3147060"/>
                  <a:gd name="connsiteX93" fmla="*/ 22977 w 3147279"/>
                  <a:gd name="connsiteY93" fmla="*/ 1135380 h 3147060"/>
                  <a:gd name="connsiteX94" fmla="*/ 38217 w 3147279"/>
                  <a:gd name="connsiteY94" fmla="*/ 1104900 h 3147060"/>
                  <a:gd name="connsiteX95" fmla="*/ 83937 w 3147279"/>
                  <a:gd name="connsiteY95" fmla="*/ 1021080 h 3147060"/>
                  <a:gd name="connsiteX96" fmla="*/ 129657 w 3147279"/>
                  <a:gd name="connsiteY96" fmla="*/ 914400 h 3147060"/>
                  <a:gd name="connsiteX97" fmla="*/ 160137 w 3147279"/>
                  <a:gd name="connsiteY97" fmla="*/ 861060 h 3147060"/>
                  <a:gd name="connsiteX98" fmla="*/ 182997 w 3147279"/>
                  <a:gd name="connsiteY98" fmla="*/ 822960 h 3147060"/>
                  <a:gd name="connsiteX99" fmla="*/ 205857 w 3147279"/>
                  <a:gd name="connsiteY99" fmla="*/ 800100 h 3147060"/>
                  <a:gd name="connsiteX100" fmla="*/ 259197 w 3147279"/>
                  <a:gd name="connsiteY100" fmla="*/ 708660 h 3147060"/>
                  <a:gd name="connsiteX101" fmla="*/ 274437 w 3147279"/>
                  <a:gd name="connsiteY101" fmla="*/ 662940 h 3147060"/>
                  <a:gd name="connsiteX102" fmla="*/ 327777 w 3147279"/>
                  <a:gd name="connsiteY102" fmla="*/ 586740 h 3147060"/>
                  <a:gd name="connsiteX103" fmla="*/ 419217 w 3147279"/>
                  <a:gd name="connsiteY103" fmla="*/ 510540 h 3147060"/>
                  <a:gd name="connsiteX104" fmla="*/ 449697 w 3147279"/>
                  <a:gd name="connsiteY104" fmla="*/ 472440 h 3147060"/>
                  <a:gd name="connsiteX105" fmla="*/ 510657 w 3147279"/>
                  <a:gd name="connsiteY105" fmla="*/ 434340 h 3147060"/>
                  <a:gd name="connsiteX106" fmla="*/ 563997 w 3147279"/>
                  <a:gd name="connsiteY106" fmla="*/ 396240 h 3147060"/>
                  <a:gd name="connsiteX107" fmla="*/ 655437 w 3147279"/>
                  <a:gd name="connsiteY107" fmla="*/ 335280 h 3147060"/>
                  <a:gd name="connsiteX108" fmla="*/ 731637 w 3147279"/>
                  <a:gd name="connsiteY108" fmla="*/ 297180 h 3147060"/>
                  <a:gd name="connsiteX109" fmla="*/ 815457 w 3147279"/>
                  <a:gd name="connsiteY109" fmla="*/ 236220 h 3147060"/>
                  <a:gd name="connsiteX110" fmla="*/ 830697 w 3147279"/>
                  <a:gd name="connsiteY110" fmla="*/ 213360 h 3147060"/>
                  <a:gd name="connsiteX111" fmla="*/ 861177 w 3147279"/>
                  <a:gd name="connsiteY111" fmla="*/ 205740 h 3147060"/>
                  <a:gd name="connsiteX112" fmla="*/ 952617 w 3147279"/>
                  <a:gd name="connsiteY112" fmla="*/ 152400 h 3147060"/>
                  <a:gd name="connsiteX113" fmla="*/ 983097 w 3147279"/>
                  <a:gd name="connsiteY113" fmla="*/ 129540 h 3147060"/>
                  <a:gd name="connsiteX114" fmla="*/ 1105017 w 3147279"/>
                  <a:gd name="connsiteY114" fmla="*/ 76200 h 3147060"/>
                  <a:gd name="connsiteX115" fmla="*/ 1127877 w 3147279"/>
                  <a:gd name="connsiteY115" fmla="*/ 68580 h 3147060"/>
                  <a:gd name="connsiteX116" fmla="*/ 1188837 w 3147279"/>
                  <a:gd name="connsiteY116" fmla="*/ 53340 h 3147060"/>
                  <a:gd name="connsiteX117" fmla="*/ 1242177 w 3147279"/>
                  <a:gd name="connsiteY117" fmla="*/ 38100 h 3147060"/>
                  <a:gd name="connsiteX118" fmla="*/ 1265037 w 3147279"/>
                  <a:gd name="connsiteY118" fmla="*/ 30480 h 3147060"/>
                  <a:gd name="connsiteX119" fmla="*/ 1386957 w 3147279"/>
                  <a:gd name="connsiteY119" fmla="*/ 15240 h 3147060"/>
                  <a:gd name="connsiteX120" fmla="*/ 1463157 w 3147279"/>
                  <a:gd name="connsiteY120" fmla="*/ 0 h 3147060"/>
                  <a:gd name="connsiteX121" fmla="*/ 1882257 w 3147279"/>
                  <a:gd name="connsiteY121" fmla="*/ 15240 h 3147060"/>
                  <a:gd name="connsiteX122" fmla="*/ 1912737 w 3147279"/>
                  <a:gd name="connsiteY122" fmla="*/ 22860 h 3147060"/>
                  <a:gd name="connsiteX123" fmla="*/ 2164197 w 3147279"/>
                  <a:gd name="connsiteY123" fmla="*/ 99060 h 3147060"/>
                  <a:gd name="connsiteX124" fmla="*/ 2339457 w 3147279"/>
                  <a:gd name="connsiteY124" fmla="*/ 182880 h 3147060"/>
                  <a:gd name="connsiteX125" fmla="*/ 2369937 w 3147279"/>
                  <a:gd name="connsiteY125" fmla="*/ 190500 h 3147060"/>
                  <a:gd name="connsiteX126" fmla="*/ 2392797 w 3147279"/>
                  <a:gd name="connsiteY126" fmla="*/ 205740 h 3147060"/>
                  <a:gd name="connsiteX127" fmla="*/ 2438517 w 3147279"/>
                  <a:gd name="connsiteY127" fmla="*/ 228600 h 3147060"/>
                  <a:gd name="connsiteX128" fmla="*/ 2446137 w 3147279"/>
                  <a:gd name="connsiteY128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365877 w 3147279"/>
                  <a:gd name="connsiteY75" fmla="*/ 2613660 h 3147060"/>
                  <a:gd name="connsiteX76" fmla="*/ 343017 w 3147279"/>
                  <a:gd name="connsiteY76" fmla="*/ 2567940 h 3147060"/>
                  <a:gd name="connsiteX77" fmla="*/ 320157 w 3147279"/>
                  <a:gd name="connsiteY77" fmla="*/ 2484120 h 3147060"/>
                  <a:gd name="connsiteX78" fmla="*/ 297297 w 3147279"/>
                  <a:gd name="connsiteY78" fmla="*/ 2430780 h 3147060"/>
                  <a:gd name="connsiteX79" fmla="*/ 274437 w 3147279"/>
                  <a:gd name="connsiteY79" fmla="*/ 2377440 h 3147060"/>
                  <a:gd name="connsiteX80" fmla="*/ 228717 w 3147279"/>
                  <a:gd name="connsiteY80" fmla="*/ 2316480 h 3147060"/>
                  <a:gd name="connsiteX81" fmla="*/ 205857 w 3147279"/>
                  <a:gd name="connsiteY81" fmla="*/ 2293620 h 3147060"/>
                  <a:gd name="connsiteX82" fmla="*/ 175377 w 3147279"/>
                  <a:gd name="connsiteY82" fmla="*/ 2240280 h 3147060"/>
                  <a:gd name="connsiteX83" fmla="*/ 160137 w 3147279"/>
                  <a:gd name="connsiteY83" fmla="*/ 2202180 h 3147060"/>
                  <a:gd name="connsiteX84" fmla="*/ 144897 w 3147279"/>
                  <a:gd name="connsiteY84" fmla="*/ 2179320 h 3147060"/>
                  <a:gd name="connsiteX85" fmla="*/ 129657 w 3147279"/>
                  <a:gd name="connsiteY85" fmla="*/ 2133600 h 3147060"/>
                  <a:gd name="connsiteX86" fmla="*/ 99177 w 3147279"/>
                  <a:gd name="connsiteY86" fmla="*/ 2087880 h 3147060"/>
                  <a:gd name="connsiteX87" fmla="*/ 61077 w 3147279"/>
                  <a:gd name="connsiteY87" fmla="*/ 2026920 h 3147060"/>
                  <a:gd name="connsiteX88" fmla="*/ 53457 w 3147279"/>
                  <a:gd name="connsiteY88" fmla="*/ 2004060 h 3147060"/>
                  <a:gd name="connsiteX89" fmla="*/ 38217 w 3147279"/>
                  <a:gd name="connsiteY89" fmla="*/ 1943100 h 3147060"/>
                  <a:gd name="connsiteX90" fmla="*/ 22977 w 3147279"/>
                  <a:gd name="connsiteY90" fmla="*/ 1897380 h 3147060"/>
                  <a:gd name="connsiteX91" fmla="*/ 117 w 3147279"/>
                  <a:gd name="connsiteY91" fmla="*/ 1562100 h 3147060"/>
                  <a:gd name="connsiteX92" fmla="*/ 22977 w 3147279"/>
                  <a:gd name="connsiteY92" fmla="*/ 1135380 h 3147060"/>
                  <a:gd name="connsiteX93" fmla="*/ 38217 w 3147279"/>
                  <a:gd name="connsiteY93" fmla="*/ 1104900 h 3147060"/>
                  <a:gd name="connsiteX94" fmla="*/ 83937 w 3147279"/>
                  <a:gd name="connsiteY94" fmla="*/ 1021080 h 3147060"/>
                  <a:gd name="connsiteX95" fmla="*/ 129657 w 3147279"/>
                  <a:gd name="connsiteY95" fmla="*/ 914400 h 3147060"/>
                  <a:gd name="connsiteX96" fmla="*/ 160137 w 3147279"/>
                  <a:gd name="connsiteY96" fmla="*/ 861060 h 3147060"/>
                  <a:gd name="connsiteX97" fmla="*/ 182997 w 3147279"/>
                  <a:gd name="connsiteY97" fmla="*/ 822960 h 3147060"/>
                  <a:gd name="connsiteX98" fmla="*/ 205857 w 3147279"/>
                  <a:gd name="connsiteY98" fmla="*/ 800100 h 3147060"/>
                  <a:gd name="connsiteX99" fmla="*/ 259197 w 3147279"/>
                  <a:gd name="connsiteY99" fmla="*/ 708660 h 3147060"/>
                  <a:gd name="connsiteX100" fmla="*/ 274437 w 3147279"/>
                  <a:gd name="connsiteY100" fmla="*/ 662940 h 3147060"/>
                  <a:gd name="connsiteX101" fmla="*/ 327777 w 3147279"/>
                  <a:gd name="connsiteY101" fmla="*/ 586740 h 3147060"/>
                  <a:gd name="connsiteX102" fmla="*/ 419217 w 3147279"/>
                  <a:gd name="connsiteY102" fmla="*/ 510540 h 3147060"/>
                  <a:gd name="connsiteX103" fmla="*/ 449697 w 3147279"/>
                  <a:gd name="connsiteY103" fmla="*/ 472440 h 3147060"/>
                  <a:gd name="connsiteX104" fmla="*/ 510657 w 3147279"/>
                  <a:gd name="connsiteY104" fmla="*/ 434340 h 3147060"/>
                  <a:gd name="connsiteX105" fmla="*/ 563997 w 3147279"/>
                  <a:gd name="connsiteY105" fmla="*/ 396240 h 3147060"/>
                  <a:gd name="connsiteX106" fmla="*/ 655437 w 3147279"/>
                  <a:gd name="connsiteY106" fmla="*/ 335280 h 3147060"/>
                  <a:gd name="connsiteX107" fmla="*/ 731637 w 3147279"/>
                  <a:gd name="connsiteY107" fmla="*/ 297180 h 3147060"/>
                  <a:gd name="connsiteX108" fmla="*/ 815457 w 3147279"/>
                  <a:gd name="connsiteY108" fmla="*/ 236220 h 3147060"/>
                  <a:gd name="connsiteX109" fmla="*/ 830697 w 3147279"/>
                  <a:gd name="connsiteY109" fmla="*/ 213360 h 3147060"/>
                  <a:gd name="connsiteX110" fmla="*/ 861177 w 3147279"/>
                  <a:gd name="connsiteY110" fmla="*/ 205740 h 3147060"/>
                  <a:gd name="connsiteX111" fmla="*/ 952617 w 3147279"/>
                  <a:gd name="connsiteY111" fmla="*/ 152400 h 3147060"/>
                  <a:gd name="connsiteX112" fmla="*/ 983097 w 3147279"/>
                  <a:gd name="connsiteY112" fmla="*/ 129540 h 3147060"/>
                  <a:gd name="connsiteX113" fmla="*/ 1105017 w 3147279"/>
                  <a:gd name="connsiteY113" fmla="*/ 76200 h 3147060"/>
                  <a:gd name="connsiteX114" fmla="*/ 1127877 w 3147279"/>
                  <a:gd name="connsiteY114" fmla="*/ 68580 h 3147060"/>
                  <a:gd name="connsiteX115" fmla="*/ 1188837 w 3147279"/>
                  <a:gd name="connsiteY115" fmla="*/ 53340 h 3147060"/>
                  <a:gd name="connsiteX116" fmla="*/ 1242177 w 3147279"/>
                  <a:gd name="connsiteY116" fmla="*/ 38100 h 3147060"/>
                  <a:gd name="connsiteX117" fmla="*/ 1265037 w 3147279"/>
                  <a:gd name="connsiteY117" fmla="*/ 30480 h 3147060"/>
                  <a:gd name="connsiteX118" fmla="*/ 1386957 w 3147279"/>
                  <a:gd name="connsiteY118" fmla="*/ 15240 h 3147060"/>
                  <a:gd name="connsiteX119" fmla="*/ 1463157 w 3147279"/>
                  <a:gd name="connsiteY119" fmla="*/ 0 h 3147060"/>
                  <a:gd name="connsiteX120" fmla="*/ 1882257 w 3147279"/>
                  <a:gd name="connsiteY120" fmla="*/ 15240 h 3147060"/>
                  <a:gd name="connsiteX121" fmla="*/ 1912737 w 3147279"/>
                  <a:gd name="connsiteY121" fmla="*/ 22860 h 3147060"/>
                  <a:gd name="connsiteX122" fmla="*/ 2164197 w 3147279"/>
                  <a:gd name="connsiteY122" fmla="*/ 99060 h 3147060"/>
                  <a:gd name="connsiteX123" fmla="*/ 2339457 w 3147279"/>
                  <a:gd name="connsiteY123" fmla="*/ 182880 h 3147060"/>
                  <a:gd name="connsiteX124" fmla="*/ 2369937 w 3147279"/>
                  <a:gd name="connsiteY124" fmla="*/ 190500 h 3147060"/>
                  <a:gd name="connsiteX125" fmla="*/ 2392797 w 3147279"/>
                  <a:gd name="connsiteY125" fmla="*/ 205740 h 3147060"/>
                  <a:gd name="connsiteX126" fmla="*/ 2438517 w 3147279"/>
                  <a:gd name="connsiteY126" fmla="*/ 228600 h 3147060"/>
                  <a:gd name="connsiteX127" fmla="*/ 2446137 w 3147279"/>
                  <a:gd name="connsiteY127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365877 w 3147279"/>
                  <a:gd name="connsiteY74" fmla="*/ 2613660 h 3147060"/>
                  <a:gd name="connsiteX75" fmla="*/ 343017 w 3147279"/>
                  <a:gd name="connsiteY75" fmla="*/ 2567940 h 3147060"/>
                  <a:gd name="connsiteX76" fmla="*/ 320157 w 3147279"/>
                  <a:gd name="connsiteY76" fmla="*/ 2484120 h 3147060"/>
                  <a:gd name="connsiteX77" fmla="*/ 297297 w 3147279"/>
                  <a:gd name="connsiteY77" fmla="*/ 2430780 h 3147060"/>
                  <a:gd name="connsiteX78" fmla="*/ 274437 w 3147279"/>
                  <a:gd name="connsiteY78" fmla="*/ 2377440 h 3147060"/>
                  <a:gd name="connsiteX79" fmla="*/ 228717 w 3147279"/>
                  <a:gd name="connsiteY79" fmla="*/ 2316480 h 3147060"/>
                  <a:gd name="connsiteX80" fmla="*/ 205857 w 3147279"/>
                  <a:gd name="connsiteY80" fmla="*/ 2293620 h 3147060"/>
                  <a:gd name="connsiteX81" fmla="*/ 175377 w 3147279"/>
                  <a:gd name="connsiteY81" fmla="*/ 2240280 h 3147060"/>
                  <a:gd name="connsiteX82" fmla="*/ 160137 w 3147279"/>
                  <a:gd name="connsiteY82" fmla="*/ 2202180 h 3147060"/>
                  <a:gd name="connsiteX83" fmla="*/ 144897 w 3147279"/>
                  <a:gd name="connsiteY83" fmla="*/ 2179320 h 3147060"/>
                  <a:gd name="connsiteX84" fmla="*/ 129657 w 3147279"/>
                  <a:gd name="connsiteY84" fmla="*/ 2133600 h 3147060"/>
                  <a:gd name="connsiteX85" fmla="*/ 99177 w 3147279"/>
                  <a:gd name="connsiteY85" fmla="*/ 2087880 h 3147060"/>
                  <a:gd name="connsiteX86" fmla="*/ 61077 w 3147279"/>
                  <a:gd name="connsiteY86" fmla="*/ 2026920 h 3147060"/>
                  <a:gd name="connsiteX87" fmla="*/ 53457 w 3147279"/>
                  <a:gd name="connsiteY87" fmla="*/ 2004060 h 3147060"/>
                  <a:gd name="connsiteX88" fmla="*/ 38217 w 3147279"/>
                  <a:gd name="connsiteY88" fmla="*/ 1943100 h 3147060"/>
                  <a:gd name="connsiteX89" fmla="*/ 22977 w 3147279"/>
                  <a:gd name="connsiteY89" fmla="*/ 1897380 h 3147060"/>
                  <a:gd name="connsiteX90" fmla="*/ 117 w 3147279"/>
                  <a:gd name="connsiteY90" fmla="*/ 1562100 h 3147060"/>
                  <a:gd name="connsiteX91" fmla="*/ 22977 w 3147279"/>
                  <a:gd name="connsiteY91" fmla="*/ 1135380 h 3147060"/>
                  <a:gd name="connsiteX92" fmla="*/ 38217 w 3147279"/>
                  <a:gd name="connsiteY92" fmla="*/ 1104900 h 3147060"/>
                  <a:gd name="connsiteX93" fmla="*/ 83937 w 3147279"/>
                  <a:gd name="connsiteY93" fmla="*/ 1021080 h 3147060"/>
                  <a:gd name="connsiteX94" fmla="*/ 129657 w 3147279"/>
                  <a:gd name="connsiteY94" fmla="*/ 914400 h 3147060"/>
                  <a:gd name="connsiteX95" fmla="*/ 160137 w 3147279"/>
                  <a:gd name="connsiteY95" fmla="*/ 861060 h 3147060"/>
                  <a:gd name="connsiteX96" fmla="*/ 182997 w 3147279"/>
                  <a:gd name="connsiteY96" fmla="*/ 822960 h 3147060"/>
                  <a:gd name="connsiteX97" fmla="*/ 205857 w 3147279"/>
                  <a:gd name="connsiteY97" fmla="*/ 800100 h 3147060"/>
                  <a:gd name="connsiteX98" fmla="*/ 259197 w 3147279"/>
                  <a:gd name="connsiteY98" fmla="*/ 708660 h 3147060"/>
                  <a:gd name="connsiteX99" fmla="*/ 274437 w 3147279"/>
                  <a:gd name="connsiteY99" fmla="*/ 662940 h 3147060"/>
                  <a:gd name="connsiteX100" fmla="*/ 327777 w 3147279"/>
                  <a:gd name="connsiteY100" fmla="*/ 586740 h 3147060"/>
                  <a:gd name="connsiteX101" fmla="*/ 419217 w 3147279"/>
                  <a:gd name="connsiteY101" fmla="*/ 510540 h 3147060"/>
                  <a:gd name="connsiteX102" fmla="*/ 449697 w 3147279"/>
                  <a:gd name="connsiteY102" fmla="*/ 472440 h 3147060"/>
                  <a:gd name="connsiteX103" fmla="*/ 510657 w 3147279"/>
                  <a:gd name="connsiteY103" fmla="*/ 434340 h 3147060"/>
                  <a:gd name="connsiteX104" fmla="*/ 563997 w 3147279"/>
                  <a:gd name="connsiteY104" fmla="*/ 396240 h 3147060"/>
                  <a:gd name="connsiteX105" fmla="*/ 655437 w 3147279"/>
                  <a:gd name="connsiteY105" fmla="*/ 335280 h 3147060"/>
                  <a:gd name="connsiteX106" fmla="*/ 731637 w 3147279"/>
                  <a:gd name="connsiteY106" fmla="*/ 297180 h 3147060"/>
                  <a:gd name="connsiteX107" fmla="*/ 815457 w 3147279"/>
                  <a:gd name="connsiteY107" fmla="*/ 236220 h 3147060"/>
                  <a:gd name="connsiteX108" fmla="*/ 830697 w 3147279"/>
                  <a:gd name="connsiteY108" fmla="*/ 213360 h 3147060"/>
                  <a:gd name="connsiteX109" fmla="*/ 861177 w 3147279"/>
                  <a:gd name="connsiteY109" fmla="*/ 205740 h 3147060"/>
                  <a:gd name="connsiteX110" fmla="*/ 952617 w 3147279"/>
                  <a:gd name="connsiteY110" fmla="*/ 152400 h 3147060"/>
                  <a:gd name="connsiteX111" fmla="*/ 983097 w 3147279"/>
                  <a:gd name="connsiteY111" fmla="*/ 129540 h 3147060"/>
                  <a:gd name="connsiteX112" fmla="*/ 1105017 w 3147279"/>
                  <a:gd name="connsiteY112" fmla="*/ 76200 h 3147060"/>
                  <a:gd name="connsiteX113" fmla="*/ 1127877 w 3147279"/>
                  <a:gd name="connsiteY113" fmla="*/ 68580 h 3147060"/>
                  <a:gd name="connsiteX114" fmla="*/ 1188837 w 3147279"/>
                  <a:gd name="connsiteY114" fmla="*/ 53340 h 3147060"/>
                  <a:gd name="connsiteX115" fmla="*/ 1242177 w 3147279"/>
                  <a:gd name="connsiteY115" fmla="*/ 38100 h 3147060"/>
                  <a:gd name="connsiteX116" fmla="*/ 1265037 w 3147279"/>
                  <a:gd name="connsiteY116" fmla="*/ 30480 h 3147060"/>
                  <a:gd name="connsiteX117" fmla="*/ 1386957 w 3147279"/>
                  <a:gd name="connsiteY117" fmla="*/ 15240 h 3147060"/>
                  <a:gd name="connsiteX118" fmla="*/ 1463157 w 3147279"/>
                  <a:gd name="connsiteY118" fmla="*/ 0 h 3147060"/>
                  <a:gd name="connsiteX119" fmla="*/ 1882257 w 3147279"/>
                  <a:gd name="connsiteY119" fmla="*/ 15240 h 3147060"/>
                  <a:gd name="connsiteX120" fmla="*/ 1912737 w 3147279"/>
                  <a:gd name="connsiteY120" fmla="*/ 22860 h 3147060"/>
                  <a:gd name="connsiteX121" fmla="*/ 2164197 w 3147279"/>
                  <a:gd name="connsiteY121" fmla="*/ 99060 h 3147060"/>
                  <a:gd name="connsiteX122" fmla="*/ 2339457 w 3147279"/>
                  <a:gd name="connsiteY122" fmla="*/ 182880 h 3147060"/>
                  <a:gd name="connsiteX123" fmla="*/ 2369937 w 3147279"/>
                  <a:gd name="connsiteY123" fmla="*/ 190500 h 3147060"/>
                  <a:gd name="connsiteX124" fmla="*/ 2392797 w 3147279"/>
                  <a:gd name="connsiteY124" fmla="*/ 205740 h 3147060"/>
                  <a:gd name="connsiteX125" fmla="*/ 2438517 w 3147279"/>
                  <a:gd name="connsiteY125" fmla="*/ 228600 h 3147060"/>
                  <a:gd name="connsiteX126" fmla="*/ 2446137 w 3147279"/>
                  <a:gd name="connsiteY126" fmla="*/ 266700 h 3147060"/>
                  <a:gd name="connsiteX0" fmla="*/ 2446137 w 3147279"/>
                  <a:gd name="connsiteY0" fmla="*/ 266700 h 3158149"/>
                  <a:gd name="connsiteX1" fmla="*/ 2491857 w 3147279"/>
                  <a:gd name="connsiteY1" fmla="*/ 297180 h 3158149"/>
                  <a:gd name="connsiteX2" fmla="*/ 2499477 w 3147279"/>
                  <a:gd name="connsiteY2" fmla="*/ 320040 h 3158149"/>
                  <a:gd name="connsiteX3" fmla="*/ 2529957 w 3147279"/>
                  <a:gd name="connsiteY3" fmla="*/ 342900 h 3158149"/>
                  <a:gd name="connsiteX4" fmla="*/ 2552817 w 3147279"/>
                  <a:gd name="connsiteY4" fmla="*/ 373380 h 3158149"/>
                  <a:gd name="connsiteX5" fmla="*/ 2583297 w 3147279"/>
                  <a:gd name="connsiteY5" fmla="*/ 388620 h 3158149"/>
                  <a:gd name="connsiteX6" fmla="*/ 2629017 w 3147279"/>
                  <a:gd name="connsiteY6" fmla="*/ 434340 h 3158149"/>
                  <a:gd name="connsiteX7" fmla="*/ 2659497 w 3147279"/>
                  <a:gd name="connsiteY7" fmla="*/ 464820 h 3158149"/>
                  <a:gd name="connsiteX8" fmla="*/ 2705217 w 3147279"/>
                  <a:gd name="connsiteY8" fmla="*/ 487680 h 3158149"/>
                  <a:gd name="connsiteX9" fmla="*/ 2728077 w 3147279"/>
                  <a:gd name="connsiteY9" fmla="*/ 510540 h 3158149"/>
                  <a:gd name="connsiteX10" fmla="*/ 2789037 w 3147279"/>
                  <a:gd name="connsiteY10" fmla="*/ 594360 h 3158149"/>
                  <a:gd name="connsiteX11" fmla="*/ 2849997 w 3147279"/>
                  <a:gd name="connsiteY11" fmla="*/ 662940 h 3158149"/>
                  <a:gd name="connsiteX12" fmla="*/ 2872857 w 3147279"/>
                  <a:gd name="connsiteY12" fmla="*/ 701040 h 3158149"/>
                  <a:gd name="connsiteX13" fmla="*/ 2910957 w 3147279"/>
                  <a:gd name="connsiteY13" fmla="*/ 762000 h 3158149"/>
                  <a:gd name="connsiteX14" fmla="*/ 2949057 w 3147279"/>
                  <a:gd name="connsiteY14" fmla="*/ 845820 h 3158149"/>
                  <a:gd name="connsiteX15" fmla="*/ 2956677 w 3147279"/>
                  <a:gd name="connsiteY15" fmla="*/ 868680 h 3158149"/>
                  <a:gd name="connsiteX16" fmla="*/ 2979537 w 3147279"/>
                  <a:gd name="connsiteY16" fmla="*/ 922020 h 3158149"/>
                  <a:gd name="connsiteX17" fmla="*/ 2994777 w 3147279"/>
                  <a:gd name="connsiteY17" fmla="*/ 952500 h 3158149"/>
                  <a:gd name="connsiteX18" fmla="*/ 3010017 w 3147279"/>
                  <a:gd name="connsiteY18" fmla="*/ 998220 h 3158149"/>
                  <a:gd name="connsiteX19" fmla="*/ 3025257 w 3147279"/>
                  <a:gd name="connsiteY19" fmla="*/ 1036320 h 3158149"/>
                  <a:gd name="connsiteX20" fmla="*/ 3032877 w 3147279"/>
                  <a:gd name="connsiteY20" fmla="*/ 1066800 h 3158149"/>
                  <a:gd name="connsiteX21" fmla="*/ 3055737 w 3147279"/>
                  <a:gd name="connsiteY21" fmla="*/ 1104900 h 3158149"/>
                  <a:gd name="connsiteX22" fmla="*/ 3070977 w 3147279"/>
                  <a:gd name="connsiteY22" fmla="*/ 1150620 h 3158149"/>
                  <a:gd name="connsiteX23" fmla="*/ 3086217 w 3147279"/>
                  <a:gd name="connsiteY23" fmla="*/ 1181100 h 3158149"/>
                  <a:gd name="connsiteX24" fmla="*/ 3093837 w 3147279"/>
                  <a:gd name="connsiteY24" fmla="*/ 1226820 h 3158149"/>
                  <a:gd name="connsiteX25" fmla="*/ 3101457 w 3147279"/>
                  <a:gd name="connsiteY25" fmla="*/ 1280160 h 3158149"/>
                  <a:gd name="connsiteX26" fmla="*/ 3116697 w 3147279"/>
                  <a:gd name="connsiteY26" fmla="*/ 1371600 h 3158149"/>
                  <a:gd name="connsiteX27" fmla="*/ 3131937 w 3147279"/>
                  <a:gd name="connsiteY27" fmla="*/ 1417320 h 3158149"/>
                  <a:gd name="connsiteX28" fmla="*/ 3139557 w 3147279"/>
                  <a:gd name="connsiteY28" fmla="*/ 1485900 h 3158149"/>
                  <a:gd name="connsiteX29" fmla="*/ 3147177 w 3147279"/>
                  <a:gd name="connsiteY29" fmla="*/ 1516380 h 3158149"/>
                  <a:gd name="connsiteX30" fmla="*/ 3131937 w 3147279"/>
                  <a:gd name="connsiteY30" fmla="*/ 1691640 h 3158149"/>
                  <a:gd name="connsiteX31" fmla="*/ 3124317 w 3147279"/>
                  <a:gd name="connsiteY31" fmla="*/ 1767840 h 3158149"/>
                  <a:gd name="connsiteX32" fmla="*/ 3109077 w 3147279"/>
                  <a:gd name="connsiteY32" fmla="*/ 1836420 h 3158149"/>
                  <a:gd name="connsiteX33" fmla="*/ 3086217 w 3147279"/>
                  <a:gd name="connsiteY33" fmla="*/ 1905000 h 3158149"/>
                  <a:gd name="connsiteX34" fmla="*/ 3078597 w 3147279"/>
                  <a:gd name="connsiteY34" fmla="*/ 1935480 h 3158149"/>
                  <a:gd name="connsiteX35" fmla="*/ 3070977 w 3147279"/>
                  <a:gd name="connsiteY35" fmla="*/ 1958340 h 3158149"/>
                  <a:gd name="connsiteX36" fmla="*/ 3055737 w 3147279"/>
                  <a:gd name="connsiteY36" fmla="*/ 2019300 h 3158149"/>
                  <a:gd name="connsiteX37" fmla="*/ 3040497 w 3147279"/>
                  <a:gd name="connsiteY37" fmla="*/ 2057400 h 3158149"/>
                  <a:gd name="connsiteX38" fmla="*/ 3032877 w 3147279"/>
                  <a:gd name="connsiteY38" fmla="*/ 2080260 h 3158149"/>
                  <a:gd name="connsiteX39" fmla="*/ 3017637 w 3147279"/>
                  <a:gd name="connsiteY39" fmla="*/ 2118360 h 3158149"/>
                  <a:gd name="connsiteX40" fmla="*/ 2994777 w 3147279"/>
                  <a:gd name="connsiteY40" fmla="*/ 2186940 h 3158149"/>
                  <a:gd name="connsiteX41" fmla="*/ 2987157 w 3147279"/>
                  <a:gd name="connsiteY41" fmla="*/ 2225040 h 3158149"/>
                  <a:gd name="connsiteX42" fmla="*/ 2971917 w 3147279"/>
                  <a:gd name="connsiteY42" fmla="*/ 2270760 h 3158149"/>
                  <a:gd name="connsiteX43" fmla="*/ 2964297 w 3147279"/>
                  <a:gd name="connsiteY43" fmla="*/ 2308860 h 3158149"/>
                  <a:gd name="connsiteX44" fmla="*/ 2949057 w 3147279"/>
                  <a:gd name="connsiteY44" fmla="*/ 2331720 h 3158149"/>
                  <a:gd name="connsiteX45" fmla="*/ 2926197 w 3147279"/>
                  <a:gd name="connsiteY45" fmla="*/ 2385060 h 3158149"/>
                  <a:gd name="connsiteX46" fmla="*/ 2903337 w 3147279"/>
                  <a:gd name="connsiteY46" fmla="*/ 2407920 h 3158149"/>
                  <a:gd name="connsiteX47" fmla="*/ 2857617 w 3147279"/>
                  <a:gd name="connsiteY47" fmla="*/ 2499360 h 3158149"/>
                  <a:gd name="connsiteX48" fmla="*/ 2842377 w 3147279"/>
                  <a:gd name="connsiteY48" fmla="*/ 2529840 h 3158149"/>
                  <a:gd name="connsiteX49" fmla="*/ 2834757 w 3147279"/>
                  <a:gd name="connsiteY49" fmla="*/ 2552700 h 3158149"/>
                  <a:gd name="connsiteX50" fmla="*/ 2758557 w 3147279"/>
                  <a:gd name="connsiteY50" fmla="*/ 2636520 h 3158149"/>
                  <a:gd name="connsiteX51" fmla="*/ 2705217 w 3147279"/>
                  <a:gd name="connsiteY51" fmla="*/ 2667000 h 3158149"/>
                  <a:gd name="connsiteX52" fmla="*/ 2629017 w 3147279"/>
                  <a:gd name="connsiteY52" fmla="*/ 2712720 h 3158149"/>
                  <a:gd name="connsiteX53" fmla="*/ 2598537 w 3147279"/>
                  <a:gd name="connsiteY53" fmla="*/ 2727960 h 3158149"/>
                  <a:gd name="connsiteX54" fmla="*/ 2568057 w 3147279"/>
                  <a:gd name="connsiteY54" fmla="*/ 2750820 h 3158149"/>
                  <a:gd name="connsiteX55" fmla="*/ 2545197 w 3147279"/>
                  <a:gd name="connsiteY55" fmla="*/ 2773680 h 3158149"/>
                  <a:gd name="connsiteX56" fmla="*/ 2484237 w 3147279"/>
                  <a:gd name="connsiteY56" fmla="*/ 2804160 h 3158149"/>
                  <a:gd name="connsiteX57" fmla="*/ 2423277 w 3147279"/>
                  <a:gd name="connsiteY57" fmla="*/ 2865120 h 3158149"/>
                  <a:gd name="connsiteX58" fmla="*/ 2392797 w 3147279"/>
                  <a:gd name="connsiteY58" fmla="*/ 2887980 h 3158149"/>
                  <a:gd name="connsiteX59" fmla="*/ 2377557 w 3147279"/>
                  <a:gd name="connsiteY59" fmla="*/ 2910840 h 3158149"/>
                  <a:gd name="connsiteX60" fmla="*/ 2301357 w 3147279"/>
                  <a:gd name="connsiteY60" fmla="*/ 2994660 h 3158149"/>
                  <a:gd name="connsiteX61" fmla="*/ 2248017 w 3147279"/>
                  <a:gd name="connsiteY61" fmla="*/ 3032760 h 3158149"/>
                  <a:gd name="connsiteX62" fmla="*/ 2225157 w 3147279"/>
                  <a:gd name="connsiteY62" fmla="*/ 3040380 h 3158149"/>
                  <a:gd name="connsiteX63" fmla="*/ 2187057 w 3147279"/>
                  <a:gd name="connsiteY63" fmla="*/ 3055620 h 3158149"/>
                  <a:gd name="connsiteX64" fmla="*/ 2164197 w 3147279"/>
                  <a:gd name="connsiteY64" fmla="*/ 3070860 h 3158149"/>
                  <a:gd name="connsiteX65" fmla="*/ 2095617 w 3147279"/>
                  <a:gd name="connsiteY65" fmla="*/ 3101340 h 3158149"/>
                  <a:gd name="connsiteX66" fmla="*/ 2027037 w 3147279"/>
                  <a:gd name="connsiteY66" fmla="*/ 3108960 h 3158149"/>
                  <a:gd name="connsiteX67" fmla="*/ 1981317 w 3147279"/>
                  <a:gd name="connsiteY67" fmla="*/ 3124200 h 3158149"/>
                  <a:gd name="connsiteX68" fmla="*/ 1912737 w 3147279"/>
                  <a:gd name="connsiteY68" fmla="*/ 3131820 h 3158149"/>
                  <a:gd name="connsiteX69" fmla="*/ 1798437 w 3147279"/>
                  <a:gd name="connsiteY69" fmla="*/ 3147060 h 3158149"/>
                  <a:gd name="connsiteX70" fmla="*/ 1188837 w 3147279"/>
                  <a:gd name="connsiteY70" fmla="*/ 3139440 h 3158149"/>
                  <a:gd name="connsiteX71" fmla="*/ 1158357 w 3147279"/>
                  <a:gd name="connsiteY71" fmla="*/ 3131820 h 3158149"/>
                  <a:gd name="connsiteX72" fmla="*/ 1112637 w 3147279"/>
                  <a:gd name="connsiteY72" fmla="*/ 3116580 h 3158149"/>
                  <a:gd name="connsiteX73" fmla="*/ 365877 w 3147279"/>
                  <a:gd name="connsiteY73" fmla="*/ 2613660 h 3158149"/>
                  <a:gd name="connsiteX74" fmla="*/ 343017 w 3147279"/>
                  <a:gd name="connsiteY74" fmla="*/ 2567940 h 3158149"/>
                  <a:gd name="connsiteX75" fmla="*/ 320157 w 3147279"/>
                  <a:gd name="connsiteY75" fmla="*/ 2484120 h 3158149"/>
                  <a:gd name="connsiteX76" fmla="*/ 297297 w 3147279"/>
                  <a:gd name="connsiteY76" fmla="*/ 2430780 h 3158149"/>
                  <a:gd name="connsiteX77" fmla="*/ 274437 w 3147279"/>
                  <a:gd name="connsiteY77" fmla="*/ 2377440 h 3158149"/>
                  <a:gd name="connsiteX78" fmla="*/ 228717 w 3147279"/>
                  <a:gd name="connsiteY78" fmla="*/ 2316480 h 3158149"/>
                  <a:gd name="connsiteX79" fmla="*/ 205857 w 3147279"/>
                  <a:gd name="connsiteY79" fmla="*/ 2293620 h 3158149"/>
                  <a:gd name="connsiteX80" fmla="*/ 175377 w 3147279"/>
                  <a:gd name="connsiteY80" fmla="*/ 2240280 h 3158149"/>
                  <a:gd name="connsiteX81" fmla="*/ 160137 w 3147279"/>
                  <a:gd name="connsiteY81" fmla="*/ 2202180 h 3158149"/>
                  <a:gd name="connsiteX82" fmla="*/ 144897 w 3147279"/>
                  <a:gd name="connsiteY82" fmla="*/ 2179320 h 3158149"/>
                  <a:gd name="connsiteX83" fmla="*/ 129657 w 3147279"/>
                  <a:gd name="connsiteY83" fmla="*/ 2133600 h 3158149"/>
                  <a:gd name="connsiteX84" fmla="*/ 99177 w 3147279"/>
                  <a:gd name="connsiteY84" fmla="*/ 2087880 h 3158149"/>
                  <a:gd name="connsiteX85" fmla="*/ 61077 w 3147279"/>
                  <a:gd name="connsiteY85" fmla="*/ 2026920 h 3158149"/>
                  <a:gd name="connsiteX86" fmla="*/ 53457 w 3147279"/>
                  <a:gd name="connsiteY86" fmla="*/ 2004060 h 3158149"/>
                  <a:gd name="connsiteX87" fmla="*/ 38217 w 3147279"/>
                  <a:gd name="connsiteY87" fmla="*/ 1943100 h 3158149"/>
                  <a:gd name="connsiteX88" fmla="*/ 22977 w 3147279"/>
                  <a:gd name="connsiteY88" fmla="*/ 1897380 h 3158149"/>
                  <a:gd name="connsiteX89" fmla="*/ 117 w 3147279"/>
                  <a:gd name="connsiteY89" fmla="*/ 1562100 h 3158149"/>
                  <a:gd name="connsiteX90" fmla="*/ 22977 w 3147279"/>
                  <a:gd name="connsiteY90" fmla="*/ 1135380 h 3158149"/>
                  <a:gd name="connsiteX91" fmla="*/ 38217 w 3147279"/>
                  <a:gd name="connsiteY91" fmla="*/ 1104900 h 3158149"/>
                  <a:gd name="connsiteX92" fmla="*/ 83937 w 3147279"/>
                  <a:gd name="connsiteY92" fmla="*/ 1021080 h 3158149"/>
                  <a:gd name="connsiteX93" fmla="*/ 129657 w 3147279"/>
                  <a:gd name="connsiteY93" fmla="*/ 914400 h 3158149"/>
                  <a:gd name="connsiteX94" fmla="*/ 160137 w 3147279"/>
                  <a:gd name="connsiteY94" fmla="*/ 861060 h 3158149"/>
                  <a:gd name="connsiteX95" fmla="*/ 182997 w 3147279"/>
                  <a:gd name="connsiteY95" fmla="*/ 822960 h 3158149"/>
                  <a:gd name="connsiteX96" fmla="*/ 205857 w 3147279"/>
                  <a:gd name="connsiteY96" fmla="*/ 800100 h 3158149"/>
                  <a:gd name="connsiteX97" fmla="*/ 259197 w 3147279"/>
                  <a:gd name="connsiteY97" fmla="*/ 708660 h 3158149"/>
                  <a:gd name="connsiteX98" fmla="*/ 274437 w 3147279"/>
                  <a:gd name="connsiteY98" fmla="*/ 662940 h 3158149"/>
                  <a:gd name="connsiteX99" fmla="*/ 327777 w 3147279"/>
                  <a:gd name="connsiteY99" fmla="*/ 586740 h 3158149"/>
                  <a:gd name="connsiteX100" fmla="*/ 419217 w 3147279"/>
                  <a:gd name="connsiteY100" fmla="*/ 510540 h 3158149"/>
                  <a:gd name="connsiteX101" fmla="*/ 449697 w 3147279"/>
                  <a:gd name="connsiteY101" fmla="*/ 472440 h 3158149"/>
                  <a:gd name="connsiteX102" fmla="*/ 510657 w 3147279"/>
                  <a:gd name="connsiteY102" fmla="*/ 434340 h 3158149"/>
                  <a:gd name="connsiteX103" fmla="*/ 563997 w 3147279"/>
                  <a:gd name="connsiteY103" fmla="*/ 396240 h 3158149"/>
                  <a:gd name="connsiteX104" fmla="*/ 655437 w 3147279"/>
                  <a:gd name="connsiteY104" fmla="*/ 335280 h 3158149"/>
                  <a:gd name="connsiteX105" fmla="*/ 731637 w 3147279"/>
                  <a:gd name="connsiteY105" fmla="*/ 297180 h 3158149"/>
                  <a:gd name="connsiteX106" fmla="*/ 815457 w 3147279"/>
                  <a:gd name="connsiteY106" fmla="*/ 236220 h 3158149"/>
                  <a:gd name="connsiteX107" fmla="*/ 830697 w 3147279"/>
                  <a:gd name="connsiteY107" fmla="*/ 213360 h 3158149"/>
                  <a:gd name="connsiteX108" fmla="*/ 861177 w 3147279"/>
                  <a:gd name="connsiteY108" fmla="*/ 205740 h 3158149"/>
                  <a:gd name="connsiteX109" fmla="*/ 952617 w 3147279"/>
                  <a:gd name="connsiteY109" fmla="*/ 152400 h 3158149"/>
                  <a:gd name="connsiteX110" fmla="*/ 983097 w 3147279"/>
                  <a:gd name="connsiteY110" fmla="*/ 129540 h 3158149"/>
                  <a:gd name="connsiteX111" fmla="*/ 1105017 w 3147279"/>
                  <a:gd name="connsiteY111" fmla="*/ 76200 h 3158149"/>
                  <a:gd name="connsiteX112" fmla="*/ 1127877 w 3147279"/>
                  <a:gd name="connsiteY112" fmla="*/ 68580 h 3158149"/>
                  <a:gd name="connsiteX113" fmla="*/ 1188837 w 3147279"/>
                  <a:gd name="connsiteY113" fmla="*/ 53340 h 3158149"/>
                  <a:gd name="connsiteX114" fmla="*/ 1242177 w 3147279"/>
                  <a:gd name="connsiteY114" fmla="*/ 38100 h 3158149"/>
                  <a:gd name="connsiteX115" fmla="*/ 1265037 w 3147279"/>
                  <a:gd name="connsiteY115" fmla="*/ 30480 h 3158149"/>
                  <a:gd name="connsiteX116" fmla="*/ 1386957 w 3147279"/>
                  <a:gd name="connsiteY116" fmla="*/ 15240 h 3158149"/>
                  <a:gd name="connsiteX117" fmla="*/ 1463157 w 3147279"/>
                  <a:gd name="connsiteY117" fmla="*/ 0 h 3158149"/>
                  <a:gd name="connsiteX118" fmla="*/ 1882257 w 3147279"/>
                  <a:gd name="connsiteY118" fmla="*/ 15240 h 3158149"/>
                  <a:gd name="connsiteX119" fmla="*/ 1912737 w 3147279"/>
                  <a:gd name="connsiteY119" fmla="*/ 22860 h 3158149"/>
                  <a:gd name="connsiteX120" fmla="*/ 2164197 w 3147279"/>
                  <a:gd name="connsiteY120" fmla="*/ 99060 h 3158149"/>
                  <a:gd name="connsiteX121" fmla="*/ 2339457 w 3147279"/>
                  <a:gd name="connsiteY121" fmla="*/ 182880 h 3158149"/>
                  <a:gd name="connsiteX122" fmla="*/ 2369937 w 3147279"/>
                  <a:gd name="connsiteY122" fmla="*/ 190500 h 3158149"/>
                  <a:gd name="connsiteX123" fmla="*/ 2392797 w 3147279"/>
                  <a:gd name="connsiteY123" fmla="*/ 205740 h 3158149"/>
                  <a:gd name="connsiteX124" fmla="*/ 2438517 w 3147279"/>
                  <a:gd name="connsiteY124" fmla="*/ 228600 h 3158149"/>
                  <a:gd name="connsiteX125" fmla="*/ 2446137 w 3147279"/>
                  <a:gd name="connsiteY125" fmla="*/ 266700 h 3158149"/>
                  <a:gd name="connsiteX0" fmla="*/ 2446137 w 3147279"/>
                  <a:gd name="connsiteY0" fmla="*/ 266700 h 3172784"/>
                  <a:gd name="connsiteX1" fmla="*/ 2491857 w 3147279"/>
                  <a:gd name="connsiteY1" fmla="*/ 297180 h 3172784"/>
                  <a:gd name="connsiteX2" fmla="*/ 2499477 w 3147279"/>
                  <a:gd name="connsiteY2" fmla="*/ 320040 h 3172784"/>
                  <a:gd name="connsiteX3" fmla="*/ 2529957 w 3147279"/>
                  <a:gd name="connsiteY3" fmla="*/ 342900 h 3172784"/>
                  <a:gd name="connsiteX4" fmla="*/ 2552817 w 3147279"/>
                  <a:gd name="connsiteY4" fmla="*/ 373380 h 3172784"/>
                  <a:gd name="connsiteX5" fmla="*/ 2583297 w 3147279"/>
                  <a:gd name="connsiteY5" fmla="*/ 388620 h 3172784"/>
                  <a:gd name="connsiteX6" fmla="*/ 2629017 w 3147279"/>
                  <a:gd name="connsiteY6" fmla="*/ 434340 h 3172784"/>
                  <a:gd name="connsiteX7" fmla="*/ 2659497 w 3147279"/>
                  <a:gd name="connsiteY7" fmla="*/ 464820 h 3172784"/>
                  <a:gd name="connsiteX8" fmla="*/ 2705217 w 3147279"/>
                  <a:gd name="connsiteY8" fmla="*/ 487680 h 3172784"/>
                  <a:gd name="connsiteX9" fmla="*/ 2728077 w 3147279"/>
                  <a:gd name="connsiteY9" fmla="*/ 510540 h 3172784"/>
                  <a:gd name="connsiteX10" fmla="*/ 2789037 w 3147279"/>
                  <a:gd name="connsiteY10" fmla="*/ 594360 h 3172784"/>
                  <a:gd name="connsiteX11" fmla="*/ 2849997 w 3147279"/>
                  <a:gd name="connsiteY11" fmla="*/ 662940 h 3172784"/>
                  <a:gd name="connsiteX12" fmla="*/ 2872857 w 3147279"/>
                  <a:gd name="connsiteY12" fmla="*/ 701040 h 3172784"/>
                  <a:gd name="connsiteX13" fmla="*/ 2910957 w 3147279"/>
                  <a:gd name="connsiteY13" fmla="*/ 762000 h 3172784"/>
                  <a:gd name="connsiteX14" fmla="*/ 2949057 w 3147279"/>
                  <a:gd name="connsiteY14" fmla="*/ 845820 h 3172784"/>
                  <a:gd name="connsiteX15" fmla="*/ 2956677 w 3147279"/>
                  <a:gd name="connsiteY15" fmla="*/ 868680 h 3172784"/>
                  <a:gd name="connsiteX16" fmla="*/ 2979537 w 3147279"/>
                  <a:gd name="connsiteY16" fmla="*/ 922020 h 3172784"/>
                  <a:gd name="connsiteX17" fmla="*/ 2994777 w 3147279"/>
                  <a:gd name="connsiteY17" fmla="*/ 952500 h 3172784"/>
                  <a:gd name="connsiteX18" fmla="*/ 3010017 w 3147279"/>
                  <a:gd name="connsiteY18" fmla="*/ 998220 h 3172784"/>
                  <a:gd name="connsiteX19" fmla="*/ 3025257 w 3147279"/>
                  <a:gd name="connsiteY19" fmla="*/ 1036320 h 3172784"/>
                  <a:gd name="connsiteX20" fmla="*/ 3032877 w 3147279"/>
                  <a:gd name="connsiteY20" fmla="*/ 1066800 h 3172784"/>
                  <a:gd name="connsiteX21" fmla="*/ 3055737 w 3147279"/>
                  <a:gd name="connsiteY21" fmla="*/ 1104900 h 3172784"/>
                  <a:gd name="connsiteX22" fmla="*/ 3070977 w 3147279"/>
                  <a:gd name="connsiteY22" fmla="*/ 1150620 h 3172784"/>
                  <a:gd name="connsiteX23" fmla="*/ 3086217 w 3147279"/>
                  <a:gd name="connsiteY23" fmla="*/ 1181100 h 3172784"/>
                  <a:gd name="connsiteX24" fmla="*/ 3093837 w 3147279"/>
                  <a:gd name="connsiteY24" fmla="*/ 1226820 h 3172784"/>
                  <a:gd name="connsiteX25" fmla="*/ 3101457 w 3147279"/>
                  <a:gd name="connsiteY25" fmla="*/ 1280160 h 3172784"/>
                  <a:gd name="connsiteX26" fmla="*/ 3116697 w 3147279"/>
                  <a:gd name="connsiteY26" fmla="*/ 1371600 h 3172784"/>
                  <a:gd name="connsiteX27" fmla="*/ 3131937 w 3147279"/>
                  <a:gd name="connsiteY27" fmla="*/ 1417320 h 3172784"/>
                  <a:gd name="connsiteX28" fmla="*/ 3139557 w 3147279"/>
                  <a:gd name="connsiteY28" fmla="*/ 1485900 h 3172784"/>
                  <a:gd name="connsiteX29" fmla="*/ 3147177 w 3147279"/>
                  <a:gd name="connsiteY29" fmla="*/ 1516380 h 3172784"/>
                  <a:gd name="connsiteX30" fmla="*/ 3131937 w 3147279"/>
                  <a:gd name="connsiteY30" fmla="*/ 1691640 h 3172784"/>
                  <a:gd name="connsiteX31" fmla="*/ 3124317 w 3147279"/>
                  <a:gd name="connsiteY31" fmla="*/ 1767840 h 3172784"/>
                  <a:gd name="connsiteX32" fmla="*/ 3109077 w 3147279"/>
                  <a:gd name="connsiteY32" fmla="*/ 1836420 h 3172784"/>
                  <a:gd name="connsiteX33" fmla="*/ 3086217 w 3147279"/>
                  <a:gd name="connsiteY33" fmla="*/ 1905000 h 3172784"/>
                  <a:gd name="connsiteX34" fmla="*/ 3078597 w 3147279"/>
                  <a:gd name="connsiteY34" fmla="*/ 1935480 h 3172784"/>
                  <a:gd name="connsiteX35" fmla="*/ 3070977 w 3147279"/>
                  <a:gd name="connsiteY35" fmla="*/ 1958340 h 3172784"/>
                  <a:gd name="connsiteX36" fmla="*/ 3055737 w 3147279"/>
                  <a:gd name="connsiteY36" fmla="*/ 2019300 h 3172784"/>
                  <a:gd name="connsiteX37" fmla="*/ 3040497 w 3147279"/>
                  <a:gd name="connsiteY37" fmla="*/ 2057400 h 3172784"/>
                  <a:gd name="connsiteX38" fmla="*/ 3032877 w 3147279"/>
                  <a:gd name="connsiteY38" fmla="*/ 2080260 h 3172784"/>
                  <a:gd name="connsiteX39" fmla="*/ 3017637 w 3147279"/>
                  <a:gd name="connsiteY39" fmla="*/ 2118360 h 3172784"/>
                  <a:gd name="connsiteX40" fmla="*/ 2994777 w 3147279"/>
                  <a:gd name="connsiteY40" fmla="*/ 2186940 h 3172784"/>
                  <a:gd name="connsiteX41" fmla="*/ 2987157 w 3147279"/>
                  <a:gd name="connsiteY41" fmla="*/ 2225040 h 3172784"/>
                  <a:gd name="connsiteX42" fmla="*/ 2971917 w 3147279"/>
                  <a:gd name="connsiteY42" fmla="*/ 2270760 h 3172784"/>
                  <a:gd name="connsiteX43" fmla="*/ 2964297 w 3147279"/>
                  <a:gd name="connsiteY43" fmla="*/ 2308860 h 3172784"/>
                  <a:gd name="connsiteX44" fmla="*/ 2949057 w 3147279"/>
                  <a:gd name="connsiteY44" fmla="*/ 2331720 h 3172784"/>
                  <a:gd name="connsiteX45" fmla="*/ 2926197 w 3147279"/>
                  <a:gd name="connsiteY45" fmla="*/ 2385060 h 3172784"/>
                  <a:gd name="connsiteX46" fmla="*/ 2903337 w 3147279"/>
                  <a:gd name="connsiteY46" fmla="*/ 2407920 h 3172784"/>
                  <a:gd name="connsiteX47" fmla="*/ 2857617 w 3147279"/>
                  <a:gd name="connsiteY47" fmla="*/ 2499360 h 3172784"/>
                  <a:gd name="connsiteX48" fmla="*/ 2842377 w 3147279"/>
                  <a:gd name="connsiteY48" fmla="*/ 2529840 h 3172784"/>
                  <a:gd name="connsiteX49" fmla="*/ 2834757 w 3147279"/>
                  <a:gd name="connsiteY49" fmla="*/ 2552700 h 3172784"/>
                  <a:gd name="connsiteX50" fmla="*/ 2758557 w 3147279"/>
                  <a:gd name="connsiteY50" fmla="*/ 2636520 h 3172784"/>
                  <a:gd name="connsiteX51" fmla="*/ 2705217 w 3147279"/>
                  <a:gd name="connsiteY51" fmla="*/ 2667000 h 3172784"/>
                  <a:gd name="connsiteX52" fmla="*/ 2629017 w 3147279"/>
                  <a:gd name="connsiteY52" fmla="*/ 2712720 h 3172784"/>
                  <a:gd name="connsiteX53" fmla="*/ 2598537 w 3147279"/>
                  <a:gd name="connsiteY53" fmla="*/ 2727960 h 3172784"/>
                  <a:gd name="connsiteX54" fmla="*/ 2568057 w 3147279"/>
                  <a:gd name="connsiteY54" fmla="*/ 2750820 h 3172784"/>
                  <a:gd name="connsiteX55" fmla="*/ 2545197 w 3147279"/>
                  <a:gd name="connsiteY55" fmla="*/ 2773680 h 3172784"/>
                  <a:gd name="connsiteX56" fmla="*/ 2484237 w 3147279"/>
                  <a:gd name="connsiteY56" fmla="*/ 2804160 h 3172784"/>
                  <a:gd name="connsiteX57" fmla="*/ 2423277 w 3147279"/>
                  <a:gd name="connsiteY57" fmla="*/ 2865120 h 3172784"/>
                  <a:gd name="connsiteX58" fmla="*/ 2392797 w 3147279"/>
                  <a:gd name="connsiteY58" fmla="*/ 2887980 h 3172784"/>
                  <a:gd name="connsiteX59" fmla="*/ 2377557 w 3147279"/>
                  <a:gd name="connsiteY59" fmla="*/ 2910840 h 3172784"/>
                  <a:gd name="connsiteX60" fmla="*/ 2301357 w 3147279"/>
                  <a:gd name="connsiteY60" fmla="*/ 2994660 h 3172784"/>
                  <a:gd name="connsiteX61" fmla="*/ 2248017 w 3147279"/>
                  <a:gd name="connsiteY61" fmla="*/ 3032760 h 3172784"/>
                  <a:gd name="connsiteX62" fmla="*/ 2225157 w 3147279"/>
                  <a:gd name="connsiteY62" fmla="*/ 3040380 h 3172784"/>
                  <a:gd name="connsiteX63" fmla="*/ 2187057 w 3147279"/>
                  <a:gd name="connsiteY63" fmla="*/ 3055620 h 3172784"/>
                  <a:gd name="connsiteX64" fmla="*/ 2164197 w 3147279"/>
                  <a:gd name="connsiteY64" fmla="*/ 3070860 h 3172784"/>
                  <a:gd name="connsiteX65" fmla="*/ 2095617 w 3147279"/>
                  <a:gd name="connsiteY65" fmla="*/ 3101340 h 3172784"/>
                  <a:gd name="connsiteX66" fmla="*/ 2027037 w 3147279"/>
                  <a:gd name="connsiteY66" fmla="*/ 3108960 h 3172784"/>
                  <a:gd name="connsiteX67" fmla="*/ 1981317 w 3147279"/>
                  <a:gd name="connsiteY67" fmla="*/ 3124200 h 3172784"/>
                  <a:gd name="connsiteX68" fmla="*/ 1912737 w 3147279"/>
                  <a:gd name="connsiteY68" fmla="*/ 3131820 h 3172784"/>
                  <a:gd name="connsiteX69" fmla="*/ 1798437 w 3147279"/>
                  <a:gd name="connsiteY69" fmla="*/ 3147060 h 3172784"/>
                  <a:gd name="connsiteX70" fmla="*/ 1188837 w 3147279"/>
                  <a:gd name="connsiteY70" fmla="*/ 3139440 h 3172784"/>
                  <a:gd name="connsiteX71" fmla="*/ 1158357 w 3147279"/>
                  <a:gd name="connsiteY71" fmla="*/ 3131820 h 3172784"/>
                  <a:gd name="connsiteX72" fmla="*/ 365877 w 3147279"/>
                  <a:gd name="connsiteY72" fmla="*/ 2613660 h 3172784"/>
                  <a:gd name="connsiteX73" fmla="*/ 343017 w 3147279"/>
                  <a:gd name="connsiteY73" fmla="*/ 2567940 h 3172784"/>
                  <a:gd name="connsiteX74" fmla="*/ 320157 w 3147279"/>
                  <a:gd name="connsiteY74" fmla="*/ 2484120 h 3172784"/>
                  <a:gd name="connsiteX75" fmla="*/ 297297 w 3147279"/>
                  <a:gd name="connsiteY75" fmla="*/ 2430780 h 3172784"/>
                  <a:gd name="connsiteX76" fmla="*/ 274437 w 3147279"/>
                  <a:gd name="connsiteY76" fmla="*/ 2377440 h 3172784"/>
                  <a:gd name="connsiteX77" fmla="*/ 228717 w 3147279"/>
                  <a:gd name="connsiteY77" fmla="*/ 2316480 h 3172784"/>
                  <a:gd name="connsiteX78" fmla="*/ 205857 w 3147279"/>
                  <a:gd name="connsiteY78" fmla="*/ 2293620 h 3172784"/>
                  <a:gd name="connsiteX79" fmla="*/ 175377 w 3147279"/>
                  <a:gd name="connsiteY79" fmla="*/ 2240280 h 3172784"/>
                  <a:gd name="connsiteX80" fmla="*/ 160137 w 3147279"/>
                  <a:gd name="connsiteY80" fmla="*/ 2202180 h 3172784"/>
                  <a:gd name="connsiteX81" fmla="*/ 144897 w 3147279"/>
                  <a:gd name="connsiteY81" fmla="*/ 2179320 h 3172784"/>
                  <a:gd name="connsiteX82" fmla="*/ 129657 w 3147279"/>
                  <a:gd name="connsiteY82" fmla="*/ 2133600 h 3172784"/>
                  <a:gd name="connsiteX83" fmla="*/ 99177 w 3147279"/>
                  <a:gd name="connsiteY83" fmla="*/ 2087880 h 3172784"/>
                  <a:gd name="connsiteX84" fmla="*/ 61077 w 3147279"/>
                  <a:gd name="connsiteY84" fmla="*/ 2026920 h 3172784"/>
                  <a:gd name="connsiteX85" fmla="*/ 53457 w 3147279"/>
                  <a:gd name="connsiteY85" fmla="*/ 2004060 h 3172784"/>
                  <a:gd name="connsiteX86" fmla="*/ 38217 w 3147279"/>
                  <a:gd name="connsiteY86" fmla="*/ 1943100 h 3172784"/>
                  <a:gd name="connsiteX87" fmla="*/ 22977 w 3147279"/>
                  <a:gd name="connsiteY87" fmla="*/ 1897380 h 3172784"/>
                  <a:gd name="connsiteX88" fmla="*/ 117 w 3147279"/>
                  <a:gd name="connsiteY88" fmla="*/ 1562100 h 3172784"/>
                  <a:gd name="connsiteX89" fmla="*/ 22977 w 3147279"/>
                  <a:gd name="connsiteY89" fmla="*/ 1135380 h 3172784"/>
                  <a:gd name="connsiteX90" fmla="*/ 38217 w 3147279"/>
                  <a:gd name="connsiteY90" fmla="*/ 1104900 h 3172784"/>
                  <a:gd name="connsiteX91" fmla="*/ 83937 w 3147279"/>
                  <a:gd name="connsiteY91" fmla="*/ 1021080 h 3172784"/>
                  <a:gd name="connsiteX92" fmla="*/ 129657 w 3147279"/>
                  <a:gd name="connsiteY92" fmla="*/ 914400 h 3172784"/>
                  <a:gd name="connsiteX93" fmla="*/ 160137 w 3147279"/>
                  <a:gd name="connsiteY93" fmla="*/ 861060 h 3172784"/>
                  <a:gd name="connsiteX94" fmla="*/ 182997 w 3147279"/>
                  <a:gd name="connsiteY94" fmla="*/ 822960 h 3172784"/>
                  <a:gd name="connsiteX95" fmla="*/ 205857 w 3147279"/>
                  <a:gd name="connsiteY95" fmla="*/ 800100 h 3172784"/>
                  <a:gd name="connsiteX96" fmla="*/ 259197 w 3147279"/>
                  <a:gd name="connsiteY96" fmla="*/ 708660 h 3172784"/>
                  <a:gd name="connsiteX97" fmla="*/ 274437 w 3147279"/>
                  <a:gd name="connsiteY97" fmla="*/ 662940 h 3172784"/>
                  <a:gd name="connsiteX98" fmla="*/ 327777 w 3147279"/>
                  <a:gd name="connsiteY98" fmla="*/ 586740 h 3172784"/>
                  <a:gd name="connsiteX99" fmla="*/ 419217 w 3147279"/>
                  <a:gd name="connsiteY99" fmla="*/ 510540 h 3172784"/>
                  <a:gd name="connsiteX100" fmla="*/ 449697 w 3147279"/>
                  <a:gd name="connsiteY100" fmla="*/ 472440 h 3172784"/>
                  <a:gd name="connsiteX101" fmla="*/ 510657 w 3147279"/>
                  <a:gd name="connsiteY101" fmla="*/ 434340 h 3172784"/>
                  <a:gd name="connsiteX102" fmla="*/ 563997 w 3147279"/>
                  <a:gd name="connsiteY102" fmla="*/ 396240 h 3172784"/>
                  <a:gd name="connsiteX103" fmla="*/ 655437 w 3147279"/>
                  <a:gd name="connsiteY103" fmla="*/ 335280 h 3172784"/>
                  <a:gd name="connsiteX104" fmla="*/ 731637 w 3147279"/>
                  <a:gd name="connsiteY104" fmla="*/ 297180 h 3172784"/>
                  <a:gd name="connsiteX105" fmla="*/ 815457 w 3147279"/>
                  <a:gd name="connsiteY105" fmla="*/ 236220 h 3172784"/>
                  <a:gd name="connsiteX106" fmla="*/ 830697 w 3147279"/>
                  <a:gd name="connsiteY106" fmla="*/ 213360 h 3172784"/>
                  <a:gd name="connsiteX107" fmla="*/ 861177 w 3147279"/>
                  <a:gd name="connsiteY107" fmla="*/ 205740 h 3172784"/>
                  <a:gd name="connsiteX108" fmla="*/ 952617 w 3147279"/>
                  <a:gd name="connsiteY108" fmla="*/ 152400 h 3172784"/>
                  <a:gd name="connsiteX109" fmla="*/ 983097 w 3147279"/>
                  <a:gd name="connsiteY109" fmla="*/ 129540 h 3172784"/>
                  <a:gd name="connsiteX110" fmla="*/ 1105017 w 3147279"/>
                  <a:gd name="connsiteY110" fmla="*/ 76200 h 3172784"/>
                  <a:gd name="connsiteX111" fmla="*/ 1127877 w 3147279"/>
                  <a:gd name="connsiteY111" fmla="*/ 68580 h 3172784"/>
                  <a:gd name="connsiteX112" fmla="*/ 1188837 w 3147279"/>
                  <a:gd name="connsiteY112" fmla="*/ 53340 h 3172784"/>
                  <a:gd name="connsiteX113" fmla="*/ 1242177 w 3147279"/>
                  <a:gd name="connsiteY113" fmla="*/ 38100 h 3172784"/>
                  <a:gd name="connsiteX114" fmla="*/ 1265037 w 3147279"/>
                  <a:gd name="connsiteY114" fmla="*/ 30480 h 3172784"/>
                  <a:gd name="connsiteX115" fmla="*/ 1386957 w 3147279"/>
                  <a:gd name="connsiteY115" fmla="*/ 15240 h 3172784"/>
                  <a:gd name="connsiteX116" fmla="*/ 1463157 w 3147279"/>
                  <a:gd name="connsiteY116" fmla="*/ 0 h 3172784"/>
                  <a:gd name="connsiteX117" fmla="*/ 1882257 w 3147279"/>
                  <a:gd name="connsiteY117" fmla="*/ 15240 h 3172784"/>
                  <a:gd name="connsiteX118" fmla="*/ 1912737 w 3147279"/>
                  <a:gd name="connsiteY118" fmla="*/ 22860 h 3172784"/>
                  <a:gd name="connsiteX119" fmla="*/ 2164197 w 3147279"/>
                  <a:gd name="connsiteY119" fmla="*/ 99060 h 3172784"/>
                  <a:gd name="connsiteX120" fmla="*/ 2339457 w 3147279"/>
                  <a:gd name="connsiteY120" fmla="*/ 182880 h 3172784"/>
                  <a:gd name="connsiteX121" fmla="*/ 2369937 w 3147279"/>
                  <a:gd name="connsiteY121" fmla="*/ 190500 h 3172784"/>
                  <a:gd name="connsiteX122" fmla="*/ 2392797 w 3147279"/>
                  <a:gd name="connsiteY122" fmla="*/ 205740 h 3172784"/>
                  <a:gd name="connsiteX123" fmla="*/ 2438517 w 3147279"/>
                  <a:gd name="connsiteY123" fmla="*/ 228600 h 3172784"/>
                  <a:gd name="connsiteX124" fmla="*/ 2446137 w 3147279"/>
                  <a:gd name="connsiteY124" fmla="*/ 266700 h 3172784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6973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43017 w 3147279"/>
                  <a:gd name="connsiteY73" fmla="*/ 2567940 h 3147060"/>
                  <a:gd name="connsiteX74" fmla="*/ 320157 w 3147279"/>
                  <a:gd name="connsiteY74" fmla="*/ 2484120 h 3147060"/>
                  <a:gd name="connsiteX75" fmla="*/ 297297 w 3147279"/>
                  <a:gd name="connsiteY75" fmla="*/ 2430780 h 3147060"/>
                  <a:gd name="connsiteX76" fmla="*/ 274437 w 3147279"/>
                  <a:gd name="connsiteY76" fmla="*/ 2377440 h 3147060"/>
                  <a:gd name="connsiteX77" fmla="*/ 228717 w 3147279"/>
                  <a:gd name="connsiteY77" fmla="*/ 2316480 h 3147060"/>
                  <a:gd name="connsiteX78" fmla="*/ 205857 w 3147279"/>
                  <a:gd name="connsiteY78" fmla="*/ 2293620 h 3147060"/>
                  <a:gd name="connsiteX79" fmla="*/ 175377 w 3147279"/>
                  <a:gd name="connsiteY79" fmla="*/ 2240280 h 3147060"/>
                  <a:gd name="connsiteX80" fmla="*/ 160137 w 3147279"/>
                  <a:gd name="connsiteY80" fmla="*/ 2202180 h 3147060"/>
                  <a:gd name="connsiteX81" fmla="*/ 144897 w 3147279"/>
                  <a:gd name="connsiteY81" fmla="*/ 2179320 h 3147060"/>
                  <a:gd name="connsiteX82" fmla="*/ 129657 w 3147279"/>
                  <a:gd name="connsiteY82" fmla="*/ 2133600 h 3147060"/>
                  <a:gd name="connsiteX83" fmla="*/ 99177 w 3147279"/>
                  <a:gd name="connsiteY83" fmla="*/ 2087880 h 3147060"/>
                  <a:gd name="connsiteX84" fmla="*/ 61077 w 3147279"/>
                  <a:gd name="connsiteY84" fmla="*/ 2026920 h 3147060"/>
                  <a:gd name="connsiteX85" fmla="*/ 53457 w 3147279"/>
                  <a:gd name="connsiteY85" fmla="*/ 2004060 h 3147060"/>
                  <a:gd name="connsiteX86" fmla="*/ 38217 w 3147279"/>
                  <a:gd name="connsiteY86" fmla="*/ 1943100 h 3147060"/>
                  <a:gd name="connsiteX87" fmla="*/ 22977 w 3147279"/>
                  <a:gd name="connsiteY87" fmla="*/ 1897380 h 3147060"/>
                  <a:gd name="connsiteX88" fmla="*/ 117 w 3147279"/>
                  <a:gd name="connsiteY88" fmla="*/ 1562100 h 3147060"/>
                  <a:gd name="connsiteX89" fmla="*/ 22977 w 3147279"/>
                  <a:gd name="connsiteY89" fmla="*/ 1135380 h 3147060"/>
                  <a:gd name="connsiteX90" fmla="*/ 38217 w 3147279"/>
                  <a:gd name="connsiteY90" fmla="*/ 1104900 h 3147060"/>
                  <a:gd name="connsiteX91" fmla="*/ 83937 w 3147279"/>
                  <a:gd name="connsiteY91" fmla="*/ 1021080 h 3147060"/>
                  <a:gd name="connsiteX92" fmla="*/ 129657 w 3147279"/>
                  <a:gd name="connsiteY92" fmla="*/ 914400 h 3147060"/>
                  <a:gd name="connsiteX93" fmla="*/ 160137 w 3147279"/>
                  <a:gd name="connsiteY93" fmla="*/ 861060 h 3147060"/>
                  <a:gd name="connsiteX94" fmla="*/ 182997 w 3147279"/>
                  <a:gd name="connsiteY94" fmla="*/ 822960 h 3147060"/>
                  <a:gd name="connsiteX95" fmla="*/ 205857 w 3147279"/>
                  <a:gd name="connsiteY95" fmla="*/ 800100 h 3147060"/>
                  <a:gd name="connsiteX96" fmla="*/ 259197 w 3147279"/>
                  <a:gd name="connsiteY96" fmla="*/ 708660 h 3147060"/>
                  <a:gd name="connsiteX97" fmla="*/ 274437 w 3147279"/>
                  <a:gd name="connsiteY97" fmla="*/ 662940 h 3147060"/>
                  <a:gd name="connsiteX98" fmla="*/ 327777 w 3147279"/>
                  <a:gd name="connsiteY98" fmla="*/ 586740 h 3147060"/>
                  <a:gd name="connsiteX99" fmla="*/ 419217 w 3147279"/>
                  <a:gd name="connsiteY99" fmla="*/ 510540 h 3147060"/>
                  <a:gd name="connsiteX100" fmla="*/ 449697 w 3147279"/>
                  <a:gd name="connsiteY100" fmla="*/ 472440 h 3147060"/>
                  <a:gd name="connsiteX101" fmla="*/ 510657 w 3147279"/>
                  <a:gd name="connsiteY101" fmla="*/ 434340 h 3147060"/>
                  <a:gd name="connsiteX102" fmla="*/ 563997 w 3147279"/>
                  <a:gd name="connsiteY102" fmla="*/ 396240 h 3147060"/>
                  <a:gd name="connsiteX103" fmla="*/ 655437 w 3147279"/>
                  <a:gd name="connsiteY103" fmla="*/ 335280 h 3147060"/>
                  <a:gd name="connsiteX104" fmla="*/ 731637 w 3147279"/>
                  <a:gd name="connsiteY104" fmla="*/ 297180 h 3147060"/>
                  <a:gd name="connsiteX105" fmla="*/ 815457 w 3147279"/>
                  <a:gd name="connsiteY105" fmla="*/ 236220 h 3147060"/>
                  <a:gd name="connsiteX106" fmla="*/ 830697 w 3147279"/>
                  <a:gd name="connsiteY106" fmla="*/ 213360 h 3147060"/>
                  <a:gd name="connsiteX107" fmla="*/ 861177 w 3147279"/>
                  <a:gd name="connsiteY107" fmla="*/ 205740 h 3147060"/>
                  <a:gd name="connsiteX108" fmla="*/ 952617 w 3147279"/>
                  <a:gd name="connsiteY108" fmla="*/ 152400 h 3147060"/>
                  <a:gd name="connsiteX109" fmla="*/ 983097 w 3147279"/>
                  <a:gd name="connsiteY109" fmla="*/ 129540 h 3147060"/>
                  <a:gd name="connsiteX110" fmla="*/ 1105017 w 3147279"/>
                  <a:gd name="connsiteY110" fmla="*/ 76200 h 3147060"/>
                  <a:gd name="connsiteX111" fmla="*/ 1127877 w 3147279"/>
                  <a:gd name="connsiteY111" fmla="*/ 68580 h 3147060"/>
                  <a:gd name="connsiteX112" fmla="*/ 1188837 w 3147279"/>
                  <a:gd name="connsiteY112" fmla="*/ 53340 h 3147060"/>
                  <a:gd name="connsiteX113" fmla="*/ 1242177 w 3147279"/>
                  <a:gd name="connsiteY113" fmla="*/ 38100 h 3147060"/>
                  <a:gd name="connsiteX114" fmla="*/ 1265037 w 3147279"/>
                  <a:gd name="connsiteY114" fmla="*/ 30480 h 3147060"/>
                  <a:gd name="connsiteX115" fmla="*/ 1386957 w 3147279"/>
                  <a:gd name="connsiteY115" fmla="*/ 15240 h 3147060"/>
                  <a:gd name="connsiteX116" fmla="*/ 1463157 w 3147279"/>
                  <a:gd name="connsiteY116" fmla="*/ 0 h 3147060"/>
                  <a:gd name="connsiteX117" fmla="*/ 1882257 w 3147279"/>
                  <a:gd name="connsiteY117" fmla="*/ 15240 h 3147060"/>
                  <a:gd name="connsiteX118" fmla="*/ 1912737 w 3147279"/>
                  <a:gd name="connsiteY118" fmla="*/ 22860 h 3147060"/>
                  <a:gd name="connsiteX119" fmla="*/ 2164197 w 3147279"/>
                  <a:gd name="connsiteY119" fmla="*/ 99060 h 3147060"/>
                  <a:gd name="connsiteX120" fmla="*/ 2339457 w 3147279"/>
                  <a:gd name="connsiteY120" fmla="*/ 182880 h 3147060"/>
                  <a:gd name="connsiteX121" fmla="*/ 2369937 w 3147279"/>
                  <a:gd name="connsiteY121" fmla="*/ 190500 h 3147060"/>
                  <a:gd name="connsiteX122" fmla="*/ 2392797 w 3147279"/>
                  <a:gd name="connsiteY122" fmla="*/ 205740 h 3147060"/>
                  <a:gd name="connsiteX123" fmla="*/ 2438517 w 3147279"/>
                  <a:gd name="connsiteY123" fmla="*/ 228600 h 3147060"/>
                  <a:gd name="connsiteX124" fmla="*/ 2446137 w 3147279"/>
                  <a:gd name="connsiteY12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6973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43017 w 3147279"/>
                  <a:gd name="connsiteY73" fmla="*/ 2567940 h 3147060"/>
                  <a:gd name="connsiteX74" fmla="*/ 320157 w 3147279"/>
                  <a:gd name="connsiteY74" fmla="*/ 2484120 h 3147060"/>
                  <a:gd name="connsiteX75" fmla="*/ 297297 w 3147279"/>
                  <a:gd name="connsiteY75" fmla="*/ 2430780 h 3147060"/>
                  <a:gd name="connsiteX76" fmla="*/ 274437 w 3147279"/>
                  <a:gd name="connsiteY76" fmla="*/ 2377440 h 3147060"/>
                  <a:gd name="connsiteX77" fmla="*/ 228717 w 3147279"/>
                  <a:gd name="connsiteY77" fmla="*/ 2316480 h 3147060"/>
                  <a:gd name="connsiteX78" fmla="*/ 205857 w 3147279"/>
                  <a:gd name="connsiteY78" fmla="*/ 2293620 h 3147060"/>
                  <a:gd name="connsiteX79" fmla="*/ 175377 w 3147279"/>
                  <a:gd name="connsiteY79" fmla="*/ 2240280 h 3147060"/>
                  <a:gd name="connsiteX80" fmla="*/ 160137 w 3147279"/>
                  <a:gd name="connsiteY80" fmla="*/ 2202180 h 3147060"/>
                  <a:gd name="connsiteX81" fmla="*/ 144897 w 3147279"/>
                  <a:gd name="connsiteY81" fmla="*/ 2179320 h 3147060"/>
                  <a:gd name="connsiteX82" fmla="*/ 129657 w 3147279"/>
                  <a:gd name="connsiteY82" fmla="*/ 2133600 h 3147060"/>
                  <a:gd name="connsiteX83" fmla="*/ 99177 w 3147279"/>
                  <a:gd name="connsiteY83" fmla="*/ 2087880 h 3147060"/>
                  <a:gd name="connsiteX84" fmla="*/ 61077 w 3147279"/>
                  <a:gd name="connsiteY84" fmla="*/ 2026920 h 3147060"/>
                  <a:gd name="connsiteX85" fmla="*/ 53457 w 3147279"/>
                  <a:gd name="connsiteY85" fmla="*/ 2004060 h 3147060"/>
                  <a:gd name="connsiteX86" fmla="*/ 38217 w 3147279"/>
                  <a:gd name="connsiteY86" fmla="*/ 1943100 h 3147060"/>
                  <a:gd name="connsiteX87" fmla="*/ 22977 w 3147279"/>
                  <a:gd name="connsiteY87" fmla="*/ 1897380 h 3147060"/>
                  <a:gd name="connsiteX88" fmla="*/ 117 w 3147279"/>
                  <a:gd name="connsiteY88" fmla="*/ 1562100 h 3147060"/>
                  <a:gd name="connsiteX89" fmla="*/ 22977 w 3147279"/>
                  <a:gd name="connsiteY89" fmla="*/ 1135380 h 3147060"/>
                  <a:gd name="connsiteX90" fmla="*/ 38217 w 3147279"/>
                  <a:gd name="connsiteY90" fmla="*/ 1104900 h 3147060"/>
                  <a:gd name="connsiteX91" fmla="*/ 83937 w 3147279"/>
                  <a:gd name="connsiteY91" fmla="*/ 1021080 h 3147060"/>
                  <a:gd name="connsiteX92" fmla="*/ 129657 w 3147279"/>
                  <a:gd name="connsiteY92" fmla="*/ 914400 h 3147060"/>
                  <a:gd name="connsiteX93" fmla="*/ 160137 w 3147279"/>
                  <a:gd name="connsiteY93" fmla="*/ 861060 h 3147060"/>
                  <a:gd name="connsiteX94" fmla="*/ 182997 w 3147279"/>
                  <a:gd name="connsiteY94" fmla="*/ 822960 h 3147060"/>
                  <a:gd name="connsiteX95" fmla="*/ 205857 w 3147279"/>
                  <a:gd name="connsiteY95" fmla="*/ 800100 h 3147060"/>
                  <a:gd name="connsiteX96" fmla="*/ 259197 w 3147279"/>
                  <a:gd name="connsiteY96" fmla="*/ 708660 h 3147060"/>
                  <a:gd name="connsiteX97" fmla="*/ 274437 w 3147279"/>
                  <a:gd name="connsiteY97" fmla="*/ 662940 h 3147060"/>
                  <a:gd name="connsiteX98" fmla="*/ 327777 w 3147279"/>
                  <a:gd name="connsiteY98" fmla="*/ 586740 h 3147060"/>
                  <a:gd name="connsiteX99" fmla="*/ 419217 w 3147279"/>
                  <a:gd name="connsiteY99" fmla="*/ 510540 h 3147060"/>
                  <a:gd name="connsiteX100" fmla="*/ 449697 w 3147279"/>
                  <a:gd name="connsiteY100" fmla="*/ 472440 h 3147060"/>
                  <a:gd name="connsiteX101" fmla="*/ 510657 w 3147279"/>
                  <a:gd name="connsiteY101" fmla="*/ 434340 h 3147060"/>
                  <a:gd name="connsiteX102" fmla="*/ 563997 w 3147279"/>
                  <a:gd name="connsiteY102" fmla="*/ 396240 h 3147060"/>
                  <a:gd name="connsiteX103" fmla="*/ 655437 w 3147279"/>
                  <a:gd name="connsiteY103" fmla="*/ 335280 h 3147060"/>
                  <a:gd name="connsiteX104" fmla="*/ 731637 w 3147279"/>
                  <a:gd name="connsiteY104" fmla="*/ 297180 h 3147060"/>
                  <a:gd name="connsiteX105" fmla="*/ 815457 w 3147279"/>
                  <a:gd name="connsiteY105" fmla="*/ 236220 h 3147060"/>
                  <a:gd name="connsiteX106" fmla="*/ 830697 w 3147279"/>
                  <a:gd name="connsiteY106" fmla="*/ 213360 h 3147060"/>
                  <a:gd name="connsiteX107" fmla="*/ 861177 w 3147279"/>
                  <a:gd name="connsiteY107" fmla="*/ 205740 h 3147060"/>
                  <a:gd name="connsiteX108" fmla="*/ 952617 w 3147279"/>
                  <a:gd name="connsiteY108" fmla="*/ 152400 h 3147060"/>
                  <a:gd name="connsiteX109" fmla="*/ 983097 w 3147279"/>
                  <a:gd name="connsiteY109" fmla="*/ 129540 h 3147060"/>
                  <a:gd name="connsiteX110" fmla="*/ 1105017 w 3147279"/>
                  <a:gd name="connsiteY110" fmla="*/ 76200 h 3147060"/>
                  <a:gd name="connsiteX111" fmla="*/ 1127877 w 3147279"/>
                  <a:gd name="connsiteY111" fmla="*/ 68580 h 3147060"/>
                  <a:gd name="connsiteX112" fmla="*/ 1188837 w 3147279"/>
                  <a:gd name="connsiteY112" fmla="*/ 53340 h 3147060"/>
                  <a:gd name="connsiteX113" fmla="*/ 1242177 w 3147279"/>
                  <a:gd name="connsiteY113" fmla="*/ 38100 h 3147060"/>
                  <a:gd name="connsiteX114" fmla="*/ 1265037 w 3147279"/>
                  <a:gd name="connsiteY114" fmla="*/ 30480 h 3147060"/>
                  <a:gd name="connsiteX115" fmla="*/ 1386957 w 3147279"/>
                  <a:gd name="connsiteY115" fmla="*/ 15240 h 3147060"/>
                  <a:gd name="connsiteX116" fmla="*/ 1463157 w 3147279"/>
                  <a:gd name="connsiteY116" fmla="*/ 0 h 3147060"/>
                  <a:gd name="connsiteX117" fmla="*/ 1882257 w 3147279"/>
                  <a:gd name="connsiteY117" fmla="*/ 15240 h 3147060"/>
                  <a:gd name="connsiteX118" fmla="*/ 1912737 w 3147279"/>
                  <a:gd name="connsiteY118" fmla="*/ 22860 h 3147060"/>
                  <a:gd name="connsiteX119" fmla="*/ 2164197 w 3147279"/>
                  <a:gd name="connsiteY119" fmla="*/ 99060 h 3147060"/>
                  <a:gd name="connsiteX120" fmla="*/ 2339457 w 3147279"/>
                  <a:gd name="connsiteY120" fmla="*/ 182880 h 3147060"/>
                  <a:gd name="connsiteX121" fmla="*/ 2369937 w 3147279"/>
                  <a:gd name="connsiteY121" fmla="*/ 190500 h 3147060"/>
                  <a:gd name="connsiteX122" fmla="*/ 2392797 w 3147279"/>
                  <a:gd name="connsiteY122" fmla="*/ 205740 h 3147060"/>
                  <a:gd name="connsiteX123" fmla="*/ 2438517 w 3147279"/>
                  <a:gd name="connsiteY123" fmla="*/ 228600 h 3147060"/>
                  <a:gd name="connsiteX124" fmla="*/ 2446137 w 3147279"/>
                  <a:gd name="connsiteY12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9259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43017 w 3147279"/>
                  <a:gd name="connsiteY73" fmla="*/ 2567940 h 3147060"/>
                  <a:gd name="connsiteX74" fmla="*/ 320157 w 3147279"/>
                  <a:gd name="connsiteY74" fmla="*/ 2484120 h 3147060"/>
                  <a:gd name="connsiteX75" fmla="*/ 297297 w 3147279"/>
                  <a:gd name="connsiteY75" fmla="*/ 2430780 h 3147060"/>
                  <a:gd name="connsiteX76" fmla="*/ 274437 w 3147279"/>
                  <a:gd name="connsiteY76" fmla="*/ 2377440 h 3147060"/>
                  <a:gd name="connsiteX77" fmla="*/ 228717 w 3147279"/>
                  <a:gd name="connsiteY77" fmla="*/ 2316480 h 3147060"/>
                  <a:gd name="connsiteX78" fmla="*/ 205857 w 3147279"/>
                  <a:gd name="connsiteY78" fmla="*/ 2293620 h 3147060"/>
                  <a:gd name="connsiteX79" fmla="*/ 175377 w 3147279"/>
                  <a:gd name="connsiteY79" fmla="*/ 2240280 h 3147060"/>
                  <a:gd name="connsiteX80" fmla="*/ 160137 w 3147279"/>
                  <a:gd name="connsiteY80" fmla="*/ 2202180 h 3147060"/>
                  <a:gd name="connsiteX81" fmla="*/ 144897 w 3147279"/>
                  <a:gd name="connsiteY81" fmla="*/ 2179320 h 3147060"/>
                  <a:gd name="connsiteX82" fmla="*/ 129657 w 3147279"/>
                  <a:gd name="connsiteY82" fmla="*/ 2133600 h 3147060"/>
                  <a:gd name="connsiteX83" fmla="*/ 99177 w 3147279"/>
                  <a:gd name="connsiteY83" fmla="*/ 2087880 h 3147060"/>
                  <a:gd name="connsiteX84" fmla="*/ 61077 w 3147279"/>
                  <a:gd name="connsiteY84" fmla="*/ 2026920 h 3147060"/>
                  <a:gd name="connsiteX85" fmla="*/ 53457 w 3147279"/>
                  <a:gd name="connsiteY85" fmla="*/ 2004060 h 3147060"/>
                  <a:gd name="connsiteX86" fmla="*/ 38217 w 3147279"/>
                  <a:gd name="connsiteY86" fmla="*/ 1943100 h 3147060"/>
                  <a:gd name="connsiteX87" fmla="*/ 22977 w 3147279"/>
                  <a:gd name="connsiteY87" fmla="*/ 1897380 h 3147060"/>
                  <a:gd name="connsiteX88" fmla="*/ 117 w 3147279"/>
                  <a:gd name="connsiteY88" fmla="*/ 1562100 h 3147060"/>
                  <a:gd name="connsiteX89" fmla="*/ 22977 w 3147279"/>
                  <a:gd name="connsiteY89" fmla="*/ 1135380 h 3147060"/>
                  <a:gd name="connsiteX90" fmla="*/ 38217 w 3147279"/>
                  <a:gd name="connsiteY90" fmla="*/ 1104900 h 3147060"/>
                  <a:gd name="connsiteX91" fmla="*/ 83937 w 3147279"/>
                  <a:gd name="connsiteY91" fmla="*/ 1021080 h 3147060"/>
                  <a:gd name="connsiteX92" fmla="*/ 129657 w 3147279"/>
                  <a:gd name="connsiteY92" fmla="*/ 914400 h 3147060"/>
                  <a:gd name="connsiteX93" fmla="*/ 160137 w 3147279"/>
                  <a:gd name="connsiteY93" fmla="*/ 861060 h 3147060"/>
                  <a:gd name="connsiteX94" fmla="*/ 182997 w 3147279"/>
                  <a:gd name="connsiteY94" fmla="*/ 822960 h 3147060"/>
                  <a:gd name="connsiteX95" fmla="*/ 205857 w 3147279"/>
                  <a:gd name="connsiteY95" fmla="*/ 800100 h 3147060"/>
                  <a:gd name="connsiteX96" fmla="*/ 259197 w 3147279"/>
                  <a:gd name="connsiteY96" fmla="*/ 708660 h 3147060"/>
                  <a:gd name="connsiteX97" fmla="*/ 274437 w 3147279"/>
                  <a:gd name="connsiteY97" fmla="*/ 662940 h 3147060"/>
                  <a:gd name="connsiteX98" fmla="*/ 327777 w 3147279"/>
                  <a:gd name="connsiteY98" fmla="*/ 586740 h 3147060"/>
                  <a:gd name="connsiteX99" fmla="*/ 419217 w 3147279"/>
                  <a:gd name="connsiteY99" fmla="*/ 510540 h 3147060"/>
                  <a:gd name="connsiteX100" fmla="*/ 449697 w 3147279"/>
                  <a:gd name="connsiteY100" fmla="*/ 472440 h 3147060"/>
                  <a:gd name="connsiteX101" fmla="*/ 510657 w 3147279"/>
                  <a:gd name="connsiteY101" fmla="*/ 434340 h 3147060"/>
                  <a:gd name="connsiteX102" fmla="*/ 563997 w 3147279"/>
                  <a:gd name="connsiteY102" fmla="*/ 396240 h 3147060"/>
                  <a:gd name="connsiteX103" fmla="*/ 655437 w 3147279"/>
                  <a:gd name="connsiteY103" fmla="*/ 335280 h 3147060"/>
                  <a:gd name="connsiteX104" fmla="*/ 731637 w 3147279"/>
                  <a:gd name="connsiteY104" fmla="*/ 297180 h 3147060"/>
                  <a:gd name="connsiteX105" fmla="*/ 815457 w 3147279"/>
                  <a:gd name="connsiteY105" fmla="*/ 236220 h 3147060"/>
                  <a:gd name="connsiteX106" fmla="*/ 830697 w 3147279"/>
                  <a:gd name="connsiteY106" fmla="*/ 213360 h 3147060"/>
                  <a:gd name="connsiteX107" fmla="*/ 861177 w 3147279"/>
                  <a:gd name="connsiteY107" fmla="*/ 205740 h 3147060"/>
                  <a:gd name="connsiteX108" fmla="*/ 952617 w 3147279"/>
                  <a:gd name="connsiteY108" fmla="*/ 152400 h 3147060"/>
                  <a:gd name="connsiteX109" fmla="*/ 983097 w 3147279"/>
                  <a:gd name="connsiteY109" fmla="*/ 129540 h 3147060"/>
                  <a:gd name="connsiteX110" fmla="*/ 1105017 w 3147279"/>
                  <a:gd name="connsiteY110" fmla="*/ 76200 h 3147060"/>
                  <a:gd name="connsiteX111" fmla="*/ 1127877 w 3147279"/>
                  <a:gd name="connsiteY111" fmla="*/ 68580 h 3147060"/>
                  <a:gd name="connsiteX112" fmla="*/ 1188837 w 3147279"/>
                  <a:gd name="connsiteY112" fmla="*/ 53340 h 3147060"/>
                  <a:gd name="connsiteX113" fmla="*/ 1242177 w 3147279"/>
                  <a:gd name="connsiteY113" fmla="*/ 38100 h 3147060"/>
                  <a:gd name="connsiteX114" fmla="*/ 1265037 w 3147279"/>
                  <a:gd name="connsiteY114" fmla="*/ 30480 h 3147060"/>
                  <a:gd name="connsiteX115" fmla="*/ 1386957 w 3147279"/>
                  <a:gd name="connsiteY115" fmla="*/ 15240 h 3147060"/>
                  <a:gd name="connsiteX116" fmla="*/ 1463157 w 3147279"/>
                  <a:gd name="connsiteY116" fmla="*/ 0 h 3147060"/>
                  <a:gd name="connsiteX117" fmla="*/ 1882257 w 3147279"/>
                  <a:gd name="connsiteY117" fmla="*/ 15240 h 3147060"/>
                  <a:gd name="connsiteX118" fmla="*/ 1912737 w 3147279"/>
                  <a:gd name="connsiteY118" fmla="*/ 22860 h 3147060"/>
                  <a:gd name="connsiteX119" fmla="*/ 2164197 w 3147279"/>
                  <a:gd name="connsiteY119" fmla="*/ 99060 h 3147060"/>
                  <a:gd name="connsiteX120" fmla="*/ 2339457 w 3147279"/>
                  <a:gd name="connsiteY120" fmla="*/ 182880 h 3147060"/>
                  <a:gd name="connsiteX121" fmla="*/ 2369937 w 3147279"/>
                  <a:gd name="connsiteY121" fmla="*/ 190500 h 3147060"/>
                  <a:gd name="connsiteX122" fmla="*/ 2392797 w 3147279"/>
                  <a:gd name="connsiteY122" fmla="*/ 205740 h 3147060"/>
                  <a:gd name="connsiteX123" fmla="*/ 2438517 w 3147279"/>
                  <a:gd name="connsiteY123" fmla="*/ 228600 h 3147060"/>
                  <a:gd name="connsiteX124" fmla="*/ 2446137 w 3147279"/>
                  <a:gd name="connsiteY12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9259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20157 w 3147279"/>
                  <a:gd name="connsiteY73" fmla="*/ 2484120 h 3147060"/>
                  <a:gd name="connsiteX74" fmla="*/ 297297 w 3147279"/>
                  <a:gd name="connsiteY74" fmla="*/ 2430780 h 3147060"/>
                  <a:gd name="connsiteX75" fmla="*/ 274437 w 3147279"/>
                  <a:gd name="connsiteY75" fmla="*/ 2377440 h 3147060"/>
                  <a:gd name="connsiteX76" fmla="*/ 228717 w 3147279"/>
                  <a:gd name="connsiteY76" fmla="*/ 2316480 h 3147060"/>
                  <a:gd name="connsiteX77" fmla="*/ 205857 w 3147279"/>
                  <a:gd name="connsiteY77" fmla="*/ 2293620 h 3147060"/>
                  <a:gd name="connsiteX78" fmla="*/ 175377 w 3147279"/>
                  <a:gd name="connsiteY78" fmla="*/ 2240280 h 3147060"/>
                  <a:gd name="connsiteX79" fmla="*/ 160137 w 3147279"/>
                  <a:gd name="connsiteY79" fmla="*/ 2202180 h 3147060"/>
                  <a:gd name="connsiteX80" fmla="*/ 144897 w 3147279"/>
                  <a:gd name="connsiteY80" fmla="*/ 2179320 h 3147060"/>
                  <a:gd name="connsiteX81" fmla="*/ 129657 w 3147279"/>
                  <a:gd name="connsiteY81" fmla="*/ 2133600 h 3147060"/>
                  <a:gd name="connsiteX82" fmla="*/ 99177 w 3147279"/>
                  <a:gd name="connsiteY82" fmla="*/ 2087880 h 3147060"/>
                  <a:gd name="connsiteX83" fmla="*/ 61077 w 3147279"/>
                  <a:gd name="connsiteY83" fmla="*/ 2026920 h 3147060"/>
                  <a:gd name="connsiteX84" fmla="*/ 53457 w 3147279"/>
                  <a:gd name="connsiteY84" fmla="*/ 2004060 h 3147060"/>
                  <a:gd name="connsiteX85" fmla="*/ 38217 w 3147279"/>
                  <a:gd name="connsiteY85" fmla="*/ 1943100 h 3147060"/>
                  <a:gd name="connsiteX86" fmla="*/ 22977 w 3147279"/>
                  <a:gd name="connsiteY86" fmla="*/ 1897380 h 3147060"/>
                  <a:gd name="connsiteX87" fmla="*/ 117 w 3147279"/>
                  <a:gd name="connsiteY87" fmla="*/ 1562100 h 3147060"/>
                  <a:gd name="connsiteX88" fmla="*/ 22977 w 3147279"/>
                  <a:gd name="connsiteY88" fmla="*/ 1135380 h 3147060"/>
                  <a:gd name="connsiteX89" fmla="*/ 38217 w 3147279"/>
                  <a:gd name="connsiteY89" fmla="*/ 1104900 h 3147060"/>
                  <a:gd name="connsiteX90" fmla="*/ 83937 w 3147279"/>
                  <a:gd name="connsiteY90" fmla="*/ 1021080 h 3147060"/>
                  <a:gd name="connsiteX91" fmla="*/ 129657 w 3147279"/>
                  <a:gd name="connsiteY91" fmla="*/ 914400 h 3147060"/>
                  <a:gd name="connsiteX92" fmla="*/ 160137 w 3147279"/>
                  <a:gd name="connsiteY92" fmla="*/ 861060 h 3147060"/>
                  <a:gd name="connsiteX93" fmla="*/ 182997 w 3147279"/>
                  <a:gd name="connsiteY93" fmla="*/ 822960 h 3147060"/>
                  <a:gd name="connsiteX94" fmla="*/ 205857 w 3147279"/>
                  <a:gd name="connsiteY94" fmla="*/ 800100 h 3147060"/>
                  <a:gd name="connsiteX95" fmla="*/ 259197 w 3147279"/>
                  <a:gd name="connsiteY95" fmla="*/ 708660 h 3147060"/>
                  <a:gd name="connsiteX96" fmla="*/ 274437 w 3147279"/>
                  <a:gd name="connsiteY96" fmla="*/ 662940 h 3147060"/>
                  <a:gd name="connsiteX97" fmla="*/ 327777 w 3147279"/>
                  <a:gd name="connsiteY97" fmla="*/ 586740 h 3147060"/>
                  <a:gd name="connsiteX98" fmla="*/ 419217 w 3147279"/>
                  <a:gd name="connsiteY98" fmla="*/ 510540 h 3147060"/>
                  <a:gd name="connsiteX99" fmla="*/ 449697 w 3147279"/>
                  <a:gd name="connsiteY99" fmla="*/ 472440 h 3147060"/>
                  <a:gd name="connsiteX100" fmla="*/ 510657 w 3147279"/>
                  <a:gd name="connsiteY100" fmla="*/ 434340 h 3147060"/>
                  <a:gd name="connsiteX101" fmla="*/ 563997 w 3147279"/>
                  <a:gd name="connsiteY101" fmla="*/ 396240 h 3147060"/>
                  <a:gd name="connsiteX102" fmla="*/ 655437 w 3147279"/>
                  <a:gd name="connsiteY102" fmla="*/ 335280 h 3147060"/>
                  <a:gd name="connsiteX103" fmla="*/ 731637 w 3147279"/>
                  <a:gd name="connsiteY103" fmla="*/ 297180 h 3147060"/>
                  <a:gd name="connsiteX104" fmla="*/ 815457 w 3147279"/>
                  <a:gd name="connsiteY104" fmla="*/ 236220 h 3147060"/>
                  <a:gd name="connsiteX105" fmla="*/ 830697 w 3147279"/>
                  <a:gd name="connsiteY105" fmla="*/ 213360 h 3147060"/>
                  <a:gd name="connsiteX106" fmla="*/ 861177 w 3147279"/>
                  <a:gd name="connsiteY106" fmla="*/ 205740 h 3147060"/>
                  <a:gd name="connsiteX107" fmla="*/ 952617 w 3147279"/>
                  <a:gd name="connsiteY107" fmla="*/ 152400 h 3147060"/>
                  <a:gd name="connsiteX108" fmla="*/ 983097 w 3147279"/>
                  <a:gd name="connsiteY108" fmla="*/ 129540 h 3147060"/>
                  <a:gd name="connsiteX109" fmla="*/ 1105017 w 3147279"/>
                  <a:gd name="connsiteY109" fmla="*/ 76200 h 3147060"/>
                  <a:gd name="connsiteX110" fmla="*/ 1127877 w 3147279"/>
                  <a:gd name="connsiteY110" fmla="*/ 68580 h 3147060"/>
                  <a:gd name="connsiteX111" fmla="*/ 1188837 w 3147279"/>
                  <a:gd name="connsiteY111" fmla="*/ 53340 h 3147060"/>
                  <a:gd name="connsiteX112" fmla="*/ 1242177 w 3147279"/>
                  <a:gd name="connsiteY112" fmla="*/ 38100 h 3147060"/>
                  <a:gd name="connsiteX113" fmla="*/ 1265037 w 3147279"/>
                  <a:gd name="connsiteY113" fmla="*/ 30480 h 3147060"/>
                  <a:gd name="connsiteX114" fmla="*/ 1386957 w 3147279"/>
                  <a:gd name="connsiteY114" fmla="*/ 15240 h 3147060"/>
                  <a:gd name="connsiteX115" fmla="*/ 1463157 w 3147279"/>
                  <a:gd name="connsiteY115" fmla="*/ 0 h 3147060"/>
                  <a:gd name="connsiteX116" fmla="*/ 1882257 w 3147279"/>
                  <a:gd name="connsiteY116" fmla="*/ 15240 h 3147060"/>
                  <a:gd name="connsiteX117" fmla="*/ 1912737 w 3147279"/>
                  <a:gd name="connsiteY117" fmla="*/ 22860 h 3147060"/>
                  <a:gd name="connsiteX118" fmla="*/ 2164197 w 3147279"/>
                  <a:gd name="connsiteY118" fmla="*/ 99060 h 3147060"/>
                  <a:gd name="connsiteX119" fmla="*/ 2339457 w 3147279"/>
                  <a:gd name="connsiteY119" fmla="*/ 182880 h 3147060"/>
                  <a:gd name="connsiteX120" fmla="*/ 2369937 w 3147279"/>
                  <a:gd name="connsiteY120" fmla="*/ 190500 h 3147060"/>
                  <a:gd name="connsiteX121" fmla="*/ 2392797 w 3147279"/>
                  <a:gd name="connsiteY121" fmla="*/ 205740 h 3147060"/>
                  <a:gd name="connsiteX122" fmla="*/ 2438517 w 3147279"/>
                  <a:gd name="connsiteY122" fmla="*/ 228600 h 3147060"/>
                  <a:gd name="connsiteX123" fmla="*/ 2446137 w 3147279"/>
                  <a:gd name="connsiteY123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92597 w 3147279"/>
                  <a:gd name="connsiteY71" fmla="*/ 2933700 h 3147060"/>
                  <a:gd name="connsiteX72" fmla="*/ 419217 w 3147279"/>
                  <a:gd name="connsiteY72" fmla="*/ 2644140 h 3147060"/>
                  <a:gd name="connsiteX73" fmla="*/ 320157 w 3147279"/>
                  <a:gd name="connsiteY73" fmla="*/ 2484120 h 3147060"/>
                  <a:gd name="connsiteX74" fmla="*/ 297297 w 3147279"/>
                  <a:gd name="connsiteY74" fmla="*/ 2430780 h 3147060"/>
                  <a:gd name="connsiteX75" fmla="*/ 274437 w 3147279"/>
                  <a:gd name="connsiteY75" fmla="*/ 2377440 h 3147060"/>
                  <a:gd name="connsiteX76" fmla="*/ 228717 w 3147279"/>
                  <a:gd name="connsiteY76" fmla="*/ 2316480 h 3147060"/>
                  <a:gd name="connsiteX77" fmla="*/ 205857 w 3147279"/>
                  <a:gd name="connsiteY77" fmla="*/ 2293620 h 3147060"/>
                  <a:gd name="connsiteX78" fmla="*/ 175377 w 3147279"/>
                  <a:gd name="connsiteY78" fmla="*/ 2240280 h 3147060"/>
                  <a:gd name="connsiteX79" fmla="*/ 160137 w 3147279"/>
                  <a:gd name="connsiteY79" fmla="*/ 2202180 h 3147060"/>
                  <a:gd name="connsiteX80" fmla="*/ 144897 w 3147279"/>
                  <a:gd name="connsiteY80" fmla="*/ 2179320 h 3147060"/>
                  <a:gd name="connsiteX81" fmla="*/ 129657 w 3147279"/>
                  <a:gd name="connsiteY81" fmla="*/ 2133600 h 3147060"/>
                  <a:gd name="connsiteX82" fmla="*/ 99177 w 3147279"/>
                  <a:gd name="connsiteY82" fmla="*/ 2087880 h 3147060"/>
                  <a:gd name="connsiteX83" fmla="*/ 61077 w 3147279"/>
                  <a:gd name="connsiteY83" fmla="*/ 2026920 h 3147060"/>
                  <a:gd name="connsiteX84" fmla="*/ 53457 w 3147279"/>
                  <a:gd name="connsiteY84" fmla="*/ 2004060 h 3147060"/>
                  <a:gd name="connsiteX85" fmla="*/ 38217 w 3147279"/>
                  <a:gd name="connsiteY85" fmla="*/ 1943100 h 3147060"/>
                  <a:gd name="connsiteX86" fmla="*/ 22977 w 3147279"/>
                  <a:gd name="connsiteY86" fmla="*/ 1897380 h 3147060"/>
                  <a:gd name="connsiteX87" fmla="*/ 117 w 3147279"/>
                  <a:gd name="connsiteY87" fmla="*/ 1562100 h 3147060"/>
                  <a:gd name="connsiteX88" fmla="*/ 22977 w 3147279"/>
                  <a:gd name="connsiteY88" fmla="*/ 1135380 h 3147060"/>
                  <a:gd name="connsiteX89" fmla="*/ 38217 w 3147279"/>
                  <a:gd name="connsiteY89" fmla="*/ 1104900 h 3147060"/>
                  <a:gd name="connsiteX90" fmla="*/ 83937 w 3147279"/>
                  <a:gd name="connsiteY90" fmla="*/ 1021080 h 3147060"/>
                  <a:gd name="connsiteX91" fmla="*/ 129657 w 3147279"/>
                  <a:gd name="connsiteY91" fmla="*/ 914400 h 3147060"/>
                  <a:gd name="connsiteX92" fmla="*/ 160137 w 3147279"/>
                  <a:gd name="connsiteY92" fmla="*/ 861060 h 3147060"/>
                  <a:gd name="connsiteX93" fmla="*/ 182997 w 3147279"/>
                  <a:gd name="connsiteY93" fmla="*/ 822960 h 3147060"/>
                  <a:gd name="connsiteX94" fmla="*/ 205857 w 3147279"/>
                  <a:gd name="connsiteY94" fmla="*/ 800100 h 3147060"/>
                  <a:gd name="connsiteX95" fmla="*/ 259197 w 3147279"/>
                  <a:gd name="connsiteY95" fmla="*/ 708660 h 3147060"/>
                  <a:gd name="connsiteX96" fmla="*/ 274437 w 3147279"/>
                  <a:gd name="connsiteY96" fmla="*/ 662940 h 3147060"/>
                  <a:gd name="connsiteX97" fmla="*/ 327777 w 3147279"/>
                  <a:gd name="connsiteY97" fmla="*/ 586740 h 3147060"/>
                  <a:gd name="connsiteX98" fmla="*/ 419217 w 3147279"/>
                  <a:gd name="connsiteY98" fmla="*/ 510540 h 3147060"/>
                  <a:gd name="connsiteX99" fmla="*/ 449697 w 3147279"/>
                  <a:gd name="connsiteY99" fmla="*/ 472440 h 3147060"/>
                  <a:gd name="connsiteX100" fmla="*/ 510657 w 3147279"/>
                  <a:gd name="connsiteY100" fmla="*/ 434340 h 3147060"/>
                  <a:gd name="connsiteX101" fmla="*/ 563997 w 3147279"/>
                  <a:gd name="connsiteY101" fmla="*/ 396240 h 3147060"/>
                  <a:gd name="connsiteX102" fmla="*/ 655437 w 3147279"/>
                  <a:gd name="connsiteY102" fmla="*/ 335280 h 3147060"/>
                  <a:gd name="connsiteX103" fmla="*/ 731637 w 3147279"/>
                  <a:gd name="connsiteY103" fmla="*/ 297180 h 3147060"/>
                  <a:gd name="connsiteX104" fmla="*/ 815457 w 3147279"/>
                  <a:gd name="connsiteY104" fmla="*/ 236220 h 3147060"/>
                  <a:gd name="connsiteX105" fmla="*/ 830697 w 3147279"/>
                  <a:gd name="connsiteY105" fmla="*/ 213360 h 3147060"/>
                  <a:gd name="connsiteX106" fmla="*/ 861177 w 3147279"/>
                  <a:gd name="connsiteY106" fmla="*/ 205740 h 3147060"/>
                  <a:gd name="connsiteX107" fmla="*/ 952617 w 3147279"/>
                  <a:gd name="connsiteY107" fmla="*/ 152400 h 3147060"/>
                  <a:gd name="connsiteX108" fmla="*/ 983097 w 3147279"/>
                  <a:gd name="connsiteY108" fmla="*/ 129540 h 3147060"/>
                  <a:gd name="connsiteX109" fmla="*/ 1105017 w 3147279"/>
                  <a:gd name="connsiteY109" fmla="*/ 76200 h 3147060"/>
                  <a:gd name="connsiteX110" fmla="*/ 1127877 w 3147279"/>
                  <a:gd name="connsiteY110" fmla="*/ 68580 h 3147060"/>
                  <a:gd name="connsiteX111" fmla="*/ 1188837 w 3147279"/>
                  <a:gd name="connsiteY111" fmla="*/ 53340 h 3147060"/>
                  <a:gd name="connsiteX112" fmla="*/ 1242177 w 3147279"/>
                  <a:gd name="connsiteY112" fmla="*/ 38100 h 3147060"/>
                  <a:gd name="connsiteX113" fmla="*/ 1265037 w 3147279"/>
                  <a:gd name="connsiteY113" fmla="*/ 30480 h 3147060"/>
                  <a:gd name="connsiteX114" fmla="*/ 1386957 w 3147279"/>
                  <a:gd name="connsiteY114" fmla="*/ 15240 h 3147060"/>
                  <a:gd name="connsiteX115" fmla="*/ 1463157 w 3147279"/>
                  <a:gd name="connsiteY115" fmla="*/ 0 h 3147060"/>
                  <a:gd name="connsiteX116" fmla="*/ 1882257 w 3147279"/>
                  <a:gd name="connsiteY116" fmla="*/ 15240 h 3147060"/>
                  <a:gd name="connsiteX117" fmla="*/ 1912737 w 3147279"/>
                  <a:gd name="connsiteY117" fmla="*/ 22860 h 3147060"/>
                  <a:gd name="connsiteX118" fmla="*/ 2164197 w 3147279"/>
                  <a:gd name="connsiteY118" fmla="*/ 99060 h 3147060"/>
                  <a:gd name="connsiteX119" fmla="*/ 2339457 w 3147279"/>
                  <a:gd name="connsiteY119" fmla="*/ 182880 h 3147060"/>
                  <a:gd name="connsiteX120" fmla="*/ 2369937 w 3147279"/>
                  <a:gd name="connsiteY120" fmla="*/ 190500 h 3147060"/>
                  <a:gd name="connsiteX121" fmla="*/ 2392797 w 3147279"/>
                  <a:gd name="connsiteY121" fmla="*/ 205740 h 3147060"/>
                  <a:gd name="connsiteX122" fmla="*/ 2438517 w 3147279"/>
                  <a:gd name="connsiteY122" fmla="*/ 228600 h 3147060"/>
                  <a:gd name="connsiteX123" fmla="*/ 2446137 w 3147279"/>
                  <a:gd name="connsiteY123" fmla="*/ 266700 h 3147060"/>
                  <a:gd name="connsiteX0" fmla="*/ 2446137 w 3147279"/>
                  <a:gd name="connsiteY0" fmla="*/ 266700 h 3157851"/>
                  <a:gd name="connsiteX1" fmla="*/ 2491857 w 3147279"/>
                  <a:gd name="connsiteY1" fmla="*/ 297180 h 3157851"/>
                  <a:gd name="connsiteX2" fmla="*/ 2499477 w 3147279"/>
                  <a:gd name="connsiteY2" fmla="*/ 320040 h 3157851"/>
                  <a:gd name="connsiteX3" fmla="*/ 2529957 w 3147279"/>
                  <a:gd name="connsiteY3" fmla="*/ 342900 h 3157851"/>
                  <a:gd name="connsiteX4" fmla="*/ 2552817 w 3147279"/>
                  <a:gd name="connsiteY4" fmla="*/ 373380 h 3157851"/>
                  <a:gd name="connsiteX5" fmla="*/ 2583297 w 3147279"/>
                  <a:gd name="connsiteY5" fmla="*/ 388620 h 3157851"/>
                  <a:gd name="connsiteX6" fmla="*/ 2629017 w 3147279"/>
                  <a:gd name="connsiteY6" fmla="*/ 434340 h 3157851"/>
                  <a:gd name="connsiteX7" fmla="*/ 2659497 w 3147279"/>
                  <a:gd name="connsiteY7" fmla="*/ 464820 h 3157851"/>
                  <a:gd name="connsiteX8" fmla="*/ 2705217 w 3147279"/>
                  <a:gd name="connsiteY8" fmla="*/ 487680 h 3157851"/>
                  <a:gd name="connsiteX9" fmla="*/ 2728077 w 3147279"/>
                  <a:gd name="connsiteY9" fmla="*/ 510540 h 3157851"/>
                  <a:gd name="connsiteX10" fmla="*/ 2789037 w 3147279"/>
                  <a:gd name="connsiteY10" fmla="*/ 594360 h 3157851"/>
                  <a:gd name="connsiteX11" fmla="*/ 2849997 w 3147279"/>
                  <a:gd name="connsiteY11" fmla="*/ 662940 h 3157851"/>
                  <a:gd name="connsiteX12" fmla="*/ 2872857 w 3147279"/>
                  <a:gd name="connsiteY12" fmla="*/ 701040 h 3157851"/>
                  <a:gd name="connsiteX13" fmla="*/ 2910957 w 3147279"/>
                  <a:gd name="connsiteY13" fmla="*/ 762000 h 3157851"/>
                  <a:gd name="connsiteX14" fmla="*/ 2949057 w 3147279"/>
                  <a:gd name="connsiteY14" fmla="*/ 845820 h 3157851"/>
                  <a:gd name="connsiteX15" fmla="*/ 2956677 w 3147279"/>
                  <a:gd name="connsiteY15" fmla="*/ 868680 h 3157851"/>
                  <a:gd name="connsiteX16" fmla="*/ 2979537 w 3147279"/>
                  <a:gd name="connsiteY16" fmla="*/ 922020 h 3157851"/>
                  <a:gd name="connsiteX17" fmla="*/ 2994777 w 3147279"/>
                  <a:gd name="connsiteY17" fmla="*/ 952500 h 3157851"/>
                  <a:gd name="connsiteX18" fmla="*/ 3010017 w 3147279"/>
                  <a:gd name="connsiteY18" fmla="*/ 998220 h 3157851"/>
                  <a:gd name="connsiteX19" fmla="*/ 3025257 w 3147279"/>
                  <a:gd name="connsiteY19" fmla="*/ 1036320 h 3157851"/>
                  <a:gd name="connsiteX20" fmla="*/ 3032877 w 3147279"/>
                  <a:gd name="connsiteY20" fmla="*/ 1066800 h 3157851"/>
                  <a:gd name="connsiteX21" fmla="*/ 3055737 w 3147279"/>
                  <a:gd name="connsiteY21" fmla="*/ 1104900 h 3157851"/>
                  <a:gd name="connsiteX22" fmla="*/ 3070977 w 3147279"/>
                  <a:gd name="connsiteY22" fmla="*/ 1150620 h 3157851"/>
                  <a:gd name="connsiteX23" fmla="*/ 3086217 w 3147279"/>
                  <a:gd name="connsiteY23" fmla="*/ 1181100 h 3157851"/>
                  <a:gd name="connsiteX24" fmla="*/ 3093837 w 3147279"/>
                  <a:gd name="connsiteY24" fmla="*/ 1226820 h 3157851"/>
                  <a:gd name="connsiteX25" fmla="*/ 3101457 w 3147279"/>
                  <a:gd name="connsiteY25" fmla="*/ 1280160 h 3157851"/>
                  <a:gd name="connsiteX26" fmla="*/ 3116697 w 3147279"/>
                  <a:gd name="connsiteY26" fmla="*/ 1371600 h 3157851"/>
                  <a:gd name="connsiteX27" fmla="*/ 3131937 w 3147279"/>
                  <a:gd name="connsiteY27" fmla="*/ 1417320 h 3157851"/>
                  <a:gd name="connsiteX28" fmla="*/ 3139557 w 3147279"/>
                  <a:gd name="connsiteY28" fmla="*/ 1485900 h 3157851"/>
                  <a:gd name="connsiteX29" fmla="*/ 3147177 w 3147279"/>
                  <a:gd name="connsiteY29" fmla="*/ 1516380 h 3157851"/>
                  <a:gd name="connsiteX30" fmla="*/ 3131937 w 3147279"/>
                  <a:gd name="connsiteY30" fmla="*/ 1691640 h 3157851"/>
                  <a:gd name="connsiteX31" fmla="*/ 3124317 w 3147279"/>
                  <a:gd name="connsiteY31" fmla="*/ 1767840 h 3157851"/>
                  <a:gd name="connsiteX32" fmla="*/ 3109077 w 3147279"/>
                  <a:gd name="connsiteY32" fmla="*/ 1836420 h 3157851"/>
                  <a:gd name="connsiteX33" fmla="*/ 3086217 w 3147279"/>
                  <a:gd name="connsiteY33" fmla="*/ 1905000 h 3157851"/>
                  <a:gd name="connsiteX34" fmla="*/ 3078597 w 3147279"/>
                  <a:gd name="connsiteY34" fmla="*/ 1935480 h 3157851"/>
                  <a:gd name="connsiteX35" fmla="*/ 3070977 w 3147279"/>
                  <a:gd name="connsiteY35" fmla="*/ 1958340 h 3157851"/>
                  <a:gd name="connsiteX36" fmla="*/ 3055737 w 3147279"/>
                  <a:gd name="connsiteY36" fmla="*/ 2019300 h 3157851"/>
                  <a:gd name="connsiteX37" fmla="*/ 3040497 w 3147279"/>
                  <a:gd name="connsiteY37" fmla="*/ 2057400 h 3157851"/>
                  <a:gd name="connsiteX38" fmla="*/ 3032877 w 3147279"/>
                  <a:gd name="connsiteY38" fmla="*/ 2080260 h 3157851"/>
                  <a:gd name="connsiteX39" fmla="*/ 3017637 w 3147279"/>
                  <a:gd name="connsiteY39" fmla="*/ 2118360 h 3157851"/>
                  <a:gd name="connsiteX40" fmla="*/ 2994777 w 3147279"/>
                  <a:gd name="connsiteY40" fmla="*/ 2186940 h 3157851"/>
                  <a:gd name="connsiteX41" fmla="*/ 2987157 w 3147279"/>
                  <a:gd name="connsiteY41" fmla="*/ 2225040 h 3157851"/>
                  <a:gd name="connsiteX42" fmla="*/ 2971917 w 3147279"/>
                  <a:gd name="connsiteY42" fmla="*/ 2270760 h 3157851"/>
                  <a:gd name="connsiteX43" fmla="*/ 2964297 w 3147279"/>
                  <a:gd name="connsiteY43" fmla="*/ 2308860 h 3157851"/>
                  <a:gd name="connsiteX44" fmla="*/ 2949057 w 3147279"/>
                  <a:gd name="connsiteY44" fmla="*/ 2331720 h 3157851"/>
                  <a:gd name="connsiteX45" fmla="*/ 2926197 w 3147279"/>
                  <a:gd name="connsiteY45" fmla="*/ 2385060 h 3157851"/>
                  <a:gd name="connsiteX46" fmla="*/ 2903337 w 3147279"/>
                  <a:gd name="connsiteY46" fmla="*/ 2407920 h 3157851"/>
                  <a:gd name="connsiteX47" fmla="*/ 2857617 w 3147279"/>
                  <a:gd name="connsiteY47" fmla="*/ 2499360 h 3157851"/>
                  <a:gd name="connsiteX48" fmla="*/ 2842377 w 3147279"/>
                  <a:gd name="connsiteY48" fmla="*/ 2529840 h 3157851"/>
                  <a:gd name="connsiteX49" fmla="*/ 2834757 w 3147279"/>
                  <a:gd name="connsiteY49" fmla="*/ 2552700 h 3157851"/>
                  <a:gd name="connsiteX50" fmla="*/ 2758557 w 3147279"/>
                  <a:gd name="connsiteY50" fmla="*/ 2636520 h 3157851"/>
                  <a:gd name="connsiteX51" fmla="*/ 2705217 w 3147279"/>
                  <a:gd name="connsiteY51" fmla="*/ 2667000 h 3157851"/>
                  <a:gd name="connsiteX52" fmla="*/ 2629017 w 3147279"/>
                  <a:gd name="connsiteY52" fmla="*/ 2712720 h 3157851"/>
                  <a:gd name="connsiteX53" fmla="*/ 2598537 w 3147279"/>
                  <a:gd name="connsiteY53" fmla="*/ 2727960 h 3157851"/>
                  <a:gd name="connsiteX54" fmla="*/ 2568057 w 3147279"/>
                  <a:gd name="connsiteY54" fmla="*/ 2750820 h 3157851"/>
                  <a:gd name="connsiteX55" fmla="*/ 2545197 w 3147279"/>
                  <a:gd name="connsiteY55" fmla="*/ 2773680 h 3157851"/>
                  <a:gd name="connsiteX56" fmla="*/ 2484237 w 3147279"/>
                  <a:gd name="connsiteY56" fmla="*/ 2804160 h 3157851"/>
                  <a:gd name="connsiteX57" fmla="*/ 2423277 w 3147279"/>
                  <a:gd name="connsiteY57" fmla="*/ 2865120 h 3157851"/>
                  <a:gd name="connsiteX58" fmla="*/ 2392797 w 3147279"/>
                  <a:gd name="connsiteY58" fmla="*/ 2887980 h 3157851"/>
                  <a:gd name="connsiteX59" fmla="*/ 2377557 w 3147279"/>
                  <a:gd name="connsiteY59" fmla="*/ 2910840 h 3157851"/>
                  <a:gd name="connsiteX60" fmla="*/ 2301357 w 3147279"/>
                  <a:gd name="connsiteY60" fmla="*/ 2994660 h 3157851"/>
                  <a:gd name="connsiteX61" fmla="*/ 2248017 w 3147279"/>
                  <a:gd name="connsiteY61" fmla="*/ 3032760 h 3157851"/>
                  <a:gd name="connsiteX62" fmla="*/ 2225157 w 3147279"/>
                  <a:gd name="connsiteY62" fmla="*/ 3040380 h 3157851"/>
                  <a:gd name="connsiteX63" fmla="*/ 2187057 w 3147279"/>
                  <a:gd name="connsiteY63" fmla="*/ 3055620 h 3157851"/>
                  <a:gd name="connsiteX64" fmla="*/ 2164197 w 3147279"/>
                  <a:gd name="connsiteY64" fmla="*/ 3070860 h 3157851"/>
                  <a:gd name="connsiteX65" fmla="*/ 2095617 w 3147279"/>
                  <a:gd name="connsiteY65" fmla="*/ 3101340 h 3157851"/>
                  <a:gd name="connsiteX66" fmla="*/ 2027037 w 3147279"/>
                  <a:gd name="connsiteY66" fmla="*/ 3108960 h 3157851"/>
                  <a:gd name="connsiteX67" fmla="*/ 1981317 w 3147279"/>
                  <a:gd name="connsiteY67" fmla="*/ 3124200 h 3157851"/>
                  <a:gd name="connsiteX68" fmla="*/ 1912737 w 3147279"/>
                  <a:gd name="connsiteY68" fmla="*/ 3131820 h 3157851"/>
                  <a:gd name="connsiteX69" fmla="*/ 1798437 w 3147279"/>
                  <a:gd name="connsiteY69" fmla="*/ 3147060 h 3157851"/>
                  <a:gd name="connsiteX70" fmla="*/ 1188837 w 3147279"/>
                  <a:gd name="connsiteY70" fmla="*/ 3139440 h 3157851"/>
                  <a:gd name="connsiteX71" fmla="*/ 792597 w 3147279"/>
                  <a:gd name="connsiteY71" fmla="*/ 2933700 h 3157851"/>
                  <a:gd name="connsiteX72" fmla="*/ 419217 w 3147279"/>
                  <a:gd name="connsiteY72" fmla="*/ 2644140 h 3157851"/>
                  <a:gd name="connsiteX73" fmla="*/ 320157 w 3147279"/>
                  <a:gd name="connsiteY73" fmla="*/ 2484120 h 3157851"/>
                  <a:gd name="connsiteX74" fmla="*/ 297297 w 3147279"/>
                  <a:gd name="connsiteY74" fmla="*/ 2430780 h 3157851"/>
                  <a:gd name="connsiteX75" fmla="*/ 274437 w 3147279"/>
                  <a:gd name="connsiteY75" fmla="*/ 2377440 h 3157851"/>
                  <a:gd name="connsiteX76" fmla="*/ 228717 w 3147279"/>
                  <a:gd name="connsiteY76" fmla="*/ 2316480 h 3157851"/>
                  <a:gd name="connsiteX77" fmla="*/ 205857 w 3147279"/>
                  <a:gd name="connsiteY77" fmla="*/ 2293620 h 3157851"/>
                  <a:gd name="connsiteX78" fmla="*/ 175377 w 3147279"/>
                  <a:gd name="connsiteY78" fmla="*/ 2240280 h 3157851"/>
                  <a:gd name="connsiteX79" fmla="*/ 160137 w 3147279"/>
                  <a:gd name="connsiteY79" fmla="*/ 2202180 h 3157851"/>
                  <a:gd name="connsiteX80" fmla="*/ 144897 w 3147279"/>
                  <a:gd name="connsiteY80" fmla="*/ 2179320 h 3157851"/>
                  <a:gd name="connsiteX81" fmla="*/ 129657 w 3147279"/>
                  <a:gd name="connsiteY81" fmla="*/ 2133600 h 3157851"/>
                  <a:gd name="connsiteX82" fmla="*/ 99177 w 3147279"/>
                  <a:gd name="connsiteY82" fmla="*/ 2087880 h 3157851"/>
                  <a:gd name="connsiteX83" fmla="*/ 61077 w 3147279"/>
                  <a:gd name="connsiteY83" fmla="*/ 2026920 h 3157851"/>
                  <a:gd name="connsiteX84" fmla="*/ 53457 w 3147279"/>
                  <a:gd name="connsiteY84" fmla="*/ 2004060 h 3157851"/>
                  <a:gd name="connsiteX85" fmla="*/ 38217 w 3147279"/>
                  <a:gd name="connsiteY85" fmla="*/ 1943100 h 3157851"/>
                  <a:gd name="connsiteX86" fmla="*/ 22977 w 3147279"/>
                  <a:gd name="connsiteY86" fmla="*/ 1897380 h 3157851"/>
                  <a:gd name="connsiteX87" fmla="*/ 117 w 3147279"/>
                  <a:gd name="connsiteY87" fmla="*/ 1562100 h 3157851"/>
                  <a:gd name="connsiteX88" fmla="*/ 22977 w 3147279"/>
                  <a:gd name="connsiteY88" fmla="*/ 1135380 h 3157851"/>
                  <a:gd name="connsiteX89" fmla="*/ 38217 w 3147279"/>
                  <a:gd name="connsiteY89" fmla="*/ 1104900 h 3157851"/>
                  <a:gd name="connsiteX90" fmla="*/ 83937 w 3147279"/>
                  <a:gd name="connsiteY90" fmla="*/ 1021080 h 3157851"/>
                  <a:gd name="connsiteX91" fmla="*/ 129657 w 3147279"/>
                  <a:gd name="connsiteY91" fmla="*/ 914400 h 3157851"/>
                  <a:gd name="connsiteX92" fmla="*/ 160137 w 3147279"/>
                  <a:gd name="connsiteY92" fmla="*/ 861060 h 3157851"/>
                  <a:gd name="connsiteX93" fmla="*/ 182997 w 3147279"/>
                  <a:gd name="connsiteY93" fmla="*/ 822960 h 3157851"/>
                  <a:gd name="connsiteX94" fmla="*/ 205857 w 3147279"/>
                  <a:gd name="connsiteY94" fmla="*/ 800100 h 3157851"/>
                  <a:gd name="connsiteX95" fmla="*/ 259197 w 3147279"/>
                  <a:gd name="connsiteY95" fmla="*/ 708660 h 3157851"/>
                  <a:gd name="connsiteX96" fmla="*/ 274437 w 3147279"/>
                  <a:gd name="connsiteY96" fmla="*/ 662940 h 3157851"/>
                  <a:gd name="connsiteX97" fmla="*/ 327777 w 3147279"/>
                  <a:gd name="connsiteY97" fmla="*/ 586740 h 3157851"/>
                  <a:gd name="connsiteX98" fmla="*/ 419217 w 3147279"/>
                  <a:gd name="connsiteY98" fmla="*/ 510540 h 3157851"/>
                  <a:gd name="connsiteX99" fmla="*/ 449697 w 3147279"/>
                  <a:gd name="connsiteY99" fmla="*/ 472440 h 3157851"/>
                  <a:gd name="connsiteX100" fmla="*/ 510657 w 3147279"/>
                  <a:gd name="connsiteY100" fmla="*/ 434340 h 3157851"/>
                  <a:gd name="connsiteX101" fmla="*/ 563997 w 3147279"/>
                  <a:gd name="connsiteY101" fmla="*/ 396240 h 3157851"/>
                  <a:gd name="connsiteX102" fmla="*/ 655437 w 3147279"/>
                  <a:gd name="connsiteY102" fmla="*/ 335280 h 3157851"/>
                  <a:gd name="connsiteX103" fmla="*/ 731637 w 3147279"/>
                  <a:gd name="connsiteY103" fmla="*/ 297180 h 3157851"/>
                  <a:gd name="connsiteX104" fmla="*/ 815457 w 3147279"/>
                  <a:gd name="connsiteY104" fmla="*/ 236220 h 3157851"/>
                  <a:gd name="connsiteX105" fmla="*/ 830697 w 3147279"/>
                  <a:gd name="connsiteY105" fmla="*/ 213360 h 3157851"/>
                  <a:gd name="connsiteX106" fmla="*/ 861177 w 3147279"/>
                  <a:gd name="connsiteY106" fmla="*/ 205740 h 3157851"/>
                  <a:gd name="connsiteX107" fmla="*/ 952617 w 3147279"/>
                  <a:gd name="connsiteY107" fmla="*/ 152400 h 3157851"/>
                  <a:gd name="connsiteX108" fmla="*/ 983097 w 3147279"/>
                  <a:gd name="connsiteY108" fmla="*/ 129540 h 3157851"/>
                  <a:gd name="connsiteX109" fmla="*/ 1105017 w 3147279"/>
                  <a:gd name="connsiteY109" fmla="*/ 76200 h 3157851"/>
                  <a:gd name="connsiteX110" fmla="*/ 1127877 w 3147279"/>
                  <a:gd name="connsiteY110" fmla="*/ 68580 h 3157851"/>
                  <a:gd name="connsiteX111" fmla="*/ 1188837 w 3147279"/>
                  <a:gd name="connsiteY111" fmla="*/ 53340 h 3157851"/>
                  <a:gd name="connsiteX112" fmla="*/ 1242177 w 3147279"/>
                  <a:gd name="connsiteY112" fmla="*/ 38100 h 3157851"/>
                  <a:gd name="connsiteX113" fmla="*/ 1265037 w 3147279"/>
                  <a:gd name="connsiteY113" fmla="*/ 30480 h 3157851"/>
                  <a:gd name="connsiteX114" fmla="*/ 1386957 w 3147279"/>
                  <a:gd name="connsiteY114" fmla="*/ 15240 h 3157851"/>
                  <a:gd name="connsiteX115" fmla="*/ 1463157 w 3147279"/>
                  <a:gd name="connsiteY115" fmla="*/ 0 h 3157851"/>
                  <a:gd name="connsiteX116" fmla="*/ 1882257 w 3147279"/>
                  <a:gd name="connsiteY116" fmla="*/ 15240 h 3157851"/>
                  <a:gd name="connsiteX117" fmla="*/ 1912737 w 3147279"/>
                  <a:gd name="connsiteY117" fmla="*/ 22860 h 3157851"/>
                  <a:gd name="connsiteX118" fmla="*/ 2164197 w 3147279"/>
                  <a:gd name="connsiteY118" fmla="*/ 99060 h 3157851"/>
                  <a:gd name="connsiteX119" fmla="*/ 2339457 w 3147279"/>
                  <a:gd name="connsiteY119" fmla="*/ 182880 h 3157851"/>
                  <a:gd name="connsiteX120" fmla="*/ 2369937 w 3147279"/>
                  <a:gd name="connsiteY120" fmla="*/ 190500 h 3157851"/>
                  <a:gd name="connsiteX121" fmla="*/ 2392797 w 3147279"/>
                  <a:gd name="connsiteY121" fmla="*/ 205740 h 3157851"/>
                  <a:gd name="connsiteX122" fmla="*/ 2438517 w 3147279"/>
                  <a:gd name="connsiteY122" fmla="*/ 228600 h 3157851"/>
                  <a:gd name="connsiteX123" fmla="*/ 2446137 w 3147279"/>
                  <a:gd name="connsiteY123" fmla="*/ 266700 h 315785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48017 w 3147279"/>
                  <a:gd name="connsiteY61" fmla="*/ 3032760 h 3147261"/>
                  <a:gd name="connsiteX62" fmla="*/ 2225157 w 3147279"/>
                  <a:gd name="connsiteY62" fmla="*/ 3040380 h 3147261"/>
                  <a:gd name="connsiteX63" fmla="*/ 2187057 w 3147279"/>
                  <a:gd name="connsiteY63" fmla="*/ 3055620 h 3147261"/>
                  <a:gd name="connsiteX64" fmla="*/ 2164197 w 3147279"/>
                  <a:gd name="connsiteY64" fmla="*/ 3070860 h 3147261"/>
                  <a:gd name="connsiteX65" fmla="*/ 2095617 w 3147279"/>
                  <a:gd name="connsiteY65" fmla="*/ 3101340 h 3147261"/>
                  <a:gd name="connsiteX66" fmla="*/ 2027037 w 3147279"/>
                  <a:gd name="connsiteY66" fmla="*/ 3108960 h 3147261"/>
                  <a:gd name="connsiteX67" fmla="*/ 1981317 w 3147279"/>
                  <a:gd name="connsiteY67" fmla="*/ 3124200 h 3147261"/>
                  <a:gd name="connsiteX68" fmla="*/ 1912737 w 3147279"/>
                  <a:gd name="connsiteY68" fmla="*/ 3131820 h 3147261"/>
                  <a:gd name="connsiteX69" fmla="*/ 1798437 w 3147279"/>
                  <a:gd name="connsiteY69" fmla="*/ 3147060 h 3147261"/>
                  <a:gd name="connsiteX70" fmla="*/ 1333617 w 3147279"/>
                  <a:gd name="connsiteY70" fmla="*/ 3108960 h 3147261"/>
                  <a:gd name="connsiteX71" fmla="*/ 792597 w 3147279"/>
                  <a:gd name="connsiteY71" fmla="*/ 2933700 h 3147261"/>
                  <a:gd name="connsiteX72" fmla="*/ 419217 w 3147279"/>
                  <a:gd name="connsiteY72" fmla="*/ 2644140 h 3147261"/>
                  <a:gd name="connsiteX73" fmla="*/ 320157 w 3147279"/>
                  <a:gd name="connsiteY73" fmla="*/ 2484120 h 3147261"/>
                  <a:gd name="connsiteX74" fmla="*/ 297297 w 3147279"/>
                  <a:gd name="connsiteY74" fmla="*/ 2430780 h 3147261"/>
                  <a:gd name="connsiteX75" fmla="*/ 274437 w 3147279"/>
                  <a:gd name="connsiteY75" fmla="*/ 2377440 h 3147261"/>
                  <a:gd name="connsiteX76" fmla="*/ 228717 w 3147279"/>
                  <a:gd name="connsiteY76" fmla="*/ 2316480 h 3147261"/>
                  <a:gd name="connsiteX77" fmla="*/ 205857 w 3147279"/>
                  <a:gd name="connsiteY77" fmla="*/ 2293620 h 3147261"/>
                  <a:gd name="connsiteX78" fmla="*/ 175377 w 3147279"/>
                  <a:gd name="connsiteY78" fmla="*/ 2240280 h 3147261"/>
                  <a:gd name="connsiteX79" fmla="*/ 160137 w 3147279"/>
                  <a:gd name="connsiteY79" fmla="*/ 2202180 h 3147261"/>
                  <a:gd name="connsiteX80" fmla="*/ 144897 w 3147279"/>
                  <a:gd name="connsiteY80" fmla="*/ 2179320 h 3147261"/>
                  <a:gd name="connsiteX81" fmla="*/ 129657 w 3147279"/>
                  <a:gd name="connsiteY81" fmla="*/ 2133600 h 3147261"/>
                  <a:gd name="connsiteX82" fmla="*/ 99177 w 3147279"/>
                  <a:gd name="connsiteY82" fmla="*/ 2087880 h 3147261"/>
                  <a:gd name="connsiteX83" fmla="*/ 61077 w 3147279"/>
                  <a:gd name="connsiteY83" fmla="*/ 2026920 h 3147261"/>
                  <a:gd name="connsiteX84" fmla="*/ 53457 w 3147279"/>
                  <a:gd name="connsiteY84" fmla="*/ 2004060 h 3147261"/>
                  <a:gd name="connsiteX85" fmla="*/ 38217 w 3147279"/>
                  <a:gd name="connsiteY85" fmla="*/ 1943100 h 3147261"/>
                  <a:gd name="connsiteX86" fmla="*/ 22977 w 3147279"/>
                  <a:gd name="connsiteY86" fmla="*/ 1897380 h 3147261"/>
                  <a:gd name="connsiteX87" fmla="*/ 117 w 3147279"/>
                  <a:gd name="connsiteY87" fmla="*/ 1562100 h 3147261"/>
                  <a:gd name="connsiteX88" fmla="*/ 22977 w 3147279"/>
                  <a:gd name="connsiteY88" fmla="*/ 1135380 h 3147261"/>
                  <a:gd name="connsiteX89" fmla="*/ 38217 w 3147279"/>
                  <a:gd name="connsiteY89" fmla="*/ 1104900 h 3147261"/>
                  <a:gd name="connsiteX90" fmla="*/ 83937 w 3147279"/>
                  <a:gd name="connsiteY90" fmla="*/ 1021080 h 3147261"/>
                  <a:gd name="connsiteX91" fmla="*/ 129657 w 3147279"/>
                  <a:gd name="connsiteY91" fmla="*/ 914400 h 3147261"/>
                  <a:gd name="connsiteX92" fmla="*/ 160137 w 3147279"/>
                  <a:gd name="connsiteY92" fmla="*/ 861060 h 3147261"/>
                  <a:gd name="connsiteX93" fmla="*/ 182997 w 3147279"/>
                  <a:gd name="connsiteY93" fmla="*/ 822960 h 3147261"/>
                  <a:gd name="connsiteX94" fmla="*/ 205857 w 3147279"/>
                  <a:gd name="connsiteY94" fmla="*/ 800100 h 3147261"/>
                  <a:gd name="connsiteX95" fmla="*/ 259197 w 3147279"/>
                  <a:gd name="connsiteY95" fmla="*/ 708660 h 3147261"/>
                  <a:gd name="connsiteX96" fmla="*/ 274437 w 3147279"/>
                  <a:gd name="connsiteY96" fmla="*/ 662940 h 3147261"/>
                  <a:gd name="connsiteX97" fmla="*/ 327777 w 3147279"/>
                  <a:gd name="connsiteY97" fmla="*/ 586740 h 3147261"/>
                  <a:gd name="connsiteX98" fmla="*/ 419217 w 3147279"/>
                  <a:gd name="connsiteY98" fmla="*/ 510540 h 3147261"/>
                  <a:gd name="connsiteX99" fmla="*/ 449697 w 3147279"/>
                  <a:gd name="connsiteY99" fmla="*/ 472440 h 3147261"/>
                  <a:gd name="connsiteX100" fmla="*/ 510657 w 3147279"/>
                  <a:gd name="connsiteY100" fmla="*/ 434340 h 3147261"/>
                  <a:gd name="connsiteX101" fmla="*/ 563997 w 3147279"/>
                  <a:gd name="connsiteY101" fmla="*/ 396240 h 3147261"/>
                  <a:gd name="connsiteX102" fmla="*/ 655437 w 3147279"/>
                  <a:gd name="connsiteY102" fmla="*/ 335280 h 3147261"/>
                  <a:gd name="connsiteX103" fmla="*/ 731637 w 3147279"/>
                  <a:gd name="connsiteY103" fmla="*/ 297180 h 3147261"/>
                  <a:gd name="connsiteX104" fmla="*/ 815457 w 3147279"/>
                  <a:gd name="connsiteY104" fmla="*/ 236220 h 3147261"/>
                  <a:gd name="connsiteX105" fmla="*/ 830697 w 3147279"/>
                  <a:gd name="connsiteY105" fmla="*/ 213360 h 3147261"/>
                  <a:gd name="connsiteX106" fmla="*/ 861177 w 3147279"/>
                  <a:gd name="connsiteY106" fmla="*/ 205740 h 3147261"/>
                  <a:gd name="connsiteX107" fmla="*/ 952617 w 3147279"/>
                  <a:gd name="connsiteY107" fmla="*/ 152400 h 3147261"/>
                  <a:gd name="connsiteX108" fmla="*/ 983097 w 3147279"/>
                  <a:gd name="connsiteY108" fmla="*/ 129540 h 3147261"/>
                  <a:gd name="connsiteX109" fmla="*/ 1105017 w 3147279"/>
                  <a:gd name="connsiteY109" fmla="*/ 76200 h 3147261"/>
                  <a:gd name="connsiteX110" fmla="*/ 1127877 w 3147279"/>
                  <a:gd name="connsiteY110" fmla="*/ 68580 h 3147261"/>
                  <a:gd name="connsiteX111" fmla="*/ 1188837 w 3147279"/>
                  <a:gd name="connsiteY111" fmla="*/ 53340 h 3147261"/>
                  <a:gd name="connsiteX112" fmla="*/ 1242177 w 3147279"/>
                  <a:gd name="connsiteY112" fmla="*/ 38100 h 3147261"/>
                  <a:gd name="connsiteX113" fmla="*/ 1265037 w 3147279"/>
                  <a:gd name="connsiteY113" fmla="*/ 30480 h 3147261"/>
                  <a:gd name="connsiteX114" fmla="*/ 1386957 w 3147279"/>
                  <a:gd name="connsiteY114" fmla="*/ 15240 h 3147261"/>
                  <a:gd name="connsiteX115" fmla="*/ 1463157 w 3147279"/>
                  <a:gd name="connsiteY115" fmla="*/ 0 h 3147261"/>
                  <a:gd name="connsiteX116" fmla="*/ 1882257 w 3147279"/>
                  <a:gd name="connsiteY116" fmla="*/ 15240 h 3147261"/>
                  <a:gd name="connsiteX117" fmla="*/ 1912737 w 3147279"/>
                  <a:gd name="connsiteY117" fmla="*/ 22860 h 3147261"/>
                  <a:gd name="connsiteX118" fmla="*/ 2164197 w 3147279"/>
                  <a:gd name="connsiteY118" fmla="*/ 99060 h 3147261"/>
                  <a:gd name="connsiteX119" fmla="*/ 2339457 w 3147279"/>
                  <a:gd name="connsiteY119" fmla="*/ 182880 h 3147261"/>
                  <a:gd name="connsiteX120" fmla="*/ 2369937 w 3147279"/>
                  <a:gd name="connsiteY120" fmla="*/ 190500 h 3147261"/>
                  <a:gd name="connsiteX121" fmla="*/ 2392797 w 3147279"/>
                  <a:gd name="connsiteY121" fmla="*/ 205740 h 3147261"/>
                  <a:gd name="connsiteX122" fmla="*/ 2438517 w 3147279"/>
                  <a:gd name="connsiteY122" fmla="*/ 228600 h 3147261"/>
                  <a:gd name="connsiteX123" fmla="*/ 2446137 w 3147279"/>
                  <a:gd name="connsiteY123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164197 w 3147279"/>
                  <a:gd name="connsiteY63" fmla="*/ 3070860 h 3147261"/>
                  <a:gd name="connsiteX64" fmla="*/ 2095617 w 3147279"/>
                  <a:gd name="connsiteY64" fmla="*/ 3101340 h 3147261"/>
                  <a:gd name="connsiteX65" fmla="*/ 2027037 w 3147279"/>
                  <a:gd name="connsiteY65" fmla="*/ 3108960 h 3147261"/>
                  <a:gd name="connsiteX66" fmla="*/ 1981317 w 3147279"/>
                  <a:gd name="connsiteY66" fmla="*/ 3124200 h 3147261"/>
                  <a:gd name="connsiteX67" fmla="*/ 1912737 w 3147279"/>
                  <a:gd name="connsiteY67" fmla="*/ 3131820 h 3147261"/>
                  <a:gd name="connsiteX68" fmla="*/ 1798437 w 3147279"/>
                  <a:gd name="connsiteY68" fmla="*/ 3147060 h 3147261"/>
                  <a:gd name="connsiteX69" fmla="*/ 1333617 w 3147279"/>
                  <a:gd name="connsiteY69" fmla="*/ 3108960 h 3147261"/>
                  <a:gd name="connsiteX70" fmla="*/ 792597 w 3147279"/>
                  <a:gd name="connsiteY70" fmla="*/ 2933700 h 3147261"/>
                  <a:gd name="connsiteX71" fmla="*/ 419217 w 3147279"/>
                  <a:gd name="connsiteY71" fmla="*/ 2644140 h 3147261"/>
                  <a:gd name="connsiteX72" fmla="*/ 320157 w 3147279"/>
                  <a:gd name="connsiteY72" fmla="*/ 2484120 h 3147261"/>
                  <a:gd name="connsiteX73" fmla="*/ 297297 w 3147279"/>
                  <a:gd name="connsiteY73" fmla="*/ 2430780 h 3147261"/>
                  <a:gd name="connsiteX74" fmla="*/ 274437 w 3147279"/>
                  <a:gd name="connsiteY74" fmla="*/ 2377440 h 3147261"/>
                  <a:gd name="connsiteX75" fmla="*/ 228717 w 3147279"/>
                  <a:gd name="connsiteY75" fmla="*/ 2316480 h 3147261"/>
                  <a:gd name="connsiteX76" fmla="*/ 205857 w 3147279"/>
                  <a:gd name="connsiteY76" fmla="*/ 2293620 h 3147261"/>
                  <a:gd name="connsiteX77" fmla="*/ 175377 w 3147279"/>
                  <a:gd name="connsiteY77" fmla="*/ 2240280 h 3147261"/>
                  <a:gd name="connsiteX78" fmla="*/ 160137 w 3147279"/>
                  <a:gd name="connsiteY78" fmla="*/ 2202180 h 3147261"/>
                  <a:gd name="connsiteX79" fmla="*/ 144897 w 3147279"/>
                  <a:gd name="connsiteY79" fmla="*/ 2179320 h 3147261"/>
                  <a:gd name="connsiteX80" fmla="*/ 129657 w 3147279"/>
                  <a:gd name="connsiteY80" fmla="*/ 2133600 h 3147261"/>
                  <a:gd name="connsiteX81" fmla="*/ 99177 w 3147279"/>
                  <a:gd name="connsiteY81" fmla="*/ 2087880 h 3147261"/>
                  <a:gd name="connsiteX82" fmla="*/ 61077 w 3147279"/>
                  <a:gd name="connsiteY82" fmla="*/ 2026920 h 3147261"/>
                  <a:gd name="connsiteX83" fmla="*/ 53457 w 3147279"/>
                  <a:gd name="connsiteY83" fmla="*/ 2004060 h 3147261"/>
                  <a:gd name="connsiteX84" fmla="*/ 38217 w 3147279"/>
                  <a:gd name="connsiteY84" fmla="*/ 1943100 h 3147261"/>
                  <a:gd name="connsiteX85" fmla="*/ 22977 w 3147279"/>
                  <a:gd name="connsiteY85" fmla="*/ 1897380 h 3147261"/>
                  <a:gd name="connsiteX86" fmla="*/ 117 w 3147279"/>
                  <a:gd name="connsiteY86" fmla="*/ 1562100 h 3147261"/>
                  <a:gd name="connsiteX87" fmla="*/ 22977 w 3147279"/>
                  <a:gd name="connsiteY87" fmla="*/ 1135380 h 3147261"/>
                  <a:gd name="connsiteX88" fmla="*/ 38217 w 3147279"/>
                  <a:gd name="connsiteY88" fmla="*/ 1104900 h 3147261"/>
                  <a:gd name="connsiteX89" fmla="*/ 83937 w 3147279"/>
                  <a:gd name="connsiteY89" fmla="*/ 1021080 h 3147261"/>
                  <a:gd name="connsiteX90" fmla="*/ 129657 w 3147279"/>
                  <a:gd name="connsiteY90" fmla="*/ 914400 h 3147261"/>
                  <a:gd name="connsiteX91" fmla="*/ 160137 w 3147279"/>
                  <a:gd name="connsiteY91" fmla="*/ 861060 h 3147261"/>
                  <a:gd name="connsiteX92" fmla="*/ 182997 w 3147279"/>
                  <a:gd name="connsiteY92" fmla="*/ 822960 h 3147261"/>
                  <a:gd name="connsiteX93" fmla="*/ 205857 w 3147279"/>
                  <a:gd name="connsiteY93" fmla="*/ 800100 h 3147261"/>
                  <a:gd name="connsiteX94" fmla="*/ 259197 w 3147279"/>
                  <a:gd name="connsiteY94" fmla="*/ 708660 h 3147261"/>
                  <a:gd name="connsiteX95" fmla="*/ 274437 w 3147279"/>
                  <a:gd name="connsiteY95" fmla="*/ 662940 h 3147261"/>
                  <a:gd name="connsiteX96" fmla="*/ 327777 w 3147279"/>
                  <a:gd name="connsiteY96" fmla="*/ 586740 h 3147261"/>
                  <a:gd name="connsiteX97" fmla="*/ 419217 w 3147279"/>
                  <a:gd name="connsiteY97" fmla="*/ 510540 h 3147261"/>
                  <a:gd name="connsiteX98" fmla="*/ 449697 w 3147279"/>
                  <a:gd name="connsiteY98" fmla="*/ 472440 h 3147261"/>
                  <a:gd name="connsiteX99" fmla="*/ 510657 w 3147279"/>
                  <a:gd name="connsiteY99" fmla="*/ 434340 h 3147261"/>
                  <a:gd name="connsiteX100" fmla="*/ 563997 w 3147279"/>
                  <a:gd name="connsiteY100" fmla="*/ 396240 h 3147261"/>
                  <a:gd name="connsiteX101" fmla="*/ 655437 w 3147279"/>
                  <a:gd name="connsiteY101" fmla="*/ 335280 h 3147261"/>
                  <a:gd name="connsiteX102" fmla="*/ 731637 w 3147279"/>
                  <a:gd name="connsiteY102" fmla="*/ 297180 h 3147261"/>
                  <a:gd name="connsiteX103" fmla="*/ 815457 w 3147279"/>
                  <a:gd name="connsiteY103" fmla="*/ 236220 h 3147261"/>
                  <a:gd name="connsiteX104" fmla="*/ 830697 w 3147279"/>
                  <a:gd name="connsiteY104" fmla="*/ 213360 h 3147261"/>
                  <a:gd name="connsiteX105" fmla="*/ 861177 w 3147279"/>
                  <a:gd name="connsiteY105" fmla="*/ 205740 h 3147261"/>
                  <a:gd name="connsiteX106" fmla="*/ 952617 w 3147279"/>
                  <a:gd name="connsiteY106" fmla="*/ 152400 h 3147261"/>
                  <a:gd name="connsiteX107" fmla="*/ 983097 w 3147279"/>
                  <a:gd name="connsiteY107" fmla="*/ 129540 h 3147261"/>
                  <a:gd name="connsiteX108" fmla="*/ 1105017 w 3147279"/>
                  <a:gd name="connsiteY108" fmla="*/ 76200 h 3147261"/>
                  <a:gd name="connsiteX109" fmla="*/ 1127877 w 3147279"/>
                  <a:gd name="connsiteY109" fmla="*/ 68580 h 3147261"/>
                  <a:gd name="connsiteX110" fmla="*/ 1188837 w 3147279"/>
                  <a:gd name="connsiteY110" fmla="*/ 53340 h 3147261"/>
                  <a:gd name="connsiteX111" fmla="*/ 1242177 w 3147279"/>
                  <a:gd name="connsiteY111" fmla="*/ 38100 h 3147261"/>
                  <a:gd name="connsiteX112" fmla="*/ 1265037 w 3147279"/>
                  <a:gd name="connsiteY112" fmla="*/ 30480 h 3147261"/>
                  <a:gd name="connsiteX113" fmla="*/ 1386957 w 3147279"/>
                  <a:gd name="connsiteY113" fmla="*/ 15240 h 3147261"/>
                  <a:gd name="connsiteX114" fmla="*/ 1463157 w 3147279"/>
                  <a:gd name="connsiteY114" fmla="*/ 0 h 3147261"/>
                  <a:gd name="connsiteX115" fmla="*/ 1882257 w 3147279"/>
                  <a:gd name="connsiteY115" fmla="*/ 15240 h 3147261"/>
                  <a:gd name="connsiteX116" fmla="*/ 1912737 w 3147279"/>
                  <a:gd name="connsiteY116" fmla="*/ 22860 h 3147261"/>
                  <a:gd name="connsiteX117" fmla="*/ 2164197 w 3147279"/>
                  <a:gd name="connsiteY117" fmla="*/ 99060 h 3147261"/>
                  <a:gd name="connsiteX118" fmla="*/ 2339457 w 3147279"/>
                  <a:gd name="connsiteY118" fmla="*/ 182880 h 3147261"/>
                  <a:gd name="connsiteX119" fmla="*/ 2369937 w 3147279"/>
                  <a:gd name="connsiteY119" fmla="*/ 190500 h 3147261"/>
                  <a:gd name="connsiteX120" fmla="*/ 2392797 w 3147279"/>
                  <a:gd name="connsiteY120" fmla="*/ 205740 h 3147261"/>
                  <a:gd name="connsiteX121" fmla="*/ 2438517 w 3147279"/>
                  <a:gd name="connsiteY121" fmla="*/ 228600 h 3147261"/>
                  <a:gd name="connsiteX122" fmla="*/ 2446137 w 3147279"/>
                  <a:gd name="connsiteY122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095617 w 3147279"/>
                  <a:gd name="connsiteY63" fmla="*/ 3101340 h 3147261"/>
                  <a:gd name="connsiteX64" fmla="*/ 2027037 w 3147279"/>
                  <a:gd name="connsiteY64" fmla="*/ 3108960 h 3147261"/>
                  <a:gd name="connsiteX65" fmla="*/ 1981317 w 3147279"/>
                  <a:gd name="connsiteY65" fmla="*/ 3124200 h 3147261"/>
                  <a:gd name="connsiteX66" fmla="*/ 1912737 w 3147279"/>
                  <a:gd name="connsiteY66" fmla="*/ 3131820 h 3147261"/>
                  <a:gd name="connsiteX67" fmla="*/ 1798437 w 3147279"/>
                  <a:gd name="connsiteY67" fmla="*/ 3147060 h 3147261"/>
                  <a:gd name="connsiteX68" fmla="*/ 1333617 w 3147279"/>
                  <a:gd name="connsiteY68" fmla="*/ 3108960 h 3147261"/>
                  <a:gd name="connsiteX69" fmla="*/ 792597 w 3147279"/>
                  <a:gd name="connsiteY69" fmla="*/ 2933700 h 3147261"/>
                  <a:gd name="connsiteX70" fmla="*/ 419217 w 3147279"/>
                  <a:gd name="connsiteY70" fmla="*/ 2644140 h 3147261"/>
                  <a:gd name="connsiteX71" fmla="*/ 320157 w 3147279"/>
                  <a:gd name="connsiteY71" fmla="*/ 2484120 h 3147261"/>
                  <a:gd name="connsiteX72" fmla="*/ 297297 w 3147279"/>
                  <a:gd name="connsiteY72" fmla="*/ 2430780 h 3147261"/>
                  <a:gd name="connsiteX73" fmla="*/ 274437 w 3147279"/>
                  <a:gd name="connsiteY73" fmla="*/ 2377440 h 3147261"/>
                  <a:gd name="connsiteX74" fmla="*/ 228717 w 3147279"/>
                  <a:gd name="connsiteY74" fmla="*/ 2316480 h 3147261"/>
                  <a:gd name="connsiteX75" fmla="*/ 205857 w 3147279"/>
                  <a:gd name="connsiteY75" fmla="*/ 2293620 h 3147261"/>
                  <a:gd name="connsiteX76" fmla="*/ 175377 w 3147279"/>
                  <a:gd name="connsiteY76" fmla="*/ 2240280 h 3147261"/>
                  <a:gd name="connsiteX77" fmla="*/ 160137 w 3147279"/>
                  <a:gd name="connsiteY77" fmla="*/ 2202180 h 3147261"/>
                  <a:gd name="connsiteX78" fmla="*/ 144897 w 3147279"/>
                  <a:gd name="connsiteY78" fmla="*/ 2179320 h 3147261"/>
                  <a:gd name="connsiteX79" fmla="*/ 129657 w 3147279"/>
                  <a:gd name="connsiteY79" fmla="*/ 2133600 h 3147261"/>
                  <a:gd name="connsiteX80" fmla="*/ 99177 w 3147279"/>
                  <a:gd name="connsiteY80" fmla="*/ 2087880 h 3147261"/>
                  <a:gd name="connsiteX81" fmla="*/ 61077 w 3147279"/>
                  <a:gd name="connsiteY81" fmla="*/ 2026920 h 3147261"/>
                  <a:gd name="connsiteX82" fmla="*/ 53457 w 3147279"/>
                  <a:gd name="connsiteY82" fmla="*/ 2004060 h 3147261"/>
                  <a:gd name="connsiteX83" fmla="*/ 38217 w 3147279"/>
                  <a:gd name="connsiteY83" fmla="*/ 1943100 h 3147261"/>
                  <a:gd name="connsiteX84" fmla="*/ 22977 w 3147279"/>
                  <a:gd name="connsiteY84" fmla="*/ 1897380 h 3147261"/>
                  <a:gd name="connsiteX85" fmla="*/ 117 w 3147279"/>
                  <a:gd name="connsiteY85" fmla="*/ 1562100 h 3147261"/>
                  <a:gd name="connsiteX86" fmla="*/ 22977 w 3147279"/>
                  <a:gd name="connsiteY86" fmla="*/ 1135380 h 3147261"/>
                  <a:gd name="connsiteX87" fmla="*/ 38217 w 3147279"/>
                  <a:gd name="connsiteY87" fmla="*/ 1104900 h 3147261"/>
                  <a:gd name="connsiteX88" fmla="*/ 83937 w 3147279"/>
                  <a:gd name="connsiteY88" fmla="*/ 1021080 h 3147261"/>
                  <a:gd name="connsiteX89" fmla="*/ 129657 w 3147279"/>
                  <a:gd name="connsiteY89" fmla="*/ 914400 h 3147261"/>
                  <a:gd name="connsiteX90" fmla="*/ 160137 w 3147279"/>
                  <a:gd name="connsiteY90" fmla="*/ 861060 h 3147261"/>
                  <a:gd name="connsiteX91" fmla="*/ 182997 w 3147279"/>
                  <a:gd name="connsiteY91" fmla="*/ 822960 h 3147261"/>
                  <a:gd name="connsiteX92" fmla="*/ 205857 w 3147279"/>
                  <a:gd name="connsiteY92" fmla="*/ 800100 h 3147261"/>
                  <a:gd name="connsiteX93" fmla="*/ 259197 w 3147279"/>
                  <a:gd name="connsiteY93" fmla="*/ 708660 h 3147261"/>
                  <a:gd name="connsiteX94" fmla="*/ 274437 w 3147279"/>
                  <a:gd name="connsiteY94" fmla="*/ 662940 h 3147261"/>
                  <a:gd name="connsiteX95" fmla="*/ 327777 w 3147279"/>
                  <a:gd name="connsiteY95" fmla="*/ 586740 h 3147261"/>
                  <a:gd name="connsiteX96" fmla="*/ 419217 w 3147279"/>
                  <a:gd name="connsiteY96" fmla="*/ 510540 h 3147261"/>
                  <a:gd name="connsiteX97" fmla="*/ 449697 w 3147279"/>
                  <a:gd name="connsiteY97" fmla="*/ 472440 h 3147261"/>
                  <a:gd name="connsiteX98" fmla="*/ 510657 w 3147279"/>
                  <a:gd name="connsiteY98" fmla="*/ 434340 h 3147261"/>
                  <a:gd name="connsiteX99" fmla="*/ 563997 w 3147279"/>
                  <a:gd name="connsiteY99" fmla="*/ 396240 h 3147261"/>
                  <a:gd name="connsiteX100" fmla="*/ 655437 w 3147279"/>
                  <a:gd name="connsiteY100" fmla="*/ 335280 h 3147261"/>
                  <a:gd name="connsiteX101" fmla="*/ 731637 w 3147279"/>
                  <a:gd name="connsiteY101" fmla="*/ 297180 h 3147261"/>
                  <a:gd name="connsiteX102" fmla="*/ 815457 w 3147279"/>
                  <a:gd name="connsiteY102" fmla="*/ 236220 h 3147261"/>
                  <a:gd name="connsiteX103" fmla="*/ 830697 w 3147279"/>
                  <a:gd name="connsiteY103" fmla="*/ 213360 h 3147261"/>
                  <a:gd name="connsiteX104" fmla="*/ 861177 w 3147279"/>
                  <a:gd name="connsiteY104" fmla="*/ 205740 h 3147261"/>
                  <a:gd name="connsiteX105" fmla="*/ 952617 w 3147279"/>
                  <a:gd name="connsiteY105" fmla="*/ 152400 h 3147261"/>
                  <a:gd name="connsiteX106" fmla="*/ 983097 w 3147279"/>
                  <a:gd name="connsiteY106" fmla="*/ 129540 h 3147261"/>
                  <a:gd name="connsiteX107" fmla="*/ 1105017 w 3147279"/>
                  <a:gd name="connsiteY107" fmla="*/ 76200 h 3147261"/>
                  <a:gd name="connsiteX108" fmla="*/ 1127877 w 3147279"/>
                  <a:gd name="connsiteY108" fmla="*/ 68580 h 3147261"/>
                  <a:gd name="connsiteX109" fmla="*/ 1188837 w 3147279"/>
                  <a:gd name="connsiteY109" fmla="*/ 53340 h 3147261"/>
                  <a:gd name="connsiteX110" fmla="*/ 1242177 w 3147279"/>
                  <a:gd name="connsiteY110" fmla="*/ 38100 h 3147261"/>
                  <a:gd name="connsiteX111" fmla="*/ 1265037 w 3147279"/>
                  <a:gd name="connsiteY111" fmla="*/ 30480 h 3147261"/>
                  <a:gd name="connsiteX112" fmla="*/ 1386957 w 3147279"/>
                  <a:gd name="connsiteY112" fmla="*/ 15240 h 3147261"/>
                  <a:gd name="connsiteX113" fmla="*/ 1463157 w 3147279"/>
                  <a:gd name="connsiteY113" fmla="*/ 0 h 3147261"/>
                  <a:gd name="connsiteX114" fmla="*/ 1882257 w 3147279"/>
                  <a:gd name="connsiteY114" fmla="*/ 15240 h 3147261"/>
                  <a:gd name="connsiteX115" fmla="*/ 1912737 w 3147279"/>
                  <a:gd name="connsiteY115" fmla="*/ 22860 h 3147261"/>
                  <a:gd name="connsiteX116" fmla="*/ 2164197 w 3147279"/>
                  <a:gd name="connsiteY116" fmla="*/ 99060 h 3147261"/>
                  <a:gd name="connsiteX117" fmla="*/ 2339457 w 3147279"/>
                  <a:gd name="connsiteY117" fmla="*/ 182880 h 3147261"/>
                  <a:gd name="connsiteX118" fmla="*/ 2369937 w 3147279"/>
                  <a:gd name="connsiteY118" fmla="*/ 190500 h 3147261"/>
                  <a:gd name="connsiteX119" fmla="*/ 2392797 w 3147279"/>
                  <a:gd name="connsiteY119" fmla="*/ 205740 h 3147261"/>
                  <a:gd name="connsiteX120" fmla="*/ 2438517 w 3147279"/>
                  <a:gd name="connsiteY120" fmla="*/ 228600 h 3147261"/>
                  <a:gd name="connsiteX121" fmla="*/ 2446137 w 3147279"/>
                  <a:gd name="connsiteY121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095617 w 3147279"/>
                  <a:gd name="connsiteY63" fmla="*/ 3101340 h 3147261"/>
                  <a:gd name="connsiteX64" fmla="*/ 2027037 w 3147279"/>
                  <a:gd name="connsiteY64" fmla="*/ 3108960 h 3147261"/>
                  <a:gd name="connsiteX65" fmla="*/ 1912737 w 3147279"/>
                  <a:gd name="connsiteY65" fmla="*/ 3131820 h 3147261"/>
                  <a:gd name="connsiteX66" fmla="*/ 1798437 w 3147279"/>
                  <a:gd name="connsiteY66" fmla="*/ 3147060 h 3147261"/>
                  <a:gd name="connsiteX67" fmla="*/ 1333617 w 3147279"/>
                  <a:gd name="connsiteY67" fmla="*/ 3108960 h 3147261"/>
                  <a:gd name="connsiteX68" fmla="*/ 792597 w 3147279"/>
                  <a:gd name="connsiteY68" fmla="*/ 2933700 h 3147261"/>
                  <a:gd name="connsiteX69" fmla="*/ 419217 w 3147279"/>
                  <a:gd name="connsiteY69" fmla="*/ 2644140 h 3147261"/>
                  <a:gd name="connsiteX70" fmla="*/ 320157 w 3147279"/>
                  <a:gd name="connsiteY70" fmla="*/ 2484120 h 3147261"/>
                  <a:gd name="connsiteX71" fmla="*/ 297297 w 3147279"/>
                  <a:gd name="connsiteY71" fmla="*/ 2430780 h 3147261"/>
                  <a:gd name="connsiteX72" fmla="*/ 274437 w 3147279"/>
                  <a:gd name="connsiteY72" fmla="*/ 2377440 h 3147261"/>
                  <a:gd name="connsiteX73" fmla="*/ 228717 w 3147279"/>
                  <a:gd name="connsiteY73" fmla="*/ 2316480 h 3147261"/>
                  <a:gd name="connsiteX74" fmla="*/ 205857 w 3147279"/>
                  <a:gd name="connsiteY74" fmla="*/ 2293620 h 3147261"/>
                  <a:gd name="connsiteX75" fmla="*/ 175377 w 3147279"/>
                  <a:gd name="connsiteY75" fmla="*/ 2240280 h 3147261"/>
                  <a:gd name="connsiteX76" fmla="*/ 160137 w 3147279"/>
                  <a:gd name="connsiteY76" fmla="*/ 2202180 h 3147261"/>
                  <a:gd name="connsiteX77" fmla="*/ 144897 w 3147279"/>
                  <a:gd name="connsiteY77" fmla="*/ 2179320 h 3147261"/>
                  <a:gd name="connsiteX78" fmla="*/ 129657 w 3147279"/>
                  <a:gd name="connsiteY78" fmla="*/ 2133600 h 3147261"/>
                  <a:gd name="connsiteX79" fmla="*/ 99177 w 3147279"/>
                  <a:gd name="connsiteY79" fmla="*/ 2087880 h 3147261"/>
                  <a:gd name="connsiteX80" fmla="*/ 61077 w 3147279"/>
                  <a:gd name="connsiteY80" fmla="*/ 2026920 h 3147261"/>
                  <a:gd name="connsiteX81" fmla="*/ 53457 w 3147279"/>
                  <a:gd name="connsiteY81" fmla="*/ 2004060 h 3147261"/>
                  <a:gd name="connsiteX82" fmla="*/ 38217 w 3147279"/>
                  <a:gd name="connsiteY82" fmla="*/ 1943100 h 3147261"/>
                  <a:gd name="connsiteX83" fmla="*/ 22977 w 3147279"/>
                  <a:gd name="connsiteY83" fmla="*/ 1897380 h 3147261"/>
                  <a:gd name="connsiteX84" fmla="*/ 117 w 3147279"/>
                  <a:gd name="connsiteY84" fmla="*/ 1562100 h 3147261"/>
                  <a:gd name="connsiteX85" fmla="*/ 22977 w 3147279"/>
                  <a:gd name="connsiteY85" fmla="*/ 1135380 h 3147261"/>
                  <a:gd name="connsiteX86" fmla="*/ 38217 w 3147279"/>
                  <a:gd name="connsiteY86" fmla="*/ 1104900 h 3147261"/>
                  <a:gd name="connsiteX87" fmla="*/ 83937 w 3147279"/>
                  <a:gd name="connsiteY87" fmla="*/ 1021080 h 3147261"/>
                  <a:gd name="connsiteX88" fmla="*/ 129657 w 3147279"/>
                  <a:gd name="connsiteY88" fmla="*/ 914400 h 3147261"/>
                  <a:gd name="connsiteX89" fmla="*/ 160137 w 3147279"/>
                  <a:gd name="connsiteY89" fmla="*/ 861060 h 3147261"/>
                  <a:gd name="connsiteX90" fmla="*/ 182997 w 3147279"/>
                  <a:gd name="connsiteY90" fmla="*/ 822960 h 3147261"/>
                  <a:gd name="connsiteX91" fmla="*/ 205857 w 3147279"/>
                  <a:gd name="connsiteY91" fmla="*/ 800100 h 3147261"/>
                  <a:gd name="connsiteX92" fmla="*/ 259197 w 3147279"/>
                  <a:gd name="connsiteY92" fmla="*/ 708660 h 3147261"/>
                  <a:gd name="connsiteX93" fmla="*/ 274437 w 3147279"/>
                  <a:gd name="connsiteY93" fmla="*/ 662940 h 3147261"/>
                  <a:gd name="connsiteX94" fmla="*/ 327777 w 3147279"/>
                  <a:gd name="connsiteY94" fmla="*/ 586740 h 3147261"/>
                  <a:gd name="connsiteX95" fmla="*/ 419217 w 3147279"/>
                  <a:gd name="connsiteY95" fmla="*/ 510540 h 3147261"/>
                  <a:gd name="connsiteX96" fmla="*/ 449697 w 3147279"/>
                  <a:gd name="connsiteY96" fmla="*/ 472440 h 3147261"/>
                  <a:gd name="connsiteX97" fmla="*/ 510657 w 3147279"/>
                  <a:gd name="connsiteY97" fmla="*/ 434340 h 3147261"/>
                  <a:gd name="connsiteX98" fmla="*/ 563997 w 3147279"/>
                  <a:gd name="connsiteY98" fmla="*/ 396240 h 3147261"/>
                  <a:gd name="connsiteX99" fmla="*/ 655437 w 3147279"/>
                  <a:gd name="connsiteY99" fmla="*/ 335280 h 3147261"/>
                  <a:gd name="connsiteX100" fmla="*/ 731637 w 3147279"/>
                  <a:gd name="connsiteY100" fmla="*/ 297180 h 3147261"/>
                  <a:gd name="connsiteX101" fmla="*/ 815457 w 3147279"/>
                  <a:gd name="connsiteY101" fmla="*/ 236220 h 3147261"/>
                  <a:gd name="connsiteX102" fmla="*/ 830697 w 3147279"/>
                  <a:gd name="connsiteY102" fmla="*/ 213360 h 3147261"/>
                  <a:gd name="connsiteX103" fmla="*/ 861177 w 3147279"/>
                  <a:gd name="connsiteY103" fmla="*/ 205740 h 3147261"/>
                  <a:gd name="connsiteX104" fmla="*/ 952617 w 3147279"/>
                  <a:gd name="connsiteY104" fmla="*/ 152400 h 3147261"/>
                  <a:gd name="connsiteX105" fmla="*/ 983097 w 3147279"/>
                  <a:gd name="connsiteY105" fmla="*/ 129540 h 3147261"/>
                  <a:gd name="connsiteX106" fmla="*/ 1105017 w 3147279"/>
                  <a:gd name="connsiteY106" fmla="*/ 76200 h 3147261"/>
                  <a:gd name="connsiteX107" fmla="*/ 1127877 w 3147279"/>
                  <a:gd name="connsiteY107" fmla="*/ 68580 h 3147261"/>
                  <a:gd name="connsiteX108" fmla="*/ 1188837 w 3147279"/>
                  <a:gd name="connsiteY108" fmla="*/ 53340 h 3147261"/>
                  <a:gd name="connsiteX109" fmla="*/ 1242177 w 3147279"/>
                  <a:gd name="connsiteY109" fmla="*/ 38100 h 3147261"/>
                  <a:gd name="connsiteX110" fmla="*/ 1265037 w 3147279"/>
                  <a:gd name="connsiteY110" fmla="*/ 30480 h 3147261"/>
                  <a:gd name="connsiteX111" fmla="*/ 1386957 w 3147279"/>
                  <a:gd name="connsiteY111" fmla="*/ 15240 h 3147261"/>
                  <a:gd name="connsiteX112" fmla="*/ 1463157 w 3147279"/>
                  <a:gd name="connsiteY112" fmla="*/ 0 h 3147261"/>
                  <a:gd name="connsiteX113" fmla="*/ 1882257 w 3147279"/>
                  <a:gd name="connsiteY113" fmla="*/ 15240 h 3147261"/>
                  <a:gd name="connsiteX114" fmla="*/ 1912737 w 3147279"/>
                  <a:gd name="connsiteY114" fmla="*/ 22860 h 3147261"/>
                  <a:gd name="connsiteX115" fmla="*/ 2164197 w 3147279"/>
                  <a:gd name="connsiteY115" fmla="*/ 99060 h 3147261"/>
                  <a:gd name="connsiteX116" fmla="*/ 2339457 w 3147279"/>
                  <a:gd name="connsiteY116" fmla="*/ 182880 h 3147261"/>
                  <a:gd name="connsiteX117" fmla="*/ 2369937 w 3147279"/>
                  <a:gd name="connsiteY117" fmla="*/ 190500 h 3147261"/>
                  <a:gd name="connsiteX118" fmla="*/ 2392797 w 3147279"/>
                  <a:gd name="connsiteY118" fmla="*/ 205740 h 3147261"/>
                  <a:gd name="connsiteX119" fmla="*/ 2438517 w 3147279"/>
                  <a:gd name="connsiteY119" fmla="*/ 228600 h 3147261"/>
                  <a:gd name="connsiteX120" fmla="*/ 2446137 w 3147279"/>
                  <a:gd name="connsiteY120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095617 w 3147279"/>
                  <a:gd name="connsiteY63" fmla="*/ 3101340 h 3147261"/>
                  <a:gd name="connsiteX64" fmla="*/ 1912737 w 3147279"/>
                  <a:gd name="connsiteY64" fmla="*/ 3131820 h 3147261"/>
                  <a:gd name="connsiteX65" fmla="*/ 1798437 w 3147279"/>
                  <a:gd name="connsiteY65" fmla="*/ 3147060 h 3147261"/>
                  <a:gd name="connsiteX66" fmla="*/ 1333617 w 3147279"/>
                  <a:gd name="connsiteY66" fmla="*/ 3108960 h 3147261"/>
                  <a:gd name="connsiteX67" fmla="*/ 792597 w 3147279"/>
                  <a:gd name="connsiteY67" fmla="*/ 2933700 h 3147261"/>
                  <a:gd name="connsiteX68" fmla="*/ 419217 w 3147279"/>
                  <a:gd name="connsiteY68" fmla="*/ 2644140 h 3147261"/>
                  <a:gd name="connsiteX69" fmla="*/ 320157 w 3147279"/>
                  <a:gd name="connsiteY69" fmla="*/ 2484120 h 3147261"/>
                  <a:gd name="connsiteX70" fmla="*/ 297297 w 3147279"/>
                  <a:gd name="connsiteY70" fmla="*/ 2430780 h 3147261"/>
                  <a:gd name="connsiteX71" fmla="*/ 274437 w 3147279"/>
                  <a:gd name="connsiteY71" fmla="*/ 2377440 h 3147261"/>
                  <a:gd name="connsiteX72" fmla="*/ 228717 w 3147279"/>
                  <a:gd name="connsiteY72" fmla="*/ 2316480 h 3147261"/>
                  <a:gd name="connsiteX73" fmla="*/ 205857 w 3147279"/>
                  <a:gd name="connsiteY73" fmla="*/ 2293620 h 3147261"/>
                  <a:gd name="connsiteX74" fmla="*/ 175377 w 3147279"/>
                  <a:gd name="connsiteY74" fmla="*/ 2240280 h 3147261"/>
                  <a:gd name="connsiteX75" fmla="*/ 160137 w 3147279"/>
                  <a:gd name="connsiteY75" fmla="*/ 2202180 h 3147261"/>
                  <a:gd name="connsiteX76" fmla="*/ 144897 w 3147279"/>
                  <a:gd name="connsiteY76" fmla="*/ 2179320 h 3147261"/>
                  <a:gd name="connsiteX77" fmla="*/ 129657 w 3147279"/>
                  <a:gd name="connsiteY77" fmla="*/ 2133600 h 3147261"/>
                  <a:gd name="connsiteX78" fmla="*/ 99177 w 3147279"/>
                  <a:gd name="connsiteY78" fmla="*/ 2087880 h 3147261"/>
                  <a:gd name="connsiteX79" fmla="*/ 61077 w 3147279"/>
                  <a:gd name="connsiteY79" fmla="*/ 2026920 h 3147261"/>
                  <a:gd name="connsiteX80" fmla="*/ 53457 w 3147279"/>
                  <a:gd name="connsiteY80" fmla="*/ 2004060 h 3147261"/>
                  <a:gd name="connsiteX81" fmla="*/ 38217 w 3147279"/>
                  <a:gd name="connsiteY81" fmla="*/ 1943100 h 3147261"/>
                  <a:gd name="connsiteX82" fmla="*/ 22977 w 3147279"/>
                  <a:gd name="connsiteY82" fmla="*/ 1897380 h 3147261"/>
                  <a:gd name="connsiteX83" fmla="*/ 117 w 3147279"/>
                  <a:gd name="connsiteY83" fmla="*/ 1562100 h 3147261"/>
                  <a:gd name="connsiteX84" fmla="*/ 22977 w 3147279"/>
                  <a:gd name="connsiteY84" fmla="*/ 1135380 h 3147261"/>
                  <a:gd name="connsiteX85" fmla="*/ 38217 w 3147279"/>
                  <a:gd name="connsiteY85" fmla="*/ 1104900 h 3147261"/>
                  <a:gd name="connsiteX86" fmla="*/ 83937 w 3147279"/>
                  <a:gd name="connsiteY86" fmla="*/ 1021080 h 3147261"/>
                  <a:gd name="connsiteX87" fmla="*/ 129657 w 3147279"/>
                  <a:gd name="connsiteY87" fmla="*/ 914400 h 3147261"/>
                  <a:gd name="connsiteX88" fmla="*/ 160137 w 3147279"/>
                  <a:gd name="connsiteY88" fmla="*/ 861060 h 3147261"/>
                  <a:gd name="connsiteX89" fmla="*/ 182997 w 3147279"/>
                  <a:gd name="connsiteY89" fmla="*/ 822960 h 3147261"/>
                  <a:gd name="connsiteX90" fmla="*/ 205857 w 3147279"/>
                  <a:gd name="connsiteY90" fmla="*/ 800100 h 3147261"/>
                  <a:gd name="connsiteX91" fmla="*/ 259197 w 3147279"/>
                  <a:gd name="connsiteY91" fmla="*/ 708660 h 3147261"/>
                  <a:gd name="connsiteX92" fmla="*/ 274437 w 3147279"/>
                  <a:gd name="connsiteY92" fmla="*/ 662940 h 3147261"/>
                  <a:gd name="connsiteX93" fmla="*/ 327777 w 3147279"/>
                  <a:gd name="connsiteY93" fmla="*/ 586740 h 3147261"/>
                  <a:gd name="connsiteX94" fmla="*/ 419217 w 3147279"/>
                  <a:gd name="connsiteY94" fmla="*/ 510540 h 3147261"/>
                  <a:gd name="connsiteX95" fmla="*/ 449697 w 3147279"/>
                  <a:gd name="connsiteY95" fmla="*/ 472440 h 3147261"/>
                  <a:gd name="connsiteX96" fmla="*/ 510657 w 3147279"/>
                  <a:gd name="connsiteY96" fmla="*/ 434340 h 3147261"/>
                  <a:gd name="connsiteX97" fmla="*/ 563997 w 3147279"/>
                  <a:gd name="connsiteY97" fmla="*/ 396240 h 3147261"/>
                  <a:gd name="connsiteX98" fmla="*/ 655437 w 3147279"/>
                  <a:gd name="connsiteY98" fmla="*/ 335280 h 3147261"/>
                  <a:gd name="connsiteX99" fmla="*/ 731637 w 3147279"/>
                  <a:gd name="connsiteY99" fmla="*/ 297180 h 3147261"/>
                  <a:gd name="connsiteX100" fmla="*/ 815457 w 3147279"/>
                  <a:gd name="connsiteY100" fmla="*/ 236220 h 3147261"/>
                  <a:gd name="connsiteX101" fmla="*/ 830697 w 3147279"/>
                  <a:gd name="connsiteY101" fmla="*/ 213360 h 3147261"/>
                  <a:gd name="connsiteX102" fmla="*/ 861177 w 3147279"/>
                  <a:gd name="connsiteY102" fmla="*/ 205740 h 3147261"/>
                  <a:gd name="connsiteX103" fmla="*/ 952617 w 3147279"/>
                  <a:gd name="connsiteY103" fmla="*/ 152400 h 3147261"/>
                  <a:gd name="connsiteX104" fmla="*/ 983097 w 3147279"/>
                  <a:gd name="connsiteY104" fmla="*/ 129540 h 3147261"/>
                  <a:gd name="connsiteX105" fmla="*/ 1105017 w 3147279"/>
                  <a:gd name="connsiteY105" fmla="*/ 76200 h 3147261"/>
                  <a:gd name="connsiteX106" fmla="*/ 1127877 w 3147279"/>
                  <a:gd name="connsiteY106" fmla="*/ 68580 h 3147261"/>
                  <a:gd name="connsiteX107" fmla="*/ 1188837 w 3147279"/>
                  <a:gd name="connsiteY107" fmla="*/ 53340 h 3147261"/>
                  <a:gd name="connsiteX108" fmla="*/ 1242177 w 3147279"/>
                  <a:gd name="connsiteY108" fmla="*/ 38100 h 3147261"/>
                  <a:gd name="connsiteX109" fmla="*/ 1265037 w 3147279"/>
                  <a:gd name="connsiteY109" fmla="*/ 30480 h 3147261"/>
                  <a:gd name="connsiteX110" fmla="*/ 1386957 w 3147279"/>
                  <a:gd name="connsiteY110" fmla="*/ 15240 h 3147261"/>
                  <a:gd name="connsiteX111" fmla="*/ 1463157 w 3147279"/>
                  <a:gd name="connsiteY111" fmla="*/ 0 h 3147261"/>
                  <a:gd name="connsiteX112" fmla="*/ 1882257 w 3147279"/>
                  <a:gd name="connsiteY112" fmla="*/ 15240 h 3147261"/>
                  <a:gd name="connsiteX113" fmla="*/ 1912737 w 3147279"/>
                  <a:gd name="connsiteY113" fmla="*/ 22860 h 3147261"/>
                  <a:gd name="connsiteX114" fmla="*/ 2164197 w 3147279"/>
                  <a:gd name="connsiteY114" fmla="*/ 99060 h 3147261"/>
                  <a:gd name="connsiteX115" fmla="*/ 2339457 w 3147279"/>
                  <a:gd name="connsiteY115" fmla="*/ 182880 h 3147261"/>
                  <a:gd name="connsiteX116" fmla="*/ 2369937 w 3147279"/>
                  <a:gd name="connsiteY116" fmla="*/ 190500 h 3147261"/>
                  <a:gd name="connsiteX117" fmla="*/ 2392797 w 3147279"/>
                  <a:gd name="connsiteY117" fmla="*/ 205740 h 3147261"/>
                  <a:gd name="connsiteX118" fmla="*/ 2438517 w 3147279"/>
                  <a:gd name="connsiteY118" fmla="*/ 228600 h 3147261"/>
                  <a:gd name="connsiteX119" fmla="*/ 2446137 w 3147279"/>
                  <a:gd name="connsiteY119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101340 h 3147261"/>
                  <a:gd name="connsiteX63" fmla="*/ 1912737 w 3147279"/>
                  <a:gd name="connsiteY63" fmla="*/ 313182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3182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0896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7180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0896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71800 h 3147261"/>
                  <a:gd name="connsiteX61" fmla="*/ 2194677 w 3147279"/>
                  <a:gd name="connsiteY61" fmla="*/ 302514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0896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23277 w 3147279"/>
                  <a:gd name="connsiteY56" fmla="*/ 2865120 h 3147261"/>
                  <a:gd name="connsiteX57" fmla="*/ 2392797 w 3147279"/>
                  <a:gd name="connsiteY57" fmla="*/ 2887980 h 3147261"/>
                  <a:gd name="connsiteX58" fmla="*/ 2377557 w 3147279"/>
                  <a:gd name="connsiteY58" fmla="*/ 2910840 h 3147261"/>
                  <a:gd name="connsiteX59" fmla="*/ 2301357 w 3147279"/>
                  <a:gd name="connsiteY59" fmla="*/ 2971800 h 3147261"/>
                  <a:gd name="connsiteX60" fmla="*/ 2194677 w 3147279"/>
                  <a:gd name="connsiteY60" fmla="*/ 3025140 h 3147261"/>
                  <a:gd name="connsiteX61" fmla="*/ 2095617 w 3147279"/>
                  <a:gd name="connsiteY61" fmla="*/ 3055620 h 3147261"/>
                  <a:gd name="connsiteX62" fmla="*/ 1912737 w 3147279"/>
                  <a:gd name="connsiteY62" fmla="*/ 3108960 h 3147261"/>
                  <a:gd name="connsiteX63" fmla="*/ 1798437 w 3147279"/>
                  <a:gd name="connsiteY63" fmla="*/ 3147060 h 3147261"/>
                  <a:gd name="connsiteX64" fmla="*/ 1333617 w 3147279"/>
                  <a:gd name="connsiteY64" fmla="*/ 3108960 h 3147261"/>
                  <a:gd name="connsiteX65" fmla="*/ 792597 w 3147279"/>
                  <a:gd name="connsiteY65" fmla="*/ 2933700 h 3147261"/>
                  <a:gd name="connsiteX66" fmla="*/ 419217 w 3147279"/>
                  <a:gd name="connsiteY66" fmla="*/ 2644140 h 3147261"/>
                  <a:gd name="connsiteX67" fmla="*/ 320157 w 3147279"/>
                  <a:gd name="connsiteY67" fmla="*/ 2484120 h 3147261"/>
                  <a:gd name="connsiteX68" fmla="*/ 297297 w 3147279"/>
                  <a:gd name="connsiteY68" fmla="*/ 2430780 h 3147261"/>
                  <a:gd name="connsiteX69" fmla="*/ 274437 w 3147279"/>
                  <a:gd name="connsiteY69" fmla="*/ 2377440 h 3147261"/>
                  <a:gd name="connsiteX70" fmla="*/ 228717 w 3147279"/>
                  <a:gd name="connsiteY70" fmla="*/ 2316480 h 3147261"/>
                  <a:gd name="connsiteX71" fmla="*/ 205857 w 3147279"/>
                  <a:gd name="connsiteY71" fmla="*/ 2293620 h 3147261"/>
                  <a:gd name="connsiteX72" fmla="*/ 175377 w 3147279"/>
                  <a:gd name="connsiteY72" fmla="*/ 2240280 h 3147261"/>
                  <a:gd name="connsiteX73" fmla="*/ 160137 w 3147279"/>
                  <a:gd name="connsiteY73" fmla="*/ 2202180 h 3147261"/>
                  <a:gd name="connsiteX74" fmla="*/ 144897 w 3147279"/>
                  <a:gd name="connsiteY74" fmla="*/ 2179320 h 3147261"/>
                  <a:gd name="connsiteX75" fmla="*/ 129657 w 3147279"/>
                  <a:gd name="connsiteY75" fmla="*/ 2133600 h 3147261"/>
                  <a:gd name="connsiteX76" fmla="*/ 99177 w 3147279"/>
                  <a:gd name="connsiteY76" fmla="*/ 2087880 h 3147261"/>
                  <a:gd name="connsiteX77" fmla="*/ 61077 w 3147279"/>
                  <a:gd name="connsiteY77" fmla="*/ 2026920 h 3147261"/>
                  <a:gd name="connsiteX78" fmla="*/ 53457 w 3147279"/>
                  <a:gd name="connsiteY78" fmla="*/ 2004060 h 3147261"/>
                  <a:gd name="connsiteX79" fmla="*/ 38217 w 3147279"/>
                  <a:gd name="connsiteY79" fmla="*/ 1943100 h 3147261"/>
                  <a:gd name="connsiteX80" fmla="*/ 22977 w 3147279"/>
                  <a:gd name="connsiteY80" fmla="*/ 1897380 h 3147261"/>
                  <a:gd name="connsiteX81" fmla="*/ 117 w 3147279"/>
                  <a:gd name="connsiteY81" fmla="*/ 1562100 h 3147261"/>
                  <a:gd name="connsiteX82" fmla="*/ 22977 w 3147279"/>
                  <a:gd name="connsiteY82" fmla="*/ 1135380 h 3147261"/>
                  <a:gd name="connsiteX83" fmla="*/ 38217 w 3147279"/>
                  <a:gd name="connsiteY83" fmla="*/ 1104900 h 3147261"/>
                  <a:gd name="connsiteX84" fmla="*/ 83937 w 3147279"/>
                  <a:gd name="connsiteY84" fmla="*/ 1021080 h 3147261"/>
                  <a:gd name="connsiteX85" fmla="*/ 129657 w 3147279"/>
                  <a:gd name="connsiteY85" fmla="*/ 914400 h 3147261"/>
                  <a:gd name="connsiteX86" fmla="*/ 160137 w 3147279"/>
                  <a:gd name="connsiteY86" fmla="*/ 861060 h 3147261"/>
                  <a:gd name="connsiteX87" fmla="*/ 182997 w 3147279"/>
                  <a:gd name="connsiteY87" fmla="*/ 822960 h 3147261"/>
                  <a:gd name="connsiteX88" fmla="*/ 205857 w 3147279"/>
                  <a:gd name="connsiteY88" fmla="*/ 800100 h 3147261"/>
                  <a:gd name="connsiteX89" fmla="*/ 259197 w 3147279"/>
                  <a:gd name="connsiteY89" fmla="*/ 708660 h 3147261"/>
                  <a:gd name="connsiteX90" fmla="*/ 274437 w 3147279"/>
                  <a:gd name="connsiteY90" fmla="*/ 662940 h 3147261"/>
                  <a:gd name="connsiteX91" fmla="*/ 327777 w 3147279"/>
                  <a:gd name="connsiteY91" fmla="*/ 586740 h 3147261"/>
                  <a:gd name="connsiteX92" fmla="*/ 419217 w 3147279"/>
                  <a:gd name="connsiteY92" fmla="*/ 510540 h 3147261"/>
                  <a:gd name="connsiteX93" fmla="*/ 449697 w 3147279"/>
                  <a:gd name="connsiteY93" fmla="*/ 472440 h 3147261"/>
                  <a:gd name="connsiteX94" fmla="*/ 510657 w 3147279"/>
                  <a:gd name="connsiteY94" fmla="*/ 434340 h 3147261"/>
                  <a:gd name="connsiteX95" fmla="*/ 563997 w 3147279"/>
                  <a:gd name="connsiteY95" fmla="*/ 396240 h 3147261"/>
                  <a:gd name="connsiteX96" fmla="*/ 655437 w 3147279"/>
                  <a:gd name="connsiteY96" fmla="*/ 335280 h 3147261"/>
                  <a:gd name="connsiteX97" fmla="*/ 731637 w 3147279"/>
                  <a:gd name="connsiteY97" fmla="*/ 297180 h 3147261"/>
                  <a:gd name="connsiteX98" fmla="*/ 815457 w 3147279"/>
                  <a:gd name="connsiteY98" fmla="*/ 236220 h 3147261"/>
                  <a:gd name="connsiteX99" fmla="*/ 830697 w 3147279"/>
                  <a:gd name="connsiteY99" fmla="*/ 213360 h 3147261"/>
                  <a:gd name="connsiteX100" fmla="*/ 861177 w 3147279"/>
                  <a:gd name="connsiteY100" fmla="*/ 205740 h 3147261"/>
                  <a:gd name="connsiteX101" fmla="*/ 952617 w 3147279"/>
                  <a:gd name="connsiteY101" fmla="*/ 152400 h 3147261"/>
                  <a:gd name="connsiteX102" fmla="*/ 983097 w 3147279"/>
                  <a:gd name="connsiteY102" fmla="*/ 129540 h 3147261"/>
                  <a:gd name="connsiteX103" fmla="*/ 1105017 w 3147279"/>
                  <a:gd name="connsiteY103" fmla="*/ 76200 h 3147261"/>
                  <a:gd name="connsiteX104" fmla="*/ 1127877 w 3147279"/>
                  <a:gd name="connsiteY104" fmla="*/ 68580 h 3147261"/>
                  <a:gd name="connsiteX105" fmla="*/ 1188837 w 3147279"/>
                  <a:gd name="connsiteY105" fmla="*/ 53340 h 3147261"/>
                  <a:gd name="connsiteX106" fmla="*/ 1242177 w 3147279"/>
                  <a:gd name="connsiteY106" fmla="*/ 38100 h 3147261"/>
                  <a:gd name="connsiteX107" fmla="*/ 1265037 w 3147279"/>
                  <a:gd name="connsiteY107" fmla="*/ 30480 h 3147261"/>
                  <a:gd name="connsiteX108" fmla="*/ 1386957 w 3147279"/>
                  <a:gd name="connsiteY108" fmla="*/ 15240 h 3147261"/>
                  <a:gd name="connsiteX109" fmla="*/ 1463157 w 3147279"/>
                  <a:gd name="connsiteY109" fmla="*/ 0 h 3147261"/>
                  <a:gd name="connsiteX110" fmla="*/ 1882257 w 3147279"/>
                  <a:gd name="connsiteY110" fmla="*/ 15240 h 3147261"/>
                  <a:gd name="connsiteX111" fmla="*/ 1912737 w 3147279"/>
                  <a:gd name="connsiteY111" fmla="*/ 22860 h 3147261"/>
                  <a:gd name="connsiteX112" fmla="*/ 2164197 w 3147279"/>
                  <a:gd name="connsiteY112" fmla="*/ 99060 h 3147261"/>
                  <a:gd name="connsiteX113" fmla="*/ 2339457 w 3147279"/>
                  <a:gd name="connsiteY113" fmla="*/ 182880 h 3147261"/>
                  <a:gd name="connsiteX114" fmla="*/ 2369937 w 3147279"/>
                  <a:gd name="connsiteY114" fmla="*/ 190500 h 3147261"/>
                  <a:gd name="connsiteX115" fmla="*/ 2392797 w 3147279"/>
                  <a:gd name="connsiteY115" fmla="*/ 205740 h 3147261"/>
                  <a:gd name="connsiteX116" fmla="*/ 2438517 w 3147279"/>
                  <a:gd name="connsiteY116" fmla="*/ 228600 h 3147261"/>
                  <a:gd name="connsiteX117" fmla="*/ 2446137 w 3147279"/>
                  <a:gd name="connsiteY117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23277 w 3147279"/>
                  <a:gd name="connsiteY56" fmla="*/ 2865120 h 3147261"/>
                  <a:gd name="connsiteX57" fmla="*/ 2392797 w 3147279"/>
                  <a:gd name="connsiteY57" fmla="*/ 2887980 h 3147261"/>
                  <a:gd name="connsiteX58" fmla="*/ 2301357 w 3147279"/>
                  <a:gd name="connsiteY58" fmla="*/ 2971800 h 3147261"/>
                  <a:gd name="connsiteX59" fmla="*/ 2194677 w 3147279"/>
                  <a:gd name="connsiteY59" fmla="*/ 3025140 h 3147261"/>
                  <a:gd name="connsiteX60" fmla="*/ 2095617 w 3147279"/>
                  <a:gd name="connsiteY60" fmla="*/ 3055620 h 3147261"/>
                  <a:gd name="connsiteX61" fmla="*/ 1912737 w 3147279"/>
                  <a:gd name="connsiteY61" fmla="*/ 3108960 h 3147261"/>
                  <a:gd name="connsiteX62" fmla="*/ 1798437 w 3147279"/>
                  <a:gd name="connsiteY62" fmla="*/ 3147060 h 3147261"/>
                  <a:gd name="connsiteX63" fmla="*/ 1333617 w 3147279"/>
                  <a:gd name="connsiteY63" fmla="*/ 3108960 h 3147261"/>
                  <a:gd name="connsiteX64" fmla="*/ 792597 w 3147279"/>
                  <a:gd name="connsiteY64" fmla="*/ 2933700 h 3147261"/>
                  <a:gd name="connsiteX65" fmla="*/ 419217 w 3147279"/>
                  <a:gd name="connsiteY65" fmla="*/ 2644140 h 3147261"/>
                  <a:gd name="connsiteX66" fmla="*/ 320157 w 3147279"/>
                  <a:gd name="connsiteY66" fmla="*/ 2484120 h 3147261"/>
                  <a:gd name="connsiteX67" fmla="*/ 297297 w 3147279"/>
                  <a:gd name="connsiteY67" fmla="*/ 2430780 h 3147261"/>
                  <a:gd name="connsiteX68" fmla="*/ 274437 w 3147279"/>
                  <a:gd name="connsiteY68" fmla="*/ 2377440 h 3147261"/>
                  <a:gd name="connsiteX69" fmla="*/ 228717 w 3147279"/>
                  <a:gd name="connsiteY69" fmla="*/ 2316480 h 3147261"/>
                  <a:gd name="connsiteX70" fmla="*/ 205857 w 3147279"/>
                  <a:gd name="connsiteY70" fmla="*/ 2293620 h 3147261"/>
                  <a:gd name="connsiteX71" fmla="*/ 175377 w 3147279"/>
                  <a:gd name="connsiteY71" fmla="*/ 2240280 h 3147261"/>
                  <a:gd name="connsiteX72" fmla="*/ 160137 w 3147279"/>
                  <a:gd name="connsiteY72" fmla="*/ 2202180 h 3147261"/>
                  <a:gd name="connsiteX73" fmla="*/ 144897 w 3147279"/>
                  <a:gd name="connsiteY73" fmla="*/ 2179320 h 3147261"/>
                  <a:gd name="connsiteX74" fmla="*/ 129657 w 3147279"/>
                  <a:gd name="connsiteY74" fmla="*/ 2133600 h 3147261"/>
                  <a:gd name="connsiteX75" fmla="*/ 99177 w 3147279"/>
                  <a:gd name="connsiteY75" fmla="*/ 2087880 h 3147261"/>
                  <a:gd name="connsiteX76" fmla="*/ 61077 w 3147279"/>
                  <a:gd name="connsiteY76" fmla="*/ 2026920 h 3147261"/>
                  <a:gd name="connsiteX77" fmla="*/ 53457 w 3147279"/>
                  <a:gd name="connsiteY77" fmla="*/ 2004060 h 3147261"/>
                  <a:gd name="connsiteX78" fmla="*/ 38217 w 3147279"/>
                  <a:gd name="connsiteY78" fmla="*/ 1943100 h 3147261"/>
                  <a:gd name="connsiteX79" fmla="*/ 22977 w 3147279"/>
                  <a:gd name="connsiteY79" fmla="*/ 1897380 h 3147261"/>
                  <a:gd name="connsiteX80" fmla="*/ 117 w 3147279"/>
                  <a:gd name="connsiteY80" fmla="*/ 1562100 h 3147261"/>
                  <a:gd name="connsiteX81" fmla="*/ 22977 w 3147279"/>
                  <a:gd name="connsiteY81" fmla="*/ 1135380 h 3147261"/>
                  <a:gd name="connsiteX82" fmla="*/ 38217 w 3147279"/>
                  <a:gd name="connsiteY82" fmla="*/ 1104900 h 3147261"/>
                  <a:gd name="connsiteX83" fmla="*/ 83937 w 3147279"/>
                  <a:gd name="connsiteY83" fmla="*/ 1021080 h 3147261"/>
                  <a:gd name="connsiteX84" fmla="*/ 129657 w 3147279"/>
                  <a:gd name="connsiteY84" fmla="*/ 914400 h 3147261"/>
                  <a:gd name="connsiteX85" fmla="*/ 160137 w 3147279"/>
                  <a:gd name="connsiteY85" fmla="*/ 861060 h 3147261"/>
                  <a:gd name="connsiteX86" fmla="*/ 182997 w 3147279"/>
                  <a:gd name="connsiteY86" fmla="*/ 822960 h 3147261"/>
                  <a:gd name="connsiteX87" fmla="*/ 205857 w 3147279"/>
                  <a:gd name="connsiteY87" fmla="*/ 800100 h 3147261"/>
                  <a:gd name="connsiteX88" fmla="*/ 259197 w 3147279"/>
                  <a:gd name="connsiteY88" fmla="*/ 708660 h 3147261"/>
                  <a:gd name="connsiteX89" fmla="*/ 274437 w 3147279"/>
                  <a:gd name="connsiteY89" fmla="*/ 662940 h 3147261"/>
                  <a:gd name="connsiteX90" fmla="*/ 327777 w 3147279"/>
                  <a:gd name="connsiteY90" fmla="*/ 586740 h 3147261"/>
                  <a:gd name="connsiteX91" fmla="*/ 419217 w 3147279"/>
                  <a:gd name="connsiteY91" fmla="*/ 510540 h 3147261"/>
                  <a:gd name="connsiteX92" fmla="*/ 449697 w 3147279"/>
                  <a:gd name="connsiteY92" fmla="*/ 472440 h 3147261"/>
                  <a:gd name="connsiteX93" fmla="*/ 510657 w 3147279"/>
                  <a:gd name="connsiteY93" fmla="*/ 434340 h 3147261"/>
                  <a:gd name="connsiteX94" fmla="*/ 563997 w 3147279"/>
                  <a:gd name="connsiteY94" fmla="*/ 396240 h 3147261"/>
                  <a:gd name="connsiteX95" fmla="*/ 655437 w 3147279"/>
                  <a:gd name="connsiteY95" fmla="*/ 335280 h 3147261"/>
                  <a:gd name="connsiteX96" fmla="*/ 731637 w 3147279"/>
                  <a:gd name="connsiteY96" fmla="*/ 297180 h 3147261"/>
                  <a:gd name="connsiteX97" fmla="*/ 815457 w 3147279"/>
                  <a:gd name="connsiteY97" fmla="*/ 236220 h 3147261"/>
                  <a:gd name="connsiteX98" fmla="*/ 830697 w 3147279"/>
                  <a:gd name="connsiteY98" fmla="*/ 213360 h 3147261"/>
                  <a:gd name="connsiteX99" fmla="*/ 861177 w 3147279"/>
                  <a:gd name="connsiteY99" fmla="*/ 205740 h 3147261"/>
                  <a:gd name="connsiteX100" fmla="*/ 952617 w 3147279"/>
                  <a:gd name="connsiteY100" fmla="*/ 152400 h 3147261"/>
                  <a:gd name="connsiteX101" fmla="*/ 983097 w 3147279"/>
                  <a:gd name="connsiteY101" fmla="*/ 129540 h 3147261"/>
                  <a:gd name="connsiteX102" fmla="*/ 1105017 w 3147279"/>
                  <a:gd name="connsiteY102" fmla="*/ 76200 h 3147261"/>
                  <a:gd name="connsiteX103" fmla="*/ 1127877 w 3147279"/>
                  <a:gd name="connsiteY103" fmla="*/ 68580 h 3147261"/>
                  <a:gd name="connsiteX104" fmla="*/ 1188837 w 3147279"/>
                  <a:gd name="connsiteY104" fmla="*/ 53340 h 3147261"/>
                  <a:gd name="connsiteX105" fmla="*/ 1242177 w 3147279"/>
                  <a:gd name="connsiteY105" fmla="*/ 38100 h 3147261"/>
                  <a:gd name="connsiteX106" fmla="*/ 1265037 w 3147279"/>
                  <a:gd name="connsiteY106" fmla="*/ 30480 h 3147261"/>
                  <a:gd name="connsiteX107" fmla="*/ 1386957 w 3147279"/>
                  <a:gd name="connsiteY107" fmla="*/ 15240 h 3147261"/>
                  <a:gd name="connsiteX108" fmla="*/ 1463157 w 3147279"/>
                  <a:gd name="connsiteY108" fmla="*/ 0 h 3147261"/>
                  <a:gd name="connsiteX109" fmla="*/ 1882257 w 3147279"/>
                  <a:gd name="connsiteY109" fmla="*/ 15240 h 3147261"/>
                  <a:gd name="connsiteX110" fmla="*/ 1912737 w 3147279"/>
                  <a:gd name="connsiteY110" fmla="*/ 22860 h 3147261"/>
                  <a:gd name="connsiteX111" fmla="*/ 2164197 w 3147279"/>
                  <a:gd name="connsiteY111" fmla="*/ 99060 h 3147261"/>
                  <a:gd name="connsiteX112" fmla="*/ 2339457 w 3147279"/>
                  <a:gd name="connsiteY112" fmla="*/ 182880 h 3147261"/>
                  <a:gd name="connsiteX113" fmla="*/ 2369937 w 3147279"/>
                  <a:gd name="connsiteY113" fmla="*/ 190500 h 3147261"/>
                  <a:gd name="connsiteX114" fmla="*/ 2392797 w 3147279"/>
                  <a:gd name="connsiteY114" fmla="*/ 205740 h 3147261"/>
                  <a:gd name="connsiteX115" fmla="*/ 2438517 w 3147279"/>
                  <a:gd name="connsiteY115" fmla="*/ 228600 h 3147261"/>
                  <a:gd name="connsiteX116" fmla="*/ 2446137 w 3147279"/>
                  <a:gd name="connsiteY116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45197 w 3147279"/>
                  <a:gd name="connsiteY54" fmla="*/ 2773680 h 3147261"/>
                  <a:gd name="connsiteX55" fmla="*/ 2423277 w 3147279"/>
                  <a:gd name="connsiteY55" fmla="*/ 2865120 h 3147261"/>
                  <a:gd name="connsiteX56" fmla="*/ 2392797 w 3147279"/>
                  <a:gd name="connsiteY56" fmla="*/ 2887980 h 3147261"/>
                  <a:gd name="connsiteX57" fmla="*/ 2301357 w 3147279"/>
                  <a:gd name="connsiteY57" fmla="*/ 2971800 h 3147261"/>
                  <a:gd name="connsiteX58" fmla="*/ 2194677 w 3147279"/>
                  <a:gd name="connsiteY58" fmla="*/ 3025140 h 3147261"/>
                  <a:gd name="connsiteX59" fmla="*/ 2095617 w 3147279"/>
                  <a:gd name="connsiteY59" fmla="*/ 3055620 h 3147261"/>
                  <a:gd name="connsiteX60" fmla="*/ 1912737 w 3147279"/>
                  <a:gd name="connsiteY60" fmla="*/ 3108960 h 3147261"/>
                  <a:gd name="connsiteX61" fmla="*/ 1798437 w 3147279"/>
                  <a:gd name="connsiteY61" fmla="*/ 3147060 h 3147261"/>
                  <a:gd name="connsiteX62" fmla="*/ 1333617 w 3147279"/>
                  <a:gd name="connsiteY62" fmla="*/ 3108960 h 3147261"/>
                  <a:gd name="connsiteX63" fmla="*/ 792597 w 3147279"/>
                  <a:gd name="connsiteY63" fmla="*/ 2933700 h 3147261"/>
                  <a:gd name="connsiteX64" fmla="*/ 419217 w 3147279"/>
                  <a:gd name="connsiteY64" fmla="*/ 2644140 h 3147261"/>
                  <a:gd name="connsiteX65" fmla="*/ 320157 w 3147279"/>
                  <a:gd name="connsiteY65" fmla="*/ 2484120 h 3147261"/>
                  <a:gd name="connsiteX66" fmla="*/ 297297 w 3147279"/>
                  <a:gd name="connsiteY66" fmla="*/ 2430780 h 3147261"/>
                  <a:gd name="connsiteX67" fmla="*/ 274437 w 3147279"/>
                  <a:gd name="connsiteY67" fmla="*/ 2377440 h 3147261"/>
                  <a:gd name="connsiteX68" fmla="*/ 228717 w 3147279"/>
                  <a:gd name="connsiteY68" fmla="*/ 2316480 h 3147261"/>
                  <a:gd name="connsiteX69" fmla="*/ 205857 w 3147279"/>
                  <a:gd name="connsiteY69" fmla="*/ 2293620 h 3147261"/>
                  <a:gd name="connsiteX70" fmla="*/ 175377 w 3147279"/>
                  <a:gd name="connsiteY70" fmla="*/ 2240280 h 3147261"/>
                  <a:gd name="connsiteX71" fmla="*/ 160137 w 3147279"/>
                  <a:gd name="connsiteY71" fmla="*/ 2202180 h 3147261"/>
                  <a:gd name="connsiteX72" fmla="*/ 144897 w 3147279"/>
                  <a:gd name="connsiteY72" fmla="*/ 2179320 h 3147261"/>
                  <a:gd name="connsiteX73" fmla="*/ 129657 w 3147279"/>
                  <a:gd name="connsiteY73" fmla="*/ 2133600 h 3147261"/>
                  <a:gd name="connsiteX74" fmla="*/ 99177 w 3147279"/>
                  <a:gd name="connsiteY74" fmla="*/ 2087880 h 3147261"/>
                  <a:gd name="connsiteX75" fmla="*/ 61077 w 3147279"/>
                  <a:gd name="connsiteY75" fmla="*/ 2026920 h 3147261"/>
                  <a:gd name="connsiteX76" fmla="*/ 53457 w 3147279"/>
                  <a:gd name="connsiteY76" fmla="*/ 2004060 h 3147261"/>
                  <a:gd name="connsiteX77" fmla="*/ 38217 w 3147279"/>
                  <a:gd name="connsiteY77" fmla="*/ 1943100 h 3147261"/>
                  <a:gd name="connsiteX78" fmla="*/ 22977 w 3147279"/>
                  <a:gd name="connsiteY78" fmla="*/ 1897380 h 3147261"/>
                  <a:gd name="connsiteX79" fmla="*/ 117 w 3147279"/>
                  <a:gd name="connsiteY79" fmla="*/ 1562100 h 3147261"/>
                  <a:gd name="connsiteX80" fmla="*/ 22977 w 3147279"/>
                  <a:gd name="connsiteY80" fmla="*/ 1135380 h 3147261"/>
                  <a:gd name="connsiteX81" fmla="*/ 38217 w 3147279"/>
                  <a:gd name="connsiteY81" fmla="*/ 1104900 h 3147261"/>
                  <a:gd name="connsiteX82" fmla="*/ 83937 w 3147279"/>
                  <a:gd name="connsiteY82" fmla="*/ 1021080 h 3147261"/>
                  <a:gd name="connsiteX83" fmla="*/ 129657 w 3147279"/>
                  <a:gd name="connsiteY83" fmla="*/ 914400 h 3147261"/>
                  <a:gd name="connsiteX84" fmla="*/ 160137 w 3147279"/>
                  <a:gd name="connsiteY84" fmla="*/ 861060 h 3147261"/>
                  <a:gd name="connsiteX85" fmla="*/ 182997 w 3147279"/>
                  <a:gd name="connsiteY85" fmla="*/ 822960 h 3147261"/>
                  <a:gd name="connsiteX86" fmla="*/ 205857 w 3147279"/>
                  <a:gd name="connsiteY86" fmla="*/ 800100 h 3147261"/>
                  <a:gd name="connsiteX87" fmla="*/ 259197 w 3147279"/>
                  <a:gd name="connsiteY87" fmla="*/ 708660 h 3147261"/>
                  <a:gd name="connsiteX88" fmla="*/ 274437 w 3147279"/>
                  <a:gd name="connsiteY88" fmla="*/ 662940 h 3147261"/>
                  <a:gd name="connsiteX89" fmla="*/ 327777 w 3147279"/>
                  <a:gd name="connsiteY89" fmla="*/ 586740 h 3147261"/>
                  <a:gd name="connsiteX90" fmla="*/ 419217 w 3147279"/>
                  <a:gd name="connsiteY90" fmla="*/ 510540 h 3147261"/>
                  <a:gd name="connsiteX91" fmla="*/ 449697 w 3147279"/>
                  <a:gd name="connsiteY91" fmla="*/ 472440 h 3147261"/>
                  <a:gd name="connsiteX92" fmla="*/ 510657 w 3147279"/>
                  <a:gd name="connsiteY92" fmla="*/ 434340 h 3147261"/>
                  <a:gd name="connsiteX93" fmla="*/ 563997 w 3147279"/>
                  <a:gd name="connsiteY93" fmla="*/ 396240 h 3147261"/>
                  <a:gd name="connsiteX94" fmla="*/ 655437 w 3147279"/>
                  <a:gd name="connsiteY94" fmla="*/ 335280 h 3147261"/>
                  <a:gd name="connsiteX95" fmla="*/ 731637 w 3147279"/>
                  <a:gd name="connsiteY95" fmla="*/ 297180 h 3147261"/>
                  <a:gd name="connsiteX96" fmla="*/ 815457 w 3147279"/>
                  <a:gd name="connsiteY96" fmla="*/ 236220 h 3147261"/>
                  <a:gd name="connsiteX97" fmla="*/ 830697 w 3147279"/>
                  <a:gd name="connsiteY97" fmla="*/ 213360 h 3147261"/>
                  <a:gd name="connsiteX98" fmla="*/ 861177 w 3147279"/>
                  <a:gd name="connsiteY98" fmla="*/ 205740 h 3147261"/>
                  <a:gd name="connsiteX99" fmla="*/ 952617 w 3147279"/>
                  <a:gd name="connsiteY99" fmla="*/ 152400 h 3147261"/>
                  <a:gd name="connsiteX100" fmla="*/ 983097 w 3147279"/>
                  <a:gd name="connsiteY100" fmla="*/ 129540 h 3147261"/>
                  <a:gd name="connsiteX101" fmla="*/ 1105017 w 3147279"/>
                  <a:gd name="connsiteY101" fmla="*/ 76200 h 3147261"/>
                  <a:gd name="connsiteX102" fmla="*/ 1127877 w 3147279"/>
                  <a:gd name="connsiteY102" fmla="*/ 68580 h 3147261"/>
                  <a:gd name="connsiteX103" fmla="*/ 1188837 w 3147279"/>
                  <a:gd name="connsiteY103" fmla="*/ 53340 h 3147261"/>
                  <a:gd name="connsiteX104" fmla="*/ 1242177 w 3147279"/>
                  <a:gd name="connsiteY104" fmla="*/ 38100 h 3147261"/>
                  <a:gd name="connsiteX105" fmla="*/ 1265037 w 3147279"/>
                  <a:gd name="connsiteY105" fmla="*/ 30480 h 3147261"/>
                  <a:gd name="connsiteX106" fmla="*/ 1386957 w 3147279"/>
                  <a:gd name="connsiteY106" fmla="*/ 15240 h 3147261"/>
                  <a:gd name="connsiteX107" fmla="*/ 1463157 w 3147279"/>
                  <a:gd name="connsiteY107" fmla="*/ 0 h 3147261"/>
                  <a:gd name="connsiteX108" fmla="*/ 1882257 w 3147279"/>
                  <a:gd name="connsiteY108" fmla="*/ 15240 h 3147261"/>
                  <a:gd name="connsiteX109" fmla="*/ 1912737 w 3147279"/>
                  <a:gd name="connsiteY109" fmla="*/ 22860 h 3147261"/>
                  <a:gd name="connsiteX110" fmla="*/ 2164197 w 3147279"/>
                  <a:gd name="connsiteY110" fmla="*/ 99060 h 3147261"/>
                  <a:gd name="connsiteX111" fmla="*/ 2339457 w 3147279"/>
                  <a:gd name="connsiteY111" fmla="*/ 182880 h 3147261"/>
                  <a:gd name="connsiteX112" fmla="*/ 2369937 w 3147279"/>
                  <a:gd name="connsiteY112" fmla="*/ 190500 h 3147261"/>
                  <a:gd name="connsiteX113" fmla="*/ 2392797 w 3147279"/>
                  <a:gd name="connsiteY113" fmla="*/ 205740 h 3147261"/>
                  <a:gd name="connsiteX114" fmla="*/ 2438517 w 3147279"/>
                  <a:gd name="connsiteY114" fmla="*/ 228600 h 3147261"/>
                  <a:gd name="connsiteX115" fmla="*/ 2446137 w 3147279"/>
                  <a:gd name="connsiteY115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423277 w 3147279"/>
                  <a:gd name="connsiteY54" fmla="*/ 2865120 h 3147261"/>
                  <a:gd name="connsiteX55" fmla="*/ 2392797 w 3147279"/>
                  <a:gd name="connsiteY55" fmla="*/ 2887980 h 3147261"/>
                  <a:gd name="connsiteX56" fmla="*/ 2301357 w 3147279"/>
                  <a:gd name="connsiteY56" fmla="*/ 2971800 h 3147261"/>
                  <a:gd name="connsiteX57" fmla="*/ 2194677 w 3147279"/>
                  <a:gd name="connsiteY57" fmla="*/ 3025140 h 3147261"/>
                  <a:gd name="connsiteX58" fmla="*/ 2095617 w 3147279"/>
                  <a:gd name="connsiteY58" fmla="*/ 3055620 h 3147261"/>
                  <a:gd name="connsiteX59" fmla="*/ 1912737 w 3147279"/>
                  <a:gd name="connsiteY59" fmla="*/ 3108960 h 3147261"/>
                  <a:gd name="connsiteX60" fmla="*/ 1798437 w 3147279"/>
                  <a:gd name="connsiteY60" fmla="*/ 3147060 h 3147261"/>
                  <a:gd name="connsiteX61" fmla="*/ 1333617 w 3147279"/>
                  <a:gd name="connsiteY61" fmla="*/ 3108960 h 3147261"/>
                  <a:gd name="connsiteX62" fmla="*/ 792597 w 3147279"/>
                  <a:gd name="connsiteY62" fmla="*/ 2933700 h 3147261"/>
                  <a:gd name="connsiteX63" fmla="*/ 419217 w 3147279"/>
                  <a:gd name="connsiteY63" fmla="*/ 2644140 h 3147261"/>
                  <a:gd name="connsiteX64" fmla="*/ 320157 w 3147279"/>
                  <a:gd name="connsiteY64" fmla="*/ 2484120 h 3147261"/>
                  <a:gd name="connsiteX65" fmla="*/ 297297 w 3147279"/>
                  <a:gd name="connsiteY65" fmla="*/ 2430780 h 3147261"/>
                  <a:gd name="connsiteX66" fmla="*/ 274437 w 3147279"/>
                  <a:gd name="connsiteY66" fmla="*/ 2377440 h 3147261"/>
                  <a:gd name="connsiteX67" fmla="*/ 228717 w 3147279"/>
                  <a:gd name="connsiteY67" fmla="*/ 2316480 h 3147261"/>
                  <a:gd name="connsiteX68" fmla="*/ 205857 w 3147279"/>
                  <a:gd name="connsiteY68" fmla="*/ 2293620 h 3147261"/>
                  <a:gd name="connsiteX69" fmla="*/ 175377 w 3147279"/>
                  <a:gd name="connsiteY69" fmla="*/ 2240280 h 3147261"/>
                  <a:gd name="connsiteX70" fmla="*/ 160137 w 3147279"/>
                  <a:gd name="connsiteY70" fmla="*/ 2202180 h 3147261"/>
                  <a:gd name="connsiteX71" fmla="*/ 144897 w 3147279"/>
                  <a:gd name="connsiteY71" fmla="*/ 2179320 h 3147261"/>
                  <a:gd name="connsiteX72" fmla="*/ 129657 w 3147279"/>
                  <a:gd name="connsiteY72" fmla="*/ 2133600 h 3147261"/>
                  <a:gd name="connsiteX73" fmla="*/ 99177 w 3147279"/>
                  <a:gd name="connsiteY73" fmla="*/ 2087880 h 3147261"/>
                  <a:gd name="connsiteX74" fmla="*/ 61077 w 3147279"/>
                  <a:gd name="connsiteY74" fmla="*/ 2026920 h 3147261"/>
                  <a:gd name="connsiteX75" fmla="*/ 53457 w 3147279"/>
                  <a:gd name="connsiteY75" fmla="*/ 2004060 h 3147261"/>
                  <a:gd name="connsiteX76" fmla="*/ 38217 w 3147279"/>
                  <a:gd name="connsiteY76" fmla="*/ 1943100 h 3147261"/>
                  <a:gd name="connsiteX77" fmla="*/ 22977 w 3147279"/>
                  <a:gd name="connsiteY77" fmla="*/ 1897380 h 3147261"/>
                  <a:gd name="connsiteX78" fmla="*/ 117 w 3147279"/>
                  <a:gd name="connsiteY78" fmla="*/ 1562100 h 3147261"/>
                  <a:gd name="connsiteX79" fmla="*/ 22977 w 3147279"/>
                  <a:gd name="connsiteY79" fmla="*/ 1135380 h 3147261"/>
                  <a:gd name="connsiteX80" fmla="*/ 38217 w 3147279"/>
                  <a:gd name="connsiteY80" fmla="*/ 1104900 h 3147261"/>
                  <a:gd name="connsiteX81" fmla="*/ 83937 w 3147279"/>
                  <a:gd name="connsiteY81" fmla="*/ 1021080 h 3147261"/>
                  <a:gd name="connsiteX82" fmla="*/ 129657 w 3147279"/>
                  <a:gd name="connsiteY82" fmla="*/ 914400 h 3147261"/>
                  <a:gd name="connsiteX83" fmla="*/ 160137 w 3147279"/>
                  <a:gd name="connsiteY83" fmla="*/ 861060 h 3147261"/>
                  <a:gd name="connsiteX84" fmla="*/ 182997 w 3147279"/>
                  <a:gd name="connsiteY84" fmla="*/ 822960 h 3147261"/>
                  <a:gd name="connsiteX85" fmla="*/ 205857 w 3147279"/>
                  <a:gd name="connsiteY85" fmla="*/ 800100 h 3147261"/>
                  <a:gd name="connsiteX86" fmla="*/ 259197 w 3147279"/>
                  <a:gd name="connsiteY86" fmla="*/ 708660 h 3147261"/>
                  <a:gd name="connsiteX87" fmla="*/ 274437 w 3147279"/>
                  <a:gd name="connsiteY87" fmla="*/ 662940 h 3147261"/>
                  <a:gd name="connsiteX88" fmla="*/ 327777 w 3147279"/>
                  <a:gd name="connsiteY88" fmla="*/ 586740 h 3147261"/>
                  <a:gd name="connsiteX89" fmla="*/ 419217 w 3147279"/>
                  <a:gd name="connsiteY89" fmla="*/ 510540 h 3147261"/>
                  <a:gd name="connsiteX90" fmla="*/ 449697 w 3147279"/>
                  <a:gd name="connsiteY90" fmla="*/ 472440 h 3147261"/>
                  <a:gd name="connsiteX91" fmla="*/ 510657 w 3147279"/>
                  <a:gd name="connsiteY91" fmla="*/ 434340 h 3147261"/>
                  <a:gd name="connsiteX92" fmla="*/ 563997 w 3147279"/>
                  <a:gd name="connsiteY92" fmla="*/ 396240 h 3147261"/>
                  <a:gd name="connsiteX93" fmla="*/ 655437 w 3147279"/>
                  <a:gd name="connsiteY93" fmla="*/ 335280 h 3147261"/>
                  <a:gd name="connsiteX94" fmla="*/ 731637 w 3147279"/>
                  <a:gd name="connsiteY94" fmla="*/ 297180 h 3147261"/>
                  <a:gd name="connsiteX95" fmla="*/ 815457 w 3147279"/>
                  <a:gd name="connsiteY95" fmla="*/ 236220 h 3147261"/>
                  <a:gd name="connsiteX96" fmla="*/ 830697 w 3147279"/>
                  <a:gd name="connsiteY96" fmla="*/ 213360 h 3147261"/>
                  <a:gd name="connsiteX97" fmla="*/ 861177 w 3147279"/>
                  <a:gd name="connsiteY97" fmla="*/ 205740 h 3147261"/>
                  <a:gd name="connsiteX98" fmla="*/ 952617 w 3147279"/>
                  <a:gd name="connsiteY98" fmla="*/ 152400 h 3147261"/>
                  <a:gd name="connsiteX99" fmla="*/ 983097 w 3147279"/>
                  <a:gd name="connsiteY99" fmla="*/ 129540 h 3147261"/>
                  <a:gd name="connsiteX100" fmla="*/ 1105017 w 3147279"/>
                  <a:gd name="connsiteY100" fmla="*/ 76200 h 3147261"/>
                  <a:gd name="connsiteX101" fmla="*/ 1127877 w 3147279"/>
                  <a:gd name="connsiteY101" fmla="*/ 68580 h 3147261"/>
                  <a:gd name="connsiteX102" fmla="*/ 1188837 w 3147279"/>
                  <a:gd name="connsiteY102" fmla="*/ 53340 h 3147261"/>
                  <a:gd name="connsiteX103" fmla="*/ 1242177 w 3147279"/>
                  <a:gd name="connsiteY103" fmla="*/ 38100 h 3147261"/>
                  <a:gd name="connsiteX104" fmla="*/ 1265037 w 3147279"/>
                  <a:gd name="connsiteY104" fmla="*/ 30480 h 3147261"/>
                  <a:gd name="connsiteX105" fmla="*/ 1386957 w 3147279"/>
                  <a:gd name="connsiteY105" fmla="*/ 15240 h 3147261"/>
                  <a:gd name="connsiteX106" fmla="*/ 1463157 w 3147279"/>
                  <a:gd name="connsiteY106" fmla="*/ 0 h 3147261"/>
                  <a:gd name="connsiteX107" fmla="*/ 1882257 w 3147279"/>
                  <a:gd name="connsiteY107" fmla="*/ 15240 h 3147261"/>
                  <a:gd name="connsiteX108" fmla="*/ 1912737 w 3147279"/>
                  <a:gd name="connsiteY108" fmla="*/ 22860 h 3147261"/>
                  <a:gd name="connsiteX109" fmla="*/ 2164197 w 3147279"/>
                  <a:gd name="connsiteY109" fmla="*/ 99060 h 3147261"/>
                  <a:gd name="connsiteX110" fmla="*/ 2339457 w 3147279"/>
                  <a:gd name="connsiteY110" fmla="*/ 182880 h 3147261"/>
                  <a:gd name="connsiteX111" fmla="*/ 2369937 w 3147279"/>
                  <a:gd name="connsiteY111" fmla="*/ 190500 h 3147261"/>
                  <a:gd name="connsiteX112" fmla="*/ 2392797 w 3147279"/>
                  <a:gd name="connsiteY112" fmla="*/ 205740 h 3147261"/>
                  <a:gd name="connsiteX113" fmla="*/ 2438517 w 3147279"/>
                  <a:gd name="connsiteY113" fmla="*/ 228600 h 3147261"/>
                  <a:gd name="connsiteX114" fmla="*/ 2446137 w 3147279"/>
                  <a:gd name="connsiteY114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423277 w 3147279"/>
                  <a:gd name="connsiteY54" fmla="*/ 2865120 h 3147261"/>
                  <a:gd name="connsiteX55" fmla="*/ 2301357 w 3147279"/>
                  <a:gd name="connsiteY55" fmla="*/ 2971800 h 3147261"/>
                  <a:gd name="connsiteX56" fmla="*/ 2194677 w 3147279"/>
                  <a:gd name="connsiteY56" fmla="*/ 3025140 h 3147261"/>
                  <a:gd name="connsiteX57" fmla="*/ 2095617 w 3147279"/>
                  <a:gd name="connsiteY57" fmla="*/ 3055620 h 3147261"/>
                  <a:gd name="connsiteX58" fmla="*/ 1912737 w 3147279"/>
                  <a:gd name="connsiteY58" fmla="*/ 3108960 h 3147261"/>
                  <a:gd name="connsiteX59" fmla="*/ 1798437 w 3147279"/>
                  <a:gd name="connsiteY59" fmla="*/ 3147060 h 3147261"/>
                  <a:gd name="connsiteX60" fmla="*/ 1333617 w 3147279"/>
                  <a:gd name="connsiteY60" fmla="*/ 3108960 h 3147261"/>
                  <a:gd name="connsiteX61" fmla="*/ 792597 w 3147279"/>
                  <a:gd name="connsiteY61" fmla="*/ 2933700 h 3147261"/>
                  <a:gd name="connsiteX62" fmla="*/ 419217 w 3147279"/>
                  <a:gd name="connsiteY62" fmla="*/ 2644140 h 3147261"/>
                  <a:gd name="connsiteX63" fmla="*/ 320157 w 3147279"/>
                  <a:gd name="connsiteY63" fmla="*/ 2484120 h 3147261"/>
                  <a:gd name="connsiteX64" fmla="*/ 297297 w 3147279"/>
                  <a:gd name="connsiteY64" fmla="*/ 2430780 h 3147261"/>
                  <a:gd name="connsiteX65" fmla="*/ 274437 w 3147279"/>
                  <a:gd name="connsiteY65" fmla="*/ 2377440 h 3147261"/>
                  <a:gd name="connsiteX66" fmla="*/ 228717 w 3147279"/>
                  <a:gd name="connsiteY66" fmla="*/ 2316480 h 3147261"/>
                  <a:gd name="connsiteX67" fmla="*/ 205857 w 3147279"/>
                  <a:gd name="connsiteY67" fmla="*/ 2293620 h 3147261"/>
                  <a:gd name="connsiteX68" fmla="*/ 175377 w 3147279"/>
                  <a:gd name="connsiteY68" fmla="*/ 2240280 h 3147261"/>
                  <a:gd name="connsiteX69" fmla="*/ 160137 w 3147279"/>
                  <a:gd name="connsiteY69" fmla="*/ 2202180 h 3147261"/>
                  <a:gd name="connsiteX70" fmla="*/ 144897 w 3147279"/>
                  <a:gd name="connsiteY70" fmla="*/ 2179320 h 3147261"/>
                  <a:gd name="connsiteX71" fmla="*/ 129657 w 3147279"/>
                  <a:gd name="connsiteY71" fmla="*/ 2133600 h 3147261"/>
                  <a:gd name="connsiteX72" fmla="*/ 99177 w 3147279"/>
                  <a:gd name="connsiteY72" fmla="*/ 2087880 h 3147261"/>
                  <a:gd name="connsiteX73" fmla="*/ 61077 w 3147279"/>
                  <a:gd name="connsiteY73" fmla="*/ 2026920 h 3147261"/>
                  <a:gd name="connsiteX74" fmla="*/ 53457 w 3147279"/>
                  <a:gd name="connsiteY74" fmla="*/ 2004060 h 3147261"/>
                  <a:gd name="connsiteX75" fmla="*/ 38217 w 3147279"/>
                  <a:gd name="connsiteY75" fmla="*/ 1943100 h 3147261"/>
                  <a:gd name="connsiteX76" fmla="*/ 22977 w 3147279"/>
                  <a:gd name="connsiteY76" fmla="*/ 1897380 h 3147261"/>
                  <a:gd name="connsiteX77" fmla="*/ 117 w 3147279"/>
                  <a:gd name="connsiteY77" fmla="*/ 1562100 h 3147261"/>
                  <a:gd name="connsiteX78" fmla="*/ 22977 w 3147279"/>
                  <a:gd name="connsiteY78" fmla="*/ 1135380 h 3147261"/>
                  <a:gd name="connsiteX79" fmla="*/ 38217 w 3147279"/>
                  <a:gd name="connsiteY79" fmla="*/ 1104900 h 3147261"/>
                  <a:gd name="connsiteX80" fmla="*/ 83937 w 3147279"/>
                  <a:gd name="connsiteY80" fmla="*/ 1021080 h 3147261"/>
                  <a:gd name="connsiteX81" fmla="*/ 129657 w 3147279"/>
                  <a:gd name="connsiteY81" fmla="*/ 914400 h 3147261"/>
                  <a:gd name="connsiteX82" fmla="*/ 160137 w 3147279"/>
                  <a:gd name="connsiteY82" fmla="*/ 861060 h 3147261"/>
                  <a:gd name="connsiteX83" fmla="*/ 182997 w 3147279"/>
                  <a:gd name="connsiteY83" fmla="*/ 822960 h 3147261"/>
                  <a:gd name="connsiteX84" fmla="*/ 205857 w 3147279"/>
                  <a:gd name="connsiteY84" fmla="*/ 800100 h 3147261"/>
                  <a:gd name="connsiteX85" fmla="*/ 259197 w 3147279"/>
                  <a:gd name="connsiteY85" fmla="*/ 708660 h 3147261"/>
                  <a:gd name="connsiteX86" fmla="*/ 274437 w 3147279"/>
                  <a:gd name="connsiteY86" fmla="*/ 662940 h 3147261"/>
                  <a:gd name="connsiteX87" fmla="*/ 327777 w 3147279"/>
                  <a:gd name="connsiteY87" fmla="*/ 586740 h 3147261"/>
                  <a:gd name="connsiteX88" fmla="*/ 419217 w 3147279"/>
                  <a:gd name="connsiteY88" fmla="*/ 510540 h 3147261"/>
                  <a:gd name="connsiteX89" fmla="*/ 449697 w 3147279"/>
                  <a:gd name="connsiteY89" fmla="*/ 472440 h 3147261"/>
                  <a:gd name="connsiteX90" fmla="*/ 510657 w 3147279"/>
                  <a:gd name="connsiteY90" fmla="*/ 434340 h 3147261"/>
                  <a:gd name="connsiteX91" fmla="*/ 563997 w 3147279"/>
                  <a:gd name="connsiteY91" fmla="*/ 396240 h 3147261"/>
                  <a:gd name="connsiteX92" fmla="*/ 655437 w 3147279"/>
                  <a:gd name="connsiteY92" fmla="*/ 335280 h 3147261"/>
                  <a:gd name="connsiteX93" fmla="*/ 731637 w 3147279"/>
                  <a:gd name="connsiteY93" fmla="*/ 297180 h 3147261"/>
                  <a:gd name="connsiteX94" fmla="*/ 815457 w 3147279"/>
                  <a:gd name="connsiteY94" fmla="*/ 236220 h 3147261"/>
                  <a:gd name="connsiteX95" fmla="*/ 830697 w 3147279"/>
                  <a:gd name="connsiteY95" fmla="*/ 213360 h 3147261"/>
                  <a:gd name="connsiteX96" fmla="*/ 861177 w 3147279"/>
                  <a:gd name="connsiteY96" fmla="*/ 205740 h 3147261"/>
                  <a:gd name="connsiteX97" fmla="*/ 952617 w 3147279"/>
                  <a:gd name="connsiteY97" fmla="*/ 152400 h 3147261"/>
                  <a:gd name="connsiteX98" fmla="*/ 983097 w 3147279"/>
                  <a:gd name="connsiteY98" fmla="*/ 129540 h 3147261"/>
                  <a:gd name="connsiteX99" fmla="*/ 1105017 w 3147279"/>
                  <a:gd name="connsiteY99" fmla="*/ 76200 h 3147261"/>
                  <a:gd name="connsiteX100" fmla="*/ 1127877 w 3147279"/>
                  <a:gd name="connsiteY100" fmla="*/ 68580 h 3147261"/>
                  <a:gd name="connsiteX101" fmla="*/ 1188837 w 3147279"/>
                  <a:gd name="connsiteY101" fmla="*/ 53340 h 3147261"/>
                  <a:gd name="connsiteX102" fmla="*/ 1242177 w 3147279"/>
                  <a:gd name="connsiteY102" fmla="*/ 38100 h 3147261"/>
                  <a:gd name="connsiteX103" fmla="*/ 1265037 w 3147279"/>
                  <a:gd name="connsiteY103" fmla="*/ 30480 h 3147261"/>
                  <a:gd name="connsiteX104" fmla="*/ 1386957 w 3147279"/>
                  <a:gd name="connsiteY104" fmla="*/ 15240 h 3147261"/>
                  <a:gd name="connsiteX105" fmla="*/ 1463157 w 3147279"/>
                  <a:gd name="connsiteY105" fmla="*/ 0 h 3147261"/>
                  <a:gd name="connsiteX106" fmla="*/ 1882257 w 3147279"/>
                  <a:gd name="connsiteY106" fmla="*/ 15240 h 3147261"/>
                  <a:gd name="connsiteX107" fmla="*/ 1912737 w 3147279"/>
                  <a:gd name="connsiteY107" fmla="*/ 22860 h 3147261"/>
                  <a:gd name="connsiteX108" fmla="*/ 2164197 w 3147279"/>
                  <a:gd name="connsiteY108" fmla="*/ 99060 h 3147261"/>
                  <a:gd name="connsiteX109" fmla="*/ 2339457 w 3147279"/>
                  <a:gd name="connsiteY109" fmla="*/ 182880 h 3147261"/>
                  <a:gd name="connsiteX110" fmla="*/ 2369937 w 3147279"/>
                  <a:gd name="connsiteY110" fmla="*/ 190500 h 3147261"/>
                  <a:gd name="connsiteX111" fmla="*/ 2392797 w 3147279"/>
                  <a:gd name="connsiteY111" fmla="*/ 205740 h 3147261"/>
                  <a:gd name="connsiteX112" fmla="*/ 2438517 w 3147279"/>
                  <a:gd name="connsiteY112" fmla="*/ 228600 h 3147261"/>
                  <a:gd name="connsiteX113" fmla="*/ 2446137 w 3147279"/>
                  <a:gd name="connsiteY113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301357 w 3147279"/>
                  <a:gd name="connsiteY54" fmla="*/ 2971800 h 3147261"/>
                  <a:gd name="connsiteX55" fmla="*/ 2194677 w 3147279"/>
                  <a:gd name="connsiteY55" fmla="*/ 3025140 h 3147261"/>
                  <a:gd name="connsiteX56" fmla="*/ 2095617 w 3147279"/>
                  <a:gd name="connsiteY56" fmla="*/ 3055620 h 3147261"/>
                  <a:gd name="connsiteX57" fmla="*/ 1912737 w 3147279"/>
                  <a:gd name="connsiteY57" fmla="*/ 3108960 h 3147261"/>
                  <a:gd name="connsiteX58" fmla="*/ 1798437 w 3147279"/>
                  <a:gd name="connsiteY58" fmla="*/ 3147060 h 3147261"/>
                  <a:gd name="connsiteX59" fmla="*/ 1333617 w 3147279"/>
                  <a:gd name="connsiteY59" fmla="*/ 3108960 h 3147261"/>
                  <a:gd name="connsiteX60" fmla="*/ 792597 w 3147279"/>
                  <a:gd name="connsiteY60" fmla="*/ 2933700 h 3147261"/>
                  <a:gd name="connsiteX61" fmla="*/ 419217 w 3147279"/>
                  <a:gd name="connsiteY61" fmla="*/ 2644140 h 3147261"/>
                  <a:gd name="connsiteX62" fmla="*/ 320157 w 3147279"/>
                  <a:gd name="connsiteY62" fmla="*/ 2484120 h 3147261"/>
                  <a:gd name="connsiteX63" fmla="*/ 297297 w 3147279"/>
                  <a:gd name="connsiteY63" fmla="*/ 2430780 h 3147261"/>
                  <a:gd name="connsiteX64" fmla="*/ 274437 w 3147279"/>
                  <a:gd name="connsiteY64" fmla="*/ 2377440 h 3147261"/>
                  <a:gd name="connsiteX65" fmla="*/ 228717 w 3147279"/>
                  <a:gd name="connsiteY65" fmla="*/ 2316480 h 3147261"/>
                  <a:gd name="connsiteX66" fmla="*/ 205857 w 3147279"/>
                  <a:gd name="connsiteY66" fmla="*/ 2293620 h 3147261"/>
                  <a:gd name="connsiteX67" fmla="*/ 175377 w 3147279"/>
                  <a:gd name="connsiteY67" fmla="*/ 2240280 h 3147261"/>
                  <a:gd name="connsiteX68" fmla="*/ 160137 w 3147279"/>
                  <a:gd name="connsiteY68" fmla="*/ 2202180 h 3147261"/>
                  <a:gd name="connsiteX69" fmla="*/ 144897 w 3147279"/>
                  <a:gd name="connsiteY69" fmla="*/ 2179320 h 3147261"/>
                  <a:gd name="connsiteX70" fmla="*/ 129657 w 3147279"/>
                  <a:gd name="connsiteY70" fmla="*/ 2133600 h 3147261"/>
                  <a:gd name="connsiteX71" fmla="*/ 99177 w 3147279"/>
                  <a:gd name="connsiteY71" fmla="*/ 2087880 h 3147261"/>
                  <a:gd name="connsiteX72" fmla="*/ 61077 w 3147279"/>
                  <a:gd name="connsiteY72" fmla="*/ 2026920 h 3147261"/>
                  <a:gd name="connsiteX73" fmla="*/ 53457 w 3147279"/>
                  <a:gd name="connsiteY73" fmla="*/ 2004060 h 3147261"/>
                  <a:gd name="connsiteX74" fmla="*/ 38217 w 3147279"/>
                  <a:gd name="connsiteY74" fmla="*/ 1943100 h 3147261"/>
                  <a:gd name="connsiteX75" fmla="*/ 22977 w 3147279"/>
                  <a:gd name="connsiteY75" fmla="*/ 1897380 h 3147261"/>
                  <a:gd name="connsiteX76" fmla="*/ 117 w 3147279"/>
                  <a:gd name="connsiteY76" fmla="*/ 1562100 h 3147261"/>
                  <a:gd name="connsiteX77" fmla="*/ 22977 w 3147279"/>
                  <a:gd name="connsiteY77" fmla="*/ 1135380 h 3147261"/>
                  <a:gd name="connsiteX78" fmla="*/ 38217 w 3147279"/>
                  <a:gd name="connsiteY78" fmla="*/ 1104900 h 3147261"/>
                  <a:gd name="connsiteX79" fmla="*/ 83937 w 3147279"/>
                  <a:gd name="connsiteY79" fmla="*/ 1021080 h 3147261"/>
                  <a:gd name="connsiteX80" fmla="*/ 129657 w 3147279"/>
                  <a:gd name="connsiteY80" fmla="*/ 914400 h 3147261"/>
                  <a:gd name="connsiteX81" fmla="*/ 160137 w 3147279"/>
                  <a:gd name="connsiteY81" fmla="*/ 861060 h 3147261"/>
                  <a:gd name="connsiteX82" fmla="*/ 182997 w 3147279"/>
                  <a:gd name="connsiteY82" fmla="*/ 822960 h 3147261"/>
                  <a:gd name="connsiteX83" fmla="*/ 205857 w 3147279"/>
                  <a:gd name="connsiteY83" fmla="*/ 800100 h 3147261"/>
                  <a:gd name="connsiteX84" fmla="*/ 259197 w 3147279"/>
                  <a:gd name="connsiteY84" fmla="*/ 708660 h 3147261"/>
                  <a:gd name="connsiteX85" fmla="*/ 274437 w 3147279"/>
                  <a:gd name="connsiteY85" fmla="*/ 662940 h 3147261"/>
                  <a:gd name="connsiteX86" fmla="*/ 327777 w 3147279"/>
                  <a:gd name="connsiteY86" fmla="*/ 586740 h 3147261"/>
                  <a:gd name="connsiteX87" fmla="*/ 419217 w 3147279"/>
                  <a:gd name="connsiteY87" fmla="*/ 510540 h 3147261"/>
                  <a:gd name="connsiteX88" fmla="*/ 449697 w 3147279"/>
                  <a:gd name="connsiteY88" fmla="*/ 472440 h 3147261"/>
                  <a:gd name="connsiteX89" fmla="*/ 510657 w 3147279"/>
                  <a:gd name="connsiteY89" fmla="*/ 434340 h 3147261"/>
                  <a:gd name="connsiteX90" fmla="*/ 563997 w 3147279"/>
                  <a:gd name="connsiteY90" fmla="*/ 396240 h 3147261"/>
                  <a:gd name="connsiteX91" fmla="*/ 655437 w 3147279"/>
                  <a:gd name="connsiteY91" fmla="*/ 335280 h 3147261"/>
                  <a:gd name="connsiteX92" fmla="*/ 731637 w 3147279"/>
                  <a:gd name="connsiteY92" fmla="*/ 297180 h 3147261"/>
                  <a:gd name="connsiteX93" fmla="*/ 815457 w 3147279"/>
                  <a:gd name="connsiteY93" fmla="*/ 236220 h 3147261"/>
                  <a:gd name="connsiteX94" fmla="*/ 830697 w 3147279"/>
                  <a:gd name="connsiteY94" fmla="*/ 213360 h 3147261"/>
                  <a:gd name="connsiteX95" fmla="*/ 861177 w 3147279"/>
                  <a:gd name="connsiteY95" fmla="*/ 205740 h 3147261"/>
                  <a:gd name="connsiteX96" fmla="*/ 952617 w 3147279"/>
                  <a:gd name="connsiteY96" fmla="*/ 152400 h 3147261"/>
                  <a:gd name="connsiteX97" fmla="*/ 983097 w 3147279"/>
                  <a:gd name="connsiteY97" fmla="*/ 129540 h 3147261"/>
                  <a:gd name="connsiteX98" fmla="*/ 1105017 w 3147279"/>
                  <a:gd name="connsiteY98" fmla="*/ 76200 h 3147261"/>
                  <a:gd name="connsiteX99" fmla="*/ 1127877 w 3147279"/>
                  <a:gd name="connsiteY99" fmla="*/ 68580 h 3147261"/>
                  <a:gd name="connsiteX100" fmla="*/ 1188837 w 3147279"/>
                  <a:gd name="connsiteY100" fmla="*/ 53340 h 3147261"/>
                  <a:gd name="connsiteX101" fmla="*/ 1242177 w 3147279"/>
                  <a:gd name="connsiteY101" fmla="*/ 38100 h 3147261"/>
                  <a:gd name="connsiteX102" fmla="*/ 1265037 w 3147279"/>
                  <a:gd name="connsiteY102" fmla="*/ 30480 h 3147261"/>
                  <a:gd name="connsiteX103" fmla="*/ 1386957 w 3147279"/>
                  <a:gd name="connsiteY103" fmla="*/ 15240 h 3147261"/>
                  <a:gd name="connsiteX104" fmla="*/ 1463157 w 3147279"/>
                  <a:gd name="connsiteY104" fmla="*/ 0 h 3147261"/>
                  <a:gd name="connsiteX105" fmla="*/ 1882257 w 3147279"/>
                  <a:gd name="connsiteY105" fmla="*/ 15240 h 3147261"/>
                  <a:gd name="connsiteX106" fmla="*/ 1912737 w 3147279"/>
                  <a:gd name="connsiteY106" fmla="*/ 22860 h 3147261"/>
                  <a:gd name="connsiteX107" fmla="*/ 2164197 w 3147279"/>
                  <a:gd name="connsiteY107" fmla="*/ 99060 h 3147261"/>
                  <a:gd name="connsiteX108" fmla="*/ 2339457 w 3147279"/>
                  <a:gd name="connsiteY108" fmla="*/ 182880 h 3147261"/>
                  <a:gd name="connsiteX109" fmla="*/ 2369937 w 3147279"/>
                  <a:gd name="connsiteY109" fmla="*/ 190500 h 3147261"/>
                  <a:gd name="connsiteX110" fmla="*/ 2392797 w 3147279"/>
                  <a:gd name="connsiteY110" fmla="*/ 205740 h 3147261"/>
                  <a:gd name="connsiteX111" fmla="*/ 2438517 w 3147279"/>
                  <a:gd name="connsiteY111" fmla="*/ 228600 h 3147261"/>
                  <a:gd name="connsiteX112" fmla="*/ 2446137 w 3147279"/>
                  <a:gd name="connsiteY112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301357 w 3147279"/>
                  <a:gd name="connsiteY53" fmla="*/ 2971800 h 3147261"/>
                  <a:gd name="connsiteX54" fmla="*/ 2194677 w 3147279"/>
                  <a:gd name="connsiteY54" fmla="*/ 3025140 h 3147261"/>
                  <a:gd name="connsiteX55" fmla="*/ 2095617 w 3147279"/>
                  <a:gd name="connsiteY55" fmla="*/ 3055620 h 3147261"/>
                  <a:gd name="connsiteX56" fmla="*/ 1912737 w 3147279"/>
                  <a:gd name="connsiteY56" fmla="*/ 3108960 h 3147261"/>
                  <a:gd name="connsiteX57" fmla="*/ 1798437 w 3147279"/>
                  <a:gd name="connsiteY57" fmla="*/ 3147060 h 3147261"/>
                  <a:gd name="connsiteX58" fmla="*/ 1333617 w 3147279"/>
                  <a:gd name="connsiteY58" fmla="*/ 3108960 h 3147261"/>
                  <a:gd name="connsiteX59" fmla="*/ 792597 w 3147279"/>
                  <a:gd name="connsiteY59" fmla="*/ 2933700 h 3147261"/>
                  <a:gd name="connsiteX60" fmla="*/ 419217 w 3147279"/>
                  <a:gd name="connsiteY60" fmla="*/ 2644140 h 3147261"/>
                  <a:gd name="connsiteX61" fmla="*/ 320157 w 3147279"/>
                  <a:gd name="connsiteY61" fmla="*/ 2484120 h 3147261"/>
                  <a:gd name="connsiteX62" fmla="*/ 297297 w 3147279"/>
                  <a:gd name="connsiteY62" fmla="*/ 2430780 h 3147261"/>
                  <a:gd name="connsiteX63" fmla="*/ 274437 w 3147279"/>
                  <a:gd name="connsiteY63" fmla="*/ 2377440 h 3147261"/>
                  <a:gd name="connsiteX64" fmla="*/ 228717 w 3147279"/>
                  <a:gd name="connsiteY64" fmla="*/ 2316480 h 3147261"/>
                  <a:gd name="connsiteX65" fmla="*/ 205857 w 3147279"/>
                  <a:gd name="connsiteY65" fmla="*/ 2293620 h 3147261"/>
                  <a:gd name="connsiteX66" fmla="*/ 175377 w 3147279"/>
                  <a:gd name="connsiteY66" fmla="*/ 2240280 h 3147261"/>
                  <a:gd name="connsiteX67" fmla="*/ 160137 w 3147279"/>
                  <a:gd name="connsiteY67" fmla="*/ 2202180 h 3147261"/>
                  <a:gd name="connsiteX68" fmla="*/ 144897 w 3147279"/>
                  <a:gd name="connsiteY68" fmla="*/ 2179320 h 3147261"/>
                  <a:gd name="connsiteX69" fmla="*/ 129657 w 3147279"/>
                  <a:gd name="connsiteY69" fmla="*/ 2133600 h 3147261"/>
                  <a:gd name="connsiteX70" fmla="*/ 99177 w 3147279"/>
                  <a:gd name="connsiteY70" fmla="*/ 2087880 h 3147261"/>
                  <a:gd name="connsiteX71" fmla="*/ 61077 w 3147279"/>
                  <a:gd name="connsiteY71" fmla="*/ 2026920 h 3147261"/>
                  <a:gd name="connsiteX72" fmla="*/ 53457 w 3147279"/>
                  <a:gd name="connsiteY72" fmla="*/ 2004060 h 3147261"/>
                  <a:gd name="connsiteX73" fmla="*/ 38217 w 3147279"/>
                  <a:gd name="connsiteY73" fmla="*/ 1943100 h 3147261"/>
                  <a:gd name="connsiteX74" fmla="*/ 22977 w 3147279"/>
                  <a:gd name="connsiteY74" fmla="*/ 1897380 h 3147261"/>
                  <a:gd name="connsiteX75" fmla="*/ 117 w 3147279"/>
                  <a:gd name="connsiteY75" fmla="*/ 1562100 h 3147261"/>
                  <a:gd name="connsiteX76" fmla="*/ 22977 w 3147279"/>
                  <a:gd name="connsiteY76" fmla="*/ 1135380 h 3147261"/>
                  <a:gd name="connsiteX77" fmla="*/ 38217 w 3147279"/>
                  <a:gd name="connsiteY77" fmla="*/ 1104900 h 3147261"/>
                  <a:gd name="connsiteX78" fmla="*/ 83937 w 3147279"/>
                  <a:gd name="connsiteY78" fmla="*/ 1021080 h 3147261"/>
                  <a:gd name="connsiteX79" fmla="*/ 129657 w 3147279"/>
                  <a:gd name="connsiteY79" fmla="*/ 914400 h 3147261"/>
                  <a:gd name="connsiteX80" fmla="*/ 160137 w 3147279"/>
                  <a:gd name="connsiteY80" fmla="*/ 861060 h 3147261"/>
                  <a:gd name="connsiteX81" fmla="*/ 182997 w 3147279"/>
                  <a:gd name="connsiteY81" fmla="*/ 822960 h 3147261"/>
                  <a:gd name="connsiteX82" fmla="*/ 205857 w 3147279"/>
                  <a:gd name="connsiteY82" fmla="*/ 800100 h 3147261"/>
                  <a:gd name="connsiteX83" fmla="*/ 259197 w 3147279"/>
                  <a:gd name="connsiteY83" fmla="*/ 708660 h 3147261"/>
                  <a:gd name="connsiteX84" fmla="*/ 274437 w 3147279"/>
                  <a:gd name="connsiteY84" fmla="*/ 662940 h 3147261"/>
                  <a:gd name="connsiteX85" fmla="*/ 327777 w 3147279"/>
                  <a:gd name="connsiteY85" fmla="*/ 586740 h 3147261"/>
                  <a:gd name="connsiteX86" fmla="*/ 419217 w 3147279"/>
                  <a:gd name="connsiteY86" fmla="*/ 510540 h 3147261"/>
                  <a:gd name="connsiteX87" fmla="*/ 449697 w 3147279"/>
                  <a:gd name="connsiteY87" fmla="*/ 472440 h 3147261"/>
                  <a:gd name="connsiteX88" fmla="*/ 510657 w 3147279"/>
                  <a:gd name="connsiteY88" fmla="*/ 434340 h 3147261"/>
                  <a:gd name="connsiteX89" fmla="*/ 563997 w 3147279"/>
                  <a:gd name="connsiteY89" fmla="*/ 396240 h 3147261"/>
                  <a:gd name="connsiteX90" fmla="*/ 655437 w 3147279"/>
                  <a:gd name="connsiteY90" fmla="*/ 335280 h 3147261"/>
                  <a:gd name="connsiteX91" fmla="*/ 731637 w 3147279"/>
                  <a:gd name="connsiteY91" fmla="*/ 297180 h 3147261"/>
                  <a:gd name="connsiteX92" fmla="*/ 815457 w 3147279"/>
                  <a:gd name="connsiteY92" fmla="*/ 236220 h 3147261"/>
                  <a:gd name="connsiteX93" fmla="*/ 830697 w 3147279"/>
                  <a:gd name="connsiteY93" fmla="*/ 213360 h 3147261"/>
                  <a:gd name="connsiteX94" fmla="*/ 861177 w 3147279"/>
                  <a:gd name="connsiteY94" fmla="*/ 205740 h 3147261"/>
                  <a:gd name="connsiteX95" fmla="*/ 952617 w 3147279"/>
                  <a:gd name="connsiteY95" fmla="*/ 152400 h 3147261"/>
                  <a:gd name="connsiteX96" fmla="*/ 983097 w 3147279"/>
                  <a:gd name="connsiteY96" fmla="*/ 129540 h 3147261"/>
                  <a:gd name="connsiteX97" fmla="*/ 1105017 w 3147279"/>
                  <a:gd name="connsiteY97" fmla="*/ 76200 h 3147261"/>
                  <a:gd name="connsiteX98" fmla="*/ 1127877 w 3147279"/>
                  <a:gd name="connsiteY98" fmla="*/ 68580 h 3147261"/>
                  <a:gd name="connsiteX99" fmla="*/ 1188837 w 3147279"/>
                  <a:gd name="connsiteY99" fmla="*/ 53340 h 3147261"/>
                  <a:gd name="connsiteX100" fmla="*/ 1242177 w 3147279"/>
                  <a:gd name="connsiteY100" fmla="*/ 38100 h 3147261"/>
                  <a:gd name="connsiteX101" fmla="*/ 1265037 w 3147279"/>
                  <a:gd name="connsiteY101" fmla="*/ 30480 h 3147261"/>
                  <a:gd name="connsiteX102" fmla="*/ 1386957 w 3147279"/>
                  <a:gd name="connsiteY102" fmla="*/ 15240 h 3147261"/>
                  <a:gd name="connsiteX103" fmla="*/ 1463157 w 3147279"/>
                  <a:gd name="connsiteY103" fmla="*/ 0 h 3147261"/>
                  <a:gd name="connsiteX104" fmla="*/ 1882257 w 3147279"/>
                  <a:gd name="connsiteY104" fmla="*/ 15240 h 3147261"/>
                  <a:gd name="connsiteX105" fmla="*/ 1912737 w 3147279"/>
                  <a:gd name="connsiteY105" fmla="*/ 22860 h 3147261"/>
                  <a:gd name="connsiteX106" fmla="*/ 2164197 w 3147279"/>
                  <a:gd name="connsiteY106" fmla="*/ 99060 h 3147261"/>
                  <a:gd name="connsiteX107" fmla="*/ 2339457 w 3147279"/>
                  <a:gd name="connsiteY107" fmla="*/ 182880 h 3147261"/>
                  <a:gd name="connsiteX108" fmla="*/ 2369937 w 3147279"/>
                  <a:gd name="connsiteY108" fmla="*/ 190500 h 3147261"/>
                  <a:gd name="connsiteX109" fmla="*/ 2392797 w 3147279"/>
                  <a:gd name="connsiteY109" fmla="*/ 205740 h 3147261"/>
                  <a:gd name="connsiteX110" fmla="*/ 2438517 w 3147279"/>
                  <a:gd name="connsiteY110" fmla="*/ 228600 h 3147261"/>
                  <a:gd name="connsiteX111" fmla="*/ 2446137 w 3147279"/>
                  <a:gd name="connsiteY111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301357 w 3147279"/>
                  <a:gd name="connsiteY52" fmla="*/ 2971800 h 3147261"/>
                  <a:gd name="connsiteX53" fmla="*/ 2194677 w 3147279"/>
                  <a:gd name="connsiteY53" fmla="*/ 3025140 h 3147261"/>
                  <a:gd name="connsiteX54" fmla="*/ 2095617 w 3147279"/>
                  <a:gd name="connsiteY54" fmla="*/ 3055620 h 3147261"/>
                  <a:gd name="connsiteX55" fmla="*/ 1912737 w 3147279"/>
                  <a:gd name="connsiteY55" fmla="*/ 3108960 h 3147261"/>
                  <a:gd name="connsiteX56" fmla="*/ 1798437 w 3147279"/>
                  <a:gd name="connsiteY56" fmla="*/ 3147060 h 3147261"/>
                  <a:gd name="connsiteX57" fmla="*/ 1333617 w 3147279"/>
                  <a:gd name="connsiteY57" fmla="*/ 3108960 h 3147261"/>
                  <a:gd name="connsiteX58" fmla="*/ 792597 w 3147279"/>
                  <a:gd name="connsiteY58" fmla="*/ 2933700 h 3147261"/>
                  <a:gd name="connsiteX59" fmla="*/ 419217 w 3147279"/>
                  <a:gd name="connsiteY59" fmla="*/ 2644140 h 3147261"/>
                  <a:gd name="connsiteX60" fmla="*/ 320157 w 3147279"/>
                  <a:gd name="connsiteY60" fmla="*/ 2484120 h 3147261"/>
                  <a:gd name="connsiteX61" fmla="*/ 297297 w 3147279"/>
                  <a:gd name="connsiteY61" fmla="*/ 2430780 h 3147261"/>
                  <a:gd name="connsiteX62" fmla="*/ 274437 w 3147279"/>
                  <a:gd name="connsiteY62" fmla="*/ 2377440 h 3147261"/>
                  <a:gd name="connsiteX63" fmla="*/ 228717 w 3147279"/>
                  <a:gd name="connsiteY63" fmla="*/ 2316480 h 3147261"/>
                  <a:gd name="connsiteX64" fmla="*/ 205857 w 3147279"/>
                  <a:gd name="connsiteY64" fmla="*/ 2293620 h 3147261"/>
                  <a:gd name="connsiteX65" fmla="*/ 175377 w 3147279"/>
                  <a:gd name="connsiteY65" fmla="*/ 2240280 h 3147261"/>
                  <a:gd name="connsiteX66" fmla="*/ 160137 w 3147279"/>
                  <a:gd name="connsiteY66" fmla="*/ 2202180 h 3147261"/>
                  <a:gd name="connsiteX67" fmla="*/ 144897 w 3147279"/>
                  <a:gd name="connsiteY67" fmla="*/ 2179320 h 3147261"/>
                  <a:gd name="connsiteX68" fmla="*/ 129657 w 3147279"/>
                  <a:gd name="connsiteY68" fmla="*/ 2133600 h 3147261"/>
                  <a:gd name="connsiteX69" fmla="*/ 99177 w 3147279"/>
                  <a:gd name="connsiteY69" fmla="*/ 2087880 h 3147261"/>
                  <a:gd name="connsiteX70" fmla="*/ 61077 w 3147279"/>
                  <a:gd name="connsiteY70" fmla="*/ 2026920 h 3147261"/>
                  <a:gd name="connsiteX71" fmla="*/ 53457 w 3147279"/>
                  <a:gd name="connsiteY71" fmla="*/ 2004060 h 3147261"/>
                  <a:gd name="connsiteX72" fmla="*/ 38217 w 3147279"/>
                  <a:gd name="connsiteY72" fmla="*/ 1943100 h 3147261"/>
                  <a:gd name="connsiteX73" fmla="*/ 22977 w 3147279"/>
                  <a:gd name="connsiteY73" fmla="*/ 1897380 h 3147261"/>
                  <a:gd name="connsiteX74" fmla="*/ 117 w 3147279"/>
                  <a:gd name="connsiteY74" fmla="*/ 1562100 h 3147261"/>
                  <a:gd name="connsiteX75" fmla="*/ 22977 w 3147279"/>
                  <a:gd name="connsiteY75" fmla="*/ 1135380 h 3147261"/>
                  <a:gd name="connsiteX76" fmla="*/ 38217 w 3147279"/>
                  <a:gd name="connsiteY76" fmla="*/ 1104900 h 3147261"/>
                  <a:gd name="connsiteX77" fmla="*/ 83937 w 3147279"/>
                  <a:gd name="connsiteY77" fmla="*/ 1021080 h 3147261"/>
                  <a:gd name="connsiteX78" fmla="*/ 129657 w 3147279"/>
                  <a:gd name="connsiteY78" fmla="*/ 914400 h 3147261"/>
                  <a:gd name="connsiteX79" fmla="*/ 160137 w 3147279"/>
                  <a:gd name="connsiteY79" fmla="*/ 861060 h 3147261"/>
                  <a:gd name="connsiteX80" fmla="*/ 182997 w 3147279"/>
                  <a:gd name="connsiteY80" fmla="*/ 822960 h 3147261"/>
                  <a:gd name="connsiteX81" fmla="*/ 205857 w 3147279"/>
                  <a:gd name="connsiteY81" fmla="*/ 800100 h 3147261"/>
                  <a:gd name="connsiteX82" fmla="*/ 259197 w 3147279"/>
                  <a:gd name="connsiteY82" fmla="*/ 708660 h 3147261"/>
                  <a:gd name="connsiteX83" fmla="*/ 274437 w 3147279"/>
                  <a:gd name="connsiteY83" fmla="*/ 662940 h 3147261"/>
                  <a:gd name="connsiteX84" fmla="*/ 327777 w 3147279"/>
                  <a:gd name="connsiteY84" fmla="*/ 586740 h 3147261"/>
                  <a:gd name="connsiteX85" fmla="*/ 419217 w 3147279"/>
                  <a:gd name="connsiteY85" fmla="*/ 510540 h 3147261"/>
                  <a:gd name="connsiteX86" fmla="*/ 449697 w 3147279"/>
                  <a:gd name="connsiteY86" fmla="*/ 472440 h 3147261"/>
                  <a:gd name="connsiteX87" fmla="*/ 510657 w 3147279"/>
                  <a:gd name="connsiteY87" fmla="*/ 434340 h 3147261"/>
                  <a:gd name="connsiteX88" fmla="*/ 563997 w 3147279"/>
                  <a:gd name="connsiteY88" fmla="*/ 396240 h 3147261"/>
                  <a:gd name="connsiteX89" fmla="*/ 655437 w 3147279"/>
                  <a:gd name="connsiteY89" fmla="*/ 335280 h 3147261"/>
                  <a:gd name="connsiteX90" fmla="*/ 731637 w 3147279"/>
                  <a:gd name="connsiteY90" fmla="*/ 297180 h 3147261"/>
                  <a:gd name="connsiteX91" fmla="*/ 815457 w 3147279"/>
                  <a:gd name="connsiteY91" fmla="*/ 236220 h 3147261"/>
                  <a:gd name="connsiteX92" fmla="*/ 830697 w 3147279"/>
                  <a:gd name="connsiteY92" fmla="*/ 213360 h 3147261"/>
                  <a:gd name="connsiteX93" fmla="*/ 861177 w 3147279"/>
                  <a:gd name="connsiteY93" fmla="*/ 205740 h 3147261"/>
                  <a:gd name="connsiteX94" fmla="*/ 952617 w 3147279"/>
                  <a:gd name="connsiteY94" fmla="*/ 152400 h 3147261"/>
                  <a:gd name="connsiteX95" fmla="*/ 983097 w 3147279"/>
                  <a:gd name="connsiteY95" fmla="*/ 129540 h 3147261"/>
                  <a:gd name="connsiteX96" fmla="*/ 1105017 w 3147279"/>
                  <a:gd name="connsiteY96" fmla="*/ 76200 h 3147261"/>
                  <a:gd name="connsiteX97" fmla="*/ 1127877 w 3147279"/>
                  <a:gd name="connsiteY97" fmla="*/ 68580 h 3147261"/>
                  <a:gd name="connsiteX98" fmla="*/ 1188837 w 3147279"/>
                  <a:gd name="connsiteY98" fmla="*/ 53340 h 3147261"/>
                  <a:gd name="connsiteX99" fmla="*/ 1242177 w 3147279"/>
                  <a:gd name="connsiteY99" fmla="*/ 38100 h 3147261"/>
                  <a:gd name="connsiteX100" fmla="*/ 1265037 w 3147279"/>
                  <a:gd name="connsiteY100" fmla="*/ 30480 h 3147261"/>
                  <a:gd name="connsiteX101" fmla="*/ 1386957 w 3147279"/>
                  <a:gd name="connsiteY101" fmla="*/ 15240 h 3147261"/>
                  <a:gd name="connsiteX102" fmla="*/ 1463157 w 3147279"/>
                  <a:gd name="connsiteY102" fmla="*/ 0 h 3147261"/>
                  <a:gd name="connsiteX103" fmla="*/ 1882257 w 3147279"/>
                  <a:gd name="connsiteY103" fmla="*/ 15240 h 3147261"/>
                  <a:gd name="connsiteX104" fmla="*/ 1912737 w 3147279"/>
                  <a:gd name="connsiteY104" fmla="*/ 22860 h 3147261"/>
                  <a:gd name="connsiteX105" fmla="*/ 2164197 w 3147279"/>
                  <a:gd name="connsiteY105" fmla="*/ 99060 h 3147261"/>
                  <a:gd name="connsiteX106" fmla="*/ 2339457 w 3147279"/>
                  <a:gd name="connsiteY106" fmla="*/ 182880 h 3147261"/>
                  <a:gd name="connsiteX107" fmla="*/ 2369937 w 3147279"/>
                  <a:gd name="connsiteY107" fmla="*/ 190500 h 3147261"/>
                  <a:gd name="connsiteX108" fmla="*/ 2392797 w 3147279"/>
                  <a:gd name="connsiteY108" fmla="*/ 205740 h 3147261"/>
                  <a:gd name="connsiteX109" fmla="*/ 2438517 w 3147279"/>
                  <a:gd name="connsiteY109" fmla="*/ 228600 h 3147261"/>
                  <a:gd name="connsiteX110" fmla="*/ 2446137 w 3147279"/>
                  <a:gd name="connsiteY110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301357 w 3147279"/>
                  <a:gd name="connsiteY52" fmla="*/ 2971800 h 3147261"/>
                  <a:gd name="connsiteX53" fmla="*/ 2194677 w 3147279"/>
                  <a:gd name="connsiteY53" fmla="*/ 3025140 h 3147261"/>
                  <a:gd name="connsiteX54" fmla="*/ 2095617 w 3147279"/>
                  <a:gd name="connsiteY54" fmla="*/ 3055620 h 3147261"/>
                  <a:gd name="connsiteX55" fmla="*/ 1912737 w 3147279"/>
                  <a:gd name="connsiteY55" fmla="*/ 3108960 h 3147261"/>
                  <a:gd name="connsiteX56" fmla="*/ 1798437 w 3147279"/>
                  <a:gd name="connsiteY56" fmla="*/ 3147060 h 3147261"/>
                  <a:gd name="connsiteX57" fmla="*/ 1333617 w 3147279"/>
                  <a:gd name="connsiteY57" fmla="*/ 3108960 h 3147261"/>
                  <a:gd name="connsiteX58" fmla="*/ 792597 w 3147279"/>
                  <a:gd name="connsiteY58" fmla="*/ 2933700 h 3147261"/>
                  <a:gd name="connsiteX59" fmla="*/ 419217 w 3147279"/>
                  <a:gd name="connsiteY59" fmla="*/ 2644140 h 3147261"/>
                  <a:gd name="connsiteX60" fmla="*/ 320157 w 3147279"/>
                  <a:gd name="connsiteY60" fmla="*/ 2484120 h 3147261"/>
                  <a:gd name="connsiteX61" fmla="*/ 297297 w 3147279"/>
                  <a:gd name="connsiteY61" fmla="*/ 2430780 h 3147261"/>
                  <a:gd name="connsiteX62" fmla="*/ 274437 w 3147279"/>
                  <a:gd name="connsiteY62" fmla="*/ 2377440 h 3147261"/>
                  <a:gd name="connsiteX63" fmla="*/ 228717 w 3147279"/>
                  <a:gd name="connsiteY63" fmla="*/ 2316480 h 3147261"/>
                  <a:gd name="connsiteX64" fmla="*/ 205857 w 3147279"/>
                  <a:gd name="connsiteY64" fmla="*/ 2293620 h 3147261"/>
                  <a:gd name="connsiteX65" fmla="*/ 175377 w 3147279"/>
                  <a:gd name="connsiteY65" fmla="*/ 2240280 h 3147261"/>
                  <a:gd name="connsiteX66" fmla="*/ 160137 w 3147279"/>
                  <a:gd name="connsiteY66" fmla="*/ 2202180 h 3147261"/>
                  <a:gd name="connsiteX67" fmla="*/ 144897 w 3147279"/>
                  <a:gd name="connsiteY67" fmla="*/ 2179320 h 3147261"/>
                  <a:gd name="connsiteX68" fmla="*/ 129657 w 3147279"/>
                  <a:gd name="connsiteY68" fmla="*/ 2133600 h 3147261"/>
                  <a:gd name="connsiteX69" fmla="*/ 99177 w 3147279"/>
                  <a:gd name="connsiteY69" fmla="*/ 2087880 h 3147261"/>
                  <a:gd name="connsiteX70" fmla="*/ 61077 w 3147279"/>
                  <a:gd name="connsiteY70" fmla="*/ 2026920 h 3147261"/>
                  <a:gd name="connsiteX71" fmla="*/ 53457 w 3147279"/>
                  <a:gd name="connsiteY71" fmla="*/ 2004060 h 3147261"/>
                  <a:gd name="connsiteX72" fmla="*/ 38217 w 3147279"/>
                  <a:gd name="connsiteY72" fmla="*/ 1943100 h 3147261"/>
                  <a:gd name="connsiteX73" fmla="*/ 22977 w 3147279"/>
                  <a:gd name="connsiteY73" fmla="*/ 1897380 h 3147261"/>
                  <a:gd name="connsiteX74" fmla="*/ 117 w 3147279"/>
                  <a:gd name="connsiteY74" fmla="*/ 1562100 h 3147261"/>
                  <a:gd name="connsiteX75" fmla="*/ 22977 w 3147279"/>
                  <a:gd name="connsiteY75" fmla="*/ 1135380 h 3147261"/>
                  <a:gd name="connsiteX76" fmla="*/ 38217 w 3147279"/>
                  <a:gd name="connsiteY76" fmla="*/ 1104900 h 3147261"/>
                  <a:gd name="connsiteX77" fmla="*/ 83937 w 3147279"/>
                  <a:gd name="connsiteY77" fmla="*/ 1021080 h 3147261"/>
                  <a:gd name="connsiteX78" fmla="*/ 129657 w 3147279"/>
                  <a:gd name="connsiteY78" fmla="*/ 914400 h 3147261"/>
                  <a:gd name="connsiteX79" fmla="*/ 160137 w 3147279"/>
                  <a:gd name="connsiteY79" fmla="*/ 861060 h 3147261"/>
                  <a:gd name="connsiteX80" fmla="*/ 182997 w 3147279"/>
                  <a:gd name="connsiteY80" fmla="*/ 822960 h 3147261"/>
                  <a:gd name="connsiteX81" fmla="*/ 205857 w 3147279"/>
                  <a:gd name="connsiteY81" fmla="*/ 800100 h 3147261"/>
                  <a:gd name="connsiteX82" fmla="*/ 259197 w 3147279"/>
                  <a:gd name="connsiteY82" fmla="*/ 708660 h 3147261"/>
                  <a:gd name="connsiteX83" fmla="*/ 274437 w 3147279"/>
                  <a:gd name="connsiteY83" fmla="*/ 662940 h 3147261"/>
                  <a:gd name="connsiteX84" fmla="*/ 327777 w 3147279"/>
                  <a:gd name="connsiteY84" fmla="*/ 586740 h 3147261"/>
                  <a:gd name="connsiteX85" fmla="*/ 419217 w 3147279"/>
                  <a:gd name="connsiteY85" fmla="*/ 510540 h 3147261"/>
                  <a:gd name="connsiteX86" fmla="*/ 449697 w 3147279"/>
                  <a:gd name="connsiteY86" fmla="*/ 472440 h 3147261"/>
                  <a:gd name="connsiteX87" fmla="*/ 510657 w 3147279"/>
                  <a:gd name="connsiteY87" fmla="*/ 434340 h 3147261"/>
                  <a:gd name="connsiteX88" fmla="*/ 563997 w 3147279"/>
                  <a:gd name="connsiteY88" fmla="*/ 396240 h 3147261"/>
                  <a:gd name="connsiteX89" fmla="*/ 655437 w 3147279"/>
                  <a:gd name="connsiteY89" fmla="*/ 335280 h 3147261"/>
                  <a:gd name="connsiteX90" fmla="*/ 731637 w 3147279"/>
                  <a:gd name="connsiteY90" fmla="*/ 297180 h 3147261"/>
                  <a:gd name="connsiteX91" fmla="*/ 815457 w 3147279"/>
                  <a:gd name="connsiteY91" fmla="*/ 236220 h 3147261"/>
                  <a:gd name="connsiteX92" fmla="*/ 830697 w 3147279"/>
                  <a:gd name="connsiteY92" fmla="*/ 213360 h 3147261"/>
                  <a:gd name="connsiteX93" fmla="*/ 861177 w 3147279"/>
                  <a:gd name="connsiteY93" fmla="*/ 205740 h 3147261"/>
                  <a:gd name="connsiteX94" fmla="*/ 952617 w 3147279"/>
                  <a:gd name="connsiteY94" fmla="*/ 152400 h 3147261"/>
                  <a:gd name="connsiteX95" fmla="*/ 983097 w 3147279"/>
                  <a:gd name="connsiteY95" fmla="*/ 129540 h 3147261"/>
                  <a:gd name="connsiteX96" fmla="*/ 1105017 w 3147279"/>
                  <a:gd name="connsiteY96" fmla="*/ 76200 h 3147261"/>
                  <a:gd name="connsiteX97" fmla="*/ 1127877 w 3147279"/>
                  <a:gd name="connsiteY97" fmla="*/ 68580 h 3147261"/>
                  <a:gd name="connsiteX98" fmla="*/ 1188837 w 3147279"/>
                  <a:gd name="connsiteY98" fmla="*/ 53340 h 3147261"/>
                  <a:gd name="connsiteX99" fmla="*/ 1242177 w 3147279"/>
                  <a:gd name="connsiteY99" fmla="*/ 38100 h 3147261"/>
                  <a:gd name="connsiteX100" fmla="*/ 1265037 w 3147279"/>
                  <a:gd name="connsiteY100" fmla="*/ 30480 h 3147261"/>
                  <a:gd name="connsiteX101" fmla="*/ 1386957 w 3147279"/>
                  <a:gd name="connsiteY101" fmla="*/ 15240 h 3147261"/>
                  <a:gd name="connsiteX102" fmla="*/ 1463157 w 3147279"/>
                  <a:gd name="connsiteY102" fmla="*/ 0 h 3147261"/>
                  <a:gd name="connsiteX103" fmla="*/ 1882257 w 3147279"/>
                  <a:gd name="connsiteY103" fmla="*/ 15240 h 3147261"/>
                  <a:gd name="connsiteX104" fmla="*/ 1912737 w 3147279"/>
                  <a:gd name="connsiteY104" fmla="*/ 22860 h 3147261"/>
                  <a:gd name="connsiteX105" fmla="*/ 2164197 w 3147279"/>
                  <a:gd name="connsiteY105" fmla="*/ 99060 h 3147261"/>
                  <a:gd name="connsiteX106" fmla="*/ 2339457 w 3147279"/>
                  <a:gd name="connsiteY106" fmla="*/ 182880 h 3147261"/>
                  <a:gd name="connsiteX107" fmla="*/ 2369937 w 3147279"/>
                  <a:gd name="connsiteY107" fmla="*/ 190500 h 3147261"/>
                  <a:gd name="connsiteX108" fmla="*/ 2392797 w 3147279"/>
                  <a:gd name="connsiteY108" fmla="*/ 205740 h 3147261"/>
                  <a:gd name="connsiteX109" fmla="*/ 2438517 w 3147279"/>
                  <a:gd name="connsiteY109" fmla="*/ 228600 h 3147261"/>
                  <a:gd name="connsiteX110" fmla="*/ 2446137 w 3147279"/>
                  <a:gd name="connsiteY110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301357 w 3147279"/>
                  <a:gd name="connsiteY52" fmla="*/ 2971800 h 3147261"/>
                  <a:gd name="connsiteX53" fmla="*/ 2194677 w 3147279"/>
                  <a:gd name="connsiteY53" fmla="*/ 3025140 h 3147261"/>
                  <a:gd name="connsiteX54" fmla="*/ 2095617 w 3147279"/>
                  <a:gd name="connsiteY54" fmla="*/ 3055620 h 3147261"/>
                  <a:gd name="connsiteX55" fmla="*/ 1912737 w 3147279"/>
                  <a:gd name="connsiteY55" fmla="*/ 3108960 h 3147261"/>
                  <a:gd name="connsiteX56" fmla="*/ 1798437 w 3147279"/>
                  <a:gd name="connsiteY56" fmla="*/ 3147060 h 3147261"/>
                  <a:gd name="connsiteX57" fmla="*/ 1333617 w 3147279"/>
                  <a:gd name="connsiteY57" fmla="*/ 3108960 h 3147261"/>
                  <a:gd name="connsiteX58" fmla="*/ 792597 w 3147279"/>
                  <a:gd name="connsiteY58" fmla="*/ 2933700 h 3147261"/>
                  <a:gd name="connsiteX59" fmla="*/ 419217 w 3147279"/>
                  <a:gd name="connsiteY59" fmla="*/ 2644140 h 3147261"/>
                  <a:gd name="connsiteX60" fmla="*/ 320157 w 3147279"/>
                  <a:gd name="connsiteY60" fmla="*/ 2484120 h 3147261"/>
                  <a:gd name="connsiteX61" fmla="*/ 297297 w 3147279"/>
                  <a:gd name="connsiteY61" fmla="*/ 2430780 h 3147261"/>
                  <a:gd name="connsiteX62" fmla="*/ 274437 w 3147279"/>
                  <a:gd name="connsiteY62" fmla="*/ 2377440 h 3147261"/>
                  <a:gd name="connsiteX63" fmla="*/ 228717 w 3147279"/>
                  <a:gd name="connsiteY63" fmla="*/ 2316480 h 3147261"/>
                  <a:gd name="connsiteX64" fmla="*/ 205857 w 3147279"/>
                  <a:gd name="connsiteY64" fmla="*/ 2293620 h 3147261"/>
                  <a:gd name="connsiteX65" fmla="*/ 175377 w 3147279"/>
                  <a:gd name="connsiteY65" fmla="*/ 2240280 h 3147261"/>
                  <a:gd name="connsiteX66" fmla="*/ 160137 w 3147279"/>
                  <a:gd name="connsiteY66" fmla="*/ 2202180 h 3147261"/>
                  <a:gd name="connsiteX67" fmla="*/ 144897 w 3147279"/>
                  <a:gd name="connsiteY67" fmla="*/ 2179320 h 3147261"/>
                  <a:gd name="connsiteX68" fmla="*/ 129657 w 3147279"/>
                  <a:gd name="connsiteY68" fmla="*/ 2133600 h 3147261"/>
                  <a:gd name="connsiteX69" fmla="*/ 99177 w 3147279"/>
                  <a:gd name="connsiteY69" fmla="*/ 2087880 h 3147261"/>
                  <a:gd name="connsiteX70" fmla="*/ 61077 w 3147279"/>
                  <a:gd name="connsiteY70" fmla="*/ 2026920 h 3147261"/>
                  <a:gd name="connsiteX71" fmla="*/ 53457 w 3147279"/>
                  <a:gd name="connsiteY71" fmla="*/ 2004060 h 3147261"/>
                  <a:gd name="connsiteX72" fmla="*/ 38217 w 3147279"/>
                  <a:gd name="connsiteY72" fmla="*/ 1943100 h 3147261"/>
                  <a:gd name="connsiteX73" fmla="*/ 22977 w 3147279"/>
                  <a:gd name="connsiteY73" fmla="*/ 1897380 h 3147261"/>
                  <a:gd name="connsiteX74" fmla="*/ 117 w 3147279"/>
                  <a:gd name="connsiteY74" fmla="*/ 1562100 h 3147261"/>
                  <a:gd name="connsiteX75" fmla="*/ 22977 w 3147279"/>
                  <a:gd name="connsiteY75" fmla="*/ 1135380 h 3147261"/>
                  <a:gd name="connsiteX76" fmla="*/ 83937 w 3147279"/>
                  <a:gd name="connsiteY76" fmla="*/ 1021080 h 3147261"/>
                  <a:gd name="connsiteX77" fmla="*/ 129657 w 3147279"/>
                  <a:gd name="connsiteY77" fmla="*/ 914400 h 3147261"/>
                  <a:gd name="connsiteX78" fmla="*/ 160137 w 3147279"/>
                  <a:gd name="connsiteY78" fmla="*/ 861060 h 3147261"/>
                  <a:gd name="connsiteX79" fmla="*/ 182997 w 3147279"/>
                  <a:gd name="connsiteY79" fmla="*/ 822960 h 3147261"/>
                  <a:gd name="connsiteX80" fmla="*/ 205857 w 3147279"/>
                  <a:gd name="connsiteY80" fmla="*/ 800100 h 3147261"/>
                  <a:gd name="connsiteX81" fmla="*/ 259197 w 3147279"/>
                  <a:gd name="connsiteY81" fmla="*/ 708660 h 3147261"/>
                  <a:gd name="connsiteX82" fmla="*/ 274437 w 3147279"/>
                  <a:gd name="connsiteY82" fmla="*/ 662940 h 3147261"/>
                  <a:gd name="connsiteX83" fmla="*/ 327777 w 3147279"/>
                  <a:gd name="connsiteY83" fmla="*/ 586740 h 3147261"/>
                  <a:gd name="connsiteX84" fmla="*/ 419217 w 3147279"/>
                  <a:gd name="connsiteY84" fmla="*/ 510540 h 3147261"/>
                  <a:gd name="connsiteX85" fmla="*/ 449697 w 3147279"/>
                  <a:gd name="connsiteY85" fmla="*/ 472440 h 3147261"/>
                  <a:gd name="connsiteX86" fmla="*/ 510657 w 3147279"/>
                  <a:gd name="connsiteY86" fmla="*/ 434340 h 3147261"/>
                  <a:gd name="connsiteX87" fmla="*/ 563997 w 3147279"/>
                  <a:gd name="connsiteY87" fmla="*/ 396240 h 3147261"/>
                  <a:gd name="connsiteX88" fmla="*/ 655437 w 3147279"/>
                  <a:gd name="connsiteY88" fmla="*/ 335280 h 3147261"/>
                  <a:gd name="connsiteX89" fmla="*/ 731637 w 3147279"/>
                  <a:gd name="connsiteY89" fmla="*/ 297180 h 3147261"/>
                  <a:gd name="connsiteX90" fmla="*/ 815457 w 3147279"/>
                  <a:gd name="connsiteY90" fmla="*/ 236220 h 3147261"/>
                  <a:gd name="connsiteX91" fmla="*/ 830697 w 3147279"/>
                  <a:gd name="connsiteY91" fmla="*/ 213360 h 3147261"/>
                  <a:gd name="connsiteX92" fmla="*/ 861177 w 3147279"/>
                  <a:gd name="connsiteY92" fmla="*/ 205740 h 3147261"/>
                  <a:gd name="connsiteX93" fmla="*/ 952617 w 3147279"/>
                  <a:gd name="connsiteY93" fmla="*/ 152400 h 3147261"/>
                  <a:gd name="connsiteX94" fmla="*/ 983097 w 3147279"/>
                  <a:gd name="connsiteY94" fmla="*/ 129540 h 3147261"/>
                  <a:gd name="connsiteX95" fmla="*/ 1105017 w 3147279"/>
                  <a:gd name="connsiteY95" fmla="*/ 76200 h 3147261"/>
                  <a:gd name="connsiteX96" fmla="*/ 1127877 w 3147279"/>
                  <a:gd name="connsiteY96" fmla="*/ 68580 h 3147261"/>
                  <a:gd name="connsiteX97" fmla="*/ 1188837 w 3147279"/>
                  <a:gd name="connsiteY97" fmla="*/ 53340 h 3147261"/>
                  <a:gd name="connsiteX98" fmla="*/ 1242177 w 3147279"/>
                  <a:gd name="connsiteY98" fmla="*/ 38100 h 3147261"/>
                  <a:gd name="connsiteX99" fmla="*/ 1265037 w 3147279"/>
                  <a:gd name="connsiteY99" fmla="*/ 30480 h 3147261"/>
                  <a:gd name="connsiteX100" fmla="*/ 1386957 w 3147279"/>
                  <a:gd name="connsiteY100" fmla="*/ 15240 h 3147261"/>
                  <a:gd name="connsiteX101" fmla="*/ 1463157 w 3147279"/>
                  <a:gd name="connsiteY101" fmla="*/ 0 h 3147261"/>
                  <a:gd name="connsiteX102" fmla="*/ 1882257 w 3147279"/>
                  <a:gd name="connsiteY102" fmla="*/ 15240 h 3147261"/>
                  <a:gd name="connsiteX103" fmla="*/ 1912737 w 3147279"/>
                  <a:gd name="connsiteY103" fmla="*/ 22860 h 3147261"/>
                  <a:gd name="connsiteX104" fmla="*/ 2164197 w 3147279"/>
                  <a:gd name="connsiteY104" fmla="*/ 99060 h 3147261"/>
                  <a:gd name="connsiteX105" fmla="*/ 2339457 w 3147279"/>
                  <a:gd name="connsiteY105" fmla="*/ 182880 h 3147261"/>
                  <a:gd name="connsiteX106" fmla="*/ 2369937 w 3147279"/>
                  <a:gd name="connsiteY106" fmla="*/ 190500 h 3147261"/>
                  <a:gd name="connsiteX107" fmla="*/ 2392797 w 3147279"/>
                  <a:gd name="connsiteY107" fmla="*/ 205740 h 3147261"/>
                  <a:gd name="connsiteX108" fmla="*/ 2438517 w 3147279"/>
                  <a:gd name="connsiteY108" fmla="*/ 228600 h 3147261"/>
                  <a:gd name="connsiteX109" fmla="*/ 2446137 w 3147279"/>
                  <a:gd name="connsiteY109" fmla="*/ 266700 h 3147261"/>
                  <a:gd name="connsiteX0" fmla="*/ 2448781 w 3149923"/>
                  <a:gd name="connsiteY0" fmla="*/ 266700 h 3147261"/>
                  <a:gd name="connsiteX1" fmla="*/ 2494501 w 3149923"/>
                  <a:gd name="connsiteY1" fmla="*/ 297180 h 3147261"/>
                  <a:gd name="connsiteX2" fmla="*/ 2502121 w 3149923"/>
                  <a:gd name="connsiteY2" fmla="*/ 320040 h 3147261"/>
                  <a:gd name="connsiteX3" fmla="*/ 2532601 w 3149923"/>
                  <a:gd name="connsiteY3" fmla="*/ 342900 h 3147261"/>
                  <a:gd name="connsiteX4" fmla="*/ 2555461 w 3149923"/>
                  <a:gd name="connsiteY4" fmla="*/ 373380 h 3147261"/>
                  <a:gd name="connsiteX5" fmla="*/ 2585941 w 3149923"/>
                  <a:gd name="connsiteY5" fmla="*/ 388620 h 3147261"/>
                  <a:gd name="connsiteX6" fmla="*/ 2631661 w 3149923"/>
                  <a:gd name="connsiteY6" fmla="*/ 434340 h 3147261"/>
                  <a:gd name="connsiteX7" fmla="*/ 2662141 w 3149923"/>
                  <a:gd name="connsiteY7" fmla="*/ 464820 h 3147261"/>
                  <a:gd name="connsiteX8" fmla="*/ 2707861 w 3149923"/>
                  <a:gd name="connsiteY8" fmla="*/ 487680 h 3147261"/>
                  <a:gd name="connsiteX9" fmla="*/ 2730721 w 3149923"/>
                  <a:gd name="connsiteY9" fmla="*/ 510540 h 3147261"/>
                  <a:gd name="connsiteX10" fmla="*/ 2791681 w 3149923"/>
                  <a:gd name="connsiteY10" fmla="*/ 594360 h 3147261"/>
                  <a:gd name="connsiteX11" fmla="*/ 2852641 w 3149923"/>
                  <a:gd name="connsiteY11" fmla="*/ 662940 h 3147261"/>
                  <a:gd name="connsiteX12" fmla="*/ 2875501 w 3149923"/>
                  <a:gd name="connsiteY12" fmla="*/ 701040 h 3147261"/>
                  <a:gd name="connsiteX13" fmla="*/ 2913601 w 3149923"/>
                  <a:gd name="connsiteY13" fmla="*/ 762000 h 3147261"/>
                  <a:gd name="connsiteX14" fmla="*/ 2951701 w 3149923"/>
                  <a:gd name="connsiteY14" fmla="*/ 845820 h 3147261"/>
                  <a:gd name="connsiteX15" fmla="*/ 2959321 w 3149923"/>
                  <a:gd name="connsiteY15" fmla="*/ 868680 h 3147261"/>
                  <a:gd name="connsiteX16" fmla="*/ 2982181 w 3149923"/>
                  <a:gd name="connsiteY16" fmla="*/ 922020 h 3147261"/>
                  <a:gd name="connsiteX17" fmla="*/ 2997421 w 3149923"/>
                  <a:gd name="connsiteY17" fmla="*/ 952500 h 3147261"/>
                  <a:gd name="connsiteX18" fmla="*/ 3012661 w 3149923"/>
                  <a:gd name="connsiteY18" fmla="*/ 998220 h 3147261"/>
                  <a:gd name="connsiteX19" fmla="*/ 3027901 w 3149923"/>
                  <a:gd name="connsiteY19" fmla="*/ 1036320 h 3147261"/>
                  <a:gd name="connsiteX20" fmla="*/ 3035521 w 3149923"/>
                  <a:gd name="connsiteY20" fmla="*/ 1066800 h 3147261"/>
                  <a:gd name="connsiteX21" fmla="*/ 3058381 w 3149923"/>
                  <a:gd name="connsiteY21" fmla="*/ 1104900 h 3147261"/>
                  <a:gd name="connsiteX22" fmla="*/ 3073621 w 3149923"/>
                  <a:gd name="connsiteY22" fmla="*/ 1150620 h 3147261"/>
                  <a:gd name="connsiteX23" fmla="*/ 3088861 w 3149923"/>
                  <a:gd name="connsiteY23" fmla="*/ 1181100 h 3147261"/>
                  <a:gd name="connsiteX24" fmla="*/ 3096481 w 3149923"/>
                  <a:gd name="connsiteY24" fmla="*/ 1226820 h 3147261"/>
                  <a:gd name="connsiteX25" fmla="*/ 3104101 w 3149923"/>
                  <a:gd name="connsiteY25" fmla="*/ 1280160 h 3147261"/>
                  <a:gd name="connsiteX26" fmla="*/ 3119341 w 3149923"/>
                  <a:gd name="connsiteY26" fmla="*/ 1371600 h 3147261"/>
                  <a:gd name="connsiteX27" fmla="*/ 3134581 w 3149923"/>
                  <a:gd name="connsiteY27" fmla="*/ 1417320 h 3147261"/>
                  <a:gd name="connsiteX28" fmla="*/ 3142201 w 3149923"/>
                  <a:gd name="connsiteY28" fmla="*/ 1485900 h 3147261"/>
                  <a:gd name="connsiteX29" fmla="*/ 3149821 w 3149923"/>
                  <a:gd name="connsiteY29" fmla="*/ 1516380 h 3147261"/>
                  <a:gd name="connsiteX30" fmla="*/ 3134581 w 3149923"/>
                  <a:gd name="connsiteY30" fmla="*/ 1691640 h 3147261"/>
                  <a:gd name="connsiteX31" fmla="*/ 3126961 w 3149923"/>
                  <a:gd name="connsiteY31" fmla="*/ 1767840 h 3147261"/>
                  <a:gd name="connsiteX32" fmla="*/ 3111721 w 3149923"/>
                  <a:gd name="connsiteY32" fmla="*/ 1836420 h 3147261"/>
                  <a:gd name="connsiteX33" fmla="*/ 3088861 w 3149923"/>
                  <a:gd name="connsiteY33" fmla="*/ 1905000 h 3147261"/>
                  <a:gd name="connsiteX34" fmla="*/ 3081241 w 3149923"/>
                  <a:gd name="connsiteY34" fmla="*/ 1935480 h 3147261"/>
                  <a:gd name="connsiteX35" fmla="*/ 3073621 w 3149923"/>
                  <a:gd name="connsiteY35" fmla="*/ 1958340 h 3147261"/>
                  <a:gd name="connsiteX36" fmla="*/ 3058381 w 3149923"/>
                  <a:gd name="connsiteY36" fmla="*/ 2019300 h 3147261"/>
                  <a:gd name="connsiteX37" fmla="*/ 3043141 w 3149923"/>
                  <a:gd name="connsiteY37" fmla="*/ 2057400 h 3147261"/>
                  <a:gd name="connsiteX38" fmla="*/ 3035521 w 3149923"/>
                  <a:gd name="connsiteY38" fmla="*/ 2080260 h 3147261"/>
                  <a:gd name="connsiteX39" fmla="*/ 3020281 w 3149923"/>
                  <a:gd name="connsiteY39" fmla="*/ 2118360 h 3147261"/>
                  <a:gd name="connsiteX40" fmla="*/ 2997421 w 3149923"/>
                  <a:gd name="connsiteY40" fmla="*/ 2186940 h 3147261"/>
                  <a:gd name="connsiteX41" fmla="*/ 2989801 w 3149923"/>
                  <a:gd name="connsiteY41" fmla="*/ 2225040 h 3147261"/>
                  <a:gd name="connsiteX42" fmla="*/ 2974561 w 3149923"/>
                  <a:gd name="connsiteY42" fmla="*/ 2270760 h 3147261"/>
                  <a:gd name="connsiteX43" fmla="*/ 2966941 w 3149923"/>
                  <a:gd name="connsiteY43" fmla="*/ 2308860 h 3147261"/>
                  <a:gd name="connsiteX44" fmla="*/ 2951701 w 3149923"/>
                  <a:gd name="connsiteY44" fmla="*/ 2331720 h 3147261"/>
                  <a:gd name="connsiteX45" fmla="*/ 2928841 w 3149923"/>
                  <a:gd name="connsiteY45" fmla="*/ 2385060 h 3147261"/>
                  <a:gd name="connsiteX46" fmla="*/ 2905981 w 3149923"/>
                  <a:gd name="connsiteY46" fmla="*/ 2407920 h 3147261"/>
                  <a:gd name="connsiteX47" fmla="*/ 2860261 w 3149923"/>
                  <a:gd name="connsiteY47" fmla="*/ 2499360 h 3147261"/>
                  <a:gd name="connsiteX48" fmla="*/ 2845021 w 3149923"/>
                  <a:gd name="connsiteY48" fmla="*/ 2529840 h 3147261"/>
                  <a:gd name="connsiteX49" fmla="*/ 2837401 w 3149923"/>
                  <a:gd name="connsiteY49" fmla="*/ 2552700 h 3147261"/>
                  <a:gd name="connsiteX50" fmla="*/ 2761201 w 3149923"/>
                  <a:gd name="connsiteY50" fmla="*/ 2636520 h 3147261"/>
                  <a:gd name="connsiteX51" fmla="*/ 2707861 w 3149923"/>
                  <a:gd name="connsiteY51" fmla="*/ 2667000 h 3147261"/>
                  <a:gd name="connsiteX52" fmla="*/ 2304001 w 3149923"/>
                  <a:gd name="connsiteY52" fmla="*/ 2971800 h 3147261"/>
                  <a:gd name="connsiteX53" fmla="*/ 2197321 w 3149923"/>
                  <a:gd name="connsiteY53" fmla="*/ 3025140 h 3147261"/>
                  <a:gd name="connsiteX54" fmla="*/ 2098261 w 3149923"/>
                  <a:gd name="connsiteY54" fmla="*/ 3055620 h 3147261"/>
                  <a:gd name="connsiteX55" fmla="*/ 1915381 w 3149923"/>
                  <a:gd name="connsiteY55" fmla="*/ 3108960 h 3147261"/>
                  <a:gd name="connsiteX56" fmla="*/ 1801081 w 3149923"/>
                  <a:gd name="connsiteY56" fmla="*/ 3147060 h 3147261"/>
                  <a:gd name="connsiteX57" fmla="*/ 1336261 w 3149923"/>
                  <a:gd name="connsiteY57" fmla="*/ 3108960 h 3147261"/>
                  <a:gd name="connsiteX58" fmla="*/ 795241 w 3149923"/>
                  <a:gd name="connsiteY58" fmla="*/ 2933700 h 3147261"/>
                  <a:gd name="connsiteX59" fmla="*/ 421861 w 3149923"/>
                  <a:gd name="connsiteY59" fmla="*/ 2644140 h 3147261"/>
                  <a:gd name="connsiteX60" fmla="*/ 322801 w 3149923"/>
                  <a:gd name="connsiteY60" fmla="*/ 2484120 h 3147261"/>
                  <a:gd name="connsiteX61" fmla="*/ 299941 w 3149923"/>
                  <a:gd name="connsiteY61" fmla="*/ 2430780 h 3147261"/>
                  <a:gd name="connsiteX62" fmla="*/ 277081 w 3149923"/>
                  <a:gd name="connsiteY62" fmla="*/ 2377440 h 3147261"/>
                  <a:gd name="connsiteX63" fmla="*/ 231361 w 3149923"/>
                  <a:gd name="connsiteY63" fmla="*/ 2316480 h 3147261"/>
                  <a:gd name="connsiteX64" fmla="*/ 208501 w 3149923"/>
                  <a:gd name="connsiteY64" fmla="*/ 2293620 h 3147261"/>
                  <a:gd name="connsiteX65" fmla="*/ 178021 w 3149923"/>
                  <a:gd name="connsiteY65" fmla="*/ 2240280 h 3147261"/>
                  <a:gd name="connsiteX66" fmla="*/ 162781 w 3149923"/>
                  <a:gd name="connsiteY66" fmla="*/ 2202180 h 3147261"/>
                  <a:gd name="connsiteX67" fmla="*/ 147541 w 3149923"/>
                  <a:gd name="connsiteY67" fmla="*/ 2179320 h 3147261"/>
                  <a:gd name="connsiteX68" fmla="*/ 132301 w 3149923"/>
                  <a:gd name="connsiteY68" fmla="*/ 2133600 h 3147261"/>
                  <a:gd name="connsiteX69" fmla="*/ 101821 w 3149923"/>
                  <a:gd name="connsiteY69" fmla="*/ 2087880 h 3147261"/>
                  <a:gd name="connsiteX70" fmla="*/ 63721 w 3149923"/>
                  <a:gd name="connsiteY70" fmla="*/ 2026920 h 3147261"/>
                  <a:gd name="connsiteX71" fmla="*/ 56101 w 3149923"/>
                  <a:gd name="connsiteY71" fmla="*/ 2004060 h 3147261"/>
                  <a:gd name="connsiteX72" fmla="*/ 40861 w 3149923"/>
                  <a:gd name="connsiteY72" fmla="*/ 1943100 h 3147261"/>
                  <a:gd name="connsiteX73" fmla="*/ 25621 w 3149923"/>
                  <a:gd name="connsiteY73" fmla="*/ 1897380 h 3147261"/>
                  <a:gd name="connsiteX74" fmla="*/ 2761 w 3149923"/>
                  <a:gd name="connsiteY74" fmla="*/ 1562100 h 3147261"/>
                  <a:gd name="connsiteX75" fmla="*/ 86581 w 3149923"/>
                  <a:gd name="connsiteY75" fmla="*/ 1021080 h 3147261"/>
                  <a:gd name="connsiteX76" fmla="*/ 132301 w 3149923"/>
                  <a:gd name="connsiteY76" fmla="*/ 914400 h 3147261"/>
                  <a:gd name="connsiteX77" fmla="*/ 162781 w 3149923"/>
                  <a:gd name="connsiteY77" fmla="*/ 861060 h 3147261"/>
                  <a:gd name="connsiteX78" fmla="*/ 185641 w 3149923"/>
                  <a:gd name="connsiteY78" fmla="*/ 822960 h 3147261"/>
                  <a:gd name="connsiteX79" fmla="*/ 208501 w 3149923"/>
                  <a:gd name="connsiteY79" fmla="*/ 800100 h 3147261"/>
                  <a:gd name="connsiteX80" fmla="*/ 261841 w 3149923"/>
                  <a:gd name="connsiteY80" fmla="*/ 708660 h 3147261"/>
                  <a:gd name="connsiteX81" fmla="*/ 277081 w 3149923"/>
                  <a:gd name="connsiteY81" fmla="*/ 662940 h 3147261"/>
                  <a:gd name="connsiteX82" fmla="*/ 330421 w 3149923"/>
                  <a:gd name="connsiteY82" fmla="*/ 586740 h 3147261"/>
                  <a:gd name="connsiteX83" fmla="*/ 421861 w 3149923"/>
                  <a:gd name="connsiteY83" fmla="*/ 510540 h 3147261"/>
                  <a:gd name="connsiteX84" fmla="*/ 452341 w 3149923"/>
                  <a:gd name="connsiteY84" fmla="*/ 472440 h 3147261"/>
                  <a:gd name="connsiteX85" fmla="*/ 513301 w 3149923"/>
                  <a:gd name="connsiteY85" fmla="*/ 434340 h 3147261"/>
                  <a:gd name="connsiteX86" fmla="*/ 566641 w 3149923"/>
                  <a:gd name="connsiteY86" fmla="*/ 396240 h 3147261"/>
                  <a:gd name="connsiteX87" fmla="*/ 658081 w 3149923"/>
                  <a:gd name="connsiteY87" fmla="*/ 335280 h 3147261"/>
                  <a:gd name="connsiteX88" fmla="*/ 734281 w 3149923"/>
                  <a:gd name="connsiteY88" fmla="*/ 297180 h 3147261"/>
                  <a:gd name="connsiteX89" fmla="*/ 818101 w 3149923"/>
                  <a:gd name="connsiteY89" fmla="*/ 236220 h 3147261"/>
                  <a:gd name="connsiteX90" fmla="*/ 833341 w 3149923"/>
                  <a:gd name="connsiteY90" fmla="*/ 213360 h 3147261"/>
                  <a:gd name="connsiteX91" fmla="*/ 863821 w 3149923"/>
                  <a:gd name="connsiteY91" fmla="*/ 205740 h 3147261"/>
                  <a:gd name="connsiteX92" fmla="*/ 955261 w 3149923"/>
                  <a:gd name="connsiteY92" fmla="*/ 152400 h 3147261"/>
                  <a:gd name="connsiteX93" fmla="*/ 985741 w 3149923"/>
                  <a:gd name="connsiteY93" fmla="*/ 129540 h 3147261"/>
                  <a:gd name="connsiteX94" fmla="*/ 1107661 w 3149923"/>
                  <a:gd name="connsiteY94" fmla="*/ 76200 h 3147261"/>
                  <a:gd name="connsiteX95" fmla="*/ 1130521 w 3149923"/>
                  <a:gd name="connsiteY95" fmla="*/ 68580 h 3147261"/>
                  <a:gd name="connsiteX96" fmla="*/ 1191481 w 3149923"/>
                  <a:gd name="connsiteY96" fmla="*/ 53340 h 3147261"/>
                  <a:gd name="connsiteX97" fmla="*/ 1244821 w 3149923"/>
                  <a:gd name="connsiteY97" fmla="*/ 38100 h 3147261"/>
                  <a:gd name="connsiteX98" fmla="*/ 1267681 w 3149923"/>
                  <a:gd name="connsiteY98" fmla="*/ 30480 h 3147261"/>
                  <a:gd name="connsiteX99" fmla="*/ 1389601 w 3149923"/>
                  <a:gd name="connsiteY99" fmla="*/ 15240 h 3147261"/>
                  <a:gd name="connsiteX100" fmla="*/ 1465801 w 3149923"/>
                  <a:gd name="connsiteY100" fmla="*/ 0 h 3147261"/>
                  <a:gd name="connsiteX101" fmla="*/ 1884901 w 3149923"/>
                  <a:gd name="connsiteY101" fmla="*/ 15240 h 3147261"/>
                  <a:gd name="connsiteX102" fmla="*/ 1915381 w 3149923"/>
                  <a:gd name="connsiteY102" fmla="*/ 22860 h 3147261"/>
                  <a:gd name="connsiteX103" fmla="*/ 2166841 w 3149923"/>
                  <a:gd name="connsiteY103" fmla="*/ 99060 h 3147261"/>
                  <a:gd name="connsiteX104" fmla="*/ 2342101 w 3149923"/>
                  <a:gd name="connsiteY104" fmla="*/ 182880 h 3147261"/>
                  <a:gd name="connsiteX105" fmla="*/ 2372581 w 3149923"/>
                  <a:gd name="connsiteY105" fmla="*/ 190500 h 3147261"/>
                  <a:gd name="connsiteX106" fmla="*/ 2395441 w 3149923"/>
                  <a:gd name="connsiteY106" fmla="*/ 205740 h 3147261"/>
                  <a:gd name="connsiteX107" fmla="*/ 2441161 w 3149923"/>
                  <a:gd name="connsiteY107" fmla="*/ 228600 h 3147261"/>
                  <a:gd name="connsiteX108" fmla="*/ 2448781 w 3149923"/>
                  <a:gd name="connsiteY108" fmla="*/ 266700 h 3147261"/>
                  <a:gd name="connsiteX0" fmla="*/ 2451788 w 3152930"/>
                  <a:gd name="connsiteY0" fmla="*/ 266700 h 3147261"/>
                  <a:gd name="connsiteX1" fmla="*/ 2497508 w 3152930"/>
                  <a:gd name="connsiteY1" fmla="*/ 297180 h 3147261"/>
                  <a:gd name="connsiteX2" fmla="*/ 2505128 w 3152930"/>
                  <a:gd name="connsiteY2" fmla="*/ 320040 h 3147261"/>
                  <a:gd name="connsiteX3" fmla="*/ 2535608 w 3152930"/>
                  <a:gd name="connsiteY3" fmla="*/ 342900 h 3147261"/>
                  <a:gd name="connsiteX4" fmla="*/ 2558468 w 3152930"/>
                  <a:gd name="connsiteY4" fmla="*/ 373380 h 3147261"/>
                  <a:gd name="connsiteX5" fmla="*/ 2588948 w 3152930"/>
                  <a:gd name="connsiteY5" fmla="*/ 388620 h 3147261"/>
                  <a:gd name="connsiteX6" fmla="*/ 2634668 w 3152930"/>
                  <a:gd name="connsiteY6" fmla="*/ 434340 h 3147261"/>
                  <a:gd name="connsiteX7" fmla="*/ 2665148 w 3152930"/>
                  <a:gd name="connsiteY7" fmla="*/ 464820 h 3147261"/>
                  <a:gd name="connsiteX8" fmla="*/ 2710868 w 3152930"/>
                  <a:gd name="connsiteY8" fmla="*/ 487680 h 3147261"/>
                  <a:gd name="connsiteX9" fmla="*/ 2733728 w 3152930"/>
                  <a:gd name="connsiteY9" fmla="*/ 510540 h 3147261"/>
                  <a:gd name="connsiteX10" fmla="*/ 2794688 w 3152930"/>
                  <a:gd name="connsiteY10" fmla="*/ 594360 h 3147261"/>
                  <a:gd name="connsiteX11" fmla="*/ 2855648 w 3152930"/>
                  <a:gd name="connsiteY11" fmla="*/ 662940 h 3147261"/>
                  <a:gd name="connsiteX12" fmla="*/ 2878508 w 3152930"/>
                  <a:gd name="connsiteY12" fmla="*/ 701040 h 3147261"/>
                  <a:gd name="connsiteX13" fmla="*/ 2916608 w 3152930"/>
                  <a:gd name="connsiteY13" fmla="*/ 762000 h 3147261"/>
                  <a:gd name="connsiteX14" fmla="*/ 2954708 w 3152930"/>
                  <a:gd name="connsiteY14" fmla="*/ 845820 h 3147261"/>
                  <a:gd name="connsiteX15" fmla="*/ 2962328 w 3152930"/>
                  <a:gd name="connsiteY15" fmla="*/ 868680 h 3147261"/>
                  <a:gd name="connsiteX16" fmla="*/ 2985188 w 3152930"/>
                  <a:gd name="connsiteY16" fmla="*/ 922020 h 3147261"/>
                  <a:gd name="connsiteX17" fmla="*/ 3000428 w 3152930"/>
                  <a:gd name="connsiteY17" fmla="*/ 952500 h 3147261"/>
                  <a:gd name="connsiteX18" fmla="*/ 3015668 w 3152930"/>
                  <a:gd name="connsiteY18" fmla="*/ 998220 h 3147261"/>
                  <a:gd name="connsiteX19" fmla="*/ 3030908 w 3152930"/>
                  <a:gd name="connsiteY19" fmla="*/ 1036320 h 3147261"/>
                  <a:gd name="connsiteX20" fmla="*/ 3038528 w 3152930"/>
                  <a:gd name="connsiteY20" fmla="*/ 1066800 h 3147261"/>
                  <a:gd name="connsiteX21" fmla="*/ 3061388 w 3152930"/>
                  <a:gd name="connsiteY21" fmla="*/ 1104900 h 3147261"/>
                  <a:gd name="connsiteX22" fmla="*/ 3076628 w 3152930"/>
                  <a:gd name="connsiteY22" fmla="*/ 1150620 h 3147261"/>
                  <a:gd name="connsiteX23" fmla="*/ 3091868 w 3152930"/>
                  <a:gd name="connsiteY23" fmla="*/ 1181100 h 3147261"/>
                  <a:gd name="connsiteX24" fmla="*/ 3099488 w 3152930"/>
                  <a:gd name="connsiteY24" fmla="*/ 1226820 h 3147261"/>
                  <a:gd name="connsiteX25" fmla="*/ 3107108 w 3152930"/>
                  <a:gd name="connsiteY25" fmla="*/ 1280160 h 3147261"/>
                  <a:gd name="connsiteX26" fmla="*/ 3122348 w 3152930"/>
                  <a:gd name="connsiteY26" fmla="*/ 1371600 h 3147261"/>
                  <a:gd name="connsiteX27" fmla="*/ 3137588 w 3152930"/>
                  <a:gd name="connsiteY27" fmla="*/ 1417320 h 3147261"/>
                  <a:gd name="connsiteX28" fmla="*/ 3145208 w 3152930"/>
                  <a:gd name="connsiteY28" fmla="*/ 1485900 h 3147261"/>
                  <a:gd name="connsiteX29" fmla="*/ 3152828 w 3152930"/>
                  <a:gd name="connsiteY29" fmla="*/ 1516380 h 3147261"/>
                  <a:gd name="connsiteX30" fmla="*/ 3137588 w 3152930"/>
                  <a:gd name="connsiteY30" fmla="*/ 1691640 h 3147261"/>
                  <a:gd name="connsiteX31" fmla="*/ 3129968 w 3152930"/>
                  <a:gd name="connsiteY31" fmla="*/ 1767840 h 3147261"/>
                  <a:gd name="connsiteX32" fmla="*/ 3114728 w 3152930"/>
                  <a:gd name="connsiteY32" fmla="*/ 1836420 h 3147261"/>
                  <a:gd name="connsiteX33" fmla="*/ 3091868 w 3152930"/>
                  <a:gd name="connsiteY33" fmla="*/ 1905000 h 3147261"/>
                  <a:gd name="connsiteX34" fmla="*/ 3084248 w 3152930"/>
                  <a:gd name="connsiteY34" fmla="*/ 1935480 h 3147261"/>
                  <a:gd name="connsiteX35" fmla="*/ 3076628 w 3152930"/>
                  <a:gd name="connsiteY35" fmla="*/ 1958340 h 3147261"/>
                  <a:gd name="connsiteX36" fmla="*/ 3061388 w 3152930"/>
                  <a:gd name="connsiteY36" fmla="*/ 2019300 h 3147261"/>
                  <a:gd name="connsiteX37" fmla="*/ 3046148 w 3152930"/>
                  <a:gd name="connsiteY37" fmla="*/ 2057400 h 3147261"/>
                  <a:gd name="connsiteX38" fmla="*/ 3038528 w 3152930"/>
                  <a:gd name="connsiteY38" fmla="*/ 2080260 h 3147261"/>
                  <a:gd name="connsiteX39" fmla="*/ 3023288 w 3152930"/>
                  <a:gd name="connsiteY39" fmla="*/ 2118360 h 3147261"/>
                  <a:gd name="connsiteX40" fmla="*/ 3000428 w 3152930"/>
                  <a:gd name="connsiteY40" fmla="*/ 2186940 h 3147261"/>
                  <a:gd name="connsiteX41" fmla="*/ 2992808 w 3152930"/>
                  <a:gd name="connsiteY41" fmla="*/ 2225040 h 3147261"/>
                  <a:gd name="connsiteX42" fmla="*/ 2977568 w 3152930"/>
                  <a:gd name="connsiteY42" fmla="*/ 2270760 h 3147261"/>
                  <a:gd name="connsiteX43" fmla="*/ 2969948 w 3152930"/>
                  <a:gd name="connsiteY43" fmla="*/ 2308860 h 3147261"/>
                  <a:gd name="connsiteX44" fmla="*/ 2954708 w 3152930"/>
                  <a:gd name="connsiteY44" fmla="*/ 2331720 h 3147261"/>
                  <a:gd name="connsiteX45" fmla="*/ 2931848 w 3152930"/>
                  <a:gd name="connsiteY45" fmla="*/ 2385060 h 3147261"/>
                  <a:gd name="connsiteX46" fmla="*/ 2908988 w 3152930"/>
                  <a:gd name="connsiteY46" fmla="*/ 2407920 h 3147261"/>
                  <a:gd name="connsiteX47" fmla="*/ 2863268 w 3152930"/>
                  <a:gd name="connsiteY47" fmla="*/ 2499360 h 3147261"/>
                  <a:gd name="connsiteX48" fmla="*/ 2848028 w 3152930"/>
                  <a:gd name="connsiteY48" fmla="*/ 2529840 h 3147261"/>
                  <a:gd name="connsiteX49" fmla="*/ 2840408 w 3152930"/>
                  <a:gd name="connsiteY49" fmla="*/ 2552700 h 3147261"/>
                  <a:gd name="connsiteX50" fmla="*/ 2764208 w 3152930"/>
                  <a:gd name="connsiteY50" fmla="*/ 2636520 h 3147261"/>
                  <a:gd name="connsiteX51" fmla="*/ 2710868 w 3152930"/>
                  <a:gd name="connsiteY51" fmla="*/ 2667000 h 3147261"/>
                  <a:gd name="connsiteX52" fmla="*/ 2307008 w 3152930"/>
                  <a:gd name="connsiteY52" fmla="*/ 2971800 h 3147261"/>
                  <a:gd name="connsiteX53" fmla="*/ 2200328 w 3152930"/>
                  <a:gd name="connsiteY53" fmla="*/ 3025140 h 3147261"/>
                  <a:gd name="connsiteX54" fmla="*/ 2101268 w 3152930"/>
                  <a:gd name="connsiteY54" fmla="*/ 3055620 h 3147261"/>
                  <a:gd name="connsiteX55" fmla="*/ 1918388 w 3152930"/>
                  <a:gd name="connsiteY55" fmla="*/ 3108960 h 3147261"/>
                  <a:gd name="connsiteX56" fmla="*/ 1804088 w 3152930"/>
                  <a:gd name="connsiteY56" fmla="*/ 3147060 h 3147261"/>
                  <a:gd name="connsiteX57" fmla="*/ 1339268 w 3152930"/>
                  <a:gd name="connsiteY57" fmla="*/ 3108960 h 3147261"/>
                  <a:gd name="connsiteX58" fmla="*/ 798248 w 3152930"/>
                  <a:gd name="connsiteY58" fmla="*/ 2933700 h 3147261"/>
                  <a:gd name="connsiteX59" fmla="*/ 424868 w 3152930"/>
                  <a:gd name="connsiteY59" fmla="*/ 2644140 h 3147261"/>
                  <a:gd name="connsiteX60" fmla="*/ 325808 w 3152930"/>
                  <a:gd name="connsiteY60" fmla="*/ 2484120 h 3147261"/>
                  <a:gd name="connsiteX61" fmla="*/ 302948 w 3152930"/>
                  <a:gd name="connsiteY61" fmla="*/ 2430780 h 3147261"/>
                  <a:gd name="connsiteX62" fmla="*/ 280088 w 3152930"/>
                  <a:gd name="connsiteY62" fmla="*/ 2377440 h 3147261"/>
                  <a:gd name="connsiteX63" fmla="*/ 234368 w 3152930"/>
                  <a:gd name="connsiteY63" fmla="*/ 2316480 h 3147261"/>
                  <a:gd name="connsiteX64" fmla="*/ 211508 w 3152930"/>
                  <a:gd name="connsiteY64" fmla="*/ 2293620 h 3147261"/>
                  <a:gd name="connsiteX65" fmla="*/ 181028 w 3152930"/>
                  <a:gd name="connsiteY65" fmla="*/ 2240280 h 3147261"/>
                  <a:gd name="connsiteX66" fmla="*/ 165788 w 3152930"/>
                  <a:gd name="connsiteY66" fmla="*/ 2202180 h 3147261"/>
                  <a:gd name="connsiteX67" fmla="*/ 150548 w 3152930"/>
                  <a:gd name="connsiteY67" fmla="*/ 2179320 h 3147261"/>
                  <a:gd name="connsiteX68" fmla="*/ 135308 w 3152930"/>
                  <a:gd name="connsiteY68" fmla="*/ 2133600 h 3147261"/>
                  <a:gd name="connsiteX69" fmla="*/ 104828 w 3152930"/>
                  <a:gd name="connsiteY69" fmla="*/ 2087880 h 3147261"/>
                  <a:gd name="connsiteX70" fmla="*/ 66728 w 3152930"/>
                  <a:gd name="connsiteY70" fmla="*/ 2026920 h 3147261"/>
                  <a:gd name="connsiteX71" fmla="*/ 59108 w 3152930"/>
                  <a:gd name="connsiteY71" fmla="*/ 2004060 h 3147261"/>
                  <a:gd name="connsiteX72" fmla="*/ 43868 w 3152930"/>
                  <a:gd name="connsiteY72" fmla="*/ 1943100 h 3147261"/>
                  <a:gd name="connsiteX73" fmla="*/ 28628 w 3152930"/>
                  <a:gd name="connsiteY73" fmla="*/ 1897380 h 3147261"/>
                  <a:gd name="connsiteX74" fmla="*/ 5768 w 3152930"/>
                  <a:gd name="connsiteY74" fmla="*/ 1562100 h 3147261"/>
                  <a:gd name="connsiteX75" fmla="*/ 135308 w 3152930"/>
                  <a:gd name="connsiteY75" fmla="*/ 914400 h 3147261"/>
                  <a:gd name="connsiteX76" fmla="*/ 165788 w 3152930"/>
                  <a:gd name="connsiteY76" fmla="*/ 861060 h 3147261"/>
                  <a:gd name="connsiteX77" fmla="*/ 188648 w 3152930"/>
                  <a:gd name="connsiteY77" fmla="*/ 822960 h 3147261"/>
                  <a:gd name="connsiteX78" fmla="*/ 211508 w 3152930"/>
                  <a:gd name="connsiteY78" fmla="*/ 800100 h 3147261"/>
                  <a:gd name="connsiteX79" fmla="*/ 264848 w 3152930"/>
                  <a:gd name="connsiteY79" fmla="*/ 708660 h 3147261"/>
                  <a:gd name="connsiteX80" fmla="*/ 280088 w 3152930"/>
                  <a:gd name="connsiteY80" fmla="*/ 662940 h 3147261"/>
                  <a:gd name="connsiteX81" fmla="*/ 333428 w 3152930"/>
                  <a:gd name="connsiteY81" fmla="*/ 586740 h 3147261"/>
                  <a:gd name="connsiteX82" fmla="*/ 424868 w 3152930"/>
                  <a:gd name="connsiteY82" fmla="*/ 510540 h 3147261"/>
                  <a:gd name="connsiteX83" fmla="*/ 455348 w 3152930"/>
                  <a:gd name="connsiteY83" fmla="*/ 472440 h 3147261"/>
                  <a:gd name="connsiteX84" fmla="*/ 516308 w 3152930"/>
                  <a:gd name="connsiteY84" fmla="*/ 434340 h 3147261"/>
                  <a:gd name="connsiteX85" fmla="*/ 569648 w 3152930"/>
                  <a:gd name="connsiteY85" fmla="*/ 396240 h 3147261"/>
                  <a:gd name="connsiteX86" fmla="*/ 661088 w 3152930"/>
                  <a:gd name="connsiteY86" fmla="*/ 335280 h 3147261"/>
                  <a:gd name="connsiteX87" fmla="*/ 737288 w 3152930"/>
                  <a:gd name="connsiteY87" fmla="*/ 297180 h 3147261"/>
                  <a:gd name="connsiteX88" fmla="*/ 821108 w 3152930"/>
                  <a:gd name="connsiteY88" fmla="*/ 236220 h 3147261"/>
                  <a:gd name="connsiteX89" fmla="*/ 836348 w 3152930"/>
                  <a:gd name="connsiteY89" fmla="*/ 213360 h 3147261"/>
                  <a:gd name="connsiteX90" fmla="*/ 866828 w 3152930"/>
                  <a:gd name="connsiteY90" fmla="*/ 205740 h 3147261"/>
                  <a:gd name="connsiteX91" fmla="*/ 958268 w 3152930"/>
                  <a:gd name="connsiteY91" fmla="*/ 152400 h 3147261"/>
                  <a:gd name="connsiteX92" fmla="*/ 988748 w 3152930"/>
                  <a:gd name="connsiteY92" fmla="*/ 129540 h 3147261"/>
                  <a:gd name="connsiteX93" fmla="*/ 1110668 w 3152930"/>
                  <a:gd name="connsiteY93" fmla="*/ 76200 h 3147261"/>
                  <a:gd name="connsiteX94" fmla="*/ 1133528 w 3152930"/>
                  <a:gd name="connsiteY94" fmla="*/ 68580 h 3147261"/>
                  <a:gd name="connsiteX95" fmla="*/ 1194488 w 3152930"/>
                  <a:gd name="connsiteY95" fmla="*/ 53340 h 3147261"/>
                  <a:gd name="connsiteX96" fmla="*/ 1247828 w 3152930"/>
                  <a:gd name="connsiteY96" fmla="*/ 38100 h 3147261"/>
                  <a:gd name="connsiteX97" fmla="*/ 1270688 w 3152930"/>
                  <a:gd name="connsiteY97" fmla="*/ 30480 h 3147261"/>
                  <a:gd name="connsiteX98" fmla="*/ 1392608 w 3152930"/>
                  <a:gd name="connsiteY98" fmla="*/ 15240 h 3147261"/>
                  <a:gd name="connsiteX99" fmla="*/ 1468808 w 3152930"/>
                  <a:gd name="connsiteY99" fmla="*/ 0 h 3147261"/>
                  <a:gd name="connsiteX100" fmla="*/ 1887908 w 3152930"/>
                  <a:gd name="connsiteY100" fmla="*/ 15240 h 3147261"/>
                  <a:gd name="connsiteX101" fmla="*/ 1918388 w 3152930"/>
                  <a:gd name="connsiteY101" fmla="*/ 22860 h 3147261"/>
                  <a:gd name="connsiteX102" fmla="*/ 2169848 w 3152930"/>
                  <a:gd name="connsiteY102" fmla="*/ 99060 h 3147261"/>
                  <a:gd name="connsiteX103" fmla="*/ 2345108 w 3152930"/>
                  <a:gd name="connsiteY103" fmla="*/ 182880 h 3147261"/>
                  <a:gd name="connsiteX104" fmla="*/ 2375588 w 3152930"/>
                  <a:gd name="connsiteY104" fmla="*/ 190500 h 3147261"/>
                  <a:gd name="connsiteX105" fmla="*/ 2398448 w 3152930"/>
                  <a:gd name="connsiteY105" fmla="*/ 205740 h 3147261"/>
                  <a:gd name="connsiteX106" fmla="*/ 2444168 w 3152930"/>
                  <a:gd name="connsiteY106" fmla="*/ 228600 h 3147261"/>
                  <a:gd name="connsiteX107" fmla="*/ 2451788 w 3152930"/>
                  <a:gd name="connsiteY107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06749 w 3148171"/>
                  <a:gd name="connsiteY78" fmla="*/ 800100 h 3147261"/>
                  <a:gd name="connsiteX79" fmla="*/ 260089 w 3148171"/>
                  <a:gd name="connsiteY79" fmla="*/ 708660 h 3147261"/>
                  <a:gd name="connsiteX80" fmla="*/ 275329 w 3148171"/>
                  <a:gd name="connsiteY80" fmla="*/ 662940 h 3147261"/>
                  <a:gd name="connsiteX81" fmla="*/ 328669 w 3148171"/>
                  <a:gd name="connsiteY81" fmla="*/ 586740 h 3147261"/>
                  <a:gd name="connsiteX82" fmla="*/ 420109 w 3148171"/>
                  <a:gd name="connsiteY82" fmla="*/ 510540 h 3147261"/>
                  <a:gd name="connsiteX83" fmla="*/ 450589 w 3148171"/>
                  <a:gd name="connsiteY83" fmla="*/ 472440 h 3147261"/>
                  <a:gd name="connsiteX84" fmla="*/ 511549 w 3148171"/>
                  <a:gd name="connsiteY84" fmla="*/ 434340 h 3147261"/>
                  <a:gd name="connsiteX85" fmla="*/ 564889 w 3148171"/>
                  <a:gd name="connsiteY85" fmla="*/ 396240 h 3147261"/>
                  <a:gd name="connsiteX86" fmla="*/ 656329 w 3148171"/>
                  <a:gd name="connsiteY86" fmla="*/ 335280 h 3147261"/>
                  <a:gd name="connsiteX87" fmla="*/ 732529 w 3148171"/>
                  <a:gd name="connsiteY87" fmla="*/ 297180 h 3147261"/>
                  <a:gd name="connsiteX88" fmla="*/ 816349 w 3148171"/>
                  <a:gd name="connsiteY88" fmla="*/ 236220 h 3147261"/>
                  <a:gd name="connsiteX89" fmla="*/ 831589 w 3148171"/>
                  <a:gd name="connsiteY89" fmla="*/ 213360 h 3147261"/>
                  <a:gd name="connsiteX90" fmla="*/ 862069 w 3148171"/>
                  <a:gd name="connsiteY90" fmla="*/ 205740 h 3147261"/>
                  <a:gd name="connsiteX91" fmla="*/ 953509 w 3148171"/>
                  <a:gd name="connsiteY91" fmla="*/ 152400 h 3147261"/>
                  <a:gd name="connsiteX92" fmla="*/ 983989 w 3148171"/>
                  <a:gd name="connsiteY92" fmla="*/ 129540 h 3147261"/>
                  <a:gd name="connsiteX93" fmla="*/ 1105909 w 3148171"/>
                  <a:gd name="connsiteY93" fmla="*/ 76200 h 3147261"/>
                  <a:gd name="connsiteX94" fmla="*/ 1128769 w 3148171"/>
                  <a:gd name="connsiteY94" fmla="*/ 68580 h 3147261"/>
                  <a:gd name="connsiteX95" fmla="*/ 1189729 w 3148171"/>
                  <a:gd name="connsiteY95" fmla="*/ 53340 h 3147261"/>
                  <a:gd name="connsiteX96" fmla="*/ 1243069 w 3148171"/>
                  <a:gd name="connsiteY96" fmla="*/ 38100 h 3147261"/>
                  <a:gd name="connsiteX97" fmla="*/ 1265929 w 3148171"/>
                  <a:gd name="connsiteY97" fmla="*/ 30480 h 3147261"/>
                  <a:gd name="connsiteX98" fmla="*/ 1387849 w 3148171"/>
                  <a:gd name="connsiteY98" fmla="*/ 15240 h 3147261"/>
                  <a:gd name="connsiteX99" fmla="*/ 1464049 w 3148171"/>
                  <a:gd name="connsiteY99" fmla="*/ 0 h 3147261"/>
                  <a:gd name="connsiteX100" fmla="*/ 1883149 w 3148171"/>
                  <a:gd name="connsiteY100" fmla="*/ 15240 h 3147261"/>
                  <a:gd name="connsiteX101" fmla="*/ 1913629 w 3148171"/>
                  <a:gd name="connsiteY101" fmla="*/ 22860 h 3147261"/>
                  <a:gd name="connsiteX102" fmla="*/ 2165089 w 3148171"/>
                  <a:gd name="connsiteY102" fmla="*/ 99060 h 3147261"/>
                  <a:gd name="connsiteX103" fmla="*/ 2340349 w 3148171"/>
                  <a:gd name="connsiteY103" fmla="*/ 182880 h 3147261"/>
                  <a:gd name="connsiteX104" fmla="*/ 2370829 w 3148171"/>
                  <a:gd name="connsiteY104" fmla="*/ 190500 h 3147261"/>
                  <a:gd name="connsiteX105" fmla="*/ 2393689 w 3148171"/>
                  <a:gd name="connsiteY105" fmla="*/ 205740 h 3147261"/>
                  <a:gd name="connsiteX106" fmla="*/ 2439409 w 3148171"/>
                  <a:gd name="connsiteY106" fmla="*/ 228600 h 3147261"/>
                  <a:gd name="connsiteX107" fmla="*/ 2447029 w 3148171"/>
                  <a:gd name="connsiteY107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328669 w 3148171"/>
                  <a:gd name="connsiteY80" fmla="*/ 586740 h 3147261"/>
                  <a:gd name="connsiteX81" fmla="*/ 420109 w 3148171"/>
                  <a:gd name="connsiteY81" fmla="*/ 510540 h 3147261"/>
                  <a:gd name="connsiteX82" fmla="*/ 450589 w 3148171"/>
                  <a:gd name="connsiteY82" fmla="*/ 472440 h 3147261"/>
                  <a:gd name="connsiteX83" fmla="*/ 511549 w 3148171"/>
                  <a:gd name="connsiteY83" fmla="*/ 434340 h 3147261"/>
                  <a:gd name="connsiteX84" fmla="*/ 564889 w 3148171"/>
                  <a:gd name="connsiteY84" fmla="*/ 396240 h 3147261"/>
                  <a:gd name="connsiteX85" fmla="*/ 656329 w 3148171"/>
                  <a:gd name="connsiteY85" fmla="*/ 335280 h 3147261"/>
                  <a:gd name="connsiteX86" fmla="*/ 732529 w 3148171"/>
                  <a:gd name="connsiteY86" fmla="*/ 297180 h 3147261"/>
                  <a:gd name="connsiteX87" fmla="*/ 816349 w 3148171"/>
                  <a:gd name="connsiteY87" fmla="*/ 236220 h 3147261"/>
                  <a:gd name="connsiteX88" fmla="*/ 831589 w 3148171"/>
                  <a:gd name="connsiteY88" fmla="*/ 213360 h 3147261"/>
                  <a:gd name="connsiteX89" fmla="*/ 862069 w 3148171"/>
                  <a:gd name="connsiteY89" fmla="*/ 205740 h 3147261"/>
                  <a:gd name="connsiteX90" fmla="*/ 953509 w 3148171"/>
                  <a:gd name="connsiteY90" fmla="*/ 152400 h 3147261"/>
                  <a:gd name="connsiteX91" fmla="*/ 983989 w 3148171"/>
                  <a:gd name="connsiteY91" fmla="*/ 129540 h 3147261"/>
                  <a:gd name="connsiteX92" fmla="*/ 1105909 w 3148171"/>
                  <a:gd name="connsiteY92" fmla="*/ 76200 h 3147261"/>
                  <a:gd name="connsiteX93" fmla="*/ 1128769 w 3148171"/>
                  <a:gd name="connsiteY93" fmla="*/ 68580 h 3147261"/>
                  <a:gd name="connsiteX94" fmla="*/ 1189729 w 3148171"/>
                  <a:gd name="connsiteY94" fmla="*/ 53340 h 3147261"/>
                  <a:gd name="connsiteX95" fmla="*/ 1243069 w 3148171"/>
                  <a:gd name="connsiteY95" fmla="*/ 38100 h 3147261"/>
                  <a:gd name="connsiteX96" fmla="*/ 1265929 w 3148171"/>
                  <a:gd name="connsiteY96" fmla="*/ 30480 h 3147261"/>
                  <a:gd name="connsiteX97" fmla="*/ 1387849 w 3148171"/>
                  <a:gd name="connsiteY97" fmla="*/ 15240 h 3147261"/>
                  <a:gd name="connsiteX98" fmla="*/ 1464049 w 3148171"/>
                  <a:gd name="connsiteY98" fmla="*/ 0 h 3147261"/>
                  <a:gd name="connsiteX99" fmla="*/ 1883149 w 3148171"/>
                  <a:gd name="connsiteY99" fmla="*/ 15240 h 3147261"/>
                  <a:gd name="connsiteX100" fmla="*/ 1913629 w 3148171"/>
                  <a:gd name="connsiteY100" fmla="*/ 22860 h 3147261"/>
                  <a:gd name="connsiteX101" fmla="*/ 2165089 w 3148171"/>
                  <a:gd name="connsiteY101" fmla="*/ 99060 h 3147261"/>
                  <a:gd name="connsiteX102" fmla="*/ 2340349 w 3148171"/>
                  <a:gd name="connsiteY102" fmla="*/ 182880 h 3147261"/>
                  <a:gd name="connsiteX103" fmla="*/ 2370829 w 3148171"/>
                  <a:gd name="connsiteY103" fmla="*/ 190500 h 3147261"/>
                  <a:gd name="connsiteX104" fmla="*/ 2393689 w 3148171"/>
                  <a:gd name="connsiteY104" fmla="*/ 205740 h 3147261"/>
                  <a:gd name="connsiteX105" fmla="*/ 2439409 w 3148171"/>
                  <a:gd name="connsiteY105" fmla="*/ 228600 h 3147261"/>
                  <a:gd name="connsiteX106" fmla="*/ 2447029 w 3148171"/>
                  <a:gd name="connsiteY106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450589 w 3148171"/>
                  <a:gd name="connsiteY81" fmla="*/ 472440 h 3147261"/>
                  <a:gd name="connsiteX82" fmla="*/ 511549 w 3148171"/>
                  <a:gd name="connsiteY82" fmla="*/ 434340 h 3147261"/>
                  <a:gd name="connsiteX83" fmla="*/ 564889 w 3148171"/>
                  <a:gd name="connsiteY83" fmla="*/ 396240 h 3147261"/>
                  <a:gd name="connsiteX84" fmla="*/ 656329 w 3148171"/>
                  <a:gd name="connsiteY84" fmla="*/ 335280 h 3147261"/>
                  <a:gd name="connsiteX85" fmla="*/ 732529 w 3148171"/>
                  <a:gd name="connsiteY85" fmla="*/ 297180 h 3147261"/>
                  <a:gd name="connsiteX86" fmla="*/ 816349 w 3148171"/>
                  <a:gd name="connsiteY86" fmla="*/ 236220 h 3147261"/>
                  <a:gd name="connsiteX87" fmla="*/ 831589 w 3148171"/>
                  <a:gd name="connsiteY87" fmla="*/ 213360 h 3147261"/>
                  <a:gd name="connsiteX88" fmla="*/ 862069 w 3148171"/>
                  <a:gd name="connsiteY88" fmla="*/ 205740 h 3147261"/>
                  <a:gd name="connsiteX89" fmla="*/ 953509 w 3148171"/>
                  <a:gd name="connsiteY89" fmla="*/ 152400 h 3147261"/>
                  <a:gd name="connsiteX90" fmla="*/ 983989 w 3148171"/>
                  <a:gd name="connsiteY90" fmla="*/ 129540 h 3147261"/>
                  <a:gd name="connsiteX91" fmla="*/ 1105909 w 3148171"/>
                  <a:gd name="connsiteY91" fmla="*/ 76200 h 3147261"/>
                  <a:gd name="connsiteX92" fmla="*/ 1128769 w 3148171"/>
                  <a:gd name="connsiteY92" fmla="*/ 68580 h 3147261"/>
                  <a:gd name="connsiteX93" fmla="*/ 1189729 w 3148171"/>
                  <a:gd name="connsiteY93" fmla="*/ 53340 h 3147261"/>
                  <a:gd name="connsiteX94" fmla="*/ 1243069 w 3148171"/>
                  <a:gd name="connsiteY94" fmla="*/ 38100 h 3147261"/>
                  <a:gd name="connsiteX95" fmla="*/ 1265929 w 3148171"/>
                  <a:gd name="connsiteY95" fmla="*/ 30480 h 3147261"/>
                  <a:gd name="connsiteX96" fmla="*/ 1387849 w 3148171"/>
                  <a:gd name="connsiteY96" fmla="*/ 15240 h 3147261"/>
                  <a:gd name="connsiteX97" fmla="*/ 1464049 w 3148171"/>
                  <a:gd name="connsiteY97" fmla="*/ 0 h 3147261"/>
                  <a:gd name="connsiteX98" fmla="*/ 1883149 w 3148171"/>
                  <a:gd name="connsiteY98" fmla="*/ 15240 h 3147261"/>
                  <a:gd name="connsiteX99" fmla="*/ 1913629 w 3148171"/>
                  <a:gd name="connsiteY99" fmla="*/ 22860 h 3147261"/>
                  <a:gd name="connsiteX100" fmla="*/ 2165089 w 3148171"/>
                  <a:gd name="connsiteY100" fmla="*/ 99060 h 3147261"/>
                  <a:gd name="connsiteX101" fmla="*/ 2340349 w 3148171"/>
                  <a:gd name="connsiteY101" fmla="*/ 182880 h 3147261"/>
                  <a:gd name="connsiteX102" fmla="*/ 2370829 w 3148171"/>
                  <a:gd name="connsiteY102" fmla="*/ 190500 h 3147261"/>
                  <a:gd name="connsiteX103" fmla="*/ 2393689 w 3148171"/>
                  <a:gd name="connsiteY103" fmla="*/ 205740 h 3147261"/>
                  <a:gd name="connsiteX104" fmla="*/ 2439409 w 3148171"/>
                  <a:gd name="connsiteY104" fmla="*/ 228600 h 3147261"/>
                  <a:gd name="connsiteX105" fmla="*/ 2447029 w 3148171"/>
                  <a:gd name="connsiteY105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732529 w 3148171"/>
                  <a:gd name="connsiteY84" fmla="*/ 297180 h 3147261"/>
                  <a:gd name="connsiteX85" fmla="*/ 816349 w 3148171"/>
                  <a:gd name="connsiteY85" fmla="*/ 236220 h 3147261"/>
                  <a:gd name="connsiteX86" fmla="*/ 831589 w 3148171"/>
                  <a:gd name="connsiteY86" fmla="*/ 213360 h 3147261"/>
                  <a:gd name="connsiteX87" fmla="*/ 862069 w 3148171"/>
                  <a:gd name="connsiteY87" fmla="*/ 205740 h 3147261"/>
                  <a:gd name="connsiteX88" fmla="*/ 953509 w 3148171"/>
                  <a:gd name="connsiteY88" fmla="*/ 152400 h 3147261"/>
                  <a:gd name="connsiteX89" fmla="*/ 983989 w 3148171"/>
                  <a:gd name="connsiteY89" fmla="*/ 129540 h 3147261"/>
                  <a:gd name="connsiteX90" fmla="*/ 1105909 w 3148171"/>
                  <a:gd name="connsiteY90" fmla="*/ 76200 h 3147261"/>
                  <a:gd name="connsiteX91" fmla="*/ 1128769 w 3148171"/>
                  <a:gd name="connsiteY91" fmla="*/ 68580 h 3147261"/>
                  <a:gd name="connsiteX92" fmla="*/ 1189729 w 3148171"/>
                  <a:gd name="connsiteY92" fmla="*/ 53340 h 3147261"/>
                  <a:gd name="connsiteX93" fmla="*/ 1243069 w 3148171"/>
                  <a:gd name="connsiteY93" fmla="*/ 38100 h 3147261"/>
                  <a:gd name="connsiteX94" fmla="*/ 1265929 w 3148171"/>
                  <a:gd name="connsiteY94" fmla="*/ 30480 h 3147261"/>
                  <a:gd name="connsiteX95" fmla="*/ 1387849 w 3148171"/>
                  <a:gd name="connsiteY95" fmla="*/ 15240 h 3147261"/>
                  <a:gd name="connsiteX96" fmla="*/ 1464049 w 3148171"/>
                  <a:gd name="connsiteY96" fmla="*/ 0 h 3147261"/>
                  <a:gd name="connsiteX97" fmla="*/ 1883149 w 3148171"/>
                  <a:gd name="connsiteY97" fmla="*/ 15240 h 3147261"/>
                  <a:gd name="connsiteX98" fmla="*/ 1913629 w 3148171"/>
                  <a:gd name="connsiteY98" fmla="*/ 22860 h 3147261"/>
                  <a:gd name="connsiteX99" fmla="*/ 2165089 w 3148171"/>
                  <a:gd name="connsiteY99" fmla="*/ 99060 h 3147261"/>
                  <a:gd name="connsiteX100" fmla="*/ 2340349 w 3148171"/>
                  <a:gd name="connsiteY100" fmla="*/ 182880 h 3147261"/>
                  <a:gd name="connsiteX101" fmla="*/ 2370829 w 3148171"/>
                  <a:gd name="connsiteY101" fmla="*/ 190500 h 3147261"/>
                  <a:gd name="connsiteX102" fmla="*/ 2393689 w 3148171"/>
                  <a:gd name="connsiteY102" fmla="*/ 205740 h 3147261"/>
                  <a:gd name="connsiteX103" fmla="*/ 2439409 w 3148171"/>
                  <a:gd name="connsiteY103" fmla="*/ 228600 h 3147261"/>
                  <a:gd name="connsiteX104" fmla="*/ 2447029 w 3148171"/>
                  <a:gd name="connsiteY104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816349 w 3148171"/>
                  <a:gd name="connsiteY84" fmla="*/ 236220 h 3147261"/>
                  <a:gd name="connsiteX85" fmla="*/ 831589 w 3148171"/>
                  <a:gd name="connsiteY85" fmla="*/ 213360 h 3147261"/>
                  <a:gd name="connsiteX86" fmla="*/ 862069 w 3148171"/>
                  <a:gd name="connsiteY86" fmla="*/ 205740 h 3147261"/>
                  <a:gd name="connsiteX87" fmla="*/ 953509 w 3148171"/>
                  <a:gd name="connsiteY87" fmla="*/ 152400 h 3147261"/>
                  <a:gd name="connsiteX88" fmla="*/ 983989 w 3148171"/>
                  <a:gd name="connsiteY88" fmla="*/ 129540 h 3147261"/>
                  <a:gd name="connsiteX89" fmla="*/ 1105909 w 3148171"/>
                  <a:gd name="connsiteY89" fmla="*/ 76200 h 3147261"/>
                  <a:gd name="connsiteX90" fmla="*/ 1128769 w 3148171"/>
                  <a:gd name="connsiteY90" fmla="*/ 68580 h 3147261"/>
                  <a:gd name="connsiteX91" fmla="*/ 1189729 w 3148171"/>
                  <a:gd name="connsiteY91" fmla="*/ 53340 h 3147261"/>
                  <a:gd name="connsiteX92" fmla="*/ 1243069 w 3148171"/>
                  <a:gd name="connsiteY92" fmla="*/ 38100 h 3147261"/>
                  <a:gd name="connsiteX93" fmla="*/ 1265929 w 3148171"/>
                  <a:gd name="connsiteY93" fmla="*/ 30480 h 3147261"/>
                  <a:gd name="connsiteX94" fmla="*/ 1387849 w 3148171"/>
                  <a:gd name="connsiteY94" fmla="*/ 15240 h 3147261"/>
                  <a:gd name="connsiteX95" fmla="*/ 1464049 w 3148171"/>
                  <a:gd name="connsiteY95" fmla="*/ 0 h 3147261"/>
                  <a:gd name="connsiteX96" fmla="*/ 1883149 w 3148171"/>
                  <a:gd name="connsiteY96" fmla="*/ 15240 h 3147261"/>
                  <a:gd name="connsiteX97" fmla="*/ 1913629 w 3148171"/>
                  <a:gd name="connsiteY97" fmla="*/ 22860 h 3147261"/>
                  <a:gd name="connsiteX98" fmla="*/ 2165089 w 3148171"/>
                  <a:gd name="connsiteY98" fmla="*/ 99060 h 3147261"/>
                  <a:gd name="connsiteX99" fmla="*/ 2340349 w 3148171"/>
                  <a:gd name="connsiteY99" fmla="*/ 182880 h 3147261"/>
                  <a:gd name="connsiteX100" fmla="*/ 2370829 w 3148171"/>
                  <a:gd name="connsiteY100" fmla="*/ 190500 h 3147261"/>
                  <a:gd name="connsiteX101" fmla="*/ 2393689 w 3148171"/>
                  <a:gd name="connsiteY101" fmla="*/ 205740 h 3147261"/>
                  <a:gd name="connsiteX102" fmla="*/ 2439409 w 3148171"/>
                  <a:gd name="connsiteY102" fmla="*/ 228600 h 3147261"/>
                  <a:gd name="connsiteX103" fmla="*/ 2447029 w 3148171"/>
                  <a:gd name="connsiteY103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816349 w 3148171"/>
                  <a:gd name="connsiteY84" fmla="*/ 236220 h 3147261"/>
                  <a:gd name="connsiteX85" fmla="*/ 862069 w 3148171"/>
                  <a:gd name="connsiteY85" fmla="*/ 205740 h 3147261"/>
                  <a:gd name="connsiteX86" fmla="*/ 953509 w 3148171"/>
                  <a:gd name="connsiteY86" fmla="*/ 152400 h 3147261"/>
                  <a:gd name="connsiteX87" fmla="*/ 983989 w 3148171"/>
                  <a:gd name="connsiteY87" fmla="*/ 129540 h 3147261"/>
                  <a:gd name="connsiteX88" fmla="*/ 1105909 w 3148171"/>
                  <a:gd name="connsiteY88" fmla="*/ 76200 h 3147261"/>
                  <a:gd name="connsiteX89" fmla="*/ 1128769 w 3148171"/>
                  <a:gd name="connsiteY89" fmla="*/ 68580 h 3147261"/>
                  <a:gd name="connsiteX90" fmla="*/ 1189729 w 3148171"/>
                  <a:gd name="connsiteY90" fmla="*/ 53340 h 3147261"/>
                  <a:gd name="connsiteX91" fmla="*/ 1243069 w 3148171"/>
                  <a:gd name="connsiteY91" fmla="*/ 38100 h 3147261"/>
                  <a:gd name="connsiteX92" fmla="*/ 1265929 w 3148171"/>
                  <a:gd name="connsiteY92" fmla="*/ 30480 h 3147261"/>
                  <a:gd name="connsiteX93" fmla="*/ 1387849 w 3148171"/>
                  <a:gd name="connsiteY93" fmla="*/ 15240 h 3147261"/>
                  <a:gd name="connsiteX94" fmla="*/ 1464049 w 3148171"/>
                  <a:gd name="connsiteY94" fmla="*/ 0 h 3147261"/>
                  <a:gd name="connsiteX95" fmla="*/ 1883149 w 3148171"/>
                  <a:gd name="connsiteY95" fmla="*/ 15240 h 3147261"/>
                  <a:gd name="connsiteX96" fmla="*/ 1913629 w 3148171"/>
                  <a:gd name="connsiteY96" fmla="*/ 22860 h 3147261"/>
                  <a:gd name="connsiteX97" fmla="*/ 2165089 w 3148171"/>
                  <a:gd name="connsiteY97" fmla="*/ 99060 h 3147261"/>
                  <a:gd name="connsiteX98" fmla="*/ 2340349 w 3148171"/>
                  <a:gd name="connsiteY98" fmla="*/ 182880 h 3147261"/>
                  <a:gd name="connsiteX99" fmla="*/ 2370829 w 3148171"/>
                  <a:gd name="connsiteY99" fmla="*/ 190500 h 3147261"/>
                  <a:gd name="connsiteX100" fmla="*/ 2393689 w 3148171"/>
                  <a:gd name="connsiteY100" fmla="*/ 205740 h 3147261"/>
                  <a:gd name="connsiteX101" fmla="*/ 2439409 w 3148171"/>
                  <a:gd name="connsiteY101" fmla="*/ 228600 h 3147261"/>
                  <a:gd name="connsiteX102" fmla="*/ 2447029 w 3148171"/>
                  <a:gd name="connsiteY102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862069 w 3148171"/>
                  <a:gd name="connsiteY84" fmla="*/ 20574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28769 w 3148171"/>
                  <a:gd name="connsiteY88" fmla="*/ 68580 h 3147261"/>
                  <a:gd name="connsiteX89" fmla="*/ 1189729 w 3148171"/>
                  <a:gd name="connsiteY89" fmla="*/ 53340 h 3147261"/>
                  <a:gd name="connsiteX90" fmla="*/ 1243069 w 3148171"/>
                  <a:gd name="connsiteY90" fmla="*/ 38100 h 3147261"/>
                  <a:gd name="connsiteX91" fmla="*/ 1265929 w 3148171"/>
                  <a:gd name="connsiteY91" fmla="*/ 30480 h 3147261"/>
                  <a:gd name="connsiteX92" fmla="*/ 1387849 w 3148171"/>
                  <a:gd name="connsiteY92" fmla="*/ 15240 h 3147261"/>
                  <a:gd name="connsiteX93" fmla="*/ 1464049 w 3148171"/>
                  <a:gd name="connsiteY93" fmla="*/ 0 h 3147261"/>
                  <a:gd name="connsiteX94" fmla="*/ 1883149 w 3148171"/>
                  <a:gd name="connsiteY94" fmla="*/ 15240 h 3147261"/>
                  <a:gd name="connsiteX95" fmla="*/ 1913629 w 3148171"/>
                  <a:gd name="connsiteY95" fmla="*/ 22860 h 3147261"/>
                  <a:gd name="connsiteX96" fmla="*/ 2165089 w 3148171"/>
                  <a:gd name="connsiteY96" fmla="*/ 99060 h 3147261"/>
                  <a:gd name="connsiteX97" fmla="*/ 2340349 w 3148171"/>
                  <a:gd name="connsiteY97" fmla="*/ 182880 h 3147261"/>
                  <a:gd name="connsiteX98" fmla="*/ 2370829 w 3148171"/>
                  <a:gd name="connsiteY98" fmla="*/ 190500 h 3147261"/>
                  <a:gd name="connsiteX99" fmla="*/ 2393689 w 3148171"/>
                  <a:gd name="connsiteY99" fmla="*/ 205740 h 3147261"/>
                  <a:gd name="connsiteX100" fmla="*/ 2439409 w 3148171"/>
                  <a:gd name="connsiteY100" fmla="*/ 228600 h 3147261"/>
                  <a:gd name="connsiteX101" fmla="*/ 2447029 w 3148171"/>
                  <a:gd name="connsiteY101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2069 w 3148171"/>
                  <a:gd name="connsiteY84" fmla="*/ 20574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28769 w 3148171"/>
                  <a:gd name="connsiteY88" fmla="*/ 68580 h 3147261"/>
                  <a:gd name="connsiteX89" fmla="*/ 1189729 w 3148171"/>
                  <a:gd name="connsiteY89" fmla="*/ 53340 h 3147261"/>
                  <a:gd name="connsiteX90" fmla="*/ 1243069 w 3148171"/>
                  <a:gd name="connsiteY90" fmla="*/ 38100 h 3147261"/>
                  <a:gd name="connsiteX91" fmla="*/ 1265929 w 3148171"/>
                  <a:gd name="connsiteY91" fmla="*/ 30480 h 3147261"/>
                  <a:gd name="connsiteX92" fmla="*/ 1387849 w 3148171"/>
                  <a:gd name="connsiteY92" fmla="*/ 15240 h 3147261"/>
                  <a:gd name="connsiteX93" fmla="*/ 1464049 w 3148171"/>
                  <a:gd name="connsiteY93" fmla="*/ 0 h 3147261"/>
                  <a:gd name="connsiteX94" fmla="*/ 1883149 w 3148171"/>
                  <a:gd name="connsiteY94" fmla="*/ 15240 h 3147261"/>
                  <a:gd name="connsiteX95" fmla="*/ 1913629 w 3148171"/>
                  <a:gd name="connsiteY95" fmla="*/ 22860 h 3147261"/>
                  <a:gd name="connsiteX96" fmla="*/ 2165089 w 3148171"/>
                  <a:gd name="connsiteY96" fmla="*/ 99060 h 3147261"/>
                  <a:gd name="connsiteX97" fmla="*/ 2340349 w 3148171"/>
                  <a:gd name="connsiteY97" fmla="*/ 182880 h 3147261"/>
                  <a:gd name="connsiteX98" fmla="*/ 2370829 w 3148171"/>
                  <a:gd name="connsiteY98" fmla="*/ 190500 h 3147261"/>
                  <a:gd name="connsiteX99" fmla="*/ 2393689 w 3148171"/>
                  <a:gd name="connsiteY99" fmla="*/ 205740 h 3147261"/>
                  <a:gd name="connsiteX100" fmla="*/ 2439409 w 3148171"/>
                  <a:gd name="connsiteY100" fmla="*/ 228600 h 3147261"/>
                  <a:gd name="connsiteX101" fmla="*/ 2447029 w 3148171"/>
                  <a:gd name="connsiteY101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28769 w 3148171"/>
                  <a:gd name="connsiteY88" fmla="*/ 68580 h 3147261"/>
                  <a:gd name="connsiteX89" fmla="*/ 1189729 w 3148171"/>
                  <a:gd name="connsiteY89" fmla="*/ 53340 h 3147261"/>
                  <a:gd name="connsiteX90" fmla="*/ 1243069 w 3148171"/>
                  <a:gd name="connsiteY90" fmla="*/ 38100 h 3147261"/>
                  <a:gd name="connsiteX91" fmla="*/ 1265929 w 3148171"/>
                  <a:gd name="connsiteY91" fmla="*/ 30480 h 3147261"/>
                  <a:gd name="connsiteX92" fmla="*/ 1387849 w 3148171"/>
                  <a:gd name="connsiteY92" fmla="*/ 15240 h 3147261"/>
                  <a:gd name="connsiteX93" fmla="*/ 1464049 w 3148171"/>
                  <a:gd name="connsiteY93" fmla="*/ 0 h 3147261"/>
                  <a:gd name="connsiteX94" fmla="*/ 1883149 w 3148171"/>
                  <a:gd name="connsiteY94" fmla="*/ 15240 h 3147261"/>
                  <a:gd name="connsiteX95" fmla="*/ 1913629 w 3148171"/>
                  <a:gd name="connsiteY95" fmla="*/ 22860 h 3147261"/>
                  <a:gd name="connsiteX96" fmla="*/ 2165089 w 3148171"/>
                  <a:gd name="connsiteY96" fmla="*/ 99060 h 3147261"/>
                  <a:gd name="connsiteX97" fmla="*/ 2340349 w 3148171"/>
                  <a:gd name="connsiteY97" fmla="*/ 182880 h 3147261"/>
                  <a:gd name="connsiteX98" fmla="*/ 2370829 w 3148171"/>
                  <a:gd name="connsiteY98" fmla="*/ 190500 h 3147261"/>
                  <a:gd name="connsiteX99" fmla="*/ 2393689 w 3148171"/>
                  <a:gd name="connsiteY99" fmla="*/ 205740 h 3147261"/>
                  <a:gd name="connsiteX100" fmla="*/ 2439409 w 3148171"/>
                  <a:gd name="connsiteY100" fmla="*/ 228600 h 3147261"/>
                  <a:gd name="connsiteX101" fmla="*/ 2447029 w 3148171"/>
                  <a:gd name="connsiteY101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89729 w 3148171"/>
                  <a:gd name="connsiteY88" fmla="*/ 53340 h 3147261"/>
                  <a:gd name="connsiteX89" fmla="*/ 1243069 w 3148171"/>
                  <a:gd name="connsiteY89" fmla="*/ 38100 h 3147261"/>
                  <a:gd name="connsiteX90" fmla="*/ 1265929 w 3148171"/>
                  <a:gd name="connsiteY90" fmla="*/ 30480 h 3147261"/>
                  <a:gd name="connsiteX91" fmla="*/ 1387849 w 3148171"/>
                  <a:gd name="connsiteY91" fmla="*/ 15240 h 3147261"/>
                  <a:gd name="connsiteX92" fmla="*/ 1464049 w 3148171"/>
                  <a:gd name="connsiteY92" fmla="*/ 0 h 3147261"/>
                  <a:gd name="connsiteX93" fmla="*/ 1883149 w 3148171"/>
                  <a:gd name="connsiteY93" fmla="*/ 15240 h 3147261"/>
                  <a:gd name="connsiteX94" fmla="*/ 1913629 w 3148171"/>
                  <a:gd name="connsiteY94" fmla="*/ 22860 h 3147261"/>
                  <a:gd name="connsiteX95" fmla="*/ 2165089 w 3148171"/>
                  <a:gd name="connsiteY95" fmla="*/ 99060 h 3147261"/>
                  <a:gd name="connsiteX96" fmla="*/ 2340349 w 3148171"/>
                  <a:gd name="connsiteY96" fmla="*/ 182880 h 3147261"/>
                  <a:gd name="connsiteX97" fmla="*/ 2370829 w 3148171"/>
                  <a:gd name="connsiteY97" fmla="*/ 190500 h 3147261"/>
                  <a:gd name="connsiteX98" fmla="*/ 2393689 w 3148171"/>
                  <a:gd name="connsiteY98" fmla="*/ 205740 h 3147261"/>
                  <a:gd name="connsiteX99" fmla="*/ 2439409 w 3148171"/>
                  <a:gd name="connsiteY99" fmla="*/ 228600 h 3147261"/>
                  <a:gd name="connsiteX100" fmla="*/ 2447029 w 3148171"/>
                  <a:gd name="connsiteY100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243069 w 3148171"/>
                  <a:gd name="connsiteY88" fmla="*/ 38100 h 3147261"/>
                  <a:gd name="connsiteX89" fmla="*/ 1265929 w 3148171"/>
                  <a:gd name="connsiteY89" fmla="*/ 30480 h 3147261"/>
                  <a:gd name="connsiteX90" fmla="*/ 1387849 w 3148171"/>
                  <a:gd name="connsiteY90" fmla="*/ 15240 h 3147261"/>
                  <a:gd name="connsiteX91" fmla="*/ 1464049 w 3148171"/>
                  <a:gd name="connsiteY91" fmla="*/ 0 h 3147261"/>
                  <a:gd name="connsiteX92" fmla="*/ 1883149 w 3148171"/>
                  <a:gd name="connsiteY92" fmla="*/ 15240 h 3147261"/>
                  <a:gd name="connsiteX93" fmla="*/ 1913629 w 3148171"/>
                  <a:gd name="connsiteY93" fmla="*/ 22860 h 3147261"/>
                  <a:gd name="connsiteX94" fmla="*/ 2165089 w 3148171"/>
                  <a:gd name="connsiteY94" fmla="*/ 99060 h 3147261"/>
                  <a:gd name="connsiteX95" fmla="*/ 2340349 w 3148171"/>
                  <a:gd name="connsiteY95" fmla="*/ 182880 h 3147261"/>
                  <a:gd name="connsiteX96" fmla="*/ 2370829 w 3148171"/>
                  <a:gd name="connsiteY96" fmla="*/ 190500 h 3147261"/>
                  <a:gd name="connsiteX97" fmla="*/ 2393689 w 3148171"/>
                  <a:gd name="connsiteY97" fmla="*/ 205740 h 3147261"/>
                  <a:gd name="connsiteX98" fmla="*/ 2439409 w 3148171"/>
                  <a:gd name="connsiteY98" fmla="*/ 228600 h 3147261"/>
                  <a:gd name="connsiteX99" fmla="*/ 2447029 w 3148171"/>
                  <a:gd name="connsiteY99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883149 w 3148171"/>
                  <a:gd name="connsiteY91" fmla="*/ 15240 h 3147261"/>
                  <a:gd name="connsiteX92" fmla="*/ 1913629 w 3148171"/>
                  <a:gd name="connsiteY92" fmla="*/ 22860 h 3147261"/>
                  <a:gd name="connsiteX93" fmla="*/ 2165089 w 3148171"/>
                  <a:gd name="connsiteY93" fmla="*/ 99060 h 3147261"/>
                  <a:gd name="connsiteX94" fmla="*/ 2340349 w 3148171"/>
                  <a:gd name="connsiteY94" fmla="*/ 182880 h 3147261"/>
                  <a:gd name="connsiteX95" fmla="*/ 2370829 w 3148171"/>
                  <a:gd name="connsiteY95" fmla="*/ 190500 h 3147261"/>
                  <a:gd name="connsiteX96" fmla="*/ 2393689 w 3148171"/>
                  <a:gd name="connsiteY96" fmla="*/ 205740 h 3147261"/>
                  <a:gd name="connsiteX97" fmla="*/ 2439409 w 3148171"/>
                  <a:gd name="connsiteY97" fmla="*/ 228600 h 3147261"/>
                  <a:gd name="connsiteX98" fmla="*/ 2447029 w 3148171"/>
                  <a:gd name="connsiteY98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883149 w 3148171"/>
                  <a:gd name="connsiteY91" fmla="*/ 15240 h 3147261"/>
                  <a:gd name="connsiteX92" fmla="*/ 1913629 w 3148171"/>
                  <a:gd name="connsiteY92" fmla="*/ 22860 h 3147261"/>
                  <a:gd name="connsiteX93" fmla="*/ 2165089 w 3148171"/>
                  <a:gd name="connsiteY93" fmla="*/ 99060 h 3147261"/>
                  <a:gd name="connsiteX94" fmla="*/ 2340349 w 3148171"/>
                  <a:gd name="connsiteY94" fmla="*/ 182880 h 3147261"/>
                  <a:gd name="connsiteX95" fmla="*/ 2370829 w 3148171"/>
                  <a:gd name="connsiteY95" fmla="*/ 190500 h 3147261"/>
                  <a:gd name="connsiteX96" fmla="*/ 2393689 w 3148171"/>
                  <a:gd name="connsiteY96" fmla="*/ 205740 h 3147261"/>
                  <a:gd name="connsiteX97" fmla="*/ 2439409 w 3148171"/>
                  <a:gd name="connsiteY97" fmla="*/ 228600 h 3147261"/>
                  <a:gd name="connsiteX98" fmla="*/ 2447029 w 3148171"/>
                  <a:gd name="connsiteY98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883149 w 3148171"/>
                  <a:gd name="connsiteY91" fmla="*/ 1524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97" fmla="*/ 2447029 w 3148171"/>
                  <a:gd name="connsiteY97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97" fmla="*/ 2447029 w 3148171"/>
                  <a:gd name="connsiteY97" fmla="*/ 266700 h 3147261"/>
                  <a:gd name="connsiteX0" fmla="*/ 2439409 w 3148171"/>
                  <a:gd name="connsiteY0" fmla="*/ 2286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0" fmla="*/ 2393689 w 3148171"/>
                  <a:gd name="connsiteY0" fmla="*/ 20574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706109 w 3148171"/>
                  <a:gd name="connsiteY7" fmla="*/ 487680 h 3147261"/>
                  <a:gd name="connsiteX8" fmla="*/ 2728969 w 3148171"/>
                  <a:gd name="connsiteY8" fmla="*/ 510540 h 3147261"/>
                  <a:gd name="connsiteX9" fmla="*/ 2789929 w 3148171"/>
                  <a:gd name="connsiteY9" fmla="*/ 594360 h 3147261"/>
                  <a:gd name="connsiteX10" fmla="*/ 2850889 w 3148171"/>
                  <a:gd name="connsiteY10" fmla="*/ 662940 h 3147261"/>
                  <a:gd name="connsiteX11" fmla="*/ 2873749 w 3148171"/>
                  <a:gd name="connsiteY11" fmla="*/ 701040 h 3147261"/>
                  <a:gd name="connsiteX12" fmla="*/ 2911849 w 3148171"/>
                  <a:gd name="connsiteY12" fmla="*/ 762000 h 3147261"/>
                  <a:gd name="connsiteX13" fmla="*/ 2949949 w 3148171"/>
                  <a:gd name="connsiteY13" fmla="*/ 845820 h 3147261"/>
                  <a:gd name="connsiteX14" fmla="*/ 2957569 w 3148171"/>
                  <a:gd name="connsiteY14" fmla="*/ 868680 h 3147261"/>
                  <a:gd name="connsiteX15" fmla="*/ 2980429 w 3148171"/>
                  <a:gd name="connsiteY15" fmla="*/ 922020 h 3147261"/>
                  <a:gd name="connsiteX16" fmla="*/ 2995669 w 3148171"/>
                  <a:gd name="connsiteY16" fmla="*/ 952500 h 3147261"/>
                  <a:gd name="connsiteX17" fmla="*/ 3010909 w 3148171"/>
                  <a:gd name="connsiteY17" fmla="*/ 998220 h 3147261"/>
                  <a:gd name="connsiteX18" fmla="*/ 3026149 w 3148171"/>
                  <a:gd name="connsiteY18" fmla="*/ 1036320 h 3147261"/>
                  <a:gd name="connsiteX19" fmla="*/ 3033769 w 3148171"/>
                  <a:gd name="connsiteY19" fmla="*/ 1066800 h 3147261"/>
                  <a:gd name="connsiteX20" fmla="*/ 3056629 w 3148171"/>
                  <a:gd name="connsiteY20" fmla="*/ 1104900 h 3147261"/>
                  <a:gd name="connsiteX21" fmla="*/ 3071869 w 3148171"/>
                  <a:gd name="connsiteY21" fmla="*/ 1150620 h 3147261"/>
                  <a:gd name="connsiteX22" fmla="*/ 3087109 w 3148171"/>
                  <a:gd name="connsiteY22" fmla="*/ 1181100 h 3147261"/>
                  <a:gd name="connsiteX23" fmla="*/ 3094729 w 3148171"/>
                  <a:gd name="connsiteY23" fmla="*/ 1226820 h 3147261"/>
                  <a:gd name="connsiteX24" fmla="*/ 3102349 w 3148171"/>
                  <a:gd name="connsiteY24" fmla="*/ 1280160 h 3147261"/>
                  <a:gd name="connsiteX25" fmla="*/ 3117589 w 3148171"/>
                  <a:gd name="connsiteY25" fmla="*/ 1371600 h 3147261"/>
                  <a:gd name="connsiteX26" fmla="*/ 3132829 w 3148171"/>
                  <a:gd name="connsiteY26" fmla="*/ 1417320 h 3147261"/>
                  <a:gd name="connsiteX27" fmla="*/ 3140449 w 3148171"/>
                  <a:gd name="connsiteY27" fmla="*/ 1485900 h 3147261"/>
                  <a:gd name="connsiteX28" fmla="*/ 3148069 w 3148171"/>
                  <a:gd name="connsiteY28" fmla="*/ 1516380 h 3147261"/>
                  <a:gd name="connsiteX29" fmla="*/ 3132829 w 3148171"/>
                  <a:gd name="connsiteY29" fmla="*/ 1691640 h 3147261"/>
                  <a:gd name="connsiteX30" fmla="*/ 3125209 w 3148171"/>
                  <a:gd name="connsiteY30" fmla="*/ 1767840 h 3147261"/>
                  <a:gd name="connsiteX31" fmla="*/ 3109969 w 3148171"/>
                  <a:gd name="connsiteY31" fmla="*/ 1836420 h 3147261"/>
                  <a:gd name="connsiteX32" fmla="*/ 3087109 w 3148171"/>
                  <a:gd name="connsiteY32" fmla="*/ 1905000 h 3147261"/>
                  <a:gd name="connsiteX33" fmla="*/ 3079489 w 3148171"/>
                  <a:gd name="connsiteY33" fmla="*/ 1935480 h 3147261"/>
                  <a:gd name="connsiteX34" fmla="*/ 3071869 w 3148171"/>
                  <a:gd name="connsiteY34" fmla="*/ 1958340 h 3147261"/>
                  <a:gd name="connsiteX35" fmla="*/ 3056629 w 3148171"/>
                  <a:gd name="connsiteY35" fmla="*/ 2019300 h 3147261"/>
                  <a:gd name="connsiteX36" fmla="*/ 3041389 w 3148171"/>
                  <a:gd name="connsiteY36" fmla="*/ 2057400 h 3147261"/>
                  <a:gd name="connsiteX37" fmla="*/ 3033769 w 3148171"/>
                  <a:gd name="connsiteY37" fmla="*/ 2080260 h 3147261"/>
                  <a:gd name="connsiteX38" fmla="*/ 3018529 w 3148171"/>
                  <a:gd name="connsiteY38" fmla="*/ 2118360 h 3147261"/>
                  <a:gd name="connsiteX39" fmla="*/ 2995669 w 3148171"/>
                  <a:gd name="connsiteY39" fmla="*/ 2186940 h 3147261"/>
                  <a:gd name="connsiteX40" fmla="*/ 2988049 w 3148171"/>
                  <a:gd name="connsiteY40" fmla="*/ 2225040 h 3147261"/>
                  <a:gd name="connsiteX41" fmla="*/ 2972809 w 3148171"/>
                  <a:gd name="connsiteY41" fmla="*/ 2270760 h 3147261"/>
                  <a:gd name="connsiteX42" fmla="*/ 2965189 w 3148171"/>
                  <a:gd name="connsiteY42" fmla="*/ 2308860 h 3147261"/>
                  <a:gd name="connsiteX43" fmla="*/ 2949949 w 3148171"/>
                  <a:gd name="connsiteY43" fmla="*/ 2331720 h 3147261"/>
                  <a:gd name="connsiteX44" fmla="*/ 2927089 w 3148171"/>
                  <a:gd name="connsiteY44" fmla="*/ 2385060 h 3147261"/>
                  <a:gd name="connsiteX45" fmla="*/ 2904229 w 3148171"/>
                  <a:gd name="connsiteY45" fmla="*/ 2407920 h 3147261"/>
                  <a:gd name="connsiteX46" fmla="*/ 2858509 w 3148171"/>
                  <a:gd name="connsiteY46" fmla="*/ 2499360 h 3147261"/>
                  <a:gd name="connsiteX47" fmla="*/ 2843269 w 3148171"/>
                  <a:gd name="connsiteY47" fmla="*/ 2529840 h 3147261"/>
                  <a:gd name="connsiteX48" fmla="*/ 2835649 w 3148171"/>
                  <a:gd name="connsiteY48" fmla="*/ 2552700 h 3147261"/>
                  <a:gd name="connsiteX49" fmla="*/ 2759449 w 3148171"/>
                  <a:gd name="connsiteY49" fmla="*/ 2636520 h 3147261"/>
                  <a:gd name="connsiteX50" fmla="*/ 2706109 w 3148171"/>
                  <a:gd name="connsiteY50" fmla="*/ 2667000 h 3147261"/>
                  <a:gd name="connsiteX51" fmla="*/ 2302249 w 3148171"/>
                  <a:gd name="connsiteY51" fmla="*/ 2971800 h 3147261"/>
                  <a:gd name="connsiteX52" fmla="*/ 2195569 w 3148171"/>
                  <a:gd name="connsiteY52" fmla="*/ 3025140 h 3147261"/>
                  <a:gd name="connsiteX53" fmla="*/ 2096509 w 3148171"/>
                  <a:gd name="connsiteY53" fmla="*/ 3055620 h 3147261"/>
                  <a:gd name="connsiteX54" fmla="*/ 1913629 w 3148171"/>
                  <a:gd name="connsiteY54" fmla="*/ 3108960 h 3147261"/>
                  <a:gd name="connsiteX55" fmla="*/ 1799329 w 3148171"/>
                  <a:gd name="connsiteY55" fmla="*/ 3147060 h 3147261"/>
                  <a:gd name="connsiteX56" fmla="*/ 1334509 w 3148171"/>
                  <a:gd name="connsiteY56" fmla="*/ 3108960 h 3147261"/>
                  <a:gd name="connsiteX57" fmla="*/ 793489 w 3148171"/>
                  <a:gd name="connsiteY57" fmla="*/ 2933700 h 3147261"/>
                  <a:gd name="connsiteX58" fmla="*/ 420109 w 3148171"/>
                  <a:gd name="connsiteY58" fmla="*/ 2644140 h 3147261"/>
                  <a:gd name="connsiteX59" fmla="*/ 321049 w 3148171"/>
                  <a:gd name="connsiteY59" fmla="*/ 2484120 h 3147261"/>
                  <a:gd name="connsiteX60" fmla="*/ 298189 w 3148171"/>
                  <a:gd name="connsiteY60" fmla="*/ 2430780 h 3147261"/>
                  <a:gd name="connsiteX61" fmla="*/ 275329 w 3148171"/>
                  <a:gd name="connsiteY61" fmla="*/ 2377440 h 3147261"/>
                  <a:gd name="connsiteX62" fmla="*/ 229609 w 3148171"/>
                  <a:gd name="connsiteY62" fmla="*/ 2316480 h 3147261"/>
                  <a:gd name="connsiteX63" fmla="*/ 206749 w 3148171"/>
                  <a:gd name="connsiteY63" fmla="*/ 2293620 h 3147261"/>
                  <a:gd name="connsiteX64" fmla="*/ 176269 w 3148171"/>
                  <a:gd name="connsiteY64" fmla="*/ 2240280 h 3147261"/>
                  <a:gd name="connsiteX65" fmla="*/ 161029 w 3148171"/>
                  <a:gd name="connsiteY65" fmla="*/ 2202180 h 3147261"/>
                  <a:gd name="connsiteX66" fmla="*/ 145789 w 3148171"/>
                  <a:gd name="connsiteY66" fmla="*/ 2179320 h 3147261"/>
                  <a:gd name="connsiteX67" fmla="*/ 130549 w 3148171"/>
                  <a:gd name="connsiteY67" fmla="*/ 2133600 h 3147261"/>
                  <a:gd name="connsiteX68" fmla="*/ 100069 w 3148171"/>
                  <a:gd name="connsiteY68" fmla="*/ 2087880 h 3147261"/>
                  <a:gd name="connsiteX69" fmla="*/ 61969 w 3148171"/>
                  <a:gd name="connsiteY69" fmla="*/ 2026920 h 3147261"/>
                  <a:gd name="connsiteX70" fmla="*/ 54349 w 3148171"/>
                  <a:gd name="connsiteY70" fmla="*/ 2004060 h 3147261"/>
                  <a:gd name="connsiteX71" fmla="*/ 39109 w 3148171"/>
                  <a:gd name="connsiteY71" fmla="*/ 1943100 h 3147261"/>
                  <a:gd name="connsiteX72" fmla="*/ 23869 w 3148171"/>
                  <a:gd name="connsiteY72" fmla="*/ 1897380 h 3147261"/>
                  <a:gd name="connsiteX73" fmla="*/ 1009 w 3148171"/>
                  <a:gd name="connsiteY73" fmla="*/ 1562100 h 3147261"/>
                  <a:gd name="connsiteX74" fmla="*/ 54349 w 3148171"/>
                  <a:gd name="connsiteY74" fmla="*/ 1135380 h 3147261"/>
                  <a:gd name="connsiteX75" fmla="*/ 161029 w 3148171"/>
                  <a:gd name="connsiteY75" fmla="*/ 861060 h 3147261"/>
                  <a:gd name="connsiteX76" fmla="*/ 183889 w 3148171"/>
                  <a:gd name="connsiteY76" fmla="*/ 822960 h 3147261"/>
                  <a:gd name="connsiteX77" fmla="*/ 260089 w 3148171"/>
                  <a:gd name="connsiteY77" fmla="*/ 708660 h 3147261"/>
                  <a:gd name="connsiteX78" fmla="*/ 275329 w 3148171"/>
                  <a:gd name="connsiteY78" fmla="*/ 662940 h 3147261"/>
                  <a:gd name="connsiteX79" fmla="*/ 420109 w 3148171"/>
                  <a:gd name="connsiteY79" fmla="*/ 510540 h 3147261"/>
                  <a:gd name="connsiteX80" fmla="*/ 511549 w 3148171"/>
                  <a:gd name="connsiteY80" fmla="*/ 434340 h 3147261"/>
                  <a:gd name="connsiteX81" fmla="*/ 564889 w 3148171"/>
                  <a:gd name="connsiteY81" fmla="*/ 396240 h 3147261"/>
                  <a:gd name="connsiteX82" fmla="*/ 656329 w 3148171"/>
                  <a:gd name="connsiteY82" fmla="*/ 312420 h 3147261"/>
                  <a:gd name="connsiteX83" fmla="*/ 869689 w 3148171"/>
                  <a:gd name="connsiteY83" fmla="*/ 175260 h 3147261"/>
                  <a:gd name="connsiteX84" fmla="*/ 976369 w 3148171"/>
                  <a:gd name="connsiteY84" fmla="*/ 137160 h 3147261"/>
                  <a:gd name="connsiteX85" fmla="*/ 1105909 w 3148171"/>
                  <a:gd name="connsiteY85" fmla="*/ 76200 h 3147261"/>
                  <a:gd name="connsiteX86" fmla="*/ 1243069 w 3148171"/>
                  <a:gd name="connsiteY86" fmla="*/ 38100 h 3147261"/>
                  <a:gd name="connsiteX87" fmla="*/ 1265929 w 3148171"/>
                  <a:gd name="connsiteY87" fmla="*/ 30480 h 3147261"/>
                  <a:gd name="connsiteX88" fmla="*/ 1387849 w 3148171"/>
                  <a:gd name="connsiteY88" fmla="*/ 15240 h 3147261"/>
                  <a:gd name="connsiteX89" fmla="*/ 1464049 w 3148171"/>
                  <a:gd name="connsiteY89" fmla="*/ 0 h 3147261"/>
                  <a:gd name="connsiteX90" fmla="*/ 1745989 w 3148171"/>
                  <a:gd name="connsiteY90" fmla="*/ 0 h 3147261"/>
                  <a:gd name="connsiteX91" fmla="*/ 2165089 w 3148171"/>
                  <a:gd name="connsiteY91" fmla="*/ 99060 h 3147261"/>
                  <a:gd name="connsiteX92" fmla="*/ 2340349 w 3148171"/>
                  <a:gd name="connsiteY92" fmla="*/ 182880 h 3147261"/>
                  <a:gd name="connsiteX93" fmla="*/ 2370829 w 3148171"/>
                  <a:gd name="connsiteY93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629909 w 3148171"/>
                  <a:gd name="connsiteY5" fmla="*/ 434340 h 3147261"/>
                  <a:gd name="connsiteX6" fmla="*/ 2706109 w 3148171"/>
                  <a:gd name="connsiteY6" fmla="*/ 487680 h 3147261"/>
                  <a:gd name="connsiteX7" fmla="*/ 2728969 w 3148171"/>
                  <a:gd name="connsiteY7" fmla="*/ 510540 h 3147261"/>
                  <a:gd name="connsiteX8" fmla="*/ 2789929 w 3148171"/>
                  <a:gd name="connsiteY8" fmla="*/ 594360 h 3147261"/>
                  <a:gd name="connsiteX9" fmla="*/ 2850889 w 3148171"/>
                  <a:gd name="connsiteY9" fmla="*/ 662940 h 3147261"/>
                  <a:gd name="connsiteX10" fmla="*/ 2873749 w 3148171"/>
                  <a:gd name="connsiteY10" fmla="*/ 701040 h 3147261"/>
                  <a:gd name="connsiteX11" fmla="*/ 2911849 w 3148171"/>
                  <a:gd name="connsiteY11" fmla="*/ 762000 h 3147261"/>
                  <a:gd name="connsiteX12" fmla="*/ 2949949 w 3148171"/>
                  <a:gd name="connsiteY12" fmla="*/ 845820 h 3147261"/>
                  <a:gd name="connsiteX13" fmla="*/ 2957569 w 3148171"/>
                  <a:gd name="connsiteY13" fmla="*/ 868680 h 3147261"/>
                  <a:gd name="connsiteX14" fmla="*/ 2980429 w 3148171"/>
                  <a:gd name="connsiteY14" fmla="*/ 922020 h 3147261"/>
                  <a:gd name="connsiteX15" fmla="*/ 2995669 w 3148171"/>
                  <a:gd name="connsiteY15" fmla="*/ 952500 h 3147261"/>
                  <a:gd name="connsiteX16" fmla="*/ 3010909 w 3148171"/>
                  <a:gd name="connsiteY16" fmla="*/ 998220 h 3147261"/>
                  <a:gd name="connsiteX17" fmla="*/ 3026149 w 3148171"/>
                  <a:gd name="connsiteY17" fmla="*/ 1036320 h 3147261"/>
                  <a:gd name="connsiteX18" fmla="*/ 3033769 w 3148171"/>
                  <a:gd name="connsiteY18" fmla="*/ 1066800 h 3147261"/>
                  <a:gd name="connsiteX19" fmla="*/ 3056629 w 3148171"/>
                  <a:gd name="connsiteY19" fmla="*/ 1104900 h 3147261"/>
                  <a:gd name="connsiteX20" fmla="*/ 3071869 w 3148171"/>
                  <a:gd name="connsiteY20" fmla="*/ 1150620 h 3147261"/>
                  <a:gd name="connsiteX21" fmla="*/ 3087109 w 3148171"/>
                  <a:gd name="connsiteY21" fmla="*/ 1181100 h 3147261"/>
                  <a:gd name="connsiteX22" fmla="*/ 3094729 w 3148171"/>
                  <a:gd name="connsiteY22" fmla="*/ 1226820 h 3147261"/>
                  <a:gd name="connsiteX23" fmla="*/ 3102349 w 3148171"/>
                  <a:gd name="connsiteY23" fmla="*/ 1280160 h 3147261"/>
                  <a:gd name="connsiteX24" fmla="*/ 3117589 w 3148171"/>
                  <a:gd name="connsiteY24" fmla="*/ 1371600 h 3147261"/>
                  <a:gd name="connsiteX25" fmla="*/ 3132829 w 3148171"/>
                  <a:gd name="connsiteY25" fmla="*/ 1417320 h 3147261"/>
                  <a:gd name="connsiteX26" fmla="*/ 3140449 w 3148171"/>
                  <a:gd name="connsiteY26" fmla="*/ 1485900 h 3147261"/>
                  <a:gd name="connsiteX27" fmla="*/ 3148069 w 3148171"/>
                  <a:gd name="connsiteY27" fmla="*/ 1516380 h 3147261"/>
                  <a:gd name="connsiteX28" fmla="*/ 3132829 w 3148171"/>
                  <a:gd name="connsiteY28" fmla="*/ 1691640 h 3147261"/>
                  <a:gd name="connsiteX29" fmla="*/ 3125209 w 3148171"/>
                  <a:gd name="connsiteY29" fmla="*/ 1767840 h 3147261"/>
                  <a:gd name="connsiteX30" fmla="*/ 3109969 w 3148171"/>
                  <a:gd name="connsiteY30" fmla="*/ 1836420 h 3147261"/>
                  <a:gd name="connsiteX31" fmla="*/ 3087109 w 3148171"/>
                  <a:gd name="connsiteY31" fmla="*/ 1905000 h 3147261"/>
                  <a:gd name="connsiteX32" fmla="*/ 3079489 w 3148171"/>
                  <a:gd name="connsiteY32" fmla="*/ 1935480 h 3147261"/>
                  <a:gd name="connsiteX33" fmla="*/ 3071869 w 3148171"/>
                  <a:gd name="connsiteY33" fmla="*/ 1958340 h 3147261"/>
                  <a:gd name="connsiteX34" fmla="*/ 3056629 w 3148171"/>
                  <a:gd name="connsiteY34" fmla="*/ 2019300 h 3147261"/>
                  <a:gd name="connsiteX35" fmla="*/ 3041389 w 3148171"/>
                  <a:gd name="connsiteY35" fmla="*/ 2057400 h 3147261"/>
                  <a:gd name="connsiteX36" fmla="*/ 3033769 w 3148171"/>
                  <a:gd name="connsiteY36" fmla="*/ 2080260 h 3147261"/>
                  <a:gd name="connsiteX37" fmla="*/ 3018529 w 3148171"/>
                  <a:gd name="connsiteY37" fmla="*/ 2118360 h 3147261"/>
                  <a:gd name="connsiteX38" fmla="*/ 2995669 w 3148171"/>
                  <a:gd name="connsiteY38" fmla="*/ 2186940 h 3147261"/>
                  <a:gd name="connsiteX39" fmla="*/ 2988049 w 3148171"/>
                  <a:gd name="connsiteY39" fmla="*/ 2225040 h 3147261"/>
                  <a:gd name="connsiteX40" fmla="*/ 2972809 w 3148171"/>
                  <a:gd name="connsiteY40" fmla="*/ 2270760 h 3147261"/>
                  <a:gd name="connsiteX41" fmla="*/ 2965189 w 3148171"/>
                  <a:gd name="connsiteY41" fmla="*/ 2308860 h 3147261"/>
                  <a:gd name="connsiteX42" fmla="*/ 2949949 w 3148171"/>
                  <a:gd name="connsiteY42" fmla="*/ 2331720 h 3147261"/>
                  <a:gd name="connsiteX43" fmla="*/ 2927089 w 3148171"/>
                  <a:gd name="connsiteY43" fmla="*/ 2385060 h 3147261"/>
                  <a:gd name="connsiteX44" fmla="*/ 2904229 w 3148171"/>
                  <a:gd name="connsiteY44" fmla="*/ 2407920 h 3147261"/>
                  <a:gd name="connsiteX45" fmla="*/ 2858509 w 3148171"/>
                  <a:gd name="connsiteY45" fmla="*/ 2499360 h 3147261"/>
                  <a:gd name="connsiteX46" fmla="*/ 2843269 w 3148171"/>
                  <a:gd name="connsiteY46" fmla="*/ 2529840 h 3147261"/>
                  <a:gd name="connsiteX47" fmla="*/ 2835649 w 3148171"/>
                  <a:gd name="connsiteY47" fmla="*/ 2552700 h 3147261"/>
                  <a:gd name="connsiteX48" fmla="*/ 2759449 w 3148171"/>
                  <a:gd name="connsiteY48" fmla="*/ 2636520 h 3147261"/>
                  <a:gd name="connsiteX49" fmla="*/ 2706109 w 3148171"/>
                  <a:gd name="connsiteY49" fmla="*/ 2667000 h 3147261"/>
                  <a:gd name="connsiteX50" fmla="*/ 2302249 w 3148171"/>
                  <a:gd name="connsiteY50" fmla="*/ 2971800 h 3147261"/>
                  <a:gd name="connsiteX51" fmla="*/ 2195569 w 3148171"/>
                  <a:gd name="connsiteY51" fmla="*/ 3025140 h 3147261"/>
                  <a:gd name="connsiteX52" fmla="*/ 2096509 w 3148171"/>
                  <a:gd name="connsiteY52" fmla="*/ 3055620 h 3147261"/>
                  <a:gd name="connsiteX53" fmla="*/ 1913629 w 3148171"/>
                  <a:gd name="connsiteY53" fmla="*/ 3108960 h 3147261"/>
                  <a:gd name="connsiteX54" fmla="*/ 1799329 w 3148171"/>
                  <a:gd name="connsiteY54" fmla="*/ 3147060 h 3147261"/>
                  <a:gd name="connsiteX55" fmla="*/ 1334509 w 3148171"/>
                  <a:gd name="connsiteY55" fmla="*/ 3108960 h 3147261"/>
                  <a:gd name="connsiteX56" fmla="*/ 793489 w 3148171"/>
                  <a:gd name="connsiteY56" fmla="*/ 2933700 h 3147261"/>
                  <a:gd name="connsiteX57" fmla="*/ 420109 w 3148171"/>
                  <a:gd name="connsiteY57" fmla="*/ 2644140 h 3147261"/>
                  <a:gd name="connsiteX58" fmla="*/ 321049 w 3148171"/>
                  <a:gd name="connsiteY58" fmla="*/ 2484120 h 3147261"/>
                  <a:gd name="connsiteX59" fmla="*/ 298189 w 3148171"/>
                  <a:gd name="connsiteY59" fmla="*/ 2430780 h 3147261"/>
                  <a:gd name="connsiteX60" fmla="*/ 275329 w 3148171"/>
                  <a:gd name="connsiteY60" fmla="*/ 2377440 h 3147261"/>
                  <a:gd name="connsiteX61" fmla="*/ 229609 w 3148171"/>
                  <a:gd name="connsiteY61" fmla="*/ 2316480 h 3147261"/>
                  <a:gd name="connsiteX62" fmla="*/ 206749 w 3148171"/>
                  <a:gd name="connsiteY62" fmla="*/ 2293620 h 3147261"/>
                  <a:gd name="connsiteX63" fmla="*/ 176269 w 3148171"/>
                  <a:gd name="connsiteY63" fmla="*/ 2240280 h 3147261"/>
                  <a:gd name="connsiteX64" fmla="*/ 161029 w 3148171"/>
                  <a:gd name="connsiteY64" fmla="*/ 2202180 h 3147261"/>
                  <a:gd name="connsiteX65" fmla="*/ 145789 w 3148171"/>
                  <a:gd name="connsiteY65" fmla="*/ 2179320 h 3147261"/>
                  <a:gd name="connsiteX66" fmla="*/ 130549 w 3148171"/>
                  <a:gd name="connsiteY66" fmla="*/ 2133600 h 3147261"/>
                  <a:gd name="connsiteX67" fmla="*/ 100069 w 3148171"/>
                  <a:gd name="connsiteY67" fmla="*/ 2087880 h 3147261"/>
                  <a:gd name="connsiteX68" fmla="*/ 61969 w 3148171"/>
                  <a:gd name="connsiteY68" fmla="*/ 2026920 h 3147261"/>
                  <a:gd name="connsiteX69" fmla="*/ 54349 w 3148171"/>
                  <a:gd name="connsiteY69" fmla="*/ 2004060 h 3147261"/>
                  <a:gd name="connsiteX70" fmla="*/ 39109 w 3148171"/>
                  <a:gd name="connsiteY70" fmla="*/ 1943100 h 3147261"/>
                  <a:gd name="connsiteX71" fmla="*/ 23869 w 3148171"/>
                  <a:gd name="connsiteY71" fmla="*/ 1897380 h 3147261"/>
                  <a:gd name="connsiteX72" fmla="*/ 1009 w 3148171"/>
                  <a:gd name="connsiteY72" fmla="*/ 1562100 h 3147261"/>
                  <a:gd name="connsiteX73" fmla="*/ 54349 w 3148171"/>
                  <a:gd name="connsiteY73" fmla="*/ 1135380 h 3147261"/>
                  <a:gd name="connsiteX74" fmla="*/ 161029 w 3148171"/>
                  <a:gd name="connsiteY74" fmla="*/ 861060 h 3147261"/>
                  <a:gd name="connsiteX75" fmla="*/ 183889 w 3148171"/>
                  <a:gd name="connsiteY75" fmla="*/ 822960 h 3147261"/>
                  <a:gd name="connsiteX76" fmla="*/ 260089 w 3148171"/>
                  <a:gd name="connsiteY76" fmla="*/ 708660 h 3147261"/>
                  <a:gd name="connsiteX77" fmla="*/ 275329 w 3148171"/>
                  <a:gd name="connsiteY77" fmla="*/ 662940 h 3147261"/>
                  <a:gd name="connsiteX78" fmla="*/ 420109 w 3148171"/>
                  <a:gd name="connsiteY78" fmla="*/ 510540 h 3147261"/>
                  <a:gd name="connsiteX79" fmla="*/ 511549 w 3148171"/>
                  <a:gd name="connsiteY79" fmla="*/ 434340 h 3147261"/>
                  <a:gd name="connsiteX80" fmla="*/ 564889 w 3148171"/>
                  <a:gd name="connsiteY80" fmla="*/ 396240 h 3147261"/>
                  <a:gd name="connsiteX81" fmla="*/ 656329 w 3148171"/>
                  <a:gd name="connsiteY81" fmla="*/ 312420 h 3147261"/>
                  <a:gd name="connsiteX82" fmla="*/ 869689 w 3148171"/>
                  <a:gd name="connsiteY82" fmla="*/ 175260 h 3147261"/>
                  <a:gd name="connsiteX83" fmla="*/ 976369 w 3148171"/>
                  <a:gd name="connsiteY83" fmla="*/ 137160 h 3147261"/>
                  <a:gd name="connsiteX84" fmla="*/ 1105909 w 3148171"/>
                  <a:gd name="connsiteY84" fmla="*/ 76200 h 3147261"/>
                  <a:gd name="connsiteX85" fmla="*/ 1243069 w 3148171"/>
                  <a:gd name="connsiteY85" fmla="*/ 38100 h 3147261"/>
                  <a:gd name="connsiteX86" fmla="*/ 1265929 w 3148171"/>
                  <a:gd name="connsiteY86" fmla="*/ 30480 h 3147261"/>
                  <a:gd name="connsiteX87" fmla="*/ 1387849 w 3148171"/>
                  <a:gd name="connsiteY87" fmla="*/ 15240 h 3147261"/>
                  <a:gd name="connsiteX88" fmla="*/ 1464049 w 3148171"/>
                  <a:gd name="connsiteY88" fmla="*/ 0 h 3147261"/>
                  <a:gd name="connsiteX89" fmla="*/ 1745989 w 3148171"/>
                  <a:gd name="connsiteY89" fmla="*/ 0 h 3147261"/>
                  <a:gd name="connsiteX90" fmla="*/ 2165089 w 3148171"/>
                  <a:gd name="connsiteY90" fmla="*/ 99060 h 3147261"/>
                  <a:gd name="connsiteX91" fmla="*/ 2340349 w 3148171"/>
                  <a:gd name="connsiteY91" fmla="*/ 182880 h 3147261"/>
                  <a:gd name="connsiteX92" fmla="*/ 2370829 w 3148171"/>
                  <a:gd name="connsiteY92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53709 w 3148171"/>
                  <a:gd name="connsiteY3" fmla="*/ 373380 h 3147261"/>
                  <a:gd name="connsiteX4" fmla="*/ 2629909 w 3148171"/>
                  <a:gd name="connsiteY4" fmla="*/ 434340 h 3147261"/>
                  <a:gd name="connsiteX5" fmla="*/ 2706109 w 3148171"/>
                  <a:gd name="connsiteY5" fmla="*/ 487680 h 3147261"/>
                  <a:gd name="connsiteX6" fmla="*/ 2728969 w 3148171"/>
                  <a:gd name="connsiteY6" fmla="*/ 510540 h 3147261"/>
                  <a:gd name="connsiteX7" fmla="*/ 2789929 w 3148171"/>
                  <a:gd name="connsiteY7" fmla="*/ 594360 h 3147261"/>
                  <a:gd name="connsiteX8" fmla="*/ 2850889 w 3148171"/>
                  <a:gd name="connsiteY8" fmla="*/ 662940 h 3147261"/>
                  <a:gd name="connsiteX9" fmla="*/ 2873749 w 3148171"/>
                  <a:gd name="connsiteY9" fmla="*/ 701040 h 3147261"/>
                  <a:gd name="connsiteX10" fmla="*/ 2911849 w 3148171"/>
                  <a:gd name="connsiteY10" fmla="*/ 762000 h 3147261"/>
                  <a:gd name="connsiteX11" fmla="*/ 2949949 w 3148171"/>
                  <a:gd name="connsiteY11" fmla="*/ 845820 h 3147261"/>
                  <a:gd name="connsiteX12" fmla="*/ 2957569 w 3148171"/>
                  <a:gd name="connsiteY12" fmla="*/ 868680 h 3147261"/>
                  <a:gd name="connsiteX13" fmla="*/ 2980429 w 3148171"/>
                  <a:gd name="connsiteY13" fmla="*/ 922020 h 3147261"/>
                  <a:gd name="connsiteX14" fmla="*/ 2995669 w 3148171"/>
                  <a:gd name="connsiteY14" fmla="*/ 952500 h 3147261"/>
                  <a:gd name="connsiteX15" fmla="*/ 3010909 w 3148171"/>
                  <a:gd name="connsiteY15" fmla="*/ 998220 h 3147261"/>
                  <a:gd name="connsiteX16" fmla="*/ 3026149 w 3148171"/>
                  <a:gd name="connsiteY16" fmla="*/ 1036320 h 3147261"/>
                  <a:gd name="connsiteX17" fmla="*/ 3033769 w 3148171"/>
                  <a:gd name="connsiteY17" fmla="*/ 1066800 h 3147261"/>
                  <a:gd name="connsiteX18" fmla="*/ 3056629 w 3148171"/>
                  <a:gd name="connsiteY18" fmla="*/ 1104900 h 3147261"/>
                  <a:gd name="connsiteX19" fmla="*/ 3071869 w 3148171"/>
                  <a:gd name="connsiteY19" fmla="*/ 1150620 h 3147261"/>
                  <a:gd name="connsiteX20" fmla="*/ 3087109 w 3148171"/>
                  <a:gd name="connsiteY20" fmla="*/ 1181100 h 3147261"/>
                  <a:gd name="connsiteX21" fmla="*/ 3094729 w 3148171"/>
                  <a:gd name="connsiteY21" fmla="*/ 1226820 h 3147261"/>
                  <a:gd name="connsiteX22" fmla="*/ 3102349 w 3148171"/>
                  <a:gd name="connsiteY22" fmla="*/ 1280160 h 3147261"/>
                  <a:gd name="connsiteX23" fmla="*/ 3117589 w 3148171"/>
                  <a:gd name="connsiteY23" fmla="*/ 1371600 h 3147261"/>
                  <a:gd name="connsiteX24" fmla="*/ 3132829 w 3148171"/>
                  <a:gd name="connsiteY24" fmla="*/ 1417320 h 3147261"/>
                  <a:gd name="connsiteX25" fmla="*/ 3140449 w 3148171"/>
                  <a:gd name="connsiteY25" fmla="*/ 1485900 h 3147261"/>
                  <a:gd name="connsiteX26" fmla="*/ 3148069 w 3148171"/>
                  <a:gd name="connsiteY26" fmla="*/ 1516380 h 3147261"/>
                  <a:gd name="connsiteX27" fmla="*/ 3132829 w 3148171"/>
                  <a:gd name="connsiteY27" fmla="*/ 1691640 h 3147261"/>
                  <a:gd name="connsiteX28" fmla="*/ 3125209 w 3148171"/>
                  <a:gd name="connsiteY28" fmla="*/ 1767840 h 3147261"/>
                  <a:gd name="connsiteX29" fmla="*/ 3109969 w 3148171"/>
                  <a:gd name="connsiteY29" fmla="*/ 1836420 h 3147261"/>
                  <a:gd name="connsiteX30" fmla="*/ 3087109 w 3148171"/>
                  <a:gd name="connsiteY30" fmla="*/ 1905000 h 3147261"/>
                  <a:gd name="connsiteX31" fmla="*/ 3079489 w 3148171"/>
                  <a:gd name="connsiteY31" fmla="*/ 1935480 h 3147261"/>
                  <a:gd name="connsiteX32" fmla="*/ 3071869 w 3148171"/>
                  <a:gd name="connsiteY32" fmla="*/ 1958340 h 3147261"/>
                  <a:gd name="connsiteX33" fmla="*/ 3056629 w 3148171"/>
                  <a:gd name="connsiteY33" fmla="*/ 2019300 h 3147261"/>
                  <a:gd name="connsiteX34" fmla="*/ 3041389 w 3148171"/>
                  <a:gd name="connsiteY34" fmla="*/ 2057400 h 3147261"/>
                  <a:gd name="connsiteX35" fmla="*/ 3033769 w 3148171"/>
                  <a:gd name="connsiteY35" fmla="*/ 2080260 h 3147261"/>
                  <a:gd name="connsiteX36" fmla="*/ 3018529 w 3148171"/>
                  <a:gd name="connsiteY36" fmla="*/ 2118360 h 3147261"/>
                  <a:gd name="connsiteX37" fmla="*/ 2995669 w 3148171"/>
                  <a:gd name="connsiteY37" fmla="*/ 2186940 h 3147261"/>
                  <a:gd name="connsiteX38" fmla="*/ 2988049 w 3148171"/>
                  <a:gd name="connsiteY38" fmla="*/ 2225040 h 3147261"/>
                  <a:gd name="connsiteX39" fmla="*/ 2972809 w 3148171"/>
                  <a:gd name="connsiteY39" fmla="*/ 2270760 h 3147261"/>
                  <a:gd name="connsiteX40" fmla="*/ 2965189 w 3148171"/>
                  <a:gd name="connsiteY40" fmla="*/ 2308860 h 3147261"/>
                  <a:gd name="connsiteX41" fmla="*/ 2949949 w 3148171"/>
                  <a:gd name="connsiteY41" fmla="*/ 2331720 h 3147261"/>
                  <a:gd name="connsiteX42" fmla="*/ 2927089 w 3148171"/>
                  <a:gd name="connsiteY42" fmla="*/ 2385060 h 3147261"/>
                  <a:gd name="connsiteX43" fmla="*/ 2904229 w 3148171"/>
                  <a:gd name="connsiteY43" fmla="*/ 2407920 h 3147261"/>
                  <a:gd name="connsiteX44" fmla="*/ 2858509 w 3148171"/>
                  <a:gd name="connsiteY44" fmla="*/ 2499360 h 3147261"/>
                  <a:gd name="connsiteX45" fmla="*/ 2843269 w 3148171"/>
                  <a:gd name="connsiteY45" fmla="*/ 2529840 h 3147261"/>
                  <a:gd name="connsiteX46" fmla="*/ 2835649 w 3148171"/>
                  <a:gd name="connsiteY46" fmla="*/ 2552700 h 3147261"/>
                  <a:gd name="connsiteX47" fmla="*/ 2759449 w 3148171"/>
                  <a:gd name="connsiteY47" fmla="*/ 2636520 h 3147261"/>
                  <a:gd name="connsiteX48" fmla="*/ 2706109 w 3148171"/>
                  <a:gd name="connsiteY48" fmla="*/ 2667000 h 3147261"/>
                  <a:gd name="connsiteX49" fmla="*/ 2302249 w 3148171"/>
                  <a:gd name="connsiteY49" fmla="*/ 2971800 h 3147261"/>
                  <a:gd name="connsiteX50" fmla="*/ 2195569 w 3148171"/>
                  <a:gd name="connsiteY50" fmla="*/ 3025140 h 3147261"/>
                  <a:gd name="connsiteX51" fmla="*/ 2096509 w 3148171"/>
                  <a:gd name="connsiteY51" fmla="*/ 3055620 h 3147261"/>
                  <a:gd name="connsiteX52" fmla="*/ 1913629 w 3148171"/>
                  <a:gd name="connsiteY52" fmla="*/ 3108960 h 3147261"/>
                  <a:gd name="connsiteX53" fmla="*/ 1799329 w 3148171"/>
                  <a:gd name="connsiteY53" fmla="*/ 3147060 h 3147261"/>
                  <a:gd name="connsiteX54" fmla="*/ 1334509 w 3148171"/>
                  <a:gd name="connsiteY54" fmla="*/ 3108960 h 3147261"/>
                  <a:gd name="connsiteX55" fmla="*/ 793489 w 3148171"/>
                  <a:gd name="connsiteY55" fmla="*/ 2933700 h 3147261"/>
                  <a:gd name="connsiteX56" fmla="*/ 420109 w 3148171"/>
                  <a:gd name="connsiteY56" fmla="*/ 2644140 h 3147261"/>
                  <a:gd name="connsiteX57" fmla="*/ 321049 w 3148171"/>
                  <a:gd name="connsiteY57" fmla="*/ 2484120 h 3147261"/>
                  <a:gd name="connsiteX58" fmla="*/ 298189 w 3148171"/>
                  <a:gd name="connsiteY58" fmla="*/ 2430780 h 3147261"/>
                  <a:gd name="connsiteX59" fmla="*/ 275329 w 3148171"/>
                  <a:gd name="connsiteY59" fmla="*/ 2377440 h 3147261"/>
                  <a:gd name="connsiteX60" fmla="*/ 229609 w 3148171"/>
                  <a:gd name="connsiteY60" fmla="*/ 2316480 h 3147261"/>
                  <a:gd name="connsiteX61" fmla="*/ 206749 w 3148171"/>
                  <a:gd name="connsiteY61" fmla="*/ 2293620 h 3147261"/>
                  <a:gd name="connsiteX62" fmla="*/ 176269 w 3148171"/>
                  <a:gd name="connsiteY62" fmla="*/ 2240280 h 3147261"/>
                  <a:gd name="connsiteX63" fmla="*/ 161029 w 3148171"/>
                  <a:gd name="connsiteY63" fmla="*/ 2202180 h 3147261"/>
                  <a:gd name="connsiteX64" fmla="*/ 145789 w 3148171"/>
                  <a:gd name="connsiteY64" fmla="*/ 2179320 h 3147261"/>
                  <a:gd name="connsiteX65" fmla="*/ 130549 w 3148171"/>
                  <a:gd name="connsiteY65" fmla="*/ 2133600 h 3147261"/>
                  <a:gd name="connsiteX66" fmla="*/ 100069 w 3148171"/>
                  <a:gd name="connsiteY66" fmla="*/ 2087880 h 3147261"/>
                  <a:gd name="connsiteX67" fmla="*/ 61969 w 3148171"/>
                  <a:gd name="connsiteY67" fmla="*/ 2026920 h 3147261"/>
                  <a:gd name="connsiteX68" fmla="*/ 54349 w 3148171"/>
                  <a:gd name="connsiteY68" fmla="*/ 2004060 h 3147261"/>
                  <a:gd name="connsiteX69" fmla="*/ 39109 w 3148171"/>
                  <a:gd name="connsiteY69" fmla="*/ 1943100 h 3147261"/>
                  <a:gd name="connsiteX70" fmla="*/ 23869 w 3148171"/>
                  <a:gd name="connsiteY70" fmla="*/ 1897380 h 3147261"/>
                  <a:gd name="connsiteX71" fmla="*/ 1009 w 3148171"/>
                  <a:gd name="connsiteY71" fmla="*/ 1562100 h 3147261"/>
                  <a:gd name="connsiteX72" fmla="*/ 54349 w 3148171"/>
                  <a:gd name="connsiteY72" fmla="*/ 1135380 h 3147261"/>
                  <a:gd name="connsiteX73" fmla="*/ 161029 w 3148171"/>
                  <a:gd name="connsiteY73" fmla="*/ 861060 h 3147261"/>
                  <a:gd name="connsiteX74" fmla="*/ 183889 w 3148171"/>
                  <a:gd name="connsiteY74" fmla="*/ 822960 h 3147261"/>
                  <a:gd name="connsiteX75" fmla="*/ 260089 w 3148171"/>
                  <a:gd name="connsiteY75" fmla="*/ 708660 h 3147261"/>
                  <a:gd name="connsiteX76" fmla="*/ 275329 w 3148171"/>
                  <a:gd name="connsiteY76" fmla="*/ 662940 h 3147261"/>
                  <a:gd name="connsiteX77" fmla="*/ 420109 w 3148171"/>
                  <a:gd name="connsiteY77" fmla="*/ 510540 h 3147261"/>
                  <a:gd name="connsiteX78" fmla="*/ 511549 w 3148171"/>
                  <a:gd name="connsiteY78" fmla="*/ 434340 h 3147261"/>
                  <a:gd name="connsiteX79" fmla="*/ 564889 w 3148171"/>
                  <a:gd name="connsiteY79" fmla="*/ 396240 h 3147261"/>
                  <a:gd name="connsiteX80" fmla="*/ 656329 w 3148171"/>
                  <a:gd name="connsiteY80" fmla="*/ 312420 h 3147261"/>
                  <a:gd name="connsiteX81" fmla="*/ 869689 w 3148171"/>
                  <a:gd name="connsiteY81" fmla="*/ 175260 h 3147261"/>
                  <a:gd name="connsiteX82" fmla="*/ 976369 w 3148171"/>
                  <a:gd name="connsiteY82" fmla="*/ 137160 h 3147261"/>
                  <a:gd name="connsiteX83" fmla="*/ 1105909 w 3148171"/>
                  <a:gd name="connsiteY83" fmla="*/ 76200 h 3147261"/>
                  <a:gd name="connsiteX84" fmla="*/ 1243069 w 3148171"/>
                  <a:gd name="connsiteY84" fmla="*/ 38100 h 3147261"/>
                  <a:gd name="connsiteX85" fmla="*/ 1265929 w 3148171"/>
                  <a:gd name="connsiteY85" fmla="*/ 30480 h 3147261"/>
                  <a:gd name="connsiteX86" fmla="*/ 1387849 w 3148171"/>
                  <a:gd name="connsiteY86" fmla="*/ 15240 h 3147261"/>
                  <a:gd name="connsiteX87" fmla="*/ 1464049 w 3148171"/>
                  <a:gd name="connsiteY87" fmla="*/ 0 h 3147261"/>
                  <a:gd name="connsiteX88" fmla="*/ 1745989 w 3148171"/>
                  <a:gd name="connsiteY88" fmla="*/ 0 h 3147261"/>
                  <a:gd name="connsiteX89" fmla="*/ 2165089 w 3148171"/>
                  <a:gd name="connsiteY89" fmla="*/ 99060 h 3147261"/>
                  <a:gd name="connsiteX90" fmla="*/ 2340349 w 3148171"/>
                  <a:gd name="connsiteY90" fmla="*/ 182880 h 3147261"/>
                  <a:gd name="connsiteX91" fmla="*/ 2370829 w 3148171"/>
                  <a:gd name="connsiteY91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629909 w 3148171"/>
                  <a:gd name="connsiteY3" fmla="*/ 434340 h 3147261"/>
                  <a:gd name="connsiteX4" fmla="*/ 2706109 w 3148171"/>
                  <a:gd name="connsiteY4" fmla="*/ 487680 h 3147261"/>
                  <a:gd name="connsiteX5" fmla="*/ 2728969 w 3148171"/>
                  <a:gd name="connsiteY5" fmla="*/ 510540 h 3147261"/>
                  <a:gd name="connsiteX6" fmla="*/ 2789929 w 3148171"/>
                  <a:gd name="connsiteY6" fmla="*/ 594360 h 3147261"/>
                  <a:gd name="connsiteX7" fmla="*/ 2850889 w 3148171"/>
                  <a:gd name="connsiteY7" fmla="*/ 662940 h 3147261"/>
                  <a:gd name="connsiteX8" fmla="*/ 2873749 w 3148171"/>
                  <a:gd name="connsiteY8" fmla="*/ 701040 h 3147261"/>
                  <a:gd name="connsiteX9" fmla="*/ 2911849 w 3148171"/>
                  <a:gd name="connsiteY9" fmla="*/ 762000 h 3147261"/>
                  <a:gd name="connsiteX10" fmla="*/ 2949949 w 3148171"/>
                  <a:gd name="connsiteY10" fmla="*/ 845820 h 3147261"/>
                  <a:gd name="connsiteX11" fmla="*/ 2957569 w 3148171"/>
                  <a:gd name="connsiteY11" fmla="*/ 868680 h 3147261"/>
                  <a:gd name="connsiteX12" fmla="*/ 2980429 w 3148171"/>
                  <a:gd name="connsiteY12" fmla="*/ 922020 h 3147261"/>
                  <a:gd name="connsiteX13" fmla="*/ 2995669 w 3148171"/>
                  <a:gd name="connsiteY13" fmla="*/ 952500 h 3147261"/>
                  <a:gd name="connsiteX14" fmla="*/ 3010909 w 3148171"/>
                  <a:gd name="connsiteY14" fmla="*/ 998220 h 3147261"/>
                  <a:gd name="connsiteX15" fmla="*/ 3026149 w 3148171"/>
                  <a:gd name="connsiteY15" fmla="*/ 1036320 h 3147261"/>
                  <a:gd name="connsiteX16" fmla="*/ 3033769 w 3148171"/>
                  <a:gd name="connsiteY16" fmla="*/ 1066800 h 3147261"/>
                  <a:gd name="connsiteX17" fmla="*/ 3056629 w 3148171"/>
                  <a:gd name="connsiteY17" fmla="*/ 1104900 h 3147261"/>
                  <a:gd name="connsiteX18" fmla="*/ 3071869 w 3148171"/>
                  <a:gd name="connsiteY18" fmla="*/ 1150620 h 3147261"/>
                  <a:gd name="connsiteX19" fmla="*/ 3087109 w 3148171"/>
                  <a:gd name="connsiteY19" fmla="*/ 1181100 h 3147261"/>
                  <a:gd name="connsiteX20" fmla="*/ 3094729 w 3148171"/>
                  <a:gd name="connsiteY20" fmla="*/ 1226820 h 3147261"/>
                  <a:gd name="connsiteX21" fmla="*/ 3102349 w 3148171"/>
                  <a:gd name="connsiteY21" fmla="*/ 1280160 h 3147261"/>
                  <a:gd name="connsiteX22" fmla="*/ 3117589 w 3148171"/>
                  <a:gd name="connsiteY22" fmla="*/ 1371600 h 3147261"/>
                  <a:gd name="connsiteX23" fmla="*/ 3132829 w 3148171"/>
                  <a:gd name="connsiteY23" fmla="*/ 1417320 h 3147261"/>
                  <a:gd name="connsiteX24" fmla="*/ 3140449 w 3148171"/>
                  <a:gd name="connsiteY24" fmla="*/ 1485900 h 3147261"/>
                  <a:gd name="connsiteX25" fmla="*/ 3148069 w 3148171"/>
                  <a:gd name="connsiteY25" fmla="*/ 1516380 h 3147261"/>
                  <a:gd name="connsiteX26" fmla="*/ 3132829 w 3148171"/>
                  <a:gd name="connsiteY26" fmla="*/ 1691640 h 3147261"/>
                  <a:gd name="connsiteX27" fmla="*/ 3125209 w 3148171"/>
                  <a:gd name="connsiteY27" fmla="*/ 1767840 h 3147261"/>
                  <a:gd name="connsiteX28" fmla="*/ 3109969 w 3148171"/>
                  <a:gd name="connsiteY28" fmla="*/ 1836420 h 3147261"/>
                  <a:gd name="connsiteX29" fmla="*/ 3087109 w 3148171"/>
                  <a:gd name="connsiteY29" fmla="*/ 1905000 h 3147261"/>
                  <a:gd name="connsiteX30" fmla="*/ 3079489 w 3148171"/>
                  <a:gd name="connsiteY30" fmla="*/ 1935480 h 3147261"/>
                  <a:gd name="connsiteX31" fmla="*/ 3071869 w 3148171"/>
                  <a:gd name="connsiteY31" fmla="*/ 1958340 h 3147261"/>
                  <a:gd name="connsiteX32" fmla="*/ 3056629 w 3148171"/>
                  <a:gd name="connsiteY32" fmla="*/ 2019300 h 3147261"/>
                  <a:gd name="connsiteX33" fmla="*/ 3041389 w 3148171"/>
                  <a:gd name="connsiteY33" fmla="*/ 2057400 h 3147261"/>
                  <a:gd name="connsiteX34" fmla="*/ 3033769 w 3148171"/>
                  <a:gd name="connsiteY34" fmla="*/ 2080260 h 3147261"/>
                  <a:gd name="connsiteX35" fmla="*/ 3018529 w 3148171"/>
                  <a:gd name="connsiteY35" fmla="*/ 2118360 h 3147261"/>
                  <a:gd name="connsiteX36" fmla="*/ 2995669 w 3148171"/>
                  <a:gd name="connsiteY36" fmla="*/ 2186940 h 3147261"/>
                  <a:gd name="connsiteX37" fmla="*/ 2988049 w 3148171"/>
                  <a:gd name="connsiteY37" fmla="*/ 2225040 h 3147261"/>
                  <a:gd name="connsiteX38" fmla="*/ 2972809 w 3148171"/>
                  <a:gd name="connsiteY38" fmla="*/ 2270760 h 3147261"/>
                  <a:gd name="connsiteX39" fmla="*/ 2965189 w 3148171"/>
                  <a:gd name="connsiteY39" fmla="*/ 2308860 h 3147261"/>
                  <a:gd name="connsiteX40" fmla="*/ 2949949 w 3148171"/>
                  <a:gd name="connsiteY40" fmla="*/ 2331720 h 3147261"/>
                  <a:gd name="connsiteX41" fmla="*/ 2927089 w 3148171"/>
                  <a:gd name="connsiteY41" fmla="*/ 2385060 h 3147261"/>
                  <a:gd name="connsiteX42" fmla="*/ 2904229 w 3148171"/>
                  <a:gd name="connsiteY42" fmla="*/ 2407920 h 3147261"/>
                  <a:gd name="connsiteX43" fmla="*/ 2858509 w 3148171"/>
                  <a:gd name="connsiteY43" fmla="*/ 2499360 h 3147261"/>
                  <a:gd name="connsiteX44" fmla="*/ 2843269 w 3148171"/>
                  <a:gd name="connsiteY44" fmla="*/ 2529840 h 3147261"/>
                  <a:gd name="connsiteX45" fmla="*/ 2835649 w 3148171"/>
                  <a:gd name="connsiteY45" fmla="*/ 2552700 h 3147261"/>
                  <a:gd name="connsiteX46" fmla="*/ 2759449 w 3148171"/>
                  <a:gd name="connsiteY46" fmla="*/ 2636520 h 3147261"/>
                  <a:gd name="connsiteX47" fmla="*/ 2706109 w 3148171"/>
                  <a:gd name="connsiteY47" fmla="*/ 2667000 h 3147261"/>
                  <a:gd name="connsiteX48" fmla="*/ 2302249 w 3148171"/>
                  <a:gd name="connsiteY48" fmla="*/ 2971800 h 3147261"/>
                  <a:gd name="connsiteX49" fmla="*/ 2195569 w 3148171"/>
                  <a:gd name="connsiteY49" fmla="*/ 3025140 h 3147261"/>
                  <a:gd name="connsiteX50" fmla="*/ 2096509 w 3148171"/>
                  <a:gd name="connsiteY50" fmla="*/ 3055620 h 3147261"/>
                  <a:gd name="connsiteX51" fmla="*/ 1913629 w 3148171"/>
                  <a:gd name="connsiteY51" fmla="*/ 3108960 h 3147261"/>
                  <a:gd name="connsiteX52" fmla="*/ 1799329 w 3148171"/>
                  <a:gd name="connsiteY52" fmla="*/ 3147060 h 3147261"/>
                  <a:gd name="connsiteX53" fmla="*/ 1334509 w 3148171"/>
                  <a:gd name="connsiteY53" fmla="*/ 3108960 h 3147261"/>
                  <a:gd name="connsiteX54" fmla="*/ 793489 w 3148171"/>
                  <a:gd name="connsiteY54" fmla="*/ 2933700 h 3147261"/>
                  <a:gd name="connsiteX55" fmla="*/ 420109 w 3148171"/>
                  <a:gd name="connsiteY55" fmla="*/ 2644140 h 3147261"/>
                  <a:gd name="connsiteX56" fmla="*/ 321049 w 3148171"/>
                  <a:gd name="connsiteY56" fmla="*/ 2484120 h 3147261"/>
                  <a:gd name="connsiteX57" fmla="*/ 298189 w 3148171"/>
                  <a:gd name="connsiteY57" fmla="*/ 2430780 h 3147261"/>
                  <a:gd name="connsiteX58" fmla="*/ 275329 w 3148171"/>
                  <a:gd name="connsiteY58" fmla="*/ 2377440 h 3147261"/>
                  <a:gd name="connsiteX59" fmla="*/ 229609 w 3148171"/>
                  <a:gd name="connsiteY59" fmla="*/ 2316480 h 3147261"/>
                  <a:gd name="connsiteX60" fmla="*/ 206749 w 3148171"/>
                  <a:gd name="connsiteY60" fmla="*/ 2293620 h 3147261"/>
                  <a:gd name="connsiteX61" fmla="*/ 176269 w 3148171"/>
                  <a:gd name="connsiteY61" fmla="*/ 2240280 h 3147261"/>
                  <a:gd name="connsiteX62" fmla="*/ 161029 w 3148171"/>
                  <a:gd name="connsiteY62" fmla="*/ 2202180 h 3147261"/>
                  <a:gd name="connsiteX63" fmla="*/ 145789 w 3148171"/>
                  <a:gd name="connsiteY63" fmla="*/ 2179320 h 3147261"/>
                  <a:gd name="connsiteX64" fmla="*/ 130549 w 3148171"/>
                  <a:gd name="connsiteY64" fmla="*/ 2133600 h 3147261"/>
                  <a:gd name="connsiteX65" fmla="*/ 100069 w 3148171"/>
                  <a:gd name="connsiteY65" fmla="*/ 2087880 h 3147261"/>
                  <a:gd name="connsiteX66" fmla="*/ 61969 w 3148171"/>
                  <a:gd name="connsiteY66" fmla="*/ 2026920 h 3147261"/>
                  <a:gd name="connsiteX67" fmla="*/ 54349 w 3148171"/>
                  <a:gd name="connsiteY67" fmla="*/ 2004060 h 3147261"/>
                  <a:gd name="connsiteX68" fmla="*/ 39109 w 3148171"/>
                  <a:gd name="connsiteY68" fmla="*/ 1943100 h 3147261"/>
                  <a:gd name="connsiteX69" fmla="*/ 23869 w 3148171"/>
                  <a:gd name="connsiteY69" fmla="*/ 1897380 h 3147261"/>
                  <a:gd name="connsiteX70" fmla="*/ 1009 w 3148171"/>
                  <a:gd name="connsiteY70" fmla="*/ 1562100 h 3147261"/>
                  <a:gd name="connsiteX71" fmla="*/ 54349 w 3148171"/>
                  <a:gd name="connsiteY71" fmla="*/ 1135380 h 3147261"/>
                  <a:gd name="connsiteX72" fmla="*/ 161029 w 3148171"/>
                  <a:gd name="connsiteY72" fmla="*/ 861060 h 3147261"/>
                  <a:gd name="connsiteX73" fmla="*/ 183889 w 3148171"/>
                  <a:gd name="connsiteY73" fmla="*/ 822960 h 3147261"/>
                  <a:gd name="connsiteX74" fmla="*/ 260089 w 3148171"/>
                  <a:gd name="connsiteY74" fmla="*/ 708660 h 3147261"/>
                  <a:gd name="connsiteX75" fmla="*/ 275329 w 3148171"/>
                  <a:gd name="connsiteY75" fmla="*/ 662940 h 3147261"/>
                  <a:gd name="connsiteX76" fmla="*/ 420109 w 3148171"/>
                  <a:gd name="connsiteY76" fmla="*/ 510540 h 3147261"/>
                  <a:gd name="connsiteX77" fmla="*/ 511549 w 3148171"/>
                  <a:gd name="connsiteY77" fmla="*/ 434340 h 3147261"/>
                  <a:gd name="connsiteX78" fmla="*/ 564889 w 3148171"/>
                  <a:gd name="connsiteY78" fmla="*/ 396240 h 3147261"/>
                  <a:gd name="connsiteX79" fmla="*/ 656329 w 3148171"/>
                  <a:gd name="connsiteY79" fmla="*/ 312420 h 3147261"/>
                  <a:gd name="connsiteX80" fmla="*/ 869689 w 3148171"/>
                  <a:gd name="connsiteY80" fmla="*/ 175260 h 3147261"/>
                  <a:gd name="connsiteX81" fmla="*/ 976369 w 3148171"/>
                  <a:gd name="connsiteY81" fmla="*/ 137160 h 3147261"/>
                  <a:gd name="connsiteX82" fmla="*/ 1105909 w 3148171"/>
                  <a:gd name="connsiteY82" fmla="*/ 76200 h 3147261"/>
                  <a:gd name="connsiteX83" fmla="*/ 1243069 w 3148171"/>
                  <a:gd name="connsiteY83" fmla="*/ 38100 h 3147261"/>
                  <a:gd name="connsiteX84" fmla="*/ 1265929 w 3148171"/>
                  <a:gd name="connsiteY84" fmla="*/ 30480 h 3147261"/>
                  <a:gd name="connsiteX85" fmla="*/ 1387849 w 3148171"/>
                  <a:gd name="connsiteY85" fmla="*/ 15240 h 3147261"/>
                  <a:gd name="connsiteX86" fmla="*/ 1464049 w 3148171"/>
                  <a:gd name="connsiteY86" fmla="*/ 0 h 3147261"/>
                  <a:gd name="connsiteX87" fmla="*/ 1745989 w 3148171"/>
                  <a:gd name="connsiteY87" fmla="*/ 0 h 3147261"/>
                  <a:gd name="connsiteX88" fmla="*/ 2165089 w 3148171"/>
                  <a:gd name="connsiteY88" fmla="*/ 99060 h 3147261"/>
                  <a:gd name="connsiteX89" fmla="*/ 2340349 w 3148171"/>
                  <a:gd name="connsiteY89" fmla="*/ 182880 h 3147261"/>
                  <a:gd name="connsiteX90" fmla="*/ 2370829 w 3148171"/>
                  <a:gd name="connsiteY90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29909 w 3148171"/>
                  <a:gd name="connsiteY2" fmla="*/ 43434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56629 w 3148171"/>
                  <a:gd name="connsiteY16" fmla="*/ 1104900 h 3147261"/>
                  <a:gd name="connsiteX17" fmla="*/ 3071869 w 3148171"/>
                  <a:gd name="connsiteY17" fmla="*/ 1150620 h 3147261"/>
                  <a:gd name="connsiteX18" fmla="*/ 3087109 w 3148171"/>
                  <a:gd name="connsiteY18" fmla="*/ 1181100 h 3147261"/>
                  <a:gd name="connsiteX19" fmla="*/ 3094729 w 3148171"/>
                  <a:gd name="connsiteY19" fmla="*/ 1226820 h 3147261"/>
                  <a:gd name="connsiteX20" fmla="*/ 3102349 w 3148171"/>
                  <a:gd name="connsiteY20" fmla="*/ 1280160 h 3147261"/>
                  <a:gd name="connsiteX21" fmla="*/ 3117589 w 3148171"/>
                  <a:gd name="connsiteY21" fmla="*/ 1371600 h 3147261"/>
                  <a:gd name="connsiteX22" fmla="*/ 3132829 w 3148171"/>
                  <a:gd name="connsiteY22" fmla="*/ 1417320 h 3147261"/>
                  <a:gd name="connsiteX23" fmla="*/ 3140449 w 3148171"/>
                  <a:gd name="connsiteY23" fmla="*/ 1485900 h 3147261"/>
                  <a:gd name="connsiteX24" fmla="*/ 3148069 w 3148171"/>
                  <a:gd name="connsiteY24" fmla="*/ 1516380 h 3147261"/>
                  <a:gd name="connsiteX25" fmla="*/ 3132829 w 3148171"/>
                  <a:gd name="connsiteY25" fmla="*/ 1691640 h 3147261"/>
                  <a:gd name="connsiteX26" fmla="*/ 3125209 w 3148171"/>
                  <a:gd name="connsiteY26" fmla="*/ 1767840 h 3147261"/>
                  <a:gd name="connsiteX27" fmla="*/ 3109969 w 3148171"/>
                  <a:gd name="connsiteY27" fmla="*/ 1836420 h 3147261"/>
                  <a:gd name="connsiteX28" fmla="*/ 3087109 w 3148171"/>
                  <a:gd name="connsiteY28" fmla="*/ 1905000 h 3147261"/>
                  <a:gd name="connsiteX29" fmla="*/ 3079489 w 3148171"/>
                  <a:gd name="connsiteY29" fmla="*/ 1935480 h 3147261"/>
                  <a:gd name="connsiteX30" fmla="*/ 3071869 w 3148171"/>
                  <a:gd name="connsiteY30" fmla="*/ 1958340 h 3147261"/>
                  <a:gd name="connsiteX31" fmla="*/ 3056629 w 3148171"/>
                  <a:gd name="connsiteY31" fmla="*/ 2019300 h 3147261"/>
                  <a:gd name="connsiteX32" fmla="*/ 3041389 w 3148171"/>
                  <a:gd name="connsiteY32" fmla="*/ 2057400 h 3147261"/>
                  <a:gd name="connsiteX33" fmla="*/ 3033769 w 3148171"/>
                  <a:gd name="connsiteY33" fmla="*/ 2080260 h 3147261"/>
                  <a:gd name="connsiteX34" fmla="*/ 3018529 w 3148171"/>
                  <a:gd name="connsiteY34" fmla="*/ 2118360 h 3147261"/>
                  <a:gd name="connsiteX35" fmla="*/ 2995669 w 3148171"/>
                  <a:gd name="connsiteY35" fmla="*/ 2186940 h 3147261"/>
                  <a:gd name="connsiteX36" fmla="*/ 2988049 w 3148171"/>
                  <a:gd name="connsiteY36" fmla="*/ 2225040 h 3147261"/>
                  <a:gd name="connsiteX37" fmla="*/ 2972809 w 3148171"/>
                  <a:gd name="connsiteY37" fmla="*/ 2270760 h 3147261"/>
                  <a:gd name="connsiteX38" fmla="*/ 2965189 w 3148171"/>
                  <a:gd name="connsiteY38" fmla="*/ 2308860 h 3147261"/>
                  <a:gd name="connsiteX39" fmla="*/ 2949949 w 3148171"/>
                  <a:gd name="connsiteY39" fmla="*/ 2331720 h 3147261"/>
                  <a:gd name="connsiteX40" fmla="*/ 2927089 w 3148171"/>
                  <a:gd name="connsiteY40" fmla="*/ 2385060 h 3147261"/>
                  <a:gd name="connsiteX41" fmla="*/ 2904229 w 3148171"/>
                  <a:gd name="connsiteY41" fmla="*/ 2407920 h 3147261"/>
                  <a:gd name="connsiteX42" fmla="*/ 2858509 w 3148171"/>
                  <a:gd name="connsiteY42" fmla="*/ 2499360 h 3147261"/>
                  <a:gd name="connsiteX43" fmla="*/ 2843269 w 3148171"/>
                  <a:gd name="connsiteY43" fmla="*/ 2529840 h 3147261"/>
                  <a:gd name="connsiteX44" fmla="*/ 2835649 w 3148171"/>
                  <a:gd name="connsiteY44" fmla="*/ 2552700 h 3147261"/>
                  <a:gd name="connsiteX45" fmla="*/ 2759449 w 3148171"/>
                  <a:gd name="connsiteY45" fmla="*/ 2636520 h 3147261"/>
                  <a:gd name="connsiteX46" fmla="*/ 2706109 w 3148171"/>
                  <a:gd name="connsiteY46" fmla="*/ 2667000 h 3147261"/>
                  <a:gd name="connsiteX47" fmla="*/ 2302249 w 3148171"/>
                  <a:gd name="connsiteY47" fmla="*/ 2971800 h 3147261"/>
                  <a:gd name="connsiteX48" fmla="*/ 2195569 w 3148171"/>
                  <a:gd name="connsiteY48" fmla="*/ 3025140 h 3147261"/>
                  <a:gd name="connsiteX49" fmla="*/ 2096509 w 3148171"/>
                  <a:gd name="connsiteY49" fmla="*/ 3055620 h 3147261"/>
                  <a:gd name="connsiteX50" fmla="*/ 1913629 w 3148171"/>
                  <a:gd name="connsiteY50" fmla="*/ 3108960 h 3147261"/>
                  <a:gd name="connsiteX51" fmla="*/ 1799329 w 3148171"/>
                  <a:gd name="connsiteY51" fmla="*/ 3147060 h 3147261"/>
                  <a:gd name="connsiteX52" fmla="*/ 1334509 w 3148171"/>
                  <a:gd name="connsiteY52" fmla="*/ 3108960 h 3147261"/>
                  <a:gd name="connsiteX53" fmla="*/ 793489 w 3148171"/>
                  <a:gd name="connsiteY53" fmla="*/ 2933700 h 3147261"/>
                  <a:gd name="connsiteX54" fmla="*/ 420109 w 3148171"/>
                  <a:gd name="connsiteY54" fmla="*/ 2644140 h 3147261"/>
                  <a:gd name="connsiteX55" fmla="*/ 321049 w 3148171"/>
                  <a:gd name="connsiteY55" fmla="*/ 2484120 h 3147261"/>
                  <a:gd name="connsiteX56" fmla="*/ 298189 w 3148171"/>
                  <a:gd name="connsiteY56" fmla="*/ 2430780 h 3147261"/>
                  <a:gd name="connsiteX57" fmla="*/ 275329 w 3148171"/>
                  <a:gd name="connsiteY57" fmla="*/ 2377440 h 3147261"/>
                  <a:gd name="connsiteX58" fmla="*/ 229609 w 3148171"/>
                  <a:gd name="connsiteY58" fmla="*/ 2316480 h 3147261"/>
                  <a:gd name="connsiteX59" fmla="*/ 206749 w 3148171"/>
                  <a:gd name="connsiteY59" fmla="*/ 2293620 h 3147261"/>
                  <a:gd name="connsiteX60" fmla="*/ 176269 w 3148171"/>
                  <a:gd name="connsiteY60" fmla="*/ 2240280 h 3147261"/>
                  <a:gd name="connsiteX61" fmla="*/ 161029 w 3148171"/>
                  <a:gd name="connsiteY61" fmla="*/ 2202180 h 3147261"/>
                  <a:gd name="connsiteX62" fmla="*/ 145789 w 3148171"/>
                  <a:gd name="connsiteY62" fmla="*/ 2179320 h 3147261"/>
                  <a:gd name="connsiteX63" fmla="*/ 130549 w 3148171"/>
                  <a:gd name="connsiteY63" fmla="*/ 2133600 h 3147261"/>
                  <a:gd name="connsiteX64" fmla="*/ 100069 w 3148171"/>
                  <a:gd name="connsiteY64" fmla="*/ 2087880 h 3147261"/>
                  <a:gd name="connsiteX65" fmla="*/ 61969 w 3148171"/>
                  <a:gd name="connsiteY65" fmla="*/ 2026920 h 3147261"/>
                  <a:gd name="connsiteX66" fmla="*/ 54349 w 3148171"/>
                  <a:gd name="connsiteY66" fmla="*/ 2004060 h 3147261"/>
                  <a:gd name="connsiteX67" fmla="*/ 39109 w 3148171"/>
                  <a:gd name="connsiteY67" fmla="*/ 1943100 h 3147261"/>
                  <a:gd name="connsiteX68" fmla="*/ 23869 w 3148171"/>
                  <a:gd name="connsiteY68" fmla="*/ 1897380 h 3147261"/>
                  <a:gd name="connsiteX69" fmla="*/ 1009 w 3148171"/>
                  <a:gd name="connsiteY69" fmla="*/ 1562100 h 3147261"/>
                  <a:gd name="connsiteX70" fmla="*/ 54349 w 3148171"/>
                  <a:gd name="connsiteY70" fmla="*/ 1135380 h 3147261"/>
                  <a:gd name="connsiteX71" fmla="*/ 161029 w 3148171"/>
                  <a:gd name="connsiteY71" fmla="*/ 861060 h 3147261"/>
                  <a:gd name="connsiteX72" fmla="*/ 183889 w 3148171"/>
                  <a:gd name="connsiteY72" fmla="*/ 822960 h 3147261"/>
                  <a:gd name="connsiteX73" fmla="*/ 260089 w 3148171"/>
                  <a:gd name="connsiteY73" fmla="*/ 708660 h 3147261"/>
                  <a:gd name="connsiteX74" fmla="*/ 275329 w 3148171"/>
                  <a:gd name="connsiteY74" fmla="*/ 662940 h 3147261"/>
                  <a:gd name="connsiteX75" fmla="*/ 420109 w 3148171"/>
                  <a:gd name="connsiteY75" fmla="*/ 510540 h 3147261"/>
                  <a:gd name="connsiteX76" fmla="*/ 511549 w 3148171"/>
                  <a:gd name="connsiteY76" fmla="*/ 434340 h 3147261"/>
                  <a:gd name="connsiteX77" fmla="*/ 564889 w 3148171"/>
                  <a:gd name="connsiteY77" fmla="*/ 396240 h 3147261"/>
                  <a:gd name="connsiteX78" fmla="*/ 656329 w 3148171"/>
                  <a:gd name="connsiteY78" fmla="*/ 312420 h 3147261"/>
                  <a:gd name="connsiteX79" fmla="*/ 869689 w 3148171"/>
                  <a:gd name="connsiteY79" fmla="*/ 175260 h 3147261"/>
                  <a:gd name="connsiteX80" fmla="*/ 976369 w 3148171"/>
                  <a:gd name="connsiteY80" fmla="*/ 137160 h 3147261"/>
                  <a:gd name="connsiteX81" fmla="*/ 1105909 w 3148171"/>
                  <a:gd name="connsiteY81" fmla="*/ 76200 h 3147261"/>
                  <a:gd name="connsiteX82" fmla="*/ 1243069 w 3148171"/>
                  <a:gd name="connsiteY82" fmla="*/ 38100 h 3147261"/>
                  <a:gd name="connsiteX83" fmla="*/ 1265929 w 3148171"/>
                  <a:gd name="connsiteY83" fmla="*/ 30480 h 3147261"/>
                  <a:gd name="connsiteX84" fmla="*/ 1387849 w 3148171"/>
                  <a:gd name="connsiteY84" fmla="*/ 15240 h 3147261"/>
                  <a:gd name="connsiteX85" fmla="*/ 1464049 w 3148171"/>
                  <a:gd name="connsiteY85" fmla="*/ 0 h 3147261"/>
                  <a:gd name="connsiteX86" fmla="*/ 1745989 w 3148171"/>
                  <a:gd name="connsiteY86" fmla="*/ 0 h 3147261"/>
                  <a:gd name="connsiteX87" fmla="*/ 2165089 w 3148171"/>
                  <a:gd name="connsiteY87" fmla="*/ 99060 h 3147261"/>
                  <a:gd name="connsiteX88" fmla="*/ 2340349 w 3148171"/>
                  <a:gd name="connsiteY88" fmla="*/ 182880 h 3147261"/>
                  <a:gd name="connsiteX89" fmla="*/ 2370829 w 3148171"/>
                  <a:gd name="connsiteY89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56629 w 3148171"/>
                  <a:gd name="connsiteY16" fmla="*/ 1104900 h 3147261"/>
                  <a:gd name="connsiteX17" fmla="*/ 3071869 w 3148171"/>
                  <a:gd name="connsiteY17" fmla="*/ 1150620 h 3147261"/>
                  <a:gd name="connsiteX18" fmla="*/ 3087109 w 3148171"/>
                  <a:gd name="connsiteY18" fmla="*/ 1181100 h 3147261"/>
                  <a:gd name="connsiteX19" fmla="*/ 3094729 w 3148171"/>
                  <a:gd name="connsiteY19" fmla="*/ 1226820 h 3147261"/>
                  <a:gd name="connsiteX20" fmla="*/ 3102349 w 3148171"/>
                  <a:gd name="connsiteY20" fmla="*/ 1280160 h 3147261"/>
                  <a:gd name="connsiteX21" fmla="*/ 3117589 w 3148171"/>
                  <a:gd name="connsiteY21" fmla="*/ 1371600 h 3147261"/>
                  <a:gd name="connsiteX22" fmla="*/ 3132829 w 3148171"/>
                  <a:gd name="connsiteY22" fmla="*/ 1417320 h 3147261"/>
                  <a:gd name="connsiteX23" fmla="*/ 3140449 w 3148171"/>
                  <a:gd name="connsiteY23" fmla="*/ 1485900 h 3147261"/>
                  <a:gd name="connsiteX24" fmla="*/ 3148069 w 3148171"/>
                  <a:gd name="connsiteY24" fmla="*/ 1516380 h 3147261"/>
                  <a:gd name="connsiteX25" fmla="*/ 3132829 w 3148171"/>
                  <a:gd name="connsiteY25" fmla="*/ 1691640 h 3147261"/>
                  <a:gd name="connsiteX26" fmla="*/ 3125209 w 3148171"/>
                  <a:gd name="connsiteY26" fmla="*/ 1767840 h 3147261"/>
                  <a:gd name="connsiteX27" fmla="*/ 3109969 w 3148171"/>
                  <a:gd name="connsiteY27" fmla="*/ 1836420 h 3147261"/>
                  <a:gd name="connsiteX28" fmla="*/ 3087109 w 3148171"/>
                  <a:gd name="connsiteY28" fmla="*/ 1905000 h 3147261"/>
                  <a:gd name="connsiteX29" fmla="*/ 3079489 w 3148171"/>
                  <a:gd name="connsiteY29" fmla="*/ 1935480 h 3147261"/>
                  <a:gd name="connsiteX30" fmla="*/ 3071869 w 3148171"/>
                  <a:gd name="connsiteY30" fmla="*/ 1958340 h 3147261"/>
                  <a:gd name="connsiteX31" fmla="*/ 3056629 w 3148171"/>
                  <a:gd name="connsiteY31" fmla="*/ 2019300 h 3147261"/>
                  <a:gd name="connsiteX32" fmla="*/ 3041389 w 3148171"/>
                  <a:gd name="connsiteY32" fmla="*/ 2057400 h 3147261"/>
                  <a:gd name="connsiteX33" fmla="*/ 3033769 w 3148171"/>
                  <a:gd name="connsiteY33" fmla="*/ 2080260 h 3147261"/>
                  <a:gd name="connsiteX34" fmla="*/ 3018529 w 3148171"/>
                  <a:gd name="connsiteY34" fmla="*/ 2118360 h 3147261"/>
                  <a:gd name="connsiteX35" fmla="*/ 2995669 w 3148171"/>
                  <a:gd name="connsiteY35" fmla="*/ 2186940 h 3147261"/>
                  <a:gd name="connsiteX36" fmla="*/ 2988049 w 3148171"/>
                  <a:gd name="connsiteY36" fmla="*/ 2225040 h 3147261"/>
                  <a:gd name="connsiteX37" fmla="*/ 2972809 w 3148171"/>
                  <a:gd name="connsiteY37" fmla="*/ 2270760 h 3147261"/>
                  <a:gd name="connsiteX38" fmla="*/ 2965189 w 3148171"/>
                  <a:gd name="connsiteY38" fmla="*/ 2308860 h 3147261"/>
                  <a:gd name="connsiteX39" fmla="*/ 2949949 w 3148171"/>
                  <a:gd name="connsiteY39" fmla="*/ 2331720 h 3147261"/>
                  <a:gd name="connsiteX40" fmla="*/ 2927089 w 3148171"/>
                  <a:gd name="connsiteY40" fmla="*/ 2385060 h 3147261"/>
                  <a:gd name="connsiteX41" fmla="*/ 2904229 w 3148171"/>
                  <a:gd name="connsiteY41" fmla="*/ 2407920 h 3147261"/>
                  <a:gd name="connsiteX42" fmla="*/ 2858509 w 3148171"/>
                  <a:gd name="connsiteY42" fmla="*/ 2499360 h 3147261"/>
                  <a:gd name="connsiteX43" fmla="*/ 2843269 w 3148171"/>
                  <a:gd name="connsiteY43" fmla="*/ 2529840 h 3147261"/>
                  <a:gd name="connsiteX44" fmla="*/ 2835649 w 3148171"/>
                  <a:gd name="connsiteY44" fmla="*/ 2552700 h 3147261"/>
                  <a:gd name="connsiteX45" fmla="*/ 2759449 w 3148171"/>
                  <a:gd name="connsiteY45" fmla="*/ 2636520 h 3147261"/>
                  <a:gd name="connsiteX46" fmla="*/ 2706109 w 3148171"/>
                  <a:gd name="connsiteY46" fmla="*/ 2667000 h 3147261"/>
                  <a:gd name="connsiteX47" fmla="*/ 2302249 w 3148171"/>
                  <a:gd name="connsiteY47" fmla="*/ 2971800 h 3147261"/>
                  <a:gd name="connsiteX48" fmla="*/ 2195569 w 3148171"/>
                  <a:gd name="connsiteY48" fmla="*/ 3025140 h 3147261"/>
                  <a:gd name="connsiteX49" fmla="*/ 2096509 w 3148171"/>
                  <a:gd name="connsiteY49" fmla="*/ 3055620 h 3147261"/>
                  <a:gd name="connsiteX50" fmla="*/ 1913629 w 3148171"/>
                  <a:gd name="connsiteY50" fmla="*/ 3108960 h 3147261"/>
                  <a:gd name="connsiteX51" fmla="*/ 1799329 w 3148171"/>
                  <a:gd name="connsiteY51" fmla="*/ 3147060 h 3147261"/>
                  <a:gd name="connsiteX52" fmla="*/ 1334509 w 3148171"/>
                  <a:gd name="connsiteY52" fmla="*/ 3108960 h 3147261"/>
                  <a:gd name="connsiteX53" fmla="*/ 793489 w 3148171"/>
                  <a:gd name="connsiteY53" fmla="*/ 2933700 h 3147261"/>
                  <a:gd name="connsiteX54" fmla="*/ 420109 w 3148171"/>
                  <a:gd name="connsiteY54" fmla="*/ 2644140 h 3147261"/>
                  <a:gd name="connsiteX55" fmla="*/ 321049 w 3148171"/>
                  <a:gd name="connsiteY55" fmla="*/ 2484120 h 3147261"/>
                  <a:gd name="connsiteX56" fmla="*/ 298189 w 3148171"/>
                  <a:gd name="connsiteY56" fmla="*/ 2430780 h 3147261"/>
                  <a:gd name="connsiteX57" fmla="*/ 275329 w 3148171"/>
                  <a:gd name="connsiteY57" fmla="*/ 2377440 h 3147261"/>
                  <a:gd name="connsiteX58" fmla="*/ 229609 w 3148171"/>
                  <a:gd name="connsiteY58" fmla="*/ 2316480 h 3147261"/>
                  <a:gd name="connsiteX59" fmla="*/ 206749 w 3148171"/>
                  <a:gd name="connsiteY59" fmla="*/ 2293620 h 3147261"/>
                  <a:gd name="connsiteX60" fmla="*/ 176269 w 3148171"/>
                  <a:gd name="connsiteY60" fmla="*/ 2240280 h 3147261"/>
                  <a:gd name="connsiteX61" fmla="*/ 161029 w 3148171"/>
                  <a:gd name="connsiteY61" fmla="*/ 2202180 h 3147261"/>
                  <a:gd name="connsiteX62" fmla="*/ 145789 w 3148171"/>
                  <a:gd name="connsiteY62" fmla="*/ 2179320 h 3147261"/>
                  <a:gd name="connsiteX63" fmla="*/ 130549 w 3148171"/>
                  <a:gd name="connsiteY63" fmla="*/ 2133600 h 3147261"/>
                  <a:gd name="connsiteX64" fmla="*/ 100069 w 3148171"/>
                  <a:gd name="connsiteY64" fmla="*/ 2087880 h 3147261"/>
                  <a:gd name="connsiteX65" fmla="*/ 61969 w 3148171"/>
                  <a:gd name="connsiteY65" fmla="*/ 2026920 h 3147261"/>
                  <a:gd name="connsiteX66" fmla="*/ 54349 w 3148171"/>
                  <a:gd name="connsiteY66" fmla="*/ 2004060 h 3147261"/>
                  <a:gd name="connsiteX67" fmla="*/ 39109 w 3148171"/>
                  <a:gd name="connsiteY67" fmla="*/ 1943100 h 3147261"/>
                  <a:gd name="connsiteX68" fmla="*/ 23869 w 3148171"/>
                  <a:gd name="connsiteY68" fmla="*/ 1897380 h 3147261"/>
                  <a:gd name="connsiteX69" fmla="*/ 1009 w 3148171"/>
                  <a:gd name="connsiteY69" fmla="*/ 1562100 h 3147261"/>
                  <a:gd name="connsiteX70" fmla="*/ 54349 w 3148171"/>
                  <a:gd name="connsiteY70" fmla="*/ 1135380 h 3147261"/>
                  <a:gd name="connsiteX71" fmla="*/ 161029 w 3148171"/>
                  <a:gd name="connsiteY71" fmla="*/ 861060 h 3147261"/>
                  <a:gd name="connsiteX72" fmla="*/ 183889 w 3148171"/>
                  <a:gd name="connsiteY72" fmla="*/ 822960 h 3147261"/>
                  <a:gd name="connsiteX73" fmla="*/ 260089 w 3148171"/>
                  <a:gd name="connsiteY73" fmla="*/ 708660 h 3147261"/>
                  <a:gd name="connsiteX74" fmla="*/ 275329 w 3148171"/>
                  <a:gd name="connsiteY74" fmla="*/ 662940 h 3147261"/>
                  <a:gd name="connsiteX75" fmla="*/ 420109 w 3148171"/>
                  <a:gd name="connsiteY75" fmla="*/ 510540 h 3147261"/>
                  <a:gd name="connsiteX76" fmla="*/ 511549 w 3148171"/>
                  <a:gd name="connsiteY76" fmla="*/ 434340 h 3147261"/>
                  <a:gd name="connsiteX77" fmla="*/ 564889 w 3148171"/>
                  <a:gd name="connsiteY77" fmla="*/ 396240 h 3147261"/>
                  <a:gd name="connsiteX78" fmla="*/ 656329 w 3148171"/>
                  <a:gd name="connsiteY78" fmla="*/ 312420 h 3147261"/>
                  <a:gd name="connsiteX79" fmla="*/ 869689 w 3148171"/>
                  <a:gd name="connsiteY79" fmla="*/ 175260 h 3147261"/>
                  <a:gd name="connsiteX80" fmla="*/ 976369 w 3148171"/>
                  <a:gd name="connsiteY80" fmla="*/ 137160 h 3147261"/>
                  <a:gd name="connsiteX81" fmla="*/ 1105909 w 3148171"/>
                  <a:gd name="connsiteY81" fmla="*/ 76200 h 3147261"/>
                  <a:gd name="connsiteX82" fmla="*/ 1243069 w 3148171"/>
                  <a:gd name="connsiteY82" fmla="*/ 38100 h 3147261"/>
                  <a:gd name="connsiteX83" fmla="*/ 1265929 w 3148171"/>
                  <a:gd name="connsiteY83" fmla="*/ 30480 h 3147261"/>
                  <a:gd name="connsiteX84" fmla="*/ 1387849 w 3148171"/>
                  <a:gd name="connsiteY84" fmla="*/ 15240 h 3147261"/>
                  <a:gd name="connsiteX85" fmla="*/ 1464049 w 3148171"/>
                  <a:gd name="connsiteY85" fmla="*/ 0 h 3147261"/>
                  <a:gd name="connsiteX86" fmla="*/ 1745989 w 3148171"/>
                  <a:gd name="connsiteY86" fmla="*/ 0 h 3147261"/>
                  <a:gd name="connsiteX87" fmla="*/ 2165089 w 3148171"/>
                  <a:gd name="connsiteY87" fmla="*/ 99060 h 3147261"/>
                  <a:gd name="connsiteX88" fmla="*/ 2340349 w 3148171"/>
                  <a:gd name="connsiteY88" fmla="*/ 182880 h 3147261"/>
                  <a:gd name="connsiteX89" fmla="*/ 2370829 w 3148171"/>
                  <a:gd name="connsiteY89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56629 w 3148171"/>
                  <a:gd name="connsiteY16" fmla="*/ 1104900 h 3147261"/>
                  <a:gd name="connsiteX17" fmla="*/ 3087109 w 3148171"/>
                  <a:gd name="connsiteY17" fmla="*/ 1181100 h 3147261"/>
                  <a:gd name="connsiteX18" fmla="*/ 3094729 w 3148171"/>
                  <a:gd name="connsiteY18" fmla="*/ 1226820 h 3147261"/>
                  <a:gd name="connsiteX19" fmla="*/ 3102349 w 3148171"/>
                  <a:gd name="connsiteY19" fmla="*/ 1280160 h 3147261"/>
                  <a:gd name="connsiteX20" fmla="*/ 3117589 w 3148171"/>
                  <a:gd name="connsiteY20" fmla="*/ 1371600 h 3147261"/>
                  <a:gd name="connsiteX21" fmla="*/ 3132829 w 3148171"/>
                  <a:gd name="connsiteY21" fmla="*/ 1417320 h 3147261"/>
                  <a:gd name="connsiteX22" fmla="*/ 3140449 w 3148171"/>
                  <a:gd name="connsiteY22" fmla="*/ 1485900 h 3147261"/>
                  <a:gd name="connsiteX23" fmla="*/ 3148069 w 3148171"/>
                  <a:gd name="connsiteY23" fmla="*/ 1516380 h 3147261"/>
                  <a:gd name="connsiteX24" fmla="*/ 3132829 w 3148171"/>
                  <a:gd name="connsiteY24" fmla="*/ 1691640 h 3147261"/>
                  <a:gd name="connsiteX25" fmla="*/ 3125209 w 3148171"/>
                  <a:gd name="connsiteY25" fmla="*/ 1767840 h 3147261"/>
                  <a:gd name="connsiteX26" fmla="*/ 3109969 w 3148171"/>
                  <a:gd name="connsiteY26" fmla="*/ 1836420 h 3147261"/>
                  <a:gd name="connsiteX27" fmla="*/ 3087109 w 3148171"/>
                  <a:gd name="connsiteY27" fmla="*/ 1905000 h 3147261"/>
                  <a:gd name="connsiteX28" fmla="*/ 3079489 w 3148171"/>
                  <a:gd name="connsiteY28" fmla="*/ 1935480 h 3147261"/>
                  <a:gd name="connsiteX29" fmla="*/ 3071869 w 3148171"/>
                  <a:gd name="connsiteY29" fmla="*/ 1958340 h 3147261"/>
                  <a:gd name="connsiteX30" fmla="*/ 3056629 w 3148171"/>
                  <a:gd name="connsiteY30" fmla="*/ 2019300 h 3147261"/>
                  <a:gd name="connsiteX31" fmla="*/ 3041389 w 3148171"/>
                  <a:gd name="connsiteY31" fmla="*/ 2057400 h 3147261"/>
                  <a:gd name="connsiteX32" fmla="*/ 3033769 w 3148171"/>
                  <a:gd name="connsiteY32" fmla="*/ 2080260 h 3147261"/>
                  <a:gd name="connsiteX33" fmla="*/ 3018529 w 3148171"/>
                  <a:gd name="connsiteY33" fmla="*/ 2118360 h 3147261"/>
                  <a:gd name="connsiteX34" fmla="*/ 2995669 w 3148171"/>
                  <a:gd name="connsiteY34" fmla="*/ 2186940 h 3147261"/>
                  <a:gd name="connsiteX35" fmla="*/ 2988049 w 3148171"/>
                  <a:gd name="connsiteY35" fmla="*/ 2225040 h 3147261"/>
                  <a:gd name="connsiteX36" fmla="*/ 2972809 w 3148171"/>
                  <a:gd name="connsiteY36" fmla="*/ 2270760 h 3147261"/>
                  <a:gd name="connsiteX37" fmla="*/ 2965189 w 3148171"/>
                  <a:gd name="connsiteY37" fmla="*/ 2308860 h 3147261"/>
                  <a:gd name="connsiteX38" fmla="*/ 2949949 w 3148171"/>
                  <a:gd name="connsiteY38" fmla="*/ 2331720 h 3147261"/>
                  <a:gd name="connsiteX39" fmla="*/ 2927089 w 3148171"/>
                  <a:gd name="connsiteY39" fmla="*/ 2385060 h 3147261"/>
                  <a:gd name="connsiteX40" fmla="*/ 2904229 w 3148171"/>
                  <a:gd name="connsiteY40" fmla="*/ 2407920 h 3147261"/>
                  <a:gd name="connsiteX41" fmla="*/ 2858509 w 3148171"/>
                  <a:gd name="connsiteY41" fmla="*/ 2499360 h 3147261"/>
                  <a:gd name="connsiteX42" fmla="*/ 2843269 w 3148171"/>
                  <a:gd name="connsiteY42" fmla="*/ 2529840 h 3147261"/>
                  <a:gd name="connsiteX43" fmla="*/ 2835649 w 3148171"/>
                  <a:gd name="connsiteY43" fmla="*/ 2552700 h 3147261"/>
                  <a:gd name="connsiteX44" fmla="*/ 2759449 w 3148171"/>
                  <a:gd name="connsiteY44" fmla="*/ 2636520 h 3147261"/>
                  <a:gd name="connsiteX45" fmla="*/ 2706109 w 3148171"/>
                  <a:gd name="connsiteY45" fmla="*/ 2667000 h 3147261"/>
                  <a:gd name="connsiteX46" fmla="*/ 2302249 w 3148171"/>
                  <a:gd name="connsiteY46" fmla="*/ 2971800 h 3147261"/>
                  <a:gd name="connsiteX47" fmla="*/ 2195569 w 3148171"/>
                  <a:gd name="connsiteY47" fmla="*/ 3025140 h 3147261"/>
                  <a:gd name="connsiteX48" fmla="*/ 2096509 w 3148171"/>
                  <a:gd name="connsiteY48" fmla="*/ 3055620 h 3147261"/>
                  <a:gd name="connsiteX49" fmla="*/ 1913629 w 3148171"/>
                  <a:gd name="connsiteY49" fmla="*/ 3108960 h 3147261"/>
                  <a:gd name="connsiteX50" fmla="*/ 1799329 w 3148171"/>
                  <a:gd name="connsiteY50" fmla="*/ 3147060 h 3147261"/>
                  <a:gd name="connsiteX51" fmla="*/ 1334509 w 3148171"/>
                  <a:gd name="connsiteY51" fmla="*/ 3108960 h 3147261"/>
                  <a:gd name="connsiteX52" fmla="*/ 793489 w 3148171"/>
                  <a:gd name="connsiteY52" fmla="*/ 2933700 h 3147261"/>
                  <a:gd name="connsiteX53" fmla="*/ 420109 w 3148171"/>
                  <a:gd name="connsiteY53" fmla="*/ 2644140 h 3147261"/>
                  <a:gd name="connsiteX54" fmla="*/ 321049 w 3148171"/>
                  <a:gd name="connsiteY54" fmla="*/ 2484120 h 3147261"/>
                  <a:gd name="connsiteX55" fmla="*/ 298189 w 3148171"/>
                  <a:gd name="connsiteY55" fmla="*/ 2430780 h 3147261"/>
                  <a:gd name="connsiteX56" fmla="*/ 275329 w 3148171"/>
                  <a:gd name="connsiteY56" fmla="*/ 2377440 h 3147261"/>
                  <a:gd name="connsiteX57" fmla="*/ 229609 w 3148171"/>
                  <a:gd name="connsiteY57" fmla="*/ 2316480 h 3147261"/>
                  <a:gd name="connsiteX58" fmla="*/ 206749 w 3148171"/>
                  <a:gd name="connsiteY58" fmla="*/ 2293620 h 3147261"/>
                  <a:gd name="connsiteX59" fmla="*/ 176269 w 3148171"/>
                  <a:gd name="connsiteY59" fmla="*/ 2240280 h 3147261"/>
                  <a:gd name="connsiteX60" fmla="*/ 161029 w 3148171"/>
                  <a:gd name="connsiteY60" fmla="*/ 2202180 h 3147261"/>
                  <a:gd name="connsiteX61" fmla="*/ 145789 w 3148171"/>
                  <a:gd name="connsiteY61" fmla="*/ 2179320 h 3147261"/>
                  <a:gd name="connsiteX62" fmla="*/ 130549 w 3148171"/>
                  <a:gd name="connsiteY62" fmla="*/ 2133600 h 3147261"/>
                  <a:gd name="connsiteX63" fmla="*/ 100069 w 3148171"/>
                  <a:gd name="connsiteY63" fmla="*/ 2087880 h 3147261"/>
                  <a:gd name="connsiteX64" fmla="*/ 61969 w 3148171"/>
                  <a:gd name="connsiteY64" fmla="*/ 2026920 h 3147261"/>
                  <a:gd name="connsiteX65" fmla="*/ 54349 w 3148171"/>
                  <a:gd name="connsiteY65" fmla="*/ 2004060 h 3147261"/>
                  <a:gd name="connsiteX66" fmla="*/ 39109 w 3148171"/>
                  <a:gd name="connsiteY66" fmla="*/ 1943100 h 3147261"/>
                  <a:gd name="connsiteX67" fmla="*/ 23869 w 3148171"/>
                  <a:gd name="connsiteY67" fmla="*/ 1897380 h 3147261"/>
                  <a:gd name="connsiteX68" fmla="*/ 1009 w 3148171"/>
                  <a:gd name="connsiteY68" fmla="*/ 1562100 h 3147261"/>
                  <a:gd name="connsiteX69" fmla="*/ 54349 w 3148171"/>
                  <a:gd name="connsiteY69" fmla="*/ 1135380 h 3147261"/>
                  <a:gd name="connsiteX70" fmla="*/ 161029 w 3148171"/>
                  <a:gd name="connsiteY70" fmla="*/ 861060 h 3147261"/>
                  <a:gd name="connsiteX71" fmla="*/ 183889 w 3148171"/>
                  <a:gd name="connsiteY71" fmla="*/ 822960 h 3147261"/>
                  <a:gd name="connsiteX72" fmla="*/ 260089 w 3148171"/>
                  <a:gd name="connsiteY72" fmla="*/ 708660 h 3147261"/>
                  <a:gd name="connsiteX73" fmla="*/ 275329 w 3148171"/>
                  <a:gd name="connsiteY73" fmla="*/ 662940 h 3147261"/>
                  <a:gd name="connsiteX74" fmla="*/ 420109 w 3148171"/>
                  <a:gd name="connsiteY74" fmla="*/ 510540 h 3147261"/>
                  <a:gd name="connsiteX75" fmla="*/ 511549 w 3148171"/>
                  <a:gd name="connsiteY75" fmla="*/ 434340 h 3147261"/>
                  <a:gd name="connsiteX76" fmla="*/ 564889 w 3148171"/>
                  <a:gd name="connsiteY76" fmla="*/ 396240 h 3147261"/>
                  <a:gd name="connsiteX77" fmla="*/ 656329 w 3148171"/>
                  <a:gd name="connsiteY77" fmla="*/ 312420 h 3147261"/>
                  <a:gd name="connsiteX78" fmla="*/ 869689 w 3148171"/>
                  <a:gd name="connsiteY78" fmla="*/ 175260 h 3147261"/>
                  <a:gd name="connsiteX79" fmla="*/ 976369 w 3148171"/>
                  <a:gd name="connsiteY79" fmla="*/ 137160 h 3147261"/>
                  <a:gd name="connsiteX80" fmla="*/ 1105909 w 3148171"/>
                  <a:gd name="connsiteY80" fmla="*/ 76200 h 3147261"/>
                  <a:gd name="connsiteX81" fmla="*/ 1243069 w 3148171"/>
                  <a:gd name="connsiteY81" fmla="*/ 38100 h 3147261"/>
                  <a:gd name="connsiteX82" fmla="*/ 1265929 w 3148171"/>
                  <a:gd name="connsiteY82" fmla="*/ 30480 h 3147261"/>
                  <a:gd name="connsiteX83" fmla="*/ 1387849 w 3148171"/>
                  <a:gd name="connsiteY83" fmla="*/ 15240 h 3147261"/>
                  <a:gd name="connsiteX84" fmla="*/ 1464049 w 3148171"/>
                  <a:gd name="connsiteY84" fmla="*/ 0 h 3147261"/>
                  <a:gd name="connsiteX85" fmla="*/ 1745989 w 3148171"/>
                  <a:gd name="connsiteY85" fmla="*/ 0 h 3147261"/>
                  <a:gd name="connsiteX86" fmla="*/ 2165089 w 3148171"/>
                  <a:gd name="connsiteY86" fmla="*/ 99060 h 3147261"/>
                  <a:gd name="connsiteX87" fmla="*/ 2340349 w 3148171"/>
                  <a:gd name="connsiteY87" fmla="*/ 182880 h 3147261"/>
                  <a:gd name="connsiteX88" fmla="*/ 2370829 w 3148171"/>
                  <a:gd name="connsiteY88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87109 w 3148171"/>
                  <a:gd name="connsiteY16" fmla="*/ 1181100 h 3147261"/>
                  <a:gd name="connsiteX17" fmla="*/ 3094729 w 3148171"/>
                  <a:gd name="connsiteY17" fmla="*/ 1226820 h 3147261"/>
                  <a:gd name="connsiteX18" fmla="*/ 3102349 w 3148171"/>
                  <a:gd name="connsiteY18" fmla="*/ 1280160 h 3147261"/>
                  <a:gd name="connsiteX19" fmla="*/ 3117589 w 3148171"/>
                  <a:gd name="connsiteY19" fmla="*/ 1371600 h 3147261"/>
                  <a:gd name="connsiteX20" fmla="*/ 3132829 w 3148171"/>
                  <a:gd name="connsiteY20" fmla="*/ 1417320 h 3147261"/>
                  <a:gd name="connsiteX21" fmla="*/ 3140449 w 3148171"/>
                  <a:gd name="connsiteY21" fmla="*/ 1485900 h 3147261"/>
                  <a:gd name="connsiteX22" fmla="*/ 3148069 w 3148171"/>
                  <a:gd name="connsiteY22" fmla="*/ 1516380 h 3147261"/>
                  <a:gd name="connsiteX23" fmla="*/ 3132829 w 3148171"/>
                  <a:gd name="connsiteY23" fmla="*/ 1691640 h 3147261"/>
                  <a:gd name="connsiteX24" fmla="*/ 3125209 w 3148171"/>
                  <a:gd name="connsiteY24" fmla="*/ 1767840 h 3147261"/>
                  <a:gd name="connsiteX25" fmla="*/ 3109969 w 3148171"/>
                  <a:gd name="connsiteY25" fmla="*/ 1836420 h 3147261"/>
                  <a:gd name="connsiteX26" fmla="*/ 3087109 w 3148171"/>
                  <a:gd name="connsiteY26" fmla="*/ 1905000 h 3147261"/>
                  <a:gd name="connsiteX27" fmla="*/ 3079489 w 3148171"/>
                  <a:gd name="connsiteY27" fmla="*/ 1935480 h 3147261"/>
                  <a:gd name="connsiteX28" fmla="*/ 3071869 w 3148171"/>
                  <a:gd name="connsiteY28" fmla="*/ 1958340 h 3147261"/>
                  <a:gd name="connsiteX29" fmla="*/ 3056629 w 3148171"/>
                  <a:gd name="connsiteY29" fmla="*/ 2019300 h 3147261"/>
                  <a:gd name="connsiteX30" fmla="*/ 3041389 w 3148171"/>
                  <a:gd name="connsiteY30" fmla="*/ 2057400 h 3147261"/>
                  <a:gd name="connsiteX31" fmla="*/ 3033769 w 3148171"/>
                  <a:gd name="connsiteY31" fmla="*/ 2080260 h 3147261"/>
                  <a:gd name="connsiteX32" fmla="*/ 3018529 w 3148171"/>
                  <a:gd name="connsiteY32" fmla="*/ 2118360 h 3147261"/>
                  <a:gd name="connsiteX33" fmla="*/ 2995669 w 3148171"/>
                  <a:gd name="connsiteY33" fmla="*/ 2186940 h 3147261"/>
                  <a:gd name="connsiteX34" fmla="*/ 2988049 w 3148171"/>
                  <a:gd name="connsiteY34" fmla="*/ 2225040 h 3147261"/>
                  <a:gd name="connsiteX35" fmla="*/ 2972809 w 3148171"/>
                  <a:gd name="connsiteY35" fmla="*/ 2270760 h 3147261"/>
                  <a:gd name="connsiteX36" fmla="*/ 2965189 w 3148171"/>
                  <a:gd name="connsiteY36" fmla="*/ 2308860 h 3147261"/>
                  <a:gd name="connsiteX37" fmla="*/ 2949949 w 3148171"/>
                  <a:gd name="connsiteY37" fmla="*/ 2331720 h 3147261"/>
                  <a:gd name="connsiteX38" fmla="*/ 2927089 w 3148171"/>
                  <a:gd name="connsiteY38" fmla="*/ 2385060 h 3147261"/>
                  <a:gd name="connsiteX39" fmla="*/ 2904229 w 3148171"/>
                  <a:gd name="connsiteY39" fmla="*/ 2407920 h 3147261"/>
                  <a:gd name="connsiteX40" fmla="*/ 2858509 w 3148171"/>
                  <a:gd name="connsiteY40" fmla="*/ 2499360 h 3147261"/>
                  <a:gd name="connsiteX41" fmla="*/ 2843269 w 3148171"/>
                  <a:gd name="connsiteY41" fmla="*/ 2529840 h 3147261"/>
                  <a:gd name="connsiteX42" fmla="*/ 2835649 w 3148171"/>
                  <a:gd name="connsiteY42" fmla="*/ 2552700 h 3147261"/>
                  <a:gd name="connsiteX43" fmla="*/ 2759449 w 3148171"/>
                  <a:gd name="connsiteY43" fmla="*/ 2636520 h 3147261"/>
                  <a:gd name="connsiteX44" fmla="*/ 2706109 w 3148171"/>
                  <a:gd name="connsiteY44" fmla="*/ 2667000 h 3147261"/>
                  <a:gd name="connsiteX45" fmla="*/ 2302249 w 3148171"/>
                  <a:gd name="connsiteY45" fmla="*/ 2971800 h 3147261"/>
                  <a:gd name="connsiteX46" fmla="*/ 2195569 w 3148171"/>
                  <a:gd name="connsiteY46" fmla="*/ 3025140 h 3147261"/>
                  <a:gd name="connsiteX47" fmla="*/ 2096509 w 3148171"/>
                  <a:gd name="connsiteY47" fmla="*/ 3055620 h 3147261"/>
                  <a:gd name="connsiteX48" fmla="*/ 1913629 w 3148171"/>
                  <a:gd name="connsiteY48" fmla="*/ 3108960 h 3147261"/>
                  <a:gd name="connsiteX49" fmla="*/ 1799329 w 3148171"/>
                  <a:gd name="connsiteY49" fmla="*/ 3147060 h 3147261"/>
                  <a:gd name="connsiteX50" fmla="*/ 1334509 w 3148171"/>
                  <a:gd name="connsiteY50" fmla="*/ 3108960 h 3147261"/>
                  <a:gd name="connsiteX51" fmla="*/ 793489 w 3148171"/>
                  <a:gd name="connsiteY51" fmla="*/ 2933700 h 3147261"/>
                  <a:gd name="connsiteX52" fmla="*/ 420109 w 3148171"/>
                  <a:gd name="connsiteY52" fmla="*/ 2644140 h 3147261"/>
                  <a:gd name="connsiteX53" fmla="*/ 321049 w 3148171"/>
                  <a:gd name="connsiteY53" fmla="*/ 2484120 h 3147261"/>
                  <a:gd name="connsiteX54" fmla="*/ 298189 w 3148171"/>
                  <a:gd name="connsiteY54" fmla="*/ 2430780 h 3147261"/>
                  <a:gd name="connsiteX55" fmla="*/ 275329 w 3148171"/>
                  <a:gd name="connsiteY55" fmla="*/ 2377440 h 3147261"/>
                  <a:gd name="connsiteX56" fmla="*/ 229609 w 3148171"/>
                  <a:gd name="connsiteY56" fmla="*/ 2316480 h 3147261"/>
                  <a:gd name="connsiteX57" fmla="*/ 206749 w 3148171"/>
                  <a:gd name="connsiteY57" fmla="*/ 2293620 h 3147261"/>
                  <a:gd name="connsiteX58" fmla="*/ 176269 w 3148171"/>
                  <a:gd name="connsiteY58" fmla="*/ 2240280 h 3147261"/>
                  <a:gd name="connsiteX59" fmla="*/ 161029 w 3148171"/>
                  <a:gd name="connsiteY59" fmla="*/ 2202180 h 3147261"/>
                  <a:gd name="connsiteX60" fmla="*/ 145789 w 3148171"/>
                  <a:gd name="connsiteY60" fmla="*/ 2179320 h 3147261"/>
                  <a:gd name="connsiteX61" fmla="*/ 130549 w 3148171"/>
                  <a:gd name="connsiteY61" fmla="*/ 2133600 h 3147261"/>
                  <a:gd name="connsiteX62" fmla="*/ 100069 w 3148171"/>
                  <a:gd name="connsiteY62" fmla="*/ 2087880 h 3147261"/>
                  <a:gd name="connsiteX63" fmla="*/ 61969 w 3148171"/>
                  <a:gd name="connsiteY63" fmla="*/ 2026920 h 3147261"/>
                  <a:gd name="connsiteX64" fmla="*/ 54349 w 3148171"/>
                  <a:gd name="connsiteY64" fmla="*/ 2004060 h 3147261"/>
                  <a:gd name="connsiteX65" fmla="*/ 39109 w 3148171"/>
                  <a:gd name="connsiteY65" fmla="*/ 1943100 h 3147261"/>
                  <a:gd name="connsiteX66" fmla="*/ 23869 w 3148171"/>
                  <a:gd name="connsiteY66" fmla="*/ 1897380 h 3147261"/>
                  <a:gd name="connsiteX67" fmla="*/ 1009 w 3148171"/>
                  <a:gd name="connsiteY67" fmla="*/ 1562100 h 3147261"/>
                  <a:gd name="connsiteX68" fmla="*/ 54349 w 3148171"/>
                  <a:gd name="connsiteY68" fmla="*/ 1135380 h 3147261"/>
                  <a:gd name="connsiteX69" fmla="*/ 161029 w 3148171"/>
                  <a:gd name="connsiteY69" fmla="*/ 861060 h 3147261"/>
                  <a:gd name="connsiteX70" fmla="*/ 183889 w 3148171"/>
                  <a:gd name="connsiteY70" fmla="*/ 822960 h 3147261"/>
                  <a:gd name="connsiteX71" fmla="*/ 260089 w 3148171"/>
                  <a:gd name="connsiteY71" fmla="*/ 708660 h 3147261"/>
                  <a:gd name="connsiteX72" fmla="*/ 275329 w 3148171"/>
                  <a:gd name="connsiteY72" fmla="*/ 662940 h 3147261"/>
                  <a:gd name="connsiteX73" fmla="*/ 420109 w 3148171"/>
                  <a:gd name="connsiteY73" fmla="*/ 510540 h 3147261"/>
                  <a:gd name="connsiteX74" fmla="*/ 511549 w 3148171"/>
                  <a:gd name="connsiteY74" fmla="*/ 434340 h 3147261"/>
                  <a:gd name="connsiteX75" fmla="*/ 564889 w 3148171"/>
                  <a:gd name="connsiteY75" fmla="*/ 396240 h 3147261"/>
                  <a:gd name="connsiteX76" fmla="*/ 656329 w 3148171"/>
                  <a:gd name="connsiteY76" fmla="*/ 312420 h 3147261"/>
                  <a:gd name="connsiteX77" fmla="*/ 869689 w 3148171"/>
                  <a:gd name="connsiteY77" fmla="*/ 175260 h 3147261"/>
                  <a:gd name="connsiteX78" fmla="*/ 976369 w 3148171"/>
                  <a:gd name="connsiteY78" fmla="*/ 137160 h 3147261"/>
                  <a:gd name="connsiteX79" fmla="*/ 1105909 w 3148171"/>
                  <a:gd name="connsiteY79" fmla="*/ 76200 h 3147261"/>
                  <a:gd name="connsiteX80" fmla="*/ 1243069 w 3148171"/>
                  <a:gd name="connsiteY80" fmla="*/ 38100 h 3147261"/>
                  <a:gd name="connsiteX81" fmla="*/ 1265929 w 3148171"/>
                  <a:gd name="connsiteY81" fmla="*/ 30480 h 3147261"/>
                  <a:gd name="connsiteX82" fmla="*/ 1387849 w 3148171"/>
                  <a:gd name="connsiteY82" fmla="*/ 15240 h 3147261"/>
                  <a:gd name="connsiteX83" fmla="*/ 1464049 w 3148171"/>
                  <a:gd name="connsiteY83" fmla="*/ 0 h 3147261"/>
                  <a:gd name="connsiteX84" fmla="*/ 1745989 w 3148171"/>
                  <a:gd name="connsiteY84" fmla="*/ 0 h 3147261"/>
                  <a:gd name="connsiteX85" fmla="*/ 2165089 w 3148171"/>
                  <a:gd name="connsiteY85" fmla="*/ 99060 h 3147261"/>
                  <a:gd name="connsiteX86" fmla="*/ 2340349 w 3148171"/>
                  <a:gd name="connsiteY86" fmla="*/ 182880 h 3147261"/>
                  <a:gd name="connsiteX87" fmla="*/ 2370829 w 3148171"/>
                  <a:gd name="connsiteY87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3010909 w 3148171"/>
                  <a:gd name="connsiteY12" fmla="*/ 998220 h 3147261"/>
                  <a:gd name="connsiteX13" fmla="*/ 3026149 w 3148171"/>
                  <a:gd name="connsiteY13" fmla="*/ 1036320 h 3147261"/>
                  <a:gd name="connsiteX14" fmla="*/ 3033769 w 3148171"/>
                  <a:gd name="connsiteY14" fmla="*/ 1066800 h 3147261"/>
                  <a:gd name="connsiteX15" fmla="*/ 3087109 w 3148171"/>
                  <a:gd name="connsiteY15" fmla="*/ 1181100 h 3147261"/>
                  <a:gd name="connsiteX16" fmla="*/ 3094729 w 3148171"/>
                  <a:gd name="connsiteY16" fmla="*/ 1226820 h 3147261"/>
                  <a:gd name="connsiteX17" fmla="*/ 3102349 w 3148171"/>
                  <a:gd name="connsiteY17" fmla="*/ 1280160 h 3147261"/>
                  <a:gd name="connsiteX18" fmla="*/ 3117589 w 3148171"/>
                  <a:gd name="connsiteY18" fmla="*/ 1371600 h 3147261"/>
                  <a:gd name="connsiteX19" fmla="*/ 3132829 w 3148171"/>
                  <a:gd name="connsiteY19" fmla="*/ 1417320 h 3147261"/>
                  <a:gd name="connsiteX20" fmla="*/ 3140449 w 3148171"/>
                  <a:gd name="connsiteY20" fmla="*/ 1485900 h 3147261"/>
                  <a:gd name="connsiteX21" fmla="*/ 3148069 w 3148171"/>
                  <a:gd name="connsiteY21" fmla="*/ 1516380 h 3147261"/>
                  <a:gd name="connsiteX22" fmla="*/ 3132829 w 3148171"/>
                  <a:gd name="connsiteY22" fmla="*/ 1691640 h 3147261"/>
                  <a:gd name="connsiteX23" fmla="*/ 3125209 w 3148171"/>
                  <a:gd name="connsiteY23" fmla="*/ 1767840 h 3147261"/>
                  <a:gd name="connsiteX24" fmla="*/ 3109969 w 3148171"/>
                  <a:gd name="connsiteY24" fmla="*/ 1836420 h 3147261"/>
                  <a:gd name="connsiteX25" fmla="*/ 3087109 w 3148171"/>
                  <a:gd name="connsiteY25" fmla="*/ 1905000 h 3147261"/>
                  <a:gd name="connsiteX26" fmla="*/ 3079489 w 3148171"/>
                  <a:gd name="connsiteY26" fmla="*/ 1935480 h 3147261"/>
                  <a:gd name="connsiteX27" fmla="*/ 3071869 w 3148171"/>
                  <a:gd name="connsiteY27" fmla="*/ 1958340 h 3147261"/>
                  <a:gd name="connsiteX28" fmla="*/ 3056629 w 3148171"/>
                  <a:gd name="connsiteY28" fmla="*/ 2019300 h 3147261"/>
                  <a:gd name="connsiteX29" fmla="*/ 3041389 w 3148171"/>
                  <a:gd name="connsiteY29" fmla="*/ 2057400 h 3147261"/>
                  <a:gd name="connsiteX30" fmla="*/ 3033769 w 3148171"/>
                  <a:gd name="connsiteY30" fmla="*/ 2080260 h 3147261"/>
                  <a:gd name="connsiteX31" fmla="*/ 3018529 w 3148171"/>
                  <a:gd name="connsiteY31" fmla="*/ 2118360 h 3147261"/>
                  <a:gd name="connsiteX32" fmla="*/ 2995669 w 3148171"/>
                  <a:gd name="connsiteY32" fmla="*/ 2186940 h 3147261"/>
                  <a:gd name="connsiteX33" fmla="*/ 2988049 w 3148171"/>
                  <a:gd name="connsiteY33" fmla="*/ 2225040 h 3147261"/>
                  <a:gd name="connsiteX34" fmla="*/ 2972809 w 3148171"/>
                  <a:gd name="connsiteY34" fmla="*/ 2270760 h 3147261"/>
                  <a:gd name="connsiteX35" fmla="*/ 2965189 w 3148171"/>
                  <a:gd name="connsiteY35" fmla="*/ 2308860 h 3147261"/>
                  <a:gd name="connsiteX36" fmla="*/ 2949949 w 3148171"/>
                  <a:gd name="connsiteY36" fmla="*/ 2331720 h 3147261"/>
                  <a:gd name="connsiteX37" fmla="*/ 2927089 w 3148171"/>
                  <a:gd name="connsiteY37" fmla="*/ 2385060 h 3147261"/>
                  <a:gd name="connsiteX38" fmla="*/ 2904229 w 3148171"/>
                  <a:gd name="connsiteY38" fmla="*/ 2407920 h 3147261"/>
                  <a:gd name="connsiteX39" fmla="*/ 2858509 w 3148171"/>
                  <a:gd name="connsiteY39" fmla="*/ 2499360 h 3147261"/>
                  <a:gd name="connsiteX40" fmla="*/ 2843269 w 3148171"/>
                  <a:gd name="connsiteY40" fmla="*/ 2529840 h 3147261"/>
                  <a:gd name="connsiteX41" fmla="*/ 2835649 w 3148171"/>
                  <a:gd name="connsiteY41" fmla="*/ 2552700 h 3147261"/>
                  <a:gd name="connsiteX42" fmla="*/ 2759449 w 3148171"/>
                  <a:gd name="connsiteY42" fmla="*/ 2636520 h 3147261"/>
                  <a:gd name="connsiteX43" fmla="*/ 2706109 w 3148171"/>
                  <a:gd name="connsiteY43" fmla="*/ 2667000 h 3147261"/>
                  <a:gd name="connsiteX44" fmla="*/ 2302249 w 3148171"/>
                  <a:gd name="connsiteY44" fmla="*/ 2971800 h 3147261"/>
                  <a:gd name="connsiteX45" fmla="*/ 2195569 w 3148171"/>
                  <a:gd name="connsiteY45" fmla="*/ 3025140 h 3147261"/>
                  <a:gd name="connsiteX46" fmla="*/ 2096509 w 3148171"/>
                  <a:gd name="connsiteY46" fmla="*/ 3055620 h 3147261"/>
                  <a:gd name="connsiteX47" fmla="*/ 1913629 w 3148171"/>
                  <a:gd name="connsiteY47" fmla="*/ 3108960 h 3147261"/>
                  <a:gd name="connsiteX48" fmla="*/ 1799329 w 3148171"/>
                  <a:gd name="connsiteY48" fmla="*/ 3147060 h 3147261"/>
                  <a:gd name="connsiteX49" fmla="*/ 1334509 w 3148171"/>
                  <a:gd name="connsiteY49" fmla="*/ 3108960 h 3147261"/>
                  <a:gd name="connsiteX50" fmla="*/ 793489 w 3148171"/>
                  <a:gd name="connsiteY50" fmla="*/ 2933700 h 3147261"/>
                  <a:gd name="connsiteX51" fmla="*/ 420109 w 3148171"/>
                  <a:gd name="connsiteY51" fmla="*/ 2644140 h 3147261"/>
                  <a:gd name="connsiteX52" fmla="*/ 321049 w 3148171"/>
                  <a:gd name="connsiteY52" fmla="*/ 2484120 h 3147261"/>
                  <a:gd name="connsiteX53" fmla="*/ 298189 w 3148171"/>
                  <a:gd name="connsiteY53" fmla="*/ 2430780 h 3147261"/>
                  <a:gd name="connsiteX54" fmla="*/ 275329 w 3148171"/>
                  <a:gd name="connsiteY54" fmla="*/ 2377440 h 3147261"/>
                  <a:gd name="connsiteX55" fmla="*/ 229609 w 3148171"/>
                  <a:gd name="connsiteY55" fmla="*/ 2316480 h 3147261"/>
                  <a:gd name="connsiteX56" fmla="*/ 206749 w 3148171"/>
                  <a:gd name="connsiteY56" fmla="*/ 2293620 h 3147261"/>
                  <a:gd name="connsiteX57" fmla="*/ 176269 w 3148171"/>
                  <a:gd name="connsiteY57" fmla="*/ 2240280 h 3147261"/>
                  <a:gd name="connsiteX58" fmla="*/ 161029 w 3148171"/>
                  <a:gd name="connsiteY58" fmla="*/ 2202180 h 3147261"/>
                  <a:gd name="connsiteX59" fmla="*/ 145789 w 3148171"/>
                  <a:gd name="connsiteY59" fmla="*/ 2179320 h 3147261"/>
                  <a:gd name="connsiteX60" fmla="*/ 130549 w 3148171"/>
                  <a:gd name="connsiteY60" fmla="*/ 2133600 h 3147261"/>
                  <a:gd name="connsiteX61" fmla="*/ 100069 w 3148171"/>
                  <a:gd name="connsiteY61" fmla="*/ 2087880 h 3147261"/>
                  <a:gd name="connsiteX62" fmla="*/ 61969 w 3148171"/>
                  <a:gd name="connsiteY62" fmla="*/ 2026920 h 3147261"/>
                  <a:gd name="connsiteX63" fmla="*/ 54349 w 3148171"/>
                  <a:gd name="connsiteY63" fmla="*/ 2004060 h 3147261"/>
                  <a:gd name="connsiteX64" fmla="*/ 39109 w 3148171"/>
                  <a:gd name="connsiteY64" fmla="*/ 1943100 h 3147261"/>
                  <a:gd name="connsiteX65" fmla="*/ 23869 w 3148171"/>
                  <a:gd name="connsiteY65" fmla="*/ 1897380 h 3147261"/>
                  <a:gd name="connsiteX66" fmla="*/ 1009 w 3148171"/>
                  <a:gd name="connsiteY66" fmla="*/ 1562100 h 3147261"/>
                  <a:gd name="connsiteX67" fmla="*/ 54349 w 3148171"/>
                  <a:gd name="connsiteY67" fmla="*/ 1135380 h 3147261"/>
                  <a:gd name="connsiteX68" fmla="*/ 161029 w 3148171"/>
                  <a:gd name="connsiteY68" fmla="*/ 861060 h 3147261"/>
                  <a:gd name="connsiteX69" fmla="*/ 183889 w 3148171"/>
                  <a:gd name="connsiteY69" fmla="*/ 822960 h 3147261"/>
                  <a:gd name="connsiteX70" fmla="*/ 260089 w 3148171"/>
                  <a:gd name="connsiteY70" fmla="*/ 708660 h 3147261"/>
                  <a:gd name="connsiteX71" fmla="*/ 275329 w 3148171"/>
                  <a:gd name="connsiteY71" fmla="*/ 662940 h 3147261"/>
                  <a:gd name="connsiteX72" fmla="*/ 420109 w 3148171"/>
                  <a:gd name="connsiteY72" fmla="*/ 510540 h 3147261"/>
                  <a:gd name="connsiteX73" fmla="*/ 511549 w 3148171"/>
                  <a:gd name="connsiteY73" fmla="*/ 434340 h 3147261"/>
                  <a:gd name="connsiteX74" fmla="*/ 564889 w 3148171"/>
                  <a:gd name="connsiteY74" fmla="*/ 396240 h 3147261"/>
                  <a:gd name="connsiteX75" fmla="*/ 656329 w 3148171"/>
                  <a:gd name="connsiteY75" fmla="*/ 312420 h 3147261"/>
                  <a:gd name="connsiteX76" fmla="*/ 869689 w 3148171"/>
                  <a:gd name="connsiteY76" fmla="*/ 175260 h 3147261"/>
                  <a:gd name="connsiteX77" fmla="*/ 976369 w 3148171"/>
                  <a:gd name="connsiteY77" fmla="*/ 137160 h 3147261"/>
                  <a:gd name="connsiteX78" fmla="*/ 1105909 w 3148171"/>
                  <a:gd name="connsiteY78" fmla="*/ 76200 h 3147261"/>
                  <a:gd name="connsiteX79" fmla="*/ 1243069 w 3148171"/>
                  <a:gd name="connsiteY79" fmla="*/ 38100 h 3147261"/>
                  <a:gd name="connsiteX80" fmla="*/ 1265929 w 3148171"/>
                  <a:gd name="connsiteY80" fmla="*/ 30480 h 3147261"/>
                  <a:gd name="connsiteX81" fmla="*/ 1387849 w 3148171"/>
                  <a:gd name="connsiteY81" fmla="*/ 15240 h 3147261"/>
                  <a:gd name="connsiteX82" fmla="*/ 1464049 w 3148171"/>
                  <a:gd name="connsiteY82" fmla="*/ 0 h 3147261"/>
                  <a:gd name="connsiteX83" fmla="*/ 1745989 w 3148171"/>
                  <a:gd name="connsiteY83" fmla="*/ 0 h 3147261"/>
                  <a:gd name="connsiteX84" fmla="*/ 2165089 w 3148171"/>
                  <a:gd name="connsiteY84" fmla="*/ 99060 h 3147261"/>
                  <a:gd name="connsiteX85" fmla="*/ 2340349 w 3148171"/>
                  <a:gd name="connsiteY85" fmla="*/ 182880 h 3147261"/>
                  <a:gd name="connsiteX86" fmla="*/ 2370829 w 3148171"/>
                  <a:gd name="connsiteY86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80429 w 3148171"/>
                  <a:gd name="connsiteY10" fmla="*/ 922020 h 3147261"/>
                  <a:gd name="connsiteX11" fmla="*/ 3010909 w 3148171"/>
                  <a:gd name="connsiteY11" fmla="*/ 998220 h 3147261"/>
                  <a:gd name="connsiteX12" fmla="*/ 3026149 w 3148171"/>
                  <a:gd name="connsiteY12" fmla="*/ 1036320 h 3147261"/>
                  <a:gd name="connsiteX13" fmla="*/ 3033769 w 3148171"/>
                  <a:gd name="connsiteY13" fmla="*/ 1066800 h 3147261"/>
                  <a:gd name="connsiteX14" fmla="*/ 3087109 w 3148171"/>
                  <a:gd name="connsiteY14" fmla="*/ 1181100 h 3147261"/>
                  <a:gd name="connsiteX15" fmla="*/ 3094729 w 3148171"/>
                  <a:gd name="connsiteY15" fmla="*/ 1226820 h 3147261"/>
                  <a:gd name="connsiteX16" fmla="*/ 3102349 w 3148171"/>
                  <a:gd name="connsiteY16" fmla="*/ 1280160 h 3147261"/>
                  <a:gd name="connsiteX17" fmla="*/ 3117589 w 3148171"/>
                  <a:gd name="connsiteY17" fmla="*/ 1371600 h 3147261"/>
                  <a:gd name="connsiteX18" fmla="*/ 3132829 w 3148171"/>
                  <a:gd name="connsiteY18" fmla="*/ 1417320 h 3147261"/>
                  <a:gd name="connsiteX19" fmla="*/ 3140449 w 3148171"/>
                  <a:gd name="connsiteY19" fmla="*/ 1485900 h 3147261"/>
                  <a:gd name="connsiteX20" fmla="*/ 3148069 w 3148171"/>
                  <a:gd name="connsiteY20" fmla="*/ 1516380 h 3147261"/>
                  <a:gd name="connsiteX21" fmla="*/ 3132829 w 3148171"/>
                  <a:gd name="connsiteY21" fmla="*/ 1691640 h 3147261"/>
                  <a:gd name="connsiteX22" fmla="*/ 3125209 w 3148171"/>
                  <a:gd name="connsiteY22" fmla="*/ 1767840 h 3147261"/>
                  <a:gd name="connsiteX23" fmla="*/ 3109969 w 3148171"/>
                  <a:gd name="connsiteY23" fmla="*/ 1836420 h 3147261"/>
                  <a:gd name="connsiteX24" fmla="*/ 3087109 w 3148171"/>
                  <a:gd name="connsiteY24" fmla="*/ 1905000 h 3147261"/>
                  <a:gd name="connsiteX25" fmla="*/ 3079489 w 3148171"/>
                  <a:gd name="connsiteY25" fmla="*/ 1935480 h 3147261"/>
                  <a:gd name="connsiteX26" fmla="*/ 3071869 w 3148171"/>
                  <a:gd name="connsiteY26" fmla="*/ 1958340 h 3147261"/>
                  <a:gd name="connsiteX27" fmla="*/ 3056629 w 3148171"/>
                  <a:gd name="connsiteY27" fmla="*/ 2019300 h 3147261"/>
                  <a:gd name="connsiteX28" fmla="*/ 3041389 w 3148171"/>
                  <a:gd name="connsiteY28" fmla="*/ 2057400 h 3147261"/>
                  <a:gd name="connsiteX29" fmla="*/ 3033769 w 3148171"/>
                  <a:gd name="connsiteY29" fmla="*/ 2080260 h 3147261"/>
                  <a:gd name="connsiteX30" fmla="*/ 3018529 w 3148171"/>
                  <a:gd name="connsiteY30" fmla="*/ 2118360 h 3147261"/>
                  <a:gd name="connsiteX31" fmla="*/ 2995669 w 3148171"/>
                  <a:gd name="connsiteY31" fmla="*/ 2186940 h 3147261"/>
                  <a:gd name="connsiteX32" fmla="*/ 2988049 w 3148171"/>
                  <a:gd name="connsiteY32" fmla="*/ 2225040 h 3147261"/>
                  <a:gd name="connsiteX33" fmla="*/ 2972809 w 3148171"/>
                  <a:gd name="connsiteY33" fmla="*/ 2270760 h 3147261"/>
                  <a:gd name="connsiteX34" fmla="*/ 2965189 w 3148171"/>
                  <a:gd name="connsiteY34" fmla="*/ 2308860 h 3147261"/>
                  <a:gd name="connsiteX35" fmla="*/ 2949949 w 3148171"/>
                  <a:gd name="connsiteY35" fmla="*/ 2331720 h 3147261"/>
                  <a:gd name="connsiteX36" fmla="*/ 2927089 w 3148171"/>
                  <a:gd name="connsiteY36" fmla="*/ 2385060 h 3147261"/>
                  <a:gd name="connsiteX37" fmla="*/ 2904229 w 3148171"/>
                  <a:gd name="connsiteY37" fmla="*/ 2407920 h 3147261"/>
                  <a:gd name="connsiteX38" fmla="*/ 2858509 w 3148171"/>
                  <a:gd name="connsiteY38" fmla="*/ 2499360 h 3147261"/>
                  <a:gd name="connsiteX39" fmla="*/ 2843269 w 3148171"/>
                  <a:gd name="connsiteY39" fmla="*/ 2529840 h 3147261"/>
                  <a:gd name="connsiteX40" fmla="*/ 2835649 w 3148171"/>
                  <a:gd name="connsiteY40" fmla="*/ 2552700 h 3147261"/>
                  <a:gd name="connsiteX41" fmla="*/ 2759449 w 3148171"/>
                  <a:gd name="connsiteY41" fmla="*/ 2636520 h 3147261"/>
                  <a:gd name="connsiteX42" fmla="*/ 2706109 w 3148171"/>
                  <a:gd name="connsiteY42" fmla="*/ 2667000 h 3147261"/>
                  <a:gd name="connsiteX43" fmla="*/ 2302249 w 3148171"/>
                  <a:gd name="connsiteY43" fmla="*/ 2971800 h 3147261"/>
                  <a:gd name="connsiteX44" fmla="*/ 2195569 w 3148171"/>
                  <a:gd name="connsiteY44" fmla="*/ 3025140 h 3147261"/>
                  <a:gd name="connsiteX45" fmla="*/ 2096509 w 3148171"/>
                  <a:gd name="connsiteY45" fmla="*/ 3055620 h 3147261"/>
                  <a:gd name="connsiteX46" fmla="*/ 1913629 w 3148171"/>
                  <a:gd name="connsiteY46" fmla="*/ 3108960 h 3147261"/>
                  <a:gd name="connsiteX47" fmla="*/ 1799329 w 3148171"/>
                  <a:gd name="connsiteY47" fmla="*/ 3147060 h 3147261"/>
                  <a:gd name="connsiteX48" fmla="*/ 1334509 w 3148171"/>
                  <a:gd name="connsiteY48" fmla="*/ 3108960 h 3147261"/>
                  <a:gd name="connsiteX49" fmla="*/ 793489 w 3148171"/>
                  <a:gd name="connsiteY49" fmla="*/ 2933700 h 3147261"/>
                  <a:gd name="connsiteX50" fmla="*/ 420109 w 3148171"/>
                  <a:gd name="connsiteY50" fmla="*/ 2644140 h 3147261"/>
                  <a:gd name="connsiteX51" fmla="*/ 321049 w 3148171"/>
                  <a:gd name="connsiteY51" fmla="*/ 2484120 h 3147261"/>
                  <a:gd name="connsiteX52" fmla="*/ 298189 w 3148171"/>
                  <a:gd name="connsiteY52" fmla="*/ 2430780 h 3147261"/>
                  <a:gd name="connsiteX53" fmla="*/ 275329 w 3148171"/>
                  <a:gd name="connsiteY53" fmla="*/ 2377440 h 3147261"/>
                  <a:gd name="connsiteX54" fmla="*/ 229609 w 3148171"/>
                  <a:gd name="connsiteY54" fmla="*/ 2316480 h 3147261"/>
                  <a:gd name="connsiteX55" fmla="*/ 206749 w 3148171"/>
                  <a:gd name="connsiteY55" fmla="*/ 2293620 h 3147261"/>
                  <a:gd name="connsiteX56" fmla="*/ 176269 w 3148171"/>
                  <a:gd name="connsiteY56" fmla="*/ 2240280 h 3147261"/>
                  <a:gd name="connsiteX57" fmla="*/ 161029 w 3148171"/>
                  <a:gd name="connsiteY57" fmla="*/ 2202180 h 3147261"/>
                  <a:gd name="connsiteX58" fmla="*/ 145789 w 3148171"/>
                  <a:gd name="connsiteY58" fmla="*/ 2179320 h 3147261"/>
                  <a:gd name="connsiteX59" fmla="*/ 130549 w 3148171"/>
                  <a:gd name="connsiteY59" fmla="*/ 2133600 h 3147261"/>
                  <a:gd name="connsiteX60" fmla="*/ 100069 w 3148171"/>
                  <a:gd name="connsiteY60" fmla="*/ 2087880 h 3147261"/>
                  <a:gd name="connsiteX61" fmla="*/ 61969 w 3148171"/>
                  <a:gd name="connsiteY61" fmla="*/ 2026920 h 3147261"/>
                  <a:gd name="connsiteX62" fmla="*/ 54349 w 3148171"/>
                  <a:gd name="connsiteY62" fmla="*/ 2004060 h 3147261"/>
                  <a:gd name="connsiteX63" fmla="*/ 39109 w 3148171"/>
                  <a:gd name="connsiteY63" fmla="*/ 1943100 h 3147261"/>
                  <a:gd name="connsiteX64" fmla="*/ 23869 w 3148171"/>
                  <a:gd name="connsiteY64" fmla="*/ 1897380 h 3147261"/>
                  <a:gd name="connsiteX65" fmla="*/ 1009 w 3148171"/>
                  <a:gd name="connsiteY65" fmla="*/ 1562100 h 3147261"/>
                  <a:gd name="connsiteX66" fmla="*/ 54349 w 3148171"/>
                  <a:gd name="connsiteY66" fmla="*/ 1135380 h 3147261"/>
                  <a:gd name="connsiteX67" fmla="*/ 161029 w 3148171"/>
                  <a:gd name="connsiteY67" fmla="*/ 861060 h 3147261"/>
                  <a:gd name="connsiteX68" fmla="*/ 183889 w 3148171"/>
                  <a:gd name="connsiteY68" fmla="*/ 822960 h 3147261"/>
                  <a:gd name="connsiteX69" fmla="*/ 260089 w 3148171"/>
                  <a:gd name="connsiteY69" fmla="*/ 708660 h 3147261"/>
                  <a:gd name="connsiteX70" fmla="*/ 275329 w 3148171"/>
                  <a:gd name="connsiteY70" fmla="*/ 662940 h 3147261"/>
                  <a:gd name="connsiteX71" fmla="*/ 420109 w 3148171"/>
                  <a:gd name="connsiteY71" fmla="*/ 510540 h 3147261"/>
                  <a:gd name="connsiteX72" fmla="*/ 511549 w 3148171"/>
                  <a:gd name="connsiteY72" fmla="*/ 434340 h 3147261"/>
                  <a:gd name="connsiteX73" fmla="*/ 564889 w 3148171"/>
                  <a:gd name="connsiteY73" fmla="*/ 396240 h 3147261"/>
                  <a:gd name="connsiteX74" fmla="*/ 656329 w 3148171"/>
                  <a:gd name="connsiteY74" fmla="*/ 312420 h 3147261"/>
                  <a:gd name="connsiteX75" fmla="*/ 869689 w 3148171"/>
                  <a:gd name="connsiteY75" fmla="*/ 175260 h 3147261"/>
                  <a:gd name="connsiteX76" fmla="*/ 976369 w 3148171"/>
                  <a:gd name="connsiteY76" fmla="*/ 137160 h 3147261"/>
                  <a:gd name="connsiteX77" fmla="*/ 1105909 w 3148171"/>
                  <a:gd name="connsiteY77" fmla="*/ 76200 h 3147261"/>
                  <a:gd name="connsiteX78" fmla="*/ 1243069 w 3148171"/>
                  <a:gd name="connsiteY78" fmla="*/ 38100 h 3147261"/>
                  <a:gd name="connsiteX79" fmla="*/ 1265929 w 3148171"/>
                  <a:gd name="connsiteY79" fmla="*/ 30480 h 3147261"/>
                  <a:gd name="connsiteX80" fmla="*/ 1387849 w 3148171"/>
                  <a:gd name="connsiteY80" fmla="*/ 15240 h 3147261"/>
                  <a:gd name="connsiteX81" fmla="*/ 1464049 w 3148171"/>
                  <a:gd name="connsiteY81" fmla="*/ 0 h 3147261"/>
                  <a:gd name="connsiteX82" fmla="*/ 1745989 w 3148171"/>
                  <a:gd name="connsiteY82" fmla="*/ 0 h 3147261"/>
                  <a:gd name="connsiteX83" fmla="*/ 2165089 w 3148171"/>
                  <a:gd name="connsiteY83" fmla="*/ 99060 h 3147261"/>
                  <a:gd name="connsiteX84" fmla="*/ 2340349 w 3148171"/>
                  <a:gd name="connsiteY84" fmla="*/ 182880 h 3147261"/>
                  <a:gd name="connsiteX85" fmla="*/ 2370829 w 3148171"/>
                  <a:gd name="connsiteY85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3010909 w 3148171"/>
                  <a:gd name="connsiteY10" fmla="*/ 998220 h 3147261"/>
                  <a:gd name="connsiteX11" fmla="*/ 3026149 w 3148171"/>
                  <a:gd name="connsiteY11" fmla="*/ 1036320 h 3147261"/>
                  <a:gd name="connsiteX12" fmla="*/ 3033769 w 3148171"/>
                  <a:gd name="connsiteY12" fmla="*/ 1066800 h 3147261"/>
                  <a:gd name="connsiteX13" fmla="*/ 3087109 w 3148171"/>
                  <a:gd name="connsiteY13" fmla="*/ 1181100 h 3147261"/>
                  <a:gd name="connsiteX14" fmla="*/ 3094729 w 3148171"/>
                  <a:gd name="connsiteY14" fmla="*/ 1226820 h 3147261"/>
                  <a:gd name="connsiteX15" fmla="*/ 3102349 w 3148171"/>
                  <a:gd name="connsiteY15" fmla="*/ 1280160 h 3147261"/>
                  <a:gd name="connsiteX16" fmla="*/ 3117589 w 3148171"/>
                  <a:gd name="connsiteY16" fmla="*/ 1371600 h 3147261"/>
                  <a:gd name="connsiteX17" fmla="*/ 3132829 w 3148171"/>
                  <a:gd name="connsiteY17" fmla="*/ 1417320 h 3147261"/>
                  <a:gd name="connsiteX18" fmla="*/ 3140449 w 3148171"/>
                  <a:gd name="connsiteY18" fmla="*/ 1485900 h 3147261"/>
                  <a:gd name="connsiteX19" fmla="*/ 3148069 w 3148171"/>
                  <a:gd name="connsiteY19" fmla="*/ 1516380 h 3147261"/>
                  <a:gd name="connsiteX20" fmla="*/ 3132829 w 3148171"/>
                  <a:gd name="connsiteY20" fmla="*/ 1691640 h 3147261"/>
                  <a:gd name="connsiteX21" fmla="*/ 3125209 w 3148171"/>
                  <a:gd name="connsiteY21" fmla="*/ 1767840 h 3147261"/>
                  <a:gd name="connsiteX22" fmla="*/ 3109969 w 3148171"/>
                  <a:gd name="connsiteY22" fmla="*/ 1836420 h 3147261"/>
                  <a:gd name="connsiteX23" fmla="*/ 3087109 w 3148171"/>
                  <a:gd name="connsiteY23" fmla="*/ 1905000 h 3147261"/>
                  <a:gd name="connsiteX24" fmla="*/ 3079489 w 3148171"/>
                  <a:gd name="connsiteY24" fmla="*/ 1935480 h 3147261"/>
                  <a:gd name="connsiteX25" fmla="*/ 3071869 w 3148171"/>
                  <a:gd name="connsiteY25" fmla="*/ 1958340 h 3147261"/>
                  <a:gd name="connsiteX26" fmla="*/ 3056629 w 3148171"/>
                  <a:gd name="connsiteY26" fmla="*/ 2019300 h 3147261"/>
                  <a:gd name="connsiteX27" fmla="*/ 3041389 w 3148171"/>
                  <a:gd name="connsiteY27" fmla="*/ 2057400 h 3147261"/>
                  <a:gd name="connsiteX28" fmla="*/ 3033769 w 3148171"/>
                  <a:gd name="connsiteY28" fmla="*/ 2080260 h 3147261"/>
                  <a:gd name="connsiteX29" fmla="*/ 3018529 w 3148171"/>
                  <a:gd name="connsiteY29" fmla="*/ 2118360 h 3147261"/>
                  <a:gd name="connsiteX30" fmla="*/ 2995669 w 3148171"/>
                  <a:gd name="connsiteY30" fmla="*/ 2186940 h 3147261"/>
                  <a:gd name="connsiteX31" fmla="*/ 2988049 w 3148171"/>
                  <a:gd name="connsiteY31" fmla="*/ 2225040 h 3147261"/>
                  <a:gd name="connsiteX32" fmla="*/ 2972809 w 3148171"/>
                  <a:gd name="connsiteY32" fmla="*/ 2270760 h 3147261"/>
                  <a:gd name="connsiteX33" fmla="*/ 2965189 w 3148171"/>
                  <a:gd name="connsiteY33" fmla="*/ 2308860 h 3147261"/>
                  <a:gd name="connsiteX34" fmla="*/ 2949949 w 3148171"/>
                  <a:gd name="connsiteY34" fmla="*/ 2331720 h 3147261"/>
                  <a:gd name="connsiteX35" fmla="*/ 2927089 w 3148171"/>
                  <a:gd name="connsiteY35" fmla="*/ 2385060 h 3147261"/>
                  <a:gd name="connsiteX36" fmla="*/ 2904229 w 3148171"/>
                  <a:gd name="connsiteY36" fmla="*/ 2407920 h 3147261"/>
                  <a:gd name="connsiteX37" fmla="*/ 2858509 w 3148171"/>
                  <a:gd name="connsiteY37" fmla="*/ 2499360 h 3147261"/>
                  <a:gd name="connsiteX38" fmla="*/ 2843269 w 3148171"/>
                  <a:gd name="connsiteY38" fmla="*/ 2529840 h 3147261"/>
                  <a:gd name="connsiteX39" fmla="*/ 2835649 w 3148171"/>
                  <a:gd name="connsiteY39" fmla="*/ 2552700 h 3147261"/>
                  <a:gd name="connsiteX40" fmla="*/ 2759449 w 3148171"/>
                  <a:gd name="connsiteY40" fmla="*/ 2636520 h 3147261"/>
                  <a:gd name="connsiteX41" fmla="*/ 2706109 w 3148171"/>
                  <a:gd name="connsiteY41" fmla="*/ 2667000 h 3147261"/>
                  <a:gd name="connsiteX42" fmla="*/ 2302249 w 3148171"/>
                  <a:gd name="connsiteY42" fmla="*/ 2971800 h 3147261"/>
                  <a:gd name="connsiteX43" fmla="*/ 2195569 w 3148171"/>
                  <a:gd name="connsiteY43" fmla="*/ 3025140 h 3147261"/>
                  <a:gd name="connsiteX44" fmla="*/ 2096509 w 3148171"/>
                  <a:gd name="connsiteY44" fmla="*/ 3055620 h 3147261"/>
                  <a:gd name="connsiteX45" fmla="*/ 1913629 w 3148171"/>
                  <a:gd name="connsiteY45" fmla="*/ 3108960 h 3147261"/>
                  <a:gd name="connsiteX46" fmla="*/ 1799329 w 3148171"/>
                  <a:gd name="connsiteY46" fmla="*/ 3147060 h 3147261"/>
                  <a:gd name="connsiteX47" fmla="*/ 1334509 w 3148171"/>
                  <a:gd name="connsiteY47" fmla="*/ 3108960 h 3147261"/>
                  <a:gd name="connsiteX48" fmla="*/ 793489 w 3148171"/>
                  <a:gd name="connsiteY48" fmla="*/ 2933700 h 3147261"/>
                  <a:gd name="connsiteX49" fmla="*/ 420109 w 3148171"/>
                  <a:gd name="connsiteY49" fmla="*/ 2644140 h 3147261"/>
                  <a:gd name="connsiteX50" fmla="*/ 321049 w 3148171"/>
                  <a:gd name="connsiteY50" fmla="*/ 2484120 h 3147261"/>
                  <a:gd name="connsiteX51" fmla="*/ 298189 w 3148171"/>
                  <a:gd name="connsiteY51" fmla="*/ 2430780 h 3147261"/>
                  <a:gd name="connsiteX52" fmla="*/ 275329 w 3148171"/>
                  <a:gd name="connsiteY52" fmla="*/ 2377440 h 3147261"/>
                  <a:gd name="connsiteX53" fmla="*/ 229609 w 3148171"/>
                  <a:gd name="connsiteY53" fmla="*/ 2316480 h 3147261"/>
                  <a:gd name="connsiteX54" fmla="*/ 206749 w 3148171"/>
                  <a:gd name="connsiteY54" fmla="*/ 2293620 h 3147261"/>
                  <a:gd name="connsiteX55" fmla="*/ 176269 w 3148171"/>
                  <a:gd name="connsiteY55" fmla="*/ 2240280 h 3147261"/>
                  <a:gd name="connsiteX56" fmla="*/ 161029 w 3148171"/>
                  <a:gd name="connsiteY56" fmla="*/ 2202180 h 3147261"/>
                  <a:gd name="connsiteX57" fmla="*/ 145789 w 3148171"/>
                  <a:gd name="connsiteY57" fmla="*/ 2179320 h 3147261"/>
                  <a:gd name="connsiteX58" fmla="*/ 130549 w 3148171"/>
                  <a:gd name="connsiteY58" fmla="*/ 2133600 h 3147261"/>
                  <a:gd name="connsiteX59" fmla="*/ 100069 w 3148171"/>
                  <a:gd name="connsiteY59" fmla="*/ 2087880 h 3147261"/>
                  <a:gd name="connsiteX60" fmla="*/ 61969 w 3148171"/>
                  <a:gd name="connsiteY60" fmla="*/ 2026920 h 3147261"/>
                  <a:gd name="connsiteX61" fmla="*/ 54349 w 3148171"/>
                  <a:gd name="connsiteY61" fmla="*/ 2004060 h 3147261"/>
                  <a:gd name="connsiteX62" fmla="*/ 39109 w 3148171"/>
                  <a:gd name="connsiteY62" fmla="*/ 1943100 h 3147261"/>
                  <a:gd name="connsiteX63" fmla="*/ 23869 w 3148171"/>
                  <a:gd name="connsiteY63" fmla="*/ 1897380 h 3147261"/>
                  <a:gd name="connsiteX64" fmla="*/ 1009 w 3148171"/>
                  <a:gd name="connsiteY64" fmla="*/ 1562100 h 3147261"/>
                  <a:gd name="connsiteX65" fmla="*/ 54349 w 3148171"/>
                  <a:gd name="connsiteY65" fmla="*/ 1135380 h 3147261"/>
                  <a:gd name="connsiteX66" fmla="*/ 161029 w 3148171"/>
                  <a:gd name="connsiteY66" fmla="*/ 861060 h 3147261"/>
                  <a:gd name="connsiteX67" fmla="*/ 183889 w 3148171"/>
                  <a:gd name="connsiteY67" fmla="*/ 822960 h 3147261"/>
                  <a:gd name="connsiteX68" fmla="*/ 260089 w 3148171"/>
                  <a:gd name="connsiteY68" fmla="*/ 708660 h 3147261"/>
                  <a:gd name="connsiteX69" fmla="*/ 275329 w 3148171"/>
                  <a:gd name="connsiteY69" fmla="*/ 662940 h 3147261"/>
                  <a:gd name="connsiteX70" fmla="*/ 420109 w 3148171"/>
                  <a:gd name="connsiteY70" fmla="*/ 510540 h 3147261"/>
                  <a:gd name="connsiteX71" fmla="*/ 511549 w 3148171"/>
                  <a:gd name="connsiteY71" fmla="*/ 434340 h 3147261"/>
                  <a:gd name="connsiteX72" fmla="*/ 564889 w 3148171"/>
                  <a:gd name="connsiteY72" fmla="*/ 396240 h 3147261"/>
                  <a:gd name="connsiteX73" fmla="*/ 656329 w 3148171"/>
                  <a:gd name="connsiteY73" fmla="*/ 312420 h 3147261"/>
                  <a:gd name="connsiteX74" fmla="*/ 869689 w 3148171"/>
                  <a:gd name="connsiteY74" fmla="*/ 175260 h 3147261"/>
                  <a:gd name="connsiteX75" fmla="*/ 976369 w 3148171"/>
                  <a:gd name="connsiteY75" fmla="*/ 137160 h 3147261"/>
                  <a:gd name="connsiteX76" fmla="*/ 1105909 w 3148171"/>
                  <a:gd name="connsiteY76" fmla="*/ 76200 h 3147261"/>
                  <a:gd name="connsiteX77" fmla="*/ 1243069 w 3148171"/>
                  <a:gd name="connsiteY77" fmla="*/ 38100 h 3147261"/>
                  <a:gd name="connsiteX78" fmla="*/ 1265929 w 3148171"/>
                  <a:gd name="connsiteY78" fmla="*/ 30480 h 3147261"/>
                  <a:gd name="connsiteX79" fmla="*/ 1387849 w 3148171"/>
                  <a:gd name="connsiteY79" fmla="*/ 15240 h 3147261"/>
                  <a:gd name="connsiteX80" fmla="*/ 1464049 w 3148171"/>
                  <a:gd name="connsiteY80" fmla="*/ 0 h 3147261"/>
                  <a:gd name="connsiteX81" fmla="*/ 1745989 w 3148171"/>
                  <a:gd name="connsiteY81" fmla="*/ 0 h 3147261"/>
                  <a:gd name="connsiteX82" fmla="*/ 2165089 w 3148171"/>
                  <a:gd name="connsiteY82" fmla="*/ 99060 h 3147261"/>
                  <a:gd name="connsiteX83" fmla="*/ 2340349 w 3148171"/>
                  <a:gd name="connsiteY83" fmla="*/ 182880 h 3147261"/>
                  <a:gd name="connsiteX84" fmla="*/ 2370829 w 3148171"/>
                  <a:gd name="connsiteY84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3010909 w 3148171"/>
                  <a:gd name="connsiteY10" fmla="*/ 998220 h 3147261"/>
                  <a:gd name="connsiteX11" fmla="*/ 3026149 w 3148171"/>
                  <a:gd name="connsiteY11" fmla="*/ 1036320 h 3147261"/>
                  <a:gd name="connsiteX12" fmla="*/ 3033769 w 3148171"/>
                  <a:gd name="connsiteY12" fmla="*/ 1066800 h 3147261"/>
                  <a:gd name="connsiteX13" fmla="*/ 3087109 w 3148171"/>
                  <a:gd name="connsiteY13" fmla="*/ 1181100 h 3147261"/>
                  <a:gd name="connsiteX14" fmla="*/ 3094729 w 3148171"/>
                  <a:gd name="connsiteY14" fmla="*/ 1226820 h 3147261"/>
                  <a:gd name="connsiteX15" fmla="*/ 3102349 w 3148171"/>
                  <a:gd name="connsiteY15" fmla="*/ 1280160 h 3147261"/>
                  <a:gd name="connsiteX16" fmla="*/ 3117589 w 3148171"/>
                  <a:gd name="connsiteY16" fmla="*/ 1371600 h 3147261"/>
                  <a:gd name="connsiteX17" fmla="*/ 3140449 w 3148171"/>
                  <a:gd name="connsiteY17" fmla="*/ 1485900 h 3147261"/>
                  <a:gd name="connsiteX18" fmla="*/ 3148069 w 3148171"/>
                  <a:gd name="connsiteY18" fmla="*/ 1516380 h 3147261"/>
                  <a:gd name="connsiteX19" fmla="*/ 3132829 w 3148171"/>
                  <a:gd name="connsiteY19" fmla="*/ 1691640 h 3147261"/>
                  <a:gd name="connsiteX20" fmla="*/ 3125209 w 3148171"/>
                  <a:gd name="connsiteY20" fmla="*/ 1767840 h 3147261"/>
                  <a:gd name="connsiteX21" fmla="*/ 3109969 w 3148171"/>
                  <a:gd name="connsiteY21" fmla="*/ 1836420 h 3147261"/>
                  <a:gd name="connsiteX22" fmla="*/ 3087109 w 3148171"/>
                  <a:gd name="connsiteY22" fmla="*/ 1905000 h 3147261"/>
                  <a:gd name="connsiteX23" fmla="*/ 3079489 w 3148171"/>
                  <a:gd name="connsiteY23" fmla="*/ 1935480 h 3147261"/>
                  <a:gd name="connsiteX24" fmla="*/ 3071869 w 3148171"/>
                  <a:gd name="connsiteY24" fmla="*/ 1958340 h 3147261"/>
                  <a:gd name="connsiteX25" fmla="*/ 3056629 w 3148171"/>
                  <a:gd name="connsiteY25" fmla="*/ 2019300 h 3147261"/>
                  <a:gd name="connsiteX26" fmla="*/ 3041389 w 3148171"/>
                  <a:gd name="connsiteY26" fmla="*/ 2057400 h 3147261"/>
                  <a:gd name="connsiteX27" fmla="*/ 3033769 w 3148171"/>
                  <a:gd name="connsiteY27" fmla="*/ 2080260 h 3147261"/>
                  <a:gd name="connsiteX28" fmla="*/ 3018529 w 3148171"/>
                  <a:gd name="connsiteY28" fmla="*/ 2118360 h 3147261"/>
                  <a:gd name="connsiteX29" fmla="*/ 2995669 w 3148171"/>
                  <a:gd name="connsiteY29" fmla="*/ 2186940 h 3147261"/>
                  <a:gd name="connsiteX30" fmla="*/ 2988049 w 3148171"/>
                  <a:gd name="connsiteY30" fmla="*/ 2225040 h 3147261"/>
                  <a:gd name="connsiteX31" fmla="*/ 2972809 w 3148171"/>
                  <a:gd name="connsiteY31" fmla="*/ 2270760 h 3147261"/>
                  <a:gd name="connsiteX32" fmla="*/ 2965189 w 3148171"/>
                  <a:gd name="connsiteY32" fmla="*/ 2308860 h 3147261"/>
                  <a:gd name="connsiteX33" fmla="*/ 2949949 w 3148171"/>
                  <a:gd name="connsiteY33" fmla="*/ 2331720 h 3147261"/>
                  <a:gd name="connsiteX34" fmla="*/ 2927089 w 3148171"/>
                  <a:gd name="connsiteY34" fmla="*/ 2385060 h 3147261"/>
                  <a:gd name="connsiteX35" fmla="*/ 2904229 w 3148171"/>
                  <a:gd name="connsiteY35" fmla="*/ 2407920 h 3147261"/>
                  <a:gd name="connsiteX36" fmla="*/ 2858509 w 3148171"/>
                  <a:gd name="connsiteY36" fmla="*/ 2499360 h 3147261"/>
                  <a:gd name="connsiteX37" fmla="*/ 2843269 w 3148171"/>
                  <a:gd name="connsiteY37" fmla="*/ 2529840 h 3147261"/>
                  <a:gd name="connsiteX38" fmla="*/ 2835649 w 3148171"/>
                  <a:gd name="connsiteY38" fmla="*/ 2552700 h 3147261"/>
                  <a:gd name="connsiteX39" fmla="*/ 2759449 w 3148171"/>
                  <a:gd name="connsiteY39" fmla="*/ 2636520 h 3147261"/>
                  <a:gd name="connsiteX40" fmla="*/ 2706109 w 3148171"/>
                  <a:gd name="connsiteY40" fmla="*/ 2667000 h 3147261"/>
                  <a:gd name="connsiteX41" fmla="*/ 2302249 w 3148171"/>
                  <a:gd name="connsiteY41" fmla="*/ 2971800 h 3147261"/>
                  <a:gd name="connsiteX42" fmla="*/ 2195569 w 3148171"/>
                  <a:gd name="connsiteY42" fmla="*/ 3025140 h 3147261"/>
                  <a:gd name="connsiteX43" fmla="*/ 2096509 w 3148171"/>
                  <a:gd name="connsiteY43" fmla="*/ 3055620 h 3147261"/>
                  <a:gd name="connsiteX44" fmla="*/ 1913629 w 3148171"/>
                  <a:gd name="connsiteY44" fmla="*/ 3108960 h 3147261"/>
                  <a:gd name="connsiteX45" fmla="*/ 1799329 w 3148171"/>
                  <a:gd name="connsiteY45" fmla="*/ 3147060 h 3147261"/>
                  <a:gd name="connsiteX46" fmla="*/ 1334509 w 3148171"/>
                  <a:gd name="connsiteY46" fmla="*/ 3108960 h 3147261"/>
                  <a:gd name="connsiteX47" fmla="*/ 793489 w 3148171"/>
                  <a:gd name="connsiteY47" fmla="*/ 2933700 h 3147261"/>
                  <a:gd name="connsiteX48" fmla="*/ 420109 w 3148171"/>
                  <a:gd name="connsiteY48" fmla="*/ 2644140 h 3147261"/>
                  <a:gd name="connsiteX49" fmla="*/ 321049 w 3148171"/>
                  <a:gd name="connsiteY49" fmla="*/ 2484120 h 3147261"/>
                  <a:gd name="connsiteX50" fmla="*/ 298189 w 3148171"/>
                  <a:gd name="connsiteY50" fmla="*/ 2430780 h 3147261"/>
                  <a:gd name="connsiteX51" fmla="*/ 275329 w 3148171"/>
                  <a:gd name="connsiteY51" fmla="*/ 2377440 h 3147261"/>
                  <a:gd name="connsiteX52" fmla="*/ 229609 w 3148171"/>
                  <a:gd name="connsiteY52" fmla="*/ 2316480 h 3147261"/>
                  <a:gd name="connsiteX53" fmla="*/ 206749 w 3148171"/>
                  <a:gd name="connsiteY53" fmla="*/ 2293620 h 3147261"/>
                  <a:gd name="connsiteX54" fmla="*/ 176269 w 3148171"/>
                  <a:gd name="connsiteY54" fmla="*/ 2240280 h 3147261"/>
                  <a:gd name="connsiteX55" fmla="*/ 161029 w 3148171"/>
                  <a:gd name="connsiteY55" fmla="*/ 2202180 h 3147261"/>
                  <a:gd name="connsiteX56" fmla="*/ 145789 w 3148171"/>
                  <a:gd name="connsiteY56" fmla="*/ 2179320 h 3147261"/>
                  <a:gd name="connsiteX57" fmla="*/ 130549 w 3148171"/>
                  <a:gd name="connsiteY57" fmla="*/ 2133600 h 3147261"/>
                  <a:gd name="connsiteX58" fmla="*/ 100069 w 3148171"/>
                  <a:gd name="connsiteY58" fmla="*/ 2087880 h 3147261"/>
                  <a:gd name="connsiteX59" fmla="*/ 61969 w 3148171"/>
                  <a:gd name="connsiteY59" fmla="*/ 2026920 h 3147261"/>
                  <a:gd name="connsiteX60" fmla="*/ 54349 w 3148171"/>
                  <a:gd name="connsiteY60" fmla="*/ 2004060 h 3147261"/>
                  <a:gd name="connsiteX61" fmla="*/ 39109 w 3148171"/>
                  <a:gd name="connsiteY61" fmla="*/ 1943100 h 3147261"/>
                  <a:gd name="connsiteX62" fmla="*/ 23869 w 3148171"/>
                  <a:gd name="connsiteY62" fmla="*/ 1897380 h 3147261"/>
                  <a:gd name="connsiteX63" fmla="*/ 1009 w 3148171"/>
                  <a:gd name="connsiteY63" fmla="*/ 1562100 h 3147261"/>
                  <a:gd name="connsiteX64" fmla="*/ 54349 w 3148171"/>
                  <a:gd name="connsiteY64" fmla="*/ 1135380 h 3147261"/>
                  <a:gd name="connsiteX65" fmla="*/ 161029 w 3148171"/>
                  <a:gd name="connsiteY65" fmla="*/ 861060 h 3147261"/>
                  <a:gd name="connsiteX66" fmla="*/ 183889 w 3148171"/>
                  <a:gd name="connsiteY66" fmla="*/ 822960 h 3147261"/>
                  <a:gd name="connsiteX67" fmla="*/ 260089 w 3148171"/>
                  <a:gd name="connsiteY67" fmla="*/ 708660 h 3147261"/>
                  <a:gd name="connsiteX68" fmla="*/ 275329 w 3148171"/>
                  <a:gd name="connsiteY68" fmla="*/ 662940 h 3147261"/>
                  <a:gd name="connsiteX69" fmla="*/ 420109 w 3148171"/>
                  <a:gd name="connsiteY69" fmla="*/ 510540 h 3147261"/>
                  <a:gd name="connsiteX70" fmla="*/ 511549 w 3148171"/>
                  <a:gd name="connsiteY70" fmla="*/ 434340 h 3147261"/>
                  <a:gd name="connsiteX71" fmla="*/ 564889 w 3148171"/>
                  <a:gd name="connsiteY71" fmla="*/ 396240 h 3147261"/>
                  <a:gd name="connsiteX72" fmla="*/ 656329 w 3148171"/>
                  <a:gd name="connsiteY72" fmla="*/ 312420 h 3147261"/>
                  <a:gd name="connsiteX73" fmla="*/ 869689 w 3148171"/>
                  <a:gd name="connsiteY73" fmla="*/ 175260 h 3147261"/>
                  <a:gd name="connsiteX74" fmla="*/ 976369 w 3148171"/>
                  <a:gd name="connsiteY74" fmla="*/ 137160 h 3147261"/>
                  <a:gd name="connsiteX75" fmla="*/ 1105909 w 3148171"/>
                  <a:gd name="connsiteY75" fmla="*/ 76200 h 3147261"/>
                  <a:gd name="connsiteX76" fmla="*/ 1243069 w 3148171"/>
                  <a:gd name="connsiteY76" fmla="*/ 38100 h 3147261"/>
                  <a:gd name="connsiteX77" fmla="*/ 1265929 w 3148171"/>
                  <a:gd name="connsiteY77" fmla="*/ 30480 h 3147261"/>
                  <a:gd name="connsiteX78" fmla="*/ 1387849 w 3148171"/>
                  <a:gd name="connsiteY78" fmla="*/ 15240 h 3147261"/>
                  <a:gd name="connsiteX79" fmla="*/ 1464049 w 3148171"/>
                  <a:gd name="connsiteY79" fmla="*/ 0 h 3147261"/>
                  <a:gd name="connsiteX80" fmla="*/ 1745989 w 3148171"/>
                  <a:gd name="connsiteY80" fmla="*/ 0 h 3147261"/>
                  <a:gd name="connsiteX81" fmla="*/ 2165089 w 3148171"/>
                  <a:gd name="connsiteY81" fmla="*/ 99060 h 3147261"/>
                  <a:gd name="connsiteX82" fmla="*/ 2340349 w 3148171"/>
                  <a:gd name="connsiteY82" fmla="*/ 182880 h 3147261"/>
                  <a:gd name="connsiteX83" fmla="*/ 2370829 w 3148171"/>
                  <a:gd name="connsiteY83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71869 w 3140960"/>
                  <a:gd name="connsiteY23" fmla="*/ 1958340 h 3147261"/>
                  <a:gd name="connsiteX24" fmla="*/ 3056629 w 3140960"/>
                  <a:gd name="connsiteY24" fmla="*/ 2019300 h 3147261"/>
                  <a:gd name="connsiteX25" fmla="*/ 3041389 w 3140960"/>
                  <a:gd name="connsiteY25" fmla="*/ 2057400 h 3147261"/>
                  <a:gd name="connsiteX26" fmla="*/ 3033769 w 3140960"/>
                  <a:gd name="connsiteY26" fmla="*/ 2080260 h 3147261"/>
                  <a:gd name="connsiteX27" fmla="*/ 3018529 w 3140960"/>
                  <a:gd name="connsiteY27" fmla="*/ 2118360 h 3147261"/>
                  <a:gd name="connsiteX28" fmla="*/ 2995669 w 3140960"/>
                  <a:gd name="connsiteY28" fmla="*/ 2186940 h 3147261"/>
                  <a:gd name="connsiteX29" fmla="*/ 2988049 w 3140960"/>
                  <a:gd name="connsiteY29" fmla="*/ 2225040 h 3147261"/>
                  <a:gd name="connsiteX30" fmla="*/ 2972809 w 3140960"/>
                  <a:gd name="connsiteY30" fmla="*/ 2270760 h 3147261"/>
                  <a:gd name="connsiteX31" fmla="*/ 2965189 w 3140960"/>
                  <a:gd name="connsiteY31" fmla="*/ 2308860 h 3147261"/>
                  <a:gd name="connsiteX32" fmla="*/ 2949949 w 3140960"/>
                  <a:gd name="connsiteY32" fmla="*/ 2331720 h 3147261"/>
                  <a:gd name="connsiteX33" fmla="*/ 2927089 w 3140960"/>
                  <a:gd name="connsiteY33" fmla="*/ 2385060 h 3147261"/>
                  <a:gd name="connsiteX34" fmla="*/ 2904229 w 3140960"/>
                  <a:gd name="connsiteY34" fmla="*/ 2407920 h 3147261"/>
                  <a:gd name="connsiteX35" fmla="*/ 2858509 w 3140960"/>
                  <a:gd name="connsiteY35" fmla="*/ 2499360 h 3147261"/>
                  <a:gd name="connsiteX36" fmla="*/ 2843269 w 3140960"/>
                  <a:gd name="connsiteY36" fmla="*/ 2529840 h 3147261"/>
                  <a:gd name="connsiteX37" fmla="*/ 2835649 w 3140960"/>
                  <a:gd name="connsiteY37" fmla="*/ 2552700 h 3147261"/>
                  <a:gd name="connsiteX38" fmla="*/ 2759449 w 3140960"/>
                  <a:gd name="connsiteY38" fmla="*/ 2636520 h 3147261"/>
                  <a:gd name="connsiteX39" fmla="*/ 2706109 w 3140960"/>
                  <a:gd name="connsiteY39" fmla="*/ 2667000 h 3147261"/>
                  <a:gd name="connsiteX40" fmla="*/ 2302249 w 3140960"/>
                  <a:gd name="connsiteY40" fmla="*/ 2971800 h 3147261"/>
                  <a:gd name="connsiteX41" fmla="*/ 2195569 w 3140960"/>
                  <a:gd name="connsiteY41" fmla="*/ 3025140 h 3147261"/>
                  <a:gd name="connsiteX42" fmla="*/ 2096509 w 3140960"/>
                  <a:gd name="connsiteY42" fmla="*/ 3055620 h 3147261"/>
                  <a:gd name="connsiteX43" fmla="*/ 1913629 w 3140960"/>
                  <a:gd name="connsiteY43" fmla="*/ 3108960 h 3147261"/>
                  <a:gd name="connsiteX44" fmla="*/ 1799329 w 3140960"/>
                  <a:gd name="connsiteY44" fmla="*/ 3147060 h 3147261"/>
                  <a:gd name="connsiteX45" fmla="*/ 1334509 w 3140960"/>
                  <a:gd name="connsiteY45" fmla="*/ 3108960 h 3147261"/>
                  <a:gd name="connsiteX46" fmla="*/ 793489 w 3140960"/>
                  <a:gd name="connsiteY46" fmla="*/ 2933700 h 3147261"/>
                  <a:gd name="connsiteX47" fmla="*/ 420109 w 3140960"/>
                  <a:gd name="connsiteY47" fmla="*/ 2644140 h 3147261"/>
                  <a:gd name="connsiteX48" fmla="*/ 321049 w 3140960"/>
                  <a:gd name="connsiteY48" fmla="*/ 2484120 h 3147261"/>
                  <a:gd name="connsiteX49" fmla="*/ 298189 w 3140960"/>
                  <a:gd name="connsiteY49" fmla="*/ 2430780 h 3147261"/>
                  <a:gd name="connsiteX50" fmla="*/ 275329 w 3140960"/>
                  <a:gd name="connsiteY50" fmla="*/ 2377440 h 3147261"/>
                  <a:gd name="connsiteX51" fmla="*/ 229609 w 3140960"/>
                  <a:gd name="connsiteY51" fmla="*/ 2316480 h 3147261"/>
                  <a:gd name="connsiteX52" fmla="*/ 206749 w 3140960"/>
                  <a:gd name="connsiteY52" fmla="*/ 2293620 h 3147261"/>
                  <a:gd name="connsiteX53" fmla="*/ 176269 w 3140960"/>
                  <a:gd name="connsiteY53" fmla="*/ 2240280 h 3147261"/>
                  <a:gd name="connsiteX54" fmla="*/ 161029 w 3140960"/>
                  <a:gd name="connsiteY54" fmla="*/ 2202180 h 3147261"/>
                  <a:gd name="connsiteX55" fmla="*/ 145789 w 3140960"/>
                  <a:gd name="connsiteY55" fmla="*/ 2179320 h 3147261"/>
                  <a:gd name="connsiteX56" fmla="*/ 130549 w 3140960"/>
                  <a:gd name="connsiteY56" fmla="*/ 2133600 h 3147261"/>
                  <a:gd name="connsiteX57" fmla="*/ 100069 w 3140960"/>
                  <a:gd name="connsiteY57" fmla="*/ 2087880 h 3147261"/>
                  <a:gd name="connsiteX58" fmla="*/ 61969 w 3140960"/>
                  <a:gd name="connsiteY58" fmla="*/ 2026920 h 3147261"/>
                  <a:gd name="connsiteX59" fmla="*/ 54349 w 3140960"/>
                  <a:gd name="connsiteY59" fmla="*/ 2004060 h 3147261"/>
                  <a:gd name="connsiteX60" fmla="*/ 39109 w 3140960"/>
                  <a:gd name="connsiteY60" fmla="*/ 1943100 h 3147261"/>
                  <a:gd name="connsiteX61" fmla="*/ 23869 w 3140960"/>
                  <a:gd name="connsiteY61" fmla="*/ 1897380 h 3147261"/>
                  <a:gd name="connsiteX62" fmla="*/ 1009 w 3140960"/>
                  <a:gd name="connsiteY62" fmla="*/ 1562100 h 3147261"/>
                  <a:gd name="connsiteX63" fmla="*/ 54349 w 3140960"/>
                  <a:gd name="connsiteY63" fmla="*/ 1135380 h 3147261"/>
                  <a:gd name="connsiteX64" fmla="*/ 161029 w 3140960"/>
                  <a:gd name="connsiteY64" fmla="*/ 861060 h 3147261"/>
                  <a:gd name="connsiteX65" fmla="*/ 183889 w 3140960"/>
                  <a:gd name="connsiteY65" fmla="*/ 822960 h 3147261"/>
                  <a:gd name="connsiteX66" fmla="*/ 260089 w 3140960"/>
                  <a:gd name="connsiteY66" fmla="*/ 708660 h 3147261"/>
                  <a:gd name="connsiteX67" fmla="*/ 275329 w 3140960"/>
                  <a:gd name="connsiteY67" fmla="*/ 662940 h 3147261"/>
                  <a:gd name="connsiteX68" fmla="*/ 420109 w 3140960"/>
                  <a:gd name="connsiteY68" fmla="*/ 510540 h 3147261"/>
                  <a:gd name="connsiteX69" fmla="*/ 511549 w 3140960"/>
                  <a:gd name="connsiteY69" fmla="*/ 434340 h 3147261"/>
                  <a:gd name="connsiteX70" fmla="*/ 564889 w 3140960"/>
                  <a:gd name="connsiteY70" fmla="*/ 396240 h 3147261"/>
                  <a:gd name="connsiteX71" fmla="*/ 656329 w 3140960"/>
                  <a:gd name="connsiteY71" fmla="*/ 312420 h 3147261"/>
                  <a:gd name="connsiteX72" fmla="*/ 869689 w 3140960"/>
                  <a:gd name="connsiteY72" fmla="*/ 175260 h 3147261"/>
                  <a:gd name="connsiteX73" fmla="*/ 976369 w 3140960"/>
                  <a:gd name="connsiteY73" fmla="*/ 137160 h 3147261"/>
                  <a:gd name="connsiteX74" fmla="*/ 1105909 w 3140960"/>
                  <a:gd name="connsiteY74" fmla="*/ 76200 h 3147261"/>
                  <a:gd name="connsiteX75" fmla="*/ 1243069 w 3140960"/>
                  <a:gd name="connsiteY75" fmla="*/ 38100 h 3147261"/>
                  <a:gd name="connsiteX76" fmla="*/ 1265929 w 3140960"/>
                  <a:gd name="connsiteY76" fmla="*/ 30480 h 3147261"/>
                  <a:gd name="connsiteX77" fmla="*/ 1387849 w 3140960"/>
                  <a:gd name="connsiteY77" fmla="*/ 15240 h 3147261"/>
                  <a:gd name="connsiteX78" fmla="*/ 1464049 w 3140960"/>
                  <a:gd name="connsiteY78" fmla="*/ 0 h 3147261"/>
                  <a:gd name="connsiteX79" fmla="*/ 1745989 w 3140960"/>
                  <a:gd name="connsiteY79" fmla="*/ 0 h 3147261"/>
                  <a:gd name="connsiteX80" fmla="*/ 2165089 w 3140960"/>
                  <a:gd name="connsiteY80" fmla="*/ 99060 h 3147261"/>
                  <a:gd name="connsiteX81" fmla="*/ 2340349 w 3140960"/>
                  <a:gd name="connsiteY81" fmla="*/ 182880 h 3147261"/>
                  <a:gd name="connsiteX82" fmla="*/ 2370829 w 3140960"/>
                  <a:gd name="connsiteY82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33769 w 3140960"/>
                  <a:gd name="connsiteY25" fmla="*/ 2080260 h 3147261"/>
                  <a:gd name="connsiteX26" fmla="*/ 3018529 w 3140960"/>
                  <a:gd name="connsiteY26" fmla="*/ 2118360 h 3147261"/>
                  <a:gd name="connsiteX27" fmla="*/ 2995669 w 3140960"/>
                  <a:gd name="connsiteY27" fmla="*/ 2186940 h 3147261"/>
                  <a:gd name="connsiteX28" fmla="*/ 2988049 w 3140960"/>
                  <a:gd name="connsiteY28" fmla="*/ 2225040 h 3147261"/>
                  <a:gd name="connsiteX29" fmla="*/ 2972809 w 3140960"/>
                  <a:gd name="connsiteY29" fmla="*/ 2270760 h 3147261"/>
                  <a:gd name="connsiteX30" fmla="*/ 2965189 w 3140960"/>
                  <a:gd name="connsiteY30" fmla="*/ 2308860 h 3147261"/>
                  <a:gd name="connsiteX31" fmla="*/ 2949949 w 3140960"/>
                  <a:gd name="connsiteY31" fmla="*/ 2331720 h 3147261"/>
                  <a:gd name="connsiteX32" fmla="*/ 2927089 w 3140960"/>
                  <a:gd name="connsiteY32" fmla="*/ 2385060 h 3147261"/>
                  <a:gd name="connsiteX33" fmla="*/ 2904229 w 3140960"/>
                  <a:gd name="connsiteY33" fmla="*/ 2407920 h 3147261"/>
                  <a:gd name="connsiteX34" fmla="*/ 2858509 w 3140960"/>
                  <a:gd name="connsiteY34" fmla="*/ 2499360 h 3147261"/>
                  <a:gd name="connsiteX35" fmla="*/ 2843269 w 3140960"/>
                  <a:gd name="connsiteY35" fmla="*/ 2529840 h 3147261"/>
                  <a:gd name="connsiteX36" fmla="*/ 2835649 w 3140960"/>
                  <a:gd name="connsiteY36" fmla="*/ 2552700 h 3147261"/>
                  <a:gd name="connsiteX37" fmla="*/ 2759449 w 3140960"/>
                  <a:gd name="connsiteY37" fmla="*/ 2636520 h 3147261"/>
                  <a:gd name="connsiteX38" fmla="*/ 2706109 w 3140960"/>
                  <a:gd name="connsiteY38" fmla="*/ 2667000 h 3147261"/>
                  <a:gd name="connsiteX39" fmla="*/ 2302249 w 3140960"/>
                  <a:gd name="connsiteY39" fmla="*/ 2971800 h 3147261"/>
                  <a:gd name="connsiteX40" fmla="*/ 2195569 w 3140960"/>
                  <a:gd name="connsiteY40" fmla="*/ 3025140 h 3147261"/>
                  <a:gd name="connsiteX41" fmla="*/ 2096509 w 3140960"/>
                  <a:gd name="connsiteY41" fmla="*/ 3055620 h 3147261"/>
                  <a:gd name="connsiteX42" fmla="*/ 1913629 w 3140960"/>
                  <a:gd name="connsiteY42" fmla="*/ 3108960 h 3147261"/>
                  <a:gd name="connsiteX43" fmla="*/ 1799329 w 3140960"/>
                  <a:gd name="connsiteY43" fmla="*/ 3147060 h 3147261"/>
                  <a:gd name="connsiteX44" fmla="*/ 1334509 w 3140960"/>
                  <a:gd name="connsiteY44" fmla="*/ 3108960 h 3147261"/>
                  <a:gd name="connsiteX45" fmla="*/ 793489 w 3140960"/>
                  <a:gd name="connsiteY45" fmla="*/ 2933700 h 3147261"/>
                  <a:gd name="connsiteX46" fmla="*/ 420109 w 3140960"/>
                  <a:gd name="connsiteY46" fmla="*/ 2644140 h 3147261"/>
                  <a:gd name="connsiteX47" fmla="*/ 321049 w 3140960"/>
                  <a:gd name="connsiteY47" fmla="*/ 2484120 h 3147261"/>
                  <a:gd name="connsiteX48" fmla="*/ 298189 w 3140960"/>
                  <a:gd name="connsiteY48" fmla="*/ 2430780 h 3147261"/>
                  <a:gd name="connsiteX49" fmla="*/ 275329 w 3140960"/>
                  <a:gd name="connsiteY49" fmla="*/ 2377440 h 3147261"/>
                  <a:gd name="connsiteX50" fmla="*/ 229609 w 3140960"/>
                  <a:gd name="connsiteY50" fmla="*/ 2316480 h 3147261"/>
                  <a:gd name="connsiteX51" fmla="*/ 206749 w 3140960"/>
                  <a:gd name="connsiteY51" fmla="*/ 2293620 h 3147261"/>
                  <a:gd name="connsiteX52" fmla="*/ 176269 w 3140960"/>
                  <a:gd name="connsiteY52" fmla="*/ 2240280 h 3147261"/>
                  <a:gd name="connsiteX53" fmla="*/ 161029 w 3140960"/>
                  <a:gd name="connsiteY53" fmla="*/ 2202180 h 3147261"/>
                  <a:gd name="connsiteX54" fmla="*/ 145789 w 3140960"/>
                  <a:gd name="connsiteY54" fmla="*/ 2179320 h 3147261"/>
                  <a:gd name="connsiteX55" fmla="*/ 130549 w 3140960"/>
                  <a:gd name="connsiteY55" fmla="*/ 2133600 h 3147261"/>
                  <a:gd name="connsiteX56" fmla="*/ 100069 w 3140960"/>
                  <a:gd name="connsiteY56" fmla="*/ 2087880 h 3147261"/>
                  <a:gd name="connsiteX57" fmla="*/ 61969 w 3140960"/>
                  <a:gd name="connsiteY57" fmla="*/ 2026920 h 3147261"/>
                  <a:gd name="connsiteX58" fmla="*/ 54349 w 3140960"/>
                  <a:gd name="connsiteY58" fmla="*/ 2004060 h 3147261"/>
                  <a:gd name="connsiteX59" fmla="*/ 39109 w 3140960"/>
                  <a:gd name="connsiteY59" fmla="*/ 1943100 h 3147261"/>
                  <a:gd name="connsiteX60" fmla="*/ 23869 w 3140960"/>
                  <a:gd name="connsiteY60" fmla="*/ 1897380 h 3147261"/>
                  <a:gd name="connsiteX61" fmla="*/ 1009 w 3140960"/>
                  <a:gd name="connsiteY61" fmla="*/ 1562100 h 3147261"/>
                  <a:gd name="connsiteX62" fmla="*/ 54349 w 3140960"/>
                  <a:gd name="connsiteY62" fmla="*/ 1135380 h 3147261"/>
                  <a:gd name="connsiteX63" fmla="*/ 161029 w 3140960"/>
                  <a:gd name="connsiteY63" fmla="*/ 861060 h 3147261"/>
                  <a:gd name="connsiteX64" fmla="*/ 183889 w 3140960"/>
                  <a:gd name="connsiteY64" fmla="*/ 822960 h 3147261"/>
                  <a:gd name="connsiteX65" fmla="*/ 260089 w 3140960"/>
                  <a:gd name="connsiteY65" fmla="*/ 708660 h 3147261"/>
                  <a:gd name="connsiteX66" fmla="*/ 275329 w 3140960"/>
                  <a:gd name="connsiteY66" fmla="*/ 662940 h 3147261"/>
                  <a:gd name="connsiteX67" fmla="*/ 420109 w 3140960"/>
                  <a:gd name="connsiteY67" fmla="*/ 510540 h 3147261"/>
                  <a:gd name="connsiteX68" fmla="*/ 511549 w 3140960"/>
                  <a:gd name="connsiteY68" fmla="*/ 434340 h 3147261"/>
                  <a:gd name="connsiteX69" fmla="*/ 564889 w 3140960"/>
                  <a:gd name="connsiteY69" fmla="*/ 396240 h 3147261"/>
                  <a:gd name="connsiteX70" fmla="*/ 656329 w 3140960"/>
                  <a:gd name="connsiteY70" fmla="*/ 312420 h 3147261"/>
                  <a:gd name="connsiteX71" fmla="*/ 869689 w 3140960"/>
                  <a:gd name="connsiteY71" fmla="*/ 175260 h 3147261"/>
                  <a:gd name="connsiteX72" fmla="*/ 976369 w 3140960"/>
                  <a:gd name="connsiteY72" fmla="*/ 137160 h 3147261"/>
                  <a:gd name="connsiteX73" fmla="*/ 1105909 w 3140960"/>
                  <a:gd name="connsiteY73" fmla="*/ 76200 h 3147261"/>
                  <a:gd name="connsiteX74" fmla="*/ 1243069 w 3140960"/>
                  <a:gd name="connsiteY74" fmla="*/ 38100 h 3147261"/>
                  <a:gd name="connsiteX75" fmla="*/ 1265929 w 3140960"/>
                  <a:gd name="connsiteY75" fmla="*/ 30480 h 3147261"/>
                  <a:gd name="connsiteX76" fmla="*/ 1387849 w 3140960"/>
                  <a:gd name="connsiteY76" fmla="*/ 15240 h 3147261"/>
                  <a:gd name="connsiteX77" fmla="*/ 1464049 w 3140960"/>
                  <a:gd name="connsiteY77" fmla="*/ 0 h 3147261"/>
                  <a:gd name="connsiteX78" fmla="*/ 1745989 w 3140960"/>
                  <a:gd name="connsiteY78" fmla="*/ 0 h 3147261"/>
                  <a:gd name="connsiteX79" fmla="*/ 2165089 w 3140960"/>
                  <a:gd name="connsiteY79" fmla="*/ 99060 h 3147261"/>
                  <a:gd name="connsiteX80" fmla="*/ 2340349 w 3140960"/>
                  <a:gd name="connsiteY80" fmla="*/ 182880 h 3147261"/>
                  <a:gd name="connsiteX81" fmla="*/ 2370829 w 3140960"/>
                  <a:gd name="connsiteY81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88049 w 3140960"/>
                  <a:gd name="connsiteY27" fmla="*/ 2225040 h 3147261"/>
                  <a:gd name="connsiteX28" fmla="*/ 2972809 w 3140960"/>
                  <a:gd name="connsiteY28" fmla="*/ 2270760 h 3147261"/>
                  <a:gd name="connsiteX29" fmla="*/ 2965189 w 3140960"/>
                  <a:gd name="connsiteY29" fmla="*/ 2308860 h 3147261"/>
                  <a:gd name="connsiteX30" fmla="*/ 2949949 w 3140960"/>
                  <a:gd name="connsiteY30" fmla="*/ 2331720 h 3147261"/>
                  <a:gd name="connsiteX31" fmla="*/ 2927089 w 3140960"/>
                  <a:gd name="connsiteY31" fmla="*/ 2385060 h 3147261"/>
                  <a:gd name="connsiteX32" fmla="*/ 2904229 w 3140960"/>
                  <a:gd name="connsiteY32" fmla="*/ 2407920 h 3147261"/>
                  <a:gd name="connsiteX33" fmla="*/ 2858509 w 3140960"/>
                  <a:gd name="connsiteY33" fmla="*/ 2499360 h 3147261"/>
                  <a:gd name="connsiteX34" fmla="*/ 2843269 w 3140960"/>
                  <a:gd name="connsiteY34" fmla="*/ 2529840 h 3147261"/>
                  <a:gd name="connsiteX35" fmla="*/ 2835649 w 3140960"/>
                  <a:gd name="connsiteY35" fmla="*/ 2552700 h 3147261"/>
                  <a:gd name="connsiteX36" fmla="*/ 2759449 w 3140960"/>
                  <a:gd name="connsiteY36" fmla="*/ 2636520 h 3147261"/>
                  <a:gd name="connsiteX37" fmla="*/ 2706109 w 3140960"/>
                  <a:gd name="connsiteY37" fmla="*/ 2667000 h 3147261"/>
                  <a:gd name="connsiteX38" fmla="*/ 2302249 w 3140960"/>
                  <a:gd name="connsiteY38" fmla="*/ 2971800 h 3147261"/>
                  <a:gd name="connsiteX39" fmla="*/ 2195569 w 3140960"/>
                  <a:gd name="connsiteY39" fmla="*/ 3025140 h 3147261"/>
                  <a:gd name="connsiteX40" fmla="*/ 2096509 w 3140960"/>
                  <a:gd name="connsiteY40" fmla="*/ 3055620 h 3147261"/>
                  <a:gd name="connsiteX41" fmla="*/ 1913629 w 3140960"/>
                  <a:gd name="connsiteY41" fmla="*/ 3108960 h 3147261"/>
                  <a:gd name="connsiteX42" fmla="*/ 1799329 w 3140960"/>
                  <a:gd name="connsiteY42" fmla="*/ 3147060 h 3147261"/>
                  <a:gd name="connsiteX43" fmla="*/ 1334509 w 3140960"/>
                  <a:gd name="connsiteY43" fmla="*/ 3108960 h 3147261"/>
                  <a:gd name="connsiteX44" fmla="*/ 793489 w 3140960"/>
                  <a:gd name="connsiteY44" fmla="*/ 2933700 h 3147261"/>
                  <a:gd name="connsiteX45" fmla="*/ 420109 w 3140960"/>
                  <a:gd name="connsiteY45" fmla="*/ 2644140 h 3147261"/>
                  <a:gd name="connsiteX46" fmla="*/ 321049 w 3140960"/>
                  <a:gd name="connsiteY46" fmla="*/ 2484120 h 3147261"/>
                  <a:gd name="connsiteX47" fmla="*/ 298189 w 3140960"/>
                  <a:gd name="connsiteY47" fmla="*/ 2430780 h 3147261"/>
                  <a:gd name="connsiteX48" fmla="*/ 275329 w 3140960"/>
                  <a:gd name="connsiteY48" fmla="*/ 2377440 h 3147261"/>
                  <a:gd name="connsiteX49" fmla="*/ 229609 w 3140960"/>
                  <a:gd name="connsiteY49" fmla="*/ 2316480 h 3147261"/>
                  <a:gd name="connsiteX50" fmla="*/ 206749 w 3140960"/>
                  <a:gd name="connsiteY50" fmla="*/ 2293620 h 3147261"/>
                  <a:gd name="connsiteX51" fmla="*/ 176269 w 3140960"/>
                  <a:gd name="connsiteY51" fmla="*/ 2240280 h 3147261"/>
                  <a:gd name="connsiteX52" fmla="*/ 161029 w 3140960"/>
                  <a:gd name="connsiteY52" fmla="*/ 2202180 h 3147261"/>
                  <a:gd name="connsiteX53" fmla="*/ 145789 w 3140960"/>
                  <a:gd name="connsiteY53" fmla="*/ 2179320 h 3147261"/>
                  <a:gd name="connsiteX54" fmla="*/ 130549 w 3140960"/>
                  <a:gd name="connsiteY54" fmla="*/ 2133600 h 3147261"/>
                  <a:gd name="connsiteX55" fmla="*/ 100069 w 3140960"/>
                  <a:gd name="connsiteY55" fmla="*/ 2087880 h 3147261"/>
                  <a:gd name="connsiteX56" fmla="*/ 61969 w 3140960"/>
                  <a:gd name="connsiteY56" fmla="*/ 2026920 h 3147261"/>
                  <a:gd name="connsiteX57" fmla="*/ 54349 w 3140960"/>
                  <a:gd name="connsiteY57" fmla="*/ 2004060 h 3147261"/>
                  <a:gd name="connsiteX58" fmla="*/ 39109 w 3140960"/>
                  <a:gd name="connsiteY58" fmla="*/ 1943100 h 3147261"/>
                  <a:gd name="connsiteX59" fmla="*/ 23869 w 3140960"/>
                  <a:gd name="connsiteY59" fmla="*/ 1897380 h 3147261"/>
                  <a:gd name="connsiteX60" fmla="*/ 1009 w 3140960"/>
                  <a:gd name="connsiteY60" fmla="*/ 1562100 h 3147261"/>
                  <a:gd name="connsiteX61" fmla="*/ 54349 w 3140960"/>
                  <a:gd name="connsiteY61" fmla="*/ 1135380 h 3147261"/>
                  <a:gd name="connsiteX62" fmla="*/ 161029 w 3140960"/>
                  <a:gd name="connsiteY62" fmla="*/ 861060 h 3147261"/>
                  <a:gd name="connsiteX63" fmla="*/ 183889 w 3140960"/>
                  <a:gd name="connsiteY63" fmla="*/ 822960 h 3147261"/>
                  <a:gd name="connsiteX64" fmla="*/ 260089 w 3140960"/>
                  <a:gd name="connsiteY64" fmla="*/ 708660 h 3147261"/>
                  <a:gd name="connsiteX65" fmla="*/ 275329 w 3140960"/>
                  <a:gd name="connsiteY65" fmla="*/ 662940 h 3147261"/>
                  <a:gd name="connsiteX66" fmla="*/ 420109 w 3140960"/>
                  <a:gd name="connsiteY66" fmla="*/ 510540 h 3147261"/>
                  <a:gd name="connsiteX67" fmla="*/ 511549 w 3140960"/>
                  <a:gd name="connsiteY67" fmla="*/ 434340 h 3147261"/>
                  <a:gd name="connsiteX68" fmla="*/ 564889 w 3140960"/>
                  <a:gd name="connsiteY68" fmla="*/ 396240 h 3147261"/>
                  <a:gd name="connsiteX69" fmla="*/ 656329 w 3140960"/>
                  <a:gd name="connsiteY69" fmla="*/ 312420 h 3147261"/>
                  <a:gd name="connsiteX70" fmla="*/ 869689 w 3140960"/>
                  <a:gd name="connsiteY70" fmla="*/ 175260 h 3147261"/>
                  <a:gd name="connsiteX71" fmla="*/ 976369 w 3140960"/>
                  <a:gd name="connsiteY71" fmla="*/ 137160 h 3147261"/>
                  <a:gd name="connsiteX72" fmla="*/ 1105909 w 3140960"/>
                  <a:gd name="connsiteY72" fmla="*/ 76200 h 3147261"/>
                  <a:gd name="connsiteX73" fmla="*/ 1243069 w 3140960"/>
                  <a:gd name="connsiteY73" fmla="*/ 38100 h 3147261"/>
                  <a:gd name="connsiteX74" fmla="*/ 1265929 w 3140960"/>
                  <a:gd name="connsiteY74" fmla="*/ 30480 h 3147261"/>
                  <a:gd name="connsiteX75" fmla="*/ 1387849 w 3140960"/>
                  <a:gd name="connsiteY75" fmla="*/ 15240 h 3147261"/>
                  <a:gd name="connsiteX76" fmla="*/ 1464049 w 3140960"/>
                  <a:gd name="connsiteY76" fmla="*/ 0 h 3147261"/>
                  <a:gd name="connsiteX77" fmla="*/ 1745989 w 3140960"/>
                  <a:gd name="connsiteY77" fmla="*/ 0 h 3147261"/>
                  <a:gd name="connsiteX78" fmla="*/ 2165089 w 3140960"/>
                  <a:gd name="connsiteY78" fmla="*/ 99060 h 3147261"/>
                  <a:gd name="connsiteX79" fmla="*/ 2340349 w 3140960"/>
                  <a:gd name="connsiteY79" fmla="*/ 182880 h 3147261"/>
                  <a:gd name="connsiteX80" fmla="*/ 2370829 w 3140960"/>
                  <a:gd name="connsiteY80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72809 w 3140960"/>
                  <a:gd name="connsiteY27" fmla="*/ 2270760 h 3147261"/>
                  <a:gd name="connsiteX28" fmla="*/ 2965189 w 3140960"/>
                  <a:gd name="connsiteY28" fmla="*/ 2308860 h 3147261"/>
                  <a:gd name="connsiteX29" fmla="*/ 2949949 w 3140960"/>
                  <a:gd name="connsiteY29" fmla="*/ 2331720 h 3147261"/>
                  <a:gd name="connsiteX30" fmla="*/ 2927089 w 3140960"/>
                  <a:gd name="connsiteY30" fmla="*/ 2385060 h 3147261"/>
                  <a:gd name="connsiteX31" fmla="*/ 2904229 w 3140960"/>
                  <a:gd name="connsiteY31" fmla="*/ 2407920 h 3147261"/>
                  <a:gd name="connsiteX32" fmla="*/ 2858509 w 3140960"/>
                  <a:gd name="connsiteY32" fmla="*/ 2499360 h 3147261"/>
                  <a:gd name="connsiteX33" fmla="*/ 2843269 w 3140960"/>
                  <a:gd name="connsiteY33" fmla="*/ 2529840 h 3147261"/>
                  <a:gd name="connsiteX34" fmla="*/ 2835649 w 3140960"/>
                  <a:gd name="connsiteY34" fmla="*/ 2552700 h 3147261"/>
                  <a:gd name="connsiteX35" fmla="*/ 2759449 w 3140960"/>
                  <a:gd name="connsiteY35" fmla="*/ 2636520 h 3147261"/>
                  <a:gd name="connsiteX36" fmla="*/ 2706109 w 3140960"/>
                  <a:gd name="connsiteY36" fmla="*/ 2667000 h 3147261"/>
                  <a:gd name="connsiteX37" fmla="*/ 2302249 w 3140960"/>
                  <a:gd name="connsiteY37" fmla="*/ 2971800 h 3147261"/>
                  <a:gd name="connsiteX38" fmla="*/ 2195569 w 3140960"/>
                  <a:gd name="connsiteY38" fmla="*/ 3025140 h 3147261"/>
                  <a:gd name="connsiteX39" fmla="*/ 2096509 w 3140960"/>
                  <a:gd name="connsiteY39" fmla="*/ 3055620 h 3147261"/>
                  <a:gd name="connsiteX40" fmla="*/ 1913629 w 3140960"/>
                  <a:gd name="connsiteY40" fmla="*/ 3108960 h 3147261"/>
                  <a:gd name="connsiteX41" fmla="*/ 1799329 w 3140960"/>
                  <a:gd name="connsiteY41" fmla="*/ 3147060 h 3147261"/>
                  <a:gd name="connsiteX42" fmla="*/ 1334509 w 3140960"/>
                  <a:gd name="connsiteY42" fmla="*/ 3108960 h 3147261"/>
                  <a:gd name="connsiteX43" fmla="*/ 793489 w 3140960"/>
                  <a:gd name="connsiteY43" fmla="*/ 2933700 h 3147261"/>
                  <a:gd name="connsiteX44" fmla="*/ 420109 w 3140960"/>
                  <a:gd name="connsiteY44" fmla="*/ 2644140 h 3147261"/>
                  <a:gd name="connsiteX45" fmla="*/ 321049 w 3140960"/>
                  <a:gd name="connsiteY45" fmla="*/ 2484120 h 3147261"/>
                  <a:gd name="connsiteX46" fmla="*/ 298189 w 3140960"/>
                  <a:gd name="connsiteY46" fmla="*/ 2430780 h 3147261"/>
                  <a:gd name="connsiteX47" fmla="*/ 275329 w 3140960"/>
                  <a:gd name="connsiteY47" fmla="*/ 2377440 h 3147261"/>
                  <a:gd name="connsiteX48" fmla="*/ 229609 w 3140960"/>
                  <a:gd name="connsiteY48" fmla="*/ 2316480 h 3147261"/>
                  <a:gd name="connsiteX49" fmla="*/ 206749 w 3140960"/>
                  <a:gd name="connsiteY49" fmla="*/ 2293620 h 3147261"/>
                  <a:gd name="connsiteX50" fmla="*/ 176269 w 3140960"/>
                  <a:gd name="connsiteY50" fmla="*/ 2240280 h 3147261"/>
                  <a:gd name="connsiteX51" fmla="*/ 161029 w 3140960"/>
                  <a:gd name="connsiteY51" fmla="*/ 2202180 h 3147261"/>
                  <a:gd name="connsiteX52" fmla="*/ 145789 w 3140960"/>
                  <a:gd name="connsiteY52" fmla="*/ 2179320 h 3147261"/>
                  <a:gd name="connsiteX53" fmla="*/ 130549 w 3140960"/>
                  <a:gd name="connsiteY53" fmla="*/ 2133600 h 3147261"/>
                  <a:gd name="connsiteX54" fmla="*/ 100069 w 3140960"/>
                  <a:gd name="connsiteY54" fmla="*/ 2087880 h 3147261"/>
                  <a:gd name="connsiteX55" fmla="*/ 61969 w 3140960"/>
                  <a:gd name="connsiteY55" fmla="*/ 2026920 h 3147261"/>
                  <a:gd name="connsiteX56" fmla="*/ 54349 w 3140960"/>
                  <a:gd name="connsiteY56" fmla="*/ 2004060 h 3147261"/>
                  <a:gd name="connsiteX57" fmla="*/ 39109 w 3140960"/>
                  <a:gd name="connsiteY57" fmla="*/ 1943100 h 3147261"/>
                  <a:gd name="connsiteX58" fmla="*/ 23869 w 3140960"/>
                  <a:gd name="connsiteY58" fmla="*/ 1897380 h 3147261"/>
                  <a:gd name="connsiteX59" fmla="*/ 1009 w 3140960"/>
                  <a:gd name="connsiteY59" fmla="*/ 1562100 h 3147261"/>
                  <a:gd name="connsiteX60" fmla="*/ 54349 w 3140960"/>
                  <a:gd name="connsiteY60" fmla="*/ 1135380 h 3147261"/>
                  <a:gd name="connsiteX61" fmla="*/ 161029 w 3140960"/>
                  <a:gd name="connsiteY61" fmla="*/ 861060 h 3147261"/>
                  <a:gd name="connsiteX62" fmla="*/ 183889 w 3140960"/>
                  <a:gd name="connsiteY62" fmla="*/ 822960 h 3147261"/>
                  <a:gd name="connsiteX63" fmla="*/ 260089 w 3140960"/>
                  <a:gd name="connsiteY63" fmla="*/ 708660 h 3147261"/>
                  <a:gd name="connsiteX64" fmla="*/ 275329 w 3140960"/>
                  <a:gd name="connsiteY64" fmla="*/ 662940 h 3147261"/>
                  <a:gd name="connsiteX65" fmla="*/ 420109 w 3140960"/>
                  <a:gd name="connsiteY65" fmla="*/ 510540 h 3147261"/>
                  <a:gd name="connsiteX66" fmla="*/ 511549 w 3140960"/>
                  <a:gd name="connsiteY66" fmla="*/ 434340 h 3147261"/>
                  <a:gd name="connsiteX67" fmla="*/ 564889 w 3140960"/>
                  <a:gd name="connsiteY67" fmla="*/ 396240 h 3147261"/>
                  <a:gd name="connsiteX68" fmla="*/ 656329 w 3140960"/>
                  <a:gd name="connsiteY68" fmla="*/ 312420 h 3147261"/>
                  <a:gd name="connsiteX69" fmla="*/ 869689 w 3140960"/>
                  <a:gd name="connsiteY69" fmla="*/ 175260 h 3147261"/>
                  <a:gd name="connsiteX70" fmla="*/ 976369 w 3140960"/>
                  <a:gd name="connsiteY70" fmla="*/ 137160 h 3147261"/>
                  <a:gd name="connsiteX71" fmla="*/ 1105909 w 3140960"/>
                  <a:gd name="connsiteY71" fmla="*/ 76200 h 3147261"/>
                  <a:gd name="connsiteX72" fmla="*/ 1243069 w 3140960"/>
                  <a:gd name="connsiteY72" fmla="*/ 38100 h 3147261"/>
                  <a:gd name="connsiteX73" fmla="*/ 1265929 w 3140960"/>
                  <a:gd name="connsiteY73" fmla="*/ 30480 h 3147261"/>
                  <a:gd name="connsiteX74" fmla="*/ 1387849 w 3140960"/>
                  <a:gd name="connsiteY74" fmla="*/ 15240 h 3147261"/>
                  <a:gd name="connsiteX75" fmla="*/ 1464049 w 3140960"/>
                  <a:gd name="connsiteY75" fmla="*/ 0 h 3147261"/>
                  <a:gd name="connsiteX76" fmla="*/ 1745989 w 3140960"/>
                  <a:gd name="connsiteY76" fmla="*/ 0 h 3147261"/>
                  <a:gd name="connsiteX77" fmla="*/ 2165089 w 3140960"/>
                  <a:gd name="connsiteY77" fmla="*/ 99060 h 3147261"/>
                  <a:gd name="connsiteX78" fmla="*/ 2340349 w 3140960"/>
                  <a:gd name="connsiteY78" fmla="*/ 182880 h 3147261"/>
                  <a:gd name="connsiteX79" fmla="*/ 2370829 w 3140960"/>
                  <a:gd name="connsiteY79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72809 w 3140960"/>
                  <a:gd name="connsiteY27" fmla="*/ 2270760 h 3147261"/>
                  <a:gd name="connsiteX28" fmla="*/ 2949949 w 3140960"/>
                  <a:gd name="connsiteY28" fmla="*/ 2331720 h 3147261"/>
                  <a:gd name="connsiteX29" fmla="*/ 2927089 w 3140960"/>
                  <a:gd name="connsiteY29" fmla="*/ 2385060 h 3147261"/>
                  <a:gd name="connsiteX30" fmla="*/ 2904229 w 3140960"/>
                  <a:gd name="connsiteY30" fmla="*/ 2407920 h 3147261"/>
                  <a:gd name="connsiteX31" fmla="*/ 2858509 w 3140960"/>
                  <a:gd name="connsiteY31" fmla="*/ 2499360 h 3147261"/>
                  <a:gd name="connsiteX32" fmla="*/ 2843269 w 3140960"/>
                  <a:gd name="connsiteY32" fmla="*/ 2529840 h 3147261"/>
                  <a:gd name="connsiteX33" fmla="*/ 2835649 w 3140960"/>
                  <a:gd name="connsiteY33" fmla="*/ 2552700 h 3147261"/>
                  <a:gd name="connsiteX34" fmla="*/ 2759449 w 3140960"/>
                  <a:gd name="connsiteY34" fmla="*/ 2636520 h 3147261"/>
                  <a:gd name="connsiteX35" fmla="*/ 2706109 w 3140960"/>
                  <a:gd name="connsiteY35" fmla="*/ 2667000 h 3147261"/>
                  <a:gd name="connsiteX36" fmla="*/ 2302249 w 3140960"/>
                  <a:gd name="connsiteY36" fmla="*/ 2971800 h 3147261"/>
                  <a:gd name="connsiteX37" fmla="*/ 2195569 w 3140960"/>
                  <a:gd name="connsiteY37" fmla="*/ 3025140 h 3147261"/>
                  <a:gd name="connsiteX38" fmla="*/ 2096509 w 3140960"/>
                  <a:gd name="connsiteY38" fmla="*/ 3055620 h 3147261"/>
                  <a:gd name="connsiteX39" fmla="*/ 1913629 w 3140960"/>
                  <a:gd name="connsiteY39" fmla="*/ 3108960 h 3147261"/>
                  <a:gd name="connsiteX40" fmla="*/ 1799329 w 3140960"/>
                  <a:gd name="connsiteY40" fmla="*/ 3147060 h 3147261"/>
                  <a:gd name="connsiteX41" fmla="*/ 1334509 w 3140960"/>
                  <a:gd name="connsiteY41" fmla="*/ 3108960 h 3147261"/>
                  <a:gd name="connsiteX42" fmla="*/ 793489 w 3140960"/>
                  <a:gd name="connsiteY42" fmla="*/ 2933700 h 3147261"/>
                  <a:gd name="connsiteX43" fmla="*/ 420109 w 3140960"/>
                  <a:gd name="connsiteY43" fmla="*/ 2644140 h 3147261"/>
                  <a:gd name="connsiteX44" fmla="*/ 321049 w 3140960"/>
                  <a:gd name="connsiteY44" fmla="*/ 2484120 h 3147261"/>
                  <a:gd name="connsiteX45" fmla="*/ 298189 w 3140960"/>
                  <a:gd name="connsiteY45" fmla="*/ 2430780 h 3147261"/>
                  <a:gd name="connsiteX46" fmla="*/ 275329 w 3140960"/>
                  <a:gd name="connsiteY46" fmla="*/ 2377440 h 3147261"/>
                  <a:gd name="connsiteX47" fmla="*/ 229609 w 3140960"/>
                  <a:gd name="connsiteY47" fmla="*/ 2316480 h 3147261"/>
                  <a:gd name="connsiteX48" fmla="*/ 206749 w 3140960"/>
                  <a:gd name="connsiteY48" fmla="*/ 2293620 h 3147261"/>
                  <a:gd name="connsiteX49" fmla="*/ 176269 w 3140960"/>
                  <a:gd name="connsiteY49" fmla="*/ 2240280 h 3147261"/>
                  <a:gd name="connsiteX50" fmla="*/ 161029 w 3140960"/>
                  <a:gd name="connsiteY50" fmla="*/ 2202180 h 3147261"/>
                  <a:gd name="connsiteX51" fmla="*/ 145789 w 3140960"/>
                  <a:gd name="connsiteY51" fmla="*/ 2179320 h 3147261"/>
                  <a:gd name="connsiteX52" fmla="*/ 130549 w 3140960"/>
                  <a:gd name="connsiteY52" fmla="*/ 2133600 h 3147261"/>
                  <a:gd name="connsiteX53" fmla="*/ 100069 w 3140960"/>
                  <a:gd name="connsiteY53" fmla="*/ 2087880 h 3147261"/>
                  <a:gd name="connsiteX54" fmla="*/ 61969 w 3140960"/>
                  <a:gd name="connsiteY54" fmla="*/ 2026920 h 3147261"/>
                  <a:gd name="connsiteX55" fmla="*/ 54349 w 3140960"/>
                  <a:gd name="connsiteY55" fmla="*/ 2004060 h 3147261"/>
                  <a:gd name="connsiteX56" fmla="*/ 39109 w 3140960"/>
                  <a:gd name="connsiteY56" fmla="*/ 1943100 h 3147261"/>
                  <a:gd name="connsiteX57" fmla="*/ 23869 w 3140960"/>
                  <a:gd name="connsiteY57" fmla="*/ 1897380 h 3147261"/>
                  <a:gd name="connsiteX58" fmla="*/ 1009 w 3140960"/>
                  <a:gd name="connsiteY58" fmla="*/ 1562100 h 3147261"/>
                  <a:gd name="connsiteX59" fmla="*/ 54349 w 3140960"/>
                  <a:gd name="connsiteY59" fmla="*/ 1135380 h 3147261"/>
                  <a:gd name="connsiteX60" fmla="*/ 161029 w 3140960"/>
                  <a:gd name="connsiteY60" fmla="*/ 861060 h 3147261"/>
                  <a:gd name="connsiteX61" fmla="*/ 183889 w 3140960"/>
                  <a:gd name="connsiteY61" fmla="*/ 822960 h 3147261"/>
                  <a:gd name="connsiteX62" fmla="*/ 260089 w 3140960"/>
                  <a:gd name="connsiteY62" fmla="*/ 708660 h 3147261"/>
                  <a:gd name="connsiteX63" fmla="*/ 275329 w 3140960"/>
                  <a:gd name="connsiteY63" fmla="*/ 662940 h 3147261"/>
                  <a:gd name="connsiteX64" fmla="*/ 420109 w 3140960"/>
                  <a:gd name="connsiteY64" fmla="*/ 510540 h 3147261"/>
                  <a:gd name="connsiteX65" fmla="*/ 511549 w 3140960"/>
                  <a:gd name="connsiteY65" fmla="*/ 434340 h 3147261"/>
                  <a:gd name="connsiteX66" fmla="*/ 564889 w 3140960"/>
                  <a:gd name="connsiteY66" fmla="*/ 396240 h 3147261"/>
                  <a:gd name="connsiteX67" fmla="*/ 656329 w 3140960"/>
                  <a:gd name="connsiteY67" fmla="*/ 312420 h 3147261"/>
                  <a:gd name="connsiteX68" fmla="*/ 869689 w 3140960"/>
                  <a:gd name="connsiteY68" fmla="*/ 175260 h 3147261"/>
                  <a:gd name="connsiteX69" fmla="*/ 976369 w 3140960"/>
                  <a:gd name="connsiteY69" fmla="*/ 137160 h 3147261"/>
                  <a:gd name="connsiteX70" fmla="*/ 1105909 w 3140960"/>
                  <a:gd name="connsiteY70" fmla="*/ 76200 h 3147261"/>
                  <a:gd name="connsiteX71" fmla="*/ 1243069 w 3140960"/>
                  <a:gd name="connsiteY71" fmla="*/ 38100 h 3147261"/>
                  <a:gd name="connsiteX72" fmla="*/ 1265929 w 3140960"/>
                  <a:gd name="connsiteY72" fmla="*/ 30480 h 3147261"/>
                  <a:gd name="connsiteX73" fmla="*/ 1387849 w 3140960"/>
                  <a:gd name="connsiteY73" fmla="*/ 15240 h 3147261"/>
                  <a:gd name="connsiteX74" fmla="*/ 1464049 w 3140960"/>
                  <a:gd name="connsiteY74" fmla="*/ 0 h 3147261"/>
                  <a:gd name="connsiteX75" fmla="*/ 1745989 w 3140960"/>
                  <a:gd name="connsiteY75" fmla="*/ 0 h 3147261"/>
                  <a:gd name="connsiteX76" fmla="*/ 2165089 w 3140960"/>
                  <a:gd name="connsiteY76" fmla="*/ 99060 h 3147261"/>
                  <a:gd name="connsiteX77" fmla="*/ 2340349 w 3140960"/>
                  <a:gd name="connsiteY77" fmla="*/ 182880 h 3147261"/>
                  <a:gd name="connsiteX78" fmla="*/ 2370829 w 3140960"/>
                  <a:gd name="connsiteY78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72809 w 3140960"/>
                  <a:gd name="connsiteY27" fmla="*/ 2270760 h 3147261"/>
                  <a:gd name="connsiteX28" fmla="*/ 2949949 w 3140960"/>
                  <a:gd name="connsiteY28" fmla="*/ 2331720 h 3147261"/>
                  <a:gd name="connsiteX29" fmla="*/ 2927089 w 3140960"/>
                  <a:gd name="connsiteY29" fmla="*/ 2385060 h 3147261"/>
                  <a:gd name="connsiteX30" fmla="*/ 2858509 w 3140960"/>
                  <a:gd name="connsiteY30" fmla="*/ 2499360 h 3147261"/>
                  <a:gd name="connsiteX31" fmla="*/ 2843269 w 3140960"/>
                  <a:gd name="connsiteY31" fmla="*/ 2529840 h 3147261"/>
                  <a:gd name="connsiteX32" fmla="*/ 2835649 w 3140960"/>
                  <a:gd name="connsiteY32" fmla="*/ 2552700 h 3147261"/>
                  <a:gd name="connsiteX33" fmla="*/ 2759449 w 3140960"/>
                  <a:gd name="connsiteY33" fmla="*/ 2636520 h 3147261"/>
                  <a:gd name="connsiteX34" fmla="*/ 2706109 w 3140960"/>
                  <a:gd name="connsiteY34" fmla="*/ 2667000 h 3147261"/>
                  <a:gd name="connsiteX35" fmla="*/ 2302249 w 3140960"/>
                  <a:gd name="connsiteY35" fmla="*/ 2971800 h 3147261"/>
                  <a:gd name="connsiteX36" fmla="*/ 2195569 w 3140960"/>
                  <a:gd name="connsiteY36" fmla="*/ 3025140 h 3147261"/>
                  <a:gd name="connsiteX37" fmla="*/ 2096509 w 3140960"/>
                  <a:gd name="connsiteY37" fmla="*/ 3055620 h 3147261"/>
                  <a:gd name="connsiteX38" fmla="*/ 1913629 w 3140960"/>
                  <a:gd name="connsiteY38" fmla="*/ 3108960 h 3147261"/>
                  <a:gd name="connsiteX39" fmla="*/ 1799329 w 3140960"/>
                  <a:gd name="connsiteY39" fmla="*/ 3147060 h 3147261"/>
                  <a:gd name="connsiteX40" fmla="*/ 1334509 w 3140960"/>
                  <a:gd name="connsiteY40" fmla="*/ 3108960 h 3147261"/>
                  <a:gd name="connsiteX41" fmla="*/ 793489 w 3140960"/>
                  <a:gd name="connsiteY41" fmla="*/ 2933700 h 3147261"/>
                  <a:gd name="connsiteX42" fmla="*/ 420109 w 3140960"/>
                  <a:gd name="connsiteY42" fmla="*/ 2644140 h 3147261"/>
                  <a:gd name="connsiteX43" fmla="*/ 321049 w 3140960"/>
                  <a:gd name="connsiteY43" fmla="*/ 2484120 h 3147261"/>
                  <a:gd name="connsiteX44" fmla="*/ 298189 w 3140960"/>
                  <a:gd name="connsiteY44" fmla="*/ 2430780 h 3147261"/>
                  <a:gd name="connsiteX45" fmla="*/ 275329 w 3140960"/>
                  <a:gd name="connsiteY45" fmla="*/ 2377440 h 3147261"/>
                  <a:gd name="connsiteX46" fmla="*/ 229609 w 3140960"/>
                  <a:gd name="connsiteY46" fmla="*/ 2316480 h 3147261"/>
                  <a:gd name="connsiteX47" fmla="*/ 206749 w 3140960"/>
                  <a:gd name="connsiteY47" fmla="*/ 2293620 h 3147261"/>
                  <a:gd name="connsiteX48" fmla="*/ 176269 w 3140960"/>
                  <a:gd name="connsiteY48" fmla="*/ 2240280 h 3147261"/>
                  <a:gd name="connsiteX49" fmla="*/ 161029 w 3140960"/>
                  <a:gd name="connsiteY49" fmla="*/ 2202180 h 3147261"/>
                  <a:gd name="connsiteX50" fmla="*/ 145789 w 3140960"/>
                  <a:gd name="connsiteY50" fmla="*/ 2179320 h 3147261"/>
                  <a:gd name="connsiteX51" fmla="*/ 130549 w 3140960"/>
                  <a:gd name="connsiteY51" fmla="*/ 2133600 h 3147261"/>
                  <a:gd name="connsiteX52" fmla="*/ 100069 w 3140960"/>
                  <a:gd name="connsiteY52" fmla="*/ 2087880 h 3147261"/>
                  <a:gd name="connsiteX53" fmla="*/ 61969 w 3140960"/>
                  <a:gd name="connsiteY53" fmla="*/ 2026920 h 3147261"/>
                  <a:gd name="connsiteX54" fmla="*/ 54349 w 3140960"/>
                  <a:gd name="connsiteY54" fmla="*/ 2004060 h 3147261"/>
                  <a:gd name="connsiteX55" fmla="*/ 39109 w 3140960"/>
                  <a:gd name="connsiteY55" fmla="*/ 1943100 h 3147261"/>
                  <a:gd name="connsiteX56" fmla="*/ 23869 w 3140960"/>
                  <a:gd name="connsiteY56" fmla="*/ 1897380 h 3147261"/>
                  <a:gd name="connsiteX57" fmla="*/ 1009 w 3140960"/>
                  <a:gd name="connsiteY57" fmla="*/ 1562100 h 3147261"/>
                  <a:gd name="connsiteX58" fmla="*/ 54349 w 3140960"/>
                  <a:gd name="connsiteY58" fmla="*/ 1135380 h 3147261"/>
                  <a:gd name="connsiteX59" fmla="*/ 161029 w 3140960"/>
                  <a:gd name="connsiteY59" fmla="*/ 861060 h 3147261"/>
                  <a:gd name="connsiteX60" fmla="*/ 183889 w 3140960"/>
                  <a:gd name="connsiteY60" fmla="*/ 822960 h 3147261"/>
                  <a:gd name="connsiteX61" fmla="*/ 260089 w 3140960"/>
                  <a:gd name="connsiteY61" fmla="*/ 708660 h 3147261"/>
                  <a:gd name="connsiteX62" fmla="*/ 275329 w 3140960"/>
                  <a:gd name="connsiteY62" fmla="*/ 662940 h 3147261"/>
                  <a:gd name="connsiteX63" fmla="*/ 420109 w 3140960"/>
                  <a:gd name="connsiteY63" fmla="*/ 510540 h 3147261"/>
                  <a:gd name="connsiteX64" fmla="*/ 511549 w 3140960"/>
                  <a:gd name="connsiteY64" fmla="*/ 434340 h 3147261"/>
                  <a:gd name="connsiteX65" fmla="*/ 564889 w 3140960"/>
                  <a:gd name="connsiteY65" fmla="*/ 396240 h 3147261"/>
                  <a:gd name="connsiteX66" fmla="*/ 656329 w 3140960"/>
                  <a:gd name="connsiteY66" fmla="*/ 312420 h 3147261"/>
                  <a:gd name="connsiteX67" fmla="*/ 869689 w 3140960"/>
                  <a:gd name="connsiteY67" fmla="*/ 175260 h 3147261"/>
                  <a:gd name="connsiteX68" fmla="*/ 976369 w 3140960"/>
                  <a:gd name="connsiteY68" fmla="*/ 137160 h 3147261"/>
                  <a:gd name="connsiteX69" fmla="*/ 1105909 w 3140960"/>
                  <a:gd name="connsiteY69" fmla="*/ 76200 h 3147261"/>
                  <a:gd name="connsiteX70" fmla="*/ 1243069 w 3140960"/>
                  <a:gd name="connsiteY70" fmla="*/ 38100 h 3147261"/>
                  <a:gd name="connsiteX71" fmla="*/ 1265929 w 3140960"/>
                  <a:gd name="connsiteY71" fmla="*/ 30480 h 3147261"/>
                  <a:gd name="connsiteX72" fmla="*/ 1387849 w 3140960"/>
                  <a:gd name="connsiteY72" fmla="*/ 15240 h 3147261"/>
                  <a:gd name="connsiteX73" fmla="*/ 1464049 w 3140960"/>
                  <a:gd name="connsiteY73" fmla="*/ 0 h 3147261"/>
                  <a:gd name="connsiteX74" fmla="*/ 1745989 w 3140960"/>
                  <a:gd name="connsiteY74" fmla="*/ 0 h 3147261"/>
                  <a:gd name="connsiteX75" fmla="*/ 2165089 w 3140960"/>
                  <a:gd name="connsiteY75" fmla="*/ 99060 h 3147261"/>
                  <a:gd name="connsiteX76" fmla="*/ 2340349 w 3140960"/>
                  <a:gd name="connsiteY76" fmla="*/ 182880 h 3147261"/>
                  <a:gd name="connsiteX77" fmla="*/ 2370829 w 3140960"/>
                  <a:gd name="connsiteY77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49949 w 3140960"/>
                  <a:gd name="connsiteY27" fmla="*/ 2331720 h 3147261"/>
                  <a:gd name="connsiteX28" fmla="*/ 2927089 w 3140960"/>
                  <a:gd name="connsiteY28" fmla="*/ 2385060 h 3147261"/>
                  <a:gd name="connsiteX29" fmla="*/ 2858509 w 3140960"/>
                  <a:gd name="connsiteY29" fmla="*/ 2499360 h 3147261"/>
                  <a:gd name="connsiteX30" fmla="*/ 2843269 w 3140960"/>
                  <a:gd name="connsiteY30" fmla="*/ 2529840 h 3147261"/>
                  <a:gd name="connsiteX31" fmla="*/ 2835649 w 3140960"/>
                  <a:gd name="connsiteY31" fmla="*/ 2552700 h 3147261"/>
                  <a:gd name="connsiteX32" fmla="*/ 2759449 w 3140960"/>
                  <a:gd name="connsiteY32" fmla="*/ 2636520 h 3147261"/>
                  <a:gd name="connsiteX33" fmla="*/ 2706109 w 3140960"/>
                  <a:gd name="connsiteY33" fmla="*/ 2667000 h 3147261"/>
                  <a:gd name="connsiteX34" fmla="*/ 2302249 w 3140960"/>
                  <a:gd name="connsiteY34" fmla="*/ 2971800 h 3147261"/>
                  <a:gd name="connsiteX35" fmla="*/ 2195569 w 3140960"/>
                  <a:gd name="connsiteY35" fmla="*/ 3025140 h 3147261"/>
                  <a:gd name="connsiteX36" fmla="*/ 2096509 w 3140960"/>
                  <a:gd name="connsiteY36" fmla="*/ 3055620 h 3147261"/>
                  <a:gd name="connsiteX37" fmla="*/ 1913629 w 3140960"/>
                  <a:gd name="connsiteY37" fmla="*/ 3108960 h 3147261"/>
                  <a:gd name="connsiteX38" fmla="*/ 1799329 w 3140960"/>
                  <a:gd name="connsiteY38" fmla="*/ 3147060 h 3147261"/>
                  <a:gd name="connsiteX39" fmla="*/ 1334509 w 3140960"/>
                  <a:gd name="connsiteY39" fmla="*/ 3108960 h 3147261"/>
                  <a:gd name="connsiteX40" fmla="*/ 793489 w 3140960"/>
                  <a:gd name="connsiteY40" fmla="*/ 2933700 h 3147261"/>
                  <a:gd name="connsiteX41" fmla="*/ 420109 w 3140960"/>
                  <a:gd name="connsiteY41" fmla="*/ 2644140 h 3147261"/>
                  <a:gd name="connsiteX42" fmla="*/ 321049 w 3140960"/>
                  <a:gd name="connsiteY42" fmla="*/ 2484120 h 3147261"/>
                  <a:gd name="connsiteX43" fmla="*/ 298189 w 3140960"/>
                  <a:gd name="connsiteY43" fmla="*/ 2430780 h 3147261"/>
                  <a:gd name="connsiteX44" fmla="*/ 275329 w 3140960"/>
                  <a:gd name="connsiteY44" fmla="*/ 2377440 h 3147261"/>
                  <a:gd name="connsiteX45" fmla="*/ 229609 w 3140960"/>
                  <a:gd name="connsiteY45" fmla="*/ 2316480 h 3147261"/>
                  <a:gd name="connsiteX46" fmla="*/ 206749 w 3140960"/>
                  <a:gd name="connsiteY46" fmla="*/ 2293620 h 3147261"/>
                  <a:gd name="connsiteX47" fmla="*/ 176269 w 3140960"/>
                  <a:gd name="connsiteY47" fmla="*/ 2240280 h 3147261"/>
                  <a:gd name="connsiteX48" fmla="*/ 161029 w 3140960"/>
                  <a:gd name="connsiteY48" fmla="*/ 2202180 h 3147261"/>
                  <a:gd name="connsiteX49" fmla="*/ 145789 w 3140960"/>
                  <a:gd name="connsiteY49" fmla="*/ 2179320 h 3147261"/>
                  <a:gd name="connsiteX50" fmla="*/ 130549 w 3140960"/>
                  <a:gd name="connsiteY50" fmla="*/ 2133600 h 3147261"/>
                  <a:gd name="connsiteX51" fmla="*/ 100069 w 3140960"/>
                  <a:gd name="connsiteY51" fmla="*/ 2087880 h 3147261"/>
                  <a:gd name="connsiteX52" fmla="*/ 61969 w 3140960"/>
                  <a:gd name="connsiteY52" fmla="*/ 2026920 h 3147261"/>
                  <a:gd name="connsiteX53" fmla="*/ 54349 w 3140960"/>
                  <a:gd name="connsiteY53" fmla="*/ 2004060 h 3147261"/>
                  <a:gd name="connsiteX54" fmla="*/ 39109 w 3140960"/>
                  <a:gd name="connsiteY54" fmla="*/ 1943100 h 3147261"/>
                  <a:gd name="connsiteX55" fmla="*/ 23869 w 3140960"/>
                  <a:gd name="connsiteY55" fmla="*/ 1897380 h 3147261"/>
                  <a:gd name="connsiteX56" fmla="*/ 1009 w 3140960"/>
                  <a:gd name="connsiteY56" fmla="*/ 1562100 h 3147261"/>
                  <a:gd name="connsiteX57" fmla="*/ 54349 w 3140960"/>
                  <a:gd name="connsiteY57" fmla="*/ 1135380 h 3147261"/>
                  <a:gd name="connsiteX58" fmla="*/ 161029 w 3140960"/>
                  <a:gd name="connsiteY58" fmla="*/ 861060 h 3147261"/>
                  <a:gd name="connsiteX59" fmla="*/ 183889 w 3140960"/>
                  <a:gd name="connsiteY59" fmla="*/ 822960 h 3147261"/>
                  <a:gd name="connsiteX60" fmla="*/ 260089 w 3140960"/>
                  <a:gd name="connsiteY60" fmla="*/ 708660 h 3147261"/>
                  <a:gd name="connsiteX61" fmla="*/ 275329 w 3140960"/>
                  <a:gd name="connsiteY61" fmla="*/ 662940 h 3147261"/>
                  <a:gd name="connsiteX62" fmla="*/ 420109 w 3140960"/>
                  <a:gd name="connsiteY62" fmla="*/ 510540 h 3147261"/>
                  <a:gd name="connsiteX63" fmla="*/ 511549 w 3140960"/>
                  <a:gd name="connsiteY63" fmla="*/ 434340 h 3147261"/>
                  <a:gd name="connsiteX64" fmla="*/ 564889 w 3140960"/>
                  <a:gd name="connsiteY64" fmla="*/ 396240 h 3147261"/>
                  <a:gd name="connsiteX65" fmla="*/ 656329 w 3140960"/>
                  <a:gd name="connsiteY65" fmla="*/ 312420 h 3147261"/>
                  <a:gd name="connsiteX66" fmla="*/ 869689 w 3140960"/>
                  <a:gd name="connsiteY66" fmla="*/ 175260 h 3147261"/>
                  <a:gd name="connsiteX67" fmla="*/ 976369 w 3140960"/>
                  <a:gd name="connsiteY67" fmla="*/ 137160 h 3147261"/>
                  <a:gd name="connsiteX68" fmla="*/ 1105909 w 3140960"/>
                  <a:gd name="connsiteY68" fmla="*/ 76200 h 3147261"/>
                  <a:gd name="connsiteX69" fmla="*/ 1243069 w 3140960"/>
                  <a:gd name="connsiteY69" fmla="*/ 38100 h 3147261"/>
                  <a:gd name="connsiteX70" fmla="*/ 1265929 w 3140960"/>
                  <a:gd name="connsiteY70" fmla="*/ 30480 h 3147261"/>
                  <a:gd name="connsiteX71" fmla="*/ 1387849 w 3140960"/>
                  <a:gd name="connsiteY71" fmla="*/ 15240 h 3147261"/>
                  <a:gd name="connsiteX72" fmla="*/ 1464049 w 3140960"/>
                  <a:gd name="connsiteY72" fmla="*/ 0 h 3147261"/>
                  <a:gd name="connsiteX73" fmla="*/ 1745989 w 3140960"/>
                  <a:gd name="connsiteY73" fmla="*/ 0 h 3147261"/>
                  <a:gd name="connsiteX74" fmla="*/ 2165089 w 3140960"/>
                  <a:gd name="connsiteY74" fmla="*/ 99060 h 3147261"/>
                  <a:gd name="connsiteX75" fmla="*/ 2340349 w 3140960"/>
                  <a:gd name="connsiteY75" fmla="*/ 182880 h 3147261"/>
                  <a:gd name="connsiteX76" fmla="*/ 2370829 w 3140960"/>
                  <a:gd name="connsiteY76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49949 w 3140960"/>
                  <a:gd name="connsiteY26" fmla="*/ 2331720 h 3147261"/>
                  <a:gd name="connsiteX27" fmla="*/ 2927089 w 3140960"/>
                  <a:gd name="connsiteY27" fmla="*/ 2385060 h 3147261"/>
                  <a:gd name="connsiteX28" fmla="*/ 2858509 w 3140960"/>
                  <a:gd name="connsiteY28" fmla="*/ 2499360 h 3147261"/>
                  <a:gd name="connsiteX29" fmla="*/ 2843269 w 3140960"/>
                  <a:gd name="connsiteY29" fmla="*/ 2529840 h 3147261"/>
                  <a:gd name="connsiteX30" fmla="*/ 2835649 w 3140960"/>
                  <a:gd name="connsiteY30" fmla="*/ 2552700 h 3147261"/>
                  <a:gd name="connsiteX31" fmla="*/ 2759449 w 3140960"/>
                  <a:gd name="connsiteY31" fmla="*/ 2636520 h 3147261"/>
                  <a:gd name="connsiteX32" fmla="*/ 2706109 w 3140960"/>
                  <a:gd name="connsiteY32" fmla="*/ 2667000 h 3147261"/>
                  <a:gd name="connsiteX33" fmla="*/ 2302249 w 3140960"/>
                  <a:gd name="connsiteY33" fmla="*/ 2971800 h 3147261"/>
                  <a:gd name="connsiteX34" fmla="*/ 2195569 w 3140960"/>
                  <a:gd name="connsiteY34" fmla="*/ 3025140 h 3147261"/>
                  <a:gd name="connsiteX35" fmla="*/ 2096509 w 3140960"/>
                  <a:gd name="connsiteY35" fmla="*/ 3055620 h 3147261"/>
                  <a:gd name="connsiteX36" fmla="*/ 1913629 w 3140960"/>
                  <a:gd name="connsiteY36" fmla="*/ 3108960 h 3147261"/>
                  <a:gd name="connsiteX37" fmla="*/ 1799329 w 3140960"/>
                  <a:gd name="connsiteY37" fmla="*/ 3147060 h 3147261"/>
                  <a:gd name="connsiteX38" fmla="*/ 1334509 w 3140960"/>
                  <a:gd name="connsiteY38" fmla="*/ 3108960 h 3147261"/>
                  <a:gd name="connsiteX39" fmla="*/ 793489 w 3140960"/>
                  <a:gd name="connsiteY39" fmla="*/ 2933700 h 3147261"/>
                  <a:gd name="connsiteX40" fmla="*/ 420109 w 3140960"/>
                  <a:gd name="connsiteY40" fmla="*/ 2644140 h 3147261"/>
                  <a:gd name="connsiteX41" fmla="*/ 321049 w 3140960"/>
                  <a:gd name="connsiteY41" fmla="*/ 2484120 h 3147261"/>
                  <a:gd name="connsiteX42" fmla="*/ 298189 w 3140960"/>
                  <a:gd name="connsiteY42" fmla="*/ 2430780 h 3147261"/>
                  <a:gd name="connsiteX43" fmla="*/ 275329 w 3140960"/>
                  <a:gd name="connsiteY43" fmla="*/ 2377440 h 3147261"/>
                  <a:gd name="connsiteX44" fmla="*/ 229609 w 3140960"/>
                  <a:gd name="connsiteY44" fmla="*/ 2316480 h 3147261"/>
                  <a:gd name="connsiteX45" fmla="*/ 206749 w 3140960"/>
                  <a:gd name="connsiteY45" fmla="*/ 2293620 h 3147261"/>
                  <a:gd name="connsiteX46" fmla="*/ 176269 w 3140960"/>
                  <a:gd name="connsiteY46" fmla="*/ 2240280 h 3147261"/>
                  <a:gd name="connsiteX47" fmla="*/ 161029 w 3140960"/>
                  <a:gd name="connsiteY47" fmla="*/ 2202180 h 3147261"/>
                  <a:gd name="connsiteX48" fmla="*/ 145789 w 3140960"/>
                  <a:gd name="connsiteY48" fmla="*/ 2179320 h 3147261"/>
                  <a:gd name="connsiteX49" fmla="*/ 130549 w 3140960"/>
                  <a:gd name="connsiteY49" fmla="*/ 2133600 h 3147261"/>
                  <a:gd name="connsiteX50" fmla="*/ 100069 w 3140960"/>
                  <a:gd name="connsiteY50" fmla="*/ 2087880 h 3147261"/>
                  <a:gd name="connsiteX51" fmla="*/ 61969 w 3140960"/>
                  <a:gd name="connsiteY51" fmla="*/ 2026920 h 3147261"/>
                  <a:gd name="connsiteX52" fmla="*/ 54349 w 3140960"/>
                  <a:gd name="connsiteY52" fmla="*/ 2004060 h 3147261"/>
                  <a:gd name="connsiteX53" fmla="*/ 39109 w 3140960"/>
                  <a:gd name="connsiteY53" fmla="*/ 1943100 h 3147261"/>
                  <a:gd name="connsiteX54" fmla="*/ 23869 w 3140960"/>
                  <a:gd name="connsiteY54" fmla="*/ 1897380 h 3147261"/>
                  <a:gd name="connsiteX55" fmla="*/ 1009 w 3140960"/>
                  <a:gd name="connsiteY55" fmla="*/ 1562100 h 3147261"/>
                  <a:gd name="connsiteX56" fmla="*/ 54349 w 3140960"/>
                  <a:gd name="connsiteY56" fmla="*/ 1135380 h 3147261"/>
                  <a:gd name="connsiteX57" fmla="*/ 161029 w 3140960"/>
                  <a:gd name="connsiteY57" fmla="*/ 861060 h 3147261"/>
                  <a:gd name="connsiteX58" fmla="*/ 183889 w 3140960"/>
                  <a:gd name="connsiteY58" fmla="*/ 822960 h 3147261"/>
                  <a:gd name="connsiteX59" fmla="*/ 260089 w 3140960"/>
                  <a:gd name="connsiteY59" fmla="*/ 708660 h 3147261"/>
                  <a:gd name="connsiteX60" fmla="*/ 275329 w 3140960"/>
                  <a:gd name="connsiteY60" fmla="*/ 662940 h 3147261"/>
                  <a:gd name="connsiteX61" fmla="*/ 420109 w 3140960"/>
                  <a:gd name="connsiteY61" fmla="*/ 510540 h 3147261"/>
                  <a:gd name="connsiteX62" fmla="*/ 511549 w 3140960"/>
                  <a:gd name="connsiteY62" fmla="*/ 434340 h 3147261"/>
                  <a:gd name="connsiteX63" fmla="*/ 564889 w 3140960"/>
                  <a:gd name="connsiteY63" fmla="*/ 396240 h 3147261"/>
                  <a:gd name="connsiteX64" fmla="*/ 656329 w 3140960"/>
                  <a:gd name="connsiteY64" fmla="*/ 312420 h 3147261"/>
                  <a:gd name="connsiteX65" fmla="*/ 869689 w 3140960"/>
                  <a:gd name="connsiteY65" fmla="*/ 175260 h 3147261"/>
                  <a:gd name="connsiteX66" fmla="*/ 976369 w 3140960"/>
                  <a:gd name="connsiteY66" fmla="*/ 137160 h 3147261"/>
                  <a:gd name="connsiteX67" fmla="*/ 1105909 w 3140960"/>
                  <a:gd name="connsiteY67" fmla="*/ 76200 h 3147261"/>
                  <a:gd name="connsiteX68" fmla="*/ 1243069 w 3140960"/>
                  <a:gd name="connsiteY68" fmla="*/ 38100 h 3147261"/>
                  <a:gd name="connsiteX69" fmla="*/ 1265929 w 3140960"/>
                  <a:gd name="connsiteY69" fmla="*/ 30480 h 3147261"/>
                  <a:gd name="connsiteX70" fmla="*/ 1387849 w 3140960"/>
                  <a:gd name="connsiteY70" fmla="*/ 15240 h 3147261"/>
                  <a:gd name="connsiteX71" fmla="*/ 1464049 w 3140960"/>
                  <a:gd name="connsiteY71" fmla="*/ 0 h 3147261"/>
                  <a:gd name="connsiteX72" fmla="*/ 1745989 w 3140960"/>
                  <a:gd name="connsiteY72" fmla="*/ 0 h 3147261"/>
                  <a:gd name="connsiteX73" fmla="*/ 2165089 w 3140960"/>
                  <a:gd name="connsiteY73" fmla="*/ 99060 h 3147261"/>
                  <a:gd name="connsiteX74" fmla="*/ 2340349 w 3140960"/>
                  <a:gd name="connsiteY74" fmla="*/ 182880 h 3147261"/>
                  <a:gd name="connsiteX75" fmla="*/ 2370829 w 3140960"/>
                  <a:gd name="connsiteY7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2949949 w 3140960"/>
                  <a:gd name="connsiteY25" fmla="*/ 2331720 h 3147261"/>
                  <a:gd name="connsiteX26" fmla="*/ 2927089 w 3140960"/>
                  <a:gd name="connsiteY26" fmla="*/ 2385060 h 3147261"/>
                  <a:gd name="connsiteX27" fmla="*/ 2858509 w 3140960"/>
                  <a:gd name="connsiteY27" fmla="*/ 2499360 h 3147261"/>
                  <a:gd name="connsiteX28" fmla="*/ 2843269 w 3140960"/>
                  <a:gd name="connsiteY28" fmla="*/ 2529840 h 3147261"/>
                  <a:gd name="connsiteX29" fmla="*/ 2835649 w 3140960"/>
                  <a:gd name="connsiteY29" fmla="*/ 2552700 h 3147261"/>
                  <a:gd name="connsiteX30" fmla="*/ 2759449 w 3140960"/>
                  <a:gd name="connsiteY30" fmla="*/ 2636520 h 3147261"/>
                  <a:gd name="connsiteX31" fmla="*/ 2706109 w 3140960"/>
                  <a:gd name="connsiteY31" fmla="*/ 2667000 h 3147261"/>
                  <a:gd name="connsiteX32" fmla="*/ 2302249 w 3140960"/>
                  <a:gd name="connsiteY32" fmla="*/ 2971800 h 3147261"/>
                  <a:gd name="connsiteX33" fmla="*/ 2195569 w 3140960"/>
                  <a:gd name="connsiteY33" fmla="*/ 3025140 h 3147261"/>
                  <a:gd name="connsiteX34" fmla="*/ 2096509 w 3140960"/>
                  <a:gd name="connsiteY34" fmla="*/ 3055620 h 3147261"/>
                  <a:gd name="connsiteX35" fmla="*/ 1913629 w 3140960"/>
                  <a:gd name="connsiteY35" fmla="*/ 3108960 h 3147261"/>
                  <a:gd name="connsiteX36" fmla="*/ 1799329 w 3140960"/>
                  <a:gd name="connsiteY36" fmla="*/ 3147060 h 3147261"/>
                  <a:gd name="connsiteX37" fmla="*/ 1334509 w 3140960"/>
                  <a:gd name="connsiteY37" fmla="*/ 3108960 h 3147261"/>
                  <a:gd name="connsiteX38" fmla="*/ 793489 w 3140960"/>
                  <a:gd name="connsiteY38" fmla="*/ 2933700 h 3147261"/>
                  <a:gd name="connsiteX39" fmla="*/ 420109 w 3140960"/>
                  <a:gd name="connsiteY39" fmla="*/ 2644140 h 3147261"/>
                  <a:gd name="connsiteX40" fmla="*/ 321049 w 3140960"/>
                  <a:gd name="connsiteY40" fmla="*/ 2484120 h 3147261"/>
                  <a:gd name="connsiteX41" fmla="*/ 298189 w 3140960"/>
                  <a:gd name="connsiteY41" fmla="*/ 2430780 h 3147261"/>
                  <a:gd name="connsiteX42" fmla="*/ 275329 w 3140960"/>
                  <a:gd name="connsiteY42" fmla="*/ 2377440 h 3147261"/>
                  <a:gd name="connsiteX43" fmla="*/ 229609 w 3140960"/>
                  <a:gd name="connsiteY43" fmla="*/ 2316480 h 3147261"/>
                  <a:gd name="connsiteX44" fmla="*/ 206749 w 3140960"/>
                  <a:gd name="connsiteY44" fmla="*/ 2293620 h 3147261"/>
                  <a:gd name="connsiteX45" fmla="*/ 176269 w 3140960"/>
                  <a:gd name="connsiteY45" fmla="*/ 2240280 h 3147261"/>
                  <a:gd name="connsiteX46" fmla="*/ 161029 w 3140960"/>
                  <a:gd name="connsiteY46" fmla="*/ 2202180 h 3147261"/>
                  <a:gd name="connsiteX47" fmla="*/ 145789 w 3140960"/>
                  <a:gd name="connsiteY47" fmla="*/ 2179320 h 3147261"/>
                  <a:gd name="connsiteX48" fmla="*/ 130549 w 3140960"/>
                  <a:gd name="connsiteY48" fmla="*/ 2133600 h 3147261"/>
                  <a:gd name="connsiteX49" fmla="*/ 100069 w 3140960"/>
                  <a:gd name="connsiteY49" fmla="*/ 2087880 h 3147261"/>
                  <a:gd name="connsiteX50" fmla="*/ 61969 w 3140960"/>
                  <a:gd name="connsiteY50" fmla="*/ 2026920 h 3147261"/>
                  <a:gd name="connsiteX51" fmla="*/ 54349 w 3140960"/>
                  <a:gd name="connsiteY51" fmla="*/ 2004060 h 3147261"/>
                  <a:gd name="connsiteX52" fmla="*/ 39109 w 3140960"/>
                  <a:gd name="connsiteY52" fmla="*/ 1943100 h 3147261"/>
                  <a:gd name="connsiteX53" fmla="*/ 23869 w 3140960"/>
                  <a:gd name="connsiteY53" fmla="*/ 1897380 h 3147261"/>
                  <a:gd name="connsiteX54" fmla="*/ 1009 w 3140960"/>
                  <a:gd name="connsiteY54" fmla="*/ 1562100 h 3147261"/>
                  <a:gd name="connsiteX55" fmla="*/ 54349 w 3140960"/>
                  <a:gd name="connsiteY55" fmla="*/ 1135380 h 3147261"/>
                  <a:gd name="connsiteX56" fmla="*/ 161029 w 3140960"/>
                  <a:gd name="connsiteY56" fmla="*/ 861060 h 3147261"/>
                  <a:gd name="connsiteX57" fmla="*/ 183889 w 3140960"/>
                  <a:gd name="connsiteY57" fmla="*/ 822960 h 3147261"/>
                  <a:gd name="connsiteX58" fmla="*/ 260089 w 3140960"/>
                  <a:gd name="connsiteY58" fmla="*/ 708660 h 3147261"/>
                  <a:gd name="connsiteX59" fmla="*/ 275329 w 3140960"/>
                  <a:gd name="connsiteY59" fmla="*/ 662940 h 3147261"/>
                  <a:gd name="connsiteX60" fmla="*/ 420109 w 3140960"/>
                  <a:gd name="connsiteY60" fmla="*/ 510540 h 3147261"/>
                  <a:gd name="connsiteX61" fmla="*/ 511549 w 3140960"/>
                  <a:gd name="connsiteY61" fmla="*/ 434340 h 3147261"/>
                  <a:gd name="connsiteX62" fmla="*/ 564889 w 3140960"/>
                  <a:gd name="connsiteY62" fmla="*/ 396240 h 3147261"/>
                  <a:gd name="connsiteX63" fmla="*/ 656329 w 3140960"/>
                  <a:gd name="connsiteY63" fmla="*/ 312420 h 3147261"/>
                  <a:gd name="connsiteX64" fmla="*/ 869689 w 3140960"/>
                  <a:gd name="connsiteY64" fmla="*/ 175260 h 3147261"/>
                  <a:gd name="connsiteX65" fmla="*/ 976369 w 3140960"/>
                  <a:gd name="connsiteY65" fmla="*/ 137160 h 3147261"/>
                  <a:gd name="connsiteX66" fmla="*/ 1105909 w 3140960"/>
                  <a:gd name="connsiteY66" fmla="*/ 76200 h 3147261"/>
                  <a:gd name="connsiteX67" fmla="*/ 1243069 w 3140960"/>
                  <a:gd name="connsiteY67" fmla="*/ 38100 h 3147261"/>
                  <a:gd name="connsiteX68" fmla="*/ 1265929 w 3140960"/>
                  <a:gd name="connsiteY68" fmla="*/ 30480 h 3147261"/>
                  <a:gd name="connsiteX69" fmla="*/ 1387849 w 3140960"/>
                  <a:gd name="connsiteY69" fmla="*/ 15240 h 3147261"/>
                  <a:gd name="connsiteX70" fmla="*/ 1464049 w 3140960"/>
                  <a:gd name="connsiteY70" fmla="*/ 0 h 3147261"/>
                  <a:gd name="connsiteX71" fmla="*/ 1745989 w 3140960"/>
                  <a:gd name="connsiteY71" fmla="*/ 0 h 3147261"/>
                  <a:gd name="connsiteX72" fmla="*/ 2165089 w 3140960"/>
                  <a:gd name="connsiteY72" fmla="*/ 99060 h 3147261"/>
                  <a:gd name="connsiteX73" fmla="*/ 2340349 w 3140960"/>
                  <a:gd name="connsiteY73" fmla="*/ 182880 h 3147261"/>
                  <a:gd name="connsiteX74" fmla="*/ 2370829 w 3140960"/>
                  <a:gd name="connsiteY74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2949949 w 3140960"/>
                  <a:gd name="connsiteY24" fmla="*/ 2331720 h 3147261"/>
                  <a:gd name="connsiteX25" fmla="*/ 2927089 w 3140960"/>
                  <a:gd name="connsiteY25" fmla="*/ 2385060 h 3147261"/>
                  <a:gd name="connsiteX26" fmla="*/ 2858509 w 3140960"/>
                  <a:gd name="connsiteY26" fmla="*/ 2499360 h 3147261"/>
                  <a:gd name="connsiteX27" fmla="*/ 2843269 w 3140960"/>
                  <a:gd name="connsiteY27" fmla="*/ 2529840 h 3147261"/>
                  <a:gd name="connsiteX28" fmla="*/ 2835649 w 3140960"/>
                  <a:gd name="connsiteY28" fmla="*/ 2552700 h 3147261"/>
                  <a:gd name="connsiteX29" fmla="*/ 2759449 w 3140960"/>
                  <a:gd name="connsiteY29" fmla="*/ 2636520 h 3147261"/>
                  <a:gd name="connsiteX30" fmla="*/ 2706109 w 3140960"/>
                  <a:gd name="connsiteY30" fmla="*/ 2667000 h 3147261"/>
                  <a:gd name="connsiteX31" fmla="*/ 2302249 w 3140960"/>
                  <a:gd name="connsiteY31" fmla="*/ 2971800 h 3147261"/>
                  <a:gd name="connsiteX32" fmla="*/ 2195569 w 3140960"/>
                  <a:gd name="connsiteY32" fmla="*/ 3025140 h 3147261"/>
                  <a:gd name="connsiteX33" fmla="*/ 2096509 w 3140960"/>
                  <a:gd name="connsiteY33" fmla="*/ 3055620 h 3147261"/>
                  <a:gd name="connsiteX34" fmla="*/ 1913629 w 3140960"/>
                  <a:gd name="connsiteY34" fmla="*/ 3108960 h 3147261"/>
                  <a:gd name="connsiteX35" fmla="*/ 1799329 w 3140960"/>
                  <a:gd name="connsiteY35" fmla="*/ 3147060 h 3147261"/>
                  <a:gd name="connsiteX36" fmla="*/ 1334509 w 3140960"/>
                  <a:gd name="connsiteY36" fmla="*/ 3108960 h 3147261"/>
                  <a:gd name="connsiteX37" fmla="*/ 793489 w 3140960"/>
                  <a:gd name="connsiteY37" fmla="*/ 2933700 h 3147261"/>
                  <a:gd name="connsiteX38" fmla="*/ 420109 w 3140960"/>
                  <a:gd name="connsiteY38" fmla="*/ 2644140 h 3147261"/>
                  <a:gd name="connsiteX39" fmla="*/ 321049 w 3140960"/>
                  <a:gd name="connsiteY39" fmla="*/ 2484120 h 3147261"/>
                  <a:gd name="connsiteX40" fmla="*/ 298189 w 3140960"/>
                  <a:gd name="connsiteY40" fmla="*/ 2430780 h 3147261"/>
                  <a:gd name="connsiteX41" fmla="*/ 275329 w 3140960"/>
                  <a:gd name="connsiteY41" fmla="*/ 2377440 h 3147261"/>
                  <a:gd name="connsiteX42" fmla="*/ 229609 w 3140960"/>
                  <a:gd name="connsiteY42" fmla="*/ 2316480 h 3147261"/>
                  <a:gd name="connsiteX43" fmla="*/ 206749 w 3140960"/>
                  <a:gd name="connsiteY43" fmla="*/ 2293620 h 3147261"/>
                  <a:gd name="connsiteX44" fmla="*/ 176269 w 3140960"/>
                  <a:gd name="connsiteY44" fmla="*/ 2240280 h 3147261"/>
                  <a:gd name="connsiteX45" fmla="*/ 161029 w 3140960"/>
                  <a:gd name="connsiteY45" fmla="*/ 2202180 h 3147261"/>
                  <a:gd name="connsiteX46" fmla="*/ 145789 w 3140960"/>
                  <a:gd name="connsiteY46" fmla="*/ 2179320 h 3147261"/>
                  <a:gd name="connsiteX47" fmla="*/ 130549 w 3140960"/>
                  <a:gd name="connsiteY47" fmla="*/ 2133600 h 3147261"/>
                  <a:gd name="connsiteX48" fmla="*/ 100069 w 3140960"/>
                  <a:gd name="connsiteY48" fmla="*/ 2087880 h 3147261"/>
                  <a:gd name="connsiteX49" fmla="*/ 61969 w 3140960"/>
                  <a:gd name="connsiteY49" fmla="*/ 2026920 h 3147261"/>
                  <a:gd name="connsiteX50" fmla="*/ 54349 w 3140960"/>
                  <a:gd name="connsiteY50" fmla="*/ 2004060 h 3147261"/>
                  <a:gd name="connsiteX51" fmla="*/ 39109 w 3140960"/>
                  <a:gd name="connsiteY51" fmla="*/ 1943100 h 3147261"/>
                  <a:gd name="connsiteX52" fmla="*/ 23869 w 3140960"/>
                  <a:gd name="connsiteY52" fmla="*/ 1897380 h 3147261"/>
                  <a:gd name="connsiteX53" fmla="*/ 1009 w 3140960"/>
                  <a:gd name="connsiteY53" fmla="*/ 1562100 h 3147261"/>
                  <a:gd name="connsiteX54" fmla="*/ 54349 w 3140960"/>
                  <a:gd name="connsiteY54" fmla="*/ 1135380 h 3147261"/>
                  <a:gd name="connsiteX55" fmla="*/ 161029 w 3140960"/>
                  <a:gd name="connsiteY55" fmla="*/ 861060 h 3147261"/>
                  <a:gd name="connsiteX56" fmla="*/ 183889 w 3140960"/>
                  <a:gd name="connsiteY56" fmla="*/ 822960 h 3147261"/>
                  <a:gd name="connsiteX57" fmla="*/ 260089 w 3140960"/>
                  <a:gd name="connsiteY57" fmla="*/ 708660 h 3147261"/>
                  <a:gd name="connsiteX58" fmla="*/ 275329 w 3140960"/>
                  <a:gd name="connsiteY58" fmla="*/ 662940 h 3147261"/>
                  <a:gd name="connsiteX59" fmla="*/ 420109 w 3140960"/>
                  <a:gd name="connsiteY59" fmla="*/ 510540 h 3147261"/>
                  <a:gd name="connsiteX60" fmla="*/ 511549 w 3140960"/>
                  <a:gd name="connsiteY60" fmla="*/ 434340 h 3147261"/>
                  <a:gd name="connsiteX61" fmla="*/ 564889 w 3140960"/>
                  <a:gd name="connsiteY61" fmla="*/ 396240 h 3147261"/>
                  <a:gd name="connsiteX62" fmla="*/ 656329 w 3140960"/>
                  <a:gd name="connsiteY62" fmla="*/ 312420 h 3147261"/>
                  <a:gd name="connsiteX63" fmla="*/ 869689 w 3140960"/>
                  <a:gd name="connsiteY63" fmla="*/ 175260 h 3147261"/>
                  <a:gd name="connsiteX64" fmla="*/ 976369 w 3140960"/>
                  <a:gd name="connsiteY64" fmla="*/ 137160 h 3147261"/>
                  <a:gd name="connsiteX65" fmla="*/ 1105909 w 3140960"/>
                  <a:gd name="connsiteY65" fmla="*/ 76200 h 3147261"/>
                  <a:gd name="connsiteX66" fmla="*/ 1243069 w 3140960"/>
                  <a:gd name="connsiteY66" fmla="*/ 38100 h 3147261"/>
                  <a:gd name="connsiteX67" fmla="*/ 1265929 w 3140960"/>
                  <a:gd name="connsiteY67" fmla="*/ 30480 h 3147261"/>
                  <a:gd name="connsiteX68" fmla="*/ 1387849 w 3140960"/>
                  <a:gd name="connsiteY68" fmla="*/ 15240 h 3147261"/>
                  <a:gd name="connsiteX69" fmla="*/ 1464049 w 3140960"/>
                  <a:gd name="connsiteY69" fmla="*/ 0 h 3147261"/>
                  <a:gd name="connsiteX70" fmla="*/ 1745989 w 3140960"/>
                  <a:gd name="connsiteY70" fmla="*/ 0 h 3147261"/>
                  <a:gd name="connsiteX71" fmla="*/ 2165089 w 3140960"/>
                  <a:gd name="connsiteY71" fmla="*/ 99060 h 3147261"/>
                  <a:gd name="connsiteX72" fmla="*/ 2340349 w 3140960"/>
                  <a:gd name="connsiteY72" fmla="*/ 182880 h 3147261"/>
                  <a:gd name="connsiteX73" fmla="*/ 2370829 w 3140960"/>
                  <a:gd name="connsiteY73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76269 w 3140960"/>
                  <a:gd name="connsiteY43" fmla="*/ 2240280 h 3147261"/>
                  <a:gd name="connsiteX44" fmla="*/ 161029 w 3140960"/>
                  <a:gd name="connsiteY44" fmla="*/ 2202180 h 3147261"/>
                  <a:gd name="connsiteX45" fmla="*/ 145789 w 3140960"/>
                  <a:gd name="connsiteY45" fmla="*/ 2179320 h 3147261"/>
                  <a:gd name="connsiteX46" fmla="*/ 130549 w 3140960"/>
                  <a:gd name="connsiteY46" fmla="*/ 2133600 h 3147261"/>
                  <a:gd name="connsiteX47" fmla="*/ 100069 w 3140960"/>
                  <a:gd name="connsiteY47" fmla="*/ 2087880 h 3147261"/>
                  <a:gd name="connsiteX48" fmla="*/ 61969 w 3140960"/>
                  <a:gd name="connsiteY48" fmla="*/ 2026920 h 3147261"/>
                  <a:gd name="connsiteX49" fmla="*/ 54349 w 3140960"/>
                  <a:gd name="connsiteY49" fmla="*/ 2004060 h 3147261"/>
                  <a:gd name="connsiteX50" fmla="*/ 39109 w 3140960"/>
                  <a:gd name="connsiteY50" fmla="*/ 1943100 h 3147261"/>
                  <a:gd name="connsiteX51" fmla="*/ 23869 w 3140960"/>
                  <a:gd name="connsiteY51" fmla="*/ 1897380 h 3147261"/>
                  <a:gd name="connsiteX52" fmla="*/ 1009 w 3140960"/>
                  <a:gd name="connsiteY52" fmla="*/ 1562100 h 3147261"/>
                  <a:gd name="connsiteX53" fmla="*/ 54349 w 3140960"/>
                  <a:gd name="connsiteY53" fmla="*/ 1135380 h 3147261"/>
                  <a:gd name="connsiteX54" fmla="*/ 161029 w 3140960"/>
                  <a:gd name="connsiteY54" fmla="*/ 861060 h 3147261"/>
                  <a:gd name="connsiteX55" fmla="*/ 183889 w 3140960"/>
                  <a:gd name="connsiteY55" fmla="*/ 822960 h 3147261"/>
                  <a:gd name="connsiteX56" fmla="*/ 260089 w 3140960"/>
                  <a:gd name="connsiteY56" fmla="*/ 708660 h 3147261"/>
                  <a:gd name="connsiteX57" fmla="*/ 275329 w 3140960"/>
                  <a:gd name="connsiteY57" fmla="*/ 662940 h 3147261"/>
                  <a:gd name="connsiteX58" fmla="*/ 420109 w 3140960"/>
                  <a:gd name="connsiteY58" fmla="*/ 510540 h 3147261"/>
                  <a:gd name="connsiteX59" fmla="*/ 511549 w 3140960"/>
                  <a:gd name="connsiteY59" fmla="*/ 434340 h 3147261"/>
                  <a:gd name="connsiteX60" fmla="*/ 564889 w 3140960"/>
                  <a:gd name="connsiteY60" fmla="*/ 396240 h 3147261"/>
                  <a:gd name="connsiteX61" fmla="*/ 656329 w 3140960"/>
                  <a:gd name="connsiteY61" fmla="*/ 312420 h 3147261"/>
                  <a:gd name="connsiteX62" fmla="*/ 869689 w 3140960"/>
                  <a:gd name="connsiteY62" fmla="*/ 175260 h 3147261"/>
                  <a:gd name="connsiteX63" fmla="*/ 976369 w 3140960"/>
                  <a:gd name="connsiteY63" fmla="*/ 137160 h 3147261"/>
                  <a:gd name="connsiteX64" fmla="*/ 1105909 w 3140960"/>
                  <a:gd name="connsiteY64" fmla="*/ 76200 h 3147261"/>
                  <a:gd name="connsiteX65" fmla="*/ 1243069 w 3140960"/>
                  <a:gd name="connsiteY65" fmla="*/ 38100 h 3147261"/>
                  <a:gd name="connsiteX66" fmla="*/ 1265929 w 3140960"/>
                  <a:gd name="connsiteY66" fmla="*/ 30480 h 3147261"/>
                  <a:gd name="connsiteX67" fmla="*/ 1387849 w 3140960"/>
                  <a:gd name="connsiteY67" fmla="*/ 15240 h 3147261"/>
                  <a:gd name="connsiteX68" fmla="*/ 1464049 w 3140960"/>
                  <a:gd name="connsiteY68" fmla="*/ 0 h 3147261"/>
                  <a:gd name="connsiteX69" fmla="*/ 1745989 w 3140960"/>
                  <a:gd name="connsiteY69" fmla="*/ 0 h 3147261"/>
                  <a:gd name="connsiteX70" fmla="*/ 2165089 w 3140960"/>
                  <a:gd name="connsiteY70" fmla="*/ 99060 h 3147261"/>
                  <a:gd name="connsiteX71" fmla="*/ 2340349 w 3140960"/>
                  <a:gd name="connsiteY71" fmla="*/ 182880 h 3147261"/>
                  <a:gd name="connsiteX72" fmla="*/ 2370829 w 3140960"/>
                  <a:gd name="connsiteY72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76269 w 3140960"/>
                  <a:gd name="connsiteY43" fmla="*/ 2240280 h 3147261"/>
                  <a:gd name="connsiteX44" fmla="*/ 161029 w 3140960"/>
                  <a:gd name="connsiteY44" fmla="*/ 2202180 h 3147261"/>
                  <a:gd name="connsiteX45" fmla="*/ 145789 w 3140960"/>
                  <a:gd name="connsiteY45" fmla="*/ 2179320 h 3147261"/>
                  <a:gd name="connsiteX46" fmla="*/ 100069 w 3140960"/>
                  <a:gd name="connsiteY46" fmla="*/ 2087880 h 3147261"/>
                  <a:gd name="connsiteX47" fmla="*/ 61969 w 3140960"/>
                  <a:gd name="connsiteY47" fmla="*/ 2026920 h 3147261"/>
                  <a:gd name="connsiteX48" fmla="*/ 54349 w 3140960"/>
                  <a:gd name="connsiteY48" fmla="*/ 2004060 h 3147261"/>
                  <a:gd name="connsiteX49" fmla="*/ 39109 w 3140960"/>
                  <a:gd name="connsiteY49" fmla="*/ 1943100 h 3147261"/>
                  <a:gd name="connsiteX50" fmla="*/ 23869 w 3140960"/>
                  <a:gd name="connsiteY50" fmla="*/ 1897380 h 3147261"/>
                  <a:gd name="connsiteX51" fmla="*/ 1009 w 3140960"/>
                  <a:gd name="connsiteY51" fmla="*/ 1562100 h 3147261"/>
                  <a:gd name="connsiteX52" fmla="*/ 54349 w 3140960"/>
                  <a:gd name="connsiteY52" fmla="*/ 1135380 h 3147261"/>
                  <a:gd name="connsiteX53" fmla="*/ 161029 w 3140960"/>
                  <a:gd name="connsiteY53" fmla="*/ 861060 h 3147261"/>
                  <a:gd name="connsiteX54" fmla="*/ 183889 w 3140960"/>
                  <a:gd name="connsiteY54" fmla="*/ 822960 h 3147261"/>
                  <a:gd name="connsiteX55" fmla="*/ 260089 w 3140960"/>
                  <a:gd name="connsiteY55" fmla="*/ 708660 h 3147261"/>
                  <a:gd name="connsiteX56" fmla="*/ 275329 w 3140960"/>
                  <a:gd name="connsiteY56" fmla="*/ 662940 h 3147261"/>
                  <a:gd name="connsiteX57" fmla="*/ 420109 w 3140960"/>
                  <a:gd name="connsiteY57" fmla="*/ 510540 h 3147261"/>
                  <a:gd name="connsiteX58" fmla="*/ 511549 w 3140960"/>
                  <a:gd name="connsiteY58" fmla="*/ 434340 h 3147261"/>
                  <a:gd name="connsiteX59" fmla="*/ 564889 w 3140960"/>
                  <a:gd name="connsiteY59" fmla="*/ 396240 h 3147261"/>
                  <a:gd name="connsiteX60" fmla="*/ 656329 w 3140960"/>
                  <a:gd name="connsiteY60" fmla="*/ 312420 h 3147261"/>
                  <a:gd name="connsiteX61" fmla="*/ 869689 w 3140960"/>
                  <a:gd name="connsiteY61" fmla="*/ 175260 h 3147261"/>
                  <a:gd name="connsiteX62" fmla="*/ 976369 w 3140960"/>
                  <a:gd name="connsiteY62" fmla="*/ 137160 h 3147261"/>
                  <a:gd name="connsiteX63" fmla="*/ 1105909 w 3140960"/>
                  <a:gd name="connsiteY63" fmla="*/ 76200 h 3147261"/>
                  <a:gd name="connsiteX64" fmla="*/ 1243069 w 3140960"/>
                  <a:gd name="connsiteY64" fmla="*/ 38100 h 3147261"/>
                  <a:gd name="connsiteX65" fmla="*/ 1265929 w 3140960"/>
                  <a:gd name="connsiteY65" fmla="*/ 30480 h 3147261"/>
                  <a:gd name="connsiteX66" fmla="*/ 1387849 w 3140960"/>
                  <a:gd name="connsiteY66" fmla="*/ 15240 h 3147261"/>
                  <a:gd name="connsiteX67" fmla="*/ 1464049 w 3140960"/>
                  <a:gd name="connsiteY67" fmla="*/ 0 h 3147261"/>
                  <a:gd name="connsiteX68" fmla="*/ 1745989 w 3140960"/>
                  <a:gd name="connsiteY68" fmla="*/ 0 h 3147261"/>
                  <a:gd name="connsiteX69" fmla="*/ 2165089 w 3140960"/>
                  <a:gd name="connsiteY69" fmla="*/ 99060 h 3147261"/>
                  <a:gd name="connsiteX70" fmla="*/ 2340349 w 3140960"/>
                  <a:gd name="connsiteY70" fmla="*/ 182880 h 3147261"/>
                  <a:gd name="connsiteX71" fmla="*/ 2370829 w 3140960"/>
                  <a:gd name="connsiteY71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76269 w 3140960"/>
                  <a:gd name="connsiteY43" fmla="*/ 2240280 h 3147261"/>
                  <a:gd name="connsiteX44" fmla="*/ 145789 w 3140960"/>
                  <a:gd name="connsiteY44" fmla="*/ 2179320 h 3147261"/>
                  <a:gd name="connsiteX45" fmla="*/ 100069 w 3140960"/>
                  <a:gd name="connsiteY45" fmla="*/ 2087880 h 3147261"/>
                  <a:gd name="connsiteX46" fmla="*/ 61969 w 3140960"/>
                  <a:gd name="connsiteY46" fmla="*/ 2026920 h 3147261"/>
                  <a:gd name="connsiteX47" fmla="*/ 54349 w 3140960"/>
                  <a:gd name="connsiteY47" fmla="*/ 2004060 h 3147261"/>
                  <a:gd name="connsiteX48" fmla="*/ 39109 w 3140960"/>
                  <a:gd name="connsiteY48" fmla="*/ 1943100 h 3147261"/>
                  <a:gd name="connsiteX49" fmla="*/ 23869 w 3140960"/>
                  <a:gd name="connsiteY49" fmla="*/ 1897380 h 3147261"/>
                  <a:gd name="connsiteX50" fmla="*/ 1009 w 3140960"/>
                  <a:gd name="connsiteY50" fmla="*/ 1562100 h 3147261"/>
                  <a:gd name="connsiteX51" fmla="*/ 54349 w 3140960"/>
                  <a:gd name="connsiteY51" fmla="*/ 1135380 h 3147261"/>
                  <a:gd name="connsiteX52" fmla="*/ 161029 w 3140960"/>
                  <a:gd name="connsiteY52" fmla="*/ 861060 h 3147261"/>
                  <a:gd name="connsiteX53" fmla="*/ 183889 w 3140960"/>
                  <a:gd name="connsiteY53" fmla="*/ 822960 h 3147261"/>
                  <a:gd name="connsiteX54" fmla="*/ 260089 w 3140960"/>
                  <a:gd name="connsiteY54" fmla="*/ 708660 h 3147261"/>
                  <a:gd name="connsiteX55" fmla="*/ 275329 w 3140960"/>
                  <a:gd name="connsiteY55" fmla="*/ 662940 h 3147261"/>
                  <a:gd name="connsiteX56" fmla="*/ 420109 w 3140960"/>
                  <a:gd name="connsiteY56" fmla="*/ 510540 h 3147261"/>
                  <a:gd name="connsiteX57" fmla="*/ 511549 w 3140960"/>
                  <a:gd name="connsiteY57" fmla="*/ 434340 h 3147261"/>
                  <a:gd name="connsiteX58" fmla="*/ 564889 w 3140960"/>
                  <a:gd name="connsiteY58" fmla="*/ 396240 h 3147261"/>
                  <a:gd name="connsiteX59" fmla="*/ 656329 w 3140960"/>
                  <a:gd name="connsiteY59" fmla="*/ 312420 h 3147261"/>
                  <a:gd name="connsiteX60" fmla="*/ 869689 w 3140960"/>
                  <a:gd name="connsiteY60" fmla="*/ 175260 h 3147261"/>
                  <a:gd name="connsiteX61" fmla="*/ 976369 w 3140960"/>
                  <a:gd name="connsiteY61" fmla="*/ 137160 h 3147261"/>
                  <a:gd name="connsiteX62" fmla="*/ 1105909 w 3140960"/>
                  <a:gd name="connsiteY62" fmla="*/ 76200 h 3147261"/>
                  <a:gd name="connsiteX63" fmla="*/ 1243069 w 3140960"/>
                  <a:gd name="connsiteY63" fmla="*/ 38100 h 3147261"/>
                  <a:gd name="connsiteX64" fmla="*/ 1265929 w 3140960"/>
                  <a:gd name="connsiteY64" fmla="*/ 30480 h 3147261"/>
                  <a:gd name="connsiteX65" fmla="*/ 1387849 w 3140960"/>
                  <a:gd name="connsiteY65" fmla="*/ 15240 h 3147261"/>
                  <a:gd name="connsiteX66" fmla="*/ 1464049 w 3140960"/>
                  <a:gd name="connsiteY66" fmla="*/ 0 h 3147261"/>
                  <a:gd name="connsiteX67" fmla="*/ 1745989 w 3140960"/>
                  <a:gd name="connsiteY67" fmla="*/ 0 h 3147261"/>
                  <a:gd name="connsiteX68" fmla="*/ 2165089 w 3140960"/>
                  <a:gd name="connsiteY68" fmla="*/ 99060 h 3147261"/>
                  <a:gd name="connsiteX69" fmla="*/ 2340349 w 3140960"/>
                  <a:gd name="connsiteY69" fmla="*/ 182880 h 3147261"/>
                  <a:gd name="connsiteX70" fmla="*/ 2370829 w 3140960"/>
                  <a:gd name="connsiteY70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45789 w 3140960"/>
                  <a:gd name="connsiteY43" fmla="*/ 2179320 h 3147261"/>
                  <a:gd name="connsiteX44" fmla="*/ 100069 w 3140960"/>
                  <a:gd name="connsiteY44" fmla="*/ 2087880 h 3147261"/>
                  <a:gd name="connsiteX45" fmla="*/ 61969 w 3140960"/>
                  <a:gd name="connsiteY45" fmla="*/ 2026920 h 3147261"/>
                  <a:gd name="connsiteX46" fmla="*/ 54349 w 3140960"/>
                  <a:gd name="connsiteY46" fmla="*/ 2004060 h 3147261"/>
                  <a:gd name="connsiteX47" fmla="*/ 39109 w 3140960"/>
                  <a:gd name="connsiteY47" fmla="*/ 1943100 h 3147261"/>
                  <a:gd name="connsiteX48" fmla="*/ 23869 w 3140960"/>
                  <a:gd name="connsiteY48" fmla="*/ 1897380 h 3147261"/>
                  <a:gd name="connsiteX49" fmla="*/ 1009 w 3140960"/>
                  <a:gd name="connsiteY49" fmla="*/ 1562100 h 3147261"/>
                  <a:gd name="connsiteX50" fmla="*/ 54349 w 3140960"/>
                  <a:gd name="connsiteY50" fmla="*/ 1135380 h 3147261"/>
                  <a:gd name="connsiteX51" fmla="*/ 161029 w 3140960"/>
                  <a:gd name="connsiteY51" fmla="*/ 861060 h 3147261"/>
                  <a:gd name="connsiteX52" fmla="*/ 183889 w 3140960"/>
                  <a:gd name="connsiteY52" fmla="*/ 822960 h 3147261"/>
                  <a:gd name="connsiteX53" fmla="*/ 260089 w 3140960"/>
                  <a:gd name="connsiteY53" fmla="*/ 708660 h 3147261"/>
                  <a:gd name="connsiteX54" fmla="*/ 275329 w 3140960"/>
                  <a:gd name="connsiteY54" fmla="*/ 662940 h 3147261"/>
                  <a:gd name="connsiteX55" fmla="*/ 420109 w 3140960"/>
                  <a:gd name="connsiteY55" fmla="*/ 510540 h 3147261"/>
                  <a:gd name="connsiteX56" fmla="*/ 511549 w 3140960"/>
                  <a:gd name="connsiteY56" fmla="*/ 434340 h 3147261"/>
                  <a:gd name="connsiteX57" fmla="*/ 564889 w 3140960"/>
                  <a:gd name="connsiteY57" fmla="*/ 396240 h 3147261"/>
                  <a:gd name="connsiteX58" fmla="*/ 656329 w 3140960"/>
                  <a:gd name="connsiteY58" fmla="*/ 312420 h 3147261"/>
                  <a:gd name="connsiteX59" fmla="*/ 869689 w 3140960"/>
                  <a:gd name="connsiteY59" fmla="*/ 175260 h 3147261"/>
                  <a:gd name="connsiteX60" fmla="*/ 976369 w 3140960"/>
                  <a:gd name="connsiteY60" fmla="*/ 137160 h 3147261"/>
                  <a:gd name="connsiteX61" fmla="*/ 1105909 w 3140960"/>
                  <a:gd name="connsiteY61" fmla="*/ 76200 h 3147261"/>
                  <a:gd name="connsiteX62" fmla="*/ 1243069 w 3140960"/>
                  <a:gd name="connsiteY62" fmla="*/ 38100 h 3147261"/>
                  <a:gd name="connsiteX63" fmla="*/ 1265929 w 3140960"/>
                  <a:gd name="connsiteY63" fmla="*/ 30480 h 3147261"/>
                  <a:gd name="connsiteX64" fmla="*/ 1387849 w 3140960"/>
                  <a:gd name="connsiteY64" fmla="*/ 15240 h 3147261"/>
                  <a:gd name="connsiteX65" fmla="*/ 1464049 w 3140960"/>
                  <a:gd name="connsiteY65" fmla="*/ 0 h 3147261"/>
                  <a:gd name="connsiteX66" fmla="*/ 1745989 w 3140960"/>
                  <a:gd name="connsiteY66" fmla="*/ 0 h 3147261"/>
                  <a:gd name="connsiteX67" fmla="*/ 2165089 w 3140960"/>
                  <a:gd name="connsiteY67" fmla="*/ 99060 h 3147261"/>
                  <a:gd name="connsiteX68" fmla="*/ 2340349 w 3140960"/>
                  <a:gd name="connsiteY68" fmla="*/ 182880 h 3147261"/>
                  <a:gd name="connsiteX69" fmla="*/ 2370829 w 3140960"/>
                  <a:gd name="connsiteY69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06749 w 3140960"/>
                  <a:gd name="connsiteY41" fmla="*/ 2293620 h 3147261"/>
                  <a:gd name="connsiteX42" fmla="*/ 145789 w 3140960"/>
                  <a:gd name="connsiteY42" fmla="*/ 2179320 h 3147261"/>
                  <a:gd name="connsiteX43" fmla="*/ 100069 w 3140960"/>
                  <a:gd name="connsiteY43" fmla="*/ 2087880 h 3147261"/>
                  <a:gd name="connsiteX44" fmla="*/ 61969 w 3140960"/>
                  <a:gd name="connsiteY44" fmla="*/ 2026920 h 3147261"/>
                  <a:gd name="connsiteX45" fmla="*/ 54349 w 3140960"/>
                  <a:gd name="connsiteY45" fmla="*/ 2004060 h 3147261"/>
                  <a:gd name="connsiteX46" fmla="*/ 39109 w 3140960"/>
                  <a:gd name="connsiteY46" fmla="*/ 1943100 h 3147261"/>
                  <a:gd name="connsiteX47" fmla="*/ 23869 w 3140960"/>
                  <a:gd name="connsiteY47" fmla="*/ 1897380 h 3147261"/>
                  <a:gd name="connsiteX48" fmla="*/ 1009 w 3140960"/>
                  <a:gd name="connsiteY48" fmla="*/ 1562100 h 3147261"/>
                  <a:gd name="connsiteX49" fmla="*/ 54349 w 3140960"/>
                  <a:gd name="connsiteY49" fmla="*/ 1135380 h 3147261"/>
                  <a:gd name="connsiteX50" fmla="*/ 161029 w 3140960"/>
                  <a:gd name="connsiteY50" fmla="*/ 861060 h 3147261"/>
                  <a:gd name="connsiteX51" fmla="*/ 183889 w 3140960"/>
                  <a:gd name="connsiteY51" fmla="*/ 822960 h 3147261"/>
                  <a:gd name="connsiteX52" fmla="*/ 260089 w 3140960"/>
                  <a:gd name="connsiteY52" fmla="*/ 708660 h 3147261"/>
                  <a:gd name="connsiteX53" fmla="*/ 275329 w 3140960"/>
                  <a:gd name="connsiteY53" fmla="*/ 662940 h 3147261"/>
                  <a:gd name="connsiteX54" fmla="*/ 420109 w 3140960"/>
                  <a:gd name="connsiteY54" fmla="*/ 510540 h 3147261"/>
                  <a:gd name="connsiteX55" fmla="*/ 511549 w 3140960"/>
                  <a:gd name="connsiteY55" fmla="*/ 434340 h 3147261"/>
                  <a:gd name="connsiteX56" fmla="*/ 564889 w 3140960"/>
                  <a:gd name="connsiteY56" fmla="*/ 396240 h 3147261"/>
                  <a:gd name="connsiteX57" fmla="*/ 656329 w 3140960"/>
                  <a:gd name="connsiteY57" fmla="*/ 312420 h 3147261"/>
                  <a:gd name="connsiteX58" fmla="*/ 869689 w 3140960"/>
                  <a:gd name="connsiteY58" fmla="*/ 175260 h 3147261"/>
                  <a:gd name="connsiteX59" fmla="*/ 976369 w 3140960"/>
                  <a:gd name="connsiteY59" fmla="*/ 137160 h 3147261"/>
                  <a:gd name="connsiteX60" fmla="*/ 1105909 w 3140960"/>
                  <a:gd name="connsiteY60" fmla="*/ 76200 h 3147261"/>
                  <a:gd name="connsiteX61" fmla="*/ 1243069 w 3140960"/>
                  <a:gd name="connsiteY61" fmla="*/ 38100 h 3147261"/>
                  <a:gd name="connsiteX62" fmla="*/ 1265929 w 3140960"/>
                  <a:gd name="connsiteY62" fmla="*/ 30480 h 3147261"/>
                  <a:gd name="connsiteX63" fmla="*/ 1387849 w 3140960"/>
                  <a:gd name="connsiteY63" fmla="*/ 15240 h 3147261"/>
                  <a:gd name="connsiteX64" fmla="*/ 1464049 w 3140960"/>
                  <a:gd name="connsiteY64" fmla="*/ 0 h 3147261"/>
                  <a:gd name="connsiteX65" fmla="*/ 1745989 w 3140960"/>
                  <a:gd name="connsiteY65" fmla="*/ 0 h 3147261"/>
                  <a:gd name="connsiteX66" fmla="*/ 2165089 w 3140960"/>
                  <a:gd name="connsiteY66" fmla="*/ 99060 h 3147261"/>
                  <a:gd name="connsiteX67" fmla="*/ 2340349 w 3140960"/>
                  <a:gd name="connsiteY67" fmla="*/ 182880 h 3147261"/>
                  <a:gd name="connsiteX68" fmla="*/ 2370829 w 3140960"/>
                  <a:gd name="connsiteY68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06749 w 3140960"/>
                  <a:gd name="connsiteY41" fmla="*/ 2293620 h 3147261"/>
                  <a:gd name="connsiteX42" fmla="*/ 100069 w 3140960"/>
                  <a:gd name="connsiteY42" fmla="*/ 2087880 h 3147261"/>
                  <a:gd name="connsiteX43" fmla="*/ 61969 w 3140960"/>
                  <a:gd name="connsiteY43" fmla="*/ 2026920 h 3147261"/>
                  <a:gd name="connsiteX44" fmla="*/ 54349 w 3140960"/>
                  <a:gd name="connsiteY44" fmla="*/ 2004060 h 3147261"/>
                  <a:gd name="connsiteX45" fmla="*/ 39109 w 3140960"/>
                  <a:gd name="connsiteY45" fmla="*/ 1943100 h 3147261"/>
                  <a:gd name="connsiteX46" fmla="*/ 23869 w 3140960"/>
                  <a:gd name="connsiteY46" fmla="*/ 1897380 h 3147261"/>
                  <a:gd name="connsiteX47" fmla="*/ 1009 w 3140960"/>
                  <a:gd name="connsiteY47" fmla="*/ 1562100 h 3147261"/>
                  <a:gd name="connsiteX48" fmla="*/ 54349 w 3140960"/>
                  <a:gd name="connsiteY48" fmla="*/ 1135380 h 3147261"/>
                  <a:gd name="connsiteX49" fmla="*/ 161029 w 3140960"/>
                  <a:gd name="connsiteY49" fmla="*/ 861060 h 3147261"/>
                  <a:gd name="connsiteX50" fmla="*/ 183889 w 3140960"/>
                  <a:gd name="connsiteY50" fmla="*/ 822960 h 3147261"/>
                  <a:gd name="connsiteX51" fmla="*/ 260089 w 3140960"/>
                  <a:gd name="connsiteY51" fmla="*/ 708660 h 3147261"/>
                  <a:gd name="connsiteX52" fmla="*/ 275329 w 3140960"/>
                  <a:gd name="connsiteY52" fmla="*/ 662940 h 3147261"/>
                  <a:gd name="connsiteX53" fmla="*/ 420109 w 3140960"/>
                  <a:gd name="connsiteY53" fmla="*/ 510540 h 3147261"/>
                  <a:gd name="connsiteX54" fmla="*/ 511549 w 3140960"/>
                  <a:gd name="connsiteY54" fmla="*/ 434340 h 3147261"/>
                  <a:gd name="connsiteX55" fmla="*/ 564889 w 3140960"/>
                  <a:gd name="connsiteY55" fmla="*/ 396240 h 3147261"/>
                  <a:gd name="connsiteX56" fmla="*/ 656329 w 3140960"/>
                  <a:gd name="connsiteY56" fmla="*/ 312420 h 3147261"/>
                  <a:gd name="connsiteX57" fmla="*/ 869689 w 3140960"/>
                  <a:gd name="connsiteY57" fmla="*/ 175260 h 3147261"/>
                  <a:gd name="connsiteX58" fmla="*/ 976369 w 3140960"/>
                  <a:gd name="connsiteY58" fmla="*/ 137160 h 3147261"/>
                  <a:gd name="connsiteX59" fmla="*/ 1105909 w 3140960"/>
                  <a:gd name="connsiteY59" fmla="*/ 76200 h 3147261"/>
                  <a:gd name="connsiteX60" fmla="*/ 1243069 w 3140960"/>
                  <a:gd name="connsiteY60" fmla="*/ 38100 h 3147261"/>
                  <a:gd name="connsiteX61" fmla="*/ 1265929 w 3140960"/>
                  <a:gd name="connsiteY61" fmla="*/ 30480 h 3147261"/>
                  <a:gd name="connsiteX62" fmla="*/ 1387849 w 3140960"/>
                  <a:gd name="connsiteY62" fmla="*/ 15240 h 3147261"/>
                  <a:gd name="connsiteX63" fmla="*/ 1464049 w 3140960"/>
                  <a:gd name="connsiteY63" fmla="*/ 0 h 3147261"/>
                  <a:gd name="connsiteX64" fmla="*/ 1745989 w 3140960"/>
                  <a:gd name="connsiteY64" fmla="*/ 0 h 3147261"/>
                  <a:gd name="connsiteX65" fmla="*/ 2165089 w 3140960"/>
                  <a:gd name="connsiteY65" fmla="*/ 99060 h 3147261"/>
                  <a:gd name="connsiteX66" fmla="*/ 2340349 w 3140960"/>
                  <a:gd name="connsiteY66" fmla="*/ 182880 h 3147261"/>
                  <a:gd name="connsiteX67" fmla="*/ 2370829 w 3140960"/>
                  <a:gd name="connsiteY67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100069 w 3140960"/>
                  <a:gd name="connsiteY41" fmla="*/ 2087880 h 3147261"/>
                  <a:gd name="connsiteX42" fmla="*/ 61969 w 3140960"/>
                  <a:gd name="connsiteY42" fmla="*/ 2026920 h 3147261"/>
                  <a:gd name="connsiteX43" fmla="*/ 54349 w 3140960"/>
                  <a:gd name="connsiteY43" fmla="*/ 2004060 h 3147261"/>
                  <a:gd name="connsiteX44" fmla="*/ 39109 w 3140960"/>
                  <a:gd name="connsiteY44" fmla="*/ 1943100 h 3147261"/>
                  <a:gd name="connsiteX45" fmla="*/ 23869 w 3140960"/>
                  <a:gd name="connsiteY45" fmla="*/ 1897380 h 3147261"/>
                  <a:gd name="connsiteX46" fmla="*/ 1009 w 3140960"/>
                  <a:gd name="connsiteY46" fmla="*/ 1562100 h 3147261"/>
                  <a:gd name="connsiteX47" fmla="*/ 54349 w 3140960"/>
                  <a:gd name="connsiteY47" fmla="*/ 1135380 h 3147261"/>
                  <a:gd name="connsiteX48" fmla="*/ 161029 w 3140960"/>
                  <a:gd name="connsiteY48" fmla="*/ 861060 h 3147261"/>
                  <a:gd name="connsiteX49" fmla="*/ 183889 w 3140960"/>
                  <a:gd name="connsiteY49" fmla="*/ 822960 h 3147261"/>
                  <a:gd name="connsiteX50" fmla="*/ 260089 w 3140960"/>
                  <a:gd name="connsiteY50" fmla="*/ 708660 h 3147261"/>
                  <a:gd name="connsiteX51" fmla="*/ 275329 w 3140960"/>
                  <a:gd name="connsiteY51" fmla="*/ 662940 h 3147261"/>
                  <a:gd name="connsiteX52" fmla="*/ 420109 w 3140960"/>
                  <a:gd name="connsiteY52" fmla="*/ 510540 h 3147261"/>
                  <a:gd name="connsiteX53" fmla="*/ 511549 w 3140960"/>
                  <a:gd name="connsiteY53" fmla="*/ 434340 h 3147261"/>
                  <a:gd name="connsiteX54" fmla="*/ 564889 w 3140960"/>
                  <a:gd name="connsiteY54" fmla="*/ 396240 h 3147261"/>
                  <a:gd name="connsiteX55" fmla="*/ 656329 w 3140960"/>
                  <a:gd name="connsiteY55" fmla="*/ 312420 h 3147261"/>
                  <a:gd name="connsiteX56" fmla="*/ 869689 w 3140960"/>
                  <a:gd name="connsiteY56" fmla="*/ 175260 h 3147261"/>
                  <a:gd name="connsiteX57" fmla="*/ 976369 w 3140960"/>
                  <a:gd name="connsiteY57" fmla="*/ 137160 h 3147261"/>
                  <a:gd name="connsiteX58" fmla="*/ 1105909 w 3140960"/>
                  <a:gd name="connsiteY58" fmla="*/ 76200 h 3147261"/>
                  <a:gd name="connsiteX59" fmla="*/ 1243069 w 3140960"/>
                  <a:gd name="connsiteY59" fmla="*/ 38100 h 3147261"/>
                  <a:gd name="connsiteX60" fmla="*/ 1265929 w 3140960"/>
                  <a:gd name="connsiteY60" fmla="*/ 30480 h 3147261"/>
                  <a:gd name="connsiteX61" fmla="*/ 1387849 w 3140960"/>
                  <a:gd name="connsiteY61" fmla="*/ 15240 h 3147261"/>
                  <a:gd name="connsiteX62" fmla="*/ 1464049 w 3140960"/>
                  <a:gd name="connsiteY62" fmla="*/ 0 h 3147261"/>
                  <a:gd name="connsiteX63" fmla="*/ 1745989 w 3140960"/>
                  <a:gd name="connsiteY63" fmla="*/ 0 h 3147261"/>
                  <a:gd name="connsiteX64" fmla="*/ 2165089 w 3140960"/>
                  <a:gd name="connsiteY64" fmla="*/ 99060 h 3147261"/>
                  <a:gd name="connsiteX65" fmla="*/ 2340349 w 3140960"/>
                  <a:gd name="connsiteY65" fmla="*/ 182880 h 3147261"/>
                  <a:gd name="connsiteX66" fmla="*/ 2370829 w 3140960"/>
                  <a:gd name="connsiteY66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61969 w 3140960"/>
                  <a:gd name="connsiteY41" fmla="*/ 2026920 h 3147261"/>
                  <a:gd name="connsiteX42" fmla="*/ 54349 w 3140960"/>
                  <a:gd name="connsiteY42" fmla="*/ 2004060 h 3147261"/>
                  <a:gd name="connsiteX43" fmla="*/ 39109 w 3140960"/>
                  <a:gd name="connsiteY43" fmla="*/ 1943100 h 3147261"/>
                  <a:gd name="connsiteX44" fmla="*/ 23869 w 3140960"/>
                  <a:gd name="connsiteY44" fmla="*/ 1897380 h 3147261"/>
                  <a:gd name="connsiteX45" fmla="*/ 1009 w 3140960"/>
                  <a:gd name="connsiteY45" fmla="*/ 1562100 h 3147261"/>
                  <a:gd name="connsiteX46" fmla="*/ 54349 w 3140960"/>
                  <a:gd name="connsiteY46" fmla="*/ 1135380 h 3147261"/>
                  <a:gd name="connsiteX47" fmla="*/ 161029 w 3140960"/>
                  <a:gd name="connsiteY47" fmla="*/ 861060 h 3147261"/>
                  <a:gd name="connsiteX48" fmla="*/ 183889 w 3140960"/>
                  <a:gd name="connsiteY48" fmla="*/ 822960 h 3147261"/>
                  <a:gd name="connsiteX49" fmla="*/ 260089 w 3140960"/>
                  <a:gd name="connsiteY49" fmla="*/ 708660 h 3147261"/>
                  <a:gd name="connsiteX50" fmla="*/ 275329 w 3140960"/>
                  <a:gd name="connsiteY50" fmla="*/ 662940 h 3147261"/>
                  <a:gd name="connsiteX51" fmla="*/ 420109 w 3140960"/>
                  <a:gd name="connsiteY51" fmla="*/ 510540 h 3147261"/>
                  <a:gd name="connsiteX52" fmla="*/ 511549 w 3140960"/>
                  <a:gd name="connsiteY52" fmla="*/ 434340 h 3147261"/>
                  <a:gd name="connsiteX53" fmla="*/ 564889 w 3140960"/>
                  <a:gd name="connsiteY53" fmla="*/ 396240 h 3147261"/>
                  <a:gd name="connsiteX54" fmla="*/ 656329 w 3140960"/>
                  <a:gd name="connsiteY54" fmla="*/ 312420 h 3147261"/>
                  <a:gd name="connsiteX55" fmla="*/ 869689 w 3140960"/>
                  <a:gd name="connsiteY55" fmla="*/ 175260 h 3147261"/>
                  <a:gd name="connsiteX56" fmla="*/ 976369 w 3140960"/>
                  <a:gd name="connsiteY56" fmla="*/ 137160 h 3147261"/>
                  <a:gd name="connsiteX57" fmla="*/ 1105909 w 3140960"/>
                  <a:gd name="connsiteY57" fmla="*/ 76200 h 3147261"/>
                  <a:gd name="connsiteX58" fmla="*/ 1243069 w 3140960"/>
                  <a:gd name="connsiteY58" fmla="*/ 38100 h 3147261"/>
                  <a:gd name="connsiteX59" fmla="*/ 1265929 w 3140960"/>
                  <a:gd name="connsiteY59" fmla="*/ 30480 h 3147261"/>
                  <a:gd name="connsiteX60" fmla="*/ 1387849 w 3140960"/>
                  <a:gd name="connsiteY60" fmla="*/ 15240 h 3147261"/>
                  <a:gd name="connsiteX61" fmla="*/ 1464049 w 3140960"/>
                  <a:gd name="connsiteY61" fmla="*/ 0 h 3147261"/>
                  <a:gd name="connsiteX62" fmla="*/ 1745989 w 3140960"/>
                  <a:gd name="connsiteY62" fmla="*/ 0 h 3147261"/>
                  <a:gd name="connsiteX63" fmla="*/ 2165089 w 3140960"/>
                  <a:gd name="connsiteY63" fmla="*/ 99060 h 3147261"/>
                  <a:gd name="connsiteX64" fmla="*/ 2340349 w 3140960"/>
                  <a:gd name="connsiteY64" fmla="*/ 182880 h 3147261"/>
                  <a:gd name="connsiteX65" fmla="*/ 2370829 w 3140960"/>
                  <a:gd name="connsiteY6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21989 w 3140960"/>
                  <a:gd name="connsiteY40" fmla="*/ 2316480 h 3147261"/>
                  <a:gd name="connsiteX41" fmla="*/ 61969 w 3140960"/>
                  <a:gd name="connsiteY41" fmla="*/ 2026920 h 3147261"/>
                  <a:gd name="connsiteX42" fmla="*/ 54349 w 3140960"/>
                  <a:gd name="connsiteY42" fmla="*/ 2004060 h 3147261"/>
                  <a:gd name="connsiteX43" fmla="*/ 39109 w 3140960"/>
                  <a:gd name="connsiteY43" fmla="*/ 1943100 h 3147261"/>
                  <a:gd name="connsiteX44" fmla="*/ 23869 w 3140960"/>
                  <a:gd name="connsiteY44" fmla="*/ 1897380 h 3147261"/>
                  <a:gd name="connsiteX45" fmla="*/ 1009 w 3140960"/>
                  <a:gd name="connsiteY45" fmla="*/ 1562100 h 3147261"/>
                  <a:gd name="connsiteX46" fmla="*/ 54349 w 3140960"/>
                  <a:gd name="connsiteY46" fmla="*/ 1135380 h 3147261"/>
                  <a:gd name="connsiteX47" fmla="*/ 161029 w 3140960"/>
                  <a:gd name="connsiteY47" fmla="*/ 861060 h 3147261"/>
                  <a:gd name="connsiteX48" fmla="*/ 183889 w 3140960"/>
                  <a:gd name="connsiteY48" fmla="*/ 822960 h 3147261"/>
                  <a:gd name="connsiteX49" fmla="*/ 260089 w 3140960"/>
                  <a:gd name="connsiteY49" fmla="*/ 708660 h 3147261"/>
                  <a:gd name="connsiteX50" fmla="*/ 275329 w 3140960"/>
                  <a:gd name="connsiteY50" fmla="*/ 662940 h 3147261"/>
                  <a:gd name="connsiteX51" fmla="*/ 420109 w 3140960"/>
                  <a:gd name="connsiteY51" fmla="*/ 510540 h 3147261"/>
                  <a:gd name="connsiteX52" fmla="*/ 511549 w 3140960"/>
                  <a:gd name="connsiteY52" fmla="*/ 434340 h 3147261"/>
                  <a:gd name="connsiteX53" fmla="*/ 564889 w 3140960"/>
                  <a:gd name="connsiteY53" fmla="*/ 396240 h 3147261"/>
                  <a:gd name="connsiteX54" fmla="*/ 656329 w 3140960"/>
                  <a:gd name="connsiteY54" fmla="*/ 312420 h 3147261"/>
                  <a:gd name="connsiteX55" fmla="*/ 869689 w 3140960"/>
                  <a:gd name="connsiteY55" fmla="*/ 175260 h 3147261"/>
                  <a:gd name="connsiteX56" fmla="*/ 976369 w 3140960"/>
                  <a:gd name="connsiteY56" fmla="*/ 137160 h 3147261"/>
                  <a:gd name="connsiteX57" fmla="*/ 1105909 w 3140960"/>
                  <a:gd name="connsiteY57" fmla="*/ 76200 h 3147261"/>
                  <a:gd name="connsiteX58" fmla="*/ 1243069 w 3140960"/>
                  <a:gd name="connsiteY58" fmla="*/ 38100 h 3147261"/>
                  <a:gd name="connsiteX59" fmla="*/ 1265929 w 3140960"/>
                  <a:gd name="connsiteY59" fmla="*/ 30480 h 3147261"/>
                  <a:gd name="connsiteX60" fmla="*/ 1387849 w 3140960"/>
                  <a:gd name="connsiteY60" fmla="*/ 15240 h 3147261"/>
                  <a:gd name="connsiteX61" fmla="*/ 1464049 w 3140960"/>
                  <a:gd name="connsiteY61" fmla="*/ 0 h 3147261"/>
                  <a:gd name="connsiteX62" fmla="*/ 1745989 w 3140960"/>
                  <a:gd name="connsiteY62" fmla="*/ 0 h 3147261"/>
                  <a:gd name="connsiteX63" fmla="*/ 2165089 w 3140960"/>
                  <a:gd name="connsiteY63" fmla="*/ 99060 h 3147261"/>
                  <a:gd name="connsiteX64" fmla="*/ 2340349 w 3140960"/>
                  <a:gd name="connsiteY64" fmla="*/ 182880 h 3147261"/>
                  <a:gd name="connsiteX65" fmla="*/ 2370829 w 3140960"/>
                  <a:gd name="connsiteY6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183889 w 3140960"/>
                  <a:gd name="connsiteY40" fmla="*/ 2308860 h 3147261"/>
                  <a:gd name="connsiteX41" fmla="*/ 61969 w 3140960"/>
                  <a:gd name="connsiteY41" fmla="*/ 2026920 h 3147261"/>
                  <a:gd name="connsiteX42" fmla="*/ 54349 w 3140960"/>
                  <a:gd name="connsiteY42" fmla="*/ 2004060 h 3147261"/>
                  <a:gd name="connsiteX43" fmla="*/ 39109 w 3140960"/>
                  <a:gd name="connsiteY43" fmla="*/ 1943100 h 3147261"/>
                  <a:gd name="connsiteX44" fmla="*/ 23869 w 3140960"/>
                  <a:gd name="connsiteY44" fmla="*/ 1897380 h 3147261"/>
                  <a:gd name="connsiteX45" fmla="*/ 1009 w 3140960"/>
                  <a:gd name="connsiteY45" fmla="*/ 1562100 h 3147261"/>
                  <a:gd name="connsiteX46" fmla="*/ 54349 w 3140960"/>
                  <a:gd name="connsiteY46" fmla="*/ 1135380 h 3147261"/>
                  <a:gd name="connsiteX47" fmla="*/ 161029 w 3140960"/>
                  <a:gd name="connsiteY47" fmla="*/ 861060 h 3147261"/>
                  <a:gd name="connsiteX48" fmla="*/ 183889 w 3140960"/>
                  <a:gd name="connsiteY48" fmla="*/ 822960 h 3147261"/>
                  <a:gd name="connsiteX49" fmla="*/ 260089 w 3140960"/>
                  <a:gd name="connsiteY49" fmla="*/ 708660 h 3147261"/>
                  <a:gd name="connsiteX50" fmla="*/ 275329 w 3140960"/>
                  <a:gd name="connsiteY50" fmla="*/ 662940 h 3147261"/>
                  <a:gd name="connsiteX51" fmla="*/ 420109 w 3140960"/>
                  <a:gd name="connsiteY51" fmla="*/ 510540 h 3147261"/>
                  <a:gd name="connsiteX52" fmla="*/ 511549 w 3140960"/>
                  <a:gd name="connsiteY52" fmla="*/ 434340 h 3147261"/>
                  <a:gd name="connsiteX53" fmla="*/ 564889 w 3140960"/>
                  <a:gd name="connsiteY53" fmla="*/ 396240 h 3147261"/>
                  <a:gd name="connsiteX54" fmla="*/ 656329 w 3140960"/>
                  <a:gd name="connsiteY54" fmla="*/ 312420 h 3147261"/>
                  <a:gd name="connsiteX55" fmla="*/ 869689 w 3140960"/>
                  <a:gd name="connsiteY55" fmla="*/ 175260 h 3147261"/>
                  <a:gd name="connsiteX56" fmla="*/ 976369 w 3140960"/>
                  <a:gd name="connsiteY56" fmla="*/ 137160 h 3147261"/>
                  <a:gd name="connsiteX57" fmla="*/ 1105909 w 3140960"/>
                  <a:gd name="connsiteY57" fmla="*/ 76200 h 3147261"/>
                  <a:gd name="connsiteX58" fmla="*/ 1243069 w 3140960"/>
                  <a:gd name="connsiteY58" fmla="*/ 38100 h 3147261"/>
                  <a:gd name="connsiteX59" fmla="*/ 1265929 w 3140960"/>
                  <a:gd name="connsiteY59" fmla="*/ 30480 h 3147261"/>
                  <a:gd name="connsiteX60" fmla="*/ 1387849 w 3140960"/>
                  <a:gd name="connsiteY60" fmla="*/ 15240 h 3147261"/>
                  <a:gd name="connsiteX61" fmla="*/ 1464049 w 3140960"/>
                  <a:gd name="connsiteY61" fmla="*/ 0 h 3147261"/>
                  <a:gd name="connsiteX62" fmla="*/ 1745989 w 3140960"/>
                  <a:gd name="connsiteY62" fmla="*/ 0 h 3147261"/>
                  <a:gd name="connsiteX63" fmla="*/ 2165089 w 3140960"/>
                  <a:gd name="connsiteY63" fmla="*/ 99060 h 3147261"/>
                  <a:gd name="connsiteX64" fmla="*/ 2340349 w 3140960"/>
                  <a:gd name="connsiteY64" fmla="*/ 182880 h 3147261"/>
                  <a:gd name="connsiteX65" fmla="*/ 2370829 w 3140960"/>
                  <a:gd name="connsiteY6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298189 w 3140960"/>
                  <a:gd name="connsiteY38" fmla="*/ 2430780 h 3147261"/>
                  <a:gd name="connsiteX39" fmla="*/ 183889 w 3140960"/>
                  <a:gd name="connsiteY39" fmla="*/ 2308860 h 3147261"/>
                  <a:gd name="connsiteX40" fmla="*/ 61969 w 3140960"/>
                  <a:gd name="connsiteY40" fmla="*/ 2026920 h 3147261"/>
                  <a:gd name="connsiteX41" fmla="*/ 54349 w 3140960"/>
                  <a:gd name="connsiteY41" fmla="*/ 2004060 h 3147261"/>
                  <a:gd name="connsiteX42" fmla="*/ 39109 w 3140960"/>
                  <a:gd name="connsiteY42" fmla="*/ 1943100 h 3147261"/>
                  <a:gd name="connsiteX43" fmla="*/ 23869 w 3140960"/>
                  <a:gd name="connsiteY43" fmla="*/ 1897380 h 3147261"/>
                  <a:gd name="connsiteX44" fmla="*/ 1009 w 3140960"/>
                  <a:gd name="connsiteY44" fmla="*/ 1562100 h 3147261"/>
                  <a:gd name="connsiteX45" fmla="*/ 54349 w 3140960"/>
                  <a:gd name="connsiteY45" fmla="*/ 1135380 h 3147261"/>
                  <a:gd name="connsiteX46" fmla="*/ 161029 w 3140960"/>
                  <a:gd name="connsiteY46" fmla="*/ 861060 h 3147261"/>
                  <a:gd name="connsiteX47" fmla="*/ 183889 w 3140960"/>
                  <a:gd name="connsiteY47" fmla="*/ 822960 h 3147261"/>
                  <a:gd name="connsiteX48" fmla="*/ 260089 w 3140960"/>
                  <a:gd name="connsiteY48" fmla="*/ 708660 h 3147261"/>
                  <a:gd name="connsiteX49" fmla="*/ 275329 w 3140960"/>
                  <a:gd name="connsiteY49" fmla="*/ 662940 h 3147261"/>
                  <a:gd name="connsiteX50" fmla="*/ 420109 w 3140960"/>
                  <a:gd name="connsiteY50" fmla="*/ 510540 h 3147261"/>
                  <a:gd name="connsiteX51" fmla="*/ 511549 w 3140960"/>
                  <a:gd name="connsiteY51" fmla="*/ 434340 h 3147261"/>
                  <a:gd name="connsiteX52" fmla="*/ 564889 w 3140960"/>
                  <a:gd name="connsiteY52" fmla="*/ 396240 h 3147261"/>
                  <a:gd name="connsiteX53" fmla="*/ 656329 w 3140960"/>
                  <a:gd name="connsiteY53" fmla="*/ 312420 h 3147261"/>
                  <a:gd name="connsiteX54" fmla="*/ 869689 w 3140960"/>
                  <a:gd name="connsiteY54" fmla="*/ 175260 h 3147261"/>
                  <a:gd name="connsiteX55" fmla="*/ 976369 w 3140960"/>
                  <a:gd name="connsiteY55" fmla="*/ 137160 h 3147261"/>
                  <a:gd name="connsiteX56" fmla="*/ 1105909 w 3140960"/>
                  <a:gd name="connsiteY56" fmla="*/ 76200 h 3147261"/>
                  <a:gd name="connsiteX57" fmla="*/ 1243069 w 3140960"/>
                  <a:gd name="connsiteY57" fmla="*/ 38100 h 3147261"/>
                  <a:gd name="connsiteX58" fmla="*/ 1265929 w 3140960"/>
                  <a:gd name="connsiteY58" fmla="*/ 30480 h 3147261"/>
                  <a:gd name="connsiteX59" fmla="*/ 1387849 w 3140960"/>
                  <a:gd name="connsiteY59" fmla="*/ 15240 h 3147261"/>
                  <a:gd name="connsiteX60" fmla="*/ 1464049 w 3140960"/>
                  <a:gd name="connsiteY60" fmla="*/ 0 h 3147261"/>
                  <a:gd name="connsiteX61" fmla="*/ 1745989 w 3140960"/>
                  <a:gd name="connsiteY61" fmla="*/ 0 h 3147261"/>
                  <a:gd name="connsiteX62" fmla="*/ 2165089 w 3140960"/>
                  <a:gd name="connsiteY62" fmla="*/ 99060 h 3147261"/>
                  <a:gd name="connsiteX63" fmla="*/ 2340349 w 3140960"/>
                  <a:gd name="connsiteY63" fmla="*/ 182880 h 3147261"/>
                  <a:gd name="connsiteX64" fmla="*/ 2370829 w 3140960"/>
                  <a:gd name="connsiteY64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298189 w 3140960"/>
                  <a:gd name="connsiteY38" fmla="*/ 2499360 h 3147261"/>
                  <a:gd name="connsiteX39" fmla="*/ 183889 w 3140960"/>
                  <a:gd name="connsiteY39" fmla="*/ 2308860 h 3147261"/>
                  <a:gd name="connsiteX40" fmla="*/ 61969 w 3140960"/>
                  <a:gd name="connsiteY40" fmla="*/ 2026920 h 3147261"/>
                  <a:gd name="connsiteX41" fmla="*/ 54349 w 3140960"/>
                  <a:gd name="connsiteY41" fmla="*/ 2004060 h 3147261"/>
                  <a:gd name="connsiteX42" fmla="*/ 39109 w 3140960"/>
                  <a:gd name="connsiteY42" fmla="*/ 1943100 h 3147261"/>
                  <a:gd name="connsiteX43" fmla="*/ 23869 w 3140960"/>
                  <a:gd name="connsiteY43" fmla="*/ 1897380 h 3147261"/>
                  <a:gd name="connsiteX44" fmla="*/ 1009 w 3140960"/>
                  <a:gd name="connsiteY44" fmla="*/ 1562100 h 3147261"/>
                  <a:gd name="connsiteX45" fmla="*/ 54349 w 3140960"/>
                  <a:gd name="connsiteY45" fmla="*/ 1135380 h 3147261"/>
                  <a:gd name="connsiteX46" fmla="*/ 161029 w 3140960"/>
                  <a:gd name="connsiteY46" fmla="*/ 861060 h 3147261"/>
                  <a:gd name="connsiteX47" fmla="*/ 183889 w 3140960"/>
                  <a:gd name="connsiteY47" fmla="*/ 822960 h 3147261"/>
                  <a:gd name="connsiteX48" fmla="*/ 260089 w 3140960"/>
                  <a:gd name="connsiteY48" fmla="*/ 708660 h 3147261"/>
                  <a:gd name="connsiteX49" fmla="*/ 275329 w 3140960"/>
                  <a:gd name="connsiteY49" fmla="*/ 662940 h 3147261"/>
                  <a:gd name="connsiteX50" fmla="*/ 420109 w 3140960"/>
                  <a:gd name="connsiteY50" fmla="*/ 510540 h 3147261"/>
                  <a:gd name="connsiteX51" fmla="*/ 511549 w 3140960"/>
                  <a:gd name="connsiteY51" fmla="*/ 434340 h 3147261"/>
                  <a:gd name="connsiteX52" fmla="*/ 564889 w 3140960"/>
                  <a:gd name="connsiteY52" fmla="*/ 396240 h 3147261"/>
                  <a:gd name="connsiteX53" fmla="*/ 656329 w 3140960"/>
                  <a:gd name="connsiteY53" fmla="*/ 312420 h 3147261"/>
                  <a:gd name="connsiteX54" fmla="*/ 869689 w 3140960"/>
                  <a:gd name="connsiteY54" fmla="*/ 175260 h 3147261"/>
                  <a:gd name="connsiteX55" fmla="*/ 976369 w 3140960"/>
                  <a:gd name="connsiteY55" fmla="*/ 137160 h 3147261"/>
                  <a:gd name="connsiteX56" fmla="*/ 1105909 w 3140960"/>
                  <a:gd name="connsiteY56" fmla="*/ 76200 h 3147261"/>
                  <a:gd name="connsiteX57" fmla="*/ 1243069 w 3140960"/>
                  <a:gd name="connsiteY57" fmla="*/ 38100 h 3147261"/>
                  <a:gd name="connsiteX58" fmla="*/ 1265929 w 3140960"/>
                  <a:gd name="connsiteY58" fmla="*/ 30480 h 3147261"/>
                  <a:gd name="connsiteX59" fmla="*/ 1387849 w 3140960"/>
                  <a:gd name="connsiteY59" fmla="*/ 15240 h 3147261"/>
                  <a:gd name="connsiteX60" fmla="*/ 1464049 w 3140960"/>
                  <a:gd name="connsiteY60" fmla="*/ 0 h 3147261"/>
                  <a:gd name="connsiteX61" fmla="*/ 1745989 w 3140960"/>
                  <a:gd name="connsiteY61" fmla="*/ 0 h 3147261"/>
                  <a:gd name="connsiteX62" fmla="*/ 2165089 w 3140960"/>
                  <a:gd name="connsiteY62" fmla="*/ 99060 h 3147261"/>
                  <a:gd name="connsiteX63" fmla="*/ 2340349 w 3140960"/>
                  <a:gd name="connsiteY63" fmla="*/ 182880 h 3147261"/>
                  <a:gd name="connsiteX64" fmla="*/ 2370829 w 3140960"/>
                  <a:gd name="connsiteY64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298189 w 3140960"/>
                  <a:gd name="connsiteY38" fmla="*/ 2499360 h 3147261"/>
                  <a:gd name="connsiteX39" fmla="*/ 183889 w 3140960"/>
                  <a:gd name="connsiteY39" fmla="*/ 2308860 h 3147261"/>
                  <a:gd name="connsiteX40" fmla="*/ 61969 w 3140960"/>
                  <a:gd name="connsiteY40" fmla="*/ 2026920 h 3147261"/>
                  <a:gd name="connsiteX41" fmla="*/ 39109 w 3140960"/>
                  <a:gd name="connsiteY41" fmla="*/ 1943100 h 3147261"/>
                  <a:gd name="connsiteX42" fmla="*/ 23869 w 3140960"/>
                  <a:gd name="connsiteY42" fmla="*/ 1897380 h 3147261"/>
                  <a:gd name="connsiteX43" fmla="*/ 1009 w 3140960"/>
                  <a:gd name="connsiteY43" fmla="*/ 1562100 h 3147261"/>
                  <a:gd name="connsiteX44" fmla="*/ 54349 w 3140960"/>
                  <a:gd name="connsiteY44" fmla="*/ 1135380 h 3147261"/>
                  <a:gd name="connsiteX45" fmla="*/ 161029 w 3140960"/>
                  <a:gd name="connsiteY45" fmla="*/ 861060 h 3147261"/>
                  <a:gd name="connsiteX46" fmla="*/ 183889 w 3140960"/>
                  <a:gd name="connsiteY46" fmla="*/ 822960 h 3147261"/>
                  <a:gd name="connsiteX47" fmla="*/ 260089 w 3140960"/>
                  <a:gd name="connsiteY47" fmla="*/ 708660 h 3147261"/>
                  <a:gd name="connsiteX48" fmla="*/ 275329 w 3140960"/>
                  <a:gd name="connsiteY48" fmla="*/ 662940 h 3147261"/>
                  <a:gd name="connsiteX49" fmla="*/ 420109 w 3140960"/>
                  <a:gd name="connsiteY49" fmla="*/ 510540 h 3147261"/>
                  <a:gd name="connsiteX50" fmla="*/ 511549 w 3140960"/>
                  <a:gd name="connsiteY50" fmla="*/ 434340 h 3147261"/>
                  <a:gd name="connsiteX51" fmla="*/ 564889 w 3140960"/>
                  <a:gd name="connsiteY51" fmla="*/ 396240 h 3147261"/>
                  <a:gd name="connsiteX52" fmla="*/ 656329 w 3140960"/>
                  <a:gd name="connsiteY52" fmla="*/ 312420 h 3147261"/>
                  <a:gd name="connsiteX53" fmla="*/ 869689 w 3140960"/>
                  <a:gd name="connsiteY53" fmla="*/ 175260 h 3147261"/>
                  <a:gd name="connsiteX54" fmla="*/ 976369 w 3140960"/>
                  <a:gd name="connsiteY54" fmla="*/ 137160 h 3147261"/>
                  <a:gd name="connsiteX55" fmla="*/ 1105909 w 3140960"/>
                  <a:gd name="connsiteY55" fmla="*/ 76200 h 3147261"/>
                  <a:gd name="connsiteX56" fmla="*/ 1243069 w 3140960"/>
                  <a:gd name="connsiteY56" fmla="*/ 38100 h 3147261"/>
                  <a:gd name="connsiteX57" fmla="*/ 1265929 w 3140960"/>
                  <a:gd name="connsiteY57" fmla="*/ 30480 h 3147261"/>
                  <a:gd name="connsiteX58" fmla="*/ 1387849 w 3140960"/>
                  <a:gd name="connsiteY58" fmla="*/ 15240 h 3147261"/>
                  <a:gd name="connsiteX59" fmla="*/ 1464049 w 3140960"/>
                  <a:gd name="connsiteY59" fmla="*/ 0 h 3147261"/>
                  <a:gd name="connsiteX60" fmla="*/ 1745989 w 3140960"/>
                  <a:gd name="connsiteY60" fmla="*/ 0 h 3147261"/>
                  <a:gd name="connsiteX61" fmla="*/ 2165089 w 3140960"/>
                  <a:gd name="connsiteY61" fmla="*/ 99060 h 3147261"/>
                  <a:gd name="connsiteX62" fmla="*/ 2340349 w 3140960"/>
                  <a:gd name="connsiteY62" fmla="*/ 182880 h 3147261"/>
                  <a:gd name="connsiteX63" fmla="*/ 2370829 w 3140960"/>
                  <a:gd name="connsiteY63" fmla="*/ 190500 h 3147261"/>
                  <a:gd name="connsiteX0" fmla="*/ 2369820 w 3139951"/>
                  <a:gd name="connsiteY0" fmla="*/ 190500 h 3147261"/>
                  <a:gd name="connsiteX1" fmla="*/ 2491740 w 3139951"/>
                  <a:gd name="connsiteY1" fmla="*/ 297180 h 3147261"/>
                  <a:gd name="connsiteX2" fmla="*/ 2606040 w 3139951"/>
                  <a:gd name="connsiteY2" fmla="*/ 381000 h 3147261"/>
                  <a:gd name="connsiteX3" fmla="*/ 2705100 w 3139951"/>
                  <a:gd name="connsiteY3" fmla="*/ 487680 h 3147261"/>
                  <a:gd name="connsiteX4" fmla="*/ 2727960 w 3139951"/>
                  <a:gd name="connsiteY4" fmla="*/ 510540 h 3147261"/>
                  <a:gd name="connsiteX5" fmla="*/ 2788920 w 3139951"/>
                  <a:gd name="connsiteY5" fmla="*/ 594360 h 3147261"/>
                  <a:gd name="connsiteX6" fmla="*/ 2849880 w 3139951"/>
                  <a:gd name="connsiteY6" fmla="*/ 662940 h 3147261"/>
                  <a:gd name="connsiteX7" fmla="*/ 2872740 w 3139951"/>
                  <a:gd name="connsiteY7" fmla="*/ 701040 h 3147261"/>
                  <a:gd name="connsiteX8" fmla="*/ 2910840 w 3139951"/>
                  <a:gd name="connsiteY8" fmla="*/ 762000 h 3147261"/>
                  <a:gd name="connsiteX9" fmla="*/ 2948940 w 3139951"/>
                  <a:gd name="connsiteY9" fmla="*/ 845820 h 3147261"/>
                  <a:gd name="connsiteX10" fmla="*/ 3009900 w 3139951"/>
                  <a:gd name="connsiteY10" fmla="*/ 998220 h 3147261"/>
                  <a:gd name="connsiteX11" fmla="*/ 3025140 w 3139951"/>
                  <a:gd name="connsiteY11" fmla="*/ 1036320 h 3147261"/>
                  <a:gd name="connsiteX12" fmla="*/ 3032760 w 3139951"/>
                  <a:gd name="connsiteY12" fmla="*/ 1066800 h 3147261"/>
                  <a:gd name="connsiteX13" fmla="*/ 3086100 w 3139951"/>
                  <a:gd name="connsiteY13" fmla="*/ 1181100 h 3147261"/>
                  <a:gd name="connsiteX14" fmla="*/ 3093720 w 3139951"/>
                  <a:gd name="connsiteY14" fmla="*/ 1226820 h 3147261"/>
                  <a:gd name="connsiteX15" fmla="*/ 3101340 w 3139951"/>
                  <a:gd name="connsiteY15" fmla="*/ 1280160 h 3147261"/>
                  <a:gd name="connsiteX16" fmla="*/ 3116580 w 3139951"/>
                  <a:gd name="connsiteY16" fmla="*/ 1371600 h 3147261"/>
                  <a:gd name="connsiteX17" fmla="*/ 3139440 w 3139951"/>
                  <a:gd name="connsiteY17" fmla="*/ 1485900 h 3147261"/>
                  <a:gd name="connsiteX18" fmla="*/ 3131820 w 3139951"/>
                  <a:gd name="connsiteY18" fmla="*/ 1691640 h 3147261"/>
                  <a:gd name="connsiteX19" fmla="*/ 3124200 w 3139951"/>
                  <a:gd name="connsiteY19" fmla="*/ 1767840 h 3147261"/>
                  <a:gd name="connsiteX20" fmla="*/ 3086100 w 3139951"/>
                  <a:gd name="connsiteY20" fmla="*/ 1905000 h 3147261"/>
                  <a:gd name="connsiteX21" fmla="*/ 3078480 w 3139951"/>
                  <a:gd name="connsiteY21" fmla="*/ 1935480 h 3147261"/>
                  <a:gd name="connsiteX22" fmla="*/ 3055620 w 3139951"/>
                  <a:gd name="connsiteY22" fmla="*/ 2019300 h 3147261"/>
                  <a:gd name="connsiteX23" fmla="*/ 2948940 w 3139951"/>
                  <a:gd name="connsiteY23" fmla="*/ 2331720 h 3147261"/>
                  <a:gd name="connsiteX24" fmla="*/ 2926080 w 3139951"/>
                  <a:gd name="connsiteY24" fmla="*/ 2385060 h 3147261"/>
                  <a:gd name="connsiteX25" fmla="*/ 2857500 w 3139951"/>
                  <a:gd name="connsiteY25" fmla="*/ 2499360 h 3147261"/>
                  <a:gd name="connsiteX26" fmla="*/ 2842260 w 3139951"/>
                  <a:gd name="connsiteY26" fmla="*/ 2529840 h 3147261"/>
                  <a:gd name="connsiteX27" fmla="*/ 2834640 w 3139951"/>
                  <a:gd name="connsiteY27" fmla="*/ 2552700 h 3147261"/>
                  <a:gd name="connsiteX28" fmla="*/ 2758440 w 3139951"/>
                  <a:gd name="connsiteY28" fmla="*/ 2636520 h 3147261"/>
                  <a:gd name="connsiteX29" fmla="*/ 2705100 w 3139951"/>
                  <a:gd name="connsiteY29" fmla="*/ 2667000 h 3147261"/>
                  <a:gd name="connsiteX30" fmla="*/ 2301240 w 3139951"/>
                  <a:gd name="connsiteY30" fmla="*/ 2971800 h 3147261"/>
                  <a:gd name="connsiteX31" fmla="*/ 2194560 w 3139951"/>
                  <a:gd name="connsiteY31" fmla="*/ 3025140 h 3147261"/>
                  <a:gd name="connsiteX32" fmla="*/ 2095500 w 3139951"/>
                  <a:gd name="connsiteY32" fmla="*/ 3055620 h 3147261"/>
                  <a:gd name="connsiteX33" fmla="*/ 1912620 w 3139951"/>
                  <a:gd name="connsiteY33" fmla="*/ 3108960 h 3147261"/>
                  <a:gd name="connsiteX34" fmla="*/ 1798320 w 3139951"/>
                  <a:gd name="connsiteY34" fmla="*/ 3147060 h 3147261"/>
                  <a:gd name="connsiteX35" fmla="*/ 1333500 w 3139951"/>
                  <a:gd name="connsiteY35" fmla="*/ 3108960 h 3147261"/>
                  <a:gd name="connsiteX36" fmla="*/ 792480 w 3139951"/>
                  <a:gd name="connsiteY36" fmla="*/ 2933700 h 3147261"/>
                  <a:gd name="connsiteX37" fmla="*/ 419100 w 3139951"/>
                  <a:gd name="connsiteY37" fmla="*/ 2644140 h 3147261"/>
                  <a:gd name="connsiteX38" fmla="*/ 297180 w 3139951"/>
                  <a:gd name="connsiteY38" fmla="*/ 2499360 h 3147261"/>
                  <a:gd name="connsiteX39" fmla="*/ 182880 w 3139951"/>
                  <a:gd name="connsiteY39" fmla="*/ 2308860 h 3147261"/>
                  <a:gd name="connsiteX40" fmla="*/ 60960 w 3139951"/>
                  <a:gd name="connsiteY40" fmla="*/ 2026920 h 3147261"/>
                  <a:gd name="connsiteX41" fmla="*/ 38100 w 3139951"/>
                  <a:gd name="connsiteY41" fmla="*/ 1943100 h 3147261"/>
                  <a:gd name="connsiteX42" fmla="*/ 0 w 3139951"/>
                  <a:gd name="connsiteY42" fmla="*/ 1562100 h 3147261"/>
                  <a:gd name="connsiteX43" fmla="*/ 53340 w 3139951"/>
                  <a:gd name="connsiteY43" fmla="*/ 1135380 h 3147261"/>
                  <a:gd name="connsiteX44" fmla="*/ 160020 w 3139951"/>
                  <a:gd name="connsiteY44" fmla="*/ 861060 h 3147261"/>
                  <a:gd name="connsiteX45" fmla="*/ 182880 w 3139951"/>
                  <a:gd name="connsiteY45" fmla="*/ 822960 h 3147261"/>
                  <a:gd name="connsiteX46" fmla="*/ 259080 w 3139951"/>
                  <a:gd name="connsiteY46" fmla="*/ 708660 h 3147261"/>
                  <a:gd name="connsiteX47" fmla="*/ 274320 w 3139951"/>
                  <a:gd name="connsiteY47" fmla="*/ 662940 h 3147261"/>
                  <a:gd name="connsiteX48" fmla="*/ 419100 w 3139951"/>
                  <a:gd name="connsiteY48" fmla="*/ 510540 h 3147261"/>
                  <a:gd name="connsiteX49" fmla="*/ 510540 w 3139951"/>
                  <a:gd name="connsiteY49" fmla="*/ 434340 h 3147261"/>
                  <a:gd name="connsiteX50" fmla="*/ 563880 w 3139951"/>
                  <a:gd name="connsiteY50" fmla="*/ 396240 h 3147261"/>
                  <a:gd name="connsiteX51" fmla="*/ 655320 w 3139951"/>
                  <a:gd name="connsiteY51" fmla="*/ 312420 h 3147261"/>
                  <a:gd name="connsiteX52" fmla="*/ 868680 w 3139951"/>
                  <a:gd name="connsiteY52" fmla="*/ 175260 h 3147261"/>
                  <a:gd name="connsiteX53" fmla="*/ 975360 w 3139951"/>
                  <a:gd name="connsiteY53" fmla="*/ 137160 h 3147261"/>
                  <a:gd name="connsiteX54" fmla="*/ 1104900 w 3139951"/>
                  <a:gd name="connsiteY54" fmla="*/ 76200 h 3147261"/>
                  <a:gd name="connsiteX55" fmla="*/ 1242060 w 3139951"/>
                  <a:gd name="connsiteY55" fmla="*/ 38100 h 3147261"/>
                  <a:gd name="connsiteX56" fmla="*/ 1264920 w 3139951"/>
                  <a:gd name="connsiteY56" fmla="*/ 30480 h 3147261"/>
                  <a:gd name="connsiteX57" fmla="*/ 1386840 w 3139951"/>
                  <a:gd name="connsiteY57" fmla="*/ 15240 h 3147261"/>
                  <a:gd name="connsiteX58" fmla="*/ 1463040 w 3139951"/>
                  <a:gd name="connsiteY58" fmla="*/ 0 h 3147261"/>
                  <a:gd name="connsiteX59" fmla="*/ 1744980 w 3139951"/>
                  <a:gd name="connsiteY59" fmla="*/ 0 h 3147261"/>
                  <a:gd name="connsiteX60" fmla="*/ 2164080 w 3139951"/>
                  <a:gd name="connsiteY60" fmla="*/ 99060 h 3147261"/>
                  <a:gd name="connsiteX61" fmla="*/ 2339340 w 3139951"/>
                  <a:gd name="connsiteY61" fmla="*/ 182880 h 3147261"/>
                  <a:gd name="connsiteX62" fmla="*/ 2369820 w 3139951"/>
                  <a:gd name="connsiteY62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565681 w 3141752"/>
                  <a:gd name="connsiteY50" fmla="*/ 396240 h 3147261"/>
                  <a:gd name="connsiteX51" fmla="*/ 657121 w 3141752"/>
                  <a:gd name="connsiteY51" fmla="*/ 312420 h 3147261"/>
                  <a:gd name="connsiteX52" fmla="*/ 870481 w 3141752"/>
                  <a:gd name="connsiteY52" fmla="*/ 175260 h 3147261"/>
                  <a:gd name="connsiteX53" fmla="*/ 977161 w 3141752"/>
                  <a:gd name="connsiteY53" fmla="*/ 137160 h 3147261"/>
                  <a:gd name="connsiteX54" fmla="*/ 1106701 w 3141752"/>
                  <a:gd name="connsiteY54" fmla="*/ 76200 h 3147261"/>
                  <a:gd name="connsiteX55" fmla="*/ 1243861 w 3141752"/>
                  <a:gd name="connsiteY55" fmla="*/ 38100 h 3147261"/>
                  <a:gd name="connsiteX56" fmla="*/ 1266721 w 3141752"/>
                  <a:gd name="connsiteY56" fmla="*/ 30480 h 3147261"/>
                  <a:gd name="connsiteX57" fmla="*/ 1388641 w 3141752"/>
                  <a:gd name="connsiteY57" fmla="*/ 15240 h 3147261"/>
                  <a:gd name="connsiteX58" fmla="*/ 1464841 w 3141752"/>
                  <a:gd name="connsiteY58" fmla="*/ 0 h 3147261"/>
                  <a:gd name="connsiteX59" fmla="*/ 1746781 w 3141752"/>
                  <a:gd name="connsiteY59" fmla="*/ 0 h 3147261"/>
                  <a:gd name="connsiteX60" fmla="*/ 2165881 w 3141752"/>
                  <a:gd name="connsiteY60" fmla="*/ 99060 h 3147261"/>
                  <a:gd name="connsiteX61" fmla="*/ 2341141 w 3141752"/>
                  <a:gd name="connsiteY61" fmla="*/ 182880 h 3147261"/>
                  <a:gd name="connsiteX62" fmla="*/ 2371621 w 3141752"/>
                  <a:gd name="connsiteY62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565681 w 3141752"/>
                  <a:gd name="connsiteY50" fmla="*/ 396240 h 3147261"/>
                  <a:gd name="connsiteX51" fmla="*/ 657121 w 3141752"/>
                  <a:gd name="connsiteY51" fmla="*/ 312420 h 3147261"/>
                  <a:gd name="connsiteX52" fmla="*/ 870481 w 3141752"/>
                  <a:gd name="connsiteY52" fmla="*/ 175260 h 3147261"/>
                  <a:gd name="connsiteX53" fmla="*/ 977161 w 3141752"/>
                  <a:gd name="connsiteY53" fmla="*/ 137160 h 3147261"/>
                  <a:gd name="connsiteX54" fmla="*/ 1106701 w 3141752"/>
                  <a:gd name="connsiteY54" fmla="*/ 76200 h 3147261"/>
                  <a:gd name="connsiteX55" fmla="*/ 1243861 w 3141752"/>
                  <a:gd name="connsiteY55" fmla="*/ 38100 h 3147261"/>
                  <a:gd name="connsiteX56" fmla="*/ 1388641 w 3141752"/>
                  <a:gd name="connsiteY56" fmla="*/ 15240 h 3147261"/>
                  <a:gd name="connsiteX57" fmla="*/ 1464841 w 3141752"/>
                  <a:gd name="connsiteY57" fmla="*/ 0 h 3147261"/>
                  <a:gd name="connsiteX58" fmla="*/ 1746781 w 3141752"/>
                  <a:gd name="connsiteY58" fmla="*/ 0 h 3147261"/>
                  <a:gd name="connsiteX59" fmla="*/ 2165881 w 3141752"/>
                  <a:gd name="connsiteY59" fmla="*/ 99060 h 3147261"/>
                  <a:gd name="connsiteX60" fmla="*/ 2341141 w 3141752"/>
                  <a:gd name="connsiteY60" fmla="*/ 182880 h 3147261"/>
                  <a:gd name="connsiteX61" fmla="*/ 2371621 w 3141752"/>
                  <a:gd name="connsiteY61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565681 w 3141752"/>
                  <a:gd name="connsiteY50" fmla="*/ 396240 h 3147261"/>
                  <a:gd name="connsiteX51" fmla="*/ 657121 w 3141752"/>
                  <a:gd name="connsiteY51" fmla="*/ 312420 h 3147261"/>
                  <a:gd name="connsiteX52" fmla="*/ 870481 w 3141752"/>
                  <a:gd name="connsiteY52" fmla="*/ 175260 h 3147261"/>
                  <a:gd name="connsiteX53" fmla="*/ 1106701 w 3141752"/>
                  <a:gd name="connsiteY53" fmla="*/ 76200 h 3147261"/>
                  <a:gd name="connsiteX54" fmla="*/ 1243861 w 3141752"/>
                  <a:gd name="connsiteY54" fmla="*/ 38100 h 3147261"/>
                  <a:gd name="connsiteX55" fmla="*/ 1388641 w 3141752"/>
                  <a:gd name="connsiteY55" fmla="*/ 15240 h 3147261"/>
                  <a:gd name="connsiteX56" fmla="*/ 1464841 w 3141752"/>
                  <a:gd name="connsiteY56" fmla="*/ 0 h 3147261"/>
                  <a:gd name="connsiteX57" fmla="*/ 1746781 w 3141752"/>
                  <a:gd name="connsiteY57" fmla="*/ 0 h 3147261"/>
                  <a:gd name="connsiteX58" fmla="*/ 2165881 w 3141752"/>
                  <a:gd name="connsiteY58" fmla="*/ 99060 h 3147261"/>
                  <a:gd name="connsiteX59" fmla="*/ 2341141 w 3141752"/>
                  <a:gd name="connsiteY59" fmla="*/ 182880 h 3147261"/>
                  <a:gd name="connsiteX60" fmla="*/ 2371621 w 3141752"/>
                  <a:gd name="connsiteY60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657121 w 3141752"/>
                  <a:gd name="connsiteY50" fmla="*/ 312420 h 3147261"/>
                  <a:gd name="connsiteX51" fmla="*/ 870481 w 3141752"/>
                  <a:gd name="connsiteY51" fmla="*/ 175260 h 3147261"/>
                  <a:gd name="connsiteX52" fmla="*/ 1106701 w 3141752"/>
                  <a:gd name="connsiteY52" fmla="*/ 76200 h 3147261"/>
                  <a:gd name="connsiteX53" fmla="*/ 1243861 w 3141752"/>
                  <a:gd name="connsiteY53" fmla="*/ 38100 h 3147261"/>
                  <a:gd name="connsiteX54" fmla="*/ 1388641 w 3141752"/>
                  <a:gd name="connsiteY54" fmla="*/ 15240 h 3147261"/>
                  <a:gd name="connsiteX55" fmla="*/ 1464841 w 3141752"/>
                  <a:gd name="connsiteY55" fmla="*/ 0 h 3147261"/>
                  <a:gd name="connsiteX56" fmla="*/ 1746781 w 3141752"/>
                  <a:gd name="connsiteY56" fmla="*/ 0 h 3147261"/>
                  <a:gd name="connsiteX57" fmla="*/ 2165881 w 3141752"/>
                  <a:gd name="connsiteY57" fmla="*/ 99060 h 3147261"/>
                  <a:gd name="connsiteX58" fmla="*/ 2341141 w 3141752"/>
                  <a:gd name="connsiteY58" fmla="*/ 182880 h 3147261"/>
                  <a:gd name="connsiteX59" fmla="*/ 2371621 w 3141752"/>
                  <a:gd name="connsiteY59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420901 w 3141752"/>
                  <a:gd name="connsiteY47" fmla="*/ 510540 h 3147261"/>
                  <a:gd name="connsiteX48" fmla="*/ 512341 w 3141752"/>
                  <a:gd name="connsiteY48" fmla="*/ 434340 h 3147261"/>
                  <a:gd name="connsiteX49" fmla="*/ 657121 w 3141752"/>
                  <a:gd name="connsiteY49" fmla="*/ 312420 h 3147261"/>
                  <a:gd name="connsiteX50" fmla="*/ 870481 w 3141752"/>
                  <a:gd name="connsiteY50" fmla="*/ 175260 h 3147261"/>
                  <a:gd name="connsiteX51" fmla="*/ 1106701 w 3141752"/>
                  <a:gd name="connsiteY51" fmla="*/ 76200 h 3147261"/>
                  <a:gd name="connsiteX52" fmla="*/ 1243861 w 3141752"/>
                  <a:gd name="connsiteY52" fmla="*/ 38100 h 3147261"/>
                  <a:gd name="connsiteX53" fmla="*/ 1388641 w 3141752"/>
                  <a:gd name="connsiteY53" fmla="*/ 15240 h 3147261"/>
                  <a:gd name="connsiteX54" fmla="*/ 1464841 w 3141752"/>
                  <a:gd name="connsiteY54" fmla="*/ 0 h 3147261"/>
                  <a:gd name="connsiteX55" fmla="*/ 1746781 w 3141752"/>
                  <a:gd name="connsiteY55" fmla="*/ 0 h 3147261"/>
                  <a:gd name="connsiteX56" fmla="*/ 2165881 w 3141752"/>
                  <a:gd name="connsiteY56" fmla="*/ 99060 h 3147261"/>
                  <a:gd name="connsiteX57" fmla="*/ 2341141 w 3141752"/>
                  <a:gd name="connsiteY57" fmla="*/ 182880 h 3147261"/>
                  <a:gd name="connsiteX58" fmla="*/ 2371621 w 3141752"/>
                  <a:gd name="connsiteY58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260881 w 3141752"/>
                  <a:gd name="connsiteY45" fmla="*/ 708660 h 3147261"/>
                  <a:gd name="connsiteX46" fmla="*/ 420901 w 3141752"/>
                  <a:gd name="connsiteY46" fmla="*/ 510540 h 3147261"/>
                  <a:gd name="connsiteX47" fmla="*/ 512341 w 3141752"/>
                  <a:gd name="connsiteY47" fmla="*/ 434340 h 3147261"/>
                  <a:gd name="connsiteX48" fmla="*/ 657121 w 3141752"/>
                  <a:gd name="connsiteY48" fmla="*/ 312420 h 3147261"/>
                  <a:gd name="connsiteX49" fmla="*/ 870481 w 3141752"/>
                  <a:gd name="connsiteY49" fmla="*/ 175260 h 3147261"/>
                  <a:gd name="connsiteX50" fmla="*/ 1106701 w 3141752"/>
                  <a:gd name="connsiteY50" fmla="*/ 76200 h 3147261"/>
                  <a:gd name="connsiteX51" fmla="*/ 1243861 w 3141752"/>
                  <a:gd name="connsiteY51" fmla="*/ 38100 h 3147261"/>
                  <a:gd name="connsiteX52" fmla="*/ 1388641 w 3141752"/>
                  <a:gd name="connsiteY52" fmla="*/ 15240 h 3147261"/>
                  <a:gd name="connsiteX53" fmla="*/ 1464841 w 3141752"/>
                  <a:gd name="connsiteY53" fmla="*/ 0 h 3147261"/>
                  <a:gd name="connsiteX54" fmla="*/ 1746781 w 3141752"/>
                  <a:gd name="connsiteY54" fmla="*/ 0 h 3147261"/>
                  <a:gd name="connsiteX55" fmla="*/ 2165881 w 3141752"/>
                  <a:gd name="connsiteY55" fmla="*/ 99060 h 3147261"/>
                  <a:gd name="connsiteX56" fmla="*/ 2341141 w 3141752"/>
                  <a:gd name="connsiteY56" fmla="*/ 182880 h 3147261"/>
                  <a:gd name="connsiteX57" fmla="*/ 2371621 w 3141752"/>
                  <a:gd name="connsiteY57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39901 w 3141752"/>
                  <a:gd name="connsiteY40" fmla="*/ 1943100 h 3147261"/>
                  <a:gd name="connsiteX41" fmla="*/ 1801 w 3141752"/>
                  <a:gd name="connsiteY41" fmla="*/ 1562100 h 3147261"/>
                  <a:gd name="connsiteX42" fmla="*/ 55141 w 3141752"/>
                  <a:gd name="connsiteY42" fmla="*/ 1135380 h 3147261"/>
                  <a:gd name="connsiteX43" fmla="*/ 161821 w 3141752"/>
                  <a:gd name="connsiteY43" fmla="*/ 861060 h 3147261"/>
                  <a:gd name="connsiteX44" fmla="*/ 260881 w 3141752"/>
                  <a:gd name="connsiteY44" fmla="*/ 708660 h 3147261"/>
                  <a:gd name="connsiteX45" fmla="*/ 420901 w 3141752"/>
                  <a:gd name="connsiteY45" fmla="*/ 510540 h 3147261"/>
                  <a:gd name="connsiteX46" fmla="*/ 512341 w 3141752"/>
                  <a:gd name="connsiteY46" fmla="*/ 434340 h 3147261"/>
                  <a:gd name="connsiteX47" fmla="*/ 657121 w 3141752"/>
                  <a:gd name="connsiteY47" fmla="*/ 312420 h 3147261"/>
                  <a:gd name="connsiteX48" fmla="*/ 870481 w 3141752"/>
                  <a:gd name="connsiteY48" fmla="*/ 175260 h 3147261"/>
                  <a:gd name="connsiteX49" fmla="*/ 1106701 w 3141752"/>
                  <a:gd name="connsiteY49" fmla="*/ 76200 h 3147261"/>
                  <a:gd name="connsiteX50" fmla="*/ 1243861 w 3141752"/>
                  <a:gd name="connsiteY50" fmla="*/ 38100 h 3147261"/>
                  <a:gd name="connsiteX51" fmla="*/ 1388641 w 3141752"/>
                  <a:gd name="connsiteY51" fmla="*/ 15240 h 3147261"/>
                  <a:gd name="connsiteX52" fmla="*/ 1464841 w 3141752"/>
                  <a:gd name="connsiteY52" fmla="*/ 0 h 3147261"/>
                  <a:gd name="connsiteX53" fmla="*/ 1746781 w 3141752"/>
                  <a:gd name="connsiteY53" fmla="*/ 0 h 3147261"/>
                  <a:gd name="connsiteX54" fmla="*/ 2165881 w 3141752"/>
                  <a:gd name="connsiteY54" fmla="*/ 99060 h 3147261"/>
                  <a:gd name="connsiteX55" fmla="*/ 2341141 w 3141752"/>
                  <a:gd name="connsiteY55" fmla="*/ 182880 h 3147261"/>
                  <a:gd name="connsiteX56" fmla="*/ 2371621 w 3141752"/>
                  <a:gd name="connsiteY56" fmla="*/ 190500 h 3147261"/>
                  <a:gd name="connsiteX0" fmla="*/ 2371621 w 3141752"/>
                  <a:gd name="connsiteY0" fmla="*/ 190500 h 3149938"/>
                  <a:gd name="connsiteX1" fmla="*/ 2493541 w 3141752"/>
                  <a:gd name="connsiteY1" fmla="*/ 297180 h 3149938"/>
                  <a:gd name="connsiteX2" fmla="*/ 2607841 w 3141752"/>
                  <a:gd name="connsiteY2" fmla="*/ 381000 h 3149938"/>
                  <a:gd name="connsiteX3" fmla="*/ 2706901 w 3141752"/>
                  <a:gd name="connsiteY3" fmla="*/ 487680 h 3149938"/>
                  <a:gd name="connsiteX4" fmla="*/ 2729761 w 3141752"/>
                  <a:gd name="connsiteY4" fmla="*/ 510540 h 3149938"/>
                  <a:gd name="connsiteX5" fmla="*/ 2790721 w 3141752"/>
                  <a:gd name="connsiteY5" fmla="*/ 594360 h 3149938"/>
                  <a:gd name="connsiteX6" fmla="*/ 2851681 w 3141752"/>
                  <a:gd name="connsiteY6" fmla="*/ 662940 h 3149938"/>
                  <a:gd name="connsiteX7" fmla="*/ 2874541 w 3141752"/>
                  <a:gd name="connsiteY7" fmla="*/ 701040 h 3149938"/>
                  <a:gd name="connsiteX8" fmla="*/ 2912641 w 3141752"/>
                  <a:gd name="connsiteY8" fmla="*/ 762000 h 3149938"/>
                  <a:gd name="connsiteX9" fmla="*/ 2950741 w 3141752"/>
                  <a:gd name="connsiteY9" fmla="*/ 845820 h 3149938"/>
                  <a:gd name="connsiteX10" fmla="*/ 3011701 w 3141752"/>
                  <a:gd name="connsiteY10" fmla="*/ 998220 h 3149938"/>
                  <a:gd name="connsiteX11" fmla="*/ 3026941 w 3141752"/>
                  <a:gd name="connsiteY11" fmla="*/ 1036320 h 3149938"/>
                  <a:gd name="connsiteX12" fmla="*/ 3034561 w 3141752"/>
                  <a:gd name="connsiteY12" fmla="*/ 1066800 h 3149938"/>
                  <a:gd name="connsiteX13" fmla="*/ 3087901 w 3141752"/>
                  <a:gd name="connsiteY13" fmla="*/ 1181100 h 3149938"/>
                  <a:gd name="connsiteX14" fmla="*/ 3095521 w 3141752"/>
                  <a:gd name="connsiteY14" fmla="*/ 1226820 h 3149938"/>
                  <a:gd name="connsiteX15" fmla="*/ 3103141 w 3141752"/>
                  <a:gd name="connsiteY15" fmla="*/ 1280160 h 3149938"/>
                  <a:gd name="connsiteX16" fmla="*/ 3118381 w 3141752"/>
                  <a:gd name="connsiteY16" fmla="*/ 1371600 h 3149938"/>
                  <a:gd name="connsiteX17" fmla="*/ 3141241 w 3141752"/>
                  <a:gd name="connsiteY17" fmla="*/ 1485900 h 3149938"/>
                  <a:gd name="connsiteX18" fmla="*/ 3133621 w 3141752"/>
                  <a:gd name="connsiteY18" fmla="*/ 1691640 h 3149938"/>
                  <a:gd name="connsiteX19" fmla="*/ 3126001 w 3141752"/>
                  <a:gd name="connsiteY19" fmla="*/ 1767840 h 3149938"/>
                  <a:gd name="connsiteX20" fmla="*/ 3087901 w 3141752"/>
                  <a:gd name="connsiteY20" fmla="*/ 1905000 h 3149938"/>
                  <a:gd name="connsiteX21" fmla="*/ 3080281 w 3141752"/>
                  <a:gd name="connsiteY21" fmla="*/ 1935480 h 3149938"/>
                  <a:gd name="connsiteX22" fmla="*/ 3057421 w 3141752"/>
                  <a:gd name="connsiteY22" fmla="*/ 2019300 h 3149938"/>
                  <a:gd name="connsiteX23" fmla="*/ 2950741 w 3141752"/>
                  <a:gd name="connsiteY23" fmla="*/ 2331720 h 3149938"/>
                  <a:gd name="connsiteX24" fmla="*/ 2927881 w 3141752"/>
                  <a:gd name="connsiteY24" fmla="*/ 2385060 h 3149938"/>
                  <a:gd name="connsiteX25" fmla="*/ 2859301 w 3141752"/>
                  <a:gd name="connsiteY25" fmla="*/ 2499360 h 3149938"/>
                  <a:gd name="connsiteX26" fmla="*/ 2844061 w 3141752"/>
                  <a:gd name="connsiteY26" fmla="*/ 2529840 h 3149938"/>
                  <a:gd name="connsiteX27" fmla="*/ 2836441 w 3141752"/>
                  <a:gd name="connsiteY27" fmla="*/ 2552700 h 3149938"/>
                  <a:gd name="connsiteX28" fmla="*/ 2760241 w 3141752"/>
                  <a:gd name="connsiteY28" fmla="*/ 2636520 h 3149938"/>
                  <a:gd name="connsiteX29" fmla="*/ 2706901 w 3141752"/>
                  <a:gd name="connsiteY29" fmla="*/ 2667000 h 3149938"/>
                  <a:gd name="connsiteX30" fmla="*/ 2303041 w 3141752"/>
                  <a:gd name="connsiteY30" fmla="*/ 2971800 h 3149938"/>
                  <a:gd name="connsiteX31" fmla="*/ 2196361 w 3141752"/>
                  <a:gd name="connsiteY31" fmla="*/ 3025140 h 3149938"/>
                  <a:gd name="connsiteX32" fmla="*/ 2097301 w 3141752"/>
                  <a:gd name="connsiteY32" fmla="*/ 3055620 h 3149938"/>
                  <a:gd name="connsiteX33" fmla="*/ 1800121 w 3141752"/>
                  <a:gd name="connsiteY33" fmla="*/ 3147060 h 3149938"/>
                  <a:gd name="connsiteX34" fmla="*/ 1335301 w 3141752"/>
                  <a:gd name="connsiteY34" fmla="*/ 3108960 h 3149938"/>
                  <a:gd name="connsiteX35" fmla="*/ 794281 w 3141752"/>
                  <a:gd name="connsiteY35" fmla="*/ 2933700 h 3149938"/>
                  <a:gd name="connsiteX36" fmla="*/ 420901 w 3141752"/>
                  <a:gd name="connsiteY36" fmla="*/ 2644140 h 3149938"/>
                  <a:gd name="connsiteX37" fmla="*/ 298981 w 3141752"/>
                  <a:gd name="connsiteY37" fmla="*/ 2499360 h 3149938"/>
                  <a:gd name="connsiteX38" fmla="*/ 184681 w 3141752"/>
                  <a:gd name="connsiteY38" fmla="*/ 2308860 h 3149938"/>
                  <a:gd name="connsiteX39" fmla="*/ 39901 w 3141752"/>
                  <a:gd name="connsiteY39" fmla="*/ 1943100 h 3149938"/>
                  <a:gd name="connsiteX40" fmla="*/ 1801 w 3141752"/>
                  <a:gd name="connsiteY40" fmla="*/ 1562100 h 3149938"/>
                  <a:gd name="connsiteX41" fmla="*/ 55141 w 3141752"/>
                  <a:gd name="connsiteY41" fmla="*/ 1135380 h 3149938"/>
                  <a:gd name="connsiteX42" fmla="*/ 161821 w 3141752"/>
                  <a:gd name="connsiteY42" fmla="*/ 861060 h 3149938"/>
                  <a:gd name="connsiteX43" fmla="*/ 260881 w 3141752"/>
                  <a:gd name="connsiteY43" fmla="*/ 708660 h 3149938"/>
                  <a:gd name="connsiteX44" fmla="*/ 420901 w 3141752"/>
                  <a:gd name="connsiteY44" fmla="*/ 510540 h 3149938"/>
                  <a:gd name="connsiteX45" fmla="*/ 512341 w 3141752"/>
                  <a:gd name="connsiteY45" fmla="*/ 434340 h 3149938"/>
                  <a:gd name="connsiteX46" fmla="*/ 657121 w 3141752"/>
                  <a:gd name="connsiteY46" fmla="*/ 312420 h 3149938"/>
                  <a:gd name="connsiteX47" fmla="*/ 870481 w 3141752"/>
                  <a:gd name="connsiteY47" fmla="*/ 175260 h 3149938"/>
                  <a:gd name="connsiteX48" fmla="*/ 1106701 w 3141752"/>
                  <a:gd name="connsiteY48" fmla="*/ 76200 h 3149938"/>
                  <a:gd name="connsiteX49" fmla="*/ 1243861 w 3141752"/>
                  <a:gd name="connsiteY49" fmla="*/ 38100 h 3149938"/>
                  <a:gd name="connsiteX50" fmla="*/ 1388641 w 3141752"/>
                  <a:gd name="connsiteY50" fmla="*/ 15240 h 3149938"/>
                  <a:gd name="connsiteX51" fmla="*/ 1464841 w 3141752"/>
                  <a:gd name="connsiteY51" fmla="*/ 0 h 3149938"/>
                  <a:gd name="connsiteX52" fmla="*/ 1746781 w 3141752"/>
                  <a:gd name="connsiteY52" fmla="*/ 0 h 3149938"/>
                  <a:gd name="connsiteX53" fmla="*/ 2165881 w 3141752"/>
                  <a:gd name="connsiteY53" fmla="*/ 99060 h 3149938"/>
                  <a:gd name="connsiteX54" fmla="*/ 2341141 w 3141752"/>
                  <a:gd name="connsiteY54" fmla="*/ 182880 h 3149938"/>
                  <a:gd name="connsiteX55" fmla="*/ 2371621 w 3141752"/>
                  <a:gd name="connsiteY55" fmla="*/ 190500 h 3149938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836441 w 3141752"/>
                  <a:gd name="connsiteY27" fmla="*/ 2552700 h 3131365"/>
                  <a:gd name="connsiteX28" fmla="*/ 2760241 w 3141752"/>
                  <a:gd name="connsiteY28" fmla="*/ 2636520 h 3131365"/>
                  <a:gd name="connsiteX29" fmla="*/ 2706901 w 3141752"/>
                  <a:gd name="connsiteY29" fmla="*/ 2667000 h 3131365"/>
                  <a:gd name="connsiteX30" fmla="*/ 2303041 w 3141752"/>
                  <a:gd name="connsiteY30" fmla="*/ 2971800 h 3131365"/>
                  <a:gd name="connsiteX31" fmla="*/ 2196361 w 3141752"/>
                  <a:gd name="connsiteY31" fmla="*/ 3025140 h 3131365"/>
                  <a:gd name="connsiteX32" fmla="*/ 2097301 w 3141752"/>
                  <a:gd name="connsiteY32" fmla="*/ 3055620 h 3131365"/>
                  <a:gd name="connsiteX33" fmla="*/ 1809646 w 3141752"/>
                  <a:gd name="connsiteY33" fmla="*/ 3123247 h 3131365"/>
                  <a:gd name="connsiteX34" fmla="*/ 1335301 w 3141752"/>
                  <a:gd name="connsiteY34" fmla="*/ 3108960 h 3131365"/>
                  <a:gd name="connsiteX35" fmla="*/ 794281 w 3141752"/>
                  <a:gd name="connsiteY35" fmla="*/ 2933700 h 3131365"/>
                  <a:gd name="connsiteX36" fmla="*/ 420901 w 3141752"/>
                  <a:gd name="connsiteY36" fmla="*/ 2644140 h 3131365"/>
                  <a:gd name="connsiteX37" fmla="*/ 298981 w 3141752"/>
                  <a:gd name="connsiteY37" fmla="*/ 2499360 h 3131365"/>
                  <a:gd name="connsiteX38" fmla="*/ 184681 w 3141752"/>
                  <a:gd name="connsiteY38" fmla="*/ 2308860 h 3131365"/>
                  <a:gd name="connsiteX39" fmla="*/ 39901 w 3141752"/>
                  <a:gd name="connsiteY39" fmla="*/ 1943100 h 3131365"/>
                  <a:gd name="connsiteX40" fmla="*/ 1801 w 3141752"/>
                  <a:gd name="connsiteY40" fmla="*/ 1562100 h 3131365"/>
                  <a:gd name="connsiteX41" fmla="*/ 55141 w 3141752"/>
                  <a:gd name="connsiteY41" fmla="*/ 1135380 h 3131365"/>
                  <a:gd name="connsiteX42" fmla="*/ 161821 w 3141752"/>
                  <a:gd name="connsiteY42" fmla="*/ 861060 h 3131365"/>
                  <a:gd name="connsiteX43" fmla="*/ 260881 w 3141752"/>
                  <a:gd name="connsiteY43" fmla="*/ 708660 h 3131365"/>
                  <a:gd name="connsiteX44" fmla="*/ 420901 w 3141752"/>
                  <a:gd name="connsiteY44" fmla="*/ 510540 h 3131365"/>
                  <a:gd name="connsiteX45" fmla="*/ 512341 w 3141752"/>
                  <a:gd name="connsiteY45" fmla="*/ 434340 h 3131365"/>
                  <a:gd name="connsiteX46" fmla="*/ 657121 w 3141752"/>
                  <a:gd name="connsiteY46" fmla="*/ 312420 h 3131365"/>
                  <a:gd name="connsiteX47" fmla="*/ 870481 w 3141752"/>
                  <a:gd name="connsiteY47" fmla="*/ 175260 h 3131365"/>
                  <a:gd name="connsiteX48" fmla="*/ 1106701 w 3141752"/>
                  <a:gd name="connsiteY48" fmla="*/ 76200 h 3131365"/>
                  <a:gd name="connsiteX49" fmla="*/ 1243861 w 3141752"/>
                  <a:gd name="connsiteY49" fmla="*/ 38100 h 3131365"/>
                  <a:gd name="connsiteX50" fmla="*/ 1388641 w 3141752"/>
                  <a:gd name="connsiteY50" fmla="*/ 15240 h 3131365"/>
                  <a:gd name="connsiteX51" fmla="*/ 1464841 w 3141752"/>
                  <a:gd name="connsiteY51" fmla="*/ 0 h 3131365"/>
                  <a:gd name="connsiteX52" fmla="*/ 1746781 w 3141752"/>
                  <a:gd name="connsiteY52" fmla="*/ 0 h 3131365"/>
                  <a:gd name="connsiteX53" fmla="*/ 2165881 w 3141752"/>
                  <a:gd name="connsiteY53" fmla="*/ 99060 h 3131365"/>
                  <a:gd name="connsiteX54" fmla="*/ 2341141 w 3141752"/>
                  <a:gd name="connsiteY54" fmla="*/ 182880 h 3131365"/>
                  <a:gd name="connsiteX55" fmla="*/ 2371621 w 3141752"/>
                  <a:gd name="connsiteY55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836441 w 3141752"/>
                  <a:gd name="connsiteY27" fmla="*/ 2552700 h 3131365"/>
                  <a:gd name="connsiteX28" fmla="*/ 2760241 w 3141752"/>
                  <a:gd name="connsiteY28" fmla="*/ 2636520 h 3131365"/>
                  <a:gd name="connsiteX29" fmla="*/ 2706901 w 3141752"/>
                  <a:gd name="connsiteY29" fmla="*/ 2667000 h 3131365"/>
                  <a:gd name="connsiteX30" fmla="*/ 2303041 w 3141752"/>
                  <a:gd name="connsiteY30" fmla="*/ 2971800 h 3131365"/>
                  <a:gd name="connsiteX31" fmla="*/ 2097301 w 3141752"/>
                  <a:gd name="connsiteY31" fmla="*/ 3055620 h 3131365"/>
                  <a:gd name="connsiteX32" fmla="*/ 1809646 w 3141752"/>
                  <a:gd name="connsiteY32" fmla="*/ 3123247 h 3131365"/>
                  <a:gd name="connsiteX33" fmla="*/ 1335301 w 3141752"/>
                  <a:gd name="connsiteY33" fmla="*/ 3108960 h 3131365"/>
                  <a:gd name="connsiteX34" fmla="*/ 794281 w 3141752"/>
                  <a:gd name="connsiteY34" fmla="*/ 2933700 h 3131365"/>
                  <a:gd name="connsiteX35" fmla="*/ 420901 w 3141752"/>
                  <a:gd name="connsiteY35" fmla="*/ 2644140 h 3131365"/>
                  <a:gd name="connsiteX36" fmla="*/ 298981 w 3141752"/>
                  <a:gd name="connsiteY36" fmla="*/ 2499360 h 3131365"/>
                  <a:gd name="connsiteX37" fmla="*/ 184681 w 3141752"/>
                  <a:gd name="connsiteY37" fmla="*/ 2308860 h 3131365"/>
                  <a:gd name="connsiteX38" fmla="*/ 39901 w 3141752"/>
                  <a:gd name="connsiteY38" fmla="*/ 1943100 h 3131365"/>
                  <a:gd name="connsiteX39" fmla="*/ 1801 w 3141752"/>
                  <a:gd name="connsiteY39" fmla="*/ 1562100 h 3131365"/>
                  <a:gd name="connsiteX40" fmla="*/ 55141 w 3141752"/>
                  <a:gd name="connsiteY40" fmla="*/ 1135380 h 3131365"/>
                  <a:gd name="connsiteX41" fmla="*/ 161821 w 3141752"/>
                  <a:gd name="connsiteY41" fmla="*/ 861060 h 3131365"/>
                  <a:gd name="connsiteX42" fmla="*/ 260881 w 3141752"/>
                  <a:gd name="connsiteY42" fmla="*/ 708660 h 3131365"/>
                  <a:gd name="connsiteX43" fmla="*/ 420901 w 3141752"/>
                  <a:gd name="connsiteY43" fmla="*/ 510540 h 3131365"/>
                  <a:gd name="connsiteX44" fmla="*/ 512341 w 3141752"/>
                  <a:gd name="connsiteY44" fmla="*/ 434340 h 3131365"/>
                  <a:gd name="connsiteX45" fmla="*/ 657121 w 3141752"/>
                  <a:gd name="connsiteY45" fmla="*/ 312420 h 3131365"/>
                  <a:gd name="connsiteX46" fmla="*/ 870481 w 3141752"/>
                  <a:gd name="connsiteY46" fmla="*/ 175260 h 3131365"/>
                  <a:gd name="connsiteX47" fmla="*/ 1106701 w 3141752"/>
                  <a:gd name="connsiteY47" fmla="*/ 76200 h 3131365"/>
                  <a:gd name="connsiteX48" fmla="*/ 1243861 w 3141752"/>
                  <a:gd name="connsiteY48" fmla="*/ 38100 h 3131365"/>
                  <a:gd name="connsiteX49" fmla="*/ 1388641 w 3141752"/>
                  <a:gd name="connsiteY49" fmla="*/ 15240 h 3131365"/>
                  <a:gd name="connsiteX50" fmla="*/ 1464841 w 3141752"/>
                  <a:gd name="connsiteY50" fmla="*/ 0 h 3131365"/>
                  <a:gd name="connsiteX51" fmla="*/ 1746781 w 3141752"/>
                  <a:gd name="connsiteY51" fmla="*/ 0 h 3131365"/>
                  <a:gd name="connsiteX52" fmla="*/ 2165881 w 3141752"/>
                  <a:gd name="connsiteY52" fmla="*/ 99060 h 3131365"/>
                  <a:gd name="connsiteX53" fmla="*/ 2341141 w 3141752"/>
                  <a:gd name="connsiteY53" fmla="*/ 182880 h 3131365"/>
                  <a:gd name="connsiteX54" fmla="*/ 2371621 w 3141752"/>
                  <a:gd name="connsiteY54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836441 w 3141752"/>
                  <a:gd name="connsiteY27" fmla="*/ 2552700 h 3131365"/>
                  <a:gd name="connsiteX28" fmla="*/ 2706901 w 3141752"/>
                  <a:gd name="connsiteY28" fmla="*/ 2667000 h 3131365"/>
                  <a:gd name="connsiteX29" fmla="*/ 2303041 w 3141752"/>
                  <a:gd name="connsiteY29" fmla="*/ 2971800 h 3131365"/>
                  <a:gd name="connsiteX30" fmla="*/ 2097301 w 3141752"/>
                  <a:gd name="connsiteY30" fmla="*/ 3055620 h 3131365"/>
                  <a:gd name="connsiteX31" fmla="*/ 1809646 w 3141752"/>
                  <a:gd name="connsiteY31" fmla="*/ 3123247 h 3131365"/>
                  <a:gd name="connsiteX32" fmla="*/ 1335301 w 3141752"/>
                  <a:gd name="connsiteY32" fmla="*/ 3108960 h 3131365"/>
                  <a:gd name="connsiteX33" fmla="*/ 794281 w 3141752"/>
                  <a:gd name="connsiteY33" fmla="*/ 2933700 h 3131365"/>
                  <a:gd name="connsiteX34" fmla="*/ 420901 w 3141752"/>
                  <a:gd name="connsiteY34" fmla="*/ 2644140 h 3131365"/>
                  <a:gd name="connsiteX35" fmla="*/ 298981 w 3141752"/>
                  <a:gd name="connsiteY35" fmla="*/ 2499360 h 3131365"/>
                  <a:gd name="connsiteX36" fmla="*/ 184681 w 3141752"/>
                  <a:gd name="connsiteY36" fmla="*/ 2308860 h 3131365"/>
                  <a:gd name="connsiteX37" fmla="*/ 39901 w 3141752"/>
                  <a:gd name="connsiteY37" fmla="*/ 1943100 h 3131365"/>
                  <a:gd name="connsiteX38" fmla="*/ 1801 w 3141752"/>
                  <a:gd name="connsiteY38" fmla="*/ 1562100 h 3131365"/>
                  <a:gd name="connsiteX39" fmla="*/ 55141 w 3141752"/>
                  <a:gd name="connsiteY39" fmla="*/ 1135380 h 3131365"/>
                  <a:gd name="connsiteX40" fmla="*/ 161821 w 3141752"/>
                  <a:gd name="connsiteY40" fmla="*/ 861060 h 3131365"/>
                  <a:gd name="connsiteX41" fmla="*/ 260881 w 3141752"/>
                  <a:gd name="connsiteY41" fmla="*/ 708660 h 3131365"/>
                  <a:gd name="connsiteX42" fmla="*/ 420901 w 3141752"/>
                  <a:gd name="connsiteY42" fmla="*/ 510540 h 3131365"/>
                  <a:gd name="connsiteX43" fmla="*/ 512341 w 3141752"/>
                  <a:gd name="connsiteY43" fmla="*/ 434340 h 3131365"/>
                  <a:gd name="connsiteX44" fmla="*/ 657121 w 3141752"/>
                  <a:gd name="connsiteY44" fmla="*/ 312420 h 3131365"/>
                  <a:gd name="connsiteX45" fmla="*/ 870481 w 3141752"/>
                  <a:gd name="connsiteY45" fmla="*/ 175260 h 3131365"/>
                  <a:gd name="connsiteX46" fmla="*/ 1106701 w 3141752"/>
                  <a:gd name="connsiteY46" fmla="*/ 76200 h 3131365"/>
                  <a:gd name="connsiteX47" fmla="*/ 1243861 w 3141752"/>
                  <a:gd name="connsiteY47" fmla="*/ 38100 h 3131365"/>
                  <a:gd name="connsiteX48" fmla="*/ 1388641 w 3141752"/>
                  <a:gd name="connsiteY48" fmla="*/ 15240 h 3131365"/>
                  <a:gd name="connsiteX49" fmla="*/ 1464841 w 3141752"/>
                  <a:gd name="connsiteY49" fmla="*/ 0 h 3131365"/>
                  <a:gd name="connsiteX50" fmla="*/ 1746781 w 3141752"/>
                  <a:gd name="connsiteY50" fmla="*/ 0 h 3131365"/>
                  <a:gd name="connsiteX51" fmla="*/ 2165881 w 3141752"/>
                  <a:gd name="connsiteY51" fmla="*/ 99060 h 3131365"/>
                  <a:gd name="connsiteX52" fmla="*/ 2341141 w 3141752"/>
                  <a:gd name="connsiteY52" fmla="*/ 182880 h 3131365"/>
                  <a:gd name="connsiteX53" fmla="*/ 2371621 w 3141752"/>
                  <a:gd name="connsiteY53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706901 w 3141752"/>
                  <a:gd name="connsiteY27" fmla="*/ 2667000 h 3131365"/>
                  <a:gd name="connsiteX28" fmla="*/ 2303041 w 3141752"/>
                  <a:gd name="connsiteY28" fmla="*/ 2971800 h 3131365"/>
                  <a:gd name="connsiteX29" fmla="*/ 2097301 w 3141752"/>
                  <a:gd name="connsiteY29" fmla="*/ 3055620 h 3131365"/>
                  <a:gd name="connsiteX30" fmla="*/ 1809646 w 3141752"/>
                  <a:gd name="connsiteY30" fmla="*/ 3123247 h 3131365"/>
                  <a:gd name="connsiteX31" fmla="*/ 1335301 w 3141752"/>
                  <a:gd name="connsiteY31" fmla="*/ 3108960 h 3131365"/>
                  <a:gd name="connsiteX32" fmla="*/ 794281 w 3141752"/>
                  <a:gd name="connsiteY32" fmla="*/ 2933700 h 3131365"/>
                  <a:gd name="connsiteX33" fmla="*/ 420901 w 3141752"/>
                  <a:gd name="connsiteY33" fmla="*/ 2644140 h 3131365"/>
                  <a:gd name="connsiteX34" fmla="*/ 298981 w 3141752"/>
                  <a:gd name="connsiteY34" fmla="*/ 2499360 h 3131365"/>
                  <a:gd name="connsiteX35" fmla="*/ 184681 w 3141752"/>
                  <a:gd name="connsiteY35" fmla="*/ 2308860 h 3131365"/>
                  <a:gd name="connsiteX36" fmla="*/ 39901 w 3141752"/>
                  <a:gd name="connsiteY36" fmla="*/ 1943100 h 3131365"/>
                  <a:gd name="connsiteX37" fmla="*/ 1801 w 3141752"/>
                  <a:gd name="connsiteY37" fmla="*/ 1562100 h 3131365"/>
                  <a:gd name="connsiteX38" fmla="*/ 55141 w 3141752"/>
                  <a:gd name="connsiteY38" fmla="*/ 1135380 h 3131365"/>
                  <a:gd name="connsiteX39" fmla="*/ 161821 w 3141752"/>
                  <a:gd name="connsiteY39" fmla="*/ 861060 h 3131365"/>
                  <a:gd name="connsiteX40" fmla="*/ 260881 w 3141752"/>
                  <a:gd name="connsiteY40" fmla="*/ 708660 h 3131365"/>
                  <a:gd name="connsiteX41" fmla="*/ 420901 w 3141752"/>
                  <a:gd name="connsiteY41" fmla="*/ 510540 h 3131365"/>
                  <a:gd name="connsiteX42" fmla="*/ 512341 w 3141752"/>
                  <a:gd name="connsiteY42" fmla="*/ 434340 h 3131365"/>
                  <a:gd name="connsiteX43" fmla="*/ 657121 w 3141752"/>
                  <a:gd name="connsiteY43" fmla="*/ 312420 h 3131365"/>
                  <a:gd name="connsiteX44" fmla="*/ 870481 w 3141752"/>
                  <a:gd name="connsiteY44" fmla="*/ 175260 h 3131365"/>
                  <a:gd name="connsiteX45" fmla="*/ 1106701 w 3141752"/>
                  <a:gd name="connsiteY45" fmla="*/ 76200 h 3131365"/>
                  <a:gd name="connsiteX46" fmla="*/ 1243861 w 3141752"/>
                  <a:gd name="connsiteY46" fmla="*/ 38100 h 3131365"/>
                  <a:gd name="connsiteX47" fmla="*/ 1388641 w 3141752"/>
                  <a:gd name="connsiteY47" fmla="*/ 15240 h 3131365"/>
                  <a:gd name="connsiteX48" fmla="*/ 1464841 w 3141752"/>
                  <a:gd name="connsiteY48" fmla="*/ 0 h 3131365"/>
                  <a:gd name="connsiteX49" fmla="*/ 1746781 w 3141752"/>
                  <a:gd name="connsiteY49" fmla="*/ 0 h 3131365"/>
                  <a:gd name="connsiteX50" fmla="*/ 2165881 w 3141752"/>
                  <a:gd name="connsiteY50" fmla="*/ 99060 h 3131365"/>
                  <a:gd name="connsiteX51" fmla="*/ 2341141 w 3141752"/>
                  <a:gd name="connsiteY51" fmla="*/ 182880 h 3131365"/>
                  <a:gd name="connsiteX52" fmla="*/ 2371621 w 3141752"/>
                  <a:gd name="connsiteY52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706901 w 3141752"/>
                  <a:gd name="connsiteY26" fmla="*/ 2667000 h 3131365"/>
                  <a:gd name="connsiteX27" fmla="*/ 2303041 w 3141752"/>
                  <a:gd name="connsiteY27" fmla="*/ 2971800 h 3131365"/>
                  <a:gd name="connsiteX28" fmla="*/ 2097301 w 3141752"/>
                  <a:gd name="connsiteY28" fmla="*/ 3055620 h 3131365"/>
                  <a:gd name="connsiteX29" fmla="*/ 1809646 w 3141752"/>
                  <a:gd name="connsiteY29" fmla="*/ 3123247 h 3131365"/>
                  <a:gd name="connsiteX30" fmla="*/ 1335301 w 3141752"/>
                  <a:gd name="connsiteY30" fmla="*/ 3108960 h 3131365"/>
                  <a:gd name="connsiteX31" fmla="*/ 794281 w 3141752"/>
                  <a:gd name="connsiteY31" fmla="*/ 2933700 h 3131365"/>
                  <a:gd name="connsiteX32" fmla="*/ 420901 w 3141752"/>
                  <a:gd name="connsiteY32" fmla="*/ 2644140 h 3131365"/>
                  <a:gd name="connsiteX33" fmla="*/ 298981 w 3141752"/>
                  <a:gd name="connsiteY33" fmla="*/ 2499360 h 3131365"/>
                  <a:gd name="connsiteX34" fmla="*/ 184681 w 3141752"/>
                  <a:gd name="connsiteY34" fmla="*/ 2308860 h 3131365"/>
                  <a:gd name="connsiteX35" fmla="*/ 39901 w 3141752"/>
                  <a:gd name="connsiteY35" fmla="*/ 1943100 h 3131365"/>
                  <a:gd name="connsiteX36" fmla="*/ 1801 w 3141752"/>
                  <a:gd name="connsiteY36" fmla="*/ 1562100 h 3131365"/>
                  <a:gd name="connsiteX37" fmla="*/ 55141 w 3141752"/>
                  <a:gd name="connsiteY37" fmla="*/ 1135380 h 3131365"/>
                  <a:gd name="connsiteX38" fmla="*/ 161821 w 3141752"/>
                  <a:gd name="connsiteY38" fmla="*/ 861060 h 3131365"/>
                  <a:gd name="connsiteX39" fmla="*/ 260881 w 3141752"/>
                  <a:gd name="connsiteY39" fmla="*/ 708660 h 3131365"/>
                  <a:gd name="connsiteX40" fmla="*/ 420901 w 3141752"/>
                  <a:gd name="connsiteY40" fmla="*/ 510540 h 3131365"/>
                  <a:gd name="connsiteX41" fmla="*/ 512341 w 3141752"/>
                  <a:gd name="connsiteY41" fmla="*/ 434340 h 3131365"/>
                  <a:gd name="connsiteX42" fmla="*/ 657121 w 3141752"/>
                  <a:gd name="connsiteY42" fmla="*/ 312420 h 3131365"/>
                  <a:gd name="connsiteX43" fmla="*/ 870481 w 3141752"/>
                  <a:gd name="connsiteY43" fmla="*/ 175260 h 3131365"/>
                  <a:gd name="connsiteX44" fmla="*/ 1106701 w 3141752"/>
                  <a:gd name="connsiteY44" fmla="*/ 76200 h 3131365"/>
                  <a:gd name="connsiteX45" fmla="*/ 1243861 w 3141752"/>
                  <a:gd name="connsiteY45" fmla="*/ 38100 h 3131365"/>
                  <a:gd name="connsiteX46" fmla="*/ 1388641 w 3141752"/>
                  <a:gd name="connsiteY46" fmla="*/ 15240 h 3131365"/>
                  <a:gd name="connsiteX47" fmla="*/ 1464841 w 3141752"/>
                  <a:gd name="connsiteY47" fmla="*/ 0 h 3131365"/>
                  <a:gd name="connsiteX48" fmla="*/ 1746781 w 3141752"/>
                  <a:gd name="connsiteY48" fmla="*/ 0 h 3131365"/>
                  <a:gd name="connsiteX49" fmla="*/ 2165881 w 3141752"/>
                  <a:gd name="connsiteY49" fmla="*/ 99060 h 3131365"/>
                  <a:gd name="connsiteX50" fmla="*/ 2341141 w 3141752"/>
                  <a:gd name="connsiteY50" fmla="*/ 182880 h 3131365"/>
                  <a:gd name="connsiteX51" fmla="*/ 2371621 w 3141752"/>
                  <a:gd name="connsiteY51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859301 w 3141752"/>
                  <a:gd name="connsiteY24" fmla="*/ 2499360 h 3131365"/>
                  <a:gd name="connsiteX25" fmla="*/ 2706901 w 3141752"/>
                  <a:gd name="connsiteY25" fmla="*/ 2667000 h 3131365"/>
                  <a:gd name="connsiteX26" fmla="*/ 2303041 w 3141752"/>
                  <a:gd name="connsiteY26" fmla="*/ 2971800 h 3131365"/>
                  <a:gd name="connsiteX27" fmla="*/ 2097301 w 3141752"/>
                  <a:gd name="connsiteY27" fmla="*/ 3055620 h 3131365"/>
                  <a:gd name="connsiteX28" fmla="*/ 1809646 w 3141752"/>
                  <a:gd name="connsiteY28" fmla="*/ 3123247 h 3131365"/>
                  <a:gd name="connsiteX29" fmla="*/ 1335301 w 3141752"/>
                  <a:gd name="connsiteY29" fmla="*/ 3108960 h 3131365"/>
                  <a:gd name="connsiteX30" fmla="*/ 794281 w 3141752"/>
                  <a:gd name="connsiteY30" fmla="*/ 2933700 h 3131365"/>
                  <a:gd name="connsiteX31" fmla="*/ 420901 w 3141752"/>
                  <a:gd name="connsiteY31" fmla="*/ 2644140 h 3131365"/>
                  <a:gd name="connsiteX32" fmla="*/ 298981 w 3141752"/>
                  <a:gd name="connsiteY32" fmla="*/ 2499360 h 3131365"/>
                  <a:gd name="connsiteX33" fmla="*/ 184681 w 3141752"/>
                  <a:gd name="connsiteY33" fmla="*/ 2308860 h 3131365"/>
                  <a:gd name="connsiteX34" fmla="*/ 39901 w 3141752"/>
                  <a:gd name="connsiteY34" fmla="*/ 1943100 h 3131365"/>
                  <a:gd name="connsiteX35" fmla="*/ 1801 w 3141752"/>
                  <a:gd name="connsiteY35" fmla="*/ 1562100 h 3131365"/>
                  <a:gd name="connsiteX36" fmla="*/ 55141 w 3141752"/>
                  <a:gd name="connsiteY36" fmla="*/ 1135380 h 3131365"/>
                  <a:gd name="connsiteX37" fmla="*/ 161821 w 3141752"/>
                  <a:gd name="connsiteY37" fmla="*/ 861060 h 3131365"/>
                  <a:gd name="connsiteX38" fmla="*/ 260881 w 3141752"/>
                  <a:gd name="connsiteY38" fmla="*/ 708660 h 3131365"/>
                  <a:gd name="connsiteX39" fmla="*/ 420901 w 3141752"/>
                  <a:gd name="connsiteY39" fmla="*/ 510540 h 3131365"/>
                  <a:gd name="connsiteX40" fmla="*/ 512341 w 3141752"/>
                  <a:gd name="connsiteY40" fmla="*/ 434340 h 3131365"/>
                  <a:gd name="connsiteX41" fmla="*/ 657121 w 3141752"/>
                  <a:gd name="connsiteY41" fmla="*/ 312420 h 3131365"/>
                  <a:gd name="connsiteX42" fmla="*/ 870481 w 3141752"/>
                  <a:gd name="connsiteY42" fmla="*/ 175260 h 3131365"/>
                  <a:gd name="connsiteX43" fmla="*/ 1106701 w 3141752"/>
                  <a:gd name="connsiteY43" fmla="*/ 76200 h 3131365"/>
                  <a:gd name="connsiteX44" fmla="*/ 1243861 w 3141752"/>
                  <a:gd name="connsiteY44" fmla="*/ 38100 h 3131365"/>
                  <a:gd name="connsiteX45" fmla="*/ 1388641 w 3141752"/>
                  <a:gd name="connsiteY45" fmla="*/ 15240 h 3131365"/>
                  <a:gd name="connsiteX46" fmla="*/ 1464841 w 3141752"/>
                  <a:gd name="connsiteY46" fmla="*/ 0 h 3131365"/>
                  <a:gd name="connsiteX47" fmla="*/ 1746781 w 3141752"/>
                  <a:gd name="connsiteY47" fmla="*/ 0 h 3131365"/>
                  <a:gd name="connsiteX48" fmla="*/ 2165881 w 3141752"/>
                  <a:gd name="connsiteY48" fmla="*/ 99060 h 3131365"/>
                  <a:gd name="connsiteX49" fmla="*/ 2341141 w 3141752"/>
                  <a:gd name="connsiteY49" fmla="*/ 182880 h 3131365"/>
                  <a:gd name="connsiteX50" fmla="*/ 2371621 w 3141752"/>
                  <a:gd name="connsiteY50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845014 w 3141752"/>
                  <a:gd name="connsiteY24" fmla="*/ 2504122 h 3131365"/>
                  <a:gd name="connsiteX25" fmla="*/ 2706901 w 3141752"/>
                  <a:gd name="connsiteY25" fmla="*/ 2667000 h 3131365"/>
                  <a:gd name="connsiteX26" fmla="*/ 2303041 w 3141752"/>
                  <a:gd name="connsiteY26" fmla="*/ 2971800 h 3131365"/>
                  <a:gd name="connsiteX27" fmla="*/ 2097301 w 3141752"/>
                  <a:gd name="connsiteY27" fmla="*/ 3055620 h 3131365"/>
                  <a:gd name="connsiteX28" fmla="*/ 1809646 w 3141752"/>
                  <a:gd name="connsiteY28" fmla="*/ 3123247 h 3131365"/>
                  <a:gd name="connsiteX29" fmla="*/ 1335301 w 3141752"/>
                  <a:gd name="connsiteY29" fmla="*/ 3108960 h 3131365"/>
                  <a:gd name="connsiteX30" fmla="*/ 794281 w 3141752"/>
                  <a:gd name="connsiteY30" fmla="*/ 2933700 h 3131365"/>
                  <a:gd name="connsiteX31" fmla="*/ 420901 w 3141752"/>
                  <a:gd name="connsiteY31" fmla="*/ 2644140 h 3131365"/>
                  <a:gd name="connsiteX32" fmla="*/ 298981 w 3141752"/>
                  <a:gd name="connsiteY32" fmla="*/ 2499360 h 3131365"/>
                  <a:gd name="connsiteX33" fmla="*/ 184681 w 3141752"/>
                  <a:gd name="connsiteY33" fmla="*/ 2308860 h 3131365"/>
                  <a:gd name="connsiteX34" fmla="*/ 39901 w 3141752"/>
                  <a:gd name="connsiteY34" fmla="*/ 1943100 h 3131365"/>
                  <a:gd name="connsiteX35" fmla="*/ 1801 w 3141752"/>
                  <a:gd name="connsiteY35" fmla="*/ 1562100 h 3131365"/>
                  <a:gd name="connsiteX36" fmla="*/ 55141 w 3141752"/>
                  <a:gd name="connsiteY36" fmla="*/ 1135380 h 3131365"/>
                  <a:gd name="connsiteX37" fmla="*/ 161821 w 3141752"/>
                  <a:gd name="connsiteY37" fmla="*/ 861060 h 3131365"/>
                  <a:gd name="connsiteX38" fmla="*/ 260881 w 3141752"/>
                  <a:gd name="connsiteY38" fmla="*/ 708660 h 3131365"/>
                  <a:gd name="connsiteX39" fmla="*/ 420901 w 3141752"/>
                  <a:gd name="connsiteY39" fmla="*/ 510540 h 3131365"/>
                  <a:gd name="connsiteX40" fmla="*/ 512341 w 3141752"/>
                  <a:gd name="connsiteY40" fmla="*/ 434340 h 3131365"/>
                  <a:gd name="connsiteX41" fmla="*/ 657121 w 3141752"/>
                  <a:gd name="connsiteY41" fmla="*/ 312420 h 3131365"/>
                  <a:gd name="connsiteX42" fmla="*/ 870481 w 3141752"/>
                  <a:gd name="connsiteY42" fmla="*/ 175260 h 3131365"/>
                  <a:gd name="connsiteX43" fmla="*/ 1106701 w 3141752"/>
                  <a:gd name="connsiteY43" fmla="*/ 76200 h 3131365"/>
                  <a:gd name="connsiteX44" fmla="*/ 1243861 w 3141752"/>
                  <a:gd name="connsiteY44" fmla="*/ 38100 h 3131365"/>
                  <a:gd name="connsiteX45" fmla="*/ 1388641 w 3141752"/>
                  <a:gd name="connsiteY45" fmla="*/ 15240 h 3131365"/>
                  <a:gd name="connsiteX46" fmla="*/ 1464841 w 3141752"/>
                  <a:gd name="connsiteY46" fmla="*/ 0 h 3131365"/>
                  <a:gd name="connsiteX47" fmla="*/ 1746781 w 3141752"/>
                  <a:gd name="connsiteY47" fmla="*/ 0 h 3131365"/>
                  <a:gd name="connsiteX48" fmla="*/ 2165881 w 3141752"/>
                  <a:gd name="connsiteY48" fmla="*/ 99060 h 3131365"/>
                  <a:gd name="connsiteX49" fmla="*/ 2341141 w 3141752"/>
                  <a:gd name="connsiteY49" fmla="*/ 182880 h 3131365"/>
                  <a:gd name="connsiteX50" fmla="*/ 2371621 w 3141752"/>
                  <a:gd name="connsiteY50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57421 w 3141752"/>
                  <a:gd name="connsiteY21" fmla="*/ 2019300 h 3131365"/>
                  <a:gd name="connsiteX22" fmla="*/ 2950741 w 3141752"/>
                  <a:gd name="connsiteY22" fmla="*/ 2331720 h 3131365"/>
                  <a:gd name="connsiteX23" fmla="*/ 2845014 w 3141752"/>
                  <a:gd name="connsiteY23" fmla="*/ 2504122 h 3131365"/>
                  <a:gd name="connsiteX24" fmla="*/ 2706901 w 3141752"/>
                  <a:gd name="connsiteY24" fmla="*/ 2667000 h 3131365"/>
                  <a:gd name="connsiteX25" fmla="*/ 2303041 w 3141752"/>
                  <a:gd name="connsiteY25" fmla="*/ 2971800 h 3131365"/>
                  <a:gd name="connsiteX26" fmla="*/ 2097301 w 3141752"/>
                  <a:gd name="connsiteY26" fmla="*/ 3055620 h 3131365"/>
                  <a:gd name="connsiteX27" fmla="*/ 1809646 w 3141752"/>
                  <a:gd name="connsiteY27" fmla="*/ 3123247 h 3131365"/>
                  <a:gd name="connsiteX28" fmla="*/ 1335301 w 3141752"/>
                  <a:gd name="connsiteY28" fmla="*/ 3108960 h 3131365"/>
                  <a:gd name="connsiteX29" fmla="*/ 794281 w 3141752"/>
                  <a:gd name="connsiteY29" fmla="*/ 2933700 h 3131365"/>
                  <a:gd name="connsiteX30" fmla="*/ 420901 w 3141752"/>
                  <a:gd name="connsiteY30" fmla="*/ 2644140 h 3131365"/>
                  <a:gd name="connsiteX31" fmla="*/ 298981 w 3141752"/>
                  <a:gd name="connsiteY31" fmla="*/ 2499360 h 3131365"/>
                  <a:gd name="connsiteX32" fmla="*/ 184681 w 3141752"/>
                  <a:gd name="connsiteY32" fmla="*/ 2308860 h 3131365"/>
                  <a:gd name="connsiteX33" fmla="*/ 39901 w 3141752"/>
                  <a:gd name="connsiteY33" fmla="*/ 1943100 h 3131365"/>
                  <a:gd name="connsiteX34" fmla="*/ 1801 w 3141752"/>
                  <a:gd name="connsiteY34" fmla="*/ 1562100 h 3131365"/>
                  <a:gd name="connsiteX35" fmla="*/ 55141 w 3141752"/>
                  <a:gd name="connsiteY35" fmla="*/ 1135380 h 3131365"/>
                  <a:gd name="connsiteX36" fmla="*/ 161821 w 3141752"/>
                  <a:gd name="connsiteY36" fmla="*/ 861060 h 3131365"/>
                  <a:gd name="connsiteX37" fmla="*/ 260881 w 3141752"/>
                  <a:gd name="connsiteY37" fmla="*/ 708660 h 3131365"/>
                  <a:gd name="connsiteX38" fmla="*/ 420901 w 3141752"/>
                  <a:gd name="connsiteY38" fmla="*/ 510540 h 3131365"/>
                  <a:gd name="connsiteX39" fmla="*/ 512341 w 3141752"/>
                  <a:gd name="connsiteY39" fmla="*/ 434340 h 3131365"/>
                  <a:gd name="connsiteX40" fmla="*/ 657121 w 3141752"/>
                  <a:gd name="connsiteY40" fmla="*/ 312420 h 3131365"/>
                  <a:gd name="connsiteX41" fmla="*/ 870481 w 3141752"/>
                  <a:gd name="connsiteY41" fmla="*/ 175260 h 3131365"/>
                  <a:gd name="connsiteX42" fmla="*/ 1106701 w 3141752"/>
                  <a:gd name="connsiteY42" fmla="*/ 76200 h 3131365"/>
                  <a:gd name="connsiteX43" fmla="*/ 1243861 w 3141752"/>
                  <a:gd name="connsiteY43" fmla="*/ 38100 h 3131365"/>
                  <a:gd name="connsiteX44" fmla="*/ 1388641 w 3141752"/>
                  <a:gd name="connsiteY44" fmla="*/ 15240 h 3131365"/>
                  <a:gd name="connsiteX45" fmla="*/ 1464841 w 3141752"/>
                  <a:gd name="connsiteY45" fmla="*/ 0 h 3131365"/>
                  <a:gd name="connsiteX46" fmla="*/ 1746781 w 3141752"/>
                  <a:gd name="connsiteY46" fmla="*/ 0 h 3131365"/>
                  <a:gd name="connsiteX47" fmla="*/ 2165881 w 3141752"/>
                  <a:gd name="connsiteY47" fmla="*/ 99060 h 3131365"/>
                  <a:gd name="connsiteX48" fmla="*/ 2341141 w 3141752"/>
                  <a:gd name="connsiteY48" fmla="*/ 182880 h 3131365"/>
                  <a:gd name="connsiteX49" fmla="*/ 2371621 w 3141752"/>
                  <a:gd name="connsiteY49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57421 w 3141752"/>
                  <a:gd name="connsiteY20" fmla="*/ 2019300 h 3131365"/>
                  <a:gd name="connsiteX21" fmla="*/ 2950741 w 3141752"/>
                  <a:gd name="connsiteY21" fmla="*/ 2331720 h 3131365"/>
                  <a:gd name="connsiteX22" fmla="*/ 2845014 w 3141752"/>
                  <a:gd name="connsiteY22" fmla="*/ 2504122 h 3131365"/>
                  <a:gd name="connsiteX23" fmla="*/ 2706901 w 3141752"/>
                  <a:gd name="connsiteY23" fmla="*/ 2667000 h 3131365"/>
                  <a:gd name="connsiteX24" fmla="*/ 2303041 w 3141752"/>
                  <a:gd name="connsiteY24" fmla="*/ 2971800 h 3131365"/>
                  <a:gd name="connsiteX25" fmla="*/ 2097301 w 3141752"/>
                  <a:gd name="connsiteY25" fmla="*/ 3055620 h 3131365"/>
                  <a:gd name="connsiteX26" fmla="*/ 1809646 w 3141752"/>
                  <a:gd name="connsiteY26" fmla="*/ 3123247 h 3131365"/>
                  <a:gd name="connsiteX27" fmla="*/ 1335301 w 3141752"/>
                  <a:gd name="connsiteY27" fmla="*/ 3108960 h 3131365"/>
                  <a:gd name="connsiteX28" fmla="*/ 794281 w 3141752"/>
                  <a:gd name="connsiteY28" fmla="*/ 2933700 h 3131365"/>
                  <a:gd name="connsiteX29" fmla="*/ 420901 w 3141752"/>
                  <a:gd name="connsiteY29" fmla="*/ 2644140 h 3131365"/>
                  <a:gd name="connsiteX30" fmla="*/ 298981 w 3141752"/>
                  <a:gd name="connsiteY30" fmla="*/ 2499360 h 3131365"/>
                  <a:gd name="connsiteX31" fmla="*/ 184681 w 3141752"/>
                  <a:gd name="connsiteY31" fmla="*/ 2308860 h 3131365"/>
                  <a:gd name="connsiteX32" fmla="*/ 39901 w 3141752"/>
                  <a:gd name="connsiteY32" fmla="*/ 1943100 h 3131365"/>
                  <a:gd name="connsiteX33" fmla="*/ 1801 w 3141752"/>
                  <a:gd name="connsiteY33" fmla="*/ 1562100 h 3131365"/>
                  <a:gd name="connsiteX34" fmla="*/ 55141 w 3141752"/>
                  <a:gd name="connsiteY34" fmla="*/ 1135380 h 3131365"/>
                  <a:gd name="connsiteX35" fmla="*/ 161821 w 3141752"/>
                  <a:gd name="connsiteY35" fmla="*/ 861060 h 3131365"/>
                  <a:gd name="connsiteX36" fmla="*/ 260881 w 3141752"/>
                  <a:gd name="connsiteY36" fmla="*/ 708660 h 3131365"/>
                  <a:gd name="connsiteX37" fmla="*/ 420901 w 3141752"/>
                  <a:gd name="connsiteY37" fmla="*/ 510540 h 3131365"/>
                  <a:gd name="connsiteX38" fmla="*/ 512341 w 3141752"/>
                  <a:gd name="connsiteY38" fmla="*/ 434340 h 3131365"/>
                  <a:gd name="connsiteX39" fmla="*/ 657121 w 3141752"/>
                  <a:gd name="connsiteY39" fmla="*/ 312420 h 3131365"/>
                  <a:gd name="connsiteX40" fmla="*/ 870481 w 3141752"/>
                  <a:gd name="connsiteY40" fmla="*/ 175260 h 3131365"/>
                  <a:gd name="connsiteX41" fmla="*/ 1106701 w 3141752"/>
                  <a:gd name="connsiteY41" fmla="*/ 76200 h 3131365"/>
                  <a:gd name="connsiteX42" fmla="*/ 1243861 w 3141752"/>
                  <a:gd name="connsiteY42" fmla="*/ 38100 h 3131365"/>
                  <a:gd name="connsiteX43" fmla="*/ 1388641 w 3141752"/>
                  <a:gd name="connsiteY43" fmla="*/ 15240 h 3131365"/>
                  <a:gd name="connsiteX44" fmla="*/ 1464841 w 3141752"/>
                  <a:gd name="connsiteY44" fmla="*/ 0 h 3131365"/>
                  <a:gd name="connsiteX45" fmla="*/ 1746781 w 3141752"/>
                  <a:gd name="connsiteY45" fmla="*/ 0 h 3131365"/>
                  <a:gd name="connsiteX46" fmla="*/ 2165881 w 3141752"/>
                  <a:gd name="connsiteY46" fmla="*/ 99060 h 3131365"/>
                  <a:gd name="connsiteX47" fmla="*/ 2341141 w 3141752"/>
                  <a:gd name="connsiteY47" fmla="*/ 182880 h 3131365"/>
                  <a:gd name="connsiteX48" fmla="*/ 2371621 w 3141752"/>
                  <a:gd name="connsiteY48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62183 w 3141752"/>
                  <a:gd name="connsiteY20" fmla="*/ 2038350 h 3131365"/>
                  <a:gd name="connsiteX21" fmla="*/ 2950741 w 3141752"/>
                  <a:gd name="connsiteY21" fmla="*/ 2331720 h 3131365"/>
                  <a:gd name="connsiteX22" fmla="*/ 2845014 w 3141752"/>
                  <a:gd name="connsiteY22" fmla="*/ 2504122 h 3131365"/>
                  <a:gd name="connsiteX23" fmla="*/ 2706901 w 3141752"/>
                  <a:gd name="connsiteY23" fmla="*/ 2667000 h 3131365"/>
                  <a:gd name="connsiteX24" fmla="*/ 2303041 w 3141752"/>
                  <a:gd name="connsiteY24" fmla="*/ 2971800 h 3131365"/>
                  <a:gd name="connsiteX25" fmla="*/ 2097301 w 3141752"/>
                  <a:gd name="connsiteY25" fmla="*/ 3055620 h 3131365"/>
                  <a:gd name="connsiteX26" fmla="*/ 1809646 w 3141752"/>
                  <a:gd name="connsiteY26" fmla="*/ 3123247 h 3131365"/>
                  <a:gd name="connsiteX27" fmla="*/ 1335301 w 3141752"/>
                  <a:gd name="connsiteY27" fmla="*/ 3108960 h 3131365"/>
                  <a:gd name="connsiteX28" fmla="*/ 794281 w 3141752"/>
                  <a:gd name="connsiteY28" fmla="*/ 2933700 h 3131365"/>
                  <a:gd name="connsiteX29" fmla="*/ 420901 w 3141752"/>
                  <a:gd name="connsiteY29" fmla="*/ 2644140 h 3131365"/>
                  <a:gd name="connsiteX30" fmla="*/ 298981 w 3141752"/>
                  <a:gd name="connsiteY30" fmla="*/ 2499360 h 3131365"/>
                  <a:gd name="connsiteX31" fmla="*/ 184681 w 3141752"/>
                  <a:gd name="connsiteY31" fmla="*/ 2308860 h 3131365"/>
                  <a:gd name="connsiteX32" fmla="*/ 39901 w 3141752"/>
                  <a:gd name="connsiteY32" fmla="*/ 1943100 h 3131365"/>
                  <a:gd name="connsiteX33" fmla="*/ 1801 w 3141752"/>
                  <a:gd name="connsiteY33" fmla="*/ 1562100 h 3131365"/>
                  <a:gd name="connsiteX34" fmla="*/ 55141 w 3141752"/>
                  <a:gd name="connsiteY34" fmla="*/ 1135380 h 3131365"/>
                  <a:gd name="connsiteX35" fmla="*/ 161821 w 3141752"/>
                  <a:gd name="connsiteY35" fmla="*/ 861060 h 3131365"/>
                  <a:gd name="connsiteX36" fmla="*/ 260881 w 3141752"/>
                  <a:gd name="connsiteY36" fmla="*/ 708660 h 3131365"/>
                  <a:gd name="connsiteX37" fmla="*/ 420901 w 3141752"/>
                  <a:gd name="connsiteY37" fmla="*/ 510540 h 3131365"/>
                  <a:gd name="connsiteX38" fmla="*/ 512341 w 3141752"/>
                  <a:gd name="connsiteY38" fmla="*/ 434340 h 3131365"/>
                  <a:gd name="connsiteX39" fmla="*/ 657121 w 3141752"/>
                  <a:gd name="connsiteY39" fmla="*/ 312420 h 3131365"/>
                  <a:gd name="connsiteX40" fmla="*/ 870481 w 3141752"/>
                  <a:gd name="connsiteY40" fmla="*/ 175260 h 3131365"/>
                  <a:gd name="connsiteX41" fmla="*/ 1106701 w 3141752"/>
                  <a:gd name="connsiteY41" fmla="*/ 76200 h 3131365"/>
                  <a:gd name="connsiteX42" fmla="*/ 1243861 w 3141752"/>
                  <a:gd name="connsiteY42" fmla="*/ 38100 h 3131365"/>
                  <a:gd name="connsiteX43" fmla="*/ 1388641 w 3141752"/>
                  <a:gd name="connsiteY43" fmla="*/ 15240 h 3131365"/>
                  <a:gd name="connsiteX44" fmla="*/ 1464841 w 3141752"/>
                  <a:gd name="connsiteY44" fmla="*/ 0 h 3131365"/>
                  <a:gd name="connsiteX45" fmla="*/ 1746781 w 3141752"/>
                  <a:gd name="connsiteY45" fmla="*/ 0 h 3131365"/>
                  <a:gd name="connsiteX46" fmla="*/ 2165881 w 3141752"/>
                  <a:gd name="connsiteY46" fmla="*/ 99060 h 3131365"/>
                  <a:gd name="connsiteX47" fmla="*/ 2341141 w 3141752"/>
                  <a:gd name="connsiteY47" fmla="*/ 182880 h 3131365"/>
                  <a:gd name="connsiteX48" fmla="*/ 2371621 w 3141752"/>
                  <a:gd name="connsiteY48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26941 w 3142643"/>
                  <a:gd name="connsiteY11" fmla="*/ 1036320 h 3131365"/>
                  <a:gd name="connsiteX12" fmla="*/ 3034561 w 3142643"/>
                  <a:gd name="connsiteY12" fmla="*/ 1066800 h 3131365"/>
                  <a:gd name="connsiteX13" fmla="*/ 3087901 w 3142643"/>
                  <a:gd name="connsiteY13" fmla="*/ 1181100 h 3131365"/>
                  <a:gd name="connsiteX14" fmla="*/ 3095521 w 3142643"/>
                  <a:gd name="connsiteY14" fmla="*/ 1226820 h 3131365"/>
                  <a:gd name="connsiteX15" fmla="*/ 3103141 w 3142643"/>
                  <a:gd name="connsiteY15" fmla="*/ 1280160 h 3131365"/>
                  <a:gd name="connsiteX16" fmla="*/ 3141241 w 3142643"/>
                  <a:gd name="connsiteY16" fmla="*/ 1485900 h 3131365"/>
                  <a:gd name="connsiteX17" fmla="*/ 3133621 w 3142643"/>
                  <a:gd name="connsiteY17" fmla="*/ 1691640 h 3131365"/>
                  <a:gd name="connsiteX18" fmla="*/ 3126001 w 3142643"/>
                  <a:gd name="connsiteY18" fmla="*/ 1767840 h 3131365"/>
                  <a:gd name="connsiteX19" fmla="*/ 3062183 w 3142643"/>
                  <a:gd name="connsiteY19" fmla="*/ 2038350 h 3131365"/>
                  <a:gd name="connsiteX20" fmla="*/ 2950741 w 3142643"/>
                  <a:gd name="connsiteY20" fmla="*/ 2331720 h 3131365"/>
                  <a:gd name="connsiteX21" fmla="*/ 2845014 w 3142643"/>
                  <a:gd name="connsiteY21" fmla="*/ 2504122 h 3131365"/>
                  <a:gd name="connsiteX22" fmla="*/ 2706901 w 3142643"/>
                  <a:gd name="connsiteY22" fmla="*/ 2667000 h 3131365"/>
                  <a:gd name="connsiteX23" fmla="*/ 2303041 w 3142643"/>
                  <a:gd name="connsiteY23" fmla="*/ 2971800 h 3131365"/>
                  <a:gd name="connsiteX24" fmla="*/ 2097301 w 3142643"/>
                  <a:gd name="connsiteY24" fmla="*/ 3055620 h 3131365"/>
                  <a:gd name="connsiteX25" fmla="*/ 1809646 w 3142643"/>
                  <a:gd name="connsiteY25" fmla="*/ 3123247 h 3131365"/>
                  <a:gd name="connsiteX26" fmla="*/ 1335301 w 3142643"/>
                  <a:gd name="connsiteY26" fmla="*/ 3108960 h 3131365"/>
                  <a:gd name="connsiteX27" fmla="*/ 794281 w 3142643"/>
                  <a:gd name="connsiteY27" fmla="*/ 2933700 h 3131365"/>
                  <a:gd name="connsiteX28" fmla="*/ 420901 w 3142643"/>
                  <a:gd name="connsiteY28" fmla="*/ 2644140 h 3131365"/>
                  <a:gd name="connsiteX29" fmla="*/ 298981 w 3142643"/>
                  <a:gd name="connsiteY29" fmla="*/ 2499360 h 3131365"/>
                  <a:gd name="connsiteX30" fmla="*/ 184681 w 3142643"/>
                  <a:gd name="connsiteY30" fmla="*/ 2308860 h 3131365"/>
                  <a:gd name="connsiteX31" fmla="*/ 39901 w 3142643"/>
                  <a:gd name="connsiteY31" fmla="*/ 1943100 h 3131365"/>
                  <a:gd name="connsiteX32" fmla="*/ 1801 w 3142643"/>
                  <a:gd name="connsiteY32" fmla="*/ 1562100 h 3131365"/>
                  <a:gd name="connsiteX33" fmla="*/ 55141 w 3142643"/>
                  <a:gd name="connsiteY33" fmla="*/ 1135380 h 3131365"/>
                  <a:gd name="connsiteX34" fmla="*/ 161821 w 3142643"/>
                  <a:gd name="connsiteY34" fmla="*/ 861060 h 3131365"/>
                  <a:gd name="connsiteX35" fmla="*/ 260881 w 3142643"/>
                  <a:gd name="connsiteY35" fmla="*/ 708660 h 3131365"/>
                  <a:gd name="connsiteX36" fmla="*/ 420901 w 3142643"/>
                  <a:gd name="connsiteY36" fmla="*/ 510540 h 3131365"/>
                  <a:gd name="connsiteX37" fmla="*/ 512341 w 3142643"/>
                  <a:gd name="connsiteY37" fmla="*/ 434340 h 3131365"/>
                  <a:gd name="connsiteX38" fmla="*/ 657121 w 3142643"/>
                  <a:gd name="connsiteY38" fmla="*/ 312420 h 3131365"/>
                  <a:gd name="connsiteX39" fmla="*/ 870481 w 3142643"/>
                  <a:gd name="connsiteY39" fmla="*/ 175260 h 3131365"/>
                  <a:gd name="connsiteX40" fmla="*/ 1106701 w 3142643"/>
                  <a:gd name="connsiteY40" fmla="*/ 76200 h 3131365"/>
                  <a:gd name="connsiteX41" fmla="*/ 1243861 w 3142643"/>
                  <a:gd name="connsiteY41" fmla="*/ 38100 h 3131365"/>
                  <a:gd name="connsiteX42" fmla="*/ 1388641 w 3142643"/>
                  <a:gd name="connsiteY42" fmla="*/ 15240 h 3131365"/>
                  <a:gd name="connsiteX43" fmla="*/ 1464841 w 3142643"/>
                  <a:gd name="connsiteY43" fmla="*/ 0 h 3131365"/>
                  <a:gd name="connsiteX44" fmla="*/ 1746781 w 3142643"/>
                  <a:gd name="connsiteY44" fmla="*/ 0 h 3131365"/>
                  <a:gd name="connsiteX45" fmla="*/ 2165881 w 3142643"/>
                  <a:gd name="connsiteY45" fmla="*/ 99060 h 3131365"/>
                  <a:gd name="connsiteX46" fmla="*/ 2341141 w 3142643"/>
                  <a:gd name="connsiteY46" fmla="*/ 182880 h 3131365"/>
                  <a:gd name="connsiteX47" fmla="*/ 2371621 w 3142643"/>
                  <a:gd name="connsiteY47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26941 w 3142643"/>
                  <a:gd name="connsiteY11" fmla="*/ 1036320 h 3131365"/>
                  <a:gd name="connsiteX12" fmla="*/ 3034561 w 3142643"/>
                  <a:gd name="connsiteY12" fmla="*/ 1066800 h 3131365"/>
                  <a:gd name="connsiteX13" fmla="*/ 3087901 w 3142643"/>
                  <a:gd name="connsiteY13" fmla="*/ 1181100 h 3131365"/>
                  <a:gd name="connsiteX14" fmla="*/ 3103141 w 3142643"/>
                  <a:gd name="connsiteY14" fmla="*/ 1280160 h 3131365"/>
                  <a:gd name="connsiteX15" fmla="*/ 3141241 w 3142643"/>
                  <a:gd name="connsiteY15" fmla="*/ 1485900 h 3131365"/>
                  <a:gd name="connsiteX16" fmla="*/ 3133621 w 3142643"/>
                  <a:gd name="connsiteY16" fmla="*/ 1691640 h 3131365"/>
                  <a:gd name="connsiteX17" fmla="*/ 3126001 w 3142643"/>
                  <a:gd name="connsiteY17" fmla="*/ 1767840 h 3131365"/>
                  <a:gd name="connsiteX18" fmla="*/ 3062183 w 3142643"/>
                  <a:gd name="connsiteY18" fmla="*/ 2038350 h 3131365"/>
                  <a:gd name="connsiteX19" fmla="*/ 2950741 w 3142643"/>
                  <a:gd name="connsiteY19" fmla="*/ 2331720 h 3131365"/>
                  <a:gd name="connsiteX20" fmla="*/ 2845014 w 3142643"/>
                  <a:gd name="connsiteY20" fmla="*/ 2504122 h 3131365"/>
                  <a:gd name="connsiteX21" fmla="*/ 2706901 w 3142643"/>
                  <a:gd name="connsiteY21" fmla="*/ 2667000 h 3131365"/>
                  <a:gd name="connsiteX22" fmla="*/ 2303041 w 3142643"/>
                  <a:gd name="connsiteY22" fmla="*/ 2971800 h 3131365"/>
                  <a:gd name="connsiteX23" fmla="*/ 2097301 w 3142643"/>
                  <a:gd name="connsiteY23" fmla="*/ 3055620 h 3131365"/>
                  <a:gd name="connsiteX24" fmla="*/ 1809646 w 3142643"/>
                  <a:gd name="connsiteY24" fmla="*/ 3123247 h 3131365"/>
                  <a:gd name="connsiteX25" fmla="*/ 1335301 w 3142643"/>
                  <a:gd name="connsiteY25" fmla="*/ 3108960 h 3131365"/>
                  <a:gd name="connsiteX26" fmla="*/ 794281 w 3142643"/>
                  <a:gd name="connsiteY26" fmla="*/ 2933700 h 3131365"/>
                  <a:gd name="connsiteX27" fmla="*/ 420901 w 3142643"/>
                  <a:gd name="connsiteY27" fmla="*/ 2644140 h 3131365"/>
                  <a:gd name="connsiteX28" fmla="*/ 298981 w 3142643"/>
                  <a:gd name="connsiteY28" fmla="*/ 2499360 h 3131365"/>
                  <a:gd name="connsiteX29" fmla="*/ 184681 w 3142643"/>
                  <a:gd name="connsiteY29" fmla="*/ 2308860 h 3131365"/>
                  <a:gd name="connsiteX30" fmla="*/ 39901 w 3142643"/>
                  <a:gd name="connsiteY30" fmla="*/ 1943100 h 3131365"/>
                  <a:gd name="connsiteX31" fmla="*/ 1801 w 3142643"/>
                  <a:gd name="connsiteY31" fmla="*/ 1562100 h 3131365"/>
                  <a:gd name="connsiteX32" fmla="*/ 55141 w 3142643"/>
                  <a:gd name="connsiteY32" fmla="*/ 1135380 h 3131365"/>
                  <a:gd name="connsiteX33" fmla="*/ 161821 w 3142643"/>
                  <a:gd name="connsiteY33" fmla="*/ 861060 h 3131365"/>
                  <a:gd name="connsiteX34" fmla="*/ 260881 w 3142643"/>
                  <a:gd name="connsiteY34" fmla="*/ 708660 h 3131365"/>
                  <a:gd name="connsiteX35" fmla="*/ 420901 w 3142643"/>
                  <a:gd name="connsiteY35" fmla="*/ 510540 h 3131365"/>
                  <a:gd name="connsiteX36" fmla="*/ 512341 w 3142643"/>
                  <a:gd name="connsiteY36" fmla="*/ 434340 h 3131365"/>
                  <a:gd name="connsiteX37" fmla="*/ 657121 w 3142643"/>
                  <a:gd name="connsiteY37" fmla="*/ 312420 h 3131365"/>
                  <a:gd name="connsiteX38" fmla="*/ 870481 w 3142643"/>
                  <a:gd name="connsiteY38" fmla="*/ 175260 h 3131365"/>
                  <a:gd name="connsiteX39" fmla="*/ 1106701 w 3142643"/>
                  <a:gd name="connsiteY39" fmla="*/ 76200 h 3131365"/>
                  <a:gd name="connsiteX40" fmla="*/ 1243861 w 3142643"/>
                  <a:gd name="connsiteY40" fmla="*/ 38100 h 3131365"/>
                  <a:gd name="connsiteX41" fmla="*/ 1388641 w 3142643"/>
                  <a:gd name="connsiteY41" fmla="*/ 15240 h 3131365"/>
                  <a:gd name="connsiteX42" fmla="*/ 1464841 w 3142643"/>
                  <a:gd name="connsiteY42" fmla="*/ 0 h 3131365"/>
                  <a:gd name="connsiteX43" fmla="*/ 1746781 w 3142643"/>
                  <a:gd name="connsiteY43" fmla="*/ 0 h 3131365"/>
                  <a:gd name="connsiteX44" fmla="*/ 2165881 w 3142643"/>
                  <a:gd name="connsiteY44" fmla="*/ 99060 h 3131365"/>
                  <a:gd name="connsiteX45" fmla="*/ 2341141 w 3142643"/>
                  <a:gd name="connsiteY45" fmla="*/ 182880 h 3131365"/>
                  <a:gd name="connsiteX46" fmla="*/ 2371621 w 3142643"/>
                  <a:gd name="connsiteY46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26941 w 3142643"/>
                  <a:gd name="connsiteY11" fmla="*/ 1036320 h 3131365"/>
                  <a:gd name="connsiteX12" fmla="*/ 3034561 w 3142643"/>
                  <a:gd name="connsiteY12" fmla="*/ 1066800 h 3131365"/>
                  <a:gd name="connsiteX13" fmla="*/ 3103141 w 3142643"/>
                  <a:gd name="connsiteY13" fmla="*/ 1280160 h 3131365"/>
                  <a:gd name="connsiteX14" fmla="*/ 3141241 w 3142643"/>
                  <a:gd name="connsiteY14" fmla="*/ 1485900 h 3131365"/>
                  <a:gd name="connsiteX15" fmla="*/ 3133621 w 3142643"/>
                  <a:gd name="connsiteY15" fmla="*/ 1691640 h 3131365"/>
                  <a:gd name="connsiteX16" fmla="*/ 3126001 w 3142643"/>
                  <a:gd name="connsiteY16" fmla="*/ 1767840 h 3131365"/>
                  <a:gd name="connsiteX17" fmla="*/ 3062183 w 3142643"/>
                  <a:gd name="connsiteY17" fmla="*/ 2038350 h 3131365"/>
                  <a:gd name="connsiteX18" fmla="*/ 2950741 w 3142643"/>
                  <a:gd name="connsiteY18" fmla="*/ 2331720 h 3131365"/>
                  <a:gd name="connsiteX19" fmla="*/ 2845014 w 3142643"/>
                  <a:gd name="connsiteY19" fmla="*/ 2504122 h 3131365"/>
                  <a:gd name="connsiteX20" fmla="*/ 2706901 w 3142643"/>
                  <a:gd name="connsiteY20" fmla="*/ 2667000 h 3131365"/>
                  <a:gd name="connsiteX21" fmla="*/ 2303041 w 3142643"/>
                  <a:gd name="connsiteY21" fmla="*/ 2971800 h 3131365"/>
                  <a:gd name="connsiteX22" fmla="*/ 2097301 w 3142643"/>
                  <a:gd name="connsiteY22" fmla="*/ 3055620 h 3131365"/>
                  <a:gd name="connsiteX23" fmla="*/ 1809646 w 3142643"/>
                  <a:gd name="connsiteY23" fmla="*/ 3123247 h 3131365"/>
                  <a:gd name="connsiteX24" fmla="*/ 1335301 w 3142643"/>
                  <a:gd name="connsiteY24" fmla="*/ 3108960 h 3131365"/>
                  <a:gd name="connsiteX25" fmla="*/ 794281 w 3142643"/>
                  <a:gd name="connsiteY25" fmla="*/ 2933700 h 3131365"/>
                  <a:gd name="connsiteX26" fmla="*/ 420901 w 3142643"/>
                  <a:gd name="connsiteY26" fmla="*/ 2644140 h 3131365"/>
                  <a:gd name="connsiteX27" fmla="*/ 298981 w 3142643"/>
                  <a:gd name="connsiteY27" fmla="*/ 2499360 h 3131365"/>
                  <a:gd name="connsiteX28" fmla="*/ 184681 w 3142643"/>
                  <a:gd name="connsiteY28" fmla="*/ 2308860 h 3131365"/>
                  <a:gd name="connsiteX29" fmla="*/ 39901 w 3142643"/>
                  <a:gd name="connsiteY29" fmla="*/ 1943100 h 3131365"/>
                  <a:gd name="connsiteX30" fmla="*/ 1801 w 3142643"/>
                  <a:gd name="connsiteY30" fmla="*/ 1562100 h 3131365"/>
                  <a:gd name="connsiteX31" fmla="*/ 55141 w 3142643"/>
                  <a:gd name="connsiteY31" fmla="*/ 1135380 h 3131365"/>
                  <a:gd name="connsiteX32" fmla="*/ 161821 w 3142643"/>
                  <a:gd name="connsiteY32" fmla="*/ 861060 h 3131365"/>
                  <a:gd name="connsiteX33" fmla="*/ 260881 w 3142643"/>
                  <a:gd name="connsiteY33" fmla="*/ 708660 h 3131365"/>
                  <a:gd name="connsiteX34" fmla="*/ 420901 w 3142643"/>
                  <a:gd name="connsiteY34" fmla="*/ 510540 h 3131365"/>
                  <a:gd name="connsiteX35" fmla="*/ 512341 w 3142643"/>
                  <a:gd name="connsiteY35" fmla="*/ 434340 h 3131365"/>
                  <a:gd name="connsiteX36" fmla="*/ 657121 w 3142643"/>
                  <a:gd name="connsiteY36" fmla="*/ 312420 h 3131365"/>
                  <a:gd name="connsiteX37" fmla="*/ 870481 w 3142643"/>
                  <a:gd name="connsiteY37" fmla="*/ 175260 h 3131365"/>
                  <a:gd name="connsiteX38" fmla="*/ 1106701 w 3142643"/>
                  <a:gd name="connsiteY38" fmla="*/ 76200 h 3131365"/>
                  <a:gd name="connsiteX39" fmla="*/ 1243861 w 3142643"/>
                  <a:gd name="connsiteY39" fmla="*/ 38100 h 3131365"/>
                  <a:gd name="connsiteX40" fmla="*/ 1388641 w 3142643"/>
                  <a:gd name="connsiteY40" fmla="*/ 15240 h 3131365"/>
                  <a:gd name="connsiteX41" fmla="*/ 1464841 w 3142643"/>
                  <a:gd name="connsiteY41" fmla="*/ 0 h 3131365"/>
                  <a:gd name="connsiteX42" fmla="*/ 1746781 w 3142643"/>
                  <a:gd name="connsiteY42" fmla="*/ 0 h 3131365"/>
                  <a:gd name="connsiteX43" fmla="*/ 2165881 w 3142643"/>
                  <a:gd name="connsiteY43" fmla="*/ 99060 h 3131365"/>
                  <a:gd name="connsiteX44" fmla="*/ 2341141 w 3142643"/>
                  <a:gd name="connsiteY44" fmla="*/ 182880 h 3131365"/>
                  <a:gd name="connsiteX45" fmla="*/ 2371621 w 3142643"/>
                  <a:gd name="connsiteY45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34561 w 3142643"/>
                  <a:gd name="connsiteY11" fmla="*/ 1066800 h 3131365"/>
                  <a:gd name="connsiteX12" fmla="*/ 3103141 w 3142643"/>
                  <a:gd name="connsiteY12" fmla="*/ 1280160 h 3131365"/>
                  <a:gd name="connsiteX13" fmla="*/ 3141241 w 3142643"/>
                  <a:gd name="connsiteY13" fmla="*/ 1485900 h 3131365"/>
                  <a:gd name="connsiteX14" fmla="*/ 3133621 w 3142643"/>
                  <a:gd name="connsiteY14" fmla="*/ 1691640 h 3131365"/>
                  <a:gd name="connsiteX15" fmla="*/ 3126001 w 3142643"/>
                  <a:gd name="connsiteY15" fmla="*/ 1767840 h 3131365"/>
                  <a:gd name="connsiteX16" fmla="*/ 3062183 w 3142643"/>
                  <a:gd name="connsiteY16" fmla="*/ 2038350 h 3131365"/>
                  <a:gd name="connsiteX17" fmla="*/ 2950741 w 3142643"/>
                  <a:gd name="connsiteY17" fmla="*/ 2331720 h 3131365"/>
                  <a:gd name="connsiteX18" fmla="*/ 2845014 w 3142643"/>
                  <a:gd name="connsiteY18" fmla="*/ 2504122 h 3131365"/>
                  <a:gd name="connsiteX19" fmla="*/ 2706901 w 3142643"/>
                  <a:gd name="connsiteY19" fmla="*/ 2667000 h 3131365"/>
                  <a:gd name="connsiteX20" fmla="*/ 2303041 w 3142643"/>
                  <a:gd name="connsiteY20" fmla="*/ 2971800 h 3131365"/>
                  <a:gd name="connsiteX21" fmla="*/ 2097301 w 3142643"/>
                  <a:gd name="connsiteY21" fmla="*/ 3055620 h 3131365"/>
                  <a:gd name="connsiteX22" fmla="*/ 1809646 w 3142643"/>
                  <a:gd name="connsiteY22" fmla="*/ 3123247 h 3131365"/>
                  <a:gd name="connsiteX23" fmla="*/ 1335301 w 3142643"/>
                  <a:gd name="connsiteY23" fmla="*/ 3108960 h 3131365"/>
                  <a:gd name="connsiteX24" fmla="*/ 794281 w 3142643"/>
                  <a:gd name="connsiteY24" fmla="*/ 2933700 h 3131365"/>
                  <a:gd name="connsiteX25" fmla="*/ 420901 w 3142643"/>
                  <a:gd name="connsiteY25" fmla="*/ 2644140 h 3131365"/>
                  <a:gd name="connsiteX26" fmla="*/ 298981 w 3142643"/>
                  <a:gd name="connsiteY26" fmla="*/ 2499360 h 3131365"/>
                  <a:gd name="connsiteX27" fmla="*/ 184681 w 3142643"/>
                  <a:gd name="connsiteY27" fmla="*/ 2308860 h 3131365"/>
                  <a:gd name="connsiteX28" fmla="*/ 39901 w 3142643"/>
                  <a:gd name="connsiteY28" fmla="*/ 1943100 h 3131365"/>
                  <a:gd name="connsiteX29" fmla="*/ 1801 w 3142643"/>
                  <a:gd name="connsiteY29" fmla="*/ 1562100 h 3131365"/>
                  <a:gd name="connsiteX30" fmla="*/ 55141 w 3142643"/>
                  <a:gd name="connsiteY30" fmla="*/ 1135380 h 3131365"/>
                  <a:gd name="connsiteX31" fmla="*/ 161821 w 3142643"/>
                  <a:gd name="connsiteY31" fmla="*/ 861060 h 3131365"/>
                  <a:gd name="connsiteX32" fmla="*/ 260881 w 3142643"/>
                  <a:gd name="connsiteY32" fmla="*/ 708660 h 3131365"/>
                  <a:gd name="connsiteX33" fmla="*/ 420901 w 3142643"/>
                  <a:gd name="connsiteY33" fmla="*/ 510540 h 3131365"/>
                  <a:gd name="connsiteX34" fmla="*/ 512341 w 3142643"/>
                  <a:gd name="connsiteY34" fmla="*/ 434340 h 3131365"/>
                  <a:gd name="connsiteX35" fmla="*/ 657121 w 3142643"/>
                  <a:gd name="connsiteY35" fmla="*/ 312420 h 3131365"/>
                  <a:gd name="connsiteX36" fmla="*/ 870481 w 3142643"/>
                  <a:gd name="connsiteY36" fmla="*/ 175260 h 3131365"/>
                  <a:gd name="connsiteX37" fmla="*/ 1106701 w 3142643"/>
                  <a:gd name="connsiteY37" fmla="*/ 76200 h 3131365"/>
                  <a:gd name="connsiteX38" fmla="*/ 1243861 w 3142643"/>
                  <a:gd name="connsiteY38" fmla="*/ 38100 h 3131365"/>
                  <a:gd name="connsiteX39" fmla="*/ 1388641 w 3142643"/>
                  <a:gd name="connsiteY39" fmla="*/ 15240 h 3131365"/>
                  <a:gd name="connsiteX40" fmla="*/ 1464841 w 3142643"/>
                  <a:gd name="connsiteY40" fmla="*/ 0 h 3131365"/>
                  <a:gd name="connsiteX41" fmla="*/ 1746781 w 3142643"/>
                  <a:gd name="connsiteY41" fmla="*/ 0 h 3131365"/>
                  <a:gd name="connsiteX42" fmla="*/ 2165881 w 3142643"/>
                  <a:gd name="connsiteY42" fmla="*/ 99060 h 3131365"/>
                  <a:gd name="connsiteX43" fmla="*/ 2341141 w 3142643"/>
                  <a:gd name="connsiteY43" fmla="*/ 182880 h 3131365"/>
                  <a:gd name="connsiteX44" fmla="*/ 2371621 w 3142643"/>
                  <a:gd name="connsiteY44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50741 w 3142643"/>
                  <a:gd name="connsiteY8" fmla="*/ 845820 h 3131365"/>
                  <a:gd name="connsiteX9" fmla="*/ 3011701 w 3142643"/>
                  <a:gd name="connsiteY9" fmla="*/ 998220 h 3131365"/>
                  <a:gd name="connsiteX10" fmla="*/ 3034561 w 3142643"/>
                  <a:gd name="connsiteY10" fmla="*/ 1066800 h 3131365"/>
                  <a:gd name="connsiteX11" fmla="*/ 3103141 w 3142643"/>
                  <a:gd name="connsiteY11" fmla="*/ 1280160 h 3131365"/>
                  <a:gd name="connsiteX12" fmla="*/ 3141241 w 3142643"/>
                  <a:gd name="connsiteY12" fmla="*/ 1485900 h 3131365"/>
                  <a:gd name="connsiteX13" fmla="*/ 3133621 w 3142643"/>
                  <a:gd name="connsiteY13" fmla="*/ 1691640 h 3131365"/>
                  <a:gd name="connsiteX14" fmla="*/ 3126001 w 3142643"/>
                  <a:gd name="connsiteY14" fmla="*/ 1767840 h 3131365"/>
                  <a:gd name="connsiteX15" fmla="*/ 3062183 w 3142643"/>
                  <a:gd name="connsiteY15" fmla="*/ 2038350 h 3131365"/>
                  <a:gd name="connsiteX16" fmla="*/ 2950741 w 3142643"/>
                  <a:gd name="connsiteY16" fmla="*/ 2331720 h 3131365"/>
                  <a:gd name="connsiteX17" fmla="*/ 2845014 w 3142643"/>
                  <a:gd name="connsiteY17" fmla="*/ 2504122 h 3131365"/>
                  <a:gd name="connsiteX18" fmla="*/ 2706901 w 3142643"/>
                  <a:gd name="connsiteY18" fmla="*/ 2667000 h 3131365"/>
                  <a:gd name="connsiteX19" fmla="*/ 2303041 w 3142643"/>
                  <a:gd name="connsiteY19" fmla="*/ 2971800 h 3131365"/>
                  <a:gd name="connsiteX20" fmla="*/ 2097301 w 3142643"/>
                  <a:gd name="connsiteY20" fmla="*/ 3055620 h 3131365"/>
                  <a:gd name="connsiteX21" fmla="*/ 1809646 w 3142643"/>
                  <a:gd name="connsiteY21" fmla="*/ 3123247 h 3131365"/>
                  <a:gd name="connsiteX22" fmla="*/ 1335301 w 3142643"/>
                  <a:gd name="connsiteY22" fmla="*/ 3108960 h 3131365"/>
                  <a:gd name="connsiteX23" fmla="*/ 794281 w 3142643"/>
                  <a:gd name="connsiteY23" fmla="*/ 2933700 h 3131365"/>
                  <a:gd name="connsiteX24" fmla="*/ 420901 w 3142643"/>
                  <a:gd name="connsiteY24" fmla="*/ 2644140 h 3131365"/>
                  <a:gd name="connsiteX25" fmla="*/ 298981 w 3142643"/>
                  <a:gd name="connsiteY25" fmla="*/ 2499360 h 3131365"/>
                  <a:gd name="connsiteX26" fmla="*/ 184681 w 3142643"/>
                  <a:gd name="connsiteY26" fmla="*/ 2308860 h 3131365"/>
                  <a:gd name="connsiteX27" fmla="*/ 39901 w 3142643"/>
                  <a:gd name="connsiteY27" fmla="*/ 1943100 h 3131365"/>
                  <a:gd name="connsiteX28" fmla="*/ 1801 w 3142643"/>
                  <a:gd name="connsiteY28" fmla="*/ 1562100 h 3131365"/>
                  <a:gd name="connsiteX29" fmla="*/ 55141 w 3142643"/>
                  <a:gd name="connsiteY29" fmla="*/ 1135380 h 3131365"/>
                  <a:gd name="connsiteX30" fmla="*/ 161821 w 3142643"/>
                  <a:gd name="connsiteY30" fmla="*/ 861060 h 3131365"/>
                  <a:gd name="connsiteX31" fmla="*/ 260881 w 3142643"/>
                  <a:gd name="connsiteY31" fmla="*/ 708660 h 3131365"/>
                  <a:gd name="connsiteX32" fmla="*/ 420901 w 3142643"/>
                  <a:gd name="connsiteY32" fmla="*/ 510540 h 3131365"/>
                  <a:gd name="connsiteX33" fmla="*/ 512341 w 3142643"/>
                  <a:gd name="connsiteY33" fmla="*/ 434340 h 3131365"/>
                  <a:gd name="connsiteX34" fmla="*/ 657121 w 3142643"/>
                  <a:gd name="connsiteY34" fmla="*/ 312420 h 3131365"/>
                  <a:gd name="connsiteX35" fmla="*/ 870481 w 3142643"/>
                  <a:gd name="connsiteY35" fmla="*/ 175260 h 3131365"/>
                  <a:gd name="connsiteX36" fmla="*/ 1106701 w 3142643"/>
                  <a:gd name="connsiteY36" fmla="*/ 76200 h 3131365"/>
                  <a:gd name="connsiteX37" fmla="*/ 1243861 w 3142643"/>
                  <a:gd name="connsiteY37" fmla="*/ 38100 h 3131365"/>
                  <a:gd name="connsiteX38" fmla="*/ 1388641 w 3142643"/>
                  <a:gd name="connsiteY38" fmla="*/ 15240 h 3131365"/>
                  <a:gd name="connsiteX39" fmla="*/ 1464841 w 3142643"/>
                  <a:gd name="connsiteY39" fmla="*/ 0 h 3131365"/>
                  <a:gd name="connsiteX40" fmla="*/ 1746781 w 3142643"/>
                  <a:gd name="connsiteY40" fmla="*/ 0 h 3131365"/>
                  <a:gd name="connsiteX41" fmla="*/ 2165881 w 3142643"/>
                  <a:gd name="connsiteY41" fmla="*/ 99060 h 3131365"/>
                  <a:gd name="connsiteX42" fmla="*/ 2341141 w 3142643"/>
                  <a:gd name="connsiteY42" fmla="*/ 182880 h 3131365"/>
                  <a:gd name="connsiteX43" fmla="*/ 2371621 w 3142643"/>
                  <a:gd name="connsiteY43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950741 w 3142643"/>
                  <a:gd name="connsiteY7" fmla="*/ 845820 h 3131365"/>
                  <a:gd name="connsiteX8" fmla="*/ 3011701 w 3142643"/>
                  <a:gd name="connsiteY8" fmla="*/ 998220 h 3131365"/>
                  <a:gd name="connsiteX9" fmla="*/ 3034561 w 3142643"/>
                  <a:gd name="connsiteY9" fmla="*/ 1066800 h 3131365"/>
                  <a:gd name="connsiteX10" fmla="*/ 3103141 w 3142643"/>
                  <a:gd name="connsiteY10" fmla="*/ 1280160 h 3131365"/>
                  <a:gd name="connsiteX11" fmla="*/ 3141241 w 3142643"/>
                  <a:gd name="connsiteY11" fmla="*/ 1485900 h 3131365"/>
                  <a:gd name="connsiteX12" fmla="*/ 3133621 w 3142643"/>
                  <a:gd name="connsiteY12" fmla="*/ 1691640 h 3131365"/>
                  <a:gd name="connsiteX13" fmla="*/ 3126001 w 3142643"/>
                  <a:gd name="connsiteY13" fmla="*/ 1767840 h 3131365"/>
                  <a:gd name="connsiteX14" fmla="*/ 3062183 w 3142643"/>
                  <a:gd name="connsiteY14" fmla="*/ 2038350 h 3131365"/>
                  <a:gd name="connsiteX15" fmla="*/ 2950741 w 3142643"/>
                  <a:gd name="connsiteY15" fmla="*/ 2331720 h 3131365"/>
                  <a:gd name="connsiteX16" fmla="*/ 2845014 w 3142643"/>
                  <a:gd name="connsiteY16" fmla="*/ 2504122 h 3131365"/>
                  <a:gd name="connsiteX17" fmla="*/ 2706901 w 3142643"/>
                  <a:gd name="connsiteY17" fmla="*/ 2667000 h 3131365"/>
                  <a:gd name="connsiteX18" fmla="*/ 2303041 w 3142643"/>
                  <a:gd name="connsiteY18" fmla="*/ 2971800 h 3131365"/>
                  <a:gd name="connsiteX19" fmla="*/ 2097301 w 3142643"/>
                  <a:gd name="connsiteY19" fmla="*/ 3055620 h 3131365"/>
                  <a:gd name="connsiteX20" fmla="*/ 1809646 w 3142643"/>
                  <a:gd name="connsiteY20" fmla="*/ 3123247 h 3131365"/>
                  <a:gd name="connsiteX21" fmla="*/ 1335301 w 3142643"/>
                  <a:gd name="connsiteY21" fmla="*/ 3108960 h 3131365"/>
                  <a:gd name="connsiteX22" fmla="*/ 794281 w 3142643"/>
                  <a:gd name="connsiteY22" fmla="*/ 2933700 h 3131365"/>
                  <a:gd name="connsiteX23" fmla="*/ 420901 w 3142643"/>
                  <a:gd name="connsiteY23" fmla="*/ 2644140 h 3131365"/>
                  <a:gd name="connsiteX24" fmla="*/ 298981 w 3142643"/>
                  <a:gd name="connsiteY24" fmla="*/ 2499360 h 3131365"/>
                  <a:gd name="connsiteX25" fmla="*/ 184681 w 3142643"/>
                  <a:gd name="connsiteY25" fmla="*/ 2308860 h 3131365"/>
                  <a:gd name="connsiteX26" fmla="*/ 39901 w 3142643"/>
                  <a:gd name="connsiteY26" fmla="*/ 1943100 h 3131365"/>
                  <a:gd name="connsiteX27" fmla="*/ 1801 w 3142643"/>
                  <a:gd name="connsiteY27" fmla="*/ 1562100 h 3131365"/>
                  <a:gd name="connsiteX28" fmla="*/ 55141 w 3142643"/>
                  <a:gd name="connsiteY28" fmla="*/ 1135380 h 3131365"/>
                  <a:gd name="connsiteX29" fmla="*/ 161821 w 3142643"/>
                  <a:gd name="connsiteY29" fmla="*/ 861060 h 3131365"/>
                  <a:gd name="connsiteX30" fmla="*/ 260881 w 3142643"/>
                  <a:gd name="connsiteY30" fmla="*/ 708660 h 3131365"/>
                  <a:gd name="connsiteX31" fmla="*/ 420901 w 3142643"/>
                  <a:gd name="connsiteY31" fmla="*/ 510540 h 3131365"/>
                  <a:gd name="connsiteX32" fmla="*/ 512341 w 3142643"/>
                  <a:gd name="connsiteY32" fmla="*/ 434340 h 3131365"/>
                  <a:gd name="connsiteX33" fmla="*/ 657121 w 3142643"/>
                  <a:gd name="connsiteY33" fmla="*/ 312420 h 3131365"/>
                  <a:gd name="connsiteX34" fmla="*/ 870481 w 3142643"/>
                  <a:gd name="connsiteY34" fmla="*/ 175260 h 3131365"/>
                  <a:gd name="connsiteX35" fmla="*/ 1106701 w 3142643"/>
                  <a:gd name="connsiteY35" fmla="*/ 76200 h 3131365"/>
                  <a:gd name="connsiteX36" fmla="*/ 1243861 w 3142643"/>
                  <a:gd name="connsiteY36" fmla="*/ 38100 h 3131365"/>
                  <a:gd name="connsiteX37" fmla="*/ 1388641 w 3142643"/>
                  <a:gd name="connsiteY37" fmla="*/ 15240 h 3131365"/>
                  <a:gd name="connsiteX38" fmla="*/ 1464841 w 3142643"/>
                  <a:gd name="connsiteY38" fmla="*/ 0 h 3131365"/>
                  <a:gd name="connsiteX39" fmla="*/ 1746781 w 3142643"/>
                  <a:gd name="connsiteY39" fmla="*/ 0 h 3131365"/>
                  <a:gd name="connsiteX40" fmla="*/ 2165881 w 3142643"/>
                  <a:gd name="connsiteY40" fmla="*/ 99060 h 3131365"/>
                  <a:gd name="connsiteX41" fmla="*/ 2341141 w 3142643"/>
                  <a:gd name="connsiteY41" fmla="*/ 182880 h 3131365"/>
                  <a:gd name="connsiteX42" fmla="*/ 2371621 w 3142643"/>
                  <a:gd name="connsiteY42" fmla="*/ 190500 h 3131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3142643" h="3131365">
                    <a:moveTo>
                      <a:pt x="2371621" y="190500"/>
                    </a:moveTo>
                    <a:cubicBezTo>
                      <a:pt x="2397021" y="209550"/>
                      <a:pt x="2454171" y="265430"/>
                      <a:pt x="2493541" y="297180"/>
                    </a:cubicBezTo>
                    <a:cubicBezTo>
                      <a:pt x="2532911" y="328930"/>
                      <a:pt x="2572281" y="349250"/>
                      <a:pt x="2607841" y="381000"/>
                    </a:cubicBezTo>
                    <a:cubicBezTo>
                      <a:pt x="2643401" y="412750"/>
                      <a:pt x="2686581" y="466090"/>
                      <a:pt x="2706901" y="487680"/>
                    </a:cubicBezTo>
                    <a:cubicBezTo>
                      <a:pt x="2727221" y="509270"/>
                      <a:pt x="2722748" y="502358"/>
                      <a:pt x="2729761" y="510540"/>
                    </a:cubicBezTo>
                    <a:cubicBezTo>
                      <a:pt x="2752356" y="536901"/>
                      <a:pt x="2768126" y="567999"/>
                      <a:pt x="2790721" y="594360"/>
                    </a:cubicBezTo>
                    <a:cubicBezTo>
                      <a:pt x="2836586" y="647869"/>
                      <a:pt x="2825011" y="621030"/>
                      <a:pt x="2851681" y="662940"/>
                    </a:cubicBezTo>
                    <a:cubicBezTo>
                      <a:pt x="2878351" y="704850"/>
                      <a:pt x="2924071" y="789940"/>
                      <a:pt x="2950741" y="845820"/>
                    </a:cubicBezTo>
                    <a:cubicBezTo>
                      <a:pt x="2977411" y="901700"/>
                      <a:pt x="2997731" y="961390"/>
                      <a:pt x="3011701" y="998220"/>
                    </a:cubicBezTo>
                    <a:cubicBezTo>
                      <a:pt x="3025671" y="1035050"/>
                      <a:pt x="3019321" y="1019810"/>
                      <a:pt x="3034561" y="1066800"/>
                    </a:cubicBezTo>
                    <a:cubicBezTo>
                      <a:pt x="3049801" y="1113790"/>
                      <a:pt x="3085361" y="1210310"/>
                      <a:pt x="3103141" y="1280160"/>
                    </a:cubicBezTo>
                    <a:cubicBezTo>
                      <a:pt x="3120921" y="1350010"/>
                      <a:pt x="3136161" y="1417320"/>
                      <a:pt x="3141241" y="1485900"/>
                    </a:cubicBezTo>
                    <a:cubicBezTo>
                      <a:pt x="3146321" y="1554480"/>
                      <a:pt x="3136161" y="1644650"/>
                      <a:pt x="3133621" y="1691640"/>
                    </a:cubicBezTo>
                    <a:cubicBezTo>
                      <a:pt x="3131081" y="1717040"/>
                      <a:pt x="3137907" y="1710055"/>
                      <a:pt x="3126001" y="1767840"/>
                    </a:cubicBezTo>
                    <a:cubicBezTo>
                      <a:pt x="3114095" y="1825625"/>
                      <a:pt x="3091393" y="1944370"/>
                      <a:pt x="3062183" y="2038350"/>
                    </a:cubicBezTo>
                    <a:cubicBezTo>
                      <a:pt x="3032973" y="2132330"/>
                      <a:pt x="2986936" y="2254091"/>
                      <a:pt x="2950741" y="2331720"/>
                    </a:cubicBezTo>
                    <a:cubicBezTo>
                      <a:pt x="2914546" y="2409349"/>
                      <a:pt x="2885654" y="2448242"/>
                      <a:pt x="2845014" y="2504122"/>
                    </a:cubicBezTo>
                    <a:cubicBezTo>
                      <a:pt x="2804374" y="2560002"/>
                      <a:pt x="2797230" y="2589054"/>
                      <a:pt x="2706901" y="2667000"/>
                    </a:cubicBezTo>
                    <a:cubicBezTo>
                      <a:pt x="2616572" y="2744946"/>
                      <a:pt x="2404641" y="2907030"/>
                      <a:pt x="2303041" y="2971800"/>
                    </a:cubicBezTo>
                    <a:cubicBezTo>
                      <a:pt x="2201441" y="3036570"/>
                      <a:pt x="2179533" y="3030379"/>
                      <a:pt x="2097301" y="3055620"/>
                    </a:cubicBezTo>
                    <a:cubicBezTo>
                      <a:pt x="2015069" y="3080861"/>
                      <a:pt x="1936646" y="3114357"/>
                      <a:pt x="1809646" y="3123247"/>
                    </a:cubicBezTo>
                    <a:cubicBezTo>
                      <a:pt x="1682646" y="3132137"/>
                      <a:pt x="1504528" y="3140551"/>
                      <a:pt x="1335301" y="3108960"/>
                    </a:cubicBezTo>
                    <a:cubicBezTo>
                      <a:pt x="1166074" y="3077369"/>
                      <a:pt x="946681" y="3011170"/>
                      <a:pt x="794281" y="2933700"/>
                    </a:cubicBezTo>
                    <a:cubicBezTo>
                      <a:pt x="641881" y="2856230"/>
                      <a:pt x="503451" y="2716530"/>
                      <a:pt x="420901" y="2644140"/>
                    </a:cubicBezTo>
                    <a:cubicBezTo>
                      <a:pt x="338351" y="2571750"/>
                      <a:pt x="338351" y="2555240"/>
                      <a:pt x="298981" y="2499360"/>
                    </a:cubicBezTo>
                    <a:cubicBezTo>
                      <a:pt x="259611" y="2443480"/>
                      <a:pt x="227861" y="2401570"/>
                      <a:pt x="184681" y="2308860"/>
                    </a:cubicBezTo>
                    <a:cubicBezTo>
                      <a:pt x="141501" y="2216150"/>
                      <a:pt x="70381" y="2067560"/>
                      <a:pt x="39901" y="1943100"/>
                    </a:cubicBezTo>
                    <a:cubicBezTo>
                      <a:pt x="27201" y="1816100"/>
                      <a:pt x="-8359" y="1734820"/>
                      <a:pt x="1801" y="1562100"/>
                    </a:cubicBezTo>
                    <a:cubicBezTo>
                      <a:pt x="9265" y="1435218"/>
                      <a:pt x="28471" y="1252220"/>
                      <a:pt x="55141" y="1135380"/>
                    </a:cubicBezTo>
                    <a:cubicBezTo>
                      <a:pt x="81811" y="1018540"/>
                      <a:pt x="127531" y="932180"/>
                      <a:pt x="161821" y="861060"/>
                    </a:cubicBezTo>
                    <a:cubicBezTo>
                      <a:pt x="196111" y="789940"/>
                      <a:pt x="217701" y="767080"/>
                      <a:pt x="260881" y="708660"/>
                    </a:cubicBezTo>
                    <a:cubicBezTo>
                      <a:pt x="304061" y="650240"/>
                      <a:pt x="378991" y="556260"/>
                      <a:pt x="420901" y="510540"/>
                    </a:cubicBezTo>
                    <a:cubicBezTo>
                      <a:pt x="462811" y="464820"/>
                      <a:pt x="472971" y="467360"/>
                      <a:pt x="512341" y="434340"/>
                    </a:cubicBezTo>
                    <a:cubicBezTo>
                      <a:pt x="551711" y="401320"/>
                      <a:pt x="597431" y="355600"/>
                      <a:pt x="657121" y="312420"/>
                    </a:cubicBezTo>
                    <a:cubicBezTo>
                      <a:pt x="716811" y="269240"/>
                      <a:pt x="820951" y="205740"/>
                      <a:pt x="870481" y="175260"/>
                    </a:cubicBezTo>
                    <a:cubicBezTo>
                      <a:pt x="945411" y="135890"/>
                      <a:pt x="1044471" y="99060"/>
                      <a:pt x="1106701" y="76200"/>
                    </a:cubicBezTo>
                    <a:cubicBezTo>
                      <a:pt x="1168931" y="53340"/>
                      <a:pt x="1196871" y="48260"/>
                      <a:pt x="1243861" y="38100"/>
                    </a:cubicBezTo>
                    <a:cubicBezTo>
                      <a:pt x="1290851" y="27940"/>
                      <a:pt x="1351811" y="21590"/>
                      <a:pt x="1388641" y="15240"/>
                    </a:cubicBezTo>
                    <a:cubicBezTo>
                      <a:pt x="1425471" y="8890"/>
                      <a:pt x="1464841" y="0"/>
                      <a:pt x="1464841" y="0"/>
                    </a:cubicBezTo>
                    <a:lnTo>
                      <a:pt x="1746781" y="0"/>
                    </a:lnTo>
                    <a:cubicBezTo>
                      <a:pt x="1863621" y="16510"/>
                      <a:pt x="2066821" y="68580"/>
                      <a:pt x="2165881" y="99060"/>
                    </a:cubicBezTo>
                    <a:cubicBezTo>
                      <a:pt x="2264941" y="129540"/>
                      <a:pt x="2282524" y="168226"/>
                      <a:pt x="2341141" y="182880"/>
                    </a:cubicBezTo>
                    <a:lnTo>
                      <a:pt x="2371621" y="190500"/>
                    </a:ln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43" name="Freeform: Shape 41">
                <a:extLst>
                  <a:ext uri="{FF2B5EF4-FFF2-40B4-BE49-F238E27FC236}">
                    <a16:creationId xmlns:a16="http://schemas.microsoft.com/office/drawing/2014/main" id="{199BD34A-A28B-A8E0-553A-DB467B2481C9}"/>
                  </a:ext>
                </a:extLst>
              </p:cNvPr>
              <p:cNvSpPr/>
              <p:nvPr/>
            </p:nvSpPr>
            <p:spPr>
              <a:xfrm>
                <a:off x="4610100" y="2186941"/>
                <a:ext cx="2056448" cy="917172"/>
              </a:xfrm>
              <a:custGeom>
                <a:avLst/>
                <a:gdLst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175260 w 2080260"/>
                  <a:gd name="connsiteY7" fmla="*/ 243840 h 932460"/>
                  <a:gd name="connsiteX8" fmla="*/ 274320 w 2080260"/>
                  <a:gd name="connsiteY8" fmla="*/ 320040 h 932460"/>
                  <a:gd name="connsiteX9" fmla="*/ 373380 w 2080260"/>
                  <a:gd name="connsiteY9" fmla="*/ 411480 h 932460"/>
                  <a:gd name="connsiteX10" fmla="*/ 403860 w 2080260"/>
                  <a:gd name="connsiteY10" fmla="*/ 419100 h 932460"/>
                  <a:gd name="connsiteX11" fmla="*/ 457200 w 2080260"/>
                  <a:gd name="connsiteY11" fmla="*/ 472440 h 932460"/>
                  <a:gd name="connsiteX12" fmla="*/ 472440 w 2080260"/>
                  <a:gd name="connsiteY12" fmla="*/ 510540 h 932460"/>
                  <a:gd name="connsiteX13" fmla="*/ 541020 w 2080260"/>
                  <a:gd name="connsiteY13" fmla="*/ 556260 h 932460"/>
                  <a:gd name="connsiteX14" fmla="*/ 670560 w 2080260"/>
                  <a:gd name="connsiteY14" fmla="*/ 601980 h 932460"/>
                  <a:gd name="connsiteX15" fmla="*/ 716280 w 2080260"/>
                  <a:gd name="connsiteY15" fmla="*/ 624840 h 932460"/>
                  <a:gd name="connsiteX16" fmla="*/ 739140 w 2080260"/>
                  <a:gd name="connsiteY16" fmla="*/ 632460 h 932460"/>
                  <a:gd name="connsiteX17" fmla="*/ 784860 w 2080260"/>
                  <a:gd name="connsiteY17" fmla="*/ 662940 h 932460"/>
                  <a:gd name="connsiteX18" fmla="*/ 815340 w 2080260"/>
                  <a:gd name="connsiteY18" fmla="*/ 678180 h 932460"/>
                  <a:gd name="connsiteX19" fmla="*/ 853440 w 2080260"/>
                  <a:gd name="connsiteY19" fmla="*/ 701040 h 932460"/>
                  <a:gd name="connsiteX20" fmla="*/ 883920 w 2080260"/>
                  <a:gd name="connsiteY20" fmla="*/ 708660 h 932460"/>
                  <a:gd name="connsiteX21" fmla="*/ 967740 w 2080260"/>
                  <a:gd name="connsiteY21" fmla="*/ 746760 h 932460"/>
                  <a:gd name="connsiteX22" fmla="*/ 990600 w 2080260"/>
                  <a:gd name="connsiteY22" fmla="*/ 754380 h 932460"/>
                  <a:gd name="connsiteX23" fmla="*/ 1089660 w 2080260"/>
                  <a:gd name="connsiteY23" fmla="*/ 800100 h 932460"/>
                  <a:gd name="connsiteX24" fmla="*/ 1173480 w 2080260"/>
                  <a:gd name="connsiteY24" fmla="*/ 822960 h 932460"/>
                  <a:gd name="connsiteX25" fmla="*/ 1211580 w 2080260"/>
                  <a:gd name="connsiteY25" fmla="*/ 830580 h 932460"/>
                  <a:gd name="connsiteX26" fmla="*/ 1272540 w 2080260"/>
                  <a:gd name="connsiteY26" fmla="*/ 853440 h 932460"/>
                  <a:gd name="connsiteX27" fmla="*/ 1325880 w 2080260"/>
                  <a:gd name="connsiteY27" fmla="*/ 861060 h 932460"/>
                  <a:gd name="connsiteX28" fmla="*/ 1516380 w 2080260"/>
                  <a:gd name="connsiteY28" fmla="*/ 899160 h 932460"/>
                  <a:gd name="connsiteX29" fmla="*/ 1584960 w 2080260"/>
                  <a:gd name="connsiteY29" fmla="*/ 906780 h 932460"/>
                  <a:gd name="connsiteX30" fmla="*/ 1965960 w 2080260"/>
                  <a:gd name="connsiteY30" fmla="*/ 914400 h 932460"/>
                  <a:gd name="connsiteX31" fmla="*/ 1996440 w 2080260"/>
                  <a:gd name="connsiteY31" fmla="*/ 899160 h 932460"/>
                  <a:gd name="connsiteX32" fmla="*/ 2042160 w 2080260"/>
                  <a:gd name="connsiteY32" fmla="*/ 883920 h 932460"/>
                  <a:gd name="connsiteX33" fmla="*/ 2080260 w 2080260"/>
                  <a:gd name="connsiteY33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175260 w 2080260"/>
                  <a:gd name="connsiteY7" fmla="*/ 243840 h 932460"/>
                  <a:gd name="connsiteX8" fmla="*/ 274320 w 2080260"/>
                  <a:gd name="connsiteY8" fmla="*/ 320040 h 932460"/>
                  <a:gd name="connsiteX9" fmla="*/ 373380 w 2080260"/>
                  <a:gd name="connsiteY9" fmla="*/ 411480 h 932460"/>
                  <a:gd name="connsiteX10" fmla="*/ 457200 w 2080260"/>
                  <a:gd name="connsiteY10" fmla="*/ 472440 h 932460"/>
                  <a:gd name="connsiteX11" fmla="*/ 472440 w 2080260"/>
                  <a:gd name="connsiteY11" fmla="*/ 510540 h 932460"/>
                  <a:gd name="connsiteX12" fmla="*/ 541020 w 2080260"/>
                  <a:gd name="connsiteY12" fmla="*/ 556260 h 932460"/>
                  <a:gd name="connsiteX13" fmla="*/ 670560 w 2080260"/>
                  <a:gd name="connsiteY13" fmla="*/ 601980 h 932460"/>
                  <a:gd name="connsiteX14" fmla="*/ 716280 w 2080260"/>
                  <a:gd name="connsiteY14" fmla="*/ 624840 h 932460"/>
                  <a:gd name="connsiteX15" fmla="*/ 739140 w 2080260"/>
                  <a:gd name="connsiteY15" fmla="*/ 632460 h 932460"/>
                  <a:gd name="connsiteX16" fmla="*/ 784860 w 2080260"/>
                  <a:gd name="connsiteY16" fmla="*/ 662940 h 932460"/>
                  <a:gd name="connsiteX17" fmla="*/ 815340 w 2080260"/>
                  <a:gd name="connsiteY17" fmla="*/ 678180 h 932460"/>
                  <a:gd name="connsiteX18" fmla="*/ 853440 w 2080260"/>
                  <a:gd name="connsiteY18" fmla="*/ 701040 h 932460"/>
                  <a:gd name="connsiteX19" fmla="*/ 883920 w 2080260"/>
                  <a:gd name="connsiteY19" fmla="*/ 708660 h 932460"/>
                  <a:gd name="connsiteX20" fmla="*/ 967740 w 2080260"/>
                  <a:gd name="connsiteY20" fmla="*/ 746760 h 932460"/>
                  <a:gd name="connsiteX21" fmla="*/ 990600 w 2080260"/>
                  <a:gd name="connsiteY21" fmla="*/ 754380 h 932460"/>
                  <a:gd name="connsiteX22" fmla="*/ 1089660 w 2080260"/>
                  <a:gd name="connsiteY22" fmla="*/ 800100 h 932460"/>
                  <a:gd name="connsiteX23" fmla="*/ 1173480 w 2080260"/>
                  <a:gd name="connsiteY23" fmla="*/ 822960 h 932460"/>
                  <a:gd name="connsiteX24" fmla="*/ 1211580 w 2080260"/>
                  <a:gd name="connsiteY24" fmla="*/ 830580 h 932460"/>
                  <a:gd name="connsiteX25" fmla="*/ 1272540 w 2080260"/>
                  <a:gd name="connsiteY25" fmla="*/ 853440 h 932460"/>
                  <a:gd name="connsiteX26" fmla="*/ 1325880 w 2080260"/>
                  <a:gd name="connsiteY26" fmla="*/ 861060 h 932460"/>
                  <a:gd name="connsiteX27" fmla="*/ 1516380 w 2080260"/>
                  <a:gd name="connsiteY27" fmla="*/ 899160 h 932460"/>
                  <a:gd name="connsiteX28" fmla="*/ 1584960 w 2080260"/>
                  <a:gd name="connsiteY28" fmla="*/ 906780 h 932460"/>
                  <a:gd name="connsiteX29" fmla="*/ 1965960 w 2080260"/>
                  <a:gd name="connsiteY29" fmla="*/ 914400 h 932460"/>
                  <a:gd name="connsiteX30" fmla="*/ 1996440 w 2080260"/>
                  <a:gd name="connsiteY30" fmla="*/ 899160 h 932460"/>
                  <a:gd name="connsiteX31" fmla="*/ 2042160 w 2080260"/>
                  <a:gd name="connsiteY31" fmla="*/ 883920 h 932460"/>
                  <a:gd name="connsiteX32" fmla="*/ 2080260 w 2080260"/>
                  <a:gd name="connsiteY32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274320 w 2080260"/>
                  <a:gd name="connsiteY7" fmla="*/ 320040 h 932460"/>
                  <a:gd name="connsiteX8" fmla="*/ 373380 w 2080260"/>
                  <a:gd name="connsiteY8" fmla="*/ 411480 h 932460"/>
                  <a:gd name="connsiteX9" fmla="*/ 457200 w 2080260"/>
                  <a:gd name="connsiteY9" fmla="*/ 472440 h 932460"/>
                  <a:gd name="connsiteX10" fmla="*/ 472440 w 2080260"/>
                  <a:gd name="connsiteY10" fmla="*/ 510540 h 932460"/>
                  <a:gd name="connsiteX11" fmla="*/ 541020 w 2080260"/>
                  <a:gd name="connsiteY11" fmla="*/ 556260 h 932460"/>
                  <a:gd name="connsiteX12" fmla="*/ 670560 w 2080260"/>
                  <a:gd name="connsiteY12" fmla="*/ 601980 h 932460"/>
                  <a:gd name="connsiteX13" fmla="*/ 716280 w 2080260"/>
                  <a:gd name="connsiteY13" fmla="*/ 624840 h 932460"/>
                  <a:gd name="connsiteX14" fmla="*/ 739140 w 2080260"/>
                  <a:gd name="connsiteY14" fmla="*/ 632460 h 932460"/>
                  <a:gd name="connsiteX15" fmla="*/ 784860 w 2080260"/>
                  <a:gd name="connsiteY15" fmla="*/ 662940 h 932460"/>
                  <a:gd name="connsiteX16" fmla="*/ 815340 w 2080260"/>
                  <a:gd name="connsiteY16" fmla="*/ 678180 h 932460"/>
                  <a:gd name="connsiteX17" fmla="*/ 853440 w 2080260"/>
                  <a:gd name="connsiteY17" fmla="*/ 701040 h 932460"/>
                  <a:gd name="connsiteX18" fmla="*/ 883920 w 2080260"/>
                  <a:gd name="connsiteY18" fmla="*/ 708660 h 932460"/>
                  <a:gd name="connsiteX19" fmla="*/ 967740 w 2080260"/>
                  <a:gd name="connsiteY19" fmla="*/ 746760 h 932460"/>
                  <a:gd name="connsiteX20" fmla="*/ 990600 w 2080260"/>
                  <a:gd name="connsiteY20" fmla="*/ 754380 h 932460"/>
                  <a:gd name="connsiteX21" fmla="*/ 1089660 w 2080260"/>
                  <a:gd name="connsiteY21" fmla="*/ 800100 h 932460"/>
                  <a:gd name="connsiteX22" fmla="*/ 1173480 w 2080260"/>
                  <a:gd name="connsiteY22" fmla="*/ 822960 h 932460"/>
                  <a:gd name="connsiteX23" fmla="*/ 1211580 w 2080260"/>
                  <a:gd name="connsiteY23" fmla="*/ 830580 h 932460"/>
                  <a:gd name="connsiteX24" fmla="*/ 1272540 w 2080260"/>
                  <a:gd name="connsiteY24" fmla="*/ 853440 h 932460"/>
                  <a:gd name="connsiteX25" fmla="*/ 1325880 w 2080260"/>
                  <a:gd name="connsiteY25" fmla="*/ 861060 h 932460"/>
                  <a:gd name="connsiteX26" fmla="*/ 1516380 w 2080260"/>
                  <a:gd name="connsiteY26" fmla="*/ 899160 h 932460"/>
                  <a:gd name="connsiteX27" fmla="*/ 1584960 w 2080260"/>
                  <a:gd name="connsiteY27" fmla="*/ 906780 h 932460"/>
                  <a:gd name="connsiteX28" fmla="*/ 1965960 w 2080260"/>
                  <a:gd name="connsiteY28" fmla="*/ 914400 h 932460"/>
                  <a:gd name="connsiteX29" fmla="*/ 1996440 w 2080260"/>
                  <a:gd name="connsiteY29" fmla="*/ 899160 h 932460"/>
                  <a:gd name="connsiteX30" fmla="*/ 2042160 w 2080260"/>
                  <a:gd name="connsiteY30" fmla="*/ 883920 h 932460"/>
                  <a:gd name="connsiteX31" fmla="*/ 2080260 w 2080260"/>
                  <a:gd name="connsiteY31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990600 w 2080260"/>
                  <a:gd name="connsiteY19" fmla="*/ 754380 h 932460"/>
                  <a:gd name="connsiteX20" fmla="*/ 1089660 w 2080260"/>
                  <a:gd name="connsiteY20" fmla="*/ 800100 h 932460"/>
                  <a:gd name="connsiteX21" fmla="*/ 1173480 w 2080260"/>
                  <a:gd name="connsiteY21" fmla="*/ 822960 h 932460"/>
                  <a:gd name="connsiteX22" fmla="*/ 1211580 w 2080260"/>
                  <a:gd name="connsiteY22" fmla="*/ 830580 h 932460"/>
                  <a:gd name="connsiteX23" fmla="*/ 1272540 w 2080260"/>
                  <a:gd name="connsiteY23" fmla="*/ 853440 h 932460"/>
                  <a:gd name="connsiteX24" fmla="*/ 1325880 w 2080260"/>
                  <a:gd name="connsiteY24" fmla="*/ 861060 h 932460"/>
                  <a:gd name="connsiteX25" fmla="*/ 1516380 w 2080260"/>
                  <a:gd name="connsiteY25" fmla="*/ 899160 h 932460"/>
                  <a:gd name="connsiteX26" fmla="*/ 1584960 w 2080260"/>
                  <a:gd name="connsiteY26" fmla="*/ 906780 h 932460"/>
                  <a:gd name="connsiteX27" fmla="*/ 1965960 w 2080260"/>
                  <a:gd name="connsiteY27" fmla="*/ 914400 h 932460"/>
                  <a:gd name="connsiteX28" fmla="*/ 1996440 w 2080260"/>
                  <a:gd name="connsiteY28" fmla="*/ 899160 h 932460"/>
                  <a:gd name="connsiteX29" fmla="*/ 2042160 w 2080260"/>
                  <a:gd name="connsiteY29" fmla="*/ 883920 h 932460"/>
                  <a:gd name="connsiteX30" fmla="*/ 2080260 w 2080260"/>
                  <a:gd name="connsiteY30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990600 w 2080260"/>
                  <a:gd name="connsiteY19" fmla="*/ 754380 h 932460"/>
                  <a:gd name="connsiteX20" fmla="*/ 1173480 w 2080260"/>
                  <a:gd name="connsiteY20" fmla="*/ 822960 h 932460"/>
                  <a:gd name="connsiteX21" fmla="*/ 1211580 w 2080260"/>
                  <a:gd name="connsiteY21" fmla="*/ 830580 h 932460"/>
                  <a:gd name="connsiteX22" fmla="*/ 1272540 w 2080260"/>
                  <a:gd name="connsiteY22" fmla="*/ 853440 h 932460"/>
                  <a:gd name="connsiteX23" fmla="*/ 1325880 w 2080260"/>
                  <a:gd name="connsiteY23" fmla="*/ 861060 h 932460"/>
                  <a:gd name="connsiteX24" fmla="*/ 1516380 w 2080260"/>
                  <a:gd name="connsiteY24" fmla="*/ 899160 h 932460"/>
                  <a:gd name="connsiteX25" fmla="*/ 1584960 w 2080260"/>
                  <a:gd name="connsiteY25" fmla="*/ 906780 h 932460"/>
                  <a:gd name="connsiteX26" fmla="*/ 1965960 w 2080260"/>
                  <a:gd name="connsiteY26" fmla="*/ 914400 h 932460"/>
                  <a:gd name="connsiteX27" fmla="*/ 1996440 w 2080260"/>
                  <a:gd name="connsiteY27" fmla="*/ 899160 h 932460"/>
                  <a:gd name="connsiteX28" fmla="*/ 2042160 w 2080260"/>
                  <a:gd name="connsiteY28" fmla="*/ 883920 h 932460"/>
                  <a:gd name="connsiteX29" fmla="*/ 2080260 w 2080260"/>
                  <a:gd name="connsiteY29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1173480 w 2080260"/>
                  <a:gd name="connsiteY19" fmla="*/ 822960 h 932460"/>
                  <a:gd name="connsiteX20" fmla="*/ 1211580 w 2080260"/>
                  <a:gd name="connsiteY20" fmla="*/ 830580 h 932460"/>
                  <a:gd name="connsiteX21" fmla="*/ 1272540 w 2080260"/>
                  <a:gd name="connsiteY21" fmla="*/ 853440 h 932460"/>
                  <a:gd name="connsiteX22" fmla="*/ 1325880 w 2080260"/>
                  <a:gd name="connsiteY22" fmla="*/ 861060 h 932460"/>
                  <a:gd name="connsiteX23" fmla="*/ 1516380 w 2080260"/>
                  <a:gd name="connsiteY23" fmla="*/ 899160 h 932460"/>
                  <a:gd name="connsiteX24" fmla="*/ 1584960 w 2080260"/>
                  <a:gd name="connsiteY24" fmla="*/ 906780 h 932460"/>
                  <a:gd name="connsiteX25" fmla="*/ 1965960 w 2080260"/>
                  <a:gd name="connsiteY25" fmla="*/ 914400 h 932460"/>
                  <a:gd name="connsiteX26" fmla="*/ 1996440 w 2080260"/>
                  <a:gd name="connsiteY26" fmla="*/ 899160 h 932460"/>
                  <a:gd name="connsiteX27" fmla="*/ 2042160 w 2080260"/>
                  <a:gd name="connsiteY27" fmla="*/ 883920 h 932460"/>
                  <a:gd name="connsiteX28" fmla="*/ 2080260 w 2080260"/>
                  <a:gd name="connsiteY28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1211580 w 2080260"/>
                  <a:gd name="connsiteY19" fmla="*/ 830580 h 932460"/>
                  <a:gd name="connsiteX20" fmla="*/ 1272540 w 2080260"/>
                  <a:gd name="connsiteY20" fmla="*/ 853440 h 932460"/>
                  <a:gd name="connsiteX21" fmla="*/ 1325880 w 2080260"/>
                  <a:gd name="connsiteY21" fmla="*/ 861060 h 932460"/>
                  <a:gd name="connsiteX22" fmla="*/ 1516380 w 2080260"/>
                  <a:gd name="connsiteY22" fmla="*/ 899160 h 932460"/>
                  <a:gd name="connsiteX23" fmla="*/ 1584960 w 2080260"/>
                  <a:gd name="connsiteY23" fmla="*/ 906780 h 932460"/>
                  <a:gd name="connsiteX24" fmla="*/ 1965960 w 2080260"/>
                  <a:gd name="connsiteY24" fmla="*/ 914400 h 932460"/>
                  <a:gd name="connsiteX25" fmla="*/ 1996440 w 2080260"/>
                  <a:gd name="connsiteY25" fmla="*/ 899160 h 932460"/>
                  <a:gd name="connsiteX26" fmla="*/ 2042160 w 2080260"/>
                  <a:gd name="connsiteY26" fmla="*/ 883920 h 932460"/>
                  <a:gd name="connsiteX27" fmla="*/ 2080260 w 2080260"/>
                  <a:gd name="connsiteY27" fmla="*/ 845820 h 932460"/>
                  <a:gd name="connsiteX0" fmla="*/ 0 w 2080260"/>
                  <a:gd name="connsiteY0" fmla="*/ 0 h 906780"/>
                  <a:gd name="connsiteX1" fmla="*/ 22860 w 2080260"/>
                  <a:gd name="connsiteY1" fmla="*/ 38100 h 906780"/>
                  <a:gd name="connsiteX2" fmla="*/ 45720 w 2080260"/>
                  <a:gd name="connsiteY2" fmla="*/ 68580 h 906780"/>
                  <a:gd name="connsiteX3" fmla="*/ 60960 w 2080260"/>
                  <a:gd name="connsiteY3" fmla="*/ 106680 h 906780"/>
                  <a:gd name="connsiteX4" fmla="*/ 83820 w 2080260"/>
                  <a:gd name="connsiteY4" fmla="*/ 137160 h 906780"/>
                  <a:gd name="connsiteX5" fmla="*/ 106680 w 2080260"/>
                  <a:gd name="connsiteY5" fmla="*/ 175260 h 906780"/>
                  <a:gd name="connsiteX6" fmla="*/ 144780 w 2080260"/>
                  <a:gd name="connsiteY6" fmla="*/ 236220 h 906780"/>
                  <a:gd name="connsiteX7" fmla="*/ 373380 w 2080260"/>
                  <a:gd name="connsiteY7" fmla="*/ 411480 h 906780"/>
                  <a:gd name="connsiteX8" fmla="*/ 457200 w 2080260"/>
                  <a:gd name="connsiteY8" fmla="*/ 472440 h 906780"/>
                  <a:gd name="connsiteX9" fmla="*/ 472440 w 2080260"/>
                  <a:gd name="connsiteY9" fmla="*/ 510540 h 906780"/>
                  <a:gd name="connsiteX10" fmla="*/ 541020 w 2080260"/>
                  <a:gd name="connsiteY10" fmla="*/ 556260 h 906780"/>
                  <a:gd name="connsiteX11" fmla="*/ 670560 w 2080260"/>
                  <a:gd name="connsiteY11" fmla="*/ 601980 h 906780"/>
                  <a:gd name="connsiteX12" fmla="*/ 716280 w 2080260"/>
                  <a:gd name="connsiteY12" fmla="*/ 624840 h 906780"/>
                  <a:gd name="connsiteX13" fmla="*/ 739140 w 2080260"/>
                  <a:gd name="connsiteY13" fmla="*/ 632460 h 906780"/>
                  <a:gd name="connsiteX14" fmla="*/ 784860 w 2080260"/>
                  <a:gd name="connsiteY14" fmla="*/ 662940 h 906780"/>
                  <a:gd name="connsiteX15" fmla="*/ 815340 w 2080260"/>
                  <a:gd name="connsiteY15" fmla="*/ 678180 h 906780"/>
                  <a:gd name="connsiteX16" fmla="*/ 853440 w 2080260"/>
                  <a:gd name="connsiteY16" fmla="*/ 701040 h 906780"/>
                  <a:gd name="connsiteX17" fmla="*/ 883920 w 2080260"/>
                  <a:gd name="connsiteY17" fmla="*/ 708660 h 906780"/>
                  <a:gd name="connsiteX18" fmla="*/ 967740 w 2080260"/>
                  <a:gd name="connsiteY18" fmla="*/ 746760 h 906780"/>
                  <a:gd name="connsiteX19" fmla="*/ 1211580 w 2080260"/>
                  <a:gd name="connsiteY19" fmla="*/ 830580 h 906780"/>
                  <a:gd name="connsiteX20" fmla="*/ 1272540 w 2080260"/>
                  <a:gd name="connsiteY20" fmla="*/ 853440 h 906780"/>
                  <a:gd name="connsiteX21" fmla="*/ 1325880 w 2080260"/>
                  <a:gd name="connsiteY21" fmla="*/ 861060 h 906780"/>
                  <a:gd name="connsiteX22" fmla="*/ 1516380 w 2080260"/>
                  <a:gd name="connsiteY22" fmla="*/ 899160 h 906780"/>
                  <a:gd name="connsiteX23" fmla="*/ 1584960 w 2080260"/>
                  <a:gd name="connsiteY23" fmla="*/ 906780 h 906780"/>
                  <a:gd name="connsiteX24" fmla="*/ 1996440 w 2080260"/>
                  <a:gd name="connsiteY24" fmla="*/ 899160 h 906780"/>
                  <a:gd name="connsiteX25" fmla="*/ 2042160 w 2080260"/>
                  <a:gd name="connsiteY25" fmla="*/ 883920 h 906780"/>
                  <a:gd name="connsiteX26" fmla="*/ 2080260 w 2080260"/>
                  <a:gd name="connsiteY26" fmla="*/ 845820 h 906780"/>
                  <a:gd name="connsiteX0" fmla="*/ 0 w 2080260"/>
                  <a:gd name="connsiteY0" fmla="*/ 0 h 906780"/>
                  <a:gd name="connsiteX1" fmla="*/ 22860 w 2080260"/>
                  <a:gd name="connsiteY1" fmla="*/ 38100 h 906780"/>
                  <a:gd name="connsiteX2" fmla="*/ 45720 w 2080260"/>
                  <a:gd name="connsiteY2" fmla="*/ 68580 h 906780"/>
                  <a:gd name="connsiteX3" fmla="*/ 60960 w 2080260"/>
                  <a:gd name="connsiteY3" fmla="*/ 106680 h 906780"/>
                  <a:gd name="connsiteX4" fmla="*/ 83820 w 2080260"/>
                  <a:gd name="connsiteY4" fmla="*/ 137160 h 906780"/>
                  <a:gd name="connsiteX5" fmla="*/ 106680 w 2080260"/>
                  <a:gd name="connsiteY5" fmla="*/ 175260 h 906780"/>
                  <a:gd name="connsiteX6" fmla="*/ 144780 w 2080260"/>
                  <a:gd name="connsiteY6" fmla="*/ 236220 h 906780"/>
                  <a:gd name="connsiteX7" fmla="*/ 373380 w 2080260"/>
                  <a:gd name="connsiteY7" fmla="*/ 411480 h 906780"/>
                  <a:gd name="connsiteX8" fmla="*/ 457200 w 2080260"/>
                  <a:gd name="connsiteY8" fmla="*/ 472440 h 906780"/>
                  <a:gd name="connsiteX9" fmla="*/ 472440 w 2080260"/>
                  <a:gd name="connsiteY9" fmla="*/ 510540 h 906780"/>
                  <a:gd name="connsiteX10" fmla="*/ 541020 w 2080260"/>
                  <a:gd name="connsiteY10" fmla="*/ 556260 h 906780"/>
                  <a:gd name="connsiteX11" fmla="*/ 670560 w 2080260"/>
                  <a:gd name="connsiteY11" fmla="*/ 601980 h 906780"/>
                  <a:gd name="connsiteX12" fmla="*/ 716280 w 2080260"/>
                  <a:gd name="connsiteY12" fmla="*/ 624840 h 906780"/>
                  <a:gd name="connsiteX13" fmla="*/ 739140 w 2080260"/>
                  <a:gd name="connsiteY13" fmla="*/ 632460 h 906780"/>
                  <a:gd name="connsiteX14" fmla="*/ 784860 w 2080260"/>
                  <a:gd name="connsiteY14" fmla="*/ 662940 h 906780"/>
                  <a:gd name="connsiteX15" fmla="*/ 815340 w 2080260"/>
                  <a:gd name="connsiteY15" fmla="*/ 678180 h 906780"/>
                  <a:gd name="connsiteX16" fmla="*/ 853440 w 2080260"/>
                  <a:gd name="connsiteY16" fmla="*/ 701040 h 906780"/>
                  <a:gd name="connsiteX17" fmla="*/ 883920 w 2080260"/>
                  <a:gd name="connsiteY17" fmla="*/ 708660 h 906780"/>
                  <a:gd name="connsiteX18" fmla="*/ 967740 w 2080260"/>
                  <a:gd name="connsiteY18" fmla="*/ 746760 h 906780"/>
                  <a:gd name="connsiteX19" fmla="*/ 1211580 w 2080260"/>
                  <a:gd name="connsiteY19" fmla="*/ 830580 h 906780"/>
                  <a:gd name="connsiteX20" fmla="*/ 1272540 w 2080260"/>
                  <a:gd name="connsiteY20" fmla="*/ 853440 h 906780"/>
                  <a:gd name="connsiteX21" fmla="*/ 1325880 w 2080260"/>
                  <a:gd name="connsiteY21" fmla="*/ 861060 h 906780"/>
                  <a:gd name="connsiteX22" fmla="*/ 1516380 w 2080260"/>
                  <a:gd name="connsiteY22" fmla="*/ 899160 h 906780"/>
                  <a:gd name="connsiteX23" fmla="*/ 1584960 w 2080260"/>
                  <a:gd name="connsiteY23" fmla="*/ 906780 h 906780"/>
                  <a:gd name="connsiteX24" fmla="*/ 1953578 w 2080260"/>
                  <a:gd name="connsiteY24" fmla="*/ 880110 h 906780"/>
                  <a:gd name="connsiteX25" fmla="*/ 2042160 w 2080260"/>
                  <a:gd name="connsiteY25" fmla="*/ 883920 h 906780"/>
                  <a:gd name="connsiteX26" fmla="*/ 2080260 w 2080260"/>
                  <a:gd name="connsiteY26" fmla="*/ 845820 h 906780"/>
                  <a:gd name="connsiteX0" fmla="*/ 0 w 2080260"/>
                  <a:gd name="connsiteY0" fmla="*/ 0 h 906780"/>
                  <a:gd name="connsiteX1" fmla="*/ 22860 w 2080260"/>
                  <a:gd name="connsiteY1" fmla="*/ 38100 h 906780"/>
                  <a:gd name="connsiteX2" fmla="*/ 45720 w 2080260"/>
                  <a:gd name="connsiteY2" fmla="*/ 68580 h 906780"/>
                  <a:gd name="connsiteX3" fmla="*/ 60960 w 2080260"/>
                  <a:gd name="connsiteY3" fmla="*/ 106680 h 906780"/>
                  <a:gd name="connsiteX4" fmla="*/ 83820 w 2080260"/>
                  <a:gd name="connsiteY4" fmla="*/ 137160 h 906780"/>
                  <a:gd name="connsiteX5" fmla="*/ 106680 w 2080260"/>
                  <a:gd name="connsiteY5" fmla="*/ 175260 h 906780"/>
                  <a:gd name="connsiteX6" fmla="*/ 144780 w 2080260"/>
                  <a:gd name="connsiteY6" fmla="*/ 236220 h 906780"/>
                  <a:gd name="connsiteX7" fmla="*/ 373380 w 2080260"/>
                  <a:gd name="connsiteY7" fmla="*/ 411480 h 906780"/>
                  <a:gd name="connsiteX8" fmla="*/ 457200 w 2080260"/>
                  <a:gd name="connsiteY8" fmla="*/ 472440 h 906780"/>
                  <a:gd name="connsiteX9" fmla="*/ 472440 w 2080260"/>
                  <a:gd name="connsiteY9" fmla="*/ 510540 h 906780"/>
                  <a:gd name="connsiteX10" fmla="*/ 541020 w 2080260"/>
                  <a:gd name="connsiteY10" fmla="*/ 556260 h 906780"/>
                  <a:gd name="connsiteX11" fmla="*/ 670560 w 2080260"/>
                  <a:gd name="connsiteY11" fmla="*/ 601980 h 906780"/>
                  <a:gd name="connsiteX12" fmla="*/ 716280 w 2080260"/>
                  <a:gd name="connsiteY12" fmla="*/ 624840 h 906780"/>
                  <a:gd name="connsiteX13" fmla="*/ 739140 w 2080260"/>
                  <a:gd name="connsiteY13" fmla="*/ 632460 h 906780"/>
                  <a:gd name="connsiteX14" fmla="*/ 784860 w 2080260"/>
                  <a:gd name="connsiteY14" fmla="*/ 662940 h 906780"/>
                  <a:gd name="connsiteX15" fmla="*/ 815340 w 2080260"/>
                  <a:gd name="connsiteY15" fmla="*/ 678180 h 906780"/>
                  <a:gd name="connsiteX16" fmla="*/ 853440 w 2080260"/>
                  <a:gd name="connsiteY16" fmla="*/ 701040 h 906780"/>
                  <a:gd name="connsiteX17" fmla="*/ 883920 w 2080260"/>
                  <a:gd name="connsiteY17" fmla="*/ 708660 h 906780"/>
                  <a:gd name="connsiteX18" fmla="*/ 967740 w 2080260"/>
                  <a:gd name="connsiteY18" fmla="*/ 746760 h 906780"/>
                  <a:gd name="connsiteX19" fmla="*/ 1211580 w 2080260"/>
                  <a:gd name="connsiteY19" fmla="*/ 830580 h 906780"/>
                  <a:gd name="connsiteX20" fmla="*/ 1272540 w 2080260"/>
                  <a:gd name="connsiteY20" fmla="*/ 853440 h 906780"/>
                  <a:gd name="connsiteX21" fmla="*/ 1325880 w 2080260"/>
                  <a:gd name="connsiteY21" fmla="*/ 861060 h 906780"/>
                  <a:gd name="connsiteX22" fmla="*/ 1516380 w 2080260"/>
                  <a:gd name="connsiteY22" fmla="*/ 899160 h 906780"/>
                  <a:gd name="connsiteX23" fmla="*/ 1584960 w 2080260"/>
                  <a:gd name="connsiteY23" fmla="*/ 906780 h 906780"/>
                  <a:gd name="connsiteX24" fmla="*/ 1953578 w 2080260"/>
                  <a:gd name="connsiteY24" fmla="*/ 880110 h 906780"/>
                  <a:gd name="connsiteX25" fmla="*/ 2027873 w 2080260"/>
                  <a:gd name="connsiteY25" fmla="*/ 841058 h 906780"/>
                  <a:gd name="connsiteX26" fmla="*/ 2080260 w 2080260"/>
                  <a:gd name="connsiteY26" fmla="*/ 845820 h 906780"/>
                  <a:gd name="connsiteX0" fmla="*/ 0 w 2027873"/>
                  <a:gd name="connsiteY0" fmla="*/ 0 h 906780"/>
                  <a:gd name="connsiteX1" fmla="*/ 22860 w 2027873"/>
                  <a:gd name="connsiteY1" fmla="*/ 38100 h 906780"/>
                  <a:gd name="connsiteX2" fmla="*/ 45720 w 2027873"/>
                  <a:gd name="connsiteY2" fmla="*/ 68580 h 906780"/>
                  <a:gd name="connsiteX3" fmla="*/ 60960 w 2027873"/>
                  <a:gd name="connsiteY3" fmla="*/ 106680 h 906780"/>
                  <a:gd name="connsiteX4" fmla="*/ 83820 w 2027873"/>
                  <a:gd name="connsiteY4" fmla="*/ 137160 h 906780"/>
                  <a:gd name="connsiteX5" fmla="*/ 106680 w 2027873"/>
                  <a:gd name="connsiteY5" fmla="*/ 175260 h 906780"/>
                  <a:gd name="connsiteX6" fmla="*/ 144780 w 2027873"/>
                  <a:gd name="connsiteY6" fmla="*/ 236220 h 906780"/>
                  <a:gd name="connsiteX7" fmla="*/ 373380 w 2027873"/>
                  <a:gd name="connsiteY7" fmla="*/ 411480 h 906780"/>
                  <a:gd name="connsiteX8" fmla="*/ 457200 w 2027873"/>
                  <a:gd name="connsiteY8" fmla="*/ 472440 h 906780"/>
                  <a:gd name="connsiteX9" fmla="*/ 472440 w 2027873"/>
                  <a:gd name="connsiteY9" fmla="*/ 510540 h 906780"/>
                  <a:gd name="connsiteX10" fmla="*/ 541020 w 2027873"/>
                  <a:gd name="connsiteY10" fmla="*/ 556260 h 906780"/>
                  <a:gd name="connsiteX11" fmla="*/ 670560 w 2027873"/>
                  <a:gd name="connsiteY11" fmla="*/ 601980 h 906780"/>
                  <a:gd name="connsiteX12" fmla="*/ 716280 w 2027873"/>
                  <a:gd name="connsiteY12" fmla="*/ 624840 h 906780"/>
                  <a:gd name="connsiteX13" fmla="*/ 739140 w 2027873"/>
                  <a:gd name="connsiteY13" fmla="*/ 632460 h 906780"/>
                  <a:gd name="connsiteX14" fmla="*/ 784860 w 2027873"/>
                  <a:gd name="connsiteY14" fmla="*/ 662940 h 906780"/>
                  <a:gd name="connsiteX15" fmla="*/ 815340 w 2027873"/>
                  <a:gd name="connsiteY15" fmla="*/ 678180 h 906780"/>
                  <a:gd name="connsiteX16" fmla="*/ 853440 w 2027873"/>
                  <a:gd name="connsiteY16" fmla="*/ 701040 h 906780"/>
                  <a:gd name="connsiteX17" fmla="*/ 883920 w 2027873"/>
                  <a:gd name="connsiteY17" fmla="*/ 708660 h 906780"/>
                  <a:gd name="connsiteX18" fmla="*/ 967740 w 2027873"/>
                  <a:gd name="connsiteY18" fmla="*/ 746760 h 906780"/>
                  <a:gd name="connsiteX19" fmla="*/ 1211580 w 2027873"/>
                  <a:gd name="connsiteY19" fmla="*/ 830580 h 906780"/>
                  <a:gd name="connsiteX20" fmla="*/ 1272540 w 2027873"/>
                  <a:gd name="connsiteY20" fmla="*/ 853440 h 906780"/>
                  <a:gd name="connsiteX21" fmla="*/ 1325880 w 2027873"/>
                  <a:gd name="connsiteY21" fmla="*/ 861060 h 906780"/>
                  <a:gd name="connsiteX22" fmla="*/ 1516380 w 2027873"/>
                  <a:gd name="connsiteY22" fmla="*/ 899160 h 906780"/>
                  <a:gd name="connsiteX23" fmla="*/ 1584960 w 2027873"/>
                  <a:gd name="connsiteY23" fmla="*/ 906780 h 906780"/>
                  <a:gd name="connsiteX24" fmla="*/ 1953578 w 2027873"/>
                  <a:gd name="connsiteY24" fmla="*/ 880110 h 906780"/>
                  <a:gd name="connsiteX25" fmla="*/ 2027873 w 2027873"/>
                  <a:gd name="connsiteY25" fmla="*/ 84105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373380 w 2056448"/>
                  <a:gd name="connsiteY7" fmla="*/ 411480 h 906780"/>
                  <a:gd name="connsiteX8" fmla="*/ 457200 w 2056448"/>
                  <a:gd name="connsiteY8" fmla="*/ 472440 h 906780"/>
                  <a:gd name="connsiteX9" fmla="*/ 472440 w 2056448"/>
                  <a:gd name="connsiteY9" fmla="*/ 510540 h 906780"/>
                  <a:gd name="connsiteX10" fmla="*/ 541020 w 2056448"/>
                  <a:gd name="connsiteY10" fmla="*/ 556260 h 906780"/>
                  <a:gd name="connsiteX11" fmla="*/ 670560 w 2056448"/>
                  <a:gd name="connsiteY11" fmla="*/ 601980 h 906780"/>
                  <a:gd name="connsiteX12" fmla="*/ 716280 w 2056448"/>
                  <a:gd name="connsiteY12" fmla="*/ 624840 h 906780"/>
                  <a:gd name="connsiteX13" fmla="*/ 739140 w 2056448"/>
                  <a:gd name="connsiteY13" fmla="*/ 632460 h 906780"/>
                  <a:gd name="connsiteX14" fmla="*/ 784860 w 2056448"/>
                  <a:gd name="connsiteY14" fmla="*/ 662940 h 906780"/>
                  <a:gd name="connsiteX15" fmla="*/ 815340 w 2056448"/>
                  <a:gd name="connsiteY15" fmla="*/ 678180 h 906780"/>
                  <a:gd name="connsiteX16" fmla="*/ 853440 w 2056448"/>
                  <a:gd name="connsiteY16" fmla="*/ 701040 h 906780"/>
                  <a:gd name="connsiteX17" fmla="*/ 883920 w 2056448"/>
                  <a:gd name="connsiteY17" fmla="*/ 708660 h 906780"/>
                  <a:gd name="connsiteX18" fmla="*/ 967740 w 2056448"/>
                  <a:gd name="connsiteY18" fmla="*/ 746760 h 906780"/>
                  <a:gd name="connsiteX19" fmla="*/ 1211580 w 2056448"/>
                  <a:gd name="connsiteY19" fmla="*/ 830580 h 906780"/>
                  <a:gd name="connsiteX20" fmla="*/ 1272540 w 2056448"/>
                  <a:gd name="connsiteY20" fmla="*/ 853440 h 906780"/>
                  <a:gd name="connsiteX21" fmla="*/ 1325880 w 2056448"/>
                  <a:gd name="connsiteY21" fmla="*/ 861060 h 906780"/>
                  <a:gd name="connsiteX22" fmla="*/ 1516380 w 2056448"/>
                  <a:gd name="connsiteY22" fmla="*/ 899160 h 906780"/>
                  <a:gd name="connsiteX23" fmla="*/ 1584960 w 2056448"/>
                  <a:gd name="connsiteY23" fmla="*/ 906780 h 906780"/>
                  <a:gd name="connsiteX24" fmla="*/ 1953578 w 2056448"/>
                  <a:gd name="connsiteY24" fmla="*/ 880110 h 906780"/>
                  <a:gd name="connsiteX25" fmla="*/ 2056448 w 2056448"/>
                  <a:gd name="connsiteY25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373380 w 2056448"/>
                  <a:gd name="connsiteY7" fmla="*/ 411480 h 906780"/>
                  <a:gd name="connsiteX8" fmla="*/ 457200 w 2056448"/>
                  <a:gd name="connsiteY8" fmla="*/ 472440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16280 w 2056448"/>
                  <a:gd name="connsiteY11" fmla="*/ 624840 h 906780"/>
                  <a:gd name="connsiteX12" fmla="*/ 739140 w 2056448"/>
                  <a:gd name="connsiteY12" fmla="*/ 632460 h 906780"/>
                  <a:gd name="connsiteX13" fmla="*/ 784860 w 2056448"/>
                  <a:gd name="connsiteY13" fmla="*/ 662940 h 906780"/>
                  <a:gd name="connsiteX14" fmla="*/ 815340 w 2056448"/>
                  <a:gd name="connsiteY14" fmla="*/ 678180 h 906780"/>
                  <a:gd name="connsiteX15" fmla="*/ 853440 w 2056448"/>
                  <a:gd name="connsiteY15" fmla="*/ 701040 h 906780"/>
                  <a:gd name="connsiteX16" fmla="*/ 883920 w 2056448"/>
                  <a:gd name="connsiteY16" fmla="*/ 708660 h 906780"/>
                  <a:gd name="connsiteX17" fmla="*/ 967740 w 2056448"/>
                  <a:gd name="connsiteY17" fmla="*/ 746760 h 906780"/>
                  <a:gd name="connsiteX18" fmla="*/ 1211580 w 2056448"/>
                  <a:gd name="connsiteY18" fmla="*/ 830580 h 906780"/>
                  <a:gd name="connsiteX19" fmla="*/ 1272540 w 2056448"/>
                  <a:gd name="connsiteY19" fmla="*/ 853440 h 906780"/>
                  <a:gd name="connsiteX20" fmla="*/ 1325880 w 2056448"/>
                  <a:gd name="connsiteY20" fmla="*/ 861060 h 906780"/>
                  <a:gd name="connsiteX21" fmla="*/ 1516380 w 2056448"/>
                  <a:gd name="connsiteY21" fmla="*/ 899160 h 906780"/>
                  <a:gd name="connsiteX22" fmla="*/ 1584960 w 2056448"/>
                  <a:gd name="connsiteY22" fmla="*/ 906780 h 906780"/>
                  <a:gd name="connsiteX23" fmla="*/ 1953578 w 2056448"/>
                  <a:gd name="connsiteY23" fmla="*/ 880110 h 906780"/>
                  <a:gd name="connsiteX24" fmla="*/ 2056448 w 2056448"/>
                  <a:gd name="connsiteY24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373380 w 2056448"/>
                  <a:gd name="connsiteY7" fmla="*/ 41148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16280 w 2056448"/>
                  <a:gd name="connsiteY11" fmla="*/ 624840 h 906780"/>
                  <a:gd name="connsiteX12" fmla="*/ 739140 w 2056448"/>
                  <a:gd name="connsiteY12" fmla="*/ 632460 h 906780"/>
                  <a:gd name="connsiteX13" fmla="*/ 784860 w 2056448"/>
                  <a:gd name="connsiteY13" fmla="*/ 662940 h 906780"/>
                  <a:gd name="connsiteX14" fmla="*/ 815340 w 2056448"/>
                  <a:gd name="connsiteY14" fmla="*/ 678180 h 906780"/>
                  <a:gd name="connsiteX15" fmla="*/ 853440 w 2056448"/>
                  <a:gd name="connsiteY15" fmla="*/ 701040 h 906780"/>
                  <a:gd name="connsiteX16" fmla="*/ 883920 w 2056448"/>
                  <a:gd name="connsiteY16" fmla="*/ 708660 h 906780"/>
                  <a:gd name="connsiteX17" fmla="*/ 967740 w 2056448"/>
                  <a:gd name="connsiteY17" fmla="*/ 746760 h 906780"/>
                  <a:gd name="connsiteX18" fmla="*/ 1211580 w 2056448"/>
                  <a:gd name="connsiteY18" fmla="*/ 830580 h 906780"/>
                  <a:gd name="connsiteX19" fmla="*/ 1272540 w 2056448"/>
                  <a:gd name="connsiteY19" fmla="*/ 853440 h 906780"/>
                  <a:gd name="connsiteX20" fmla="*/ 1325880 w 2056448"/>
                  <a:gd name="connsiteY20" fmla="*/ 861060 h 906780"/>
                  <a:gd name="connsiteX21" fmla="*/ 1516380 w 2056448"/>
                  <a:gd name="connsiteY21" fmla="*/ 899160 h 906780"/>
                  <a:gd name="connsiteX22" fmla="*/ 1584960 w 2056448"/>
                  <a:gd name="connsiteY22" fmla="*/ 906780 h 906780"/>
                  <a:gd name="connsiteX23" fmla="*/ 1953578 w 2056448"/>
                  <a:gd name="connsiteY23" fmla="*/ 880110 h 906780"/>
                  <a:gd name="connsiteX24" fmla="*/ 2056448 w 2056448"/>
                  <a:gd name="connsiteY24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16280 w 2056448"/>
                  <a:gd name="connsiteY11" fmla="*/ 624840 h 906780"/>
                  <a:gd name="connsiteX12" fmla="*/ 739140 w 2056448"/>
                  <a:gd name="connsiteY12" fmla="*/ 632460 h 906780"/>
                  <a:gd name="connsiteX13" fmla="*/ 784860 w 2056448"/>
                  <a:gd name="connsiteY13" fmla="*/ 662940 h 906780"/>
                  <a:gd name="connsiteX14" fmla="*/ 815340 w 2056448"/>
                  <a:gd name="connsiteY14" fmla="*/ 678180 h 906780"/>
                  <a:gd name="connsiteX15" fmla="*/ 853440 w 2056448"/>
                  <a:gd name="connsiteY15" fmla="*/ 701040 h 906780"/>
                  <a:gd name="connsiteX16" fmla="*/ 883920 w 2056448"/>
                  <a:gd name="connsiteY16" fmla="*/ 708660 h 906780"/>
                  <a:gd name="connsiteX17" fmla="*/ 967740 w 2056448"/>
                  <a:gd name="connsiteY17" fmla="*/ 746760 h 906780"/>
                  <a:gd name="connsiteX18" fmla="*/ 1211580 w 2056448"/>
                  <a:gd name="connsiteY18" fmla="*/ 830580 h 906780"/>
                  <a:gd name="connsiteX19" fmla="*/ 1272540 w 2056448"/>
                  <a:gd name="connsiteY19" fmla="*/ 853440 h 906780"/>
                  <a:gd name="connsiteX20" fmla="*/ 1325880 w 2056448"/>
                  <a:gd name="connsiteY20" fmla="*/ 861060 h 906780"/>
                  <a:gd name="connsiteX21" fmla="*/ 1516380 w 2056448"/>
                  <a:gd name="connsiteY21" fmla="*/ 899160 h 906780"/>
                  <a:gd name="connsiteX22" fmla="*/ 1584960 w 2056448"/>
                  <a:gd name="connsiteY22" fmla="*/ 906780 h 906780"/>
                  <a:gd name="connsiteX23" fmla="*/ 1953578 w 2056448"/>
                  <a:gd name="connsiteY23" fmla="*/ 880110 h 906780"/>
                  <a:gd name="connsiteX24" fmla="*/ 2056448 w 2056448"/>
                  <a:gd name="connsiteY24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39140 w 2056448"/>
                  <a:gd name="connsiteY11" fmla="*/ 632460 h 906780"/>
                  <a:gd name="connsiteX12" fmla="*/ 784860 w 2056448"/>
                  <a:gd name="connsiteY12" fmla="*/ 662940 h 906780"/>
                  <a:gd name="connsiteX13" fmla="*/ 815340 w 2056448"/>
                  <a:gd name="connsiteY13" fmla="*/ 678180 h 906780"/>
                  <a:gd name="connsiteX14" fmla="*/ 853440 w 2056448"/>
                  <a:gd name="connsiteY14" fmla="*/ 701040 h 906780"/>
                  <a:gd name="connsiteX15" fmla="*/ 883920 w 2056448"/>
                  <a:gd name="connsiteY15" fmla="*/ 708660 h 906780"/>
                  <a:gd name="connsiteX16" fmla="*/ 967740 w 2056448"/>
                  <a:gd name="connsiteY16" fmla="*/ 746760 h 906780"/>
                  <a:gd name="connsiteX17" fmla="*/ 1211580 w 2056448"/>
                  <a:gd name="connsiteY17" fmla="*/ 830580 h 906780"/>
                  <a:gd name="connsiteX18" fmla="*/ 1272540 w 2056448"/>
                  <a:gd name="connsiteY18" fmla="*/ 853440 h 906780"/>
                  <a:gd name="connsiteX19" fmla="*/ 1325880 w 2056448"/>
                  <a:gd name="connsiteY19" fmla="*/ 861060 h 906780"/>
                  <a:gd name="connsiteX20" fmla="*/ 1516380 w 2056448"/>
                  <a:gd name="connsiteY20" fmla="*/ 899160 h 906780"/>
                  <a:gd name="connsiteX21" fmla="*/ 1584960 w 2056448"/>
                  <a:gd name="connsiteY21" fmla="*/ 906780 h 906780"/>
                  <a:gd name="connsiteX22" fmla="*/ 1953578 w 2056448"/>
                  <a:gd name="connsiteY22" fmla="*/ 880110 h 906780"/>
                  <a:gd name="connsiteX23" fmla="*/ 2056448 w 2056448"/>
                  <a:gd name="connsiteY23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39140 w 2056448"/>
                  <a:gd name="connsiteY11" fmla="*/ 632460 h 906780"/>
                  <a:gd name="connsiteX12" fmla="*/ 815340 w 2056448"/>
                  <a:gd name="connsiteY12" fmla="*/ 678180 h 906780"/>
                  <a:gd name="connsiteX13" fmla="*/ 853440 w 2056448"/>
                  <a:gd name="connsiteY13" fmla="*/ 701040 h 906780"/>
                  <a:gd name="connsiteX14" fmla="*/ 883920 w 2056448"/>
                  <a:gd name="connsiteY14" fmla="*/ 708660 h 906780"/>
                  <a:gd name="connsiteX15" fmla="*/ 967740 w 2056448"/>
                  <a:gd name="connsiteY15" fmla="*/ 746760 h 906780"/>
                  <a:gd name="connsiteX16" fmla="*/ 1211580 w 2056448"/>
                  <a:gd name="connsiteY16" fmla="*/ 830580 h 906780"/>
                  <a:gd name="connsiteX17" fmla="*/ 1272540 w 2056448"/>
                  <a:gd name="connsiteY17" fmla="*/ 853440 h 906780"/>
                  <a:gd name="connsiteX18" fmla="*/ 1325880 w 2056448"/>
                  <a:gd name="connsiteY18" fmla="*/ 861060 h 906780"/>
                  <a:gd name="connsiteX19" fmla="*/ 1516380 w 2056448"/>
                  <a:gd name="connsiteY19" fmla="*/ 899160 h 906780"/>
                  <a:gd name="connsiteX20" fmla="*/ 1584960 w 2056448"/>
                  <a:gd name="connsiteY20" fmla="*/ 906780 h 906780"/>
                  <a:gd name="connsiteX21" fmla="*/ 1953578 w 2056448"/>
                  <a:gd name="connsiteY21" fmla="*/ 880110 h 906780"/>
                  <a:gd name="connsiteX22" fmla="*/ 2056448 w 2056448"/>
                  <a:gd name="connsiteY22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39140 w 2056448"/>
                  <a:gd name="connsiteY11" fmla="*/ 632460 h 906780"/>
                  <a:gd name="connsiteX12" fmla="*/ 815340 w 2056448"/>
                  <a:gd name="connsiteY12" fmla="*/ 678180 h 906780"/>
                  <a:gd name="connsiteX13" fmla="*/ 853440 w 2056448"/>
                  <a:gd name="connsiteY13" fmla="*/ 701040 h 906780"/>
                  <a:gd name="connsiteX14" fmla="*/ 967740 w 2056448"/>
                  <a:gd name="connsiteY14" fmla="*/ 746760 h 906780"/>
                  <a:gd name="connsiteX15" fmla="*/ 1211580 w 2056448"/>
                  <a:gd name="connsiteY15" fmla="*/ 830580 h 906780"/>
                  <a:gd name="connsiteX16" fmla="*/ 1272540 w 2056448"/>
                  <a:gd name="connsiteY16" fmla="*/ 853440 h 906780"/>
                  <a:gd name="connsiteX17" fmla="*/ 1325880 w 2056448"/>
                  <a:gd name="connsiteY17" fmla="*/ 861060 h 906780"/>
                  <a:gd name="connsiteX18" fmla="*/ 1516380 w 2056448"/>
                  <a:gd name="connsiteY18" fmla="*/ 899160 h 906780"/>
                  <a:gd name="connsiteX19" fmla="*/ 1584960 w 2056448"/>
                  <a:gd name="connsiteY19" fmla="*/ 906780 h 906780"/>
                  <a:gd name="connsiteX20" fmla="*/ 1953578 w 2056448"/>
                  <a:gd name="connsiteY20" fmla="*/ 880110 h 906780"/>
                  <a:gd name="connsiteX21" fmla="*/ 2056448 w 2056448"/>
                  <a:gd name="connsiteY21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815340 w 2056448"/>
                  <a:gd name="connsiteY11" fmla="*/ 678180 h 906780"/>
                  <a:gd name="connsiteX12" fmla="*/ 853440 w 2056448"/>
                  <a:gd name="connsiteY12" fmla="*/ 701040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80085 w 2056448"/>
                  <a:gd name="connsiteY10" fmla="*/ 625793 h 906780"/>
                  <a:gd name="connsiteX11" fmla="*/ 815340 w 2056448"/>
                  <a:gd name="connsiteY11" fmla="*/ 678180 h 906780"/>
                  <a:gd name="connsiteX12" fmla="*/ 853440 w 2056448"/>
                  <a:gd name="connsiteY12" fmla="*/ 701040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80085 w 2056448"/>
                  <a:gd name="connsiteY10" fmla="*/ 625793 h 906780"/>
                  <a:gd name="connsiteX11" fmla="*/ 810577 w 2056448"/>
                  <a:gd name="connsiteY11" fmla="*/ 697230 h 906780"/>
                  <a:gd name="connsiteX12" fmla="*/ 853440 w 2056448"/>
                  <a:gd name="connsiteY12" fmla="*/ 701040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80085 w 2056448"/>
                  <a:gd name="connsiteY10" fmla="*/ 625793 h 906780"/>
                  <a:gd name="connsiteX11" fmla="*/ 810577 w 2056448"/>
                  <a:gd name="connsiteY11" fmla="*/ 697230 h 906780"/>
                  <a:gd name="connsiteX12" fmla="*/ 882015 w 2056448"/>
                  <a:gd name="connsiteY12" fmla="*/ 748665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810577 w 2056448"/>
                  <a:gd name="connsiteY10" fmla="*/ 697230 h 906780"/>
                  <a:gd name="connsiteX11" fmla="*/ 882015 w 2056448"/>
                  <a:gd name="connsiteY11" fmla="*/ 748665 h 906780"/>
                  <a:gd name="connsiteX12" fmla="*/ 967740 w 2056448"/>
                  <a:gd name="connsiteY12" fmla="*/ 746760 h 906780"/>
                  <a:gd name="connsiteX13" fmla="*/ 1211580 w 2056448"/>
                  <a:gd name="connsiteY13" fmla="*/ 8305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967740 w 2056448"/>
                  <a:gd name="connsiteY12" fmla="*/ 746760 h 906780"/>
                  <a:gd name="connsiteX13" fmla="*/ 1211580 w 2056448"/>
                  <a:gd name="connsiteY13" fmla="*/ 8305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305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325880 w 2056448"/>
                  <a:gd name="connsiteY14" fmla="*/ 861060 h 906780"/>
                  <a:gd name="connsiteX15" fmla="*/ 1516380 w 2056448"/>
                  <a:gd name="connsiteY15" fmla="*/ 899160 h 906780"/>
                  <a:gd name="connsiteX16" fmla="*/ 1584960 w 2056448"/>
                  <a:gd name="connsiteY16" fmla="*/ 906780 h 906780"/>
                  <a:gd name="connsiteX17" fmla="*/ 1953578 w 2056448"/>
                  <a:gd name="connsiteY17" fmla="*/ 880110 h 906780"/>
                  <a:gd name="connsiteX18" fmla="*/ 2056448 w 2056448"/>
                  <a:gd name="connsiteY18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516380 w 2056448"/>
                  <a:gd name="connsiteY14" fmla="*/ 899160 h 906780"/>
                  <a:gd name="connsiteX15" fmla="*/ 1584960 w 2056448"/>
                  <a:gd name="connsiteY15" fmla="*/ 906780 h 906780"/>
                  <a:gd name="connsiteX16" fmla="*/ 1953578 w 2056448"/>
                  <a:gd name="connsiteY16" fmla="*/ 880110 h 906780"/>
                  <a:gd name="connsiteX17" fmla="*/ 2056448 w 2056448"/>
                  <a:gd name="connsiteY17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516380 w 2056448"/>
                  <a:gd name="connsiteY14" fmla="*/ 899160 h 906780"/>
                  <a:gd name="connsiteX15" fmla="*/ 1584960 w 2056448"/>
                  <a:gd name="connsiteY15" fmla="*/ 906780 h 906780"/>
                  <a:gd name="connsiteX16" fmla="*/ 1953578 w 2056448"/>
                  <a:gd name="connsiteY16" fmla="*/ 880110 h 906780"/>
                  <a:gd name="connsiteX17" fmla="*/ 2056448 w 2056448"/>
                  <a:gd name="connsiteY17" fmla="*/ 822008 h 906780"/>
                  <a:gd name="connsiteX0" fmla="*/ 0 w 2056448"/>
                  <a:gd name="connsiteY0" fmla="*/ 0 h 916305"/>
                  <a:gd name="connsiteX1" fmla="*/ 22860 w 2056448"/>
                  <a:gd name="connsiteY1" fmla="*/ 38100 h 916305"/>
                  <a:gd name="connsiteX2" fmla="*/ 45720 w 2056448"/>
                  <a:gd name="connsiteY2" fmla="*/ 68580 h 916305"/>
                  <a:gd name="connsiteX3" fmla="*/ 60960 w 2056448"/>
                  <a:gd name="connsiteY3" fmla="*/ 106680 h 916305"/>
                  <a:gd name="connsiteX4" fmla="*/ 83820 w 2056448"/>
                  <a:gd name="connsiteY4" fmla="*/ 137160 h 916305"/>
                  <a:gd name="connsiteX5" fmla="*/ 106680 w 2056448"/>
                  <a:gd name="connsiteY5" fmla="*/ 175260 h 916305"/>
                  <a:gd name="connsiteX6" fmla="*/ 144780 w 2056448"/>
                  <a:gd name="connsiteY6" fmla="*/ 236220 h 916305"/>
                  <a:gd name="connsiteX7" fmla="*/ 297180 w 2056448"/>
                  <a:gd name="connsiteY7" fmla="*/ 392430 h 916305"/>
                  <a:gd name="connsiteX8" fmla="*/ 442913 w 2056448"/>
                  <a:gd name="connsiteY8" fmla="*/ 496252 h 916305"/>
                  <a:gd name="connsiteX9" fmla="*/ 541020 w 2056448"/>
                  <a:gd name="connsiteY9" fmla="*/ 556260 h 916305"/>
                  <a:gd name="connsiteX10" fmla="*/ 724852 w 2056448"/>
                  <a:gd name="connsiteY10" fmla="*/ 678180 h 916305"/>
                  <a:gd name="connsiteX11" fmla="*/ 882015 w 2056448"/>
                  <a:gd name="connsiteY11" fmla="*/ 748665 h 916305"/>
                  <a:gd name="connsiteX12" fmla="*/ 1039178 w 2056448"/>
                  <a:gd name="connsiteY12" fmla="*/ 808672 h 916305"/>
                  <a:gd name="connsiteX13" fmla="*/ 1211580 w 2056448"/>
                  <a:gd name="connsiteY13" fmla="*/ 868680 h 916305"/>
                  <a:gd name="connsiteX14" fmla="*/ 1516380 w 2056448"/>
                  <a:gd name="connsiteY14" fmla="*/ 899160 h 916305"/>
                  <a:gd name="connsiteX15" fmla="*/ 1646872 w 2056448"/>
                  <a:gd name="connsiteY15" fmla="*/ 916305 h 916305"/>
                  <a:gd name="connsiteX16" fmla="*/ 1953578 w 2056448"/>
                  <a:gd name="connsiteY16" fmla="*/ 880110 h 916305"/>
                  <a:gd name="connsiteX17" fmla="*/ 2056448 w 2056448"/>
                  <a:gd name="connsiteY17" fmla="*/ 822008 h 916305"/>
                  <a:gd name="connsiteX0" fmla="*/ 0 w 2056448"/>
                  <a:gd name="connsiteY0" fmla="*/ 0 h 917172"/>
                  <a:gd name="connsiteX1" fmla="*/ 22860 w 2056448"/>
                  <a:gd name="connsiteY1" fmla="*/ 38100 h 917172"/>
                  <a:gd name="connsiteX2" fmla="*/ 45720 w 2056448"/>
                  <a:gd name="connsiteY2" fmla="*/ 68580 h 917172"/>
                  <a:gd name="connsiteX3" fmla="*/ 60960 w 2056448"/>
                  <a:gd name="connsiteY3" fmla="*/ 106680 h 917172"/>
                  <a:gd name="connsiteX4" fmla="*/ 83820 w 2056448"/>
                  <a:gd name="connsiteY4" fmla="*/ 137160 h 917172"/>
                  <a:gd name="connsiteX5" fmla="*/ 106680 w 2056448"/>
                  <a:gd name="connsiteY5" fmla="*/ 175260 h 917172"/>
                  <a:gd name="connsiteX6" fmla="*/ 144780 w 2056448"/>
                  <a:gd name="connsiteY6" fmla="*/ 236220 h 917172"/>
                  <a:gd name="connsiteX7" fmla="*/ 297180 w 2056448"/>
                  <a:gd name="connsiteY7" fmla="*/ 392430 h 917172"/>
                  <a:gd name="connsiteX8" fmla="*/ 442913 w 2056448"/>
                  <a:gd name="connsiteY8" fmla="*/ 496252 h 917172"/>
                  <a:gd name="connsiteX9" fmla="*/ 541020 w 2056448"/>
                  <a:gd name="connsiteY9" fmla="*/ 556260 h 917172"/>
                  <a:gd name="connsiteX10" fmla="*/ 724852 w 2056448"/>
                  <a:gd name="connsiteY10" fmla="*/ 678180 h 917172"/>
                  <a:gd name="connsiteX11" fmla="*/ 882015 w 2056448"/>
                  <a:gd name="connsiteY11" fmla="*/ 748665 h 917172"/>
                  <a:gd name="connsiteX12" fmla="*/ 1039178 w 2056448"/>
                  <a:gd name="connsiteY12" fmla="*/ 808672 h 917172"/>
                  <a:gd name="connsiteX13" fmla="*/ 1211580 w 2056448"/>
                  <a:gd name="connsiteY13" fmla="*/ 868680 h 917172"/>
                  <a:gd name="connsiteX14" fmla="*/ 1502093 w 2056448"/>
                  <a:gd name="connsiteY14" fmla="*/ 913448 h 917172"/>
                  <a:gd name="connsiteX15" fmla="*/ 1646872 w 2056448"/>
                  <a:gd name="connsiteY15" fmla="*/ 916305 h 917172"/>
                  <a:gd name="connsiteX16" fmla="*/ 1953578 w 2056448"/>
                  <a:gd name="connsiteY16" fmla="*/ 880110 h 917172"/>
                  <a:gd name="connsiteX17" fmla="*/ 2056448 w 2056448"/>
                  <a:gd name="connsiteY17" fmla="*/ 822008 h 917172"/>
                  <a:gd name="connsiteX0" fmla="*/ 0 w 2056448"/>
                  <a:gd name="connsiteY0" fmla="*/ 0 h 917172"/>
                  <a:gd name="connsiteX1" fmla="*/ 22860 w 2056448"/>
                  <a:gd name="connsiteY1" fmla="*/ 38100 h 917172"/>
                  <a:gd name="connsiteX2" fmla="*/ 45720 w 2056448"/>
                  <a:gd name="connsiteY2" fmla="*/ 68580 h 917172"/>
                  <a:gd name="connsiteX3" fmla="*/ 83820 w 2056448"/>
                  <a:gd name="connsiteY3" fmla="*/ 137160 h 917172"/>
                  <a:gd name="connsiteX4" fmla="*/ 106680 w 2056448"/>
                  <a:gd name="connsiteY4" fmla="*/ 175260 h 917172"/>
                  <a:gd name="connsiteX5" fmla="*/ 144780 w 2056448"/>
                  <a:gd name="connsiteY5" fmla="*/ 236220 h 917172"/>
                  <a:gd name="connsiteX6" fmla="*/ 297180 w 2056448"/>
                  <a:gd name="connsiteY6" fmla="*/ 392430 h 917172"/>
                  <a:gd name="connsiteX7" fmla="*/ 442913 w 2056448"/>
                  <a:gd name="connsiteY7" fmla="*/ 496252 h 917172"/>
                  <a:gd name="connsiteX8" fmla="*/ 541020 w 2056448"/>
                  <a:gd name="connsiteY8" fmla="*/ 556260 h 917172"/>
                  <a:gd name="connsiteX9" fmla="*/ 724852 w 2056448"/>
                  <a:gd name="connsiteY9" fmla="*/ 678180 h 917172"/>
                  <a:gd name="connsiteX10" fmla="*/ 882015 w 2056448"/>
                  <a:gd name="connsiteY10" fmla="*/ 748665 h 917172"/>
                  <a:gd name="connsiteX11" fmla="*/ 1039178 w 2056448"/>
                  <a:gd name="connsiteY11" fmla="*/ 808672 h 917172"/>
                  <a:gd name="connsiteX12" fmla="*/ 1211580 w 2056448"/>
                  <a:gd name="connsiteY12" fmla="*/ 868680 h 917172"/>
                  <a:gd name="connsiteX13" fmla="*/ 1502093 w 2056448"/>
                  <a:gd name="connsiteY13" fmla="*/ 913448 h 917172"/>
                  <a:gd name="connsiteX14" fmla="*/ 1646872 w 2056448"/>
                  <a:gd name="connsiteY14" fmla="*/ 916305 h 917172"/>
                  <a:gd name="connsiteX15" fmla="*/ 1953578 w 2056448"/>
                  <a:gd name="connsiteY15" fmla="*/ 880110 h 917172"/>
                  <a:gd name="connsiteX16" fmla="*/ 2056448 w 2056448"/>
                  <a:gd name="connsiteY16" fmla="*/ 822008 h 917172"/>
                  <a:gd name="connsiteX0" fmla="*/ 0 w 2056448"/>
                  <a:gd name="connsiteY0" fmla="*/ 0 h 917172"/>
                  <a:gd name="connsiteX1" fmla="*/ 22860 w 2056448"/>
                  <a:gd name="connsiteY1" fmla="*/ 38100 h 917172"/>
                  <a:gd name="connsiteX2" fmla="*/ 83820 w 2056448"/>
                  <a:gd name="connsiteY2" fmla="*/ 137160 h 917172"/>
                  <a:gd name="connsiteX3" fmla="*/ 106680 w 2056448"/>
                  <a:gd name="connsiteY3" fmla="*/ 175260 h 917172"/>
                  <a:gd name="connsiteX4" fmla="*/ 144780 w 2056448"/>
                  <a:gd name="connsiteY4" fmla="*/ 236220 h 917172"/>
                  <a:gd name="connsiteX5" fmla="*/ 297180 w 2056448"/>
                  <a:gd name="connsiteY5" fmla="*/ 392430 h 917172"/>
                  <a:gd name="connsiteX6" fmla="*/ 442913 w 2056448"/>
                  <a:gd name="connsiteY6" fmla="*/ 496252 h 917172"/>
                  <a:gd name="connsiteX7" fmla="*/ 541020 w 2056448"/>
                  <a:gd name="connsiteY7" fmla="*/ 556260 h 917172"/>
                  <a:gd name="connsiteX8" fmla="*/ 724852 w 2056448"/>
                  <a:gd name="connsiteY8" fmla="*/ 678180 h 917172"/>
                  <a:gd name="connsiteX9" fmla="*/ 882015 w 2056448"/>
                  <a:gd name="connsiteY9" fmla="*/ 748665 h 917172"/>
                  <a:gd name="connsiteX10" fmla="*/ 1039178 w 2056448"/>
                  <a:gd name="connsiteY10" fmla="*/ 808672 h 917172"/>
                  <a:gd name="connsiteX11" fmla="*/ 1211580 w 2056448"/>
                  <a:gd name="connsiteY11" fmla="*/ 868680 h 917172"/>
                  <a:gd name="connsiteX12" fmla="*/ 1502093 w 2056448"/>
                  <a:gd name="connsiteY12" fmla="*/ 913448 h 917172"/>
                  <a:gd name="connsiteX13" fmla="*/ 1646872 w 2056448"/>
                  <a:gd name="connsiteY13" fmla="*/ 916305 h 917172"/>
                  <a:gd name="connsiteX14" fmla="*/ 1953578 w 2056448"/>
                  <a:gd name="connsiteY14" fmla="*/ 880110 h 917172"/>
                  <a:gd name="connsiteX15" fmla="*/ 2056448 w 2056448"/>
                  <a:gd name="connsiteY15" fmla="*/ 822008 h 917172"/>
                  <a:gd name="connsiteX0" fmla="*/ 0 w 2056448"/>
                  <a:gd name="connsiteY0" fmla="*/ 0 h 917172"/>
                  <a:gd name="connsiteX1" fmla="*/ 83820 w 2056448"/>
                  <a:gd name="connsiteY1" fmla="*/ 137160 h 917172"/>
                  <a:gd name="connsiteX2" fmla="*/ 106680 w 2056448"/>
                  <a:gd name="connsiteY2" fmla="*/ 175260 h 917172"/>
                  <a:gd name="connsiteX3" fmla="*/ 144780 w 2056448"/>
                  <a:gd name="connsiteY3" fmla="*/ 236220 h 917172"/>
                  <a:gd name="connsiteX4" fmla="*/ 297180 w 2056448"/>
                  <a:gd name="connsiteY4" fmla="*/ 392430 h 917172"/>
                  <a:gd name="connsiteX5" fmla="*/ 442913 w 2056448"/>
                  <a:gd name="connsiteY5" fmla="*/ 496252 h 917172"/>
                  <a:gd name="connsiteX6" fmla="*/ 541020 w 2056448"/>
                  <a:gd name="connsiteY6" fmla="*/ 556260 h 917172"/>
                  <a:gd name="connsiteX7" fmla="*/ 724852 w 2056448"/>
                  <a:gd name="connsiteY7" fmla="*/ 678180 h 917172"/>
                  <a:gd name="connsiteX8" fmla="*/ 882015 w 2056448"/>
                  <a:gd name="connsiteY8" fmla="*/ 748665 h 917172"/>
                  <a:gd name="connsiteX9" fmla="*/ 1039178 w 2056448"/>
                  <a:gd name="connsiteY9" fmla="*/ 808672 h 917172"/>
                  <a:gd name="connsiteX10" fmla="*/ 1211580 w 2056448"/>
                  <a:gd name="connsiteY10" fmla="*/ 868680 h 917172"/>
                  <a:gd name="connsiteX11" fmla="*/ 1502093 w 2056448"/>
                  <a:gd name="connsiteY11" fmla="*/ 913448 h 917172"/>
                  <a:gd name="connsiteX12" fmla="*/ 1646872 w 2056448"/>
                  <a:gd name="connsiteY12" fmla="*/ 916305 h 917172"/>
                  <a:gd name="connsiteX13" fmla="*/ 1953578 w 2056448"/>
                  <a:gd name="connsiteY13" fmla="*/ 880110 h 917172"/>
                  <a:gd name="connsiteX14" fmla="*/ 2056448 w 2056448"/>
                  <a:gd name="connsiteY14" fmla="*/ 822008 h 917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56448" h="917172">
                    <a:moveTo>
                      <a:pt x="0" y="0"/>
                    </a:moveTo>
                    <a:lnTo>
                      <a:pt x="83820" y="137160"/>
                    </a:lnTo>
                    <a:cubicBezTo>
                      <a:pt x="101600" y="166370"/>
                      <a:pt x="99487" y="162313"/>
                      <a:pt x="106680" y="175260"/>
                    </a:cubicBezTo>
                    <a:cubicBezTo>
                      <a:pt x="116319" y="192611"/>
                      <a:pt x="113030" y="200025"/>
                      <a:pt x="144780" y="236220"/>
                    </a:cubicBezTo>
                    <a:cubicBezTo>
                      <a:pt x="176530" y="272415"/>
                      <a:pt x="247491" y="349091"/>
                      <a:pt x="297180" y="392430"/>
                    </a:cubicBezTo>
                    <a:cubicBezTo>
                      <a:pt x="346869" y="435769"/>
                      <a:pt x="402273" y="468947"/>
                      <a:pt x="442913" y="496252"/>
                    </a:cubicBezTo>
                    <a:cubicBezTo>
                      <a:pt x="483553" y="523557"/>
                      <a:pt x="494030" y="525939"/>
                      <a:pt x="541020" y="556260"/>
                    </a:cubicBezTo>
                    <a:cubicBezTo>
                      <a:pt x="588010" y="586581"/>
                      <a:pt x="668020" y="646113"/>
                      <a:pt x="724852" y="678180"/>
                    </a:cubicBezTo>
                    <a:cubicBezTo>
                      <a:pt x="781685" y="710248"/>
                      <a:pt x="829627" y="726916"/>
                      <a:pt x="882015" y="748665"/>
                    </a:cubicBezTo>
                    <a:cubicBezTo>
                      <a:pt x="934403" y="770414"/>
                      <a:pt x="984251" y="788670"/>
                      <a:pt x="1039178" y="808672"/>
                    </a:cubicBezTo>
                    <a:cubicBezTo>
                      <a:pt x="1094105" y="828674"/>
                      <a:pt x="1134428" y="851217"/>
                      <a:pt x="1211580" y="868680"/>
                    </a:cubicBezTo>
                    <a:cubicBezTo>
                      <a:pt x="1288732" y="886143"/>
                      <a:pt x="1429544" y="905511"/>
                      <a:pt x="1502093" y="913448"/>
                    </a:cubicBezTo>
                    <a:cubicBezTo>
                      <a:pt x="1574642" y="921386"/>
                      <a:pt x="1624012" y="913765"/>
                      <a:pt x="1646872" y="916305"/>
                    </a:cubicBezTo>
                    <a:cubicBezTo>
                      <a:pt x="1726882" y="916305"/>
                      <a:pt x="1885315" y="895826"/>
                      <a:pt x="1953578" y="880110"/>
                    </a:cubicBezTo>
                    <a:cubicBezTo>
                      <a:pt x="2021841" y="864394"/>
                      <a:pt x="2031683" y="835025"/>
                      <a:pt x="2056448" y="822008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44" name="Freeform: Shape 48">
                <a:extLst>
                  <a:ext uri="{FF2B5EF4-FFF2-40B4-BE49-F238E27FC236}">
                    <a16:creationId xmlns:a16="http://schemas.microsoft.com/office/drawing/2014/main" id="{B21E464F-486D-97BE-B269-EA57C7B68C32}"/>
                  </a:ext>
                </a:extLst>
              </p:cNvPr>
              <p:cNvSpPr/>
              <p:nvPr/>
            </p:nvSpPr>
            <p:spPr>
              <a:xfrm>
                <a:off x="3787140" y="3009900"/>
                <a:ext cx="2944177" cy="1234440"/>
              </a:xfrm>
              <a:custGeom>
                <a:avLst/>
                <a:gdLst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03860 w 2956560"/>
                  <a:gd name="connsiteY13" fmla="*/ 533400 h 1249680"/>
                  <a:gd name="connsiteX14" fmla="*/ 426720 w 2956560"/>
                  <a:gd name="connsiteY14" fmla="*/ 548640 h 1249680"/>
                  <a:gd name="connsiteX15" fmla="*/ 464820 w 2956560"/>
                  <a:gd name="connsiteY15" fmla="*/ 579120 h 1249680"/>
                  <a:gd name="connsiteX16" fmla="*/ 495300 w 2956560"/>
                  <a:gd name="connsiteY16" fmla="*/ 594360 h 1249680"/>
                  <a:gd name="connsiteX17" fmla="*/ 533400 w 2956560"/>
                  <a:gd name="connsiteY17" fmla="*/ 624840 h 1249680"/>
                  <a:gd name="connsiteX18" fmla="*/ 548640 w 2956560"/>
                  <a:gd name="connsiteY18" fmla="*/ 647700 h 1249680"/>
                  <a:gd name="connsiteX19" fmla="*/ 571500 w 2956560"/>
                  <a:gd name="connsiteY19" fmla="*/ 655320 h 1249680"/>
                  <a:gd name="connsiteX20" fmla="*/ 617220 w 2956560"/>
                  <a:gd name="connsiteY20" fmla="*/ 693420 h 1249680"/>
                  <a:gd name="connsiteX21" fmla="*/ 670560 w 2956560"/>
                  <a:gd name="connsiteY21" fmla="*/ 746760 h 1249680"/>
                  <a:gd name="connsiteX22" fmla="*/ 723900 w 2956560"/>
                  <a:gd name="connsiteY22" fmla="*/ 784860 h 1249680"/>
                  <a:gd name="connsiteX23" fmla="*/ 769620 w 2956560"/>
                  <a:gd name="connsiteY23" fmla="*/ 830580 h 1249680"/>
                  <a:gd name="connsiteX24" fmla="*/ 792480 w 2956560"/>
                  <a:gd name="connsiteY24" fmla="*/ 845820 h 1249680"/>
                  <a:gd name="connsiteX25" fmla="*/ 891540 w 2956560"/>
                  <a:gd name="connsiteY25" fmla="*/ 883920 h 1249680"/>
                  <a:gd name="connsiteX26" fmla="*/ 967740 w 2956560"/>
                  <a:gd name="connsiteY26" fmla="*/ 937260 h 1249680"/>
                  <a:gd name="connsiteX27" fmla="*/ 998220 w 2956560"/>
                  <a:gd name="connsiteY27" fmla="*/ 960120 h 1249680"/>
                  <a:gd name="connsiteX28" fmla="*/ 1021080 w 2956560"/>
                  <a:gd name="connsiteY28" fmla="*/ 967740 h 1249680"/>
                  <a:gd name="connsiteX29" fmla="*/ 1074420 w 2956560"/>
                  <a:gd name="connsiteY29" fmla="*/ 998220 h 1249680"/>
                  <a:gd name="connsiteX30" fmla="*/ 1097280 w 2956560"/>
                  <a:gd name="connsiteY30" fmla="*/ 1013460 h 1249680"/>
                  <a:gd name="connsiteX31" fmla="*/ 1158240 w 2956560"/>
                  <a:gd name="connsiteY31" fmla="*/ 1036320 h 1249680"/>
                  <a:gd name="connsiteX32" fmla="*/ 1219200 w 2956560"/>
                  <a:gd name="connsiteY32" fmla="*/ 1082040 h 1249680"/>
                  <a:gd name="connsiteX33" fmla="*/ 1264920 w 2956560"/>
                  <a:gd name="connsiteY33" fmla="*/ 1104900 h 1249680"/>
                  <a:gd name="connsiteX34" fmla="*/ 1287780 w 2956560"/>
                  <a:gd name="connsiteY34" fmla="*/ 1120140 h 1249680"/>
                  <a:gd name="connsiteX35" fmla="*/ 1371600 w 2956560"/>
                  <a:gd name="connsiteY35" fmla="*/ 1150620 h 1249680"/>
                  <a:gd name="connsiteX36" fmla="*/ 1409700 w 2956560"/>
                  <a:gd name="connsiteY36" fmla="*/ 1158240 h 1249680"/>
                  <a:gd name="connsiteX37" fmla="*/ 1478280 w 2956560"/>
                  <a:gd name="connsiteY37" fmla="*/ 1173480 h 1249680"/>
                  <a:gd name="connsiteX38" fmla="*/ 1600200 w 2956560"/>
                  <a:gd name="connsiteY38" fmla="*/ 1181100 h 1249680"/>
                  <a:gd name="connsiteX39" fmla="*/ 1760220 w 2956560"/>
                  <a:gd name="connsiteY39" fmla="*/ 1196340 h 1249680"/>
                  <a:gd name="connsiteX40" fmla="*/ 1798320 w 2956560"/>
                  <a:gd name="connsiteY40" fmla="*/ 1203960 h 1249680"/>
                  <a:gd name="connsiteX41" fmla="*/ 1927860 w 2956560"/>
                  <a:gd name="connsiteY41" fmla="*/ 1211580 h 1249680"/>
                  <a:gd name="connsiteX42" fmla="*/ 1988820 w 2956560"/>
                  <a:gd name="connsiteY42" fmla="*/ 1226820 h 1249680"/>
                  <a:gd name="connsiteX43" fmla="*/ 2065020 w 2956560"/>
                  <a:gd name="connsiteY43" fmla="*/ 1234440 h 1249680"/>
                  <a:gd name="connsiteX44" fmla="*/ 2186940 w 2956560"/>
                  <a:gd name="connsiteY44" fmla="*/ 1249680 h 1249680"/>
                  <a:gd name="connsiteX45" fmla="*/ 2331720 w 2956560"/>
                  <a:gd name="connsiteY45" fmla="*/ 1242060 h 1249680"/>
                  <a:gd name="connsiteX46" fmla="*/ 2354580 w 2956560"/>
                  <a:gd name="connsiteY46" fmla="*/ 1226820 h 1249680"/>
                  <a:gd name="connsiteX47" fmla="*/ 2423160 w 2956560"/>
                  <a:gd name="connsiteY47" fmla="*/ 1196340 h 1249680"/>
                  <a:gd name="connsiteX48" fmla="*/ 2461260 w 2956560"/>
                  <a:gd name="connsiteY48" fmla="*/ 1173480 h 1249680"/>
                  <a:gd name="connsiteX49" fmla="*/ 2506980 w 2956560"/>
                  <a:gd name="connsiteY49" fmla="*/ 1165860 h 1249680"/>
                  <a:gd name="connsiteX50" fmla="*/ 2537460 w 2956560"/>
                  <a:gd name="connsiteY50" fmla="*/ 1150620 h 1249680"/>
                  <a:gd name="connsiteX51" fmla="*/ 2621280 w 2956560"/>
                  <a:gd name="connsiteY51" fmla="*/ 1127760 h 1249680"/>
                  <a:gd name="connsiteX52" fmla="*/ 2644140 w 2956560"/>
                  <a:gd name="connsiteY52" fmla="*/ 1112520 h 1249680"/>
                  <a:gd name="connsiteX53" fmla="*/ 2750820 w 2956560"/>
                  <a:gd name="connsiteY53" fmla="*/ 1082040 h 1249680"/>
                  <a:gd name="connsiteX54" fmla="*/ 2781300 w 2956560"/>
                  <a:gd name="connsiteY54" fmla="*/ 1066800 h 1249680"/>
                  <a:gd name="connsiteX55" fmla="*/ 2849880 w 2956560"/>
                  <a:gd name="connsiteY55" fmla="*/ 1051560 h 1249680"/>
                  <a:gd name="connsiteX56" fmla="*/ 2910840 w 2956560"/>
                  <a:gd name="connsiteY56" fmla="*/ 1021080 h 1249680"/>
                  <a:gd name="connsiteX57" fmla="*/ 2956560 w 2956560"/>
                  <a:gd name="connsiteY57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26720 w 2956560"/>
                  <a:gd name="connsiteY13" fmla="*/ 548640 h 1249680"/>
                  <a:gd name="connsiteX14" fmla="*/ 464820 w 2956560"/>
                  <a:gd name="connsiteY14" fmla="*/ 579120 h 1249680"/>
                  <a:gd name="connsiteX15" fmla="*/ 495300 w 2956560"/>
                  <a:gd name="connsiteY15" fmla="*/ 594360 h 1249680"/>
                  <a:gd name="connsiteX16" fmla="*/ 533400 w 2956560"/>
                  <a:gd name="connsiteY16" fmla="*/ 624840 h 1249680"/>
                  <a:gd name="connsiteX17" fmla="*/ 548640 w 2956560"/>
                  <a:gd name="connsiteY17" fmla="*/ 647700 h 1249680"/>
                  <a:gd name="connsiteX18" fmla="*/ 571500 w 2956560"/>
                  <a:gd name="connsiteY18" fmla="*/ 655320 h 1249680"/>
                  <a:gd name="connsiteX19" fmla="*/ 617220 w 2956560"/>
                  <a:gd name="connsiteY19" fmla="*/ 693420 h 1249680"/>
                  <a:gd name="connsiteX20" fmla="*/ 670560 w 2956560"/>
                  <a:gd name="connsiteY20" fmla="*/ 746760 h 1249680"/>
                  <a:gd name="connsiteX21" fmla="*/ 723900 w 2956560"/>
                  <a:gd name="connsiteY21" fmla="*/ 784860 h 1249680"/>
                  <a:gd name="connsiteX22" fmla="*/ 769620 w 2956560"/>
                  <a:gd name="connsiteY22" fmla="*/ 830580 h 1249680"/>
                  <a:gd name="connsiteX23" fmla="*/ 792480 w 2956560"/>
                  <a:gd name="connsiteY23" fmla="*/ 845820 h 1249680"/>
                  <a:gd name="connsiteX24" fmla="*/ 891540 w 2956560"/>
                  <a:gd name="connsiteY24" fmla="*/ 883920 h 1249680"/>
                  <a:gd name="connsiteX25" fmla="*/ 967740 w 2956560"/>
                  <a:gd name="connsiteY25" fmla="*/ 937260 h 1249680"/>
                  <a:gd name="connsiteX26" fmla="*/ 998220 w 2956560"/>
                  <a:gd name="connsiteY26" fmla="*/ 960120 h 1249680"/>
                  <a:gd name="connsiteX27" fmla="*/ 1021080 w 2956560"/>
                  <a:gd name="connsiteY27" fmla="*/ 967740 h 1249680"/>
                  <a:gd name="connsiteX28" fmla="*/ 1074420 w 2956560"/>
                  <a:gd name="connsiteY28" fmla="*/ 998220 h 1249680"/>
                  <a:gd name="connsiteX29" fmla="*/ 1097280 w 2956560"/>
                  <a:gd name="connsiteY29" fmla="*/ 1013460 h 1249680"/>
                  <a:gd name="connsiteX30" fmla="*/ 1158240 w 2956560"/>
                  <a:gd name="connsiteY30" fmla="*/ 1036320 h 1249680"/>
                  <a:gd name="connsiteX31" fmla="*/ 1219200 w 2956560"/>
                  <a:gd name="connsiteY31" fmla="*/ 1082040 h 1249680"/>
                  <a:gd name="connsiteX32" fmla="*/ 1264920 w 2956560"/>
                  <a:gd name="connsiteY32" fmla="*/ 1104900 h 1249680"/>
                  <a:gd name="connsiteX33" fmla="*/ 1287780 w 2956560"/>
                  <a:gd name="connsiteY33" fmla="*/ 1120140 h 1249680"/>
                  <a:gd name="connsiteX34" fmla="*/ 1371600 w 2956560"/>
                  <a:gd name="connsiteY34" fmla="*/ 1150620 h 1249680"/>
                  <a:gd name="connsiteX35" fmla="*/ 1409700 w 2956560"/>
                  <a:gd name="connsiteY35" fmla="*/ 1158240 h 1249680"/>
                  <a:gd name="connsiteX36" fmla="*/ 1478280 w 2956560"/>
                  <a:gd name="connsiteY36" fmla="*/ 1173480 h 1249680"/>
                  <a:gd name="connsiteX37" fmla="*/ 1600200 w 2956560"/>
                  <a:gd name="connsiteY37" fmla="*/ 1181100 h 1249680"/>
                  <a:gd name="connsiteX38" fmla="*/ 1760220 w 2956560"/>
                  <a:gd name="connsiteY38" fmla="*/ 1196340 h 1249680"/>
                  <a:gd name="connsiteX39" fmla="*/ 1798320 w 2956560"/>
                  <a:gd name="connsiteY39" fmla="*/ 1203960 h 1249680"/>
                  <a:gd name="connsiteX40" fmla="*/ 1927860 w 2956560"/>
                  <a:gd name="connsiteY40" fmla="*/ 1211580 h 1249680"/>
                  <a:gd name="connsiteX41" fmla="*/ 1988820 w 2956560"/>
                  <a:gd name="connsiteY41" fmla="*/ 1226820 h 1249680"/>
                  <a:gd name="connsiteX42" fmla="*/ 2065020 w 2956560"/>
                  <a:gd name="connsiteY42" fmla="*/ 1234440 h 1249680"/>
                  <a:gd name="connsiteX43" fmla="*/ 2186940 w 2956560"/>
                  <a:gd name="connsiteY43" fmla="*/ 1249680 h 1249680"/>
                  <a:gd name="connsiteX44" fmla="*/ 2331720 w 2956560"/>
                  <a:gd name="connsiteY44" fmla="*/ 1242060 h 1249680"/>
                  <a:gd name="connsiteX45" fmla="*/ 2354580 w 2956560"/>
                  <a:gd name="connsiteY45" fmla="*/ 1226820 h 1249680"/>
                  <a:gd name="connsiteX46" fmla="*/ 2423160 w 2956560"/>
                  <a:gd name="connsiteY46" fmla="*/ 1196340 h 1249680"/>
                  <a:gd name="connsiteX47" fmla="*/ 2461260 w 2956560"/>
                  <a:gd name="connsiteY47" fmla="*/ 1173480 h 1249680"/>
                  <a:gd name="connsiteX48" fmla="*/ 2506980 w 2956560"/>
                  <a:gd name="connsiteY48" fmla="*/ 1165860 h 1249680"/>
                  <a:gd name="connsiteX49" fmla="*/ 2537460 w 2956560"/>
                  <a:gd name="connsiteY49" fmla="*/ 1150620 h 1249680"/>
                  <a:gd name="connsiteX50" fmla="*/ 2621280 w 2956560"/>
                  <a:gd name="connsiteY50" fmla="*/ 1127760 h 1249680"/>
                  <a:gd name="connsiteX51" fmla="*/ 2644140 w 2956560"/>
                  <a:gd name="connsiteY51" fmla="*/ 1112520 h 1249680"/>
                  <a:gd name="connsiteX52" fmla="*/ 2750820 w 2956560"/>
                  <a:gd name="connsiteY52" fmla="*/ 1082040 h 1249680"/>
                  <a:gd name="connsiteX53" fmla="*/ 2781300 w 2956560"/>
                  <a:gd name="connsiteY53" fmla="*/ 1066800 h 1249680"/>
                  <a:gd name="connsiteX54" fmla="*/ 2849880 w 2956560"/>
                  <a:gd name="connsiteY54" fmla="*/ 1051560 h 1249680"/>
                  <a:gd name="connsiteX55" fmla="*/ 2910840 w 2956560"/>
                  <a:gd name="connsiteY55" fmla="*/ 1021080 h 1249680"/>
                  <a:gd name="connsiteX56" fmla="*/ 2956560 w 2956560"/>
                  <a:gd name="connsiteY56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264920 w 2956560"/>
                  <a:gd name="connsiteY31" fmla="*/ 1104900 h 1249680"/>
                  <a:gd name="connsiteX32" fmla="*/ 1287780 w 2956560"/>
                  <a:gd name="connsiteY32" fmla="*/ 1120140 h 1249680"/>
                  <a:gd name="connsiteX33" fmla="*/ 1371600 w 2956560"/>
                  <a:gd name="connsiteY33" fmla="*/ 1150620 h 1249680"/>
                  <a:gd name="connsiteX34" fmla="*/ 1409700 w 2956560"/>
                  <a:gd name="connsiteY34" fmla="*/ 1158240 h 1249680"/>
                  <a:gd name="connsiteX35" fmla="*/ 1478280 w 2956560"/>
                  <a:gd name="connsiteY35" fmla="*/ 1173480 h 1249680"/>
                  <a:gd name="connsiteX36" fmla="*/ 1600200 w 2956560"/>
                  <a:gd name="connsiteY36" fmla="*/ 1181100 h 1249680"/>
                  <a:gd name="connsiteX37" fmla="*/ 1760220 w 2956560"/>
                  <a:gd name="connsiteY37" fmla="*/ 1196340 h 1249680"/>
                  <a:gd name="connsiteX38" fmla="*/ 1798320 w 2956560"/>
                  <a:gd name="connsiteY38" fmla="*/ 1203960 h 1249680"/>
                  <a:gd name="connsiteX39" fmla="*/ 1927860 w 2956560"/>
                  <a:gd name="connsiteY39" fmla="*/ 1211580 h 1249680"/>
                  <a:gd name="connsiteX40" fmla="*/ 1988820 w 2956560"/>
                  <a:gd name="connsiteY40" fmla="*/ 1226820 h 1249680"/>
                  <a:gd name="connsiteX41" fmla="*/ 2065020 w 2956560"/>
                  <a:gd name="connsiteY41" fmla="*/ 1234440 h 1249680"/>
                  <a:gd name="connsiteX42" fmla="*/ 2186940 w 2956560"/>
                  <a:gd name="connsiteY42" fmla="*/ 1249680 h 1249680"/>
                  <a:gd name="connsiteX43" fmla="*/ 2331720 w 2956560"/>
                  <a:gd name="connsiteY43" fmla="*/ 1242060 h 1249680"/>
                  <a:gd name="connsiteX44" fmla="*/ 2354580 w 2956560"/>
                  <a:gd name="connsiteY44" fmla="*/ 1226820 h 1249680"/>
                  <a:gd name="connsiteX45" fmla="*/ 2423160 w 2956560"/>
                  <a:gd name="connsiteY45" fmla="*/ 1196340 h 1249680"/>
                  <a:gd name="connsiteX46" fmla="*/ 2461260 w 2956560"/>
                  <a:gd name="connsiteY46" fmla="*/ 1173480 h 1249680"/>
                  <a:gd name="connsiteX47" fmla="*/ 2506980 w 2956560"/>
                  <a:gd name="connsiteY47" fmla="*/ 1165860 h 1249680"/>
                  <a:gd name="connsiteX48" fmla="*/ 2537460 w 2956560"/>
                  <a:gd name="connsiteY48" fmla="*/ 1150620 h 1249680"/>
                  <a:gd name="connsiteX49" fmla="*/ 2621280 w 2956560"/>
                  <a:gd name="connsiteY49" fmla="*/ 1127760 h 1249680"/>
                  <a:gd name="connsiteX50" fmla="*/ 2644140 w 2956560"/>
                  <a:gd name="connsiteY50" fmla="*/ 1112520 h 1249680"/>
                  <a:gd name="connsiteX51" fmla="*/ 2750820 w 2956560"/>
                  <a:gd name="connsiteY51" fmla="*/ 1082040 h 1249680"/>
                  <a:gd name="connsiteX52" fmla="*/ 2781300 w 2956560"/>
                  <a:gd name="connsiteY52" fmla="*/ 1066800 h 1249680"/>
                  <a:gd name="connsiteX53" fmla="*/ 2849880 w 2956560"/>
                  <a:gd name="connsiteY53" fmla="*/ 1051560 h 1249680"/>
                  <a:gd name="connsiteX54" fmla="*/ 2910840 w 2956560"/>
                  <a:gd name="connsiteY54" fmla="*/ 1021080 h 1249680"/>
                  <a:gd name="connsiteX55" fmla="*/ 2956560 w 2956560"/>
                  <a:gd name="connsiteY55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264920 w 2956560"/>
                  <a:gd name="connsiteY31" fmla="*/ 1104900 h 1249680"/>
                  <a:gd name="connsiteX32" fmla="*/ 1371600 w 2956560"/>
                  <a:gd name="connsiteY32" fmla="*/ 1150620 h 1249680"/>
                  <a:gd name="connsiteX33" fmla="*/ 1409700 w 2956560"/>
                  <a:gd name="connsiteY33" fmla="*/ 1158240 h 1249680"/>
                  <a:gd name="connsiteX34" fmla="*/ 1478280 w 2956560"/>
                  <a:gd name="connsiteY34" fmla="*/ 1173480 h 1249680"/>
                  <a:gd name="connsiteX35" fmla="*/ 1600200 w 2956560"/>
                  <a:gd name="connsiteY35" fmla="*/ 1181100 h 1249680"/>
                  <a:gd name="connsiteX36" fmla="*/ 1760220 w 2956560"/>
                  <a:gd name="connsiteY36" fmla="*/ 1196340 h 1249680"/>
                  <a:gd name="connsiteX37" fmla="*/ 1798320 w 2956560"/>
                  <a:gd name="connsiteY37" fmla="*/ 1203960 h 1249680"/>
                  <a:gd name="connsiteX38" fmla="*/ 1927860 w 2956560"/>
                  <a:gd name="connsiteY38" fmla="*/ 1211580 h 1249680"/>
                  <a:gd name="connsiteX39" fmla="*/ 1988820 w 2956560"/>
                  <a:gd name="connsiteY39" fmla="*/ 1226820 h 1249680"/>
                  <a:gd name="connsiteX40" fmla="*/ 2065020 w 2956560"/>
                  <a:gd name="connsiteY40" fmla="*/ 1234440 h 1249680"/>
                  <a:gd name="connsiteX41" fmla="*/ 2186940 w 2956560"/>
                  <a:gd name="connsiteY41" fmla="*/ 1249680 h 1249680"/>
                  <a:gd name="connsiteX42" fmla="*/ 2331720 w 2956560"/>
                  <a:gd name="connsiteY42" fmla="*/ 1242060 h 1249680"/>
                  <a:gd name="connsiteX43" fmla="*/ 2354580 w 2956560"/>
                  <a:gd name="connsiteY43" fmla="*/ 1226820 h 1249680"/>
                  <a:gd name="connsiteX44" fmla="*/ 2423160 w 2956560"/>
                  <a:gd name="connsiteY44" fmla="*/ 1196340 h 1249680"/>
                  <a:gd name="connsiteX45" fmla="*/ 2461260 w 2956560"/>
                  <a:gd name="connsiteY45" fmla="*/ 1173480 h 1249680"/>
                  <a:gd name="connsiteX46" fmla="*/ 2506980 w 2956560"/>
                  <a:gd name="connsiteY46" fmla="*/ 1165860 h 1249680"/>
                  <a:gd name="connsiteX47" fmla="*/ 2537460 w 2956560"/>
                  <a:gd name="connsiteY47" fmla="*/ 1150620 h 1249680"/>
                  <a:gd name="connsiteX48" fmla="*/ 2621280 w 2956560"/>
                  <a:gd name="connsiteY48" fmla="*/ 1127760 h 1249680"/>
                  <a:gd name="connsiteX49" fmla="*/ 2644140 w 2956560"/>
                  <a:gd name="connsiteY49" fmla="*/ 1112520 h 1249680"/>
                  <a:gd name="connsiteX50" fmla="*/ 2750820 w 2956560"/>
                  <a:gd name="connsiteY50" fmla="*/ 1082040 h 1249680"/>
                  <a:gd name="connsiteX51" fmla="*/ 2781300 w 2956560"/>
                  <a:gd name="connsiteY51" fmla="*/ 1066800 h 1249680"/>
                  <a:gd name="connsiteX52" fmla="*/ 2849880 w 2956560"/>
                  <a:gd name="connsiteY52" fmla="*/ 1051560 h 1249680"/>
                  <a:gd name="connsiteX53" fmla="*/ 2910840 w 2956560"/>
                  <a:gd name="connsiteY53" fmla="*/ 1021080 h 1249680"/>
                  <a:gd name="connsiteX54" fmla="*/ 2956560 w 2956560"/>
                  <a:gd name="connsiteY54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371600 w 2956560"/>
                  <a:gd name="connsiteY31" fmla="*/ 1150620 h 1249680"/>
                  <a:gd name="connsiteX32" fmla="*/ 1409700 w 2956560"/>
                  <a:gd name="connsiteY32" fmla="*/ 1158240 h 1249680"/>
                  <a:gd name="connsiteX33" fmla="*/ 1478280 w 2956560"/>
                  <a:gd name="connsiteY33" fmla="*/ 1173480 h 1249680"/>
                  <a:gd name="connsiteX34" fmla="*/ 1600200 w 2956560"/>
                  <a:gd name="connsiteY34" fmla="*/ 1181100 h 1249680"/>
                  <a:gd name="connsiteX35" fmla="*/ 1760220 w 2956560"/>
                  <a:gd name="connsiteY35" fmla="*/ 1196340 h 1249680"/>
                  <a:gd name="connsiteX36" fmla="*/ 1798320 w 2956560"/>
                  <a:gd name="connsiteY36" fmla="*/ 1203960 h 1249680"/>
                  <a:gd name="connsiteX37" fmla="*/ 1927860 w 2956560"/>
                  <a:gd name="connsiteY37" fmla="*/ 1211580 h 1249680"/>
                  <a:gd name="connsiteX38" fmla="*/ 1988820 w 2956560"/>
                  <a:gd name="connsiteY38" fmla="*/ 1226820 h 1249680"/>
                  <a:gd name="connsiteX39" fmla="*/ 2065020 w 2956560"/>
                  <a:gd name="connsiteY39" fmla="*/ 1234440 h 1249680"/>
                  <a:gd name="connsiteX40" fmla="*/ 2186940 w 2956560"/>
                  <a:gd name="connsiteY40" fmla="*/ 1249680 h 1249680"/>
                  <a:gd name="connsiteX41" fmla="*/ 2331720 w 2956560"/>
                  <a:gd name="connsiteY41" fmla="*/ 1242060 h 1249680"/>
                  <a:gd name="connsiteX42" fmla="*/ 2354580 w 2956560"/>
                  <a:gd name="connsiteY42" fmla="*/ 1226820 h 1249680"/>
                  <a:gd name="connsiteX43" fmla="*/ 2423160 w 2956560"/>
                  <a:gd name="connsiteY43" fmla="*/ 1196340 h 1249680"/>
                  <a:gd name="connsiteX44" fmla="*/ 2461260 w 2956560"/>
                  <a:gd name="connsiteY44" fmla="*/ 1173480 h 1249680"/>
                  <a:gd name="connsiteX45" fmla="*/ 2506980 w 2956560"/>
                  <a:gd name="connsiteY45" fmla="*/ 1165860 h 1249680"/>
                  <a:gd name="connsiteX46" fmla="*/ 2537460 w 2956560"/>
                  <a:gd name="connsiteY46" fmla="*/ 1150620 h 1249680"/>
                  <a:gd name="connsiteX47" fmla="*/ 2621280 w 2956560"/>
                  <a:gd name="connsiteY47" fmla="*/ 1127760 h 1249680"/>
                  <a:gd name="connsiteX48" fmla="*/ 2644140 w 2956560"/>
                  <a:gd name="connsiteY48" fmla="*/ 1112520 h 1249680"/>
                  <a:gd name="connsiteX49" fmla="*/ 2750820 w 2956560"/>
                  <a:gd name="connsiteY49" fmla="*/ 1082040 h 1249680"/>
                  <a:gd name="connsiteX50" fmla="*/ 2781300 w 2956560"/>
                  <a:gd name="connsiteY50" fmla="*/ 1066800 h 1249680"/>
                  <a:gd name="connsiteX51" fmla="*/ 2849880 w 2956560"/>
                  <a:gd name="connsiteY51" fmla="*/ 1051560 h 1249680"/>
                  <a:gd name="connsiteX52" fmla="*/ 2910840 w 2956560"/>
                  <a:gd name="connsiteY52" fmla="*/ 1021080 h 1249680"/>
                  <a:gd name="connsiteX53" fmla="*/ 2956560 w 2956560"/>
                  <a:gd name="connsiteY53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409700 w 2956560"/>
                  <a:gd name="connsiteY31" fmla="*/ 1158240 h 1249680"/>
                  <a:gd name="connsiteX32" fmla="*/ 1478280 w 2956560"/>
                  <a:gd name="connsiteY32" fmla="*/ 1173480 h 1249680"/>
                  <a:gd name="connsiteX33" fmla="*/ 1600200 w 2956560"/>
                  <a:gd name="connsiteY33" fmla="*/ 1181100 h 1249680"/>
                  <a:gd name="connsiteX34" fmla="*/ 1760220 w 2956560"/>
                  <a:gd name="connsiteY34" fmla="*/ 1196340 h 1249680"/>
                  <a:gd name="connsiteX35" fmla="*/ 1798320 w 2956560"/>
                  <a:gd name="connsiteY35" fmla="*/ 1203960 h 1249680"/>
                  <a:gd name="connsiteX36" fmla="*/ 1927860 w 2956560"/>
                  <a:gd name="connsiteY36" fmla="*/ 1211580 h 1249680"/>
                  <a:gd name="connsiteX37" fmla="*/ 1988820 w 2956560"/>
                  <a:gd name="connsiteY37" fmla="*/ 1226820 h 1249680"/>
                  <a:gd name="connsiteX38" fmla="*/ 2065020 w 2956560"/>
                  <a:gd name="connsiteY38" fmla="*/ 1234440 h 1249680"/>
                  <a:gd name="connsiteX39" fmla="*/ 2186940 w 2956560"/>
                  <a:gd name="connsiteY39" fmla="*/ 1249680 h 1249680"/>
                  <a:gd name="connsiteX40" fmla="*/ 2331720 w 2956560"/>
                  <a:gd name="connsiteY40" fmla="*/ 1242060 h 1249680"/>
                  <a:gd name="connsiteX41" fmla="*/ 2354580 w 2956560"/>
                  <a:gd name="connsiteY41" fmla="*/ 1226820 h 1249680"/>
                  <a:gd name="connsiteX42" fmla="*/ 2423160 w 2956560"/>
                  <a:gd name="connsiteY42" fmla="*/ 1196340 h 1249680"/>
                  <a:gd name="connsiteX43" fmla="*/ 2461260 w 2956560"/>
                  <a:gd name="connsiteY43" fmla="*/ 1173480 h 1249680"/>
                  <a:gd name="connsiteX44" fmla="*/ 2506980 w 2956560"/>
                  <a:gd name="connsiteY44" fmla="*/ 1165860 h 1249680"/>
                  <a:gd name="connsiteX45" fmla="*/ 2537460 w 2956560"/>
                  <a:gd name="connsiteY45" fmla="*/ 1150620 h 1249680"/>
                  <a:gd name="connsiteX46" fmla="*/ 2621280 w 2956560"/>
                  <a:gd name="connsiteY46" fmla="*/ 1127760 h 1249680"/>
                  <a:gd name="connsiteX47" fmla="*/ 2644140 w 2956560"/>
                  <a:gd name="connsiteY47" fmla="*/ 1112520 h 1249680"/>
                  <a:gd name="connsiteX48" fmla="*/ 2750820 w 2956560"/>
                  <a:gd name="connsiteY48" fmla="*/ 1082040 h 1249680"/>
                  <a:gd name="connsiteX49" fmla="*/ 2781300 w 2956560"/>
                  <a:gd name="connsiteY49" fmla="*/ 1066800 h 1249680"/>
                  <a:gd name="connsiteX50" fmla="*/ 2849880 w 2956560"/>
                  <a:gd name="connsiteY50" fmla="*/ 1051560 h 1249680"/>
                  <a:gd name="connsiteX51" fmla="*/ 2910840 w 2956560"/>
                  <a:gd name="connsiteY51" fmla="*/ 1021080 h 1249680"/>
                  <a:gd name="connsiteX52" fmla="*/ 2956560 w 2956560"/>
                  <a:gd name="connsiteY52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478280 w 2956560"/>
                  <a:gd name="connsiteY31" fmla="*/ 1173480 h 1249680"/>
                  <a:gd name="connsiteX32" fmla="*/ 1600200 w 2956560"/>
                  <a:gd name="connsiteY32" fmla="*/ 1181100 h 1249680"/>
                  <a:gd name="connsiteX33" fmla="*/ 1760220 w 2956560"/>
                  <a:gd name="connsiteY33" fmla="*/ 1196340 h 1249680"/>
                  <a:gd name="connsiteX34" fmla="*/ 1798320 w 2956560"/>
                  <a:gd name="connsiteY34" fmla="*/ 1203960 h 1249680"/>
                  <a:gd name="connsiteX35" fmla="*/ 1927860 w 2956560"/>
                  <a:gd name="connsiteY35" fmla="*/ 1211580 h 1249680"/>
                  <a:gd name="connsiteX36" fmla="*/ 1988820 w 2956560"/>
                  <a:gd name="connsiteY36" fmla="*/ 1226820 h 1249680"/>
                  <a:gd name="connsiteX37" fmla="*/ 2065020 w 2956560"/>
                  <a:gd name="connsiteY37" fmla="*/ 1234440 h 1249680"/>
                  <a:gd name="connsiteX38" fmla="*/ 2186940 w 2956560"/>
                  <a:gd name="connsiteY38" fmla="*/ 1249680 h 1249680"/>
                  <a:gd name="connsiteX39" fmla="*/ 2331720 w 2956560"/>
                  <a:gd name="connsiteY39" fmla="*/ 1242060 h 1249680"/>
                  <a:gd name="connsiteX40" fmla="*/ 2354580 w 2956560"/>
                  <a:gd name="connsiteY40" fmla="*/ 1226820 h 1249680"/>
                  <a:gd name="connsiteX41" fmla="*/ 2423160 w 2956560"/>
                  <a:gd name="connsiteY41" fmla="*/ 1196340 h 1249680"/>
                  <a:gd name="connsiteX42" fmla="*/ 2461260 w 2956560"/>
                  <a:gd name="connsiteY42" fmla="*/ 1173480 h 1249680"/>
                  <a:gd name="connsiteX43" fmla="*/ 2506980 w 2956560"/>
                  <a:gd name="connsiteY43" fmla="*/ 1165860 h 1249680"/>
                  <a:gd name="connsiteX44" fmla="*/ 2537460 w 2956560"/>
                  <a:gd name="connsiteY44" fmla="*/ 1150620 h 1249680"/>
                  <a:gd name="connsiteX45" fmla="*/ 2621280 w 2956560"/>
                  <a:gd name="connsiteY45" fmla="*/ 1127760 h 1249680"/>
                  <a:gd name="connsiteX46" fmla="*/ 2644140 w 2956560"/>
                  <a:gd name="connsiteY46" fmla="*/ 1112520 h 1249680"/>
                  <a:gd name="connsiteX47" fmla="*/ 2750820 w 2956560"/>
                  <a:gd name="connsiteY47" fmla="*/ 1082040 h 1249680"/>
                  <a:gd name="connsiteX48" fmla="*/ 2781300 w 2956560"/>
                  <a:gd name="connsiteY48" fmla="*/ 1066800 h 1249680"/>
                  <a:gd name="connsiteX49" fmla="*/ 2849880 w 2956560"/>
                  <a:gd name="connsiteY49" fmla="*/ 1051560 h 1249680"/>
                  <a:gd name="connsiteX50" fmla="*/ 2910840 w 2956560"/>
                  <a:gd name="connsiteY50" fmla="*/ 1021080 h 1249680"/>
                  <a:gd name="connsiteX51" fmla="*/ 2956560 w 2956560"/>
                  <a:gd name="connsiteY51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600200 w 2956560"/>
                  <a:gd name="connsiteY31" fmla="*/ 1181100 h 1249680"/>
                  <a:gd name="connsiteX32" fmla="*/ 1760220 w 2956560"/>
                  <a:gd name="connsiteY32" fmla="*/ 1196340 h 1249680"/>
                  <a:gd name="connsiteX33" fmla="*/ 1798320 w 2956560"/>
                  <a:gd name="connsiteY33" fmla="*/ 1203960 h 1249680"/>
                  <a:gd name="connsiteX34" fmla="*/ 1927860 w 2956560"/>
                  <a:gd name="connsiteY34" fmla="*/ 1211580 h 1249680"/>
                  <a:gd name="connsiteX35" fmla="*/ 1988820 w 2956560"/>
                  <a:gd name="connsiteY35" fmla="*/ 1226820 h 1249680"/>
                  <a:gd name="connsiteX36" fmla="*/ 2065020 w 2956560"/>
                  <a:gd name="connsiteY36" fmla="*/ 1234440 h 1249680"/>
                  <a:gd name="connsiteX37" fmla="*/ 2186940 w 2956560"/>
                  <a:gd name="connsiteY37" fmla="*/ 1249680 h 1249680"/>
                  <a:gd name="connsiteX38" fmla="*/ 2331720 w 2956560"/>
                  <a:gd name="connsiteY38" fmla="*/ 1242060 h 1249680"/>
                  <a:gd name="connsiteX39" fmla="*/ 2354580 w 2956560"/>
                  <a:gd name="connsiteY39" fmla="*/ 1226820 h 1249680"/>
                  <a:gd name="connsiteX40" fmla="*/ 2423160 w 2956560"/>
                  <a:gd name="connsiteY40" fmla="*/ 1196340 h 1249680"/>
                  <a:gd name="connsiteX41" fmla="*/ 2461260 w 2956560"/>
                  <a:gd name="connsiteY41" fmla="*/ 1173480 h 1249680"/>
                  <a:gd name="connsiteX42" fmla="*/ 2506980 w 2956560"/>
                  <a:gd name="connsiteY42" fmla="*/ 1165860 h 1249680"/>
                  <a:gd name="connsiteX43" fmla="*/ 2537460 w 2956560"/>
                  <a:gd name="connsiteY43" fmla="*/ 1150620 h 1249680"/>
                  <a:gd name="connsiteX44" fmla="*/ 2621280 w 2956560"/>
                  <a:gd name="connsiteY44" fmla="*/ 1127760 h 1249680"/>
                  <a:gd name="connsiteX45" fmla="*/ 2644140 w 2956560"/>
                  <a:gd name="connsiteY45" fmla="*/ 1112520 h 1249680"/>
                  <a:gd name="connsiteX46" fmla="*/ 2750820 w 2956560"/>
                  <a:gd name="connsiteY46" fmla="*/ 1082040 h 1249680"/>
                  <a:gd name="connsiteX47" fmla="*/ 2781300 w 2956560"/>
                  <a:gd name="connsiteY47" fmla="*/ 1066800 h 1249680"/>
                  <a:gd name="connsiteX48" fmla="*/ 2849880 w 2956560"/>
                  <a:gd name="connsiteY48" fmla="*/ 1051560 h 1249680"/>
                  <a:gd name="connsiteX49" fmla="*/ 2910840 w 2956560"/>
                  <a:gd name="connsiteY49" fmla="*/ 1021080 h 1249680"/>
                  <a:gd name="connsiteX50" fmla="*/ 2956560 w 2956560"/>
                  <a:gd name="connsiteY50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158240 w 2956560"/>
                  <a:gd name="connsiteY28" fmla="*/ 1036320 h 1249680"/>
                  <a:gd name="connsiteX29" fmla="*/ 1219200 w 2956560"/>
                  <a:gd name="connsiteY29" fmla="*/ 1082040 h 1249680"/>
                  <a:gd name="connsiteX30" fmla="*/ 1600200 w 2956560"/>
                  <a:gd name="connsiteY30" fmla="*/ 1181100 h 1249680"/>
                  <a:gd name="connsiteX31" fmla="*/ 1760220 w 2956560"/>
                  <a:gd name="connsiteY31" fmla="*/ 1196340 h 1249680"/>
                  <a:gd name="connsiteX32" fmla="*/ 1798320 w 2956560"/>
                  <a:gd name="connsiteY32" fmla="*/ 1203960 h 1249680"/>
                  <a:gd name="connsiteX33" fmla="*/ 1927860 w 2956560"/>
                  <a:gd name="connsiteY33" fmla="*/ 1211580 h 1249680"/>
                  <a:gd name="connsiteX34" fmla="*/ 1988820 w 2956560"/>
                  <a:gd name="connsiteY34" fmla="*/ 1226820 h 1249680"/>
                  <a:gd name="connsiteX35" fmla="*/ 2065020 w 2956560"/>
                  <a:gd name="connsiteY35" fmla="*/ 1234440 h 1249680"/>
                  <a:gd name="connsiteX36" fmla="*/ 2186940 w 2956560"/>
                  <a:gd name="connsiteY36" fmla="*/ 1249680 h 1249680"/>
                  <a:gd name="connsiteX37" fmla="*/ 2331720 w 2956560"/>
                  <a:gd name="connsiteY37" fmla="*/ 1242060 h 1249680"/>
                  <a:gd name="connsiteX38" fmla="*/ 2354580 w 2956560"/>
                  <a:gd name="connsiteY38" fmla="*/ 1226820 h 1249680"/>
                  <a:gd name="connsiteX39" fmla="*/ 2423160 w 2956560"/>
                  <a:gd name="connsiteY39" fmla="*/ 1196340 h 1249680"/>
                  <a:gd name="connsiteX40" fmla="*/ 2461260 w 2956560"/>
                  <a:gd name="connsiteY40" fmla="*/ 1173480 h 1249680"/>
                  <a:gd name="connsiteX41" fmla="*/ 2506980 w 2956560"/>
                  <a:gd name="connsiteY41" fmla="*/ 1165860 h 1249680"/>
                  <a:gd name="connsiteX42" fmla="*/ 2537460 w 2956560"/>
                  <a:gd name="connsiteY42" fmla="*/ 1150620 h 1249680"/>
                  <a:gd name="connsiteX43" fmla="*/ 2621280 w 2956560"/>
                  <a:gd name="connsiteY43" fmla="*/ 1127760 h 1249680"/>
                  <a:gd name="connsiteX44" fmla="*/ 2644140 w 2956560"/>
                  <a:gd name="connsiteY44" fmla="*/ 1112520 h 1249680"/>
                  <a:gd name="connsiteX45" fmla="*/ 2750820 w 2956560"/>
                  <a:gd name="connsiteY45" fmla="*/ 1082040 h 1249680"/>
                  <a:gd name="connsiteX46" fmla="*/ 2781300 w 2956560"/>
                  <a:gd name="connsiteY46" fmla="*/ 1066800 h 1249680"/>
                  <a:gd name="connsiteX47" fmla="*/ 2849880 w 2956560"/>
                  <a:gd name="connsiteY47" fmla="*/ 1051560 h 1249680"/>
                  <a:gd name="connsiteX48" fmla="*/ 2910840 w 2956560"/>
                  <a:gd name="connsiteY48" fmla="*/ 1021080 h 1249680"/>
                  <a:gd name="connsiteX49" fmla="*/ 2956560 w 2956560"/>
                  <a:gd name="connsiteY49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1021080 w 2956560"/>
                  <a:gd name="connsiteY25" fmla="*/ 967740 h 1249680"/>
                  <a:gd name="connsiteX26" fmla="*/ 1074420 w 2956560"/>
                  <a:gd name="connsiteY26" fmla="*/ 998220 h 1249680"/>
                  <a:gd name="connsiteX27" fmla="*/ 1158240 w 2956560"/>
                  <a:gd name="connsiteY27" fmla="*/ 1036320 h 1249680"/>
                  <a:gd name="connsiteX28" fmla="*/ 1219200 w 2956560"/>
                  <a:gd name="connsiteY28" fmla="*/ 1082040 h 1249680"/>
                  <a:gd name="connsiteX29" fmla="*/ 1600200 w 2956560"/>
                  <a:gd name="connsiteY29" fmla="*/ 1181100 h 1249680"/>
                  <a:gd name="connsiteX30" fmla="*/ 1760220 w 2956560"/>
                  <a:gd name="connsiteY30" fmla="*/ 1196340 h 1249680"/>
                  <a:gd name="connsiteX31" fmla="*/ 1798320 w 2956560"/>
                  <a:gd name="connsiteY31" fmla="*/ 1203960 h 1249680"/>
                  <a:gd name="connsiteX32" fmla="*/ 1927860 w 2956560"/>
                  <a:gd name="connsiteY32" fmla="*/ 1211580 h 1249680"/>
                  <a:gd name="connsiteX33" fmla="*/ 1988820 w 2956560"/>
                  <a:gd name="connsiteY33" fmla="*/ 1226820 h 1249680"/>
                  <a:gd name="connsiteX34" fmla="*/ 2065020 w 2956560"/>
                  <a:gd name="connsiteY34" fmla="*/ 1234440 h 1249680"/>
                  <a:gd name="connsiteX35" fmla="*/ 2186940 w 2956560"/>
                  <a:gd name="connsiteY35" fmla="*/ 1249680 h 1249680"/>
                  <a:gd name="connsiteX36" fmla="*/ 2331720 w 2956560"/>
                  <a:gd name="connsiteY36" fmla="*/ 1242060 h 1249680"/>
                  <a:gd name="connsiteX37" fmla="*/ 2354580 w 2956560"/>
                  <a:gd name="connsiteY37" fmla="*/ 1226820 h 1249680"/>
                  <a:gd name="connsiteX38" fmla="*/ 2423160 w 2956560"/>
                  <a:gd name="connsiteY38" fmla="*/ 1196340 h 1249680"/>
                  <a:gd name="connsiteX39" fmla="*/ 2461260 w 2956560"/>
                  <a:gd name="connsiteY39" fmla="*/ 1173480 h 1249680"/>
                  <a:gd name="connsiteX40" fmla="*/ 2506980 w 2956560"/>
                  <a:gd name="connsiteY40" fmla="*/ 1165860 h 1249680"/>
                  <a:gd name="connsiteX41" fmla="*/ 2537460 w 2956560"/>
                  <a:gd name="connsiteY41" fmla="*/ 1150620 h 1249680"/>
                  <a:gd name="connsiteX42" fmla="*/ 2621280 w 2956560"/>
                  <a:gd name="connsiteY42" fmla="*/ 1127760 h 1249680"/>
                  <a:gd name="connsiteX43" fmla="*/ 2644140 w 2956560"/>
                  <a:gd name="connsiteY43" fmla="*/ 1112520 h 1249680"/>
                  <a:gd name="connsiteX44" fmla="*/ 2750820 w 2956560"/>
                  <a:gd name="connsiteY44" fmla="*/ 1082040 h 1249680"/>
                  <a:gd name="connsiteX45" fmla="*/ 2781300 w 2956560"/>
                  <a:gd name="connsiteY45" fmla="*/ 1066800 h 1249680"/>
                  <a:gd name="connsiteX46" fmla="*/ 2849880 w 2956560"/>
                  <a:gd name="connsiteY46" fmla="*/ 1051560 h 1249680"/>
                  <a:gd name="connsiteX47" fmla="*/ 2910840 w 2956560"/>
                  <a:gd name="connsiteY47" fmla="*/ 1021080 h 1249680"/>
                  <a:gd name="connsiteX48" fmla="*/ 2956560 w 2956560"/>
                  <a:gd name="connsiteY48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792480 w 2956560"/>
                  <a:gd name="connsiteY21" fmla="*/ 845820 h 1249680"/>
                  <a:gd name="connsiteX22" fmla="*/ 891540 w 2956560"/>
                  <a:gd name="connsiteY22" fmla="*/ 883920 h 1249680"/>
                  <a:gd name="connsiteX23" fmla="*/ 967740 w 2956560"/>
                  <a:gd name="connsiteY23" fmla="*/ 937260 h 1249680"/>
                  <a:gd name="connsiteX24" fmla="*/ 1021080 w 2956560"/>
                  <a:gd name="connsiteY24" fmla="*/ 967740 h 1249680"/>
                  <a:gd name="connsiteX25" fmla="*/ 1074420 w 2956560"/>
                  <a:gd name="connsiteY25" fmla="*/ 998220 h 1249680"/>
                  <a:gd name="connsiteX26" fmla="*/ 1158240 w 2956560"/>
                  <a:gd name="connsiteY26" fmla="*/ 1036320 h 1249680"/>
                  <a:gd name="connsiteX27" fmla="*/ 1219200 w 2956560"/>
                  <a:gd name="connsiteY27" fmla="*/ 1082040 h 1249680"/>
                  <a:gd name="connsiteX28" fmla="*/ 1600200 w 2956560"/>
                  <a:gd name="connsiteY28" fmla="*/ 1181100 h 1249680"/>
                  <a:gd name="connsiteX29" fmla="*/ 1760220 w 2956560"/>
                  <a:gd name="connsiteY29" fmla="*/ 1196340 h 1249680"/>
                  <a:gd name="connsiteX30" fmla="*/ 1798320 w 2956560"/>
                  <a:gd name="connsiteY30" fmla="*/ 1203960 h 1249680"/>
                  <a:gd name="connsiteX31" fmla="*/ 1927860 w 2956560"/>
                  <a:gd name="connsiteY31" fmla="*/ 1211580 h 1249680"/>
                  <a:gd name="connsiteX32" fmla="*/ 1988820 w 2956560"/>
                  <a:gd name="connsiteY32" fmla="*/ 1226820 h 1249680"/>
                  <a:gd name="connsiteX33" fmla="*/ 2065020 w 2956560"/>
                  <a:gd name="connsiteY33" fmla="*/ 1234440 h 1249680"/>
                  <a:gd name="connsiteX34" fmla="*/ 2186940 w 2956560"/>
                  <a:gd name="connsiteY34" fmla="*/ 1249680 h 1249680"/>
                  <a:gd name="connsiteX35" fmla="*/ 2331720 w 2956560"/>
                  <a:gd name="connsiteY35" fmla="*/ 1242060 h 1249680"/>
                  <a:gd name="connsiteX36" fmla="*/ 2354580 w 2956560"/>
                  <a:gd name="connsiteY36" fmla="*/ 1226820 h 1249680"/>
                  <a:gd name="connsiteX37" fmla="*/ 2423160 w 2956560"/>
                  <a:gd name="connsiteY37" fmla="*/ 1196340 h 1249680"/>
                  <a:gd name="connsiteX38" fmla="*/ 2461260 w 2956560"/>
                  <a:gd name="connsiteY38" fmla="*/ 1173480 h 1249680"/>
                  <a:gd name="connsiteX39" fmla="*/ 2506980 w 2956560"/>
                  <a:gd name="connsiteY39" fmla="*/ 1165860 h 1249680"/>
                  <a:gd name="connsiteX40" fmla="*/ 2537460 w 2956560"/>
                  <a:gd name="connsiteY40" fmla="*/ 1150620 h 1249680"/>
                  <a:gd name="connsiteX41" fmla="*/ 2621280 w 2956560"/>
                  <a:gd name="connsiteY41" fmla="*/ 1127760 h 1249680"/>
                  <a:gd name="connsiteX42" fmla="*/ 2644140 w 2956560"/>
                  <a:gd name="connsiteY42" fmla="*/ 1112520 h 1249680"/>
                  <a:gd name="connsiteX43" fmla="*/ 2750820 w 2956560"/>
                  <a:gd name="connsiteY43" fmla="*/ 1082040 h 1249680"/>
                  <a:gd name="connsiteX44" fmla="*/ 2781300 w 2956560"/>
                  <a:gd name="connsiteY44" fmla="*/ 1066800 h 1249680"/>
                  <a:gd name="connsiteX45" fmla="*/ 2849880 w 2956560"/>
                  <a:gd name="connsiteY45" fmla="*/ 1051560 h 1249680"/>
                  <a:gd name="connsiteX46" fmla="*/ 2910840 w 2956560"/>
                  <a:gd name="connsiteY46" fmla="*/ 1021080 h 1249680"/>
                  <a:gd name="connsiteX47" fmla="*/ 2956560 w 2956560"/>
                  <a:gd name="connsiteY47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891540 w 2956560"/>
                  <a:gd name="connsiteY21" fmla="*/ 883920 h 1249680"/>
                  <a:gd name="connsiteX22" fmla="*/ 967740 w 2956560"/>
                  <a:gd name="connsiteY22" fmla="*/ 937260 h 1249680"/>
                  <a:gd name="connsiteX23" fmla="*/ 1021080 w 2956560"/>
                  <a:gd name="connsiteY23" fmla="*/ 967740 h 1249680"/>
                  <a:gd name="connsiteX24" fmla="*/ 1074420 w 2956560"/>
                  <a:gd name="connsiteY24" fmla="*/ 998220 h 1249680"/>
                  <a:gd name="connsiteX25" fmla="*/ 1158240 w 2956560"/>
                  <a:gd name="connsiteY25" fmla="*/ 1036320 h 1249680"/>
                  <a:gd name="connsiteX26" fmla="*/ 1219200 w 2956560"/>
                  <a:gd name="connsiteY26" fmla="*/ 1082040 h 1249680"/>
                  <a:gd name="connsiteX27" fmla="*/ 1600200 w 2956560"/>
                  <a:gd name="connsiteY27" fmla="*/ 1181100 h 1249680"/>
                  <a:gd name="connsiteX28" fmla="*/ 1760220 w 2956560"/>
                  <a:gd name="connsiteY28" fmla="*/ 1196340 h 1249680"/>
                  <a:gd name="connsiteX29" fmla="*/ 1798320 w 2956560"/>
                  <a:gd name="connsiteY29" fmla="*/ 1203960 h 1249680"/>
                  <a:gd name="connsiteX30" fmla="*/ 1927860 w 2956560"/>
                  <a:gd name="connsiteY30" fmla="*/ 1211580 h 1249680"/>
                  <a:gd name="connsiteX31" fmla="*/ 1988820 w 2956560"/>
                  <a:gd name="connsiteY31" fmla="*/ 1226820 h 1249680"/>
                  <a:gd name="connsiteX32" fmla="*/ 2065020 w 2956560"/>
                  <a:gd name="connsiteY32" fmla="*/ 1234440 h 1249680"/>
                  <a:gd name="connsiteX33" fmla="*/ 2186940 w 2956560"/>
                  <a:gd name="connsiteY33" fmla="*/ 1249680 h 1249680"/>
                  <a:gd name="connsiteX34" fmla="*/ 2331720 w 2956560"/>
                  <a:gd name="connsiteY34" fmla="*/ 1242060 h 1249680"/>
                  <a:gd name="connsiteX35" fmla="*/ 2354580 w 2956560"/>
                  <a:gd name="connsiteY35" fmla="*/ 1226820 h 1249680"/>
                  <a:gd name="connsiteX36" fmla="*/ 2423160 w 2956560"/>
                  <a:gd name="connsiteY36" fmla="*/ 1196340 h 1249680"/>
                  <a:gd name="connsiteX37" fmla="*/ 2461260 w 2956560"/>
                  <a:gd name="connsiteY37" fmla="*/ 1173480 h 1249680"/>
                  <a:gd name="connsiteX38" fmla="*/ 2506980 w 2956560"/>
                  <a:gd name="connsiteY38" fmla="*/ 1165860 h 1249680"/>
                  <a:gd name="connsiteX39" fmla="*/ 2537460 w 2956560"/>
                  <a:gd name="connsiteY39" fmla="*/ 1150620 h 1249680"/>
                  <a:gd name="connsiteX40" fmla="*/ 2621280 w 2956560"/>
                  <a:gd name="connsiteY40" fmla="*/ 1127760 h 1249680"/>
                  <a:gd name="connsiteX41" fmla="*/ 2644140 w 2956560"/>
                  <a:gd name="connsiteY41" fmla="*/ 1112520 h 1249680"/>
                  <a:gd name="connsiteX42" fmla="*/ 2750820 w 2956560"/>
                  <a:gd name="connsiteY42" fmla="*/ 1082040 h 1249680"/>
                  <a:gd name="connsiteX43" fmla="*/ 2781300 w 2956560"/>
                  <a:gd name="connsiteY43" fmla="*/ 1066800 h 1249680"/>
                  <a:gd name="connsiteX44" fmla="*/ 2849880 w 2956560"/>
                  <a:gd name="connsiteY44" fmla="*/ 1051560 h 1249680"/>
                  <a:gd name="connsiteX45" fmla="*/ 2910840 w 2956560"/>
                  <a:gd name="connsiteY45" fmla="*/ 1021080 h 1249680"/>
                  <a:gd name="connsiteX46" fmla="*/ 2956560 w 2956560"/>
                  <a:gd name="connsiteY46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967740 w 2956560"/>
                  <a:gd name="connsiteY21" fmla="*/ 937260 h 1249680"/>
                  <a:gd name="connsiteX22" fmla="*/ 1021080 w 2956560"/>
                  <a:gd name="connsiteY22" fmla="*/ 967740 h 1249680"/>
                  <a:gd name="connsiteX23" fmla="*/ 1074420 w 2956560"/>
                  <a:gd name="connsiteY23" fmla="*/ 998220 h 1249680"/>
                  <a:gd name="connsiteX24" fmla="*/ 1158240 w 2956560"/>
                  <a:gd name="connsiteY24" fmla="*/ 1036320 h 1249680"/>
                  <a:gd name="connsiteX25" fmla="*/ 1219200 w 2956560"/>
                  <a:gd name="connsiteY25" fmla="*/ 1082040 h 1249680"/>
                  <a:gd name="connsiteX26" fmla="*/ 1600200 w 2956560"/>
                  <a:gd name="connsiteY26" fmla="*/ 1181100 h 1249680"/>
                  <a:gd name="connsiteX27" fmla="*/ 1760220 w 2956560"/>
                  <a:gd name="connsiteY27" fmla="*/ 1196340 h 1249680"/>
                  <a:gd name="connsiteX28" fmla="*/ 1798320 w 2956560"/>
                  <a:gd name="connsiteY28" fmla="*/ 1203960 h 1249680"/>
                  <a:gd name="connsiteX29" fmla="*/ 1927860 w 2956560"/>
                  <a:gd name="connsiteY29" fmla="*/ 1211580 h 1249680"/>
                  <a:gd name="connsiteX30" fmla="*/ 1988820 w 2956560"/>
                  <a:gd name="connsiteY30" fmla="*/ 1226820 h 1249680"/>
                  <a:gd name="connsiteX31" fmla="*/ 2065020 w 2956560"/>
                  <a:gd name="connsiteY31" fmla="*/ 1234440 h 1249680"/>
                  <a:gd name="connsiteX32" fmla="*/ 2186940 w 2956560"/>
                  <a:gd name="connsiteY32" fmla="*/ 1249680 h 1249680"/>
                  <a:gd name="connsiteX33" fmla="*/ 2331720 w 2956560"/>
                  <a:gd name="connsiteY33" fmla="*/ 1242060 h 1249680"/>
                  <a:gd name="connsiteX34" fmla="*/ 2354580 w 2956560"/>
                  <a:gd name="connsiteY34" fmla="*/ 1226820 h 1249680"/>
                  <a:gd name="connsiteX35" fmla="*/ 2423160 w 2956560"/>
                  <a:gd name="connsiteY35" fmla="*/ 1196340 h 1249680"/>
                  <a:gd name="connsiteX36" fmla="*/ 2461260 w 2956560"/>
                  <a:gd name="connsiteY36" fmla="*/ 1173480 h 1249680"/>
                  <a:gd name="connsiteX37" fmla="*/ 2506980 w 2956560"/>
                  <a:gd name="connsiteY37" fmla="*/ 1165860 h 1249680"/>
                  <a:gd name="connsiteX38" fmla="*/ 2537460 w 2956560"/>
                  <a:gd name="connsiteY38" fmla="*/ 1150620 h 1249680"/>
                  <a:gd name="connsiteX39" fmla="*/ 2621280 w 2956560"/>
                  <a:gd name="connsiteY39" fmla="*/ 1127760 h 1249680"/>
                  <a:gd name="connsiteX40" fmla="*/ 2644140 w 2956560"/>
                  <a:gd name="connsiteY40" fmla="*/ 1112520 h 1249680"/>
                  <a:gd name="connsiteX41" fmla="*/ 2750820 w 2956560"/>
                  <a:gd name="connsiteY41" fmla="*/ 1082040 h 1249680"/>
                  <a:gd name="connsiteX42" fmla="*/ 2781300 w 2956560"/>
                  <a:gd name="connsiteY42" fmla="*/ 1066800 h 1249680"/>
                  <a:gd name="connsiteX43" fmla="*/ 2849880 w 2956560"/>
                  <a:gd name="connsiteY43" fmla="*/ 1051560 h 1249680"/>
                  <a:gd name="connsiteX44" fmla="*/ 2910840 w 2956560"/>
                  <a:gd name="connsiteY44" fmla="*/ 1021080 h 1249680"/>
                  <a:gd name="connsiteX45" fmla="*/ 2956560 w 2956560"/>
                  <a:gd name="connsiteY45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967740 w 2956560"/>
                  <a:gd name="connsiteY21" fmla="*/ 937260 h 1249680"/>
                  <a:gd name="connsiteX22" fmla="*/ 1021080 w 2956560"/>
                  <a:gd name="connsiteY22" fmla="*/ 967740 h 1249680"/>
                  <a:gd name="connsiteX23" fmla="*/ 1074420 w 2956560"/>
                  <a:gd name="connsiteY23" fmla="*/ 998220 h 1249680"/>
                  <a:gd name="connsiteX24" fmla="*/ 1158240 w 2956560"/>
                  <a:gd name="connsiteY24" fmla="*/ 1036320 h 1249680"/>
                  <a:gd name="connsiteX25" fmla="*/ 1219200 w 2956560"/>
                  <a:gd name="connsiteY25" fmla="*/ 1082040 h 1249680"/>
                  <a:gd name="connsiteX26" fmla="*/ 1600200 w 2956560"/>
                  <a:gd name="connsiteY26" fmla="*/ 1181100 h 1249680"/>
                  <a:gd name="connsiteX27" fmla="*/ 1760220 w 2956560"/>
                  <a:gd name="connsiteY27" fmla="*/ 1196340 h 1249680"/>
                  <a:gd name="connsiteX28" fmla="*/ 1798320 w 2956560"/>
                  <a:gd name="connsiteY28" fmla="*/ 1203960 h 1249680"/>
                  <a:gd name="connsiteX29" fmla="*/ 1927860 w 2956560"/>
                  <a:gd name="connsiteY29" fmla="*/ 1211580 h 1249680"/>
                  <a:gd name="connsiteX30" fmla="*/ 1988820 w 2956560"/>
                  <a:gd name="connsiteY30" fmla="*/ 1226820 h 1249680"/>
                  <a:gd name="connsiteX31" fmla="*/ 2065020 w 2956560"/>
                  <a:gd name="connsiteY31" fmla="*/ 1234440 h 1249680"/>
                  <a:gd name="connsiteX32" fmla="*/ 2186940 w 2956560"/>
                  <a:gd name="connsiteY32" fmla="*/ 1249680 h 1249680"/>
                  <a:gd name="connsiteX33" fmla="*/ 2354580 w 2956560"/>
                  <a:gd name="connsiteY33" fmla="*/ 1226820 h 1249680"/>
                  <a:gd name="connsiteX34" fmla="*/ 2423160 w 2956560"/>
                  <a:gd name="connsiteY34" fmla="*/ 1196340 h 1249680"/>
                  <a:gd name="connsiteX35" fmla="*/ 2461260 w 2956560"/>
                  <a:gd name="connsiteY35" fmla="*/ 1173480 h 1249680"/>
                  <a:gd name="connsiteX36" fmla="*/ 2506980 w 2956560"/>
                  <a:gd name="connsiteY36" fmla="*/ 1165860 h 1249680"/>
                  <a:gd name="connsiteX37" fmla="*/ 2537460 w 2956560"/>
                  <a:gd name="connsiteY37" fmla="*/ 1150620 h 1249680"/>
                  <a:gd name="connsiteX38" fmla="*/ 2621280 w 2956560"/>
                  <a:gd name="connsiteY38" fmla="*/ 1127760 h 1249680"/>
                  <a:gd name="connsiteX39" fmla="*/ 2644140 w 2956560"/>
                  <a:gd name="connsiteY39" fmla="*/ 1112520 h 1249680"/>
                  <a:gd name="connsiteX40" fmla="*/ 2750820 w 2956560"/>
                  <a:gd name="connsiteY40" fmla="*/ 1082040 h 1249680"/>
                  <a:gd name="connsiteX41" fmla="*/ 2781300 w 2956560"/>
                  <a:gd name="connsiteY41" fmla="*/ 1066800 h 1249680"/>
                  <a:gd name="connsiteX42" fmla="*/ 2849880 w 2956560"/>
                  <a:gd name="connsiteY42" fmla="*/ 1051560 h 1249680"/>
                  <a:gd name="connsiteX43" fmla="*/ 2910840 w 2956560"/>
                  <a:gd name="connsiteY43" fmla="*/ 1021080 h 1249680"/>
                  <a:gd name="connsiteX44" fmla="*/ 2956560 w 2956560"/>
                  <a:gd name="connsiteY44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967740 w 2956560"/>
                  <a:gd name="connsiteY21" fmla="*/ 937260 h 1249680"/>
                  <a:gd name="connsiteX22" fmla="*/ 1021080 w 2956560"/>
                  <a:gd name="connsiteY22" fmla="*/ 967740 h 1249680"/>
                  <a:gd name="connsiteX23" fmla="*/ 1074420 w 2956560"/>
                  <a:gd name="connsiteY23" fmla="*/ 998220 h 1249680"/>
                  <a:gd name="connsiteX24" fmla="*/ 1158240 w 2956560"/>
                  <a:gd name="connsiteY24" fmla="*/ 1036320 h 1249680"/>
                  <a:gd name="connsiteX25" fmla="*/ 1219200 w 2956560"/>
                  <a:gd name="connsiteY25" fmla="*/ 1082040 h 1249680"/>
                  <a:gd name="connsiteX26" fmla="*/ 1600200 w 2956560"/>
                  <a:gd name="connsiteY26" fmla="*/ 1181100 h 1249680"/>
                  <a:gd name="connsiteX27" fmla="*/ 1760220 w 2956560"/>
                  <a:gd name="connsiteY27" fmla="*/ 1196340 h 1249680"/>
                  <a:gd name="connsiteX28" fmla="*/ 1798320 w 2956560"/>
                  <a:gd name="connsiteY28" fmla="*/ 1203960 h 1249680"/>
                  <a:gd name="connsiteX29" fmla="*/ 1927860 w 2956560"/>
                  <a:gd name="connsiteY29" fmla="*/ 1211580 h 1249680"/>
                  <a:gd name="connsiteX30" fmla="*/ 1988820 w 2956560"/>
                  <a:gd name="connsiteY30" fmla="*/ 1226820 h 1249680"/>
                  <a:gd name="connsiteX31" fmla="*/ 2065020 w 2956560"/>
                  <a:gd name="connsiteY31" fmla="*/ 1234440 h 1249680"/>
                  <a:gd name="connsiteX32" fmla="*/ 2186940 w 2956560"/>
                  <a:gd name="connsiteY32" fmla="*/ 1249680 h 1249680"/>
                  <a:gd name="connsiteX33" fmla="*/ 2423160 w 2956560"/>
                  <a:gd name="connsiteY33" fmla="*/ 1196340 h 1249680"/>
                  <a:gd name="connsiteX34" fmla="*/ 2461260 w 2956560"/>
                  <a:gd name="connsiteY34" fmla="*/ 1173480 h 1249680"/>
                  <a:gd name="connsiteX35" fmla="*/ 2506980 w 2956560"/>
                  <a:gd name="connsiteY35" fmla="*/ 1165860 h 1249680"/>
                  <a:gd name="connsiteX36" fmla="*/ 2537460 w 2956560"/>
                  <a:gd name="connsiteY36" fmla="*/ 1150620 h 1249680"/>
                  <a:gd name="connsiteX37" fmla="*/ 2621280 w 2956560"/>
                  <a:gd name="connsiteY37" fmla="*/ 1127760 h 1249680"/>
                  <a:gd name="connsiteX38" fmla="*/ 2644140 w 2956560"/>
                  <a:gd name="connsiteY38" fmla="*/ 1112520 h 1249680"/>
                  <a:gd name="connsiteX39" fmla="*/ 2750820 w 2956560"/>
                  <a:gd name="connsiteY39" fmla="*/ 1082040 h 1249680"/>
                  <a:gd name="connsiteX40" fmla="*/ 2781300 w 2956560"/>
                  <a:gd name="connsiteY40" fmla="*/ 1066800 h 1249680"/>
                  <a:gd name="connsiteX41" fmla="*/ 2849880 w 2956560"/>
                  <a:gd name="connsiteY41" fmla="*/ 1051560 h 1249680"/>
                  <a:gd name="connsiteX42" fmla="*/ 2910840 w 2956560"/>
                  <a:gd name="connsiteY42" fmla="*/ 1021080 h 1249680"/>
                  <a:gd name="connsiteX43" fmla="*/ 2956560 w 2956560"/>
                  <a:gd name="connsiteY43" fmla="*/ 998220 h 124968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0220 w 2956560"/>
                  <a:gd name="connsiteY27" fmla="*/ 1196340 h 1234440"/>
                  <a:gd name="connsiteX28" fmla="*/ 1798320 w 2956560"/>
                  <a:gd name="connsiteY28" fmla="*/ 1203960 h 1234440"/>
                  <a:gd name="connsiteX29" fmla="*/ 1927860 w 2956560"/>
                  <a:gd name="connsiteY29" fmla="*/ 1211580 h 1234440"/>
                  <a:gd name="connsiteX30" fmla="*/ 1988820 w 2956560"/>
                  <a:gd name="connsiteY30" fmla="*/ 1226820 h 1234440"/>
                  <a:gd name="connsiteX31" fmla="*/ 2065020 w 2956560"/>
                  <a:gd name="connsiteY31" fmla="*/ 1234440 h 1234440"/>
                  <a:gd name="connsiteX32" fmla="*/ 2423160 w 2956560"/>
                  <a:gd name="connsiteY32" fmla="*/ 1196340 h 1234440"/>
                  <a:gd name="connsiteX33" fmla="*/ 2461260 w 2956560"/>
                  <a:gd name="connsiteY33" fmla="*/ 1173480 h 1234440"/>
                  <a:gd name="connsiteX34" fmla="*/ 2506980 w 2956560"/>
                  <a:gd name="connsiteY34" fmla="*/ 1165860 h 1234440"/>
                  <a:gd name="connsiteX35" fmla="*/ 2537460 w 2956560"/>
                  <a:gd name="connsiteY35" fmla="*/ 1150620 h 1234440"/>
                  <a:gd name="connsiteX36" fmla="*/ 2621280 w 2956560"/>
                  <a:gd name="connsiteY36" fmla="*/ 1127760 h 1234440"/>
                  <a:gd name="connsiteX37" fmla="*/ 2644140 w 2956560"/>
                  <a:gd name="connsiteY37" fmla="*/ 1112520 h 1234440"/>
                  <a:gd name="connsiteX38" fmla="*/ 2750820 w 2956560"/>
                  <a:gd name="connsiteY38" fmla="*/ 1082040 h 1234440"/>
                  <a:gd name="connsiteX39" fmla="*/ 2781300 w 2956560"/>
                  <a:gd name="connsiteY39" fmla="*/ 1066800 h 1234440"/>
                  <a:gd name="connsiteX40" fmla="*/ 2849880 w 2956560"/>
                  <a:gd name="connsiteY40" fmla="*/ 1051560 h 1234440"/>
                  <a:gd name="connsiteX41" fmla="*/ 2910840 w 2956560"/>
                  <a:gd name="connsiteY41" fmla="*/ 1021080 h 1234440"/>
                  <a:gd name="connsiteX42" fmla="*/ 2956560 w 2956560"/>
                  <a:gd name="connsiteY42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0220 w 2956560"/>
                  <a:gd name="connsiteY27" fmla="*/ 1196340 h 1234440"/>
                  <a:gd name="connsiteX28" fmla="*/ 1798320 w 2956560"/>
                  <a:gd name="connsiteY28" fmla="*/ 1203960 h 1234440"/>
                  <a:gd name="connsiteX29" fmla="*/ 1988820 w 2956560"/>
                  <a:gd name="connsiteY29" fmla="*/ 1226820 h 1234440"/>
                  <a:gd name="connsiteX30" fmla="*/ 2065020 w 2956560"/>
                  <a:gd name="connsiteY30" fmla="*/ 1234440 h 1234440"/>
                  <a:gd name="connsiteX31" fmla="*/ 2423160 w 2956560"/>
                  <a:gd name="connsiteY31" fmla="*/ 1196340 h 1234440"/>
                  <a:gd name="connsiteX32" fmla="*/ 2461260 w 2956560"/>
                  <a:gd name="connsiteY32" fmla="*/ 1173480 h 1234440"/>
                  <a:gd name="connsiteX33" fmla="*/ 2506980 w 2956560"/>
                  <a:gd name="connsiteY33" fmla="*/ 1165860 h 1234440"/>
                  <a:gd name="connsiteX34" fmla="*/ 2537460 w 2956560"/>
                  <a:gd name="connsiteY34" fmla="*/ 1150620 h 1234440"/>
                  <a:gd name="connsiteX35" fmla="*/ 2621280 w 2956560"/>
                  <a:gd name="connsiteY35" fmla="*/ 1127760 h 1234440"/>
                  <a:gd name="connsiteX36" fmla="*/ 2644140 w 2956560"/>
                  <a:gd name="connsiteY36" fmla="*/ 1112520 h 1234440"/>
                  <a:gd name="connsiteX37" fmla="*/ 2750820 w 2956560"/>
                  <a:gd name="connsiteY37" fmla="*/ 1082040 h 1234440"/>
                  <a:gd name="connsiteX38" fmla="*/ 2781300 w 2956560"/>
                  <a:gd name="connsiteY38" fmla="*/ 1066800 h 1234440"/>
                  <a:gd name="connsiteX39" fmla="*/ 2849880 w 2956560"/>
                  <a:gd name="connsiteY39" fmla="*/ 1051560 h 1234440"/>
                  <a:gd name="connsiteX40" fmla="*/ 2910840 w 2956560"/>
                  <a:gd name="connsiteY40" fmla="*/ 1021080 h 1234440"/>
                  <a:gd name="connsiteX41" fmla="*/ 2956560 w 2956560"/>
                  <a:gd name="connsiteY41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0220 w 2956560"/>
                  <a:gd name="connsiteY27" fmla="*/ 1196340 h 1234440"/>
                  <a:gd name="connsiteX28" fmla="*/ 1988820 w 2956560"/>
                  <a:gd name="connsiteY28" fmla="*/ 1226820 h 1234440"/>
                  <a:gd name="connsiteX29" fmla="*/ 2065020 w 2956560"/>
                  <a:gd name="connsiteY29" fmla="*/ 1234440 h 1234440"/>
                  <a:gd name="connsiteX30" fmla="*/ 2423160 w 2956560"/>
                  <a:gd name="connsiteY30" fmla="*/ 1196340 h 1234440"/>
                  <a:gd name="connsiteX31" fmla="*/ 2461260 w 2956560"/>
                  <a:gd name="connsiteY31" fmla="*/ 1173480 h 1234440"/>
                  <a:gd name="connsiteX32" fmla="*/ 2506980 w 2956560"/>
                  <a:gd name="connsiteY32" fmla="*/ 1165860 h 1234440"/>
                  <a:gd name="connsiteX33" fmla="*/ 2537460 w 2956560"/>
                  <a:gd name="connsiteY33" fmla="*/ 1150620 h 1234440"/>
                  <a:gd name="connsiteX34" fmla="*/ 2621280 w 2956560"/>
                  <a:gd name="connsiteY34" fmla="*/ 1127760 h 1234440"/>
                  <a:gd name="connsiteX35" fmla="*/ 2644140 w 2956560"/>
                  <a:gd name="connsiteY35" fmla="*/ 1112520 h 1234440"/>
                  <a:gd name="connsiteX36" fmla="*/ 2750820 w 2956560"/>
                  <a:gd name="connsiteY36" fmla="*/ 1082040 h 1234440"/>
                  <a:gd name="connsiteX37" fmla="*/ 2781300 w 2956560"/>
                  <a:gd name="connsiteY37" fmla="*/ 1066800 h 1234440"/>
                  <a:gd name="connsiteX38" fmla="*/ 2849880 w 2956560"/>
                  <a:gd name="connsiteY38" fmla="*/ 1051560 h 1234440"/>
                  <a:gd name="connsiteX39" fmla="*/ 2910840 w 2956560"/>
                  <a:gd name="connsiteY39" fmla="*/ 1021080 h 1234440"/>
                  <a:gd name="connsiteX40" fmla="*/ 2956560 w 2956560"/>
                  <a:gd name="connsiteY40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9745 w 2956560"/>
                  <a:gd name="connsiteY27" fmla="*/ 1220153 h 1234440"/>
                  <a:gd name="connsiteX28" fmla="*/ 1988820 w 2956560"/>
                  <a:gd name="connsiteY28" fmla="*/ 1226820 h 1234440"/>
                  <a:gd name="connsiteX29" fmla="*/ 2065020 w 2956560"/>
                  <a:gd name="connsiteY29" fmla="*/ 1234440 h 1234440"/>
                  <a:gd name="connsiteX30" fmla="*/ 2423160 w 2956560"/>
                  <a:gd name="connsiteY30" fmla="*/ 1196340 h 1234440"/>
                  <a:gd name="connsiteX31" fmla="*/ 2461260 w 2956560"/>
                  <a:gd name="connsiteY31" fmla="*/ 1173480 h 1234440"/>
                  <a:gd name="connsiteX32" fmla="*/ 2506980 w 2956560"/>
                  <a:gd name="connsiteY32" fmla="*/ 1165860 h 1234440"/>
                  <a:gd name="connsiteX33" fmla="*/ 2537460 w 2956560"/>
                  <a:gd name="connsiteY33" fmla="*/ 1150620 h 1234440"/>
                  <a:gd name="connsiteX34" fmla="*/ 2621280 w 2956560"/>
                  <a:gd name="connsiteY34" fmla="*/ 1127760 h 1234440"/>
                  <a:gd name="connsiteX35" fmla="*/ 2644140 w 2956560"/>
                  <a:gd name="connsiteY35" fmla="*/ 1112520 h 1234440"/>
                  <a:gd name="connsiteX36" fmla="*/ 2750820 w 2956560"/>
                  <a:gd name="connsiteY36" fmla="*/ 1082040 h 1234440"/>
                  <a:gd name="connsiteX37" fmla="*/ 2781300 w 2956560"/>
                  <a:gd name="connsiteY37" fmla="*/ 1066800 h 1234440"/>
                  <a:gd name="connsiteX38" fmla="*/ 2849880 w 2956560"/>
                  <a:gd name="connsiteY38" fmla="*/ 1051560 h 1234440"/>
                  <a:gd name="connsiteX39" fmla="*/ 2910840 w 2956560"/>
                  <a:gd name="connsiteY39" fmla="*/ 1021080 h 1234440"/>
                  <a:gd name="connsiteX40" fmla="*/ 2956560 w 2956560"/>
                  <a:gd name="connsiteY40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83820 w 2956560"/>
                  <a:gd name="connsiteY2" fmla="*/ 152400 h 1234440"/>
                  <a:gd name="connsiteX3" fmla="*/ 121920 w 2956560"/>
                  <a:gd name="connsiteY3" fmla="*/ 198120 h 1234440"/>
                  <a:gd name="connsiteX4" fmla="*/ 152400 w 2956560"/>
                  <a:gd name="connsiteY4" fmla="*/ 243840 h 1234440"/>
                  <a:gd name="connsiteX5" fmla="*/ 198120 w 2956560"/>
                  <a:gd name="connsiteY5" fmla="*/ 289560 h 1234440"/>
                  <a:gd name="connsiteX6" fmla="*/ 251460 w 2956560"/>
                  <a:gd name="connsiteY6" fmla="*/ 358140 h 1234440"/>
                  <a:gd name="connsiteX7" fmla="*/ 281940 w 2956560"/>
                  <a:gd name="connsiteY7" fmla="*/ 381000 h 1234440"/>
                  <a:gd name="connsiteX8" fmla="*/ 312420 w 2956560"/>
                  <a:gd name="connsiteY8" fmla="*/ 419100 h 1234440"/>
                  <a:gd name="connsiteX9" fmla="*/ 335280 w 2956560"/>
                  <a:gd name="connsiteY9" fmla="*/ 441960 h 1234440"/>
                  <a:gd name="connsiteX10" fmla="*/ 350520 w 2956560"/>
                  <a:gd name="connsiteY10" fmla="*/ 464820 h 1234440"/>
                  <a:gd name="connsiteX11" fmla="*/ 396240 w 2956560"/>
                  <a:gd name="connsiteY11" fmla="*/ 510540 h 1234440"/>
                  <a:gd name="connsiteX12" fmla="*/ 464820 w 2956560"/>
                  <a:gd name="connsiteY12" fmla="*/ 579120 h 1234440"/>
                  <a:gd name="connsiteX13" fmla="*/ 495300 w 2956560"/>
                  <a:gd name="connsiteY13" fmla="*/ 594360 h 1234440"/>
                  <a:gd name="connsiteX14" fmla="*/ 533400 w 2956560"/>
                  <a:gd name="connsiteY14" fmla="*/ 624840 h 1234440"/>
                  <a:gd name="connsiteX15" fmla="*/ 548640 w 2956560"/>
                  <a:gd name="connsiteY15" fmla="*/ 647700 h 1234440"/>
                  <a:gd name="connsiteX16" fmla="*/ 571500 w 2956560"/>
                  <a:gd name="connsiteY16" fmla="*/ 655320 h 1234440"/>
                  <a:gd name="connsiteX17" fmla="*/ 617220 w 2956560"/>
                  <a:gd name="connsiteY17" fmla="*/ 693420 h 1234440"/>
                  <a:gd name="connsiteX18" fmla="*/ 670560 w 2956560"/>
                  <a:gd name="connsiteY18" fmla="*/ 746760 h 1234440"/>
                  <a:gd name="connsiteX19" fmla="*/ 769620 w 2956560"/>
                  <a:gd name="connsiteY19" fmla="*/ 830580 h 1234440"/>
                  <a:gd name="connsiteX20" fmla="*/ 967740 w 2956560"/>
                  <a:gd name="connsiteY20" fmla="*/ 937260 h 1234440"/>
                  <a:gd name="connsiteX21" fmla="*/ 1021080 w 2956560"/>
                  <a:gd name="connsiteY21" fmla="*/ 967740 h 1234440"/>
                  <a:gd name="connsiteX22" fmla="*/ 1074420 w 2956560"/>
                  <a:gd name="connsiteY22" fmla="*/ 998220 h 1234440"/>
                  <a:gd name="connsiteX23" fmla="*/ 1158240 w 2956560"/>
                  <a:gd name="connsiteY23" fmla="*/ 1036320 h 1234440"/>
                  <a:gd name="connsiteX24" fmla="*/ 1219200 w 2956560"/>
                  <a:gd name="connsiteY24" fmla="*/ 1082040 h 1234440"/>
                  <a:gd name="connsiteX25" fmla="*/ 1600200 w 2956560"/>
                  <a:gd name="connsiteY25" fmla="*/ 1181100 h 1234440"/>
                  <a:gd name="connsiteX26" fmla="*/ 1769745 w 2956560"/>
                  <a:gd name="connsiteY26" fmla="*/ 1220153 h 1234440"/>
                  <a:gd name="connsiteX27" fmla="*/ 1988820 w 2956560"/>
                  <a:gd name="connsiteY27" fmla="*/ 1226820 h 1234440"/>
                  <a:gd name="connsiteX28" fmla="*/ 2065020 w 2956560"/>
                  <a:gd name="connsiteY28" fmla="*/ 1234440 h 1234440"/>
                  <a:gd name="connsiteX29" fmla="*/ 2423160 w 2956560"/>
                  <a:gd name="connsiteY29" fmla="*/ 1196340 h 1234440"/>
                  <a:gd name="connsiteX30" fmla="*/ 2461260 w 2956560"/>
                  <a:gd name="connsiteY30" fmla="*/ 1173480 h 1234440"/>
                  <a:gd name="connsiteX31" fmla="*/ 2506980 w 2956560"/>
                  <a:gd name="connsiteY31" fmla="*/ 1165860 h 1234440"/>
                  <a:gd name="connsiteX32" fmla="*/ 2537460 w 2956560"/>
                  <a:gd name="connsiteY32" fmla="*/ 1150620 h 1234440"/>
                  <a:gd name="connsiteX33" fmla="*/ 2621280 w 2956560"/>
                  <a:gd name="connsiteY33" fmla="*/ 1127760 h 1234440"/>
                  <a:gd name="connsiteX34" fmla="*/ 2644140 w 2956560"/>
                  <a:gd name="connsiteY34" fmla="*/ 1112520 h 1234440"/>
                  <a:gd name="connsiteX35" fmla="*/ 2750820 w 2956560"/>
                  <a:gd name="connsiteY35" fmla="*/ 1082040 h 1234440"/>
                  <a:gd name="connsiteX36" fmla="*/ 2781300 w 2956560"/>
                  <a:gd name="connsiteY36" fmla="*/ 1066800 h 1234440"/>
                  <a:gd name="connsiteX37" fmla="*/ 2849880 w 2956560"/>
                  <a:gd name="connsiteY37" fmla="*/ 1051560 h 1234440"/>
                  <a:gd name="connsiteX38" fmla="*/ 2910840 w 2956560"/>
                  <a:gd name="connsiteY38" fmla="*/ 1021080 h 1234440"/>
                  <a:gd name="connsiteX39" fmla="*/ 2956560 w 2956560"/>
                  <a:gd name="connsiteY39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52400 w 2956560"/>
                  <a:gd name="connsiteY3" fmla="*/ 243840 h 1234440"/>
                  <a:gd name="connsiteX4" fmla="*/ 198120 w 2956560"/>
                  <a:gd name="connsiteY4" fmla="*/ 289560 h 1234440"/>
                  <a:gd name="connsiteX5" fmla="*/ 251460 w 2956560"/>
                  <a:gd name="connsiteY5" fmla="*/ 358140 h 1234440"/>
                  <a:gd name="connsiteX6" fmla="*/ 281940 w 2956560"/>
                  <a:gd name="connsiteY6" fmla="*/ 381000 h 1234440"/>
                  <a:gd name="connsiteX7" fmla="*/ 312420 w 2956560"/>
                  <a:gd name="connsiteY7" fmla="*/ 419100 h 1234440"/>
                  <a:gd name="connsiteX8" fmla="*/ 335280 w 2956560"/>
                  <a:gd name="connsiteY8" fmla="*/ 441960 h 1234440"/>
                  <a:gd name="connsiteX9" fmla="*/ 350520 w 2956560"/>
                  <a:gd name="connsiteY9" fmla="*/ 464820 h 1234440"/>
                  <a:gd name="connsiteX10" fmla="*/ 396240 w 2956560"/>
                  <a:gd name="connsiteY10" fmla="*/ 510540 h 1234440"/>
                  <a:gd name="connsiteX11" fmla="*/ 464820 w 2956560"/>
                  <a:gd name="connsiteY11" fmla="*/ 579120 h 1234440"/>
                  <a:gd name="connsiteX12" fmla="*/ 495300 w 2956560"/>
                  <a:gd name="connsiteY12" fmla="*/ 594360 h 1234440"/>
                  <a:gd name="connsiteX13" fmla="*/ 533400 w 2956560"/>
                  <a:gd name="connsiteY13" fmla="*/ 624840 h 1234440"/>
                  <a:gd name="connsiteX14" fmla="*/ 548640 w 2956560"/>
                  <a:gd name="connsiteY14" fmla="*/ 647700 h 1234440"/>
                  <a:gd name="connsiteX15" fmla="*/ 571500 w 2956560"/>
                  <a:gd name="connsiteY15" fmla="*/ 655320 h 1234440"/>
                  <a:gd name="connsiteX16" fmla="*/ 617220 w 2956560"/>
                  <a:gd name="connsiteY16" fmla="*/ 693420 h 1234440"/>
                  <a:gd name="connsiteX17" fmla="*/ 670560 w 2956560"/>
                  <a:gd name="connsiteY17" fmla="*/ 746760 h 1234440"/>
                  <a:gd name="connsiteX18" fmla="*/ 769620 w 2956560"/>
                  <a:gd name="connsiteY18" fmla="*/ 830580 h 1234440"/>
                  <a:gd name="connsiteX19" fmla="*/ 967740 w 2956560"/>
                  <a:gd name="connsiteY19" fmla="*/ 937260 h 1234440"/>
                  <a:gd name="connsiteX20" fmla="*/ 1021080 w 2956560"/>
                  <a:gd name="connsiteY20" fmla="*/ 967740 h 1234440"/>
                  <a:gd name="connsiteX21" fmla="*/ 1074420 w 2956560"/>
                  <a:gd name="connsiteY21" fmla="*/ 998220 h 1234440"/>
                  <a:gd name="connsiteX22" fmla="*/ 1158240 w 2956560"/>
                  <a:gd name="connsiteY22" fmla="*/ 1036320 h 1234440"/>
                  <a:gd name="connsiteX23" fmla="*/ 1219200 w 2956560"/>
                  <a:gd name="connsiteY23" fmla="*/ 1082040 h 1234440"/>
                  <a:gd name="connsiteX24" fmla="*/ 1600200 w 2956560"/>
                  <a:gd name="connsiteY24" fmla="*/ 1181100 h 1234440"/>
                  <a:gd name="connsiteX25" fmla="*/ 1769745 w 2956560"/>
                  <a:gd name="connsiteY25" fmla="*/ 1220153 h 1234440"/>
                  <a:gd name="connsiteX26" fmla="*/ 1988820 w 2956560"/>
                  <a:gd name="connsiteY26" fmla="*/ 1226820 h 1234440"/>
                  <a:gd name="connsiteX27" fmla="*/ 2065020 w 2956560"/>
                  <a:gd name="connsiteY27" fmla="*/ 1234440 h 1234440"/>
                  <a:gd name="connsiteX28" fmla="*/ 2423160 w 2956560"/>
                  <a:gd name="connsiteY28" fmla="*/ 1196340 h 1234440"/>
                  <a:gd name="connsiteX29" fmla="*/ 2461260 w 2956560"/>
                  <a:gd name="connsiteY29" fmla="*/ 1173480 h 1234440"/>
                  <a:gd name="connsiteX30" fmla="*/ 2506980 w 2956560"/>
                  <a:gd name="connsiteY30" fmla="*/ 1165860 h 1234440"/>
                  <a:gd name="connsiteX31" fmla="*/ 2537460 w 2956560"/>
                  <a:gd name="connsiteY31" fmla="*/ 1150620 h 1234440"/>
                  <a:gd name="connsiteX32" fmla="*/ 2621280 w 2956560"/>
                  <a:gd name="connsiteY32" fmla="*/ 1127760 h 1234440"/>
                  <a:gd name="connsiteX33" fmla="*/ 2644140 w 2956560"/>
                  <a:gd name="connsiteY33" fmla="*/ 1112520 h 1234440"/>
                  <a:gd name="connsiteX34" fmla="*/ 2750820 w 2956560"/>
                  <a:gd name="connsiteY34" fmla="*/ 1082040 h 1234440"/>
                  <a:gd name="connsiteX35" fmla="*/ 2781300 w 2956560"/>
                  <a:gd name="connsiteY35" fmla="*/ 1066800 h 1234440"/>
                  <a:gd name="connsiteX36" fmla="*/ 2849880 w 2956560"/>
                  <a:gd name="connsiteY36" fmla="*/ 1051560 h 1234440"/>
                  <a:gd name="connsiteX37" fmla="*/ 2910840 w 2956560"/>
                  <a:gd name="connsiteY37" fmla="*/ 1021080 h 1234440"/>
                  <a:gd name="connsiteX38" fmla="*/ 2956560 w 2956560"/>
                  <a:gd name="connsiteY38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281940 w 2956560"/>
                  <a:gd name="connsiteY5" fmla="*/ 381000 h 1234440"/>
                  <a:gd name="connsiteX6" fmla="*/ 312420 w 2956560"/>
                  <a:gd name="connsiteY6" fmla="*/ 419100 h 1234440"/>
                  <a:gd name="connsiteX7" fmla="*/ 335280 w 2956560"/>
                  <a:gd name="connsiteY7" fmla="*/ 441960 h 1234440"/>
                  <a:gd name="connsiteX8" fmla="*/ 350520 w 2956560"/>
                  <a:gd name="connsiteY8" fmla="*/ 464820 h 1234440"/>
                  <a:gd name="connsiteX9" fmla="*/ 396240 w 2956560"/>
                  <a:gd name="connsiteY9" fmla="*/ 510540 h 1234440"/>
                  <a:gd name="connsiteX10" fmla="*/ 464820 w 2956560"/>
                  <a:gd name="connsiteY10" fmla="*/ 579120 h 1234440"/>
                  <a:gd name="connsiteX11" fmla="*/ 495300 w 2956560"/>
                  <a:gd name="connsiteY11" fmla="*/ 594360 h 1234440"/>
                  <a:gd name="connsiteX12" fmla="*/ 533400 w 2956560"/>
                  <a:gd name="connsiteY12" fmla="*/ 624840 h 1234440"/>
                  <a:gd name="connsiteX13" fmla="*/ 548640 w 2956560"/>
                  <a:gd name="connsiteY13" fmla="*/ 647700 h 1234440"/>
                  <a:gd name="connsiteX14" fmla="*/ 571500 w 2956560"/>
                  <a:gd name="connsiteY14" fmla="*/ 655320 h 1234440"/>
                  <a:gd name="connsiteX15" fmla="*/ 617220 w 2956560"/>
                  <a:gd name="connsiteY15" fmla="*/ 693420 h 1234440"/>
                  <a:gd name="connsiteX16" fmla="*/ 670560 w 2956560"/>
                  <a:gd name="connsiteY16" fmla="*/ 746760 h 1234440"/>
                  <a:gd name="connsiteX17" fmla="*/ 769620 w 2956560"/>
                  <a:gd name="connsiteY17" fmla="*/ 830580 h 1234440"/>
                  <a:gd name="connsiteX18" fmla="*/ 967740 w 2956560"/>
                  <a:gd name="connsiteY18" fmla="*/ 937260 h 1234440"/>
                  <a:gd name="connsiteX19" fmla="*/ 1021080 w 2956560"/>
                  <a:gd name="connsiteY19" fmla="*/ 967740 h 1234440"/>
                  <a:gd name="connsiteX20" fmla="*/ 1074420 w 2956560"/>
                  <a:gd name="connsiteY20" fmla="*/ 998220 h 1234440"/>
                  <a:gd name="connsiteX21" fmla="*/ 1158240 w 2956560"/>
                  <a:gd name="connsiteY21" fmla="*/ 1036320 h 1234440"/>
                  <a:gd name="connsiteX22" fmla="*/ 1219200 w 2956560"/>
                  <a:gd name="connsiteY22" fmla="*/ 1082040 h 1234440"/>
                  <a:gd name="connsiteX23" fmla="*/ 1600200 w 2956560"/>
                  <a:gd name="connsiteY23" fmla="*/ 1181100 h 1234440"/>
                  <a:gd name="connsiteX24" fmla="*/ 1769745 w 2956560"/>
                  <a:gd name="connsiteY24" fmla="*/ 1220153 h 1234440"/>
                  <a:gd name="connsiteX25" fmla="*/ 1988820 w 2956560"/>
                  <a:gd name="connsiteY25" fmla="*/ 1226820 h 1234440"/>
                  <a:gd name="connsiteX26" fmla="*/ 2065020 w 2956560"/>
                  <a:gd name="connsiteY26" fmla="*/ 1234440 h 1234440"/>
                  <a:gd name="connsiteX27" fmla="*/ 2423160 w 2956560"/>
                  <a:gd name="connsiteY27" fmla="*/ 1196340 h 1234440"/>
                  <a:gd name="connsiteX28" fmla="*/ 2461260 w 2956560"/>
                  <a:gd name="connsiteY28" fmla="*/ 1173480 h 1234440"/>
                  <a:gd name="connsiteX29" fmla="*/ 2506980 w 2956560"/>
                  <a:gd name="connsiteY29" fmla="*/ 1165860 h 1234440"/>
                  <a:gd name="connsiteX30" fmla="*/ 2537460 w 2956560"/>
                  <a:gd name="connsiteY30" fmla="*/ 1150620 h 1234440"/>
                  <a:gd name="connsiteX31" fmla="*/ 2621280 w 2956560"/>
                  <a:gd name="connsiteY31" fmla="*/ 1127760 h 1234440"/>
                  <a:gd name="connsiteX32" fmla="*/ 2644140 w 2956560"/>
                  <a:gd name="connsiteY32" fmla="*/ 1112520 h 1234440"/>
                  <a:gd name="connsiteX33" fmla="*/ 2750820 w 2956560"/>
                  <a:gd name="connsiteY33" fmla="*/ 1082040 h 1234440"/>
                  <a:gd name="connsiteX34" fmla="*/ 2781300 w 2956560"/>
                  <a:gd name="connsiteY34" fmla="*/ 1066800 h 1234440"/>
                  <a:gd name="connsiteX35" fmla="*/ 2849880 w 2956560"/>
                  <a:gd name="connsiteY35" fmla="*/ 1051560 h 1234440"/>
                  <a:gd name="connsiteX36" fmla="*/ 2910840 w 2956560"/>
                  <a:gd name="connsiteY36" fmla="*/ 1021080 h 1234440"/>
                  <a:gd name="connsiteX37" fmla="*/ 2956560 w 2956560"/>
                  <a:gd name="connsiteY37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281940 w 2956560"/>
                  <a:gd name="connsiteY5" fmla="*/ 381000 h 1234440"/>
                  <a:gd name="connsiteX6" fmla="*/ 312420 w 2956560"/>
                  <a:gd name="connsiteY6" fmla="*/ 419100 h 1234440"/>
                  <a:gd name="connsiteX7" fmla="*/ 335280 w 2956560"/>
                  <a:gd name="connsiteY7" fmla="*/ 441960 h 1234440"/>
                  <a:gd name="connsiteX8" fmla="*/ 396240 w 2956560"/>
                  <a:gd name="connsiteY8" fmla="*/ 510540 h 1234440"/>
                  <a:gd name="connsiteX9" fmla="*/ 464820 w 2956560"/>
                  <a:gd name="connsiteY9" fmla="*/ 579120 h 1234440"/>
                  <a:gd name="connsiteX10" fmla="*/ 495300 w 2956560"/>
                  <a:gd name="connsiteY10" fmla="*/ 594360 h 1234440"/>
                  <a:gd name="connsiteX11" fmla="*/ 533400 w 2956560"/>
                  <a:gd name="connsiteY11" fmla="*/ 624840 h 1234440"/>
                  <a:gd name="connsiteX12" fmla="*/ 548640 w 2956560"/>
                  <a:gd name="connsiteY12" fmla="*/ 647700 h 1234440"/>
                  <a:gd name="connsiteX13" fmla="*/ 571500 w 2956560"/>
                  <a:gd name="connsiteY13" fmla="*/ 655320 h 1234440"/>
                  <a:gd name="connsiteX14" fmla="*/ 617220 w 2956560"/>
                  <a:gd name="connsiteY14" fmla="*/ 693420 h 1234440"/>
                  <a:gd name="connsiteX15" fmla="*/ 670560 w 2956560"/>
                  <a:gd name="connsiteY15" fmla="*/ 746760 h 1234440"/>
                  <a:gd name="connsiteX16" fmla="*/ 769620 w 2956560"/>
                  <a:gd name="connsiteY16" fmla="*/ 830580 h 1234440"/>
                  <a:gd name="connsiteX17" fmla="*/ 967740 w 2956560"/>
                  <a:gd name="connsiteY17" fmla="*/ 937260 h 1234440"/>
                  <a:gd name="connsiteX18" fmla="*/ 1021080 w 2956560"/>
                  <a:gd name="connsiteY18" fmla="*/ 967740 h 1234440"/>
                  <a:gd name="connsiteX19" fmla="*/ 1074420 w 2956560"/>
                  <a:gd name="connsiteY19" fmla="*/ 998220 h 1234440"/>
                  <a:gd name="connsiteX20" fmla="*/ 1158240 w 2956560"/>
                  <a:gd name="connsiteY20" fmla="*/ 1036320 h 1234440"/>
                  <a:gd name="connsiteX21" fmla="*/ 1219200 w 2956560"/>
                  <a:gd name="connsiteY21" fmla="*/ 1082040 h 1234440"/>
                  <a:gd name="connsiteX22" fmla="*/ 1600200 w 2956560"/>
                  <a:gd name="connsiteY22" fmla="*/ 1181100 h 1234440"/>
                  <a:gd name="connsiteX23" fmla="*/ 1769745 w 2956560"/>
                  <a:gd name="connsiteY23" fmla="*/ 1220153 h 1234440"/>
                  <a:gd name="connsiteX24" fmla="*/ 1988820 w 2956560"/>
                  <a:gd name="connsiteY24" fmla="*/ 1226820 h 1234440"/>
                  <a:gd name="connsiteX25" fmla="*/ 2065020 w 2956560"/>
                  <a:gd name="connsiteY25" fmla="*/ 1234440 h 1234440"/>
                  <a:gd name="connsiteX26" fmla="*/ 2423160 w 2956560"/>
                  <a:gd name="connsiteY26" fmla="*/ 1196340 h 1234440"/>
                  <a:gd name="connsiteX27" fmla="*/ 2461260 w 2956560"/>
                  <a:gd name="connsiteY27" fmla="*/ 1173480 h 1234440"/>
                  <a:gd name="connsiteX28" fmla="*/ 2506980 w 2956560"/>
                  <a:gd name="connsiteY28" fmla="*/ 1165860 h 1234440"/>
                  <a:gd name="connsiteX29" fmla="*/ 2537460 w 2956560"/>
                  <a:gd name="connsiteY29" fmla="*/ 1150620 h 1234440"/>
                  <a:gd name="connsiteX30" fmla="*/ 2621280 w 2956560"/>
                  <a:gd name="connsiteY30" fmla="*/ 1127760 h 1234440"/>
                  <a:gd name="connsiteX31" fmla="*/ 2644140 w 2956560"/>
                  <a:gd name="connsiteY31" fmla="*/ 1112520 h 1234440"/>
                  <a:gd name="connsiteX32" fmla="*/ 2750820 w 2956560"/>
                  <a:gd name="connsiteY32" fmla="*/ 1082040 h 1234440"/>
                  <a:gd name="connsiteX33" fmla="*/ 2781300 w 2956560"/>
                  <a:gd name="connsiteY33" fmla="*/ 1066800 h 1234440"/>
                  <a:gd name="connsiteX34" fmla="*/ 2849880 w 2956560"/>
                  <a:gd name="connsiteY34" fmla="*/ 1051560 h 1234440"/>
                  <a:gd name="connsiteX35" fmla="*/ 2910840 w 2956560"/>
                  <a:gd name="connsiteY35" fmla="*/ 1021080 h 1234440"/>
                  <a:gd name="connsiteX36" fmla="*/ 2956560 w 2956560"/>
                  <a:gd name="connsiteY36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281940 w 2956560"/>
                  <a:gd name="connsiteY5" fmla="*/ 381000 h 1234440"/>
                  <a:gd name="connsiteX6" fmla="*/ 312420 w 2956560"/>
                  <a:gd name="connsiteY6" fmla="*/ 419100 h 1234440"/>
                  <a:gd name="connsiteX7" fmla="*/ 396240 w 2956560"/>
                  <a:gd name="connsiteY7" fmla="*/ 510540 h 1234440"/>
                  <a:gd name="connsiteX8" fmla="*/ 464820 w 2956560"/>
                  <a:gd name="connsiteY8" fmla="*/ 579120 h 1234440"/>
                  <a:gd name="connsiteX9" fmla="*/ 495300 w 2956560"/>
                  <a:gd name="connsiteY9" fmla="*/ 594360 h 1234440"/>
                  <a:gd name="connsiteX10" fmla="*/ 533400 w 2956560"/>
                  <a:gd name="connsiteY10" fmla="*/ 624840 h 1234440"/>
                  <a:gd name="connsiteX11" fmla="*/ 548640 w 2956560"/>
                  <a:gd name="connsiteY11" fmla="*/ 647700 h 1234440"/>
                  <a:gd name="connsiteX12" fmla="*/ 571500 w 2956560"/>
                  <a:gd name="connsiteY12" fmla="*/ 655320 h 1234440"/>
                  <a:gd name="connsiteX13" fmla="*/ 617220 w 2956560"/>
                  <a:gd name="connsiteY13" fmla="*/ 693420 h 1234440"/>
                  <a:gd name="connsiteX14" fmla="*/ 670560 w 2956560"/>
                  <a:gd name="connsiteY14" fmla="*/ 746760 h 1234440"/>
                  <a:gd name="connsiteX15" fmla="*/ 769620 w 2956560"/>
                  <a:gd name="connsiteY15" fmla="*/ 830580 h 1234440"/>
                  <a:gd name="connsiteX16" fmla="*/ 967740 w 2956560"/>
                  <a:gd name="connsiteY16" fmla="*/ 937260 h 1234440"/>
                  <a:gd name="connsiteX17" fmla="*/ 1021080 w 2956560"/>
                  <a:gd name="connsiteY17" fmla="*/ 967740 h 1234440"/>
                  <a:gd name="connsiteX18" fmla="*/ 1074420 w 2956560"/>
                  <a:gd name="connsiteY18" fmla="*/ 998220 h 1234440"/>
                  <a:gd name="connsiteX19" fmla="*/ 1158240 w 2956560"/>
                  <a:gd name="connsiteY19" fmla="*/ 1036320 h 1234440"/>
                  <a:gd name="connsiteX20" fmla="*/ 1219200 w 2956560"/>
                  <a:gd name="connsiteY20" fmla="*/ 1082040 h 1234440"/>
                  <a:gd name="connsiteX21" fmla="*/ 1600200 w 2956560"/>
                  <a:gd name="connsiteY21" fmla="*/ 1181100 h 1234440"/>
                  <a:gd name="connsiteX22" fmla="*/ 1769745 w 2956560"/>
                  <a:gd name="connsiteY22" fmla="*/ 1220153 h 1234440"/>
                  <a:gd name="connsiteX23" fmla="*/ 1988820 w 2956560"/>
                  <a:gd name="connsiteY23" fmla="*/ 1226820 h 1234440"/>
                  <a:gd name="connsiteX24" fmla="*/ 2065020 w 2956560"/>
                  <a:gd name="connsiteY24" fmla="*/ 1234440 h 1234440"/>
                  <a:gd name="connsiteX25" fmla="*/ 2423160 w 2956560"/>
                  <a:gd name="connsiteY25" fmla="*/ 1196340 h 1234440"/>
                  <a:gd name="connsiteX26" fmla="*/ 2461260 w 2956560"/>
                  <a:gd name="connsiteY26" fmla="*/ 1173480 h 1234440"/>
                  <a:gd name="connsiteX27" fmla="*/ 2506980 w 2956560"/>
                  <a:gd name="connsiteY27" fmla="*/ 1165860 h 1234440"/>
                  <a:gd name="connsiteX28" fmla="*/ 2537460 w 2956560"/>
                  <a:gd name="connsiteY28" fmla="*/ 1150620 h 1234440"/>
                  <a:gd name="connsiteX29" fmla="*/ 2621280 w 2956560"/>
                  <a:gd name="connsiteY29" fmla="*/ 1127760 h 1234440"/>
                  <a:gd name="connsiteX30" fmla="*/ 2644140 w 2956560"/>
                  <a:gd name="connsiteY30" fmla="*/ 1112520 h 1234440"/>
                  <a:gd name="connsiteX31" fmla="*/ 2750820 w 2956560"/>
                  <a:gd name="connsiteY31" fmla="*/ 1082040 h 1234440"/>
                  <a:gd name="connsiteX32" fmla="*/ 2781300 w 2956560"/>
                  <a:gd name="connsiteY32" fmla="*/ 1066800 h 1234440"/>
                  <a:gd name="connsiteX33" fmla="*/ 2849880 w 2956560"/>
                  <a:gd name="connsiteY33" fmla="*/ 1051560 h 1234440"/>
                  <a:gd name="connsiteX34" fmla="*/ 2910840 w 2956560"/>
                  <a:gd name="connsiteY34" fmla="*/ 1021080 h 1234440"/>
                  <a:gd name="connsiteX35" fmla="*/ 2956560 w 2956560"/>
                  <a:gd name="connsiteY3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495300 w 2956560"/>
                  <a:gd name="connsiteY8" fmla="*/ 594360 h 1234440"/>
                  <a:gd name="connsiteX9" fmla="*/ 533400 w 2956560"/>
                  <a:gd name="connsiteY9" fmla="*/ 624840 h 1234440"/>
                  <a:gd name="connsiteX10" fmla="*/ 548640 w 2956560"/>
                  <a:gd name="connsiteY10" fmla="*/ 647700 h 1234440"/>
                  <a:gd name="connsiteX11" fmla="*/ 571500 w 2956560"/>
                  <a:gd name="connsiteY11" fmla="*/ 655320 h 1234440"/>
                  <a:gd name="connsiteX12" fmla="*/ 617220 w 2956560"/>
                  <a:gd name="connsiteY12" fmla="*/ 693420 h 1234440"/>
                  <a:gd name="connsiteX13" fmla="*/ 670560 w 2956560"/>
                  <a:gd name="connsiteY13" fmla="*/ 746760 h 1234440"/>
                  <a:gd name="connsiteX14" fmla="*/ 769620 w 2956560"/>
                  <a:gd name="connsiteY14" fmla="*/ 830580 h 1234440"/>
                  <a:gd name="connsiteX15" fmla="*/ 967740 w 2956560"/>
                  <a:gd name="connsiteY15" fmla="*/ 937260 h 1234440"/>
                  <a:gd name="connsiteX16" fmla="*/ 1021080 w 2956560"/>
                  <a:gd name="connsiteY16" fmla="*/ 967740 h 1234440"/>
                  <a:gd name="connsiteX17" fmla="*/ 1074420 w 2956560"/>
                  <a:gd name="connsiteY17" fmla="*/ 998220 h 1234440"/>
                  <a:gd name="connsiteX18" fmla="*/ 1158240 w 2956560"/>
                  <a:gd name="connsiteY18" fmla="*/ 1036320 h 1234440"/>
                  <a:gd name="connsiteX19" fmla="*/ 1219200 w 2956560"/>
                  <a:gd name="connsiteY19" fmla="*/ 1082040 h 1234440"/>
                  <a:gd name="connsiteX20" fmla="*/ 1600200 w 2956560"/>
                  <a:gd name="connsiteY20" fmla="*/ 1181100 h 1234440"/>
                  <a:gd name="connsiteX21" fmla="*/ 1769745 w 2956560"/>
                  <a:gd name="connsiteY21" fmla="*/ 1220153 h 1234440"/>
                  <a:gd name="connsiteX22" fmla="*/ 1988820 w 2956560"/>
                  <a:gd name="connsiteY22" fmla="*/ 1226820 h 1234440"/>
                  <a:gd name="connsiteX23" fmla="*/ 2065020 w 2956560"/>
                  <a:gd name="connsiteY23" fmla="*/ 1234440 h 1234440"/>
                  <a:gd name="connsiteX24" fmla="*/ 2423160 w 2956560"/>
                  <a:gd name="connsiteY24" fmla="*/ 1196340 h 1234440"/>
                  <a:gd name="connsiteX25" fmla="*/ 2461260 w 2956560"/>
                  <a:gd name="connsiteY25" fmla="*/ 1173480 h 1234440"/>
                  <a:gd name="connsiteX26" fmla="*/ 2506980 w 2956560"/>
                  <a:gd name="connsiteY26" fmla="*/ 1165860 h 1234440"/>
                  <a:gd name="connsiteX27" fmla="*/ 2537460 w 2956560"/>
                  <a:gd name="connsiteY27" fmla="*/ 1150620 h 1234440"/>
                  <a:gd name="connsiteX28" fmla="*/ 2621280 w 2956560"/>
                  <a:gd name="connsiteY28" fmla="*/ 1127760 h 1234440"/>
                  <a:gd name="connsiteX29" fmla="*/ 2644140 w 2956560"/>
                  <a:gd name="connsiteY29" fmla="*/ 1112520 h 1234440"/>
                  <a:gd name="connsiteX30" fmla="*/ 2750820 w 2956560"/>
                  <a:gd name="connsiteY30" fmla="*/ 1082040 h 1234440"/>
                  <a:gd name="connsiteX31" fmla="*/ 2781300 w 2956560"/>
                  <a:gd name="connsiteY31" fmla="*/ 1066800 h 1234440"/>
                  <a:gd name="connsiteX32" fmla="*/ 2849880 w 2956560"/>
                  <a:gd name="connsiteY32" fmla="*/ 1051560 h 1234440"/>
                  <a:gd name="connsiteX33" fmla="*/ 2910840 w 2956560"/>
                  <a:gd name="connsiteY33" fmla="*/ 1021080 h 1234440"/>
                  <a:gd name="connsiteX34" fmla="*/ 2956560 w 2956560"/>
                  <a:gd name="connsiteY34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548640 w 2956560"/>
                  <a:gd name="connsiteY9" fmla="*/ 647700 h 1234440"/>
                  <a:gd name="connsiteX10" fmla="*/ 571500 w 2956560"/>
                  <a:gd name="connsiteY10" fmla="*/ 655320 h 1234440"/>
                  <a:gd name="connsiteX11" fmla="*/ 617220 w 2956560"/>
                  <a:gd name="connsiteY11" fmla="*/ 693420 h 1234440"/>
                  <a:gd name="connsiteX12" fmla="*/ 670560 w 2956560"/>
                  <a:gd name="connsiteY12" fmla="*/ 746760 h 1234440"/>
                  <a:gd name="connsiteX13" fmla="*/ 769620 w 2956560"/>
                  <a:gd name="connsiteY13" fmla="*/ 830580 h 1234440"/>
                  <a:gd name="connsiteX14" fmla="*/ 967740 w 2956560"/>
                  <a:gd name="connsiteY14" fmla="*/ 937260 h 1234440"/>
                  <a:gd name="connsiteX15" fmla="*/ 1021080 w 2956560"/>
                  <a:gd name="connsiteY15" fmla="*/ 967740 h 1234440"/>
                  <a:gd name="connsiteX16" fmla="*/ 1074420 w 2956560"/>
                  <a:gd name="connsiteY16" fmla="*/ 998220 h 1234440"/>
                  <a:gd name="connsiteX17" fmla="*/ 1158240 w 2956560"/>
                  <a:gd name="connsiteY17" fmla="*/ 1036320 h 1234440"/>
                  <a:gd name="connsiteX18" fmla="*/ 1219200 w 2956560"/>
                  <a:gd name="connsiteY18" fmla="*/ 1082040 h 1234440"/>
                  <a:gd name="connsiteX19" fmla="*/ 1600200 w 2956560"/>
                  <a:gd name="connsiteY19" fmla="*/ 1181100 h 1234440"/>
                  <a:gd name="connsiteX20" fmla="*/ 1769745 w 2956560"/>
                  <a:gd name="connsiteY20" fmla="*/ 1220153 h 1234440"/>
                  <a:gd name="connsiteX21" fmla="*/ 1988820 w 2956560"/>
                  <a:gd name="connsiteY21" fmla="*/ 1226820 h 1234440"/>
                  <a:gd name="connsiteX22" fmla="*/ 2065020 w 2956560"/>
                  <a:gd name="connsiteY22" fmla="*/ 1234440 h 1234440"/>
                  <a:gd name="connsiteX23" fmla="*/ 2423160 w 2956560"/>
                  <a:gd name="connsiteY23" fmla="*/ 1196340 h 1234440"/>
                  <a:gd name="connsiteX24" fmla="*/ 2461260 w 2956560"/>
                  <a:gd name="connsiteY24" fmla="*/ 1173480 h 1234440"/>
                  <a:gd name="connsiteX25" fmla="*/ 2506980 w 2956560"/>
                  <a:gd name="connsiteY25" fmla="*/ 1165860 h 1234440"/>
                  <a:gd name="connsiteX26" fmla="*/ 2537460 w 2956560"/>
                  <a:gd name="connsiteY26" fmla="*/ 1150620 h 1234440"/>
                  <a:gd name="connsiteX27" fmla="*/ 2621280 w 2956560"/>
                  <a:gd name="connsiteY27" fmla="*/ 1127760 h 1234440"/>
                  <a:gd name="connsiteX28" fmla="*/ 2644140 w 2956560"/>
                  <a:gd name="connsiteY28" fmla="*/ 1112520 h 1234440"/>
                  <a:gd name="connsiteX29" fmla="*/ 2750820 w 2956560"/>
                  <a:gd name="connsiteY29" fmla="*/ 1082040 h 1234440"/>
                  <a:gd name="connsiteX30" fmla="*/ 2781300 w 2956560"/>
                  <a:gd name="connsiteY30" fmla="*/ 1066800 h 1234440"/>
                  <a:gd name="connsiteX31" fmla="*/ 2849880 w 2956560"/>
                  <a:gd name="connsiteY31" fmla="*/ 1051560 h 1234440"/>
                  <a:gd name="connsiteX32" fmla="*/ 2910840 w 2956560"/>
                  <a:gd name="connsiteY32" fmla="*/ 1021080 h 1234440"/>
                  <a:gd name="connsiteX33" fmla="*/ 2956560 w 2956560"/>
                  <a:gd name="connsiteY33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548640 w 2956560"/>
                  <a:gd name="connsiteY9" fmla="*/ 647700 h 1234440"/>
                  <a:gd name="connsiteX10" fmla="*/ 617220 w 2956560"/>
                  <a:gd name="connsiteY10" fmla="*/ 693420 h 1234440"/>
                  <a:gd name="connsiteX11" fmla="*/ 670560 w 2956560"/>
                  <a:gd name="connsiteY11" fmla="*/ 746760 h 1234440"/>
                  <a:gd name="connsiteX12" fmla="*/ 769620 w 2956560"/>
                  <a:gd name="connsiteY12" fmla="*/ 830580 h 1234440"/>
                  <a:gd name="connsiteX13" fmla="*/ 967740 w 2956560"/>
                  <a:gd name="connsiteY13" fmla="*/ 937260 h 1234440"/>
                  <a:gd name="connsiteX14" fmla="*/ 1021080 w 2956560"/>
                  <a:gd name="connsiteY14" fmla="*/ 967740 h 1234440"/>
                  <a:gd name="connsiteX15" fmla="*/ 1074420 w 2956560"/>
                  <a:gd name="connsiteY15" fmla="*/ 998220 h 1234440"/>
                  <a:gd name="connsiteX16" fmla="*/ 1158240 w 2956560"/>
                  <a:gd name="connsiteY16" fmla="*/ 1036320 h 1234440"/>
                  <a:gd name="connsiteX17" fmla="*/ 1219200 w 2956560"/>
                  <a:gd name="connsiteY17" fmla="*/ 1082040 h 1234440"/>
                  <a:gd name="connsiteX18" fmla="*/ 1600200 w 2956560"/>
                  <a:gd name="connsiteY18" fmla="*/ 1181100 h 1234440"/>
                  <a:gd name="connsiteX19" fmla="*/ 1769745 w 2956560"/>
                  <a:gd name="connsiteY19" fmla="*/ 1220153 h 1234440"/>
                  <a:gd name="connsiteX20" fmla="*/ 1988820 w 2956560"/>
                  <a:gd name="connsiteY20" fmla="*/ 1226820 h 1234440"/>
                  <a:gd name="connsiteX21" fmla="*/ 2065020 w 2956560"/>
                  <a:gd name="connsiteY21" fmla="*/ 1234440 h 1234440"/>
                  <a:gd name="connsiteX22" fmla="*/ 2423160 w 2956560"/>
                  <a:gd name="connsiteY22" fmla="*/ 1196340 h 1234440"/>
                  <a:gd name="connsiteX23" fmla="*/ 2461260 w 2956560"/>
                  <a:gd name="connsiteY23" fmla="*/ 1173480 h 1234440"/>
                  <a:gd name="connsiteX24" fmla="*/ 2506980 w 2956560"/>
                  <a:gd name="connsiteY24" fmla="*/ 1165860 h 1234440"/>
                  <a:gd name="connsiteX25" fmla="*/ 2537460 w 2956560"/>
                  <a:gd name="connsiteY25" fmla="*/ 1150620 h 1234440"/>
                  <a:gd name="connsiteX26" fmla="*/ 2621280 w 2956560"/>
                  <a:gd name="connsiteY26" fmla="*/ 1127760 h 1234440"/>
                  <a:gd name="connsiteX27" fmla="*/ 2644140 w 2956560"/>
                  <a:gd name="connsiteY27" fmla="*/ 1112520 h 1234440"/>
                  <a:gd name="connsiteX28" fmla="*/ 2750820 w 2956560"/>
                  <a:gd name="connsiteY28" fmla="*/ 1082040 h 1234440"/>
                  <a:gd name="connsiteX29" fmla="*/ 2781300 w 2956560"/>
                  <a:gd name="connsiteY29" fmla="*/ 1066800 h 1234440"/>
                  <a:gd name="connsiteX30" fmla="*/ 2849880 w 2956560"/>
                  <a:gd name="connsiteY30" fmla="*/ 1051560 h 1234440"/>
                  <a:gd name="connsiteX31" fmla="*/ 2910840 w 2956560"/>
                  <a:gd name="connsiteY31" fmla="*/ 1021080 h 1234440"/>
                  <a:gd name="connsiteX32" fmla="*/ 2956560 w 2956560"/>
                  <a:gd name="connsiteY32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461260 w 2956560"/>
                  <a:gd name="connsiteY22" fmla="*/ 1173480 h 1234440"/>
                  <a:gd name="connsiteX23" fmla="*/ 2506980 w 2956560"/>
                  <a:gd name="connsiteY23" fmla="*/ 1165860 h 1234440"/>
                  <a:gd name="connsiteX24" fmla="*/ 2537460 w 2956560"/>
                  <a:gd name="connsiteY24" fmla="*/ 1150620 h 1234440"/>
                  <a:gd name="connsiteX25" fmla="*/ 2621280 w 2956560"/>
                  <a:gd name="connsiteY25" fmla="*/ 1127760 h 1234440"/>
                  <a:gd name="connsiteX26" fmla="*/ 2644140 w 2956560"/>
                  <a:gd name="connsiteY26" fmla="*/ 1112520 h 1234440"/>
                  <a:gd name="connsiteX27" fmla="*/ 2750820 w 2956560"/>
                  <a:gd name="connsiteY27" fmla="*/ 1082040 h 1234440"/>
                  <a:gd name="connsiteX28" fmla="*/ 2781300 w 2956560"/>
                  <a:gd name="connsiteY28" fmla="*/ 1066800 h 1234440"/>
                  <a:gd name="connsiteX29" fmla="*/ 2849880 w 2956560"/>
                  <a:gd name="connsiteY29" fmla="*/ 1051560 h 1234440"/>
                  <a:gd name="connsiteX30" fmla="*/ 2910840 w 2956560"/>
                  <a:gd name="connsiteY30" fmla="*/ 1021080 h 1234440"/>
                  <a:gd name="connsiteX31" fmla="*/ 2956560 w 2956560"/>
                  <a:gd name="connsiteY31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461260 w 2956560"/>
                  <a:gd name="connsiteY22" fmla="*/ 1173480 h 1234440"/>
                  <a:gd name="connsiteX23" fmla="*/ 2506980 w 2956560"/>
                  <a:gd name="connsiteY23" fmla="*/ 1165860 h 1234440"/>
                  <a:gd name="connsiteX24" fmla="*/ 2537460 w 2956560"/>
                  <a:gd name="connsiteY24" fmla="*/ 1150620 h 1234440"/>
                  <a:gd name="connsiteX25" fmla="*/ 2621280 w 2956560"/>
                  <a:gd name="connsiteY25" fmla="*/ 1127760 h 1234440"/>
                  <a:gd name="connsiteX26" fmla="*/ 2644140 w 2956560"/>
                  <a:gd name="connsiteY26" fmla="*/ 1112520 h 1234440"/>
                  <a:gd name="connsiteX27" fmla="*/ 2781300 w 2956560"/>
                  <a:gd name="connsiteY27" fmla="*/ 1066800 h 1234440"/>
                  <a:gd name="connsiteX28" fmla="*/ 2849880 w 2956560"/>
                  <a:gd name="connsiteY28" fmla="*/ 1051560 h 1234440"/>
                  <a:gd name="connsiteX29" fmla="*/ 2910840 w 2956560"/>
                  <a:gd name="connsiteY29" fmla="*/ 1021080 h 1234440"/>
                  <a:gd name="connsiteX30" fmla="*/ 2956560 w 2956560"/>
                  <a:gd name="connsiteY30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461260 w 2956560"/>
                  <a:gd name="connsiteY22" fmla="*/ 1173480 h 1234440"/>
                  <a:gd name="connsiteX23" fmla="*/ 2506980 w 2956560"/>
                  <a:gd name="connsiteY23" fmla="*/ 1165860 h 1234440"/>
                  <a:gd name="connsiteX24" fmla="*/ 2621280 w 2956560"/>
                  <a:gd name="connsiteY24" fmla="*/ 1127760 h 1234440"/>
                  <a:gd name="connsiteX25" fmla="*/ 2644140 w 2956560"/>
                  <a:gd name="connsiteY25" fmla="*/ 1112520 h 1234440"/>
                  <a:gd name="connsiteX26" fmla="*/ 2781300 w 2956560"/>
                  <a:gd name="connsiteY26" fmla="*/ 1066800 h 1234440"/>
                  <a:gd name="connsiteX27" fmla="*/ 2849880 w 2956560"/>
                  <a:gd name="connsiteY27" fmla="*/ 1051560 h 1234440"/>
                  <a:gd name="connsiteX28" fmla="*/ 2910840 w 2956560"/>
                  <a:gd name="connsiteY28" fmla="*/ 1021080 h 1234440"/>
                  <a:gd name="connsiteX29" fmla="*/ 2956560 w 2956560"/>
                  <a:gd name="connsiteY29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506980 w 2956560"/>
                  <a:gd name="connsiteY22" fmla="*/ 1165860 h 1234440"/>
                  <a:gd name="connsiteX23" fmla="*/ 2621280 w 2956560"/>
                  <a:gd name="connsiteY23" fmla="*/ 1127760 h 1234440"/>
                  <a:gd name="connsiteX24" fmla="*/ 2644140 w 2956560"/>
                  <a:gd name="connsiteY24" fmla="*/ 1112520 h 1234440"/>
                  <a:gd name="connsiteX25" fmla="*/ 2781300 w 2956560"/>
                  <a:gd name="connsiteY25" fmla="*/ 1066800 h 1234440"/>
                  <a:gd name="connsiteX26" fmla="*/ 2849880 w 2956560"/>
                  <a:gd name="connsiteY26" fmla="*/ 1051560 h 1234440"/>
                  <a:gd name="connsiteX27" fmla="*/ 2910840 w 2956560"/>
                  <a:gd name="connsiteY27" fmla="*/ 1021080 h 1234440"/>
                  <a:gd name="connsiteX28" fmla="*/ 2956560 w 2956560"/>
                  <a:gd name="connsiteY28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506980 w 2956560"/>
                  <a:gd name="connsiteY22" fmla="*/ 1165860 h 1234440"/>
                  <a:gd name="connsiteX23" fmla="*/ 2621280 w 2956560"/>
                  <a:gd name="connsiteY23" fmla="*/ 1127760 h 1234440"/>
                  <a:gd name="connsiteX24" fmla="*/ 2781300 w 2956560"/>
                  <a:gd name="connsiteY24" fmla="*/ 1066800 h 1234440"/>
                  <a:gd name="connsiteX25" fmla="*/ 2849880 w 2956560"/>
                  <a:gd name="connsiteY25" fmla="*/ 1051560 h 1234440"/>
                  <a:gd name="connsiteX26" fmla="*/ 2910840 w 2956560"/>
                  <a:gd name="connsiteY26" fmla="*/ 1021080 h 1234440"/>
                  <a:gd name="connsiteX27" fmla="*/ 2956560 w 2956560"/>
                  <a:gd name="connsiteY27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219200 w 2956560"/>
                  <a:gd name="connsiteY15" fmla="*/ 1082040 h 1234440"/>
                  <a:gd name="connsiteX16" fmla="*/ 1600200 w 2956560"/>
                  <a:gd name="connsiteY16" fmla="*/ 1181100 h 1234440"/>
                  <a:gd name="connsiteX17" fmla="*/ 1769745 w 2956560"/>
                  <a:gd name="connsiteY17" fmla="*/ 1220153 h 1234440"/>
                  <a:gd name="connsiteX18" fmla="*/ 1988820 w 2956560"/>
                  <a:gd name="connsiteY18" fmla="*/ 1226820 h 1234440"/>
                  <a:gd name="connsiteX19" fmla="*/ 2065020 w 2956560"/>
                  <a:gd name="connsiteY19" fmla="*/ 1234440 h 1234440"/>
                  <a:gd name="connsiteX20" fmla="*/ 2423160 w 2956560"/>
                  <a:gd name="connsiteY20" fmla="*/ 1196340 h 1234440"/>
                  <a:gd name="connsiteX21" fmla="*/ 2506980 w 2956560"/>
                  <a:gd name="connsiteY21" fmla="*/ 1165860 h 1234440"/>
                  <a:gd name="connsiteX22" fmla="*/ 2621280 w 2956560"/>
                  <a:gd name="connsiteY22" fmla="*/ 1127760 h 1234440"/>
                  <a:gd name="connsiteX23" fmla="*/ 2781300 w 2956560"/>
                  <a:gd name="connsiteY23" fmla="*/ 1066800 h 1234440"/>
                  <a:gd name="connsiteX24" fmla="*/ 2849880 w 2956560"/>
                  <a:gd name="connsiteY24" fmla="*/ 1051560 h 1234440"/>
                  <a:gd name="connsiteX25" fmla="*/ 2910840 w 2956560"/>
                  <a:gd name="connsiteY25" fmla="*/ 1021080 h 1234440"/>
                  <a:gd name="connsiteX26" fmla="*/ 2956560 w 2956560"/>
                  <a:gd name="connsiteY26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600200 w 2956560"/>
                  <a:gd name="connsiteY15" fmla="*/ 1181100 h 1234440"/>
                  <a:gd name="connsiteX16" fmla="*/ 1769745 w 2956560"/>
                  <a:gd name="connsiteY16" fmla="*/ 1220153 h 1234440"/>
                  <a:gd name="connsiteX17" fmla="*/ 1988820 w 2956560"/>
                  <a:gd name="connsiteY17" fmla="*/ 1226820 h 1234440"/>
                  <a:gd name="connsiteX18" fmla="*/ 2065020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447800 w 2956560"/>
                  <a:gd name="connsiteY15" fmla="*/ 1152525 h 1234440"/>
                  <a:gd name="connsiteX16" fmla="*/ 1769745 w 2956560"/>
                  <a:gd name="connsiteY16" fmla="*/ 1220153 h 1234440"/>
                  <a:gd name="connsiteX17" fmla="*/ 1988820 w 2956560"/>
                  <a:gd name="connsiteY17" fmla="*/ 1226820 h 1234440"/>
                  <a:gd name="connsiteX18" fmla="*/ 2065020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447800 w 2956560"/>
                  <a:gd name="connsiteY15" fmla="*/ 1152525 h 1234440"/>
                  <a:gd name="connsiteX16" fmla="*/ 1760220 w 2956560"/>
                  <a:gd name="connsiteY16" fmla="*/ 1201103 h 1234440"/>
                  <a:gd name="connsiteX17" fmla="*/ 1988820 w 2956560"/>
                  <a:gd name="connsiteY17" fmla="*/ 1226820 h 1234440"/>
                  <a:gd name="connsiteX18" fmla="*/ 2065020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447800 w 2956560"/>
                  <a:gd name="connsiteY15" fmla="*/ 1152525 h 1234440"/>
                  <a:gd name="connsiteX16" fmla="*/ 1760220 w 2956560"/>
                  <a:gd name="connsiteY16" fmla="*/ 1201103 h 1234440"/>
                  <a:gd name="connsiteX17" fmla="*/ 1988820 w 2956560"/>
                  <a:gd name="connsiteY17" fmla="*/ 1226820 h 1234440"/>
                  <a:gd name="connsiteX18" fmla="*/ 2098358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10840"/>
                  <a:gd name="connsiteY0" fmla="*/ 0 h 1234440"/>
                  <a:gd name="connsiteX1" fmla="*/ 45720 w 2910840"/>
                  <a:gd name="connsiteY1" fmla="*/ 76200 h 1234440"/>
                  <a:gd name="connsiteX2" fmla="*/ 121920 w 2910840"/>
                  <a:gd name="connsiteY2" fmla="*/ 198120 h 1234440"/>
                  <a:gd name="connsiteX3" fmla="*/ 198120 w 2910840"/>
                  <a:gd name="connsiteY3" fmla="*/ 289560 h 1234440"/>
                  <a:gd name="connsiteX4" fmla="*/ 251460 w 2910840"/>
                  <a:gd name="connsiteY4" fmla="*/ 358140 h 1234440"/>
                  <a:gd name="connsiteX5" fmla="*/ 312420 w 2910840"/>
                  <a:gd name="connsiteY5" fmla="*/ 419100 h 1234440"/>
                  <a:gd name="connsiteX6" fmla="*/ 396240 w 2910840"/>
                  <a:gd name="connsiteY6" fmla="*/ 510540 h 1234440"/>
                  <a:gd name="connsiteX7" fmla="*/ 464820 w 2910840"/>
                  <a:gd name="connsiteY7" fmla="*/ 579120 h 1234440"/>
                  <a:gd name="connsiteX8" fmla="*/ 533400 w 2910840"/>
                  <a:gd name="connsiteY8" fmla="*/ 624840 h 1234440"/>
                  <a:gd name="connsiteX9" fmla="*/ 617220 w 2910840"/>
                  <a:gd name="connsiteY9" fmla="*/ 693420 h 1234440"/>
                  <a:gd name="connsiteX10" fmla="*/ 670560 w 2910840"/>
                  <a:gd name="connsiteY10" fmla="*/ 746760 h 1234440"/>
                  <a:gd name="connsiteX11" fmla="*/ 769620 w 2910840"/>
                  <a:gd name="connsiteY11" fmla="*/ 830580 h 1234440"/>
                  <a:gd name="connsiteX12" fmla="*/ 967740 w 2910840"/>
                  <a:gd name="connsiteY12" fmla="*/ 937260 h 1234440"/>
                  <a:gd name="connsiteX13" fmla="*/ 1074420 w 2910840"/>
                  <a:gd name="connsiteY13" fmla="*/ 998220 h 1234440"/>
                  <a:gd name="connsiteX14" fmla="*/ 1158240 w 2910840"/>
                  <a:gd name="connsiteY14" fmla="*/ 1036320 h 1234440"/>
                  <a:gd name="connsiteX15" fmla="*/ 1447800 w 2910840"/>
                  <a:gd name="connsiteY15" fmla="*/ 1152525 h 1234440"/>
                  <a:gd name="connsiteX16" fmla="*/ 1760220 w 2910840"/>
                  <a:gd name="connsiteY16" fmla="*/ 1201103 h 1234440"/>
                  <a:gd name="connsiteX17" fmla="*/ 1988820 w 2910840"/>
                  <a:gd name="connsiteY17" fmla="*/ 1226820 h 1234440"/>
                  <a:gd name="connsiteX18" fmla="*/ 2098358 w 2910840"/>
                  <a:gd name="connsiteY18" fmla="*/ 1234440 h 1234440"/>
                  <a:gd name="connsiteX19" fmla="*/ 2423160 w 2910840"/>
                  <a:gd name="connsiteY19" fmla="*/ 1196340 h 1234440"/>
                  <a:gd name="connsiteX20" fmla="*/ 2506980 w 2910840"/>
                  <a:gd name="connsiteY20" fmla="*/ 1165860 h 1234440"/>
                  <a:gd name="connsiteX21" fmla="*/ 2621280 w 2910840"/>
                  <a:gd name="connsiteY21" fmla="*/ 1127760 h 1234440"/>
                  <a:gd name="connsiteX22" fmla="*/ 2781300 w 2910840"/>
                  <a:gd name="connsiteY22" fmla="*/ 1066800 h 1234440"/>
                  <a:gd name="connsiteX23" fmla="*/ 2849880 w 2910840"/>
                  <a:gd name="connsiteY23" fmla="*/ 1051560 h 1234440"/>
                  <a:gd name="connsiteX24" fmla="*/ 2910840 w 2910840"/>
                  <a:gd name="connsiteY24" fmla="*/ 1021080 h 1234440"/>
                  <a:gd name="connsiteX0" fmla="*/ 0 w 2944177"/>
                  <a:gd name="connsiteY0" fmla="*/ 0 h 1234440"/>
                  <a:gd name="connsiteX1" fmla="*/ 45720 w 2944177"/>
                  <a:gd name="connsiteY1" fmla="*/ 76200 h 1234440"/>
                  <a:gd name="connsiteX2" fmla="*/ 121920 w 2944177"/>
                  <a:gd name="connsiteY2" fmla="*/ 198120 h 1234440"/>
                  <a:gd name="connsiteX3" fmla="*/ 198120 w 2944177"/>
                  <a:gd name="connsiteY3" fmla="*/ 289560 h 1234440"/>
                  <a:gd name="connsiteX4" fmla="*/ 251460 w 2944177"/>
                  <a:gd name="connsiteY4" fmla="*/ 358140 h 1234440"/>
                  <a:gd name="connsiteX5" fmla="*/ 312420 w 2944177"/>
                  <a:gd name="connsiteY5" fmla="*/ 419100 h 1234440"/>
                  <a:gd name="connsiteX6" fmla="*/ 396240 w 2944177"/>
                  <a:gd name="connsiteY6" fmla="*/ 510540 h 1234440"/>
                  <a:gd name="connsiteX7" fmla="*/ 464820 w 2944177"/>
                  <a:gd name="connsiteY7" fmla="*/ 579120 h 1234440"/>
                  <a:gd name="connsiteX8" fmla="*/ 533400 w 2944177"/>
                  <a:gd name="connsiteY8" fmla="*/ 624840 h 1234440"/>
                  <a:gd name="connsiteX9" fmla="*/ 617220 w 2944177"/>
                  <a:gd name="connsiteY9" fmla="*/ 693420 h 1234440"/>
                  <a:gd name="connsiteX10" fmla="*/ 670560 w 2944177"/>
                  <a:gd name="connsiteY10" fmla="*/ 746760 h 1234440"/>
                  <a:gd name="connsiteX11" fmla="*/ 769620 w 2944177"/>
                  <a:gd name="connsiteY11" fmla="*/ 830580 h 1234440"/>
                  <a:gd name="connsiteX12" fmla="*/ 967740 w 2944177"/>
                  <a:gd name="connsiteY12" fmla="*/ 937260 h 1234440"/>
                  <a:gd name="connsiteX13" fmla="*/ 1074420 w 2944177"/>
                  <a:gd name="connsiteY13" fmla="*/ 998220 h 1234440"/>
                  <a:gd name="connsiteX14" fmla="*/ 1158240 w 2944177"/>
                  <a:gd name="connsiteY14" fmla="*/ 1036320 h 1234440"/>
                  <a:gd name="connsiteX15" fmla="*/ 1447800 w 2944177"/>
                  <a:gd name="connsiteY15" fmla="*/ 1152525 h 1234440"/>
                  <a:gd name="connsiteX16" fmla="*/ 1760220 w 2944177"/>
                  <a:gd name="connsiteY16" fmla="*/ 1201103 h 1234440"/>
                  <a:gd name="connsiteX17" fmla="*/ 1988820 w 2944177"/>
                  <a:gd name="connsiteY17" fmla="*/ 1226820 h 1234440"/>
                  <a:gd name="connsiteX18" fmla="*/ 2098358 w 2944177"/>
                  <a:gd name="connsiteY18" fmla="*/ 1234440 h 1234440"/>
                  <a:gd name="connsiteX19" fmla="*/ 2423160 w 2944177"/>
                  <a:gd name="connsiteY19" fmla="*/ 1196340 h 1234440"/>
                  <a:gd name="connsiteX20" fmla="*/ 2506980 w 2944177"/>
                  <a:gd name="connsiteY20" fmla="*/ 1165860 h 1234440"/>
                  <a:gd name="connsiteX21" fmla="*/ 2621280 w 2944177"/>
                  <a:gd name="connsiteY21" fmla="*/ 1127760 h 1234440"/>
                  <a:gd name="connsiteX22" fmla="*/ 2781300 w 2944177"/>
                  <a:gd name="connsiteY22" fmla="*/ 1066800 h 1234440"/>
                  <a:gd name="connsiteX23" fmla="*/ 2849880 w 2944177"/>
                  <a:gd name="connsiteY23" fmla="*/ 1051560 h 1234440"/>
                  <a:gd name="connsiteX24" fmla="*/ 2944177 w 2944177"/>
                  <a:gd name="connsiteY24" fmla="*/ 992505 h 1234440"/>
                  <a:gd name="connsiteX0" fmla="*/ 0 w 2944177"/>
                  <a:gd name="connsiteY0" fmla="*/ 0 h 1234440"/>
                  <a:gd name="connsiteX1" fmla="*/ 45720 w 2944177"/>
                  <a:gd name="connsiteY1" fmla="*/ 76200 h 1234440"/>
                  <a:gd name="connsiteX2" fmla="*/ 121920 w 2944177"/>
                  <a:gd name="connsiteY2" fmla="*/ 198120 h 1234440"/>
                  <a:gd name="connsiteX3" fmla="*/ 198120 w 2944177"/>
                  <a:gd name="connsiteY3" fmla="*/ 289560 h 1234440"/>
                  <a:gd name="connsiteX4" fmla="*/ 251460 w 2944177"/>
                  <a:gd name="connsiteY4" fmla="*/ 358140 h 1234440"/>
                  <a:gd name="connsiteX5" fmla="*/ 312420 w 2944177"/>
                  <a:gd name="connsiteY5" fmla="*/ 419100 h 1234440"/>
                  <a:gd name="connsiteX6" fmla="*/ 396240 w 2944177"/>
                  <a:gd name="connsiteY6" fmla="*/ 510540 h 1234440"/>
                  <a:gd name="connsiteX7" fmla="*/ 464820 w 2944177"/>
                  <a:gd name="connsiteY7" fmla="*/ 579120 h 1234440"/>
                  <a:gd name="connsiteX8" fmla="*/ 533400 w 2944177"/>
                  <a:gd name="connsiteY8" fmla="*/ 624840 h 1234440"/>
                  <a:gd name="connsiteX9" fmla="*/ 617220 w 2944177"/>
                  <a:gd name="connsiteY9" fmla="*/ 693420 h 1234440"/>
                  <a:gd name="connsiteX10" fmla="*/ 670560 w 2944177"/>
                  <a:gd name="connsiteY10" fmla="*/ 746760 h 1234440"/>
                  <a:gd name="connsiteX11" fmla="*/ 769620 w 2944177"/>
                  <a:gd name="connsiteY11" fmla="*/ 830580 h 1234440"/>
                  <a:gd name="connsiteX12" fmla="*/ 967740 w 2944177"/>
                  <a:gd name="connsiteY12" fmla="*/ 937260 h 1234440"/>
                  <a:gd name="connsiteX13" fmla="*/ 1074420 w 2944177"/>
                  <a:gd name="connsiteY13" fmla="*/ 998220 h 1234440"/>
                  <a:gd name="connsiteX14" fmla="*/ 1158240 w 2944177"/>
                  <a:gd name="connsiteY14" fmla="*/ 1036320 h 1234440"/>
                  <a:gd name="connsiteX15" fmla="*/ 1447800 w 2944177"/>
                  <a:gd name="connsiteY15" fmla="*/ 1152525 h 1234440"/>
                  <a:gd name="connsiteX16" fmla="*/ 1760220 w 2944177"/>
                  <a:gd name="connsiteY16" fmla="*/ 1201103 h 1234440"/>
                  <a:gd name="connsiteX17" fmla="*/ 1988820 w 2944177"/>
                  <a:gd name="connsiteY17" fmla="*/ 1226820 h 1234440"/>
                  <a:gd name="connsiteX18" fmla="*/ 2098358 w 2944177"/>
                  <a:gd name="connsiteY18" fmla="*/ 1234440 h 1234440"/>
                  <a:gd name="connsiteX19" fmla="*/ 2423160 w 2944177"/>
                  <a:gd name="connsiteY19" fmla="*/ 1196340 h 1234440"/>
                  <a:gd name="connsiteX20" fmla="*/ 2506980 w 2944177"/>
                  <a:gd name="connsiteY20" fmla="*/ 1165860 h 1234440"/>
                  <a:gd name="connsiteX21" fmla="*/ 2621280 w 2944177"/>
                  <a:gd name="connsiteY21" fmla="*/ 1127760 h 1234440"/>
                  <a:gd name="connsiteX22" fmla="*/ 2781300 w 2944177"/>
                  <a:gd name="connsiteY22" fmla="*/ 1066800 h 1234440"/>
                  <a:gd name="connsiteX23" fmla="*/ 2944177 w 2944177"/>
                  <a:gd name="connsiteY23" fmla="*/ 992505 h 1234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944177" h="1234440">
                    <a:moveTo>
                      <a:pt x="0" y="0"/>
                    </a:moveTo>
                    <a:cubicBezTo>
                      <a:pt x="67942" y="84928"/>
                      <a:pt x="25400" y="43180"/>
                      <a:pt x="45720" y="76200"/>
                    </a:cubicBezTo>
                    <a:cubicBezTo>
                      <a:pt x="66040" y="109220"/>
                      <a:pt x="96520" y="162560"/>
                      <a:pt x="121920" y="198120"/>
                    </a:cubicBezTo>
                    <a:cubicBezTo>
                      <a:pt x="147320" y="233680"/>
                      <a:pt x="176530" y="262890"/>
                      <a:pt x="198120" y="289560"/>
                    </a:cubicBezTo>
                    <a:cubicBezTo>
                      <a:pt x="219710" y="316230"/>
                      <a:pt x="232410" y="336550"/>
                      <a:pt x="251460" y="358140"/>
                    </a:cubicBezTo>
                    <a:cubicBezTo>
                      <a:pt x="270510" y="379730"/>
                      <a:pt x="288290" y="393700"/>
                      <a:pt x="312420" y="419100"/>
                    </a:cubicBezTo>
                    <a:cubicBezTo>
                      <a:pt x="336550" y="444500"/>
                      <a:pt x="370840" y="483870"/>
                      <a:pt x="396240" y="510540"/>
                    </a:cubicBezTo>
                    <a:cubicBezTo>
                      <a:pt x="421640" y="537210"/>
                      <a:pt x="441960" y="560070"/>
                      <a:pt x="464820" y="579120"/>
                    </a:cubicBezTo>
                    <a:cubicBezTo>
                      <a:pt x="487680" y="598170"/>
                      <a:pt x="508000" y="605790"/>
                      <a:pt x="533400" y="624840"/>
                    </a:cubicBezTo>
                    <a:cubicBezTo>
                      <a:pt x="558800" y="643890"/>
                      <a:pt x="594360" y="673100"/>
                      <a:pt x="617220" y="693420"/>
                    </a:cubicBezTo>
                    <a:cubicBezTo>
                      <a:pt x="640080" y="713740"/>
                      <a:pt x="645160" y="723900"/>
                      <a:pt x="670560" y="746760"/>
                    </a:cubicBezTo>
                    <a:cubicBezTo>
                      <a:pt x="695960" y="769620"/>
                      <a:pt x="720090" y="798830"/>
                      <a:pt x="769620" y="830580"/>
                    </a:cubicBezTo>
                    <a:cubicBezTo>
                      <a:pt x="819150" y="862330"/>
                      <a:pt x="916940" y="909320"/>
                      <a:pt x="967740" y="937260"/>
                    </a:cubicBezTo>
                    <a:cubicBezTo>
                      <a:pt x="1018540" y="965200"/>
                      <a:pt x="1042670" y="981710"/>
                      <a:pt x="1074420" y="998220"/>
                    </a:cubicBezTo>
                    <a:cubicBezTo>
                      <a:pt x="1106170" y="1014730"/>
                      <a:pt x="1096010" y="1010603"/>
                      <a:pt x="1158240" y="1036320"/>
                    </a:cubicBezTo>
                    <a:cubicBezTo>
                      <a:pt x="1220470" y="1062038"/>
                      <a:pt x="1345883" y="1121886"/>
                      <a:pt x="1447800" y="1152525"/>
                    </a:cubicBezTo>
                    <a:cubicBezTo>
                      <a:pt x="1549717" y="1183164"/>
                      <a:pt x="1670050" y="1188721"/>
                      <a:pt x="1760220" y="1201103"/>
                    </a:cubicBezTo>
                    <a:cubicBezTo>
                      <a:pt x="1850390" y="1213485"/>
                      <a:pt x="1932464" y="1221264"/>
                      <a:pt x="1988820" y="1226820"/>
                    </a:cubicBezTo>
                    <a:cubicBezTo>
                      <a:pt x="2045176" y="1232376"/>
                      <a:pt x="2061845" y="1231900"/>
                      <a:pt x="2098358" y="1234440"/>
                    </a:cubicBezTo>
                    <a:cubicBezTo>
                      <a:pt x="2217738" y="1221740"/>
                      <a:pt x="2355056" y="1207770"/>
                      <a:pt x="2423160" y="1196340"/>
                    </a:cubicBezTo>
                    <a:cubicBezTo>
                      <a:pt x="2491264" y="1184910"/>
                      <a:pt x="2473960" y="1177290"/>
                      <a:pt x="2506980" y="1165860"/>
                    </a:cubicBezTo>
                    <a:cubicBezTo>
                      <a:pt x="2540000" y="1154430"/>
                      <a:pt x="2575560" y="1144270"/>
                      <a:pt x="2621280" y="1127760"/>
                    </a:cubicBezTo>
                    <a:cubicBezTo>
                      <a:pt x="2667000" y="1111250"/>
                      <a:pt x="2727484" y="1089343"/>
                      <a:pt x="2781300" y="1066800"/>
                    </a:cubicBezTo>
                    <a:cubicBezTo>
                      <a:pt x="2835116" y="1044258"/>
                      <a:pt x="2910244" y="1007983"/>
                      <a:pt x="2944177" y="992505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45" name="Freeform: Shape 49">
                <a:extLst>
                  <a:ext uri="{FF2B5EF4-FFF2-40B4-BE49-F238E27FC236}">
                    <a16:creationId xmlns:a16="http://schemas.microsoft.com/office/drawing/2014/main" id="{44604ECD-8D6C-6C1E-605F-C95122DFB002}"/>
                  </a:ext>
                </a:extLst>
              </p:cNvPr>
              <p:cNvSpPr/>
              <p:nvPr/>
            </p:nvSpPr>
            <p:spPr>
              <a:xfrm>
                <a:off x="5813581" y="1990894"/>
                <a:ext cx="389411" cy="442575"/>
              </a:xfrm>
              <a:custGeom>
                <a:avLst/>
                <a:gdLst>
                  <a:gd name="connsiteX0" fmla="*/ 167640 w 358317"/>
                  <a:gd name="connsiteY0" fmla="*/ 2549 h 452129"/>
                  <a:gd name="connsiteX1" fmla="*/ 121920 w 358317"/>
                  <a:gd name="connsiteY1" fmla="*/ 78749 h 452129"/>
                  <a:gd name="connsiteX2" fmla="*/ 68580 w 358317"/>
                  <a:gd name="connsiteY2" fmla="*/ 124469 h 452129"/>
                  <a:gd name="connsiteX3" fmla="*/ 30480 w 358317"/>
                  <a:gd name="connsiteY3" fmla="*/ 185429 h 452129"/>
                  <a:gd name="connsiteX4" fmla="*/ 15240 w 358317"/>
                  <a:gd name="connsiteY4" fmla="*/ 208289 h 452129"/>
                  <a:gd name="connsiteX5" fmla="*/ 0 w 358317"/>
                  <a:gd name="connsiteY5" fmla="*/ 269249 h 452129"/>
                  <a:gd name="connsiteX6" fmla="*/ 15240 w 358317"/>
                  <a:gd name="connsiteY6" fmla="*/ 368309 h 452129"/>
                  <a:gd name="connsiteX7" fmla="*/ 45720 w 358317"/>
                  <a:gd name="connsiteY7" fmla="*/ 391169 h 452129"/>
                  <a:gd name="connsiteX8" fmla="*/ 144780 w 358317"/>
                  <a:gd name="connsiteY8" fmla="*/ 444509 h 452129"/>
                  <a:gd name="connsiteX9" fmla="*/ 175260 w 358317"/>
                  <a:gd name="connsiteY9" fmla="*/ 452129 h 452129"/>
                  <a:gd name="connsiteX10" fmla="*/ 198120 w 358317"/>
                  <a:gd name="connsiteY10" fmla="*/ 444509 h 452129"/>
                  <a:gd name="connsiteX11" fmla="*/ 213360 w 358317"/>
                  <a:gd name="connsiteY11" fmla="*/ 421649 h 452129"/>
                  <a:gd name="connsiteX12" fmla="*/ 220980 w 358317"/>
                  <a:gd name="connsiteY12" fmla="*/ 398789 h 452129"/>
                  <a:gd name="connsiteX13" fmla="*/ 236220 w 358317"/>
                  <a:gd name="connsiteY13" fmla="*/ 345449 h 452129"/>
                  <a:gd name="connsiteX14" fmla="*/ 274320 w 358317"/>
                  <a:gd name="connsiteY14" fmla="*/ 269249 h 452129"/>
                  <a:gd name="connsiteX15" fmla="*/ 304800 w 358317"/>
                  <a:gd name="connsiteY15" fmla="*/ 208289 h 452129"/>
                  <a:gd name="connsiteX16" fmla="*/ 312420 w 358317"/>
                  <a:gd name="connsiteY16" fmla="*/ 185429 h 452129"/>
                  <a:gd name="connsiteX17" fmla="*/ 350520 w 358317"/>
                  <a:gd name="connsiteY17" fmla="*/ 132089 h 452129"/>
                  <a:gd name="connsiteX18" fmla="*/ 358140 w 358317"/>
                  <a:gd name="connsiteY18" fmla="*/ 109229 h 452129"/>
                  <a:gd name="connsiteX19" fmla="*/ 342900 w 358317"/>
                  <a:gd name="connsiteY19" fmla="*/ 86369 h 452129"/>
                  <a:gd name="connsiteX20" fmla="*/ 289560 w 358317"/>
                  <a:gd name="connsiteY20" fmla="*/ 48269 h 452129"/>
                  <a:gd name="connsiteX21" fmla="*/ 266700 w 358317"/>
                  <a:gd name="connsiteY21" fmla="*/ 25409 h 452129"/>
                  <a:gd name="connsiteX22" fmla="*/ 220980 w 358317"/>
                  <a:gd name="connsiteY22" fmla="*/ 17789 h 452129"/>
                  <a:gd name="connsiteX23" fmla="*/ 167640 w 358317"/>
                  <a:gd name="connsiteY23" fmla="*/ 2549 h 452129"/>
                  <a:gd name="connsiteX0" fmla="*/ 167640 w 358317"/>
                  <a:gd name="connsiteY0" fmla="*/ 2549 h 452129"/>
                  <a:gd name="connsiteX1" fmla="*/ 121920 w 358317"/>
                  <a:gd name="connsiteY1" fmla="*/ 78749 h 452129"/>
                  <a:gd name="connsiteX2" fmla="*/ 68580 w 358317"/>
                  <a:gd name="connsiteY2" fmla="*/ 124469 h 452129"/>
                  <a:gd name="connsiteX3" fmla="*/ 30480 w 358317"/>
                  <a:gd name="connsiteY3" fmla="*/ 185429 h 452129"/>
                  <a:gd name="connsiteX4" fmla="*/ 15240 w 358317"/>
                  <a:gd name="connsiteY4" fmla="*/ 208289 h 452129"/>
                  <a:gd name="connsiteX5" fmla="*/ 0 w 358317"/>
                  <a:gd name="connsiteY5" fmla="*/ 269249 h 452129"/>
                  <a:gd name="connsiteX6" fmla="*/ 15240 w 358317"/>
                  <a:gd name="connsiteY6" fmla="*/ 368309 h 452129"/>
                  <a:gd name="connsiteX7" fmla="*/ 45720 w 358317"/>
                  <a:gd name="connsiteY7" fmla="*/ 391169 h 452129"/>
                  <a:gd name="connsiteX8" fmla="*/ 144780 w 358317"/>
                  <a:gd name="connsiteY8" fmla="*/ 444509 h 452129"/>
                  <a:gd name="connsiteX9" fmla="*/ 175260 w 358317"/>
                  <a:gd name="connsiteY9" fmla="*/ 452129 h 452129"/>
                  <a:gd name="connsiteX10" fmla="*/ 198120 w 358317"/>
                  <a:gd name="connsiteY10" fmla="*/ 444509 h 452129"/>
                  <a:gd name="connsiteX11" fmla="*/ 213360 w 358317"/>
                  <a:gd name="connsiteY11" fmla="*/ 421649 h 452129"/>
                  <a:gd name="connsiteX12" fmla="*/ 220980 w 358317"/>
                  <a:gd name="connsiteY12" fmla="*/ 398789 h 452129"/>
                  <a:gd name="connsiteX13" fmla="*/ 236220 w 358317"/>
                  <a:gd name="connsiteY13" fmla="*/ 345449 h 452129"/>
                  <a:gd name="connsiteX14" fmla="*/ 274320 w 358317"/>
                  <a:gd name="connsiteY14" fmla="*/ 269249 h 452129"/>
                  <a:gd name="connsiteX15" fmla="*/ 304800 w 358317"/>
                  <a:gd name="connsiteY15" fmla="*/ 208289 h 452129"/>
                  <a:gd name="connsiteX16" fmla="*/ 312420 w 358317"/>
                  <a:gd name="connsiteY16" fmla="*/ 185429 h 452129"/>
                  <a:gd name="connsiteX17" fmla="*/ 350520 w 358317"/>
                  <a:gd name="connsiteY17" fmla="*/ 132089 h 452129"/>
                  <a:gd name="connsiteX18" fmla="*/ 358140 w 358317"/>
                  <a:gd name="connsiteY18" fmla="*/ 109229 h 452129"/>
                  <a:gd name="connsiteX19" fmla="*/ 342900 w 358317"/>
                  <a:gd name="connsiteY19" fmla="*/ 86369 h 452129"/>
                  <a:gd name="connsiteX20" fmla="*/ 266700 w 358317"/>
                  <a:gd name="connsiteY20" fmla="*/ 25409 h 452129"/>
                  <a:gd name="connsiteX21" fmla="*/ 220980 w 358317"/>
                  <a:gd name="connsiteY21" fmla="*/ 17789 h 452129"/>
                  <a:gd name="connsiteX22" fmla="*/ 167640 w 358317"/>
                  <a:gd name="connsiteY22" fmla="*/ 2549 h 452129"/>
                  <a:gd name="connsiteX0" fmla="*/ 167640 w 358712"/>
                  <a:gd name="connsiteY0" fmla="*/ 3883 h 453463"/>
                  <a:gd name="connsiteX1" fmla="*/ 121920 w 358712"/>
                  <a:gd name="connsiteY1" fmla="*/ 80083 h 453463"/>
                  <a:gd name="connsiteX2" fmla="*/ 68580 w 358712"/>
                  <a:gd name="connsiteY2" fmla="*/ 125803 h 453463"/>
                  <a:gd name="connsiteX3" fmla="*/ 30480 w 358712"/>
                  <a:gd name="connsiteY3" fmla="*/ 186763 h 453463"/>
                  <a:gd name="connsiteX4" fmla="*/ 15240 w 358712"/>
                  <a:gd name="connsiteY4" fmla="*/ 209623 h 453463"/>
                  <a:gd name="connsiteX5" fmla="*/ 0 w 358712"/>
                  <a:gd name="connsiteY5" fmla="*/ 270583 h 453463"/>
                  <a:gd name="connsiteX6" fmla="*/ 15240 w 358712"/>
                  <a:gd name="connsiteY6" fmla="*/ 369643 h 453463"/>
                  <a:gd name="connsiteX7" fmla="*/ 45720 w 358712"/>
                  <a:gd name="connsiteY7" fmla="*/ 392503 h 453463"/>
                  <a:gd name="connsiteX8" fmla="*/ 144780 w 358712"/>
                  <a:gd name="connsiteY8" fmla="*/ 445843 h 453463"/>
                  <a:gd name="connsiteX9" fmla="*/ 175260 w 358712"/>
                  <a:gd name="connsiteY9" fmla="*/ 453463 h 453463"/>
                  <a:gd name="connsiteX10" fmla="*/ 198120 w 358712"/>
                  <a:gd name="connsiteY10" fmla="*/ 445843 h 453463"/>
                  <a:gd name="connsiteX11" fmla="*/ 213360 w 358712"/>
                  <a:gd name="connsiteY11" fmla="*/ 422983 h 453463"/>
                  <a:gd name="connsiteX12" fmla="*/ 220980 w 358712"/>
                  <a:gd name="connsiteY12" fmla="*/ 400123 h 453463"/>
                  <a:gd name="connsiteX13" fmla="*/ 236220 w 358712"/>
                  <a:gd name="connsiteY13" fmla="*/ 346783 h 453463"/>
                  <a:gd name="connsiteX14" fmla="*/ 274320 w 358712"/>
                  <a:gd name="connsiteY14" fmla="*/ 270583 h 453463"/>
                  <a:gd name="connsiteX15" fmla="*/ 304800 w 358712"/>
                  <a:gd name="connsiteY15" fmla="*/ 209623 h 453463"/>
                  <a:gd name="connsiteX16" fmla="*/ 312420 w 358712"/>
                  <a:gd name="connsiteY16" fmla="*/ 186763 h 453463"/>
                  <a:gd name="connsiteX17" fmla="*/ 350520 w 358712"/>
                  <a:gd name="connsiteY17" fmla="*/ 133423 h 453463"/>
                  <a:gd name="connsiteX18" fmla="*/ 358140 w 358712"/>
                  <a:gd name="connsiteY18" fmla="*/ 110563 h 453463"/>
                  <a:gd name="connsiteX19" fmla="*/ 342900 w 358712"/>
                  <a:gd name="connsiteY19" fmla="*/ 87703 h 453463"/>
                  <a:gd name="connsiteX20" fmla="*/ 220980 w 358712"/>
                  <a:gd name="connsiteY20" fmla="*/ 19123 h 453463"/>
                  <a:gd name="connsiteX21" fmla="*/ 167640 w 358712"/>
                  <a:gd name="connsiteY21" fmla="*/ 3883 h 453463"/>
                  <a:gd name="connsiteX0" fmla="*/ 167640 w 366515"/>
                  <a:gd name="connsiteY0" fmla="*/ 4550 h 454130"/>
                  <a:gd name="connsiteX1" fmla="*/ 121920 w 366515"/>
                  <a:gd name="connsiteY1" fmla="*/ 80750 h 454130"/>
                  <a:gd name="connsiteX2" fmla="*/ 68580 w 366515"/>
                  <a:gd name="connsiteY2" fmla="*/ 126470 h 454130"/>
                  <a:gd name="connsiteX3" fmla="*/ 30480 w 366515"/>
                  <a:gd name="connsiteY3" fmla="*/ 187430 h 454130"/>
                  <a:gd name="connsiteX4" fmla="*/ 15240 w 366515"/>
                  <a:gd name="connsiteY4" fmla="*/ 210290 h 454130"/>
                  <a:gd name="connsiteX5" fmla="*/ 0 w 366515"/>
                  <a:gd name="connsiteY5" fmla="*/ 271250 h 454130"/>
                  <a:gd name="connsiteX6" fmla="*/ 15240 w 366515"/>
                  <a:gd name="connsiteY6" fmla="*/ 370310 h 454130"/>
                  <a:gd name="connsiteX7" fmla="*/ 45720 w 366515"/>
                  <a:gd name="connsiteY7" fmla="*/ 393170 h 454130"/>
                  <a:gd name="connsiteX8" fmla="*/ 144780 w 366515"/>
                  <a:gd name="connsiteY8" fmla="*/ 446510 h 454130"/>
                  <a:gd name="connsiteX9" fmla="*/ 175260 w 366515"/>
                  <a:gd name="connsiteY9" fmla="*/ 454130 h 454130"/>
                  <a:gd name="connsiteX10" fmla="*/ 198120 w 366515"/>
                  <a:gd name="connsiteY10" fmla="*/ 446510 h 454130"/>
                  <a:gd name="connsiteX11" fmla="*/ 213360 w 366515"/>
                  <a:gd name="connsiteY11" fmla="*/ 423650 h 454130"/>
                  <a:gd name="connsiteX12" fmla="*/ 220980 w 366515"/>
                  <a:gd name="connsiteY12" fmla="*/ 400790 h 454130"/>
                  <a:gd name="connsiteX13" fmla="*/ 236220 w 366515"/>
                  <a:gd name="connsiteY13" fmla="*/ 347450 h 454130"/>
                  <a:gd name="connsiteX14" fmla="*/ 274320 w 366515"/>
                  <a:gd name="connsiteY14" fmla="*/ 271250 h 454130"/>
                  <a:gd name="connsiteX15" fmla="*/ 304800 w 366515"/>
                  <a:gd name="connsiteY15" fmla="*/ 210290 h 454130"/>
                  <a:gd name="connsiteX16" fmla="*/ 312420 w 366515"/>
                  <a:gd name="connsiteY16" fmla="*/ 187430 h 454130"/>
                  <a:gd name="connsiteX17" fmla="*/ 350520 w 366515"/>
                  <a:gd name="connsiteY17" fmla="*/ 134090 h 454130"/>
                  <a:gd name="connsiteX18" fmla="*/ 358140 w 366515"/>
                  <a:gd name="connsiteY18" fmla="*/ 111230 h 454130"/>
                  <a:gd name="connsiteX19" fmla="*/ 220980 w 366515"/>
                  <a:gd name="connsiteY19" fmla="*/ 19790 h 454130"/>
                  <a:gd name="connsiteX20" fmla="*/ 167640 w 366515"/>
                  <a:gd name="connsiteY20" fmla="*/ 4550 h 454130"/>
                  <a:gd name="connsiteX0" fmla="*/ 167640 w 365131"/>
                  <a:gd name="connsiteY0" fmla="*/ 615 h 450195"/>
                  <a:gd name="connsiteX1" fmla="*/ 121920 w 365131"/>
                  <a:gd name="connsiteY1" fmla="*/ 76815 h 450195"/>
                  <a:gd name="connsiteX2" fmla="*/ 68580 w 365131"/>
                  <a:gd name="connsiteY2" fmla="*/ 122535 h 450195"/>
                  <a:gd name="connsiteX3" fmla="*/ 30480 w 365131"/>
                  <a:gd name="connsiteY3" fmla="*/ 183495 h 450195"/>
                  <a:gd name="connsiteX4" fmla="*/ 15240 w 365131"/>
                  <a:gd name="connsiteY4" fmla="*/ 206355 h 450195"/>
                  <a:gd name="connsiteX5" fmla="*/ 0 w 365131"/>
                  <a:gd name="connsiteY5" fmla="*/ 267315 h 450195"/>
                  <a:gd name="connsiteX6" fmla="*/ 15240 w 365131"/>
                  <a:gd name="connsiteY6" fmla="*/ 366375 h 450195"/>
                  <a:gd name="connsiteX7" fmla="*/ 45720 w 365131"/>
                  <a:gd name="connsiteY7" fmla="*/ 389235 h 450195"/>
                  <a:gd name="connsiteX8" fmla="*/ 144780 w 365131"/>
                  <a:gd name="connsiteY8" fmla="*/ 442575 h 450195"/>
                  <a:gd name="connsiteX9" fmla="*/ 175260 w 365131"/>
                  <a:gd name="connsiteY9" fmla="*/ 450195 h 450195"/>
                  <a:gd name="connsiteX10" fmla="*/ 198120 w 365131"/>
                  <a:gd name="connsiteY10" fmla="*/ 442575 h 450195"/>
                  <a:gd name="connsiteX11" fmla="*/ 213360 w 365131"/>
                  <a:gd name="connsiteY11" fmla="*/ 419715 h 450195"/>
                  <a:gd name="connsiteX12" fmla="*/ 220980 w 365131"/>
                  <a:gd name="connsiteY12" fmla="*/ 396855 h 450195"/>
                  <a:gd name="connsiteX13" fmla="*/ 236220 w 365131"/>
                  <a:gd name="connsiteY13" fmla="*/ 343515 h 450195"/>
                  <a:gd name="connsiteX14" fmla="*/ 274320 w 365131"/>
                  <a:gd name="connsiteY14" fmla="*/ 267315 h 450195"/>
                  <a:gd name="connsiteX15" fmla="*/ 304800 w 365131"/>
                  <a:gd name="connsiteY15" fmla="*/ 206355 h 450195"/>
                  <a:gd name="connsiteX16" fmla="*/ 312420 w 365131"/>
                  <a:gd name="connsiteY16" fmla="*/ 183495 h 450195"/>
                  <a:gd name="connsiteX17" fmla="*/ 350520 w 365131"/>
                  <a:gd name="connsiteY17" fmla="*/ 130155 h 450195"/>
                  <a:gd name="connsiteX18" fmla="*/ 358140 w 365131"/>
                  <a:gd name="connsiteY18" fmla="*/ 107295 h 450195"/>
                  <a:gd name="connsiteX19" fmla="*/ 240030 w 365131"/>
                  <a:gd name="connsiteY19" fmla="*/ 44430 h 450195"/>
                  <a:gd name="connsiteX20" fmla="*/ 167640 w 365131"/>
                  <a:gd name="connsiteY20" fmla="*/ 615 h 450195"/>
                  <a:gd name="connsiteX0" fmla="*/ 167640 w 365131"/>
                  <a:gd name="connsiteY0" fmla="*/ 615 h 450195"/>
                  <a:gd name="connsiteX1" fmla="*/ 121920 w 365131"/>
                  <a:gd name="connsiteY1" fmla="*/ 76815 h 450195"/>
                  <a:gd name="connsiteX2" fmla="*/ 30480 w 365131"/>
                  <a:gd name="connsiteY2" fmla="*/ 183495 h 450195"/>
                  <a:gd name="connsiteX3" fmla="*/ 15240 w 365131"/>
                  <a:gd name="connsiteY3" fmla="*/ 206355 h 450195"/>
                  <a:gd name="connsiteX4" fmla="*/ 0 w 365131"/>
                  <a:gd name="connsiteY4" fmla="*/ 267315 h 450195"/>
                  <a:gd name="connsiteX5" fmla="*/ 15240 w 365131"/>
                  <a:gd name="connsiteY5" fmla="*/ 366375 h 450195"/>
                  <a:gd name="connsiteX6" fmla="*/ 45720 w 365131"/>
                  <a:gd name="connsiteY6" fmla="*/ 389235 h 450195"/>
                  <a:gd name="connsiteX7" fmla="*/ 144780 w 365131"/>
                  <a:gd name="connsiteY7" fmla="*/ 442575 h 450195"/>
                  <a:gd name="connsiteX8" fmla="*/ 175260 w 365131"/>
                  <a:gd name="connsiteY8" fmla="*/ 450195 h 450195"/>
                  <a:gd name="connsiteX9" fmla="*/ 198120 w 365131"/>
                  <a:gd name="connsiteY9" fmla="*/ 442575 h 450195"/>
                  <a:gd name="connsiteX10" fmla="*/ 213360 w 365131"/>
                  <a:gd name="connsiteY10" fmla="*/ 419715 h 450195"/>
                  <a:gd name="connsiteX11" fmla="*/ 220980 w 365131"/>
                  <a:gd name="connsiteY11" fmla="*/ 396855 h 450195"/>
                  <a:gd name="connsiteX12" fmla="*/ 236220 w 365131"/>
                  <a:gd name="connsiteY12" fmla="*/ 343515 h 450195"/>
                  <a:gd name="connsiteX13" fmla="*/ 274320 w 365131"/>
                  <a:gd name="connsiteY13" fmla="*/ 267315 h 450195"/>
                  <a:gd name="connsiteX14" fmla="*/ 304800 w 365131"/>
                  <a:gd name="connsiteY14" fmla="*/ 206355 h 450195"/>
                  <a:gd name="connsiteX15" fmla="*/ 312420 w 365131"/>
                  <a:gd name="connsiteY15" fmla="*/ 183495 h 450195"/>
                  <a:gd name="connsiteX16" fmla="*/ 350520 w 365131"/>
                  <a:gd name="connsiteY16" fmla="*/ 130155 h 450195"/>
                  <a:gd name="connsiteX17" fmla="*/ 358140 w 365131"/>
                  <a:gd name="connsiteY17" fmla="*/ 107295 h 450195"/>
                  <a:gd name="connsiteX18" fmla="*/ 240030 w 365131"/>
                  <a:gd name="connsiteY18" fmla="*/ 44430 h 450195"/>
                  <a:gd name="connsiteX19" fmla="*/ 167640 w 365131"/>
                  <a:gd name="connsiteY19" fmla="*/ 615 h 450195"/>
                  <a:gd name="connsiteX0" fmla="*/ 167640 w 365131"/>
                  <a:gd name="connsiteY0" fmla="*/ 615 h 450195"/>
                  <a:gd name="connsiteX1" fmla="*/ 121920 w 365131"/>
                  <a:gd name="connsiteY1" fmla="*/ 76815 h 450195"/>
                  <a:gd name="connsiteX2" fmla="*/ 30480 w 365131"/>
                  <a:gd name="connsiteY2" fmla="*/ 183495 h 450195"/>
                  <a:gd name="connsiteX3" fmla="*/ 15240 w 365131"/>
                  <a:gd name="connsiteY3" fmla="*/ 206355 h 450195"/>
                  <a:gd name="connsiteX4" fmla="*/ 0 w 365131"/>
                  <a:gd name="connsiteY4" fmla="*/ 267315 h 450195"/>
                  <a:gd name="connsiteX5" fmla="*/ 15240 w 365131"/>
                  <a:gd name="connsiteY5" fmla="*/ 366375 h 450195"/>
                  <a:gd name="connsiteX6" fmla="*/ 144780 w 365131"/>
                  <a:gd name="connsiteY6" fmla="*/ 442575 h 450195"/>
                  <a:gd name="connsiteX7" fmla="*/ 175260 w 365131"/>
                  <a:gd name="connsiteY7" fmla="*/ 450195 h 450195"/>
                  <a:gd name="connsiteX8" fmla="*/ 198120 w 365131"/>
                  <a:gd name="connsiteY8" fmla="*/ 442575 h 450195"/>
                  <a:gd name="connsiteX9" fmla="*/ 213360 w 365131"/>
                  <a:gd name="connsiteY9" fmla="*/ 419715 h 450195"/>
                  <a:gd name="connsiteX10" fmla="*/ 220980 w 365131"/>
                  <a:gd name="connsiteY10" fmla="*/ 396855 h 450195"/>
                  <a:gd name="connsiteX11" fmla="*/ 236220 w 365131"/>
                  <a:gd name="connsiteY11" fmla="*/ 343515 h 450195"/>
                  <a:gd name="connsiteX12" fmla="*/ 274320 w 365131"/>
                  <a:gd name="connsiteY12" fmla="*/ 267315 h 450195"/>
                  <a:gd name="connsiteX13" fmla="*/ 304800 w 365131"/>
                  <a:gd name="connsiteY13" fmla="*/ 206355 h 450195"/>
                  <a:gd name="connsiteX14" fmla="*/ 312420 w 365131"/>
                  <a:gd name="connsiteY14" fmla="*/ 183495 h 450195"/>
                  <a:gd name="connsiteX15" fmla="*/ 350520 w 365131"/>
                  <a:gd name="connsiteY15" fmla="*/ 130155 h 450195"/>
                  <a:gd name="connsiteX16" fmla="*/ 358140 w 365131"/>
                  <a:gd name="connsiteY16" fmla="*/ 107295 h 450195"/>
                  <a:gd name="connsiteX17" fmla="*/ 240030 w 365131"/>
                  <a:gd name="connsiteY17" fmla="*/ 44430 h 450195"/>
                  <a:gd name="connsiteX18" fmla="*/ 167640 w 365131"/>
                  <a:gd name="connsiteY18" fmla="*/ 615 h 450195"/>
                  <a:gd name="connsiteX0" fmla="*/ 188438 w 385929"/>
                  <a:gd name="connsiteY0" fmla="*/ 615 h 450195"/>
                  <a:gd name="connsiteX1" fmla="*/ 142718 w 385929"/>
                  <a:gd name="connsiteY1" fmla="*/ 76815 h 450195"/>
                  <a:gd name="connsiteX2" fmla="*/ 51278 w 385929"/>
                  <a:gd name="connsiteY2" fmla="*/ 183495 h 450195"/>
                  <a:gd name="connsiteX3" fmla="*/ 36038 w 385929"/>
                  <a:gd name="connsiteY3" fmla="*/ 206355 h 450195"/>
                  <a:gd name="connsiteX4" fmla="*/ 20798 w 385929"/>
                  <a:gd name="connsiteY4" fmla="*/ 267315 h 450195"/>
                  <a:gd name="connsiteX5" fmla="*/ 7463 w 385929"/>
                  <a:gd name="connsiteY5" fmla="*/ 328275 h 450195"/>
                  <a:gd name="connsiteX6" fmla="*/ 165578 w 385929"/>
                  <a:gd name="connsiteY6" fmla="*/ 442575 h 450195"/>
                  <a:gd name="connsiteX7" fmla="*/ 196058 w 385929"/>
                  <a:gd name="connsiteY7" fmla="*/ 450195 h 450195"/>
                  <a:gd name="connsiteX8" fmla="*/ 218918 w 385929"/>
                  <a:gd name="connsiteY8" fmla="*/ 442575 h 450195"/>
                  <a:gd name="connsiteX9" fmla="*/ 234158 w 385929"/>
                  <a:gd name="connsiteY9" fmla="*/ 419715 h 450195"/>
                  <a:gd name="connsiteX10" fmla="*/ 241778 w 385929"/>
                  <a:gd name="connsiteY10" fmla="*/ 396855 h 450195"/>
                  <a:gd name="connsiteX11" fmla="*/ 257018 w 385929"/>
                  <a:gd name="connsiteY11" fmla="*/ 343515 h 450195"/>
                  <a:gd name="connsiteX12" fmla="*/ 295118 w 385929"/>
                  <a:gd name="connsiteY12" fmla="*/ 267315 h 450195"/>
                  <a:gd name="connsiteX13" fmla="*/ 325598 w 385929"/>
                  <a:gd name="connsiteY13" fmla="*/ 206355 h 450195"/>
                  <a:gd name="connsiteX14" fmla="*/ 333218 w 385929"/>
                  <a:gd name="connsiteY14" fmla="*/ 183495 h 450195"/>
                  <a:gd name="connsiteX15" fmla="*/ 371318 w 385929"/>
                  <a:gd name="connsiteY15" fmla="*/ 130155 h 450195"/>
                  <a:gd name="connsiteX16" fmla="*/ 378938 w 385929"/>
                  <a:gd name="connsiteY16" fmla="*/ 107295 h 450195"/>
                  <a:gd name="connsiteX17" fmla="*/ 260828 w 385929"/>
                  <a:gd name="connsiteY17" fmla="*/ 44430 h 450195"/>
                  <a:gd name="connsiteX18" fmla="*/ 188438 w 385929"/>
                  <a:gd name="connsiteY18" fmla="*/ 615 h 450195"/>
                  <a:gd name="connsiteX0" fmla="*/ 183823 w 381314"/>
                  <a:gd name="connsiteY0" fmla="*/ 615 h 450195"/>
                  <a:gd name="connsiteX1" fmla="*/ 138103 w 381314"/>
                  <a:gd name="connsiteY1" fmla="*/ 76815 h 450195"/>
                  <a:gd name="connsiteX2" fmla="*/ 46663 w 381314"/>
                  <a:gd name="connsiteY2" fmla="*/ 183495 h 450195"/>
                  <a:gd name="connsiteX3" fmla="*/ 31423 w 381314"/>
                  <a:gd name="connsiteY3" fmla="*/ 206355 h 450195"/>
                  <a:gd name="connsiteX4" fmla="*/ 16183 w 381314"/>
                  <a:gd name="connsiteY4" fmla="*/ 267315 h 450195"/>
                  <a:gd name="connsiteX5" fmla="*/ 2848 w 381314"/>
                  <a:gd name="connsiteY5" fmla="*/ 328275 h 450195"/>
                  <a:gd name="connsiteX6" fmla="*/ 160963 w 381314"/>
                  <a:gd name="connsiteY6" fmla="*/ 442575 h 450195"/>
                  <a:gd name="connsiteX7" fmla="*/ 191443 w 381314"/>
                  <a:gd name="connsiteY7" fmla="*/ 450195 h 450195"/>
                  <a:gd name="connsiteX8" fmla="*/ 214303 w 381314"/>
                  <a:gd name="connsiteY8" fmla="*/ 442575 h 450195"/>
                  <a:gd name="connsiteX9" fmla="*/ 229543 w 381314"/>
                  <a:gd name="connsiteY9" fmla="*/ 419715 h 450195"/>
                  <a:gd name="connsiteX10" fmla="*/ 237163 w 381314"/>
                  <a:gd name="connsiteY10" fmla="*/ 396855 h 450195"/>
                  <a:gd name="connsiteX11" fmla="*/ 252403 w 381314"/>
                  <a:gd name="connsiteY11" fmla="*/ 343515 h 450195"/>
                  <a:gd name="connsiteX12" fmla="*/ 290503 w 381314"/>
                  <a:gd name="connsiteY12" fmla="*/ 267315 h 450195"/>
                  <a:gd name="connsiteX13" fmla="*/ 320983 w 381314"/>
                  <a:gd name="connsiteY13" fmla="*/ 206355 h 450195"/>
                  <a:gd name="connsiteX14" fmla="*/ 328603 w 381314"/>
                  <a:gd name="connsiteY14" fmla="*/ 183495 h 450195"/>
                  <a:gd name="connsiteX15" fmla="*/ 366703 w 381314"/>
                  <a:gd name="connsiteY15" fmla="*/ 130155 h 450195"/>
                  <a:gd name="connsiteX16" fmla="*/ 374323 w 381314"/>
                  <a:gd name="connsiteY16" fmla="*/ 107295 h 450195"/>
                  <a:gd name="connsiteX17" fmla="*/ 256213 w 381314"/>
                  <a:gd name="connsiteY17" fmla="*/ 44430 h 450195"/>
                  <a:gd name="connsiteX18" fmla="*/ 183823 w 381314"/>
                  <a:gd name="connsiteY18" fmla="*/ 615 h 450195"/>
                  <a:gd name="connsiteX0" fmla="*/ 183823 w 381314"/>
                  <a:gd name="connsiteY0" fmla="*/ 615 h 450195"/>
                  <a:gd name="connsiteX1" fmla="*/ 138103 w 381314"/>
                  <a:gd name="connsiteY1" fmla="*/ 76815 h 450195"/>
                  <a:gd name="connsiteX2" fmla="*/ 46663 w 381314"/>
                  <a:gd name="connsiteY2" fmla="*/ 183495 h 450195"/>
                  <a:gd name="connsiteX3" fmla="*/ 31423 w 381314"/>
                  <a:gd name="connsiteY3" fmla="*/ 206355 h 450195"/>
                  <a:gd name="connsiteX4" fmla="*/ 16183 w 381314"/>
                  <a:gd name="connsiteY4" fmla="*/ 267315 h 450195"/>
                  <a:gd name="connsiteX5" fmla="*/ 2848 w 381314"/>
                  <a:gd name="connsiteY5" fmla="*/ 328275 h 450195"/>
                  <a:gd name="connsiteX6" fmla="*/ 160963 w 381314"/>
                  <a:gd name="connsiteY6" fmla="*/ 442575 h 450195"/>
                  <a:gd name="connsiteX7" fmla="*/ 191443 w 381314"/>
                  <a:gd name="connsiteY7" fmla="*/ 450195 h 450195"/>
                  <a:gd name="connsiteX8" fmla="*/ 214303 w 381314"/>
                  <a:gd name="connsiteY8" fmla="*/ 442575 h 450195"/>
                  <a:gd name="connsiteX9" fmla="*/ 237163 w 381314"/>
                  <a:gd name="connsiteY9" fmla="*/ 396855 h 450195"/>
                  <a:gd name="connsiteX10" fmla="*/ 252403 w 381314"/>
                  <a:gd name="connsiteY10" fmla="*/ 343515 h 450195"/>
                  <a:gd name="connsiteX11" fmla="*/ 290503 w 381314"/>
                  <a:gd name="connsiteY11" fmla="*/ 267315 h 450195"/>
                  <a:gd name="connsiteX12" fmla="*/ 320983 w 381314"/>
                  <a:gd name="connsiteY12" fmla="*/ 206355 h 450195"/>
                  <a:gd name="connsiteX13" fmla="*/ 328603 w 381314"/>
                  <a:gd name="connsiteY13" fmla="*/ 183495 h 450195"/>
                  <a:gd name="connsiteX14" fmla="*/ 366703 w 381314"/>
                  <a:gd name="connsiteY14" fmla="*/ 130155 h 450195"/>
                  <a:gd name="connsiteX15" fmla="*/ 374323 w 381314"/>
                  <a:gd name="connsiteY15" fmla="*/ 107295 h 450195"/>
                  <a:gd name="connsiteX16" fmla="*/ 256213 w 381314"/>
                  <a:gd name="connsiteY16" fmla="*/ 44430 h 450195"/>
                  <a:gd name="connsiteX17" fmla="*/ 183823 w 381314"/>
                  <a:gd name="connsiteY17" fmla="*/ 615 h 450195"/>
                  <a:gd name="connsiteX0" fmla="*/ 183823 w 381314"/>
                  <a:gd name="connsiteY0" fmla="*/ 615 h 452239"/>
                  <a:gd name="connsiteX1" fmla="*/ 138103 w 381314"/>
                  <a:gd name="connsiteY1" fmla="*/ 76815 h 452239"/>
                  <a:gd name="connsiteX2" fmla="*/ 46663 w 381314"/>
                  <a:gd name="connsiteY2" fmla="*/ 183495 h 452239"/>
                  <a:gd name="connsiteX3" fmla="*/ 31423 w 381314"/>
                  <a:gd name="connsiteY3" fmla="*/ 206355 h 452239"/>
                  <a:gd name="connsiteX4" fmla="*/ 16183 w 381314"/>
                  <a:gd name="connsiteY4" fmla="*/ 267315 h 452239"/>
                  <a:gd name="connsiteX5" fmla="*/ 2848 w 381314"/>
                  <a:gd name="connsiteY5" fmla="*/ 328275 h 452239"/>
                  <a:gd name="connsiteX6" fmla="*/ 160963 w 381314"/>
                  <a:gd name="connsiteY6" fmla="*/ 442575 h 452239"/>
                  <a:gd name="connsiteX7" fmla="*/ 191443 w 381314"/>
                  <a:gd name="connsiteY7" fmla="*/ 450195 h 452239"/>
                  <a:gd name="connsiteX8" fmla="*/ 214303 w 381314"/>
                  <a:gd name="connsiteY8" fmla="*/ 442575 h 452239"/>
                  <a:gd name="connsiteX9" fmla="*/ 252403 w 381314"/>
                  <a:gd name="connsiteY9" fmla="*/ 343515 h 452239"/>
                  <a:gd name="connsiteX10" fmla="*/ 290503 w 381314"/>
                  <a:gd name="connsiteY10" fmla="*/ 267315 h 452239"/>
                  <a:gd name="connsiteX11" fmla="*/ 320983 w 381314"/>
                  <a:gd name="connsiteY11" fmla="*/ 206355 h 452239"/>
                  <a:gd name="connsiteX12" fmla="*/ 328603 w 381314"/>
                  <a:gd name="connsiteY12" fmla="*/ 183495 h 452239"/>
                  <a:gd name="connsiteX13" fmla="*/ 366703 w 381314"/>
                  <a:gd name="connsiteY13" fmla="*/ 130155 h 452239"/>
                  <a:gd name="connsiteX14" fmla="*/ 374323 w 381314"/>
                  <a:gd name="connsiteY14" fmla="*/ 107295 h 452239"/>
                  <a:gd name="connsiteX15" fmla="*/ 256213 w 381314"/>
                  <a:gd name="connsiteY15" fmla="*/ 44430 h 452239"/>
                  <a:gd name="connsiteX16" fmla="*/ 183823 w 381314"/>
                  <a:gd name="connsiteY16" fmla="*/ 615 h 452239"/>
                  <a:gd name="connsiteX0" fmla="*/ 183823 w 381314"/>
                  <a:gd name="connsiteY0" fmla="*/ 615 h 457714"/>
                  <a:gd name="connsiteX1" fmla="*/ 138103 w 381314"/>
                  <a:gd name="connsiteY1" fmla="*/ 76815 h 457714"/>
                  <a:gd name="connsiteX2" fmla="*/ 46663 w 381314"/>
                  <a:gd name="connsiteY2" fmla="*/ 183495 h 457714"/>
                  <a:gd name="connsiteX3" fmla="*/ 31423 w 381314"/>
                  <a:gd name="connsiteY3" fmla="*/ 206355 h 457714"/>
                  <a:gd name="connsiteX4" fmla="*/ 16183 w 381314"/>
                  <a:gd name="connsiteY4" fmla="*/ 267315 h 457714"/>
                  <a:gd name="connsiteX5" fmla="*/ 2848 w 381314"/>
                  <a:gd name="connsiteY5" fmla="*/ 328275 h 457714"/>
                  <a:gd name="connsiteX6" fmla="*/ 160963 w 381314"/>
                  <a:gd name="connsiteY6" fmla="*/ 442575 h 457714"/>
                  <a:gd name="connsiteX7" fmla="*/ 191443 w 381314"/>
                  <a:gd name="connsiteY7" fmla="*/ 450195 h 457714"/>
                  <a:gd name="connsiteX8" fmla="*/ 214303 w 381314"/>
                  <a:gd name="connsiteY8" fmla="*/ 442575 h 457714"/>
                  <a:gd name="connsiteX9" fmla="*/ 290503 w 381314"/>
                  <a:gd name="connsiteY9" fmla="*/ 267315 h 457714"/>
                  <a:gd name="connsiteX10" fmla="*/ 320983 w 381314"/>
                  <a:gd name="connsiteY10" fmla="*/ 206355 h 457714"/>
                  <a:gd name="connsiteX11" fmla="*/ 328603 w 381314"/>
                  <a:gd name="connsiteY11" fmla="*/ 183495 h 457714"/>
                  <a:gd name="connsiteX12" fmla="*/ 366703 w 381314"/>
                  <a:gd name="connsiteY12" fmla="*/ 130155 h 457714"/>
                  <a:gd name="connsiteX13" fmla="*/ 374323 w 381314"/>
                  <a:gd name="connsiteY13" fmla="*/ 107295 h 457714"/>
                  <a:gd name="connsiteX14" fmla="*/ 256213 w 381314"/>
                  <a:gd name="connsiteY14" fmla="*/ 44430 h 457714"/>
                  <a:gd name="connsiteX15" fmla="*/ 183823 w 381314"/>
                  <a:gd name="connsiteY15" fmla="*/ 615 h 457714"/>
                  <a:gd name="connsiteX0" fmla="*/ 183823 w 381314"/>
                  <a:gd name="connsiteY0" fmla="*/ 615 h 457714"/>
                  <a:gd name="connsiteX1" fmla="*/ 138103 w 381314"/>
                  <a:gd name="connsiteY1" fmla="*/ 76815 h 457714"/>
                  <a:gd name="connsiteX2" fmla="*/ 46663 w 381314"/>
                  <a:gd name="connsiteY2" fmla="*/ 183495 h 457714"/>
                  <a:gd name="connsiteX3" fmla="*/ 31423 w 381314"/>
                  <a:gd name="connsiteY3" fmla="*/ 206355 h 457714"/>
                  <a:gd name="connsiteX4" fmla="*/ 16183 w 381314"/>
                  <a:gd name="connsiteY4" fmla="*/ 267315 h 457714"/>
                  <a:gd name="connsiteX5" fmla="*/ 2848 w 381314"/>
                  <a:gd name="connsiteY5" fmla="*/ 328275 h 457714"/>
                  <a:gd name="connsiteX6" fmla="*/ 160963 w 381314"/>
                  <a:gd name="connsiteY6" fmla="*/ 442575 h 457714"/>
                  <a:gd name="connsiteX7" fmla="*/ 191443 w 381314"/>
                  <a:gd name="connsiteY7" fmla="*/ 450195 h 457714"/>
                  <a:gd name="connsiteX8" fmla="*/ 238116 w 381314"/>
                  <a:gd name="connsiteY8" fmla="*/ 442575 h 457714"/>
                  <a:gd name="connsiteX9" fmla="*/ 290503 w 381314"/>
                  <a:gd name="connsiteY9" fmla="*/ 267315 h 457714"/>
                  <a:gd name="connsiteX10" fmla="*/ 320983 w 381314"/>
                  <a:gd name="connsiteY10" fmla="*/ 206355 h 457714"/>
                  <a:gd name="connsiteX11" fmla="*/ 328603 w 381314"/>
                  <a:gd name="connsiteY11" fmla="*/ 183495 h 457714"/>
                  <a:gd name="connsiteX12" fmla="*/ 366703 w 381314"/>
                  <a:gd name="connsiteY12" fmla="*/ 130155 h 457714"/>
                  <a:gd name="connsiteX13" fmla="*/ 374323 w 381314"/>
                  <a:gd name="connsiteY13" fmla="*/ 107295 h 457714"/>
                  <a:gd name="connsiteX14" fmla="*/ 256213 w 381314"/>
                  <a:gd name="connsiteY14" fmla="*/ 44430 h 457714"/>
                  <a:gd name="connsiteX15" fmla="*/ 183823 w 381314"/>
                  <a:gd name="connsiteY15" fmla="*/ 615 h 457714"/>
                  <a:gd name="connsiteX0" fmla="*/ 191920 w 389411"/>
                  <a:gd name="connsiteY0" fmla="*/ 615 h 457714"/>
                  <a:gd name="connsiteX1" fmla="*/ 146200 w 389411"/>
                  <a:gd name="connsiteY1" fmla="*/ 76815 h 457714"/>
                  <a:gd name="connsiteX2" fmla="*/ 54760 w 389411"/>
                  <a:gd name="connsiteY2" fmla="*/ 183495 h 457714"/>
                  <a:gd name="connsiteX3" fmla="*/ 39520 w 389411"/>
                  <a:gd name="connsiteY3" fmla="*/ 206355 h 457714"/>
                  <a:gd name="connsiteX4" fmla="*/ 9992 w 389411"/>
                  <a:gd name="connsiteY4" fmla="*/ 267315 h 457714"/>
                  <a:gd name="connsiteX5" fmla="*/ 10945 w 389411"/>
                  <a:gd name="connsiteY5" fmla="*/ 328275 h 457714"/>
                  <a:gd name="connsiteX6" fmla="*/ 169060 w 389411"/>
                  <a:gd name="connsiteY6" fmla="*/ 442575 h 457714"/>
                  <a:gd name="connsiteX7" fmla="*/ 199540 w 389411"/>
                  <a:gd name="connsiteY7" fmla="*/ 450195 h 457714"/>
                  <a:gd name="connsiteX8" fmla="*/ 246213 w 389411"/>
                  <a:gd name="connsiteY8" fmla="*/ 442575 h 457714"/>
                  <a:gd name="connsiteX9" fmla="*/ 298600 w 389411"/>
                  <a:gd name="connsiteY9" fmla="*/ 267315 h 457714"/>
                  <a:gd name="connsiteX10" fmla="*/ 329080 w 389411"/>
                  <a:gd name="connsiteY10" fmla="*/ 206355 h 457714"/>
                  <a:gd name="connsiteX11" fmla="*/ 336700 w 389411"/>
                  <a:gd name="connsiteY11" fmla="*/ 183495 h 457714"/>
                  <a:gd name="connsiteX12" fmla="*/ 374800 w 389411"/>
                  <a:gd name="connsiteY12" fmla="*/ 130155 h 457714"/>
                  <a:gd name="connsiteX13" fmla="*/ 382420 w 389411"/>
                  <a:gd name="connsiteY13" fmla="*/ 107295 h 457714"/>
                  <a:gd name="connsiteX14" fmla="*/ 264310 w 389411"/>
                  <a:gd name="connsiteY14" fmla="*/ 44430 h 457714"/>
                  <a:gd name="connsiteX15" fmla="*/ 191920 w 389411"/>
                  <a:gd name="connsiteY15" fmla="*/ 615 h 457714"/>
                  <a:gd name="connsiteX0" fmla="*/ 199540 w 389411"/>
                  <a:gd name="connsiteY0" fmla="*/ 450195 h 541635"/>
                  <a:gd name="connsiteX1" fmla="*/ 246213 w 389411"/>
                  <a:gd name="connsiteY1" fmla="*/ 442575 h 541635"/>
                  <a:gd name="connsiteX2" fmla="*/ 298600 w 389411"/>
                  <a:gd name="connsiteY2" fmla="*/ 267315 h 541635"/>
                  <a:gd name="connsiteX3" fmla="*/ 329080 w 389411"/>
                  <a:gd name="connsiteY3" fmla="*/ 206355 h 541635"/>
                  <a:gd name="connsiteX4" fmla="*/ 336700 w 389411"/>
                  <a:gd name="connsiteY4" fmla="*/ 183495 h 541635"/>
                  <a:gd name="connsiteX5" fmla="*/ 374800 w 389411"/>
                  <a:gd name="connsiteY5" fmla="*/ 130155 h 541635"/>
                  <a:gd name="connsiteX6" fmla="*/ 382420 w 389411"/>
                  <a:gd name="connsiteY6" fmla="*/ 107295 h 541635"/>
                  <a:gd name="connsiteX7" fmla="*/ 264310 w 389411"/>
                  <a:gd name="connsiteY7" fmla="*/ 44430 h 541635"/>
                  <a:gd name="connsiteX8" fmla="*/ 191920 w 389411"/>
                  <a:gd name="connsiteY8" fmla="*/ 615 h 541635"/>
                  <a:gd name="connsiteX9" fmla="*/ 146200 w 389411"/>
                  <a:gd name="connsiteY9" fmla="*/ 76815 h 541635"/>
                  <a:gd name="connsiteX10" fmla="*/ 54760 w 389411"/>
                  <a:gd name="connsiteY10" fmla="*/ 183495 h 541635"/>
                  <a:gd name="connsiteX11" fmla="*/ 39520 w 389411"/>
                  <a:gd name="connsiteY11" fmla="*/ 206355 h 541635"/>
                  <a:gd name="connsiteX12" fmla="*/ 9992 w 389411"/>
                  <a:gd name="connsiteY12" fmla="*/ 267315 h 541635"/>
                  <a:gd name="connsiteX13" fmla="*/ 10945 w 389411"/>
                  <a:gd name="connsiteY13" fmla="*/ 328275 h 541635"/>
                  <a:gd name="connsiteX14" fmla="*/ 169060 w 389411"/>
                  <a:gd name="connsiteY14" fmla="*/ 442575 h 541635"/>
                  <a:gd name="connsiteX15" fmla="*/ 290980 w 389411"/>
                  <a:gd name="connsiteY15" fmla="*/ 541635 h 541635"/>
                  <a:gd name="connsiteX0" fmla="*/ 199540 w 389411"/>
                  <a:gd name="connsiteY0" fmla="*/ 450195 h 457714"/>
                  <a:gd name="connsiteX1" fmla="*/ 246213 w 389411"/>
                  <a:gd name="connsiteY1" fmla="*/ 442575 h 457714"/>
                  <a:gd name="connsiteX2" fmla="*/ 298600 w 389411"/>
                  <a:gd name="connsiteY2" fmla="*/ 267315 h 457714"/>
                  <a:gd name="connsiteX3" fmla="*/ 329080 w 389411"/>
                  <a:gd name="connsiteY3" fmla="*/ 206355 h 457714"/>
                  <a:gd name="connsiteX4" fmla="*/ 336700 w 389411"/>
                  <a:gd name="connsiteY4" fmla="*/ 183495 h 457714"/>
                  <a:gd name="connsiteX5" fmla="*/ 374800 w 389411"/>
                  <a:gd name="connsiteY5" fmla="*/ 130155 h 457714"/>
                  <a:gd name="connsiteX6" fmla="*/ 382420 w 389411"/>
                  <a:gd name="connsiteY6" fmla="*/ 107295 h 457714"/>
                  <a:gd name="connsiteX7" fmla="*/ 264310 w 389411"/>
                  <a:gd name="connsiteY7" fmla="*/ 44430 h 457714"/>
                  <a:gd name="connsiteX8" fmla="*/ 191920 w 389411"/>
                  <a:gd name="connsiteY8" fmla="*/ 615 h 457714"/>
                  <a:gd name="connsiteX9" fmla="*/ 146200 w 389411"/>
                  <a:gd name="connsiteY9" fmla="*/ 76815 h 457714"/>
                  <a:gd name="connsiteX10" fmla="*/ 54760 w 389411"/>
                  <a:gd name="connsiteY10" fmla="*/ 183495 h 457714"/>
                  <a:gd name="connsiteX11" fmla="*/ 39520 w 389411"/>
                  <a:gd name="connsiteY11" fmla="*/ 206355 h 457714"/>
                  <a:gd name="connsiteX12" fmla="*/ 9992 w 389411"/>
                  <a:gd name="connsiteY12" fmla="*/ 267315 h 457714"/>
                  <a:gd name="connsiteX13" fmla="*/ 10945 w 389411"/>
                  <a:gd name="connsiteY13" fmla="*/ 328275 h 457714"/>
                  <a:gd name="connsiteX14" fmla="*/ 169060 w 389411"/>
                  <a:gd name="connsiteY14" fmla="*/ 442575 h 457714"/>
                  <a:gd name="connsiteX0" fmla="*/ 199540 w 389411"/>
                  <a:gd name="connsiteY0" fmla="*/ 450195 h 450195"/>
                  <a:gd name="connsiteX1" fmla="*/ 298600 w 389411"/>
                  <a:gd name="connsiteY1" fmla="*/ 267315 h 450195"/>
                  <a:gd name="connsiteX2" fmla="*/ 329080 w 389411"/>
                  <a:gd name="connsiteY2" fmla="*/ 206355 h 450195"/>
                  <a:gd name="connsiteX3" fmla="*/ 336700 w 389411"/>
                  <a:gd name="connsiteY3" fmla="*/ 183495 h 450195"/>
                  <a:gd name="connsiteX4" fmla="*/ 374800 w 389411"/>
                  <a:gd name="connsiteY4" fmla="*/ 130155 h 450195"/>
                  <a:gd name="connsiteX5" fmla="*/ 382420 w 389411"/>
                  <a:gd name="connsiteY5" fmla="*/ 107295 h 450195"/>
                  <a:gd name="connsiteX6" fmla="*/ 264310 w 389411"/>
                  <a:gd name="connsiteY6" fmla="*/ 44430 h 450195"/>
                  <a:gd name="connsiteX7" fmla="*/ 191920 w 389411"/>
                  <a:gd name="connsiteY7" fmla="*/ 615 h 450195"/>
                  <a:gd name="connsiteX8" fmla="*/ 146200 w 389411"/>
                  <a:gd name="connsiteY8" fmla="*/ 76815 h 450195"/>
                  <a:gd name="connsiteX9" fmla="*/ 54760 w 389411"/>
                  <a:gd name="connsiteY9" fmla="*/ 183495 h 450195"/>
                  <a:gd name="connsiteX10" fmla="*/ 39520 w 389411"/>
                  <a:gd name="connsiteY10" fmla="*/ 206355 h 450195"/>
                  <a:gd name="connsiteX11" fmla="*/ 9992 w 389411"/>
                  <a:gd name="connsiteY11" fmla="*/ 267315 h 450195"/>
                  <a:gd name="connsiteX12" fmla="*/ 10945 w 389411"/>
                  <a:gd name="connsiteY12" fmla="*/ 328275 h 450195"/>
                  <a:gd name="connsiteX13" fmla="*/ 169060 w 389411"/>
                  <a:gd name="connsiteY13" fmla="*/ 442575 h 450195"/>
                  <a:gd name="connsiteX0" fmla="*/ 298600 w 389411"/>
                  <a:gd name="connsiteY0" fmla="*/ 267315 h 442575"/>
                  <a:gd name="connsiteX1" fmla="*/ 329080 w 389411"/>
                  <a:gd name="connsiteY1" fmla="*/ 206355 h 442575"/>
                  <a:gd name="connsiteX2" fmla="*/ 336700 w 389411"/>
                  <a:gd name="connsiteY2" fmla="*/ 183495 h 442575"/>
                  <a:gd name="connsiteX3" fmla="*/ 374800 w 389411"/>
                  <a:gd name="connsiteY3" fmla="*/ 130155 h 442575"/>
                  <a:gd name="connsiteX4" fmla="*/ 382420 w 389411"/>
                  <a:gd name="connsiteY4" fmla="*/ 107295 h 442575"/>
                  <a:gd name="connsiteX5" fmla="*/ 264310 w 389411"/>
                  <a:gd name="connsiteY5" fmla="*/ 44430 h 442575"/>
                  <a:gd name="connsiteX6" fmla="*/ 191920 w 389411"/>
                  <a:gd name="connsiteY6" fmla="*/ 615 h 442575"/>
                  <a:gd name="connsiteX7" fmla="*/ 146200 w 389411"/>
                  <a:gd name="connsiteY7" fmla="*/ 76815 h 442575"/>
                  <a:gd name="connsiteX8" fmla="*/ 54760 w 389411"/>
                  <a:gd name="connsiteY8" fmla="*/ 183495 h 442575"/>
                  <a:gd name="connsiteX9" fmla="*/ 39520 w 389411"/>
                  <a:gd name="connsiteY9" fmla="*/ 206355 h 442575"/>
                  <a:gd name="connsiteX10" fmla="*/ 9992 w 389411"/>
                  <a:gd name="connsiteY10" fmla="*/ 267315 h 442575"/>
                  <a:gd name="connsiteX11" fmla="*/ 10945 w 389411"/>
                  <a:gd name="connsiteY11" fmla="*/ 328275 h 442575"/>
                  <a:gd name="connsiteX12" fmla="*/ 169060 w 389411"/>
                  <a:gd name="connsiteY12" fmla="*/ 442575 h 442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9411" h="442575">
                    <a:moveTo>
                      <a:pt x="298600" y="267315"/>
                    </a:moveTo>
                    <a:cubicBezTo>
                      <a:pt x="320190" y="226675"/>
                      <a:pt x="321896" y="227908"/>
                      <a:pt x="329080" y="206355"/>
                    </a:cubicBezTo>
                    <a:cubicBezTo>
                      <a:pt x="331620" y="198735"/>
                      <a:pt x="333108" y="190679"/>
                      <a:pt x="336700" y="183495"/>
                    </a:cubicBezTo>
                    <a:cubicBezTo>
                      <a:pt x="342271" y="172353"/>
                      <a:pt x="369623" y="137058"/>
                      <a:pt x="374800" y="130155"/>
                    </a:cubicBezTo>
                    <a:cubicBezTo>
                      <a:pt x="377340" y="122535"/>
                      <a:pt x="400835" y="121583"/>
                      <a:pt x="382420" y="107295"/>
                    </a:cubicBezTo>
                    <a:cubicBezTo>
                      <a:pt x="364005" y="93008"/>
                      <a:pt x="296060" y="62210"/>
                      <a:pt x="264310" y="44430"/>
                    </a:cubicBezTo>
                    <a:cubicBezTo>
                      <a:pt x="232560" y="26650"/>
                      <a:pt x="211605" y="-4782"/>
                      <a:pt x="191920" y="615"/>
                    </a:cubicBezTo>
                    <a:cubicBezTo>
                      <a:pt x="172235" y="6012"/>
                      <a:pt x="169060" y="46335"/>
                      <a:pt x="146200" y="76815"/>
                    </a:cubicBezTo>
                    <a:cubicBezTo>
                      <a:pt x="123340" y="107295"/>
                      <a:pt x="72540" y="161905"/>
                      <a:pt x="54760" y="183495"/>
                    </a:cubicBezTo>
                    <a:cubicBezTo>
                      <a:pt x="36980" y="205085"/>
                      <a:pt x="46981" y="192385"/>
                      <a:pt x="39520" y="206355"/>
                    </a:cubicBezTo>
                    <a:cubicBezTo>
                      <a:pt x="32059" y="220325"/>
                      <a:pt x="12890" y="252824"/>
                      <a:pt x="9992" y="267315"/>
                    </a:cubicBezTo>
                    <a:cubicBezTo>
                      <a:pt x="15072" y="300335"/>
                      <a:pt x="-15566" y="299065"/>
                      <a:pt x="10945" y="328275"/>
                    </a:cubicBezTo>
                    <a:cubicBezTo>
                      <a:pt x="37456" y="357485"/>
                      <a:pt x="142390" y="428605"/>
                      <a:pt x="169060" y="442575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46" name="Freeform: Shape 50">
                <a:extLst>
                  <a:ext uri="{FF2B5EF4-FFF2-40B4-BE49-F238E27FC236}">
                    <a16:creationId xmlns:a16="http://schemas.microsoft.com/office/drawing/2014/main" id="{7471C858-C3B7-D75B-3442-E5A56DA2A493}"/>
                  </a:ext>
                </a:extLst>
              </p:cNvPr>
              <p:cNvSpPr/>
              <p:nvPr/>
            </p:nvSpPr>
            <p:spPr>
              <a:xfrm>
                <a:off x="4302959" y="4952838"/>
                <a:ext cx="368334" cy="368304"/>
              </a:xfrm>
              <a:custGeom>
                <a:avLst/>
                <a:gdLst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30480 w 320040"/>
                  <a:gd name="connsiteY5" fmla="*/ 160182 h 365922"/>
                  <a:gd name="connsiteX6" fmla="*/ 22860 w 320040"/>
                  <a:gd name="connsiteY6" fmla="*/ 183042 h 365922"/>
                  <a:gd name="connsiteX7" fmla="*/ 15240 w 320040"/>
                  <a:gd name="connsiteY7" fmla="*/ 221142 h 365922"/>
                  <a:gd name="connsiteX8" fmla="*/ 0 w 320040"/>
                  <a:gd name="connsiteY8" fmla="*/ 251622 h 365922"/>
                  <a:gd name="connsiteX9" fmla="*/ 7620 w 320040"/>
                  <a:gd name="connsiteY9" fmla="*/ 304962 h 365922"/>
                  <a:gd name="connsiteX10" fmla="*/ 15240 w 320040"/>
                  <a:gd name="connsiteY10" fmla="*/ 327822 h 365922"/>
                  <a:gd name="connsiteX11" fmla="*/ 45720 w 320040"/>
                  <a:gd name="connsiteY11" fmla="*/ 343062 h 365922"/>
                  <a:gd name="connsiteX12" fmla="*/ 144780 w 320040"/>
                  <a:gd name="connsiteY12" fmla="*/ 365922 h 365922"/>
                  <a:gd name="connsiteX13" fmla="*/ 205740 w 320040"/>
                  <a:gd name="connsiteY13" fmla="*/ 350682 h 365922"/>
                  <a:gd name="connsiteX14" fmla="*/ 220980 w 320040"/>
                  <a:gd name="connsiteY14" fmla="*/ 327822 h 365922"/>
                  <a:gd name="connsiteX15" fmla="*/ 243840 w 320040"/>
                  <a:gd name="connsiteY15" fmla="*/ 289722 h 365922"/>
                  <a:gd name="connsiteX16" fmla="*/ 266700 w 320040"/>
                  <a:gd name="connsiteY16" fmla="*/ 221142 h 365922"/>
                  <a:gd name="connsiteX17" fmla="*/ 289560 w 320040"/>
                  <a:gd name="connsiteY17" fmla="*/ 167802 h 365922"/>
                  <a:gd name="connsiteX18" fmla="*/ 304800 w 320040"/>
                  <a:gd name="connsiteY18" fmla="*/ 137322 h 365922"/>
                  <a:gd name="connsiteX19" fmla="*/ 312420 w 320040"/>
                  <a:gd name="connsiteY19" fmla="*/ 106842 h 365922"/>
                  <a:gd name="connsiteX20" fmla="*/ 320040 w 320040"/>
                  <a:gd name="connsiteY20" fmla="*/ 83982 h 365922"/>
                  <a:gd name="connsiteX21" fmla="*/ 266700 w 320040"/>
                  <a:gd name="connsiteY21" fmla="*/ 68742 h 365922"/>
                  <a:gd name="connsiteX22" fmla="*/ 152400 w 320040"/>
                  <a:gd name="connsiteY22" fmla="*/ 53502 h 365922"/>
                  <a:gd name="connsiteX23" fmla="*/ 114300 w 320040"/>
                  <a:gd name="connsiteY23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30480 w 320040"/>
                  <a:gd name="connsiteY5" fmla="*/ 160182 h 365922"/>
                  <a:gd name="connsiteX6" fmla="*/ 22860 w 320040"/>
                  <a:gd name="connsiteY6" fmla="*/ 183042 h 365922"/>
                  <a:gd name="connsiteX7" fmla="*/ 15240 w 320040"/>
                  <a:gd name="connsiteY7" fmla="*/ 221142 h 365922"/>
                  <a:gd name="connsiteX8" fmla="*/ 0 w 320040"/>
                  <a:gd name="connsiteY8" fmla="*/ 251622 h 365922"/>
                  <a:gd name="connsiteX9" fmla="*/ 7620 w 320040"/>
                  <a:gd name="connsiteY9" fmla="*/ 304962 h 365922"/>
                  <a:gd name="connsiteX10" fmla="*/ 15240 w 320040"/>
                  <a:gd name="connsiteY10" fmla="*/ 327822 h 365922"/>
                  <a:gd name="connsiteX11" fmla="*/ 45720 w 320040"/>
                  <a:gd name="connsiteY11" fmla="*/ 343062 h 365922"/>
                  <a:gd name="connsiteX12" fmla="*/ 144780 w 320040"/>
                  <a:gd name="connsiteY12" fmla="*/ 365922 h 365922"/>
                  <a:gd name="connsiteX13" fmla="*/ 205740 w 320040"/>
                  <a:gd name="connsiteY13" fmla="*/ 350682 h 365922"/>
                  <a:gd name="connsiteX14" fmla="*/ 220980 w 320040"/>
                  <a:gd name="connsiteY14" fmla="*/ 327822 h 365922"/>
                  <a:gd name="connsiteX15" fmla="*/ 243840 w 320040"/>
                  <a:gd name="connsiteY15" fmla="*/ 289722 h 365922"/>
                  <a:gd name="connsiteX16" fmla="*/ 266700 w 320040"/>
                  <a:gd name="connsiteY16" fmla="*/ 221142 h 365922"/>
                  <a:gd name="connsiteX17" fmla="*/ 289560 w 320040"/>
                  <a:gd name="connsiteY17" fmla="*/ 167802 h 365922"/>
                  <a:gd name="connsiteX18" fmla="*/ 304800 w 320040"/>
                  <a:gd name="connsiteY18" fmla="*/ 137322 h 365922"/>
                  <a:gd name="connsiteX19" fmla="*/ 312420 w 320040"/>
                  <a:gd name="connsiteY19" fmla="*/ 106842 h 365922"/>
                  <a:gd name="connsiteX20" fmla="*/ 320040 w 320040"/>
                  <a:gd name="connsiteY20" fmla="*/ 83982 h 365922"/>
                  <a:gd name="connsiteX21" fmla="*/ 266700 w 320040"/>
                  <a:gd name="connsiteY21" fmla="*/ 68742 h 365922"/>
                  <a:gd name="connsiteX22" fmla="*/ 114300 w 320040"/>
                  <a:gd name="connsiteY22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22860 w 320040"/>
                  <a:gd name="connsiteY5" fmla="*/ 183042 h 365922"/>
                  <a:gd name="connsiteX6" fmla="*/ 15240 w 320040"/>
                  <a:gd name="connsiteY6" fmla="*/ 221142 h 365922"/>
                  <a:gd name="connsiteX7" fmla="*/ 0 w 320040"/>
                  <a:gd name="connsiteY7" fmla="*/ 251622 h 365922"/>
                  <a:gd name="connsiteX8" fmla="*/ 7620 w 320040"/>
                  <a:gd name="connsiteY8" fmla="*/ 304962 h 365922"/>
                  <a:gd name="connsiteX9" fmla="*/ 15240 w 320040"/>
                  <a:gd name="connsiteY9" fmla="*/ 327822 h 365922"/>
                  <a:gd name="connsiteX10" fmla="*/ 45720 w 320040"/>
                  <a:gd name="connsiteY10" fmla="*/ 343062 h 365922"/>
                  <a:gd name="connsiteX11" fmla="*/ 144780 w 320040"/>
                  <a:gd name="connsiteY11" fmla="*/ 365922 h 365922"/>
                  <a:gd name="connsiteX12" fmla="*/ 205740 w 320040"/>
                  <a:gd name="connsiteY12" fmla="*/ 350682 h 365922"/>
                  <a:gd name="connsiteX13" fmla="*/ 220980 w 320040"/>
                  <a:gd name="connsiteY13" fmla="*/ 327822 h 365922"/>
                  <a:gd name="connsiteX14" fmla="*/ 243840 w 320040"/>
                  <a:gd name="connsiteY14" fmla="*/ 289722 h 365922"/>
                  <a:gd name="connsiteX15" fmla="*/ 266700 w 320040"/>
                  <a:gd name="connsiteY15" fmla="*/ 221142 h 365922"/>
                  <a:gd name="connsiteX16" fmla="*/ 289560 w 320040"/>
                  <a:gd name="connsiteY16" fmla="*/ 167802 h 365922"/>
                  <a:gd name="connsiteX17" fmla="*/ 304800 w 320040"/>
                  <a:gd name="connsiteY17" fmla="*/ 137322 h 365922"/>
                  <a:gd name="connsiteX18" fmla="*/ 312420 w 320040"/>
                  <a:gd name="connsiteY18" fmla="*/ 106842 h 365922"/>
                  <a:gd name="connsiteX19" fmla="*/ 320040 w 320040"/>
                  <a:gd name="connsiteY19" fmla="*/ 83982 h 365922"/>
                  <a:gd name="connsiteX20" fmla="*/ 266700 w 320040"/>
                  <a:gd name="connsiteY20" fmla="*/ 68742 h 365922"/>
                  <a:gd name="connsiteX21" fmla="*/ 114300 w 320040"/>
                  <a:gd name="connsiteY21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15240 w 320040"/>
                  <a:gd name="connsiteY5" fmla="*/ 221142 h 365922"/>
                  <a:gd name="connsiteX6" fmla="*/ 0 w 320040"/>
                  <a:gd name="connsiteY6" fmla="*/ 251622 h 365922"/>
                  <a:gd name="connsiteX7" fmla="*/ 7620 w 320040"/>
                  <a:gd name="connsiteY7" fmla="*/ 304962 h 365922"/>
                  <a:gd name="connsiteX8" fmla="*/ 15240 w 320040"/>
                  <a:gd name="connsiteY8" fmla="*/ 327822 h 365922"/>
                  <a:gd name="connsiteX9" fmla="*/ 45720 w 320040"/>
                  <a:gd name="connsiteY9" fmla="*/ 343062 h 365922"/>
                  <a:gd name="connsiteX10" fmla="*/ 144780 w 320040"/>
                  <a:gd name="connsiteY10" fmla="*/ 365922 h 365922"/>
                  <a:gd name="connsiteX11" fmla="*/ 205740 w 320040"/>
                  <a:gd name="connsiteY11" fmla="*/ 350682 h 365922"/>
                  <a:gd name="connsiteX12" fmla="*/ 220980 w 320040"/>
                  <a:gd name="connsiteY12" fmla="*/ 327822 h 365922"/>
                  <a:gd name="connsiteX13" fmla="*/ 243840 w 320040"/>
                  <a:gd name="connsiteY13" fmla="*/ 289722 h 365922"/>
                  <a:gd name="connsiteX14" fmla="*/ 266700 w 320040"/>
                  <a:gd name="connsiteY14" fmla="*/ 221142 h 365922"/>
                  <a:gd name="connsiteX15" fmla="*/ 289560 w 320040"/>
                  <a:gd name="connsiteY15" fmla="*/ 167802 h 365922"/>
                  <a:gd name="connsiteX16" fmla="*/ 304800 w 320040"/>
                  <a:gd name="connsiteY16" fmla="*/ 137322 h 365922"/>
                  <a:gd name="connsiteX17" fmla="*/ 312420 w 320040"/>
                  <a:gd name="connsiteY17" fmla="*/ 106842 h 365922"/>
                  <a:gd name="connsiteX18" fmla="*/ 320040 w 320040"/>
                  <a:gd name="connsiteY18" fmla="*/ 83982 h 365922"/>
                  <a:gd name="connsiteX19" fmla="*/ 266700 w 320040"/>
                  <a:gd name="connsiteY19" fmla="*/ 68742 h 365922"/>
                  <a:gd name="connsiteX20" fmla="*/ 114300 w 320040"/>
                  <a:gd name="connsiteY20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15240 w 320040"/>
                  <a:gd name="connsiteY4" fmla="*/ 221142 h 365922"/>
                  <a:gd name="connsiteX5" fmla="*/ 0 w 320040"/>
                  <a:gd name="connsiteY5" fmla="*/ 251622 h 365922"/>
                  <a:gd name="connsiteX6" fmla="*/ 7620 w 320040"/>
                  <a:gd name="connsiteY6" fmla="*/ 304962 h 365922"/>
                  <a:gd name="connsiteX7" fmla="*/ 15240 w 320040"/>
                  <a:gd name="connsiteY7" fmla="*/ 327822 h 365922"/>
                  <a:gd name="connsiteX8" fmla="*/ 45720 w 320040"/>
                  <a:gd name="connsiteY8" fmla="*/ 343062 h 365922"/>
                  <a:gd name="connsiteX9" fmla="*/ 144780 w 320040"/>
                  <a:gd name="connsiteY9" fmla="*/ 365922 h 365922"/>
                  <a:gd name="connsiteX10" fmla="*/ 205740 w 320040"/>
                  <a:gd name="connsiteY10" fmla="*/ 350682 h 365922"/>
                  <a:gd name="connsiteX11" fmla="*/ 220980 w 320040"/>
                  <a:gd name="connsiteY11" fmla="*/ 327822 h 365922"/>
                  <a:gd name="connsiteX12" fmla="*/ 243840 w 320040"/>
                  <a:gd name="connsiteY12" fmla="*/ 289722 h 365922"/>
                  <a:gd name="connsiteX13" fmla="*/ 266700 w 320040"/>
                  <a:gd name="connsiteY13" fmla="*/ 221142 h 365922"/>
                  <a:gd name="connsiteX14" fmla="*/ 289560 w 320040"/>
                  <a:gd name="connsiteY14" fmla="*/ 167802 h 365922"/>
                  <a:gd name="connsiteX15" fmla="*/ 304800 w 320040"/>
                  <a:gd name="connsiteY15" fmla="*/ 137322 h 365922"/>
                  <a:gd name="connsiteX16" fmla="*/ 312420 w 320040"/>
                  <a:gd name="connsiteY16" fmla="*/ 106842 h 365922"/>
                  <a:gd name="connsiteX17" fmla="*/ 320040 w 320040"/>
                  <a:gd name="connsiteY17" fmla="*/ 83982 h 365922"/>
                  <a:gd name="connsiteX18" fmla="*/ 266700 w 320040"/>
                  <a:gd name="connsiteY18" fmla="*/ 68742 h 365922"/>
                  <a:gd name="connsiteX19" fmla="*/ 114300 w 320040"/>
                  <a:gd name="connsiteY19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75723 w 320040"/>
                  <a:gd name="connsiteY3" fmla="*/ 107794 h 365922"/>
                  <a:gd name="connsiteX4" fmla="*/ 15240 w 320040"/>
                  <a:gd name="connsiteY4" fmla="*/ 221142 h 365922"/>
                  <a:gd name="connsiteX5" fmla="*/ 0 w 320040"/>
                  <a:gd name="connsiteY5" fmla="*/ 251622 h 365922"/>
                  <a:gd name="connsiteX6" fmla="*/ 7620 w 320040"/>
                  <a:gd name="connsiteY6" fmla="*/ 304962 h 365922"/>
                  <a:gd name="connsiteX7" fmla="*/ 15240 w 320040"/>
                  <a:gd name="connsiteY7" fmla="*/ 327822 h 365922"/>
                  <a:gd name="connsiteX8" fmla="*/ 45720 w 320040"/>
                  <a:gd name="connsiteY8" fmla="*/ 343062 h 365922"/>
                  <a:gd name="connsiteX9" fmla="*/ 144780 w 320040"/>
                  <a:gd name="connsiteY9" fmla="*/ 365922 h 365922"/>
                  <a:gd name="connsiteX10" fmla="*/ 205740 w 320040"/>
                  <a:gd name="connsiteY10" fmla="*/ 350682 h 365922"/>
                  <a:gd name="connsiteX11" fmla="*/ 220980 w 320040"/>
                  <a:gd name="connsiteY11" fmla="*/ 327822 h 365922"/>
                  <a:gd name="connsiteX12" fmla="*/ 243840 w 320040"/>
                  <a:gd name="connsiteY12" fmla="*/ 289722 h 365922"/>
                  <a:gd name="connsiteX13" fmla="*/ 266700 w 320040"/>
                  <a:gd name="connsiteY13" fmla="*/ 221142 h 365922"/>
                  <a:gd name="connsiteX14" fmla="*/ 289560 w 320040"/>
                  <a:gd name="connsiteY14" fmla="*/ 167802 h 365922"/>
                  <a:gd name="connsiteX15" fmla="*/ 304800 w 320040"/>
                  <a:gd name="connsiteY15" fmla="*/ 137322 h 365922"/>
                  <a:gd name="connsiteX16" fmla="*/ 312420 w 320040"/>
                  <a:gd name="connsiteY16" fmla="*/ 106842 h 365922"/>
                  <a:gd name="connsiteX17" fmla="*/ 320040 w 320040"/>
                  <a:gd name="connsiteY17" fmla="*/ 83982 h 365922"/>
                  <a:gd name="connsiteX18" fmla="*/ 266700 w 320040"/>
                  <a:gd name="connsiteY18" fmla="*/ 68742 h 365922"/>
                  <a:gd name="connsiteX19" fmla="*/ 114300 w 320040"/>
                  <a:gd name="connsiteY19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75723 w 320040"/>
                  <a:gd name="connsiteY3" fmla="*/ 107794 h 365922"/>
                  <a:gd name="connsiteX4" fmla="*/ 29528 w 320040"/>
                  <a:gd name="connsiteY4" fmla="*/ 211617 h 365922"/>
                  <a:gd name="connsiteX5" fmla="*/ 0 w 320040"/>
                  <a:gd name="connsiteY5" fmla="*/ 251622 h 365922"/>
                  <a:gd name="connsiteX6" fmla="*/ 7620 w 320040"/>
                  <a:gd name="connsiteY6" fmla="*/ 304962 h 365922"/>
                  <a:gd name="connsiteX7" fmla="*/ 15240 w 320040"/>
                  <a:gd name="connsiteY7" fmla="*/ 327822 h 365922"/>
                  <a:gd name="connsiteX8" fmla="*/ 45720 w 320040"/>
                  <a:gd name="connsiteY8" fmla="*/ 343062 h 365922"/>
                  <a:gd name="connsiteX9" fmla="*/ 144780 w 320040"/>
                  <a:gd name="connsiteY9" fmla="*/ 365922 h 365922"/>
                  <a:gd name="connsiteX10" fmla="*/ 205740 w 320040"/>
                  <a:gd name="connsiteY10" fmla="*/ 350682 h 365922"/>
                  <a:gd name="connsiteX11" fmla="*/ 220980 w 320040"/>
                  <a:gd name="connsiteY11" fmla="*/ 327822 h 365922"/>
                  <a:gd name="connsiteX12" fmla="*/ 243840 w 320040"/>
                  <a:gd name="connsiteY12" fmla="*/ 289722 h 365922"/>
                  <a:gd name="connsiteX13" fmla="*/ 266700 w 320040"/>
                  <a:gd name="connsiteY13" fmla="*/ 221142 h 365922"/>
                  <a:gd name="connsiteX14" fmla="*/ 289560 w 320040"/>
                  <a:gd name="connsiteY14" fmla="*/ 167802 h 365922"/>
                  <a:gd name="connsiteX15" fmla="*/ 304800 w 320040"/>
                  <a:gd name="connsiteY15" fmla="*/ 137322 h 365922"/>
                  <a:gd name="connsiteX16" fmla="*/ 312420 w 320040"/>
                  <a:gd name="connsiteY16" fmla="*/ 106842 h 365922"/>
                  <a:gd name="connsiteX17" fmla="*/ 320040 w 320040"/>
                  <a:gd name="connsiteY17" fmla="*/ 83982 h 365922"/>
                  <a:gd name="connsiteX18" fmla="*/ 266700 w 320040"/>
                  <a:gd name="connsiteY18" fmla="*/ 68742 h 365922"/>
                  <a:gd name="connsiteX19" fmla="*/ 114300 w 320040"/>
                  <a:gd name="connsiteY19" fmla="*/ 162 h 365922"/>
                  <a:gd name="connsiteX0" fmla="*/ 106698 w 312438"/>
                  <a:gd name="connsiteY0" fmla="*/ 162 h 365922"/>
                  <a:gd name="connsiteX1" fmla="*/ 91458 w 312438"/>
                  <a:gd name="connsiteY1" fmla="*/ 38262 h 365922"/>
                  <a:gd name="connsiteX2" fmla="*/ 83838 w 312438"/>
                  <a:gd name="connsiteY2" fmla="*/ 61122 h 365922"/>
                  <a:gd name="connsiteX3" fmla="*/ 68121 w 312438"/>
                  <a:gd name="connsiteY3" fmla="*/ 107794 h 365922"/>
                  <a:gd name="connsiteX4" fmla="*/ 21926 w 312438"/>
                  <a:gd name="connsiteY4" fmla="*/ 211617 h 365922"/>
                  <a:gd name="connsiteX5" fmla="*/ 9067 w 312438"/>
                  <a:gd name="connsiteY5" fmla="*/ 242097 h 365922"/>
                  <a:gd name="connsiteX6" fmla="*/ 18 w 312438"/>
                  <a:gd name="connsiteY6" fmla="*/ 304962 h 365922"/>
                  <a:gd name="connsiteX7" fmla="*/ 7638 w 312438"/>
                  <a:gd name="connsiteY7" fmla="*/ 327822 h 365922"/>
                  <a:gd name="connsiteX8" fmla="*/ 38118 w 312438"/>
                  <a:gd name="connsiteY8" fmla="*/ 343062 h 365922"/>
                  <a:gd name="connsiteX9" fmla="*/ 137178 w 312438"/>
                  <a:gd name="connsiteY9" fmla="*/ 365922 h 365922"/>
                  <a:gd name="connsiteX10" fmla="*/ 198138 w 312438"/>
                  <a:gd name="connsiteY10" fmla="*/ 350682 h 365922"/>
                  <a:gd name="connsiteX11" fmla="*/ 213378 w 312438"/>
                  <a:gd name="connsiteY11" fmla="*/ 327822 h 365922"/>
                  <a:gd name="connsiteX12" fmla="*/ 236238 w 312438"/>
                  <a:gd name="connsiteY12" fmla="*/ 289722 h 365922"/>
                  <a:gd name="connsiteX13" fmla="*/ 259098 w 312438"/>
                  <a:gd name="connsiteY13" fmla="*/ 221142 h 365922"/>
                  <a:gd name="connsiteX14" fmla="*/ 281958 w 312438"/>
                  <a:gd name="connsiteY14" fmla="*/ 167802 h 365922"/>
                  <a:gd name="connsiteX15" fmla="*/ 297198 w 312438"/>
                  <a:gd name="connsiteY15" fmla="*/ 137322 h 365922"/>
                  <a:gd name="connsiteX16" fmla="*/ 304818 w 312438"/>
                  <a:gd name="connsiteY16" fmla="*/ 106842 h 365922"/>
                  <a:gd name="connsiteX17" fmla="*/ 312438 w 312438"/>
                  <a:gd name="connsiteY17" fmla="*/ 83982 h 365922"/>
                  <a:gd name="connsiteX18" fmla="*/ 259098 w 312438"/>
                  <a:gd name="connsiteY18" fmla="*/ 68742 h 365922"/>
                  <a:gd name="connsiteX19" fmla="*/ 106698 w 312438"/>
                  <a:gd name="connsiteY19" fmla="*/ 162 h 365922"/>
                  <a:gd name="connsiteX0" fmla="*/ 107578 w 313318"/>
                  <a:gd name="connsiteY0" fmla="*/ 162 h 365922"/>
                  <a:gd name="connsiteX1" fmla="*/ 92338 w 313318"/>
                  <a:gd name="connsiteY1" fmla="*/ 38262 h 365922"/>
                  <a:gd name="connsiteX2" fmla="*/ 84718 w 313318"/>
                  <a:gd name="connsiteY2" fmla="*/ 61122 h 365922"/>
                  <a:gd name="connsiteX3" fmla="*/ 69001 w 313318"/>
                  <a:gd name="connsiteY3" fmla="*/ 107794 h 365922"/>
                  <a:gd name="connsiteX4" fmla="*/ 22806 w 313318"/>
                  <a:gd name="connsiteY4" fmla="*/ 211617 h 365922"/>
                  <a:gd name="connsiteX5" fmla="*/ 9947 w 313318"/>
                  <a:gd name="connsiteY5" fmla="*/ 242097 h 365922"/>
                  <a:gd name="connsiteX6" fmla="*/ 898 w 313318"/>
                  <a:gd name="connsiteY6" fmla="*/ 304962 h 365922"/>
                  <a:gd name="connsiteX7" fmla="*/ 38998 w 313318"/>
                  <a:gd name="connsiteY7" fmla="*/ 343062 h 365922"/>
                  <a:gd name="connsiteX8" fmla="*/ 138058 w 313318"/>
                  <a:gd name="connsiteY8" fmla="*/ 365922 h 365922"/>
                  <a:gd name="connsiteX9" fmla="*/ 199018 w 313318"/>
                  <a:gd name="connsiteY9" fmla="*/ 350682 h 365922"/>
                  <a:gd name="connsiteX10" fmla="*/ 214258 w 313318"/>
                  <a:gd name="connsiteY10" fmla="*/ 327822 h 365922"/>
                  <a:gd name="connsiteX11" fmla="*/ 237118 w 313318"/>
                  <a:gd name="connsiteY11" fmla="*/ 289722 h 365922"/>
                  <a:gd name="connsiteX12" fmla="*/ 259978 w 313318"/>
                  <a:gd name="connsiteY12" fmla="*/ 221142 h 365922"/>
                  <a:gd name="connsiteX13" fmla="*/ 282838 w 313318"/>
                  <a:gd name="connsiteY13" fmla="*/ 167802 h 365922"/>
                  <a:gd name="connsiteX14" fmla="*/ 298078 w 313318"/>
                  <a:gd name="connsiteY14" fmla="*/ 137322 h 365922"/>
                  <a:gd name="connsiteX15" fmla="*/ 305698 w 313318"/>
                  <a:gd name="connsiteY15" fmla="*/ 106842 h 365922"/>
                  <a:gd name="connsiteX16" fmla="*/ 313318 w 313318"/>
                  <a:gd name="connsiteY16" fmla="*/ 83982 h 365922"/>
                  <a:gd name="connsiteX17" fmla="*/ 259978 w 313318"/>
                  <a:gd name="connsiteY17" fmla="*/ 68742 h 365922"/>
                  <a:gd name="connsiteX18" fmla="*/ 107578 w 313318"/>
                  <a:gd name="connsiteY18" fmla="*/ 162 h 365922"/>
                  <a:gd name="connsiteX0" fmla="*/ 116808 w 322548"/>
                  <a:gd name="connsiteY0" fmla="*/ 162 h 365922"/>
                  <a:gd name="connsiteX1" fmla="*/ 101568 w 322548"/>
                  <a:gd name="connsiteY1" fmla="*/ 38262 h 365922"/>
                  <a:gd name="connsiteX2" fmla="*/ 93948 w 322548"/>
                  <a:gd name="connsiteY2" fmla="*/ 61122 h 365922"/>
                  <a:gd name="connsiteX3" fmla="*/ 78231 w 322548"/>
                  <a:gd name="connsiteY3" fmla="*/ 107794 h 365922"/>
                  <a:gd name="connsiteX4" fmla="*/ 32036 w 322548"/>
                  <a:gd name="connsiteY4" fmla="*/ 211617 h 365922"/>
                  <a:gd name="connsiteX5" fmla="*/ 19177 w 322548"/>
                  <a:gd name="connsiteY5" fmla="*/ 242097 h 365922"/>
                  <a:gd name="connsiteX6" fmla="*/ 603 w 322548"/>
                  <a:gd name="connsiteY6" fmla="*/ 290674 h 365922"/>
                  <a:gd name="connsiteX7" fmla="*/ 48228 w 322548"/>
                  <a:gd name="connsiteY7" fmla="*/ 343062 h 365922"/>
                  <a:gd name="connsiteX8" fmla="*/ 147288 w 322548"/>
                  <a:gd name="connsiteY8" fmla="*/ 365922 h 365922"/>
                  <a:gd name="connsiteX9" fmla="*/ 208248 w 322548"/>
                  <a:gd name="connsiteY9" fmla="*/ 350682 h 365922"/>
                  <a:gd name="connsiteX10" fmla="*/ 223488 w 322548"/>
                  <a:gd name="connsiteY10" fmla="*/ 327822 h 365922"/>
                  <a:gd name="connsiteX11" fmla="*/ 246348 w 322548"/>
                  <a:gd name="connsiteY11" fmla="*/ 289722 h 365922"/>
                  <a:gd name="connsiteX12" fmla="*/ 269208 w 322548"/>
                  <a:gd name="connsiteY12" fmla="*/ 221142 h 365922"/>
                  <a:gd name="connsiteX13" fmla="*/ 292068 w 322548"/>
                  <a:gd name="connsiteY13" fmla="*/ 167802 h 365922"/>
                  <a:gd name="connsiteX14" fmla="*/ 307308 w 322548"/>
                  <a:gd name="connsiteY14" fmla="*/ 137322 h 365922"/>
                  <a:gd name="connsiteX15" fmla="*/ 314928 w 322548"/>
                  <a:gd name="connsiteY15" fmla="*/ 106842 h 365922"/>
                  <a:gd name="connsiteX16" fmla="*/ 322548 w 322548"/>
                  <a:gd name="connsiteY16" fmla="*/ 83982 h 365922"/>
                  <a:gd name="connsiteX17" fmla="*/ 269208 w 322548"/>
                  <a:gd name="connsiteY17" fmla="*/ 68742 h 365922"/>
                  <a:gd name="connsiteX18" fmla="*/ 116808 w 322548"/>
                  <a:gd name="connsiteY18" fmla="*/ 162 h 365922"/>
                  <a:gd name="connsiteX0" fmla="*/ 122229 w 327969"/>
                  <a:gd name="connsiteY0" fmla="*/ 162 h 365922"/>
                  <a:gd name="connsiteX1" fmla="*/ 106989 w 327969"/>
                  <a:gd name="connsiteY1" fmla="*/ 38262 h 365922"/>
                  <a:gd name="connsiteX2" fmla="*/ 99369 w 327969"/>
                  <a:gd name="connsiteY2" fmla="*/ 61122 h 365922"/>
                  <a:gd name="connsiteX3" fmla="*/ 83652 w 327969"/>
                  <a:gd name="connsiteY3" fmla="*/ 107794 h 365922"/>
                  <a:gd name="connsiteX4" fmla="*/ 37457 w 327969"/>
                  <a:gd name="connsiteY4" fmla="*/ 211617 h 365922"/>
                  <a:gd name="connsiteX5" fmla="*/ 24598 w 327969"/>
                  <a:gd name="connsiteY5" fmla="*/ 242097 h 365922"/>
                  <a:gd name="connsiteX6" fmla="*/ 6024 w 327969"/>
                  <a:gd name="connsiteY6" fmla="*/ 290674 h 365922"/>
                  <a:gd name="connsiteX7" fmla="*/ 152709 w 327969"/>
                  <a:gd name="connsiteY7" fmla="*/ 365922 h 365922"/>
                  <a:gd name="connsiteX8" fmla="*/ 213669 w 327969"/>
                  <a:gd name="connsiteY8" fmla="*/ 350682 h 365922"/>
                  <a:gd name="connsiteX9" fmla="*/ 228909 w 327969"/>
                  <a:gd name="connsiteY9" fmla="*/ 327822 h 365922"/>
                  <a:gd name="connsiteX10" fmla="*/ 251769 w 327969"/>
                  <a:gd name="connsiteY10" fmla="*/ 289722 h 365922"/>
                  <a:gd name="connsiteX11" fmla="*/ 274629 w 327969"/>
                  <a:gd name="connsiteY11" fmla="*/ 221142 h 365922"/>
                  <a:gd name="connsiteX12" fmla="*/ 297489 w 327969"/>
                  <a:gd name="connsiteY12" fmla="*/ 167802 h 365922"/>
                  <a:gd name="connsiteX13" fmla="*/ 312729 w 327969"/>
                  <a:gd name="connsiteY13" fmla="*/ 137322 h 365922"/>
                  <a:gd name="connsiteX14" fmla="*/ 320349 w 327969"/>
                  <a:gd name="connsiteY14" fmla="*/ 106842 h 365922"/>
                  <a:gd name="connsiteX15" fmla="*/ 327969 w 327969"/>
                  <a:gd name="connsiteY15" fmla="*/ 83982 h 365922"/>
                  <a:gd name="connsiteX16" fmla="*/ 274629 w 327969"/>
                  <a:gd name="connsiteY16" fmla="*/ 68742 h 365922"/>
                  <a:gd name="connsiteX17" fmla="*/ 122229 w 327969"/>
                  <a:gd name="connsiteY17" fmla="*/ 162 h 365922"/>
                  <a:gd name="connsiteX0" fmla="*/ 124261 w 330001"/>
                  <a:gd name="connsiteY0" fmla="*/ 162 h 368304"/>
                  <a:gd name="connsiteX1" fmla="*/ 109021 w 330001"/>
                  <a:gd name="connsiteY1" fmla="*/ 38262 h 368304"/>
                  <a:gd name="connsiteX2" fmla="*/ 101401 w 330001"/>
                  <a:gd name="connsiteY2" fmla="*/ 61122 h 368304"/>
                  <a:gd name="connsiteX3" fmla="*/ 85684 w 330001"/>
                  <a:gd name="connsiteY3" fmla="*/ 107794 h 368304"/>
                  <a:gd name="connsiteX4" fmla="*/ 39489 w 330001"/>
                  <a:gd name="connsiteY4" fmla="*/ 211617 h 368304"/>
                  <a:gd name="connsiteX5" fmla="*/ 26630 w 330001"/>
                  <a:gd name="connsiteY5" fmla="*/ 242097 h 368304"/>
                  <a:gd name="connsiteX6" fmla="*/ 8056 w 330001"/>
                  <a:gd name="connsiteY6" fmla="*/ 290674 h 368304"/>
                  <a:gd name="connsiteX7" fmla="*/ 185697 w 330001"/>
                  <a:gd name="connsiteY7" fmla="*/ 368304 h 368304"/>
                  <a:gd name="connsiteX8" fmla="*/ 215701 w 330001"/>
                  <a:gd name="connsiteY8" fmla="*/ 350682 h 368304"/>
                  <a:gd name="connsiteX9" fmla="*/ 230941 w 330001"/>
                  <a:gd name="connsiteY9" fmla="*/ 327822 h 368304"/>
                  <a:gd name="connsiteX10" fmla="*/ 253801 w 330001"/>
                  <a:gd name="connsiteY10" fmla="*/ 289722 h 368304"/>
                  <a:gd name="connsiteX11" fmla="*/ 276661 w 330001"/>
                  <a:gd name="connsiteY11" fmla="*/ 221142 h 368304"/>
                  <a:gd name="connsiteX12" fmla="*/ 299521 w 330001"/>
                  <a:gd name="connsiteY12" fmla="*/ 167802 h 368304"/>
                  <a:gd name="connsiteX13" fmla="*/ 314761 w 330001"/>
                  <a:gd name="connsiteY13" fmla="*/ 137322 h 368304"/>
                  <a:gd name="connsiteX14" fmla="*/ 322381 w 330001"/>
                  <a:gd name="connsiteY14" fmla="*/ 106842 h 368304"/>
                  <a:gd name="connsiteX15" fmla="*/ 330001 w 330001"/>
                  <a:gd name="connsiteY15" fmla="*/ 83982 h 368304"/>
                  <a:gd name="connsiteX16" fmla="*/ 276661 w 330001"/>
                  <a:gd name="connsiteY16" fmla="*/ 68742 h 368304"/>
                  <a:gd name="connsiteX17" fmla="*/ 124261 w 330001"/>
                  <a:gd name="connsiteY17" fmla="*/ 162 h 368304"/>
                  <a:gd name="connsiteX0" fmla="*/ 124261 w 330001"/>
                  <a:gd name="connsiteY0" fmla="*/ 162 h 368304"/>
                  <a:gd name="connsiteX1" fmla="*/ 109021 w 330001"/>
                  <a:gd name="connsiteY1" fmla="*/ 38262 h 368304"/>
                  <a:gd name="connsiteX2" fmla="*/ 101401 w 330001"/>
                  <a:gd name="connsiteY2" fmla="*/ 61122 h 368304"/>
                  <a:gd name="connsiteX3" fmla="*/ 85684 w 330001"/>
                  <a:gd name="connsiteY3" fmla="*/ 107794 h 368304"/>
                  <a:gd name="connsiteX4" fmla="*/ 39489 w 330001"/>
                  <a:gd name="connsiteY4" fmla="*/ 211617 h 368304"/>
                  <a:gd name="connsiteX5" fmla="*/ 26630 w 330001"/>
                  <a:gd name="connsiteY5" fmla="*/ 242097 h 368304"/>
                  <a:gd name="connsiteX6" fmla="*/ 8056 w 330001"/>
                  <a:gd name="connsiteY6" fmla="*/ 290674 h 368304"/>
                  <a:gd name="connsiteX7" fmla="*/ 185697 w 330001"/>
                  <a:gd name="connsiteY7" fmla="*/ 368304 h 368304"/>
                  <a:gd name="connsiteX8" fmla="*/ 215701 w 330001"/>
                  <a:gd name="connsiteY8" fmla="*/ 350682 h 368304"/>
                  <a:gd name="connsiteX9" fmla="*/ 253801 w 330001"/>
                  <a:gd name="connsiteY9" fmla="*/ 289722 h 368304"/>
                  <a:gd name="connsiteX10" fmla="*/ 276661 w 330001"/>
                  <a:gd name="connsiteY10" fmla="*/ 221142 h 368304"/>
                  <a:gd name="connsiteX11" fmla="*/ 299521 w 330001"/>
                  <a:gd name="connsiteY11" fmla="*/ 167802 h 368304"/>
                  <a:gd name="connsiteX12" fmla="*/ 314761 w 330001"/>
                  <a:gd name="connsiteY12" fmla="*/ 137322 h 368304"/>
                  <a:gd name="connsiteX13" fmla="*/ 322381 w 330001"/>
                  <a:gd name="connsiteY13" fmla="*/ 106842 h 368304"/>
                  <a:gd name="connsiteX14" fmla="*/ 330001 w 330001"/>
                  <a:gd name="connsiteY14" fmla="*/ 83982 h 368304"/>
                  <a:gd name="connsiteX15" fmla="*/ 276661 w 330001"/>
                  <a:gd name="connsiteY15" fmla="*/ 68742 h 368304"/>
                  <a:gd name="connsiteX16" fmla="*/ 124261 w 330001"/>
                  <a:gd name="connsiteY16" fmla="*/ 162 h 368304"/>
                  <a:gd name="connsiteX0" fmla="*/ 124261 w 330001"/>
                  <a:gd name="connsiteY0" fmla="*/ 162 h 368304"/>
                  <a:gd name="connsiteX1" fmla="*/ 109021 w 330001"/>
                  <a:gd name="connsiteY1" fmla="*/ 38262 h 368304"/>
                  <a:gd name="connsiteX2" fmla="*/ 101401 w 330001"/>
                  <a:gd name="connsiteY2" fmla="*/ 61122 h 368304"/>
                  <a:gd name="connsiteX3" fmla="*/ 85684 w 330001"/>
                  <a:gd name="connsiteY3" fmla="*/ 107794 h 368304"/>
                  <a:gd name="connsiteX4" fmla="*/ 39489 w 330001"/>
                  <a:gd name="connsiteY4" fmla="*/ 211617 h 368304"/>
                  <a:gd name="connsiteX5" fmla="*/ 26630 w 330001"/>
                  <a:gd name="connsiteY5" fmla="*/ 242097 h 368304"/>
                  <a:gd name="connsiteX6" fmla="*/ 8056 w 330001"/>
                  <a:gd name="connsiteY6" fmla="*/ 290674 h 368304"/>
                  <a:gd name="connsiteX7" fmla="*/ 185697 w 330001"/>
                  <a:gd name="connsiteY7" fmla="*/ 368304 h 368304"/>
                  <a:gd name="connsiteX8" fmla="*/ 215701 w 330001"/>
                  <a:gd name="connsiteY8" fmla="*/ 350682 h 368304"/>
                  <a:gd name="connsiteX9" fmla="*/ 253801 w 330001"/>
                  <a:gd name="connsiteY9" fmla="*/ 289722 h 368304"/>
                  <a:gd name="connsiteX10" fmla="*/ 299521 w 330001"/>
                  <a:gd name="connsiteY10" fmla="*/ 167802 h 368304"/>
                  <a:gd name="connsiteX11" fmla="*/ 314761 w 330001"/>
                  <a:gd name="connsiteY11" fmla="*/ 137322 h 368304"/>
                  <a:gd name="connsiteX12" fmla="*/ 322381 w 330001"/>
                  <a:gd name="connsiteY12" fmla="*/ 106842 h 368304"/>
                  <a:gd name="connsiteX13" fmla="*/ 330001 w 330001"/>
                  <a:gd name="connsiteY13" fmla="*/ 83982 h 368304"/>
                  <a:gd name="connsiteX14" fmla="*/ 276661 w 330001"/>
                  <a:gd name="connsiteY14" fmla="*/ 68742 h 368304"/>
                  <a:gd name="connsiteX15" fmla="*/ 124261 w 330001"/>
                  <a:gd name="connsiteY15" fmla="*/ 162 h 368304"/>
                  <a:gd name="connsiteX0" fmla="*/ 124261 w 368101"/>
                  <a:gd name="connsiteY0" fmla="*/ 162 h 368304"/>
                  <a:gd name="connsiteX1" fmla="*/ 109021 w 368101"/>
                  <a:gd name="connsiteY1" fmla="*/ 38262 h 368304"/>
                  <a:gd name="connsiteX2" fmla="*/ 101401 w 368101"/>
                  <a:gd name="connsiteY2" fmla="*/ 61122 h 368304"/>
                  <a:gd name="connsiteX3" fmla="*/ 85684 w 368101"/>
                  <a:gd name="connsiteY3" fmla="*/ 107794 h 368304"/>
                  <a:gd name="connsiteX4" fmla="*/ 39489 w 368101"/>
                  <a:gd name="connsiteY4" fmla="*/ 211617 h 368304"/>
                  <a:gd name="connsiteX5" fmla="*/ 26630 w 368101"/>
                  <a:gd name="connsiteY5" fmla="*/ 242097 h 368304"/>
                  <a:gd name="connsiteX6" fmla="*/ 8056 w 368101"/>
                  <a:gd name="connsiteY6" fmla="*/ 290674 h 368304"/>
                  <a:gd name="connsiteX7" fmla="*/ 185697 w 368101"/>
                  <a:gd name="connsiteY7" fmla="*/ 368304 h 368304"/>
                  <a:gd name="connsiteX8" fmla="*/ 215701 w 368101"/>
                  <a:gd name="connsiteY8" fmla="*/ 350682 h 368304"/>
                  <a:gd name="connsiteX9" fmla="*/ 253801 w 368101"/>
                  <a:gd name="connsiteY9" fmla="*/ 289722 h 368304"/>
                  <a:gd name="connsiteX10" fmla="*/ 299521 w 368101"/>
                  <a:gd name="connsiteY10" fmla="*/ 167802 h 368304"/>
                  <a:gd name="connsiteX11" fmla="*/ 314761 w 368101"/>
                  <a:gd name="connsiteY11" fmla="*/ 137322 h 368304"/>
                  <a:gd name="connsiteX12" fmla="*/ 322381 w 368101"/>
                  <a:gd name="connsiteY12" fmla="*/ 106842 h 368304"/>
                  <a:gd name="connsiteX13" fmla="*/ 368101 w 368101"/>
                  <a:gd name="connsiteY13" fmla="*/ 105414 h 368304"/>
                  <a:gd name="connsiteX14" fmla="*/ 276661 w 368101"/>
                  <a:gd name="connsiteY14" fmla="*/ 68742 h 368304"/>
                  <a:gd name="connsiteX15" fmla="*/ 124261 w 368101"/>
                  <a:gd name="connsiteY15" fmla="*/ 162 h 368304"/>
                  <a:gd name="connsiteX0" fmla="*/ 124261 w 368674"/>
                  <a:gd name="connsiteY0" fmla="*/ 162 h 368304"/>
                  <a:gd name="connsiteX1" fmla="*/ 109021 w 368674"/>
                  <a:gd name="connsiteY1" fmla="*/ 38262 h 368304"/>
                  <a:gd name="connsiteX2" fmla="*/ 101401 w 368674"/>
                  <a:gd name="connsiteY2" fmla="*/ 61122 h 368304"/>
                  <a:gd name="connsiteX3" fmla="*/ 85684 w 368674"/>
                  <a:gd name="connsiteY3" fmla="*/ 107794 h 368304"/>
                  <a:gd name="connsiteX4" fmla="*/ 39489 w 368674"/>
                  <a:gd name="connsiteY4" fmla="*/ 211617 h 368304"/>
                  <a:gd name="connsiteX5" fmla="*/ 26630 w 368674"/>
                  <a:gd name="connsiteY5" fmla="*/ 242097 h 368304"/>
                  <a:gd name="connsiteX6" fmla="*/ 8056 w 368674"/>
                  <a:gd name="connsiteY6" fmla="*/ 290674 h 368304"/>
                  <a:gd name="connsiteX7" fmla="*/ 185697 w 368674"/>
                  <a:gd name="connsiteY7" fmla="*/ 368304 h 368304"/>
                  <a:gd name="connsiteX8" fmla="*/ 215701 w 368674"/>
                  <a:gd name="connsiteY8" fmla="*/ 350682 h 368304"/>
                  <a:gd name="connsiteX9" fmla="*/ 253801 w 368674"/>
                  <a:gd name="connsiteY9" fmla="*/ 289722 h 368304"/>
                  <a:gd name="connsiteX10" fmla="*/ 299521 w 368674"/>
                  <a:gd name="connsiteY10" fmla="*/ 167802 h 368304"/>
                  <a:gd name="connsiteX11" fmla="*/ 314761 w 368674"/>
                  <a:gd name="connsiteY11" fmla="*/ 137322 h 368304"/>
                  <a:gd name="connsiteX12" fmla="*/ 368101 w 368674"/>
                  <a:gd name="connsiteY12" fmla="*/ 105414 h 368304"/>
                  <a:gd name="connsiteX13" fmla="*/ 276661 w 368674"/>
                  <a:gd name="connsiteY13" fmla="*/ 68742 h 368304"/>
                  <a:gd name="connsiteX14" fmla="*/ 124261 w 368674"/>
                  <a:gd name="connsiteY14" fmla="*/ 162 h 368304"/>
                  <a:gd name="connsiteX0" fmla="*/ 124261 w 368295"/>
                  <a:gd name="connsiteY0" fmla="*/ 162 h 368304"/>
                  <a:gd name="connsiteX1" fmla="*/ 109021 w 368295"/>
                  <a:gd name="connsiteY1" fmla="*/ 38262 h 368304"/>
                  <a:gd name="connsiteX2" fmla="*/ 101401 w 368295"/>
                  <a:gd name="connsiteY2" fmla="*/ 61122 h 368304"/>
                  <a:gd name="connsiteX3" fmla="*/ 85684 w 368295"/>
                  <a:gd name="connsiteY3" fmla="*/ 107794 h 368304"/>
                  <a:gd name="connsiteX4" fmla="*/ 39489 w 368295"/>
                  <a:gd name="connsiteY4" fmla="*/ 211617 h 368304"/>
                  <a:gd name="connsiteX5" fmla="*/ 26630 w 368295"/>
                  <a:gd name="connsiteY5" fmla="*/ 242097 h 368304"/>
                  <a:gd name="connsiteX6" fmla="*/ 8056 w 368295"/>
                  <a:gd name="connsiteY6" fmla="*/ 290674 h 368304"/>
                  <a:gd name="connsiteX7" fmla="*/ 185697 w 368295"/>
                  <a:gd name="connsiteY7" fmla="*/ 368304 h 368304"/>
                  <a:gd name="connsiteX8" fmla="*/ 215701 w 368295"/>
                  <a:gd name="connsiteY8" fmla="*/ 350682 h 368304"/>
                  <a:gd name="connsiteX9" fmla="*/ 253801 w 368295"/>
                  <a:gd name="connsiteY9" fmla="*/ 289722 h 368304"/>
                  <a:gd name="connsiteX10" fmla="*/ 299521 w 368295"/>
                  <a:gd name="connsiteY10" fmla="*/ 167802 h 368304"/>
                  <a:gd name="connsiteX11" fmla="*/ 368101 w 368295"/>
                  <a:gd name="connsiteY11" fmla="*/ 105414 h 368304"/>
                  <a:gd name="connsiteX12" fmla="*/ 276661 w 368295"/>
                  <a:gd name="connsiteY12" fmla="*/ 68742 h 368304"/>
                  <a:gd name="connsiteX13" fmla="*/ 124261 w 368295"/>
                  <a:gd name="connsiteY13" fmla="*/ 162 h 368304"/>
                  <a:gd name="connsiteX0" fmla="*/ 124261 w 368334"/>
                  <a:gd name="connsiteY0" fmla="*/ 162 h 368304"/>
                  <a:gd name="connsiteX1" fmla="*/ 109021 w 368334"/>
                  <a:gd name="connsiteY1" fmla="*/ 38262 h 368304"/>
                  <a:gd name="connsiteX2" fmla="*/ 101401 w 368334"/>
                  <a:gd name="connsiteY2" fmla="*/ 61122 h 368304"/>
                  <a:gd name="connsiteX3" fmla="*/ 85684 w 368334"/>
                  <a:gd name="connsiteY3" fmla="*/ 107794 h 368304"/>
                  <a:gd name="connsiteX4" fmla="*/ 39489 w 368334"/>
                  <a:gd name="connsiteY4" fmla="*/ 211617 h 368304"/>
                  <a:gd name="connsiteX5" fmla="*/ 26630 w 368334"/>
                  <a:gd name="connsiteY5" fmla="*/ 242097 h 368304"/>
                  <a:gd name="connsiteX6" fmla="*/ 8056 w 368334"/>
                  <a:gd name="connsiteY6" fmla="*/ 290674 h 368304"/>
                  <a:gd name="connsiteX7" fmla="*/ 185697 w 368334"/>
                  <a:gd name="connsiteY7" fmla="*/ 368304 h 368304"/>
                  <a:gd name="connsiteX8" fmla="*/ 215701 w 368334"/>
                  <a:gd name="connsiteY8" fmla="*/ 350682 h 368304"/>
                  <a:gd name="connsiteX9" fmla="*/ 253801 w 368334"/>
                  <a:gd name="connsiteY9" fmla="*/ 289722 h 368304"/>
                  <a:gd name="connsiteX10" fmla="*/ 309046 w 368334"/>
                  <a:gd name="connsiteY10" fmla="*/ 191614 h 368304"/>
                  <a:gd name="connsiteX11" fmla="*/ 368101 w 368334"/>
                  <a:gd name="connsiteY11" fmla="*/ 105414 h 368304"/>
                  <a:gd name="connsiteX12" fmla="*/ 276661 w 368334"/>
                  <a:gd name="connsiteY12" fmla="*/ 68742 h 368304"/>
                  <a:gd name="connsiteX13" fmla="*/ 124261 w 368334"/>
                  <a:gd name="connsiteY13" fmla="*/ 162 h 36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8334" h="368304">
                    <a:moveTo>
                      <a:pt x="124261" y="162"/>
                    </a:moveTo>
                    <a:cubicBezTo>
                      <a:pt x="115371" y="-2378"/>
                      <a:pt x="113824" y="25455"/>
                      <a:pt x="109021" y="38262"/>
                    </a:cubicBezTo>
                    <a:cubicBezTo>
                      <a:pt x="106201" y="45783"/>
                      <a:pt x="105290" y="49533"/>
                      <a:pt x="101401" y="61122"/>
                    </a:cubicBezTo>
                    <a:cubicBezTo>
                      <a:pt x="97512" y="72711"/>
                      <a:pt x="96003" y="82712"/>
                      <a:pt x="85684" y="107794"/>
                    </a:cubicBezTo>
                    <a:cubicBezTo>
                      <a:pt x="75365" y="132876"/>
                      <a:pt x="49331" y="189233"/>
                      <a:pt x="39489" y="211617"/>
                    </a:cubicBezTo>
                    <a:cubicBezTo>
                      <a:pt x="29647" y="234001"/>
                      <a:pt x="31710" y="231937"/>
                      <a:pt x="26630" y="242097"/>
                    </a:cubicBezTo>
                    <a:cubicBezTo>
                      <a:pt x="29170" y="259877"/>
                      <a:pt x="-18455" y="269640"/>
                      <a:pt x="8056" y="290674"/>
                    </a:cubicBezTo>
                    <a:cubicBezTo>
                      <a:pt x="34567" y="311708"/>
                      <a:pt x="151090" y="358303"/>
                      <a:pt x="185697" y="368304"/>
                    </a:cubicBezTo>
                    <a:cubicBezTo>
                      <a:pt x="206017" y="363224"/>
                      <a:pt x="204350" y="363779"/>
                      <a:pt x="215701" y="350682"/>
                    </a:cubicBezTo>
                    <a:cubicBezTo>
                      <a:pt x="227052" y="337585"/>
                      <a:pt x="238244" y="316233"/>
                      <a:pt x="253801" y="289722"/>
                    </a:cubicBezTo>
                    <a:cubicBezTo>
                      <a:pt x="269358" y="263211"/>
                      <a:pt x="289996" y="222332"/>
                      <a:pt x="309046" y="191614"/>
                    </a:cubicBezTo>
                    <a:cubicBezTo>
                      <a:pt x="328096" y="160896"/>
                      <a:pt x="371911" y="121924"/>
                      <a:pt x="368101" y="105414"/>
                    </a:cubicBezTo>
                    <a:cubicBezTo>
                      <a:pt x="350716" y="99619"/>
                      <a:pt x="294840" y="71612"/>
                      <a:pt x="276661" y="68742"/>
                    </a:cubicBezTo>
                    <a:cubicBezTo>
                      <a:pt x="242371" y="54772"/>
                      <a:pt x="152201" y="5242"/>
                      <a:pt x="124261" y="162"/>
                    </a:cubicBez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57" name="Freeform: Shape 51">
                <a:extLst>
                  <a:ext uri="{FF2B5EF4-FFF2-40B4-BE49-F238E27FC236}">
                    <a16:creationId xmlns:a16="http://schemas.microsoft.com/office/drawing/2014/main" id="{21A8FE67-8AFA-BA78-A642-121CFA86FDD4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77440 w 3025140"/>
                  <a:gd name="connsiteY170" fmla="*/ 464820 h 3680460"/>
                  <a:gd name="connsiteX171" fmla="*/ 2301240 w 3025140"/>
                  <a:gd name="connsiteY171" fmla="*/ 434340 h 3680460"/>
                  <a:gd name="connsiteX172" fmla="*/ 2270760 w 3025140"/>
                  <a:gd name="connsiteY172" fmla="*/ 411480 h 3680460"/>
                  <a:gd name="connsiteX173" fmla="*/ 2103120 w 3025140"/>
                  <a:gd name="connsiteY173" fmla="*/ 312420 h 3680460"/>
                  <a:gd name="connsiteX174" fmla="*/ 2042160 w 3025140"/>
                  <a:gd name="connsiteY174" fmla="*/ 266700 h 3680460"/>
                  <a:gd name="connsiteX175" fmla="*/ 2004060 w 3025140"/>
                  <a:gd name="connsiteY175" fmla="*/ 251460 h 3680460"/>
                  <a:gd name="connsiteX176" fmla="*/ 1958340 w 3025140"/>
                  <a:gd name="connsiteY176" fmla="*/ 220980 h 3680460"/>
                  <a:gd name="connsiteX177" fmla="*/ 1897380 w 3025140"/>
                  <a:gd name="connsiteY17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01240 w 3025140"/>
                  <a:gd name="connsiteY170" fmla="*/ 434340 h 3680460"/>
                  <a:gd name="connsiteX171" fmla="*/ 2270760 w 3025140"/>
                  <a:gd name="connsiteY171" fmla="*/ 411480 h 3680460"/>
                  <a:gd name="connsiteX172" fmla="*/ 2103120 w 3025140"/>
                  <a:gd name="connsiteY172" fmla="*/ 312420 h 3680460"/>
                  <a:gd name="connsiteX173" fmla="*/ 2042160 w 3025140"/>
                  <a:gd name="connsiteY173" fmla="*/ 266700 h 3680460"/>
                  <a:gd name="connsiteX174" fmla="*/ 2004060 w 3025140"/>
                  <a:gd name="connsiteY174" fmla="*/ 251460 h 3680460"/>
                  <a:gd name="connsiteX175" fmla="*/ 1958340 w 3025140"/>
                  <a:gd name="connsiteY175" fmla="*/ 220980 h 3680460"/>
                  <a:gd name="connsiteX176" fmla="*/ 1897380 w 3025140"/>
                  <a:gd name="connsiteY17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301240 w 3025140"/>
                  <a:gd name="connsiteY169" fmla="*/ 434340 h 3680460"/>
                  <a:gd name="connsiteX170" fmla="*/ 2270760 w 3025140"/>
                  <a:gd name="connsiteY170" fmla="*/ 411480 h 3680460"/>
                  <a:gd name="connsiteX171" fmla="*/ 2103120 w 3025140"/>
                  <a:gd name="connsiteY171" fmla="*/ 312420 h 3680460"/>
                  <a:gd name="connsiteX172" fmla="*/ 2042160 w 3025140"/>
                  <a:gd name="connsiteY172" fmla="*/ 266700 h 3680460"/>
                  <a:gd name="connsiteX173" fmla="*/ 2004060 w 3025140"/>
                  <a:gd name="connsiteY173" fmla="*/ 251460 h 3680460"/>
                  <a:gd name="connsiteX174" fmla="*/ 1958340 w 3025140"/>
                  <a:gd name="connsiteY174" fmla="*/ 220980 h 3680460"/>
                  <a:gd name="connsiteX175" fmla="*/ 1897380 w 3025140"/>
                  <a:gd name="connsiteY17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301240 w 3025140"/>
                  <a:gd name="connsiteY168" fmla="*/ 434340 h 3680460"/>
                  <a:gd name="connsiteX169" fmla="*/ 2270760 w 3025140"/>
                  <a:gd name="connsiteY169" fmla="*/ 411480 h 3680460"/>
                  <a:gd name="connsiteX170" fmla="*/ 2103120 w 3025140"/>
                  <a:gd name="connsiteY170" fmla="*/ 312420 h 3680460"/>
                  <a:gd name="connsiteX171" fmla="*/ 2042160 w 3025140"/>
                  <a:gd name="connsiteY171" fmla="*/ 266700 h 3680460"/>
                  <a:gd name="connsiteX172" fmla="*/ 2004060 w 3025140"/>
                  <a:gd name="connsiteY172" fmla="*/ 251460 h 3680460"/>
                  <a:gd name="connsiteX173" fmla="*/ 1958340 w 3025140"/>
                  <a:gd name="connsiteY173" fmla="*/ 220980 h 3680460"/>
                  <a:gd name="connsiteX174" fmla="*/ 1897380 w 3025140"/>
                  <a:gd name="connsiteY17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37423 w 3025140"/>
                  <a:gd name="connsiteY168" fmla="*/ 406717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12620 w 3025140"/>
                  <a:gd name="connsiteY8" fmla="*/ 7620 h 3680460"/>
                  <a:gd name="connsiteX9" fmla="*/ 1981200 w 3025140"/>
                  <a:gd name="connsiteY9" fmla="*/ 0 h 3680460"/>
                  <a:gd name="connsiteX10" fmla="*/ 2026920 w 3025140"/>
                  <a:gd name="connsiteY10" fmla="*/ 30480 h 3680460"/>
                  <a:gd name="connsiteX11" fmla="*/ 2065020 w 3025140"/>
                  <a:gd name="connsiteY11" fmla="*/ 76200 h 3680460"/>
                  <a:gd name="connsiteX12" fmla="*/ 2171700 w 3025140"/>
                  <a:gd name="connsiteY12" fmla="*/ 114300 h 3680460"/>
                  <a:gd name="connsiteX13" fmla="*/ 2225040 w 3025140"/>
                  <a:gd name="connsiteY13" fmla="*/ 160020 h 3680460"/>
                  <a:gd name="connsiteX14" fmla="*/ 2286000 w 3025140"/>
                  <a:gd name="connsiteY14" fmla="*/ 190500 h 3680460"/>
                  <a:gd name="connsiteX15" fmla="*/ 2331720 w 3025140"/>
                  <a:gd name="connsiteY15" fmla="*/ 220980 h 3680460"/>
                  <a:gd name="connsiteX16" fmla="*/ 2385060 w 3025140"/>
                  <a:gd name="connsiteY16" fmla="*/ 266700 h 3680460"/>
                  <a:gd name="connsiteX17" fmla="*/ 2415540 w 3025140"/>
                  <a:gd name="connsiteY17" fmla="*/ 289560 h 3680460"/>
                  <a:gd name="connsiteX18" fmla="*/ 2461260 w 3025140"/>
                  <a:gd name="connsiteY18" fmla="*/ 320040 h 3680460"/>
                  <a:gd name="connsiteX19" fmla="*/ 2537460 w 3025140"/>
                  <a:gd name="connsiteY19" fmla="*/ 426720 h 3680460"/>
                  <a:gd name="connsiteX20" fmla="*/ 2552700 w 3025140"/>
                  <a:gd name="connsiteY20" fmla="*/ 449580 h 3680460"/>
                  <a:gd name="connsiteX21" fmla="*/ 2575560 w 3025140"/>
                  <a:gd name="connsiteY21" fmla="*/ 487680 h 3680460"/>
                  <a:gd name="connsiteX22" fmla="*/ 2621280 w 3025140"/>
                  <a:gd name="connsiteY22" fmla="*/ 548640 h 3680460"/>
                  <a:gd name="connsiteX23" fmla="*/ 2674620 w 3025140"/>
                  <a:gd name="connsiteY23" fmla="*/ 609600 h 3680460"/>
                  <a:gd name="connsiteX24" fmla="*/ 2727960 w 3025140"/>
                  <a:gd name="connsiteY24" fmla="*/ 678180 h 3680460"/>
                  <a:gd name="connsiteX25" fmla="*/ 2727960 w 3025140"/>
                  <a:gd name="connsiteY25" fmla="*/ 678180 h 3680460"/>
                  <a:gd name="connsiteX26" fmla="*/ 2766060 w 3025140"/>
                  <a:gd name="connsiteY26" fmla="*/ 754380 h 3680460"/>
                  <a:gd name="connsiteX27" fmla="*/ 2819400 w 3025140"/>
                  <a:gd name="connsiteY27" fmla="*/ 830580 h 3680460"/>
                  <a:gd name="connsiteX28" fmla="*/ 2834640 w 3025140"/>
                  <a:gd name="connsiteY28" fmla="*/ 853440 h 3680460"/>
                  <a:gd name="connsiteX29" fmla="*/ 2849880 w 3025140"/>
                  <a:gd name="connsiteY29" fmla="*/ 883920 h 3680460"/>
                  <a:gd name="connsiteX30" fmla="*/ 2880360 w 3025140"/>
                  <a:gd name="connsiteY30" fmla="*/ 922020 h 3680460"/>
                  <a:gd name="connsiteX31" fmla="*/ 2887980 w 3025140"/>
                  <a:gd name="connsiteY31" fmla="*/ 944880 h 3680460"/>
                  <a:gd name="connsiteX32" fmla="*/ 2903220 w 3025140"/>
                  <a:gd name="connsiteY32" fmla="*/ 967740 h 3680460"/>
                  <a:gd name="connsiteX33" fmla="*/ 2918460 w 3025140"/>
                  <a:gd name="connsiteY33" fmla="*/ 1036320 h 3680460"/>
                  <a:gd name="connsiteX34" fmla="*/ 2933700 w 3025140"/>
                  <a:gd name="connsiteY34" fmla="*/ 1074420 h 3680460"/>
                  <a:gd name="connsiteX35" fmla="*/ 2948940 w 3025140"/>
                  <a:gd name="connsiteY35" fmla="*/ 1120140 h 3680460"/>
                  <a:gd name="connsiteX36" fmla="*/ 2964180 w 3025140"/>
                  <a:gd name="connsiteY36" fmla="*/ 1203960 h 3680460"/>
                  <a:gd name="connsiteX37" fmla="*/ 2979420 w 3025140"/>
                  <a:gd name="connsiteY37" fmla="*/ 1264920 h 3680460"/>
                  <a:gd name="connsiteX38" fmla="*/ 2987040 w 3025140"/>
                  <a:gd name="connsiteY38" fmla="*/ 1318260 h 3680460"/>
                  <a:gd name="connsiteX39" fmla="*/ 2994660 w 3025140"/>
                  <a:gd name="connsiteY39" fmla="*/ 1348740 h 3680460"/>
                  <a:gd name="connsiteX40" fmla="*/ 3009900 w 3025140"/>
                  <a:gd name="connsiteY40" fmla="*/ 1432560 h 3680460"/>
                  <a:gd name="connsiteX41" fmla="*/ 3017520 w 3025140"/>
                  <a:gd name="connsiteY41" fmla="*/ 1684020 h 3680460"/>
                  <a:gd name="connsiteX42" fmla="*/ 3025140 w 3025140"/>
                  <a:gd name="connsiteY42" fmla="*/ 1744980 h 3680460"/>
                  <a:gd name="connsiteX43" fmla="*/ 3017520 w 3025140"/>
                  <a:gd name="connsiteY43" fmla="*/ 2095500 h 3680460"/>
                  <a:gd name="connsiteX44" fmla="*/ 3009900 w 3025140"/>
                  <a:gd name="connsiteY44" fmla="*/ 2125980 h 3680460"/>
                  <a:gd name="connsiteX45" fmla="*/ 2979420 w 3025140"/>
                  <a:gd name="connsiteY45" fmla="*/ 2194560 h 3680460"/>
                  <a:gd name="connsiteX46" fmla="*/ 2956560 w 3025140"/>
                  <a:gd name="connsiteY46" fmla="*/ 2247900 h 3680460"/>
                  <a:gd name="connsiteX47" fmla="*/ 2941320 w 3025140"/>
                  <a:gd name="connsiteY47" fmla="*/ 2324100 h 3680460"/>
                  <a:gd name="connsiteX48" fmla="*/ 2926080 w 3025140"/>
                  <a:gd name="connsiteY48" fmla="*/ 2392680 h 3680460"/>
                  <a:gd name="connsiteX49" fmla="*/ 2918460 w 3025140"/>
                  <a:gd name="connsiteY49" fmla="*/ 2415540 h 3680460"/>
                  <a:gd name="connsiteX50" fmla="*/ 2895600 w 3025140"/>
                  <a:gd name="connsiteY50" fmla="*/ 2484120 h 3680460"/>
                  <a:gd name="connsiteX51" fmla="*/ 2872740 w 3025140"/>
                  <a:gd name="connsiteY51" fmla="*/ 2583180 h 3680460"/>
                  <a:gd name="connsiteX52" fmla="*/ 2857500 w 3025140"/>
                  <a:gd name="connsiteY52" fmla="*/ 2606040 h 3680460"/>
                  <a:gd name="connsiteX53" fmla="*/ 2834640 w 3025140"/>
                  <a:gd name="connsiteY53" fmla="*/ 2689860 h 3680460"/>
                  <a:gd name="connsiteX54" fmla="*/ 2811780 w 3025140"/>
                  <a:gd name="connsiteY54" fmla="*/ 2750820 h 3680460"/>
                  <a:gd name="connsiteX55" fmla="*/ 2788920 w 3025140"/>
                  <a:gd name="connsiteY55" fmla="*/ 2781300 h 3680460"/>
                  <a:gd name="connsiteX56" fmla="*/ 2781300 w 3025140"/>
                  <a:gd name="connsiteY56" fmla="*/ 2804160 h 3680460"/>
                  <a:gd name="connsiteX57" fmla="*/ 2743200 w 3025140"/>
                  <a:gd name="connsiteY57" fmla="*/ 2865120 h 3680460"/>
                  <a:gd name="connsiteX58" fmla="*/ 2712720 w 3025140"/>
                  <a:gd name="connsiteY58" fmla="*/ 2903220 h 3680460"/>
                  <a:gd name="connsiteX59" fmla="*/ 2697480 w 3025140"/>
                  <a:gd name="connsiteY59" fmla="*/ 2933700 h 3680460"/>
                  <a:gd name="connsiteX60" fmla="*/ 2674620 w 3025140"/>
                  <a:gd name="connsiteY60" fmla="*/ 2964180 h 3680460"/>
                  <a:gd name="connsiteX61" fmla="*/ 2644140 w 3025140"/>
                  <a:gd name="connsiteY61" fmla="*/ 3009900 h 3680460"/>
                  <a:gd name="connsiteX62" fmla="*/ 2598420 w 3025140"/>
                  <a:gd name="connsiteY62" fmla="*/ 3055620 h 3680460"/>
                  <a:gd name="connsiteX63" fmla="*/ 2575560 w 3025140"/>
                  <a:gd name="connsiteY63" fmla="*/ 3078480 h 3680460"/>
                  <a:gd name="connsiteX64" fmla="*/ 2476500 w 3025140"/>
                  <a:gd name="connsiteY64" fmla="*/ 3169920 h 3680460"/>
                  <a:gd name="connsiteX65" fmla="*/ 2377440 w 3025140"/>
                  <a:gd name="connsiteY65" fmla="*/ 3223260 h 3680460"/>
                  <a:gd name="connsiteX66" fmla="*/ 2293620 w 3025140"/>
                  <a:gd name="connsiteY66" fmla="*/ 3284220 h 3680460"/>
                  <a:gd name="connsiteX67" fmla="*/ 2240280 w 3025140"/>
                  <a:gd name="connsiteY67" fmla="*/ 3314700 h 3680460"/>
                  <a:gd name="connsiteX68" fmla="*/ 2225040 w 3025140"/>
                  <a:gd name="connsiteY68" fmla="*/ 3337560 h 3680460"/>
                  <a:gd name="connsiteX69" fmla="*/ 2141220 w 3025140"/>
                  <a:gd name="connsiteY69" fmla="*/ 3390900 h 3680460"/>
                  <a:gd name="connsiteX70" fmla="*/ 2110740 w 3025140"/>
                  <a:gd name="connsiteY70" fmla="*/ 3413760 h 3680460"/>
                  <a:gd name="connsiteX71" fmla="*/ 2072640 w 3025140"/>
                  <a:gd name="connsiteY71" fmla="*/ 3451860 h 3680460"/>
                  <a:gd name="connsiteX72" fmla="*/ 2019300 w 3025140"/>
                  <a:gd name="connsiteY72" fmla="*/ 3467100 h 3680460"/>
                  <a:gd name="connsiteX73" fmla="*/ 1874520 w 3025140"/>
                  <a:gd name="connsiteY73" fmla="*/ 3512820 h 3680460"/>
                  <a:gd name="connsiteX74" fmla="*/ 1828800 w 3025140"/>
                  <a:gd name="connsiteY74" fmla="*/ 3520440 h 3680460"/>
                  <a:gd name="connsiteX75" fmla="*/ 1722120 w 3025140"/>
                  <a:gd name="connsiteY75" fmla="*/ 3550920 h 3680460"/>
                  <a:gd name="connsiteX76" fmla="*/ 1600200 w 3025140"/>
                  <a:gd name="connsiteY76" fmla="*/ 3589020 h 3680460"/>
                  <a:gd name="connsiteX77" fmla="*/ 1569720 w 3025140"/>
                  <a:gd name="connsiteY77" fmla="*/ 3596640 h 3680460"/>
                  <a:gd name="connsiteX78" fmla="*/ 1546860 w 3025140"/>
                  <a:gd name="connsiteY78" fmla="*/ 3611880 h 3680460"/>
                  <a:gd name="connsiteX79" fmla="*/ 1463040 w 3025140"/>
                  <a:gd name="connsiteY79" fmla="*/ 3627120 h 3680460"/>
                  <a:gd name="connsiteX80" fmla="*/ 1333500 w 3025140"/>
                  <a:gd name="connsiteY80" fmla="*/ 3657600 h 3680460"/>
                  <a:gd name="connsiteX81" fmla="*/ 1203960 w 3025140"/>
                  <a:gd name="connsiteY81" fmla="*/ 3672840 h 3680460"/>
                  <a:gd name="connsiteX82" fmla="*/ 1165860 w 3025140"/>
                  <a:gd name="connsiteY82" fmla="*/ 3680460 h 3680460"/>
                  <a:gd name="connsiteX83" fmla="*/ 449580 w 3025140"/>
                  <a:gd name="connsiteY83" fmla="*/ 3672840 h 3680460"/>
                  <a:gd name="connsiteX84" fmla="*/ 426720 w 3025140"/>
                  <a:gd name="connsiteY84" fmla="*/ 3665220 h 3680460"/>
                  <a:gd name="connsiteX85" fmla="*/ 388620 w 3025140"/>
                  <a:gd name="connsiteY85" fmla="*/ 3657600 h 3680460"/>
                  <a:gd name="connsiteX86" fmla="*/ 335280 w 3025140"/>
                  <a:gd name="connsiteY86" fmla="*/ 3627120 h 3680460"/>
                  <a:gd name="connsiteX87" fmla="*/ 266700 w 3025140"/>
                  <a:gd name="connsiteY87" fmla="*/ 3604260 h 3680460"/>
                  <a:gd name="connsiteX88" fmla="*/ 243840 w 3025140"/>
                  <a:gd name="connsiteY88" fmla="*/ 3589020 h 3680460"/>
                  <a:gd name="connsiteX89" fmla="*/ 160020 w 3025140"/>
                  <a:gd name="connsiteY89" fmla="*/ 3558540 h 3680460"/>
                  <a:gd name="connsiteX90" fmla="*/ 137160 w 3025140"/>
                  <a:gd name="connsiteY90" fmla="*/ 3535680 h 3680460"/>
                  <a:gd name="connsiteX91" fmla="*/ 99060 w 3025140"/>
                  <a:gd name="connsiteY91" fmla="*/ 3520440 h 3680460"/>
                  <a:gd name="connsiteX92" fmla="*/ 83820 w 3025140"/>
                  <a:gd name="connsiteY92" fmla="*/ 3489960 h 3680460"/>
                  <a:gd name="connsiteX93" fmla="*/ 45720 w 3025140"/>
                  <a:gd name="connsiteY93" fmla="*/ 3436620 h 3680460"/>
                  <a:gd name="connsiteX94" fmla="*/ 0 w 3025140"/>
                  <a:gd name="connsiteY94" fmla="*/ 3352800 h 3680460"/>
                  <a:gd name="connsiteX95" fmla="*/ 30480 w 3025140"/>
                  <a:gd name="connsiteY95" fmla="*/ 3345180 h 3680460"/>
                  <a:gd name="connsiteX96" fmla="*/ 137160 w 3025140"/>
                  <a:gd name="connsiteY96" fmla="*/ 3360420 h 3680460"/>
                  <a:gd name="connsiteX97" fmla="*/ 167640 w 3025140"/>
                  <a:gd name="connsiteY97" fmla="*/ 3390900 h 3680460"/>
                  <a:gd name="connsiteX98" fmla="*/ 198120 w 3025140"/>
                  <a:gd name="connsiteY98" fmla="*/ 3406140 h 3680460"/>
                  <a:gd name="connsiteX99" fmla="*/ 350520 w 3025140"/>
                  <a:gd name="connsiteY99" fmla="*/ 3436620 h 3680460"/>
                  <a:gd name="connsiteX100" fmla="*/ 381000 w 3025140"/>
                  <a:gd name="connsiteY100" fmla="*/ 3451860 h 3680460"/>
                  <a:gd name="connsiteX101" fmla="*/ 449580 w 3025140"/>
                  <a:gd name="connsiteY101" fmla="*/ 3489960 h 3680460"/>
                  <a:gd name="connsiteX102" fmla="*/ 495300 w 3025140"/>
                  <a:gd name="connsiteY102" fmla="*/ 3520440 h 3680460"/>
                  <a:gd name="connsiteX103" fmla="*/ 525780 w 3025140"/>
                  <a:gd name="connsiteY103" fmla="*/ 3535680 h 3680460"/>
                  <a:gd name="connsiteX104" fmla="*/ 731520 w 3025140"/>
                  <a:gd name="connsiteY104" fmla="*/ 3558540 h 3680460"/>
                  <a:gd name="connsiteX105" fmla="*/ 1341120 w 3025140"/>
                  <a:gd name="connsiteY105" fmla="*/ 3550920 h 3680460"/>
                  <a:gd name="connsiteX106" fmla="*/ 1440180 w 3025140"/>
                  <a:gd name="connsiteY106" fmla="*/ 3528060 h 3680460"/>
                  <a:gd name="connsiteX107" fmla="*/ 1539240 w 3025140"/>
                  <a:gd name="connsiteY107" fmla="*/ 3520440 h 3680460"/>
                  <a:gd name="connsiteX108" fmla="*/ 1562100 w 3025140"/>
                  <a:gd name="connsiteY108" fmla="*/ 3512820 h 3680460"/>
                  <a:gd name="connsiteX109" fmla="*/ 1630680 w 3025140"/>
                  <a:gd name="connsiteY109" fmla="*/ 3497580 h 3680460"/>
                  <a:gd name="connsiteX110" fmla="*/ 1699260 w 3025140"/>
                  <a:gd name="connsiteY110" fmla="*/ 3474720 h 3680460"/>
                  <a:gd name="connsiteX111" fmla="*/ 1790700 w 3025140"/>
                  <a:gd name="connsiteY111" fmla="*/ 3451860 h 3680460"/>
                  <a:gd name="connsiteX112" fmla="*/ 1821180 w 3025140"/>
                  <a:gd name="connsiteY112" fmla="*/ 3444240 h 3680460"/>
                  <a:gd name="connsiteX113" fmla="*/ 1844040 w 3025140"/>
                  <a:gd name="connsiteY113" fmla="*/ 3429000 h 3680460"/>
                  <a:gd name="connsiteX114" fmla="*/ 1874520 w 3025140"/>
                  <a:gd name="connsiteY114" fmla="*/ 3421380 h 3680460"/>
                  <a:gd name="connsiteX115" fmla="*/ 1927860 w 3025140"/>
                  <a:gd name="connsiteY115" fmla="*/ 3398520 h 3680460"/>
                  <a:gd name="connsiteX116" fmla="*/ 1950720 w 3025140"/>
                  <a:gd name="connsiteY116" fmla="*/ 3390900 h 3680460"/>
                  <a:gd name="connsiteX117" fmla="*/ 2004060 w 3025140"/>
                  <a:gd name="connsiteY117" fmla="*/ 3360420 h 3680460"/>
                  <a:gd name="connsiteX118" fmla="*/ 2042160 w 3025140"/>
                  <a:gd name="connsiteY118" fmla="*/ 3352800 h 3680460"/>
                  <a:gd name="connsiteX119" fmla="*/ 2080260 w 3025140"/>
                  <a:gd name="connsiteY119" fmla="*/ 3337560 h 3680460"/>
                  <a:gd name="connsiteX120" fmla="*/ 2156460 w 3025140"/>
                  <a:gd name="connsiteY120" fmla="*/ 3299460 h 3680460"/>
                  <a:gd name="connsiteX121" fmla="*/ 2179320 w 3025140"/>
                  <a:gd name="connsiteY121" fmla="*/ 3284220 h 3680460"/>
                  <a:gd name="connsiteX122" fmla="*/ 2209800 w 3025140"/>
                  <a:gd name="connsiteY122" fmla="*/ 3276600 h 3680460"/>
                  <a:gd name="connsiteX123" fmla="*/ 2263140 w 3025140"/>
                  <a:gd name="connsiteY123" fmla="*/ 3230880 h 3680460"/>
                  <a:gd name="connsiteX124" fmla="*/ 2346960 w 3025140"/>
                  <a:gd name="connsiteY124" fmla="*/ 3154680 h 3680460"/>
                  <a:gd name="connsiteX125" fmla="*/ 2400300 w 3025140"/>
                  <a:gd name="connsiteY125" fmla="*/ 3070860 h 3680460"/>
                  <a:gd name="connsiteX126" fmla="*/ 2415540 w 3025140"/>
                  <a:gd name="connsiteY126" fmla="*/ 3048000 h 3680460"/>
                  <a:gd name="connsiteX127" fmla="*/ 2446020 w 3025140"/>
                  <a:gd name="connsiteY127" fmla="*/ 3032760 h 3680460"/>
                  <a:gd name="connsiteX128" fmla="*/ 2468880 w 3025140"/>
                  <a:gd name="connsiteY128" fmla="*/ 3009900 h 3680460"/>
                  <a:gd name="connsiteX129" fmla="*/ 2537460 w 3025140"/>
                  <a:gd name="connsiteY129" fmla="*/ 2926080 h 3680460"/>
                  <a:gd name="connsiteX130" fmla="*/ 2575560 w 3025140"/>
                  <a:gd name="connsiteY130" fmla="*/ 2880360 h 3680460"/>
                  <a:gd name="connsiteX131" fmla="*/ 2628900 w 3025140"/>
                  <a:gd name="connsiteY131" fmla="*/ 2811780 h 3680460"/>
                  <a:gd name="connsiteX132" fmla="*/ 2644140 w 3025140"/>
                  <a:gd name="connsiteY132" fmla="*/ 2773680 h 3680460"/>
                  <a:gd name="connsiteX133" fmla="*/ 2674620 w 3025140"/>
                  <a:gd name="connsiteY133" fmla="*/ 2727960 h 3680460"/>
                  <a:gd name="connsiteX134" fmla="*/ 2689860 w 3025140"/>
                  <a:gd name="connsiteY134" fmla="*/ 2705100 h 3680460"/>
                  <a:gd name="connsiteX135" fmla="*/ 2705100 w 3025140"/>
                  <a:gd name="connsiteY135" fmla="*/ 2667000 h 3680460"/>
                  <a:gd name="connsiteX136" fmla="*/ 2727960 w 3025140"/>
                  <a:gd name="connsiteY136" fmla="*/ 2621280 h 3680460"/>
                  <a:gd name="connsiteX137" fmla="*/ 2735580 w 3025140"/>
                  <a:gd name="connsiteY137" fmla="*/ 2590800 h 3680460"/>
                  <a:gd name="connsiteX138" fmla="*/ 2758440 w 3025140"/>
                  <a:gd name="connsiteY138" fmla="*/ 2545080 h 3680460"/>
                  <a:gd name="connsiteX139" fmla="*/ 2788920 w 3025140"/>
                  <a:gd name="connsiteY139" fmla="*/ 2484120 h 3680460"/>
                  <a:gd name="connsiteX140" fmla="*/ 2811780 w 3025140"/>
                  <a:gd name="connsiteY140" fmla="*/ 2407920 h 3680460"/>
                  <a:gd name="connsiteX141" fmla="*/ 2842260 w 3025140"/>
                  <a:gd name="connsiteY141" fmla="*/ 2324100 h 3680460"/>
                  <a:gd name="connsiteX142" fmla="*/ 2857500 w 3025140"/>
                  <a:gd name="connsiteY142" fmla="*/ 2247900 h 3680460"/>
                  <a:gd name="connsiteX143" fmla="*/ 2872740 w 3025140"/>
                  <a:gd name="connsiteY143" fmla="*/ 2194560 h 3680460"/>
                  <a:gd name="connsiteX144" fmla="*/ 2887980 w 3025140"/>
                  <a:gd name="connsiteY144" fmla="*/ 2148840 h 3680460"/>
                  <a:gd name="connsiteX145" fmla="*/ 2910840 w 3025140"/>
                  <a:gd name="connsiteY145" fmla="*/ 2087880 h 3680460"/>
                  <a:gd name="connsiteX146" fmla="*/ 2918460 w 3025140"/>
                  <a:gd name="connsiteY146" fmla="*/ 2049780 h 3680460"/>
                  <a:gd name="connsiteX147" fmla="*/ 2933700 w 3025140"/>
                  <a:gd name="connsiteY147" fmla="*/ 1844040 h 3680460"/>
                  <a:gd name="connsiteX148" fmla="*/ 2918460 w 3025140"/>
                  <a:gd name="connsiteY148" fmla="*/ 1470660 h 3680460"/>
                  <a:gd name="connsiteX149" fmla="*/ 2895600 w 3025140"/>
                  <a:gd name="connsiteY149" fmla="*/ 1371600 h 3680460"/>
                  <a:gd name="connsiteX150" fmla="*/ 2880360 w 3025140"/>
                  <a:gd name="connsiteY150" fmla="*/ 1341120 h 3680460"/>
                  <a:gd name="connsiteX151" fmla="*/ 2857500 w 3025140"/>
                  <a:gd name="connsiteY151" fmla="*/ 1272540 h 3680460"/>
                  <a:gd name="connsiteX152" fmla="*/ 2849880 w 3025140"/>
                  <a:gd name="connsiteY152" fmla="*/ 1234440 h 3680460"/>
                  <a:gd name="connsiteX153" fmla="*/ 2827020 w 3025140"/>
                  <a:gd name="connsiteY153" fmla="*/ 1196340 h 3680460"/>
                  <a:gd name="connsiteX154" fmla="*/ 2811780 w 3025140"/>
                  <a:gd name="connsiteY154" fmla="*/ 1165860 h 3680460"/>
                  <a:gd name="connsiteX155" fmla="*/ 2781300 w 3025140"/>
                  <a:gd name="connsiteY155" fmla="*/ 1127760 h 3680460"/>
                  <a:gd name="connsiteX156" fmla="*/ 2766060 w 3025140"/>
                  <a:gd name="connsiteY156" fmla="*/ 1089660 h 3680460"/>
                  <a:gd name="connsiteX157" fmla="*/ 2735580 w 3025140"/>
                  <a:gd name="connsiteY157" fmla="*/ 1043940 h 3680460"/>
                  <a:gd name="connsiteX158" fmla="*/ 2727960 w 3025140"/>
                  <a:gd name="connsiteY158" fmla="*/ 1021080 h 3680460"/>
                  <a:gd name="connsiteX159" fmla="*/ 2682240 w 3025140"/>
                  <a:gd name="connsiteY159" fmla="*/ 937260 h 3680460"/>
                  <a:gd name="connsiteX160" fmla="*/ 2659380 w 3025140"/>
                  <a:gd name="connsiteY160" fmla="*/ 876300 h 3680460"/>
                  <a:gd name="connsiteX161" fmla="*/ 2644140 w 3025140"/>
                  <a:gd name="connsiteY161" fmla="*/ 845820 h 3680460"/>
                  <a:gd name="connsiteX162" fmla="*/ 2636520 w 3025140"/>
                  <a:gd name="connsiteY162" fmla="*/ 822960 h 3680460"/>
                  <a:gd name="connsiteX163" fmla="*/ 2621280 w 3025140"/>
                  <a:gd name="connsiteY163" fmla="*/ 800100 h 3680460"/>
                  <a:gd name="connsiteX164" fmla="*/ 2598420 w 3025140"/>
                  <a:gd name="connsiteY164" fmla="*/ 739140 h 3680460"/>
                  <a:gd name="connsiteX165" fmla="*/ 2458403 w 3025140"/>
                  <a:gd name="connsiteY165" fmla="*/ 621983 h 3680460"/>
                  <a:gd name="connsiteX166" fmla="*/ 2301240 w 3025140"/>
                  <a:gd name="connsiteY166" fmla="*/ 458152 h 3680460"/>
                  <a:gd name="connsiteX167" fmla="*/ 2237423 w 3025140"/>
                  <a:gd name="connsiteY167" fmla="*/ 406717 h 3680460"/>
                  <a:gd name="connsiteX168" fmla="*/ 2103120 w 3025140"/>
                  <a:gd name="connsiteY168" fmla="*/ 312420 h 3680460"/>
                  <a:gd name="connsiteX169" fmla="*/ 2042160 w 3025140"/>
                  <a:gd name="connsiteY169" fmla="*/ 266700 h 3680460"/>
                  <a:gd name="connsiteX170" fmla="*/ 2004060 w 3025140"/>
                  <a:gd name="connsiteY170" fmla="*/ 251460 h 3680460"/>
                  <a:gd name="connsiteX171" fmla="*/ 1958340 w 3025140"/>
                  <a:gd name="connsiteY171" fmla="*/ 220980 h 3680460"/>
                  <a:gd name="connsiteX172" fmla="*/ 1897380 w 3025140"/>
                  <a:gd name="connsiteY17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171700 w 3025140"/>
                  <a:gd name="connsiteY10" fmla="*/ 114300 h 3680460"/>
                  <a:gd name="connsiteX11" fmla="*/ 2225040 w 3025140"/>
                  <a:gd name="connsiteY11" fmla="*/ 160020 h 3680460"/>
                  <a:gd name="connsiteX12" fmla="*/ 2286000 w 3025140"/>
                  <a:gd name="connsiteY12" fmla="*/ 190500 h 3680460"/>
                  <a:gd name="connsiteX13" fmla="*/ 2331720 w 3025140"/>
                  <a:gd name="connsiteY13" fmla="*/ 220980 h 3680460"/>
                  <a:gd name="connsiteX14" fmla="*/ 2385060 w 3025140"/>
                  <a:gd name="connsiteY14" fmla="*/ 266700 h 3680460"/>
                  <a:gd name="connsiteX15" fmla="*/ 2415540 w 3025140"/>
                  <a:gd name="connsiteY15" fmla="*/ 289560 h 3680460"/>
                  <a:gd name="connsiteX16" fmla="*/ 2461260 w 3025140"/>
                  <a:gd name="connsiteY16" fmla="*/ 320040 h 3680460"/>
                  <a:gd name="connsiteX17" fmla="*/ 2537460 w 3025140"/>
                  <a:gd name="connsiteY17" fmla="*/ 426720 h 3680460"/>
                  <a:gd name="connsiteX18" fmla="*/ 2552700 w 3025140"/>
                  <a:gd name="connsiteY18" fmla="*/ 449580 h 3680460"/>
                  <a:gd name="connsiteX19" fmla="*/ 2575560 w 3025140"/>
                  <a:gd name="connsiteY19" fmla="*/ 487680 h 3680460"/>
                  <a:gd name="connsiteX20" fmla="*/ 2621280 w 3025140"/>
                  <a:gd name="connsiteY20" fmla="*/ 548640 h 3680460"/>
                  <a:gd name="connsiteX21" fmla="*/ 2674620 w 3025140"/>
                  <a:gd name="connsiteY21" fmla="*/ 609600 h 3680460"/>
                  <a:gd name="connsiteX22" fmla="*/ 2727960 w 3025140"/>
                  <a:gd name="connsiteY22" fmla="*/ 678180 h 3680460"/>
                  <a:gd name="connsiteX23" fmla="*/ 2727960 w 3025140"/>
                  <a:gd name="connsiteY23" fmla="*/ 678180 h 3680460"/>
                  <a:gd name="connsiteX24" fmla="*/ 2766060 w 3025140"/>
                  <a:gd name="connsiteY24" fmla="*/ 754380 h 3680460"/>
                  <a:gd name="connsiteX25" fmla="*/ 2819400 w 3025140"/>
                  <a:gd name="connsiteY25" fmla="*/ 830580 h 3680460"/>
                  <a:gd name="connsiteX26" fmla="*/ 2834640 w 3025140"/>
                  <a:gd name="connsiteY26" fmla="*/ 853440 h 3680460"/>
                  <a:gd name="connsiteX27" fmla="*/ 2849880 w 3025140"/>
                  <a:gd name="connsiteY27" fmla="*/ 883920 h 3680460"/>
                  <a:gd name="connsiteX28" fmla="*/ 2880360 w 3025140"/>
                  <a:gd name="connsiteY28" fmla="*/ 922020 h 3680460"/>
                  <a:gd name="connsiteX29" fmla="*/ 2887980 w 3025140"/>
                  <a:gd name="connsiteY29" fmla="*/ 944880 h 3680460"/>
                  <a:gd name="connsiteX30" fmla="*/ 2903220 w 3025140"/>
                  <a:gd name="connsiteY30" fmla="*/ 967740 h 3680460"/>
                  <a:gd name="connsiteX31" fmla="*/ 2918460 w 3025140"/>
                  <a:gd name="connsiteY31" fmla="*/ 1036320 h 3680460"/>
                  <a:gd name="connsiteX32" fmla="*/ 2933700 w 3025140"/>
                  <a:gd name="connsiteY32" fmla="*/ 1074420 h 3680460"/>
                  <a:gd name="connsiteX33" fmla="*/ 2948940 w 3025140"/>
                  <a:gd name="connsiteY33" fmla="*/ 1120140 h 3680460"/>
                  <a:gd name="connsiteX34" fmla="*/ 2964180 w 3025140"/>
                  <a:gd name="connsiteY34" fmla="*/ 1203960 h 3680460"/>
                  <a:gd name="connsiteX35" fmla="*/ 2979420 w 3025140"/>
                  <a:gd name="connsiteY35" fmla="*/ 1264920 h 3680460"/>
                  <a:gd name="connsiteX36" fmla="*/ 2987040 w 3025140"/>
                  <a:gd name="connsiteY36" fmla="*/ 1318260 h 3680460"/>
                  <a:gd name="connsiteX37" fmla="*/ 2994660 w 3025140"/>
                  <a:gd name="connsiteY37" fmla="*/ 1348740 h 3680460"/>
                  <a:gd name="connsiteX38" fmla="*/ 3009900 w 3025140"/>
                  <a:gd name="connsiteY38" fmla="*/ 1432560 h 3680460"/>
                  <a:gd name="connsiteX39" fmla="*/ 3017520 w 3025140"/>
                  <a:gd name="connsiteY39" fmla="*/ 1684020 h 3680460"/>
                  <a:gd name="connsiteX40" fmla="*/ 3025140 w 3025140"/>
                  <a:gd name="connsiteY40" fmla="*/ 1744980 h 3680460"/>
                  <a:gd name="connsiteX41" fmla="*/ 3017520 w 3025140"/>
                  <a:gd name="connsiteY41" fmla="*/ 2095500 h 3680460"/>
                  <a:gd name="connsiteX42" fmla="*/ 3009900 w 3025140"/>
                  <a:gd name="connsiteY42" fmla="*/ 2125980 h 3680460"/>
                  <a:gd name="connsiteX43" fmla="*/ 2979420 w 3025140"/>
                  <a:gd name="connsiteY43" fmla="*/ 2194560 h 3680460"/>
                  <a:gd name="connsiteX44" fmla="*/ 2956560 w 3025140"/>
                  <a:gd name="connsiteY44" fmla="*/ 2247900 h 3680460"/>
                  <a:gd name="connsiteX45" fmla="*/ 2941320 w 3025140"/>
                  <a:gd name="connsiteY45" fmla="*/ 2324100 h 3680460"/>
                  <a:gd name="connsiteX46" fmla="*/ 2926080 w 3025140"/>
                  <a:gd name="connsiteY46" fmla="*/ 2392680 h 3680460"/>
                  <a:gd name="connsiteX47" fmla="*/ 2918460 w 3025140"/>
                  <a:gd name="connsiteY47" fmla="*/ 2415540 h 3680460"/>
                  <a:gd name="connsiteX48" fmla="*/ 2895600 w 3025140"/>
                  <a:gd name="connsiteY48" fmla="*/ 2484120 h 3680460"/>
                  <a:gd name="connsiteX49" fmla="*/ 2872740 w 3025140"/>
                  <a:gd name="connsiteY49" fmla="*/ 2583180 h 3680460"/>
                  <a:gd name="connsiteX50" fmla="*/ 2857500 w 3025140"/>
                  <a:gd name="connsiteY50" fmla="*/ 2606040 h 3680460"/>
                  <a:gd name="connsiteX51" fmla="*/ 2834640 w 3025140"/>
                  <a:gd name="connsiteY51" fmla="*/ 2689860 h 3680460"/>
                  <a:gd name="connsiteX52" fmla="*/ 2811780 w 3025140"/>
                  <a:gd name="connsiteY52" fmla="*/ 2750820 h 3680460"/>
                  <a:gd name="connsiteX53" fmla="*/ 2788920 w 3025140"/>
                  <a:gd name="connsiteY53" fmla="*/ 2781300 h 3680460"/>
                  <a:gd name="connsiteX54" fmla="*/ 2781300 w 3025140"/>
                  <a:gd name="connsiteY54" fmla="*/ 2804160 h 3680460"/>
                  <a:gd name="connsiteX55" fmla="*/ 2743200 w 3025140"/>
                  <a:gd name="connsiteY55" fmla="*/ 2865120 h 3680460"/>
                  <a:gd name="connsiteX56" fmla="*/ 2712720 w 3025140"/>
                  <a:gd name="connsiteY56" fmla="*/ 2903220 h 3680460"/>
                  <a:gd name="connsiteX57" fmla="*/ 2697480 w 3025140"/>
                  <a:gd name="connsiteY57" fmla="*/ 2933700 h 3680460"/>
                  <a:gd name="connsiteX58" fmla="*/ 2674620 w 3025140"/>
                  <a:gd name="connsiteY58" fmla="*/ 2964180 h 3680460"/>
                  <a:gd name="connsiteX59" fmla="*/ 2644140 w 3025140"/>
                  <a:gd name="connsiteY59" fmla="*/ 3009900 h 3680460"/>
                  <a:gd name="connsiteX60" fmla="*/ 2598420 w 3025140"/>
                  <a:gd name="connsiteY60" fmla="*/ 3055620 h 3680460"/>
                  <a:gd name="connsiteX61" fmla="*/ 2575560 w 3025140"/>
                  <a:gd name="connsiteY61" fmla="*/ 3078480 h 3680460"/>
                  <a:gd name="connsiteX62" fmla="*/ 2476500 w 3025140"/>
                  <a:gd name="connsiteY62" fmla="*/ 3169920 h 3680460"/>
                  <a:gd name="connsiteX63" fmla="*/ 2377440 w 3025140"/>
                  <a:gd name="connsiteY63" fmla="*/ 3223260 h 3680460"/>
                  <a:gd name="connsiteX64" fmla="*/ 2293620 w 3025140"/>
                  <a:gd name="connsiteY64" fmla="*/ 3284220 h 3680460"/>
                  <a:gd name="connsiteX65" fmla="*/ 2240280 w 3025140"/>
                  <a:gd name="connsiteY65" fmla="*/ 3314700 h 3680460"/>
                  <a:gd name="connsiteX66" fmla="*/ 2225040 w 3025140"/>
                  <a:gd name="connsiteY66" fmla="*/ 3337560 h 3680460"/>
                  <a:gd name="connsiteX67" fmla="*/ 2141220 w 3025140"/>
                  <a:gd name="connsiteY67" fmla="*/ 3390900 h 3680460"/>
                  <a:gd name="connsiteX68" fmla="*/ 2110740 w 3025140"/>
                  <a:gd name="connsiteY68" fmla="*/ 3413760 h 3680460"/>
                  <a:gd name="connsiteX69" fmla="*/ 2072640 w 3025140"/>
                  <a:gd name="connsiteY69" fmla="*/ 3451860 h 3680460"/>
                  <a:gd name="connsiteX70" fmla="*/ 2019300 w 3025140"/>
                  <a:gd name="connsiteY70" fmla="*/ 3467100 h 3680460"/>
                  <a:gd name="connsiteX71" fmla="*/ 1874520 w 3025140"/>
                  <a:gd name="connsiteY71" fmla="*/ 3512820 h 3680460"/>
                  <a:gd name="connsiteX72" fmla="*/ 1828800 w 3025140"/>
                  <a:gd name="connsiteY72" fmla="*/ 3520440 h 3680460"/>
                  <a:gd name="connsiteX73" fmla="*/ 1722120 w 3025140"/>
                  <a:gd name="connsiteY73" fmla="*/ 3550920 h 3680460"/>
                  <a:gd name="connsiteX74" fmla="*/ 1600200 w 3025140"/>
                  <a:gd name="connsiteY74" fmla="*/ 3589020 h 3680460"/>
                  <a:gd name="connsiteX75" fmla="*/ 1569720 w 3025140"/>
                  <a:gd name="connsiteY75" fmla="*/ 3596640 h 3680460"/>
                  <a:gd name="connsiteX76" fmla="*/ 1546860 w 3025140"/>
                  <a:gd name="connsiteY76" fmla="*/ 3611880 h 3680460"/>
                  <a:gd name="connsiteX77" fmla="*/ 1463040 w 3025140"/>
                  <a:gd name="connsiteY77" fmla="*/ 3627120 h 3680460"/>
                  <a:gd name="connsiteX78" fmla="*/ 1333500 w 3025140"/>
                  <a:gd name="connsiteY78" fmla="*/ 3657600 h 3680460"/>
                  <a:gd name="connsiteX79" fmla="*/ 1203960 w 3025140"/>
                  <a:gd name="connsiteY79" fmla="*/ 3672840 h 3680460"/>
                  <a:gd name="connsiteX80" fmla="*/ 1165860 w 3025140"/>
                  <a:gd name="connsiteY80" fmla="*/ 3680460 h 3680460"/>
                  <a:gd name="connsiteX81" fmla="*/ 449580 w 3025140"/>
                  <a:gd name="connsiteY81" fmla="*/ 3672840 h 3680460"/>
                  <a:gd name="connsiteX82" fmla="*/ 426720 w 3025140"/>
                  <a:gd name="connsiteY82" fmla="*/ 3665220 h 3680460"/>
                  <a:gd name="connsiteX83" fmla="*/ 388620 w 3025140"/>
                  <a:gd name="connsiteY83" fmla="*/ 3657600 h 3680460"/>
                  <a:gd name="connsiteX84" fmla="*/ 335280 w 3025140"/>
                  <a:gd name="connsiteY84" fmla="*/ 3627120 h 3680460"/>
                  <a:gd name="connsiteX85" fmla="*/ 266700 w 3025140"/>
                  <a:gd name="connsiteY85" fmla="*/ 3604260 h 3680460"/>
                  <a:gd name="connsiteX86" fmla="*/ 243840 w 3025140"/>
                  <a:gd name="connsiteY86" fmla="*/ 3589020 h 3680460"/>
                  <a:gd name="connsiteX87" fmla="*/ 160020 w 3025140"/>
                  <a:gd name="connsiteY87" fmla="*/ 3558540 h 3680460"/>
                  <a:gd name="connsiteX88" fmla="*/ 137160 w 3025140"/>
                  <a:gd name="connsiteY88" fmla="*/ 3535680 h 3680460"/>
                  <a:gd name="connsiteX89" fmla="*/ 99060 w 3025140"/>
                  <a:gd name="connsiteY89" fmla="*/ 3520440 h 3680460"/>
                  <a:gd name="connsiteX90" fmla="*/ 83820 w 3025140"/>
                  <a:gd name="connsiteY90" fmla="*/ 3489960 h 3680460"/>
                  <a:gd name="connsiteX91" fmla="*/ 45720 w 3025140"/>
                  <a:gd name="connsiteY91" fmla="*/ 3436620 h 3680460"/>
                  <a:gd name="connsiteX92" fmla="*/ 0 w 3025140"/>
                  <a:gd name="connsiteY92" fmla="*/ 3352800 h 3680460"/>
                  <a:gd name="connsiteX93" fmla="*/ 30480 w 3025140"/>
                  <a:gd name="connsiteY93" fmla="*/ 3345180 h 3680460"/>
                  <a:gd name="connsiteX94" fmla="*/ 137160 w 3025140"/>
                  <a:gd name="connsiteY94" fmla="*/ 3360420 h 3680460"/>
                  <a:gd name="connsiteX95" fmla="*/ 167640 w 3025140"/>
                  <a:gd name="connsiteY95" fmla="*/ 3390900 h 3680460"/>
                  <a:gd name="connsiteX96" fmla="*/ 198120 w 3025140"/>
                  <a:gd name="connsiteY96" fmla="*/ 3406140 h 3680460"/>
                  <a:gd name="connsiteX97" fmla="*/ 350520 w 3025140"/>
                  <a:gd name="connsiteY97" fmla="*/ 3436620 h 3680460"/>
                  <a:gd name="connsiteX98" fmla="*/ 381000 w 3025140"/>
                  <a:gd name="connsiteY98" fmla="*/ 3451860 h 3680460"/>
                  <a:gd name="connsiteX99" fmla="*/ 449580 w 3025140"/>
                  <a:gd name="connsiteY99" fmla="*/ 3489960 h 3680460"/>
                  <a:gd name="connsiteX100" fmla="*/ 495300 w 3025140"/>
                  <a:gd name="connsiteY100" fmla="*/ 3520440 h 3680460"/>
                  <a:gd name="connsiteX101" fmla="*/ 525780 w 3025140"/>
                  <a:gd name="connsiteY101" fmla="*/ 3535680 h 3680460"/>
                  <a:gd name="connsiteX102" fmla="*/ 731520 w 3025140"/>
                  <a:gd name="connsiteY102" fmla="*/ 3558540 h 3680460"/>
                  <a:gd name="connsiteX103" fmla="*/ 1341120 w 3025140"/>
                  <a:gd name="connsiteY103" fmla="*/ 3550920 h 3680460"/>
                  <a:gd name="connsiteX104" fmla="*/ 1440180 w 3025140"/>
                  <a:gd name="connsiteY104" fmla="*/ 3528060 h 3680460"/>
                  <a:gd name="connsiteX105" fmla="*/ 1539240 w 3025140"/>
                  <a:gd name="connsiteY105" fmla="*/ 3520440 h 3680460"/>
                  <a:gd name="connsiteX106" fmla="*/ 1562100 w 3025140"/>
                  <a:gd name="connsiteY106" fmla="*/ 3512820 h 3680460"/>
                  <a:gd name="connsiteX107" fmla="*/ 1630680 w 3025140"/>
                  <a:gd name="connsiteY107" fmla="*/ 3497580 h 3680460"/>
                  <a:gd name="connsiteX108" fmla="*/ 1699260 w 3025140"/>
                  <a:gd name="connsiteY108" fmla="*/ 3474720 h 3680460"/>
                  <a:gd name="connsiteX109" fmla="*/ 1790700 w 3025140"/>
                  <a:gd name="connsiteY109" fmla="*/ 3451860 h 3680460"/>
                  <a:gd name="connsiteX110" fmla="*/ 1821180 w 3025140"/>
                  <a:gd name="connsiteY110" fmla="*/ 3444240 h 3680460"/>
                  <a:gd name="connsiteX111" fmla="*/ 1844040 w 3025140"/>
                  <a:gd name="connsiteY111" fmla="*/ 3429000 h 3680460"/>
                  <a:gd name="connsiteX112" fmla="*/ 1874520 w 3025140"/>
                  <a:gd name="connsiteY112" fmla="*/ 3421380 h 3680460"/>
                  <a:gd name="connsiteX113" fmla="*/ 1927860 w 3025140"/>
                  <a:gd name="connsiteY113" fmla="*/ 3398520 h 3680460"/>
                  <a:gd name="connsiteX114" fmla="*/ 1950720 w 3025140"/>
                  <a:gd name="connsiteY114" fmla="*/ 3390900 h 3680460"/>
                  <a:gd name="connsiteX115" fmla="*/ 2004060 w 3025140"/>
                  <a:gd name="connsiteY115" fmla="*/ 3360420 h 3680460"/>
                  <a:gd name="connsiteX116" fmla="*/ 2042160 w 3025140"/>
                  <a:gd name="connsiteY116" fmla="*/ 3352800 h 3680460"/>
                  <a:gd name="connsiteX117" fmla="*/ 2080260 w 3025140"/>
                  <a:gd name="connsiteY117" fmla="*/ 3337560 h 3680460"/>
                  <a:gd name="connsiteX118" fmla="*/ 2156460 w 3025140"/>
                  <a:gd name="connsiteY118" fmla="*/ 3299460 h 3680460"/>
                  <a:gd name="connsiteX119" fmla="*/ 2179320 w 3025140"/>
                  <a:gd name="connsiteY119" fmla="*/ 3284220 h 3680460"/>
                  <a:gd name="connsiteX120" fmla="*/ 2209800 w 3025140"/>
                  <a:gd name="connsiteY120" fmla="*/ 3276600 h 3680460"/>
                  <a:gd name="connsiteX121" fmla="*/ 2263140 w 3025140"/>
                  <a:gd name="connsiteY121" fmla="*/ 3230880 h 3680460"/>
                  <a:gd name="connsiteX122" fmla="*/ 2346960 w 3025140"/>
                  <a:gd name="connsiteY122" fmla="*/ 3154680 h 3680460"/>
                  <a:gd name="connsiteX123" fmla="*/ 2400300 w 3025140"/>
                  <a:gd name="connsiteY123" fmla="*/ 3070860 h 3680460"/>
                  <a:gd name="connsiteX124" fmla="*/ 2415540 w 3025140"/>
                  <a:gd name="connsiteY124" fmla="*/ 3048000 h 3680460"/>
                  <a:gd name="connsiteX125" fmla="*/ 2446020 w 3025140"/>
                  <a:gd name="connsiteY125" fmla="*/ 3032760 h 3680460"/>
                  <a:gd name="connsiteX126" fmla="*/ 2468880 w 3025140"/>
                  <a:gd name="connsiteY126" fmla="*/ 3009900 h 3680460"/>
                  <a:gd name="connsiteX127" fmla="*/ 2537460 w 3025140"/>
                  <a:gd name="connsiteY127" fmla="*/ 2926080 h 3680460"/>
                  <a:gd name="connsiteX128" fmla="*/ 2575560 w 3025140"/>
                  <a:gd name="connsiteY128" fmla="*/ 2880360 h 3680460"/>
                  <a:gd name="connsiteX129" fmla="*/ 2628900 w 3025140"/>
                  <a:gd name="connsiteY129" fmla="*/ 2811780 h 3680460"/>
                  <a:gd name="connsiteX130" fmla="*/ 2644140 w 3025140"/>
                  <a:gd name="connsiteY130" fmla="*/ 2773680 h 3680460"/>
                  <a:gd name="connsiteX131" fmla="*/ 2674620 w 3025140"/>
                  <a:gd name="connsiteY131" fmla="*/ 2727960 h 3680460"/>
                  <a:gd name="connsiteX132" fmla="*/ 2689860 w 3025140"/>
                  <a:gd name="connsiteY132" fmla="*/ 2705100 h 3680460"/>
                  <a:gd name="connsiteX133" fmla="*/ 2705100 w 3025140"/>
                  <a:gd name="connsiteY133" fmla="*/ 2667000 h 3680460"/>
                  <a:gd name="connsiteX134" fmla="*/ 2727960 w 3025140"/>
                  <a:gd name="connsiteY134" fmla="*/ 2621280 h 3680460"/>
                  <a:gd name="connsiteX135" fmla="*/ 2735580 w 3025140"/>
                  <a:gd name="connsiteY135" fmla="*/ 2590800 h 3680460"/>
                  <a:gd name="connsiteX136" fmla="*/ 2758440 w 3025140"/>
                  <a:gd name="connsiteY136" fmla="*/ 2545080 h 3680460"/>
                  <a:gd name="connsiteX137" fmla="*/ 2788920 w 3025140"/>
                  <a:gd name="connsiteY137" fmla="*/ 2484120 h 3680460"/>
                  <a:gd name="connsiteX138" fmla="*/ 2811780 w 3025140"/>
                  <a:gd name="connsiteY138" fmla="*/ 2407920 h 3680460"/>
                  <a:gd name="connsiteX139" fmla="*/ 2842260 w 3025140"/>
                  <a:gd name="connsiteY139" fmla="*/ 2324100 h 3680460"/>
                  <a:gd name="connsiteX140" fmla="*/ 2857500 w 3025140"/>
                  <a:gd name="connsiteY140" fmla="*/ 2247900 h 3680460"/>
                  <a:gd name="connsiteX141" fmla="*/ 2872740 w 3025140"/>
                  <a:gd name="connsiteY141" fmla="*/ 2194560 h 3680460"/>
                  <a:gd name="connsiteX142" fmla="*/ 2887980 w 3025140"/>
                  <a:gd name="connsiteY142" fmla="*/ 2148840 h 3680460"/>
                  <a:gd name="connsiteX143" fmla="*/ 2910840 w 3025140"/>
                  <a:gd name="connsiteY143" fmla="*/ 2087880 h 3680460"/>
                  <a:gd name="connsiteX144" fmla="*/ 2918460 w 3025140"/>
                  <a:gd name="connsiteY144" fmla="*/ 2049780 h 3680460"/>
                  <a:gd name="connsiteX145" fmla="*/ 2933700 w 3025140"/>
                  <a:gd name="connsiteY145" fmla="*/ 1844040 h 3680460"/>
                  <a:gd name="connsiteX146" fmla="*/ 2918460 w 3025140"/>
                  <a:gd name="connsiteY146" fmla="*/ 1470660 h 3680460"/>
                  <a:gd name="connsiteX147" fmla="*/ 2895600 w 3025140"/>
                  <a:gd name="connsiteY147" fmla="*/ 1371600 h 3680460"/>
                  <a:gd name="connsiteX148" fmla="*/ 2880360 w 3025140"/>
                  <a:gd name="connsiteY148" fmla="*/ 1341120 h 3680460"/>
                  <a:gd name="connsiteX149" fmla="*/ 2857500 w 3025140"/>
                  <a:gd name="connsiteY149" fmla="*/ 1272540 h 3680460"/>
                  <a:gd name="connsiteX150" fmla="*/ 2849880 w 3025140"/>
                  <a:gd name="connsiteY150" fmla="*/ 1234440 h 3680460"/>
                  <a:gd name="connsiteX151" fmla="*/ 2827020 w 3025140"/>
                  <a:gd name="connsiteY151" fmla="*/ 1196340 h 3680460"/>
                  <a:gd name="connsiteX152" fmla="*/ 2811780 w 3025140"/>
                  <a:gd name="connsiteY152" fmla="*/ 1165860 h 3680460"/>
                  <a:gd name="connsiteX153" fmla="*/ 2781300 w 3025140"/>
                  <a:gd name="connsiteY153" fmla="*/ 1127760 h 3680460"/>
                  <a:gd name="connsiteX154" fmla="*/ 2766060 w 3025140"/>
                  <a:gd name="connsiteY154" fmla="*/ 1089660 h 3680460"/>
                  <a:gd name="connsiteX155" fmla="*/ 2735580 w 3025140"/>
                  <a:gd name="connsiteY155" fmla="*/ 1043940 h 3680460"/>
                  <a:gd name="connsiteX156" fmla="*/ 2727960 w 3025140"/>
                  <a:gd name="connsiteY156" fmla="*/ 1021080 h 3680460"/>
                  <a:gd name="connsiteX157" fmla="*/ 2682240 w 3025140"/>
                  <a:gd name="connsiteY157" fmla="*/ 937260 h 3680460"/>
                  <a:gd name="connsiteX158" fmla="*/ 2659380 w 3025140"/>
                  <a:gd name="connsiteY158" fmla="*/ 876300 h 3680460"/>
                  <a:gd name="connsiteX159" fmla="*/ 2644140 w 3025140"/>
                  <a:gd name="connsiteY159" fmla="*/ 845820 h 3680460"/>
                  <a:gd name="connsiteX160" fmla="*/ 2636520 w 3025140"/>
                  <a:gd name="connsiteY160" fmla="*/ 822960 h 3680460"/>
                  <a:gd name="connsiteX161" fmla="*/ 2621280 w 3025140"/>
                  <a:gd name="connsiteY161" fmla="*/ 800100 h 3680460"/>
                  <a:gd name="connsiteX162" fmla="*/ 2598420 w 3025140"/>
                  <a:gd name="connsiteY162" fmla="*/ 739140 h 3680460"/>
                  <a:gd name="connsiteX163" fmla="*/ 2458403 w 3025140"/>
                  <a:gd name="connsiteY163" fmla="*/ 621983 h 3680460"/>
                  <a:gd name="connsiteX164" fmla="*/ 2301240 w 3025140"/>
                  <a:gd name="connsiteY164" fmla="*/ 458152 h 3680460"/>
                  <a:gd name="connsiteX165" fmla="*/ 2237423 w 3025140"/>
                  <a:gd name="connsiteY165" fmla="*/ 406717 h 3680460"/>
                  <a:gd name="connsiteX166" fmla="*/ 2103120 w 3025140"/>
                  <a:gd name="connsiteY166" fmla="*/ 312420 h 3680460"/>
                  <a:gd name="connsiteX167" fmla="*/ 2042160 w 3025140"/>
                  <a:gd name="connsiteY167" fmla="*/ 266700 h 3680460"/>
                  <a:gd name="connsiteX168" fmla="*/ 2004060 w 3025140"/>
                  <a:gd name="connsiteY168" fmla="*/ 251460 h 3680460"/>
                  <a:gd name="connsiteX169" fmla="*/ 1958340 w 3025140"/>
                  <a:gd name="connsiteY169" fmla="*/ 220980 h 3680460"/>
                  <a:gd name="connsiteX170" fmla="*/ 1897380 w 3025140"/>
                  <a:gd name="connsiteY17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25040 w 3025140"/>
                  <a:gd name="connsiteY10" fmla="*/ 160020 h 3680460"/>
                  <a:gd name="connsiteX11" fmla="*/ 2286000 w 3025140"/>
                  <a:gd name="connsiteY11" fmla="*/ 190500 h 3680460"/>
                  <a:gd name="connsiteX12" fmla="*/ 2331720 w 3025140"/>
                  <a:gd name="connsiteY12" fmla="*/ 220980 h 3680460"/>
                  <a:gd name="connsiteX13" fmla="*/ 2385060 w 3025140"/>
                  <a:gd name="connsiteY13" fmla="*/ 266700 h 3680460"/>
                  <a:gd name="connsiteX14" fmla="*/ 2415540 w 3025140"/>
                  <a:gd name="connsiteY14" fmla="*/ 289560 h 3680460"/>
                  <a:gd name="connsiteX15" fmla="*/ 2461260 w 3025140"/>
                  <a:gd name="connsiteY15" fmla="*/ 320040 h 3680460"/>
                  <a:gd name="connsiteX16" fmla="*/ 2537460 w 3025140"/>
                  <a:gd name="connsiteY16" fmla="*/ 426720 h 3680460"/>
                  <a:gd name="connsiteX17" fmla="*/ 2552700 w 3025140"/>
                  <a:gd name="connsiteY17" fmla="*/ 449580 h 3680460"/>
                  <a:gd name="connsiteX18" fmla="*/ 2575560 w 3025140"/>
                  <a:gd name="connsiteY18" fmla="*/ 487680 h 3680460"/>
                  <a:gd name="connsiteX19" fmla="*/ 2621280 w 3025140"/>
                  <a:gd name="connsiteY19" fmla="*/ 548640 h 3680460"/>
                  <a:gd name="connsiteX20" fmla="*/ 2674620 w 3025140"/>
                  <a:gd name="connsiteY20" fmla="*/ 609600 h 3680460"/>
                  <a:gd name="connsiteX21" fmla="*/ 2727960 w 3025140"/>
                  <a:gd name="connsiteY21" fmla="*/ 678180 h 3680460"/>
                  <a:gd name="connsiteX22" fmla="*/ 2727960 w 3025140"/>
                  <a:gd name="connsiteY22" fmla="*/ 678180 h 3680460"/>
                  <a:gd name="connsiteX23" fmla="*/ 2766060 w 3025140"/>
                  <a:gd name="connsiteY23" fmla="*/ 754380 h 3680460"/>
                  <a:gd name="connsiteX24" fmla="*/ 2819400 w 3025140"/>
                  <a:gd name="connsiteY24" fmla="*/ 830580 h 3680460"/>
                  <a:gd name="connsiteX25" fmla="*/ 2834640 w 3025140"/>
                  <a:gd name="connsiteY25" fmla="*/ 853440 h 3680460"/>
                  <a:gd name="connsiteX26" fmla="*/ 2849880 w 3025140"/>
                  <a:gd name="connsiteY26" fmla="*/ 883920 h 3680460"/>
                  <a:gd name="connsiteX27" fmla="*/ 2880360 w 3025140"/>
                  <a:gd name="connsiteY27" fmla="*/ 922020 h 3680460"/>
                  <a:gd name="connsiteX28" fmla="*/ 2887980 w 3025140"/>
                  <a:gd name="connsiteY28" fmla="*/ 944880 h 3680460"/>
                  <a:gd name="connsiteX29" fmla="*/ 2903220 w 3025140"/>
                  <a:gd name="connsiteY29" fmla="*/ 967740 h 3680460"/>
                  <a:gd name="connsiteX30" fmla="*/ 2918460 w 3025140"/>
                  <a:gd name="connsiteY30" fmla="*/ 1036320 h 3680460"/>
                  <a:gd name="connsiteX31" fmla="*/ 2933700 w 3025140"/>
                  <a:gd name="connsiteY31" fmla="*/ 1074420 h 3680460"/>
                  <a:gd name="connsiteX32" fmla="*/ 2948940 w 3025140"/>
                  <a:gd name="connsiteY32" fmla="*/ 1120140 h 3680460"/>
                  <a:gd name="connsiteX33" fmla="*/ 2964180 w 3025140"/>
                  <a:gd name="connsiteY33" fmla="*/ 1203960 h 3680460"/>
                  <a:gd name="connsiteX34" fmla="*/ 2979420 w 3025140"/>
                  <a:gd name="connsiteY34" fmla="*/ 1264920 h 3680460"/>
                  <a:gd name="connsiteX35" fmla="*/ 2987040 w 3025140"/>
                  <a:gd name="connsiteY35" fmla="*/ 1318260 h 3680460"/>
                  <a:gd name="connsiteX36" fmla="*/ 2994660 w 3025140"/>
                  <a:gd name="connsiteY36" fmla="*/ 1348740 h 3680460"/>
                  <a:gd name="connsiteX37" fmla="*/ 3009900 w 3025140"/>
                  <a:gd name="connsiteY37" fmla="*/ 1432560 h 3680460"/>
                  <a:gd name="connsiteX38" fmla="*/ 3017520 w 3025140"/>
                  <a:gd name="connsiteY38" fmla="*/ 1684020 h 3680460"/>
                  <a:gd name="connsiteX39" fmla="*/ 3025140 w 3025140"/>
                  <a:gd name="connsiteY39" fmla="*/ 1744980 h 3680460"/>
                  <a:gd name="connsiteX40" fmla="*/ 3017520 w 3025140"/>
                  <a:gd name="connsiteY40" fmla="*/ 2095500 h 3680460"/>
                  <a:gd name="connsiteX41" fmla="*/ 3009900 w 3025140"/>
                  <a:gd name="connsiteY41" fmla="*/ 2125980 h 3680460"/>
                  <a:gd name="connsiteX42" fmla="*/ 2979420 w 3025140"/>
                  <a:gd name="connsiteY42" fmla="*/ 2194560 h 3680460"/>
                  <a:gd name="connsiteX43" fmla="*/ 2956560 w 3025140"/>
                  <a:gd name="connsiteY43" fmla="*/ 2247900 h 3680460"/>
                  <a:gd name="connsiteX44" fmla="*/ 2941320 w 3025140"/>
                  <a:gd name="connsiteY44" fmla="*/ 2324100 h 3680460"/>
                  <a:gd name="connsiteX45" fmla="*/ 2926080 w 3025140"/>
                  <a:gd name="connsiteY45" fmla="*/ 2392680 h 3680460"/>
                  <a:gd name="connsiteX46" fmla="*/ 2918460 w 3025140"/>
                  <a:gd name="connsiteY46" fmla="*/ 2415540 h 3680460"/>
                  <a:gd name="connsiteX47" fmla="*/ 2895600 w 3025140"/>
                  <a:gd name="connsiteY47" fmla="*/ 2484120 h 3680460"/>
                  <a:gd name="connsiteX48" fmla="*/ 2872740 w 3025140"/>
                  <a:gd name="connsiteY48" fmla="*/ 2583180 h 3680460"/>
                  <a:gd name="connsiteX49" fmla="*/ 2857500 w 3025140"/>
                  <a:gd name="connsiteY49" fmla="*/ 2606040 h 3680460"/>
                  <a:gd name="connsiteX50" fmla="*/ 2834640 w 3025140"/>
                  <a:gd name="connsiteY50" fmla="*/ 2689860 h 3680460"/>
                  <a:gd name="connsiteX51" fmla="*/ 2811780 w 3025140"/>
                  <a:gd name="connsiteY51" fmla="*/ 2750820 h 3680460"/>
                  <a:gd name="connsiteX52" fmla="*/ 2788920 w 3025140"/>
                  <a:gd name="connsiteY52" fmla="*/ 2781300 h 3680460"/>
                  <a:gd name="connsiteX53" fmla="*/ 2781300 w 3025140"/>
                  <a:gd name="connsiteY53" fmla="*/ 2804160 h 3680460"/>
                  <a:gd name="connsiteX54" fmla="*/ 2743200 w 3025140"/>
                  <a:gd name="connsiteY54" fmla="*/ 2865120 h 3680460"/>
                  <a:gd name="connsiteX55" fmla="*/ 2712720 w 3025140"/>
                  <a:gd name="connsiteY55" fmla="*/ 2903220 h 3680460"/>
                  <a:gd name="connsiteX56" fmla="*/ 2697480 w 3025140"/>
                  <a:gd name="connsiteY56" fmla="*/ 2933700 h 3680460"/>
                  <a:gd name="connsiteX57" fmla="*/ 2674620 w 3025140"/>
                  <a:gd name="connsiteY57" fmla="*/ 2964180 h 3680460"/>
                  <a:gd name="connsiteX58" fmla="*/ 2644140 w 3025140"/>
                  <a:gd name="connsiteY58" fmla="*/ 3009900 h 3680460"/>
                  <a:gd name="connsiteX59" fmla="*/ 2598420 w 3025140"/>
                  <a:gd name="connsiteY59" fmla="*/ 3055620 h 3680460"/>
                  <a:gd name="connsiteX60" fmla="*/ 2575560 w 3025140"/>
                  <a:gd name="connsiteY60" fmla="*/ 3078480 h 3680460"/>
                  <a:gd name="connsiteX61" fmla="*/ 2476500 w 3025140"/>
                  <a:gd name="connsiteY61" fmla="*/ 3169920 h 3680460"/>
                  <a:gd name="connsiteX62" fmla="*/ 2377440 w 3025140"/>
                  <a:gd name="connsiteY62" fmla="*/ 3223260 h 3680460"/>
                  <a:gd name="connsiteX63" fmla="*/ 2293620 w 3025140"/>
                  <a:gd name="connsiteY63" fmla="*/ 3284220 h 3680460"/>
                  <a:gd name="connsiteX64" fmla="*/ 2240280 w 3025140"/>
                  <a:gd name="connsiteY64" fmla="*/ 3314700 h 3680460"/>
                  <a:gd name="connsiteX65" fmla="*/ 2225040 w 3025140"/>
                  <a:gd name="connsiteY65" fmla="*/ 3337560 h 3680460"/>
                  <a:gd name="connsiteX66" fmla="*/ 2141220 w 3025140"/>
                  <a:gd name="connsiteY66" fmla="*/ 3390900 h 3680460"/>
                  <a:gd name="connsiteX67" fmla="*/ 2110740 w 3025140"/>
                  <a:gd name="connsiteY67" fmla="*/ 3413760 h 3680460"/>
                  <a:gd name="connsiteX68" fmla="*/ 2072640 w 3025140"/>
                  <a:gd name="connsiteY68" fmla="*/ 3451860 h 3680460"/>
                  <a:gd name="connsiteX69" fmla="*/ 2019300 w 3025140"/>
                  <a:gd name="connsiteY69" fmla="*/ 3467100 h 3680460"/>
                  <a:gd name="connsiteX70" fmla="*/ 1874520 w 3025140"/>
                  <a:gd name="connsiteY70" fmla="*/ 3512820 h 3680460"/>
                  <a:gd name="connsiteX71" fmla="*/ 1828800 w 3025140"/>
                  <a:gd name="connsiteY71" fmla="*/ 3520440 h 3680460"/>
                  <a:gd name="connsiteX72" fmla="*/ 1722120 w 3025140"/>
                  <a:gd name="connsiteY72" fmla="*/ 3550920 h 3680460"/>
                  <a:gd name="connsiteX73" fmla="*/ 1600200 w 3025140"/>
                  <a:gd name="connsiteY73" fmla="*/ 3589020 h 3680460"/>
                  <a:gd name="connsiteX74" fmla="*/ 1569720 w 3025140"/>
                  <a:gd name="connsiteY74" fmla="*/ 3596640 h 3680460"/>
                  <a:gd name="connsiteX75" fmla="*/ 1546860 w 3025140"/>
                  <a:gd name="connsiteY75" fmla="*/ 3611880 h 3680460"/>
                  <a:gd name="connsiteX76" fmla="*/ 1463040 w 3025140"/>
                  <a:gd name="connsiteY76" fmla="*/ 3627120 h 3680460"/>
                  <a:gd name="connsiteX77" fmla="*/ 1333500 w 3025140"/>
                  <a:gd name="connsiteY77" fmla="*/ 3657600 h 3680460"/>
                  <a:gd name="connsiteX78" fmla="*/ 1203960 w 3025140"/>
                  <a:gd name="connsiteY78" fmla="*/ 3672840 h 3680460"/>
                  <a:gd name="connsiteX79" fmla="*/ 1165860 w 3025140"/>
                  <a:gd name="connsiteY79" fmla="*/ 3680460 h 3680460"/>
                  <a:gd name="connsiteX80" fmla="*/ 449580 w 3025140"/>
                  <a:gd name="connsiteY80" fmla="*/ 3672840 h 3680460"/>
                  <a:gd name="connsiteX81" fmla="*/ 426720 w 3025140"/>
                  <a:gd name="connsiteY81" fmla="*/ 3665220 h 3680460"/>
                  <a:gd name="connsiteX82" fmla="*/ 388620 w 3025140"/>
                  <a:gd name="connsiteY82" fmla="*/ 3657600 h 3680460"/>
                  <a:gd name="connsiteX83" fmla="*/ 335280 w 3025140"/>
                  <a:gd name="connsiteY83" fmla="*/ 3627120 h 3680460"/>
                  <a:gd name="connsiteX84" fmla="*/ 266700 w 3025140"/>
                  <a:gd name="connsiteY84" fmla="*/ 3604260 h 3680460"/>
                  <a:gd name="connsiteX85" fmla="*/ 243840 w 3025140"/>
                  <a:gd name="connsiteY85" fmla="*/ 3589020 h 3680460"/>
                  <a:gd name="connsiteX86" fmla="*/ 160020 w 3025140"/>
                  <a:gd name="connsiteY86" fmla="*/ 3558540 h 3680460"/>
                  <a:gd name="connsiteX87" fmla="*/ 137160 w 3025140"/>
                  <a:gd name="connsiteY87" fmla="*/ 3535680 h 3680460"/>
                  <a:gd name="connsiteX88" fmla="*/ 99060 w 3025140"/>
                  <a:gd name="connsiteY88" fmla="*/ 3520440 h 3680460"/>
                  <a:gd name="connsiteX89" fmla="*/ 83820 w 3025140"/>
                  <a:gd name="connsiteY89" fmla="*/ 3489960 h 3680460"/>
                  <a:gd name="connsiteX90" fmla="*/ 45720 w 3025140"/>
                  <a:gd name="connsiteY90" fmla="*/ 3436620 h 3680460"/>
                  <a:gd name="connsiteX91" fmla="*/ 0 w 3025140"/>
                  <a:gd name="connsiteY91" fmla="*/ 3352800 h 3680460"/>
                  <a:gd name="connsiteX92" fmla="*/ 30480 w 3025140"/>
                  <a:gd name="connsiteY92" fmla="*/ 3345180 h 3680460"/>
                  <a:gd name="connsiteX93" fmla="*/ 137160 w 3025140"/>
                  <a:gd name="connsiteY93" fmla="*/ 3360420 h 3680460"/>
                  <a:gd name="connsiteX94" fmla="*/ 167640 w 3025140"/>
                  <a:gd name="connsiteY94" fmla="*/ 3390900 h 3680460"/>
                  <a:gd name="connsiteX95" fmla="*/ 198120 w 3025140"/>
                  <a:gd name="connsiteY95" fmla="*/ 3406140 h 3680460"/>
                  <a:gd name="connsiteX96" fmla="*/ 350520 w 3025140"/>
                  <a:gd name="connsiteY96" fmla="*/ 3436620 h 3680460"/>
                  <a:gd name="connsiteX97" fmla="*/ 381000 w 3025140"/>
                  <a:gd name="connsiteY97" fmla="*/ 3451860 h 3680460"/>
                  <a:gd name="connsiteX98" fmla="*/ 449580 w 3025140"/>
                  <a:gd name="connsiteY98" fmla="*/ 3489960 h 3680460"/>
                  <a:gd name="connsiteX99" fmla="*/ 495300 w 3025140"/>
                  <a:gd name="connsiteY99" fmla="*/ 3520440 h 3680460"/>
                  <a:gd name="connsiteX100" fmla="*/ 525780 w 3025140"/>
                  <a:gd name="connsiteY100" fmla="*/ 3535680 h 3680460"/>
                  <a:gd name="connsiteX101" fmla="*/ 731520 w 3025140"/>
                  <a:gd name="connsiteY101" fmla="*/ 3558540 h 3680460"/>
                  <a:gd name="connsiteX102" fmla="*/ 1341120 w 3025140"/>
                  <a:gd name="connsiteY102" fmla="*/ 3550920 h 3680460"/>
                  <a:gd name="connsiteX103" fmla="*/ 1440180 w 3025140"/>
                  <a:gd name="connsiteY103" fmla="*/ 3528060 h 3680460"/>
                  <a:gd name="connsiteX104" fmla="*/ 1539240 w 3025140"/>
                  <a:gd name="connsiteY104" fmla="*/ 3520440 h 3680460"/>
                  <a:gd name="connsiteX105" fmla="*/ 1562100 w 3025140"/>
                  <a:gd name="connsiteY105" fmla="*/ 3512820 h 3680460"/>
                  <a:gd name="connsiteX106" fmla="*/ 1630680 w 3025140"/>
                  <a:gd name="connsiteY106" fmla="*/ 3497580 h 3680460"/>
                  <a:gd name="connsiteX107" fmla="*/ 1699260 w 3025140"/>
                  <a:gd name="connsiteY107" fmla="*/ 3474720 h 3680460"/>
                  <a:gd name="connsiteX108" fmla="*/ 1790700 w 3025140"/>
                  <a:gd name="connsiteY108" fmla="*/ 3451860 h 3680460"/>
                  <a:gd name="connsiteX109" fmla="*/ 1821180 w 3025140"/>
                  <a:gd name="connsiteY109" fmla="*/ 3444240 h 3680460"/>
                  <a:gd name="connsiteX110" fmla="*/ 1844040 w 3025140"/>
                  <a:gd name="connsiteY110" fmla="*/ 3429000 h 3680460"/>
                  <a:gd name="connsiteX111" fmla="*/ 1874520 w 3025140"/>
                  <a:gd name="connsiteY111" fmla="*/ 3421380 h 3680460"/>
                  <a:gd name="connsiteX112" fmla="*/ 1927860 w 3025140"/>
                  <a:gd name="connsiteY112" fmla="*/ 3398520 h 3680460"/>
                  <a:gd name="connsiteX113" fmla="*/ 1950720 w 3025140"/>
                  <a:gd name="connsiteY113" fmla="*/ 3390900 h 3680460"/>
                  <a:gd name="connsiteX114" fmla="*/ 2004060 w 3025140"/>
                  <a:gd name="connsiteY114" fmla="*/ 3360420 h 3680460"/>
                  <a:gd name="connsiteX115" fmla="*/ 2042160 w 3025140"/>
                  <a:gd name="connsiteY115" fmla="*/ 3352800 h 3680460"/>
                  <a:gd name="connsiteX116" fmla="*/ 2080260 w 3025140"/>
                  <a:gd name="connsiteY116" fmla="*/ 3337560 h 3680460"/>
                  <a:gd name="connsiteX117" fmla="*/ 2156460 w 3025140"/>
                  <a:gd name="connsiteY117" fmla="*/ 3299460 h 3680460"/>
                  <a:gd name="connsiteX118" fmla="*/ 2179320 w 3025140"/>
                  <a:gd name="connsiteY118" fmla="*/ 3284220 h 3680460"/>
                  <a:gd name="connsiteX119" fmla="*/ 2209800 w 3025140"/>
                  <a:gd name="connsiteY119" fmla="*/ 3276600 h 3680460"/>
                  <a:gd name="connsiteX120" fmla="*/ 2263140 w 3025140"/>
                  <a:gd name="connsiteY120" fmla="*/ 3230880 h 3680460"/>
                  <a:gd name="connsiteX121" fmla="*/ 2346960 w 3025140"/>
                  <a:gd name="connsiteY121" fmla="*/ 3154680 h 3680460"/>
                  <a:gd name="connsiteX122" fmla="*/ 2400300 w 3025140"/>
                  <a:gd name="connsiteY122" fmla="*/ 3070860 h 3680460"/>
                  <a:gd name="connsiteX123" fmla="*/ 2415540 w 3025140"/>
                  <a:gd name="connsiteY123" fmla="*/ 3048000 h 3680460"/>
                  <a:gd name="connsiteX124" fmla="*/ 2446020 w 3025140"/>
                  <a:gd name="connsiteY124" fmla="*/ 3032760 h 3680460"/>
                  <a:gd name="connsiteX125" fmla="*/ 2468880 w 3025140"/>
                  <a:gd name="connsiteY125" fmla="*/ 3009900 h 3680460"/>
                  <a:gd name="connsiteX126" fmla="*/ 2537460 w 3025140"/>
                  <a:gd name="connsiteY126" fmla="*/ 2926080 h 3680460"/>
                  <a:gd name="connsiteX127" fmla="*/ 2575560 w 3025140"/>
                  <a:gd name="connsiteY127" fmla="*/ 2880360 h 3680460"/>
                  <a:gd name="connsiteX128" fmla="*/ 2628900 w 3025140"/>
                  <a:gd name="connsiteY128" fmla="*/ 2811780 h 3680460"/>
                  <a:gd name="connsiteX129" fmla="*/ 2644140 w 3025140"/>
                  <a:gd name="connsiteY129" fmla="*/ 2773680 h 3680460"/>
                  <a:gd name="connsiteX130" fmla="*/ 2674620 w 3025140"/>
                  <a:gd name="connsiteY130" fmla="*/ 2727960 h 3680460"/>
                  <a:gd name="connsiteX131" fmla="*/ 2689860 w 3025140"/>
                  <a:gd name="connsiteY131" fmla="*/ 2705100 h 3680460"/>
                  <a:gd name="connsiteX132" fmla="*/ 2705100 w 3025140"/>
                  <a:gd name="connsiteY132" fmla="*/ 2667000 h 3680460"/>
                  <a:gd name="connsiteX133" fmla="*/ 2727960 w 3025140"/>
                  <a:gd name="connsiteY133" fmla="*/ 2621280 h 3680460"/>
                  <a:gd name="connsiteX134" fmla="*/ 2735580 w 3025140"/>
                  <a:gd name="connsiteY134" fmla="*/ 2590800 h 3680460"/>
                  <a:gd name="connsiteX135" fmla="*/ 2758440 w 3025140"/>
                  <a:gd name="connsiteY135" fmla="*/ 2545080 h 3680460"/>
                  <a:gd name="connsiteX136" fmla="*/ 2788920 w 3025140"/>
                  <a:gd name="connsiteY136" fmla="*/ 2484120 h 3680460"/>
                  <a:gd name="connsiteX137" fmla="*/ 2811780 w 3025140"/>
                  <a:gd name="connsiteY137" fmla="*/ 2407920 h 3680460"/>
                  <a:gd name="connsiteX138" fmla="*/ 2842260 w 3025140"/>
                  <a:gd name="connsiteY138" fmla="*/ 2324100 h 3680460"/>
                  <a:gd name="connsiteX139" fmla="*/ 2857500 w 3025140"/>
                  <a:gd name="connsiteY139" fmla="*/ 2247900 h 3680460"/>
                  <a:gd name="connsiteX140" fmla="*/ 2872740 w 3025140"/>
                  <a:gd name="connsiteY140" fmla="*/ 2194560 h 3680460"/>
                  <a:gd name="connsiteX141" fmla="*/ 2887980 w 3025140"/>
                  <a:gd name="connsiteY141" fmla="*/ 2148840 h 3680460"/>
                  <a:gd name="connsiteX142" fmla="*/ 2910840 w 3025140"/>
                  <a:gd name="connsiteY142" fmla="*/ 2087880 h 3680460"/>
                  <a:gd name="connsiteX143" fmla="*/ 2918460 w 3025140"/>
                  <a:gd name="connsiteY143" fmla="*/ 2049780 h 3680460"/>
                  <a:gd name="connsiteX144" fmla="*/ 2933700 w 3025140"/>
                  <a:gd name="connsiteY144" fmla="*/ 1844040 h 3680460"/>
                  <a:gd name="connsiteX145" fmla="*/ 2918460 w 3025140"/>
                  <a:gd name="connsiteY145" fmla="*/ 1470660 h 3680460"/>
                  <a:gd name="connsiteX146" fmla="*/ 2895600 w 3025140"/>
                  <a:gd name="connsiteY146" fmla="*/ 1371600 h 3680460"/>
                  <a:gd name="connsiteX147" fmla="*/ 2880360 w 3025140"/>
                  <a:gd name="connsiteY147" fmla="*/ 1341120 h 3680460"/>
                  <a:gd name="connsiteX148" fmla="*/ 2857500 w 3025140"/>
                  <a:gd name="connsiteY148" fmla="*/ 1272540 h 3680460"/>
                  <a:gd name="connsiteX149" fmla="*/ 2849880 w 3025140"/>
                  <a:gd name="connsiteY149" fmla="*/ 1234440 h 3680460"/>
                  <a:gd name="connsiteX150" fmla="*/ 2827020 w 3025140"/>
                  <a:gd name="connsiteY150" fmla="*/ 1196340 h 3680460"/>
                  <a:gd name="connsiteX151" fmla="*/ 2811780 w 3025140"/>
                  <a:gd name="connsiteY151" fmla="*/ 1165860 h 3680460"/>
                  <a:gd name="connsiteX152" fmla="*/ 2781300 w 3025140"/>
                  <a:gd name="connsiteY152" fmla="*/ 1127760 h 3680460"/>
                  <a:gd name="connsiteX153" fmla="*/ 2766060 w 3025140"/>
                  <a:gd name="connsiteY153" fmla="*/ 1089660 h 3680460"/>
                  <a:gd name="connsiteX154" fmla="*/ 2735580 w 3025140"/>
                  <a:gd name="connsiteY154" fmla="*/ 1043940 h 3680460"/>
                  <a:gd name="connsiteX155" fmla="*/ 2727960 w 3025140"/>
                  <a:gd name="connsiteY155" fmla="*/ 1021080 h 3680460"/>
                  <a:gd name="connsiteX156" fmla="*/ 2682240 w 3025140"/>
                  <a:gd name="connsiteY156" fmla="*/ 937260 h 3680460"/>
                  <a:gd name="connsiteX157" fmla="*/ 2659380 w 3025140"/>
                  <a:gd name="connsiteY157" fmla="*/ 876300 h 3680460"/>
                  <a:gd name="connsiteX158" fmla="*/ 2644140 w 3025140"/>
                  <a:gd name="connsiteY158" fmla="*/ 845820 h 3680460"/>
                  <a:gd name="connsiteX159" fmla="*/ 2636520 w 3025140"/>
                  <a:gd name="connsiteY159" fmla="*/ 822960 h 3680460"/>
                  <a:gd name="connsiteX160" fmla="*/ 2621280 w 3025140"/>
                  <a:gd name="connsiteY160" fmla="*/ 800100 h 3680460"/>
                  <a:gd name="connsiteX161" fmla="*/ 2598420 w 3025140"/>
                  <a:gd name="connsiteY161" fmla="*/ 739140 h 3680460"/>
                  <a:gd name="connsiteX162" fmla="*/ 2458403 w 3025140"/>
                  <a:gd name="connsiteY162" fmla="*/ 621983 h 3680460"/>
                  <a:gd name="connsiteX163" fmla="*/ 2301240 w 3025140"/>
                  <a:gd name="connsiteY163" fmla="*/ 458152 h 3680460"/>
                  <a:gd name="connsiteX164" fmla="*/ 2237423 w 3025140"/>
                  <a:gd name="connsiteY164" fmla="*/ 406717 h 3680460"/>
                  <a:gd name="connsiteX165" fmla="*/ 2103120 w 3025140"/>
                  <a:gd name="connsiteY165" fmla="*/ 312420 h 3680460"/>
                  <a:gd name="connsiteX166" fmla="*/ 2042160 w 3025140"/>
                  <a:gd name="connsiteY166" fmla="*/ 266700 h 3680460"/>
                  <a:gd name="connsiteX167" fmla="*/ 2004060 w 3025140"/>
                  <a:gd name="connsiteY167" fmla="*/ 251460 h 3680460"/>
                  <a:gd name="connsiteX168" fmla="*/ 1958340 w 3025140"/>
                  <a:gd name="connsiteY168" fmla="*/ 220980 h 3680460"/>
                  <a:gd name="connsiteX169" fmla="*/ 1897380 w 3025140"/>
                  <a:gd name="connsiteY169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15540 w 3025140"/>
                  <a:gd name="connsiteY13" fmla="*/ 289560 h 3680460"/>
                  <a:gd name="connsiteX14" fmla="*/ 2461260 w 3025140"/>
                  <a:gd name="connsiteY14" fmla="*/ 320040 h 3680460"/>
                  <a:gd name="connsiteX15" fmla="*/ 2537460 w 3025140"/>
                  <a:gd name="connsiteY15" fmla="*/ 426720 h 3680460"/>
                  <a:gd name="connsiteX16" fmla="*/ 2552700 w 3025140"/>
                  <a:gd name="connsiteY16" fmla="*/ 449580 h 3680460"/>
                  <a:gd name="connsiteX17" fmla="*/ 2575560 w 3025140"/>
                  <a:gd name="connsiteY17" fmla="*/ 487680 h 3680460"/>
                  <a:gd name="connsiteX18" fmla="*/ 2621280 w 3025140"/>
                  <a:gd name="connsiteY18" fmla="*/ 548640 h 3680460"/>
                  <a:gd name="connsiteX19" fmla="*/ 2674620 w 3025140"/>
                  <a:gd name="connsiteY19" fmla="*/ 609600 h 3680460"/>
                  <a:gd name="connsiteX20" fmla="*/ 2727960 w 3025140"/>
                  <a:gd name="connsiteY20" fmla="*/ 678180 h 3680460"/>
                  <a:gd name="connsiteX21" fmla="*/ 2727960 w 3025140"/>
                  <a:gd name="connsiteY21" fmla="*/ 678180 h 3680460"/>
                  <a:gd name="connsiteX22" fmla="*/ 2766060 w 3025140"/>
                  <a:gd name="connsiteY22" fmla="*/ 754380 h 3680460"/>
                  <a:gd name="connsiteX23" fmla="*/ 2819400 w 3025140"/>
                  <a:gd name="connsiteY23" fmla="*/ 830580 h 3680460"/>
                  <a:gd name="connsiteX24" fmla="*/ 2834640 w 3025140"/>
                  <a:gd name="connsiteY24" fmla="*/ 853440 h 3680460"/>
                  <a:gd name="connsiteX25" fmla="*/ 2849880 w 3025140"/>
                  <a:gd name="connsiteY25" fmla="*/ 883920 h 3680460"/>
                  <a:gd name="connsiteX26" fmla="*/ 2880360 w 3025140"/>
                  <a:gd name="connsiteY26" fmla="*/ 922020 h 3680460"/>
                  <a:gd name="connsiteX27" fmla="*/ 2887980 w 3025140"/>
                  <a:gd name="connsiteY27" fmla="*/ 944880 h 3680460"/>
                  <a:gd name="connsiteX28" fmla="*/ 2903220 w 3025140"/>
                  <a:gd name="connsiteY28" fmla="*/ 967740 h 3680460"/>
                  <a:gd name="connsiteX29" fmla="*/ 2918460 w 3025140"/>
                  <a:gd name="connsiteY29" fmla="*/ 1036320 h 3680460"/>
                  <a:gd name="connsiteX30" fmla="*/ 2933700 w 3025140"/>
                  <a:gd name="connsiteY30" fmla="*/ 1074420 h 3680460"/>
                  <a:gd name="connsiteX31" fmla="*/ 2948940 w 3025140"/>
                  <a:gd name="connsiteY31" fmla="*/ 1120140 h 3680460"/>
                  <a:gd name="connsiteX32" fmla="*/ 2964180 w 3025140"/>
                  <a:gd name="connsiteY32" fmla="*/ 1203960 h 3680460"/>
                  <a:gd name="connsiteX33" fmla="*/ 2979420 w 3025140"/>
                  <a:gd name="connsiteY33" fmla="*/ 1264920 h 3680460"/>
                  <a:gd name="connsiteX34" fmla="*/ 2987040 w 3025140"/>
                  <a:gd name="connsiteY34" fmla="*/ 1318260 h 3680460"/>
                  <a:gd name="connsiteX35" fmla="*/ 2994660 w 3025140"/>
                  <a:gd name="connsiteY35" fmla="*/ 1348740 h 3680460"/>
                  <a:gd name="connsiteX36" fmla="*/ 3009900 w 3025140"/>
                  <a:gd name="connsiteY36" fmla="*/ 1432560 h 3680460"/>
                  <a:gd name="connsiteX37" fmla="*/ 3017520 w 3025140"/>
                  <a:gd name="connsiteY37" fmla="*/ 1684020 h 3680460"/>
                  <a:gd name="connsiteX38" fmla="*/ 3025140 w 3025140"/>
                  <a:gd name="connsiteY38" fmla="*/ 1744980 h 3680460"/>
                  <a:gd name="connsiteX39" fmla="*/ 3017520 w 3025140"/>
                  <a:gd name="connsiteY39" fmla="*/ 2095500 h 3680460"/>
                  <a:gd name="connsiteX40" fmla="*/ 3009900 w 3025140"/>
                  <a:gd name="connsiteY40" fmla="*/ 2125980 h 3680460"/>
                  <a:gd name="connsiteX41" fmla="*/ 2979420 w 3025140"/>
                  <a:gd name="connsiteY41" fmla="*/ 2194560 h 3680460"/>
                  <a:gd name="connsiteX42" fmla="*/ 2956560 w 3025140"/>
                  <a:gd name="connsiteY42" fmla="*/ 2247900 h 3680460"/>
                  <a:gd name="connsiteX43" fmla="*/ 2941320 w 3025140"/>
                  <a:gd name="connsiteY43" fmla="*/ 2324100 h 3680460"/>
                  <a:gd name="connsiteX44" fmla="*/ 2926080 w 3025140"/>
                  <a:gd name="connsiteY44" fmla="*/ 2392680 h 3680460"/>
                  <a:gd name="connsiteX45" fmla="*/ 2918460 w 3025140"/>
                  <a:gd name="connsiteY45" fmla="*/ 2415540 h 3680460"/>
                  <a:gd name="connsiteX46" fmla="*/ 2895600 w 3025140"/>
                  <a:gd name="connsiteY46" fmla="*/ 2484120 h 3680460"/>
                  <a:gd name="connsiteX47" fmla="*/ 2872740 w 3025140"/>
                  <a:gd name="connsiteY47" fmla="*/ 2583180 h 3680460"/>
                  <a:gd name="connsiteX48" fmla="*/ 2857500 w 3025140"/>
                  <a:gd name="connsiteY48" fmla="*/ 2606040 h 3680460"/>
                  <a:gd name="connsiteX49" fmla="*/ 2834640 w 3025140"/>
                  <a:gd name="connsiteY49" fmla="*/ 2689860 h 3680460"/>
                  <a:gd name="connsiteX50" fmla="*/ 2811780 w 3025140"/>
                  <a:gd name="connsiteY50" fmla="*/ 2750820 h 3680460"/>
                  <a:gd name="connsiteX51" fmla="*/ 2788920 w 3025140"/>
                  <a:gd name="connsiteY51" fmla="*/ 2781300 h 3680460"/>
                  <a:gd name="connsiteX52" fmla="*/ 2781300 w 3025140"/>
                  <a:gd name="connsiteY52" fmla="*/ 2804160 h 3680460"/>
                  <a:gd name="connsiteX53" fmla="*/ 2743200 w 3025140"/>
                  <a:gd name="connsiteY53" fmla="*/ 2865120 h 3680460"/>
                  <a:gd name="connsiteX54" fmla="*/ 2712720 w 3025140"/>
                  <a:gd name="connsiteY54" fmla="*/ 2903220 h 3680460"/>
                  <a:gd name="connsiteX55" fmla="*/ 2697480 w 3025140"/>
                  <a:gd name="connsiteY55" fmla="*/ 2933700 h 3680460"/>
                  <a:gd name="connsiteX56" fmla="*/ 2674620 w 3025140"/>
                  <a:gd name="connsiteY56" fmla="*/ 2964180 h 3680460"/>
                  <a:gd name="connsiteX57" fmla="*/ 2644140 w 3025140"/>
                  <a:gd name="connsiteY57" fmla="*/ 3009900 h 3680460"/>
                  <a:gd name="connsiteX58" fmla="*/ 2598420 w 3025140"/>
                  <a:gd name="connsiteY58" fmla="*/ 3055620 h 3680460"/>
                  <a:gd name="connsiteX59" fmla="*/ 2575560 w 3025140"/>
                  <a:gd name="connsiteY59" fmla="*/ 3078480 h 3680460"/>
                  <a:gd name="connsiteX60" fmla="*/ 2476500 w 3025140"/>
                  <a:gd name="connsiteY60" fmla="*/ 3169920 h 3680460"/>
                  <a:gd name="connsiteX61" fmla="*/ 2377440 w 3025140"/>
                  <a:gd name="connsiteY61" fmla="*/ 3223260 h 3680460"/>
                  <a:gd name="connsiteX62" fmla="*/ 2293620 w 3025140"/>
                  <a:gd name="connsiteY62" fmla="*/ 3284220 h 3680460"/>
                  <a:gd name="connsiteX63" fmla="*/ 2240280 w 3025140"/>
                  <a:gd name="connsiteY63" fmla="*/ 3314700 h 3680460"/>
                  <a:gd name="connsiteX64" fmla="*/ 2225040 w 3025140"/>
                  <a:gd name="connsiteY64" fmla="*/ 3337560 h 3680460"/>
                  <a:gd name="connsiteX65" fmla="*/ 2141220 w 3025140"/>
                  <a:gd name="connsiteY65" fmla="*/ 3390900 h 3680460"/>
                  <a:gd name="connsiteX66" fmla="*/ 2110740 w 3025140"/>
                  <a:gd name="connsiteY66" fmla="*/ 3413760 h 3680460"/>
                  <a:gd name="connsiteX67" fmla="*/ 2072640 w 3025140"/>
                  <a:gd name="connsiteY67" fmla="*/ 3451860 h 3680460"/>
                  <a:gd name="connsiteX68" fmla="*/ 2019300 w 3025140"/>
                  <a:gd name="connsiteY68" fmla="*/ 3467100 h 3680460"/>
                  <a:gd name="connsiteX69" fmla="*/ 1874520 w 3025140"/>
                  <a:gd name="connsiteY69" fmla="*/ 3512820 h 3680460"/>
                  <a:gd name="connsiteX70" fmla="*/ 1828800 w 3025140"/>
                  <a:gd name="connsiteY70" fmla="*/ 3520440 h 3680460"/>
                  <a:gd name="connsiteX71" fmla="*/ 1722120 w 3025140"/>
                  <a:gd name="connsiteY71" fmla="*/ 3550920 h 3680460"/>
                  <a:gd name="connsiteX72" fmla="*/ 1600200 w 3025140"/>
                  <a:gd name="connsiteY72" fmla="*/ 3589020 h 3680460"/>
                  <a:gd name="connsiteX73" fmla="*/ 1569720 w 3025140"/>
                  <a:gd name="connsiteY73" fmla="*/ 3596640 h 3680460"/>
                  <a:gd name="connsiteX74" fmla="*/ 1546860 w 3025140"/>
                  <a:gd name="connsiteY74" fmla="*/ 3611880 h 3680460"/>
                  <a:gd name="connsiteX75" fmla="*/ 1463040 w 3025140"/>
                  <a:gd name="connsiteY75" fmla="*/ 3627120 h 3680460"/>
                  <a:gd name="connsiteX76" fmla="*/ 1333500 w 3025140"/>
                  <a:gd name="connsiteY76" fmla="*/ 3657600 h 3680460"/>
                  <a:gd name="connsiteX77" fmla="*/ 1203960 w 3025140"/>
                  <a:gd name="connsiteY77" fmla="*/ 3672840 h 3680460"/>
                  <a:gd name="connsiteX78" fmla="*/ 1165860 w 3025140"/>
                  <a:gd name="connsiteY78" fmla="*/ 3680460 h 3680460"/>
                  <a:gd name="connsiteX79" fmla="*/ 449580 w 3025140"/>
                  <a:gd name="connsiteY79" fmla="*/ 3672840 h 3680460"/>
                  <a:gd name="connsiteX80" fmla="*/ 426720 w 3025140"/>
                  <a:gd name="connsiteY80" fmla="*/ 3665220 h 3680460"/>
                  <a:gd name="connsiteX81" fmla="*/ 388620 w 3025140"/>
                  <a:gd name="connsiteY81" fmla="*/ 3657600 h 3680460"/>
                  <a:gd name="connsiteX82" fmla="*/ 335280 w 3025140"/>
                  <a:gd name="connsiteY82" fmla="*/ 3627120 h 3680460"/>
                  <a:gd name="connsiteX83" fmla="*/ 266700 w 3025140"/>
                  <a:gd name="connsiteY83" fmla="*/ 3604260 h 3680460"/>
                  <a:gd name="connsiteX84" fmla="*/ 243840 w 3025140"/>
                  <a:gd name="connsiteY84" fmla="*/ 3589020 h 3680460"/>
                  <a:gd name="connsiteX85" fmla="*/ 160020 w 3025140"/>
                  <a:gd name="connsiteY85" fmla="*/ 3558540 h 3680460"/>
                  <a:gd name="connsiteX86" fmla="*/ 137160 w 3025140"/>
                  <a:gd name="connsiteY86" fmla="*/ 3535680 h 3680460"/>
                  <a:gd name="connsiteX87" fmla="*/ 99060 w 3025140"/>
                  <a:gd name="connsiteY87" fmla="*/ 3520440 h 3680460"/>
                  <a:gd name="connsiteX88" fmla="*/ 83820 w 3025140"/>
                  <a:gd name="connsiteY88" fmla="*/ 3489960 h 3680460"/>
                  <a:gd name="connsiteX89" fmla="*/ 45720 w 3025140"/>
                  <a:gd name="connsiteY89" fmla="*/ 3436620 h 3680460"/>
                  <a:gd name="connsiteX90" fmla="*/ 0 w 3025140"/>
                  <a:gd name="connsiteY90" fmla="*/ 3352800 h 3680460"/>
                  <a:gd name="connsiteX91" fmla="*/ 30480 w 3025140"/>
                  <a:gd name="connsiteY91" fmla="*/ 3345180 h 3680460"/>
                  <a:gd name="connsiteX92" fmla="*/ 137160 w 3025140"/>
                  <a:gd name="connsiteY92" fmla="*/ 3360420 h 3680460"/>
                  <a:gd name="connsiteX93" fmla="*/ 167640 w 3025140"/>
                  <a:gd name="connsiteY93" fmla="*/ 3390900 h 3680460"/>
                  <a:gd name="connsiteX94" fmla="*/ 198120 w 3025140"/>
                  <a:gd name="connsiteY94" fmla="*/ 3406140 h 3680460"/>
                  <a:gd name="connsiteX95" fmla="*/ 350520 w 3025140"/>
                  <a:gd name="connsiteY95" fmla="*/ 3436620 h 3680460"/>
                  <a:gd name="connsiteX96" fmla="*/ 381000 w 3025140"/>
                  <a:gd name="connsiteY96" fmla="*/ 3451860 h 3680460"/>
                  <a:gd name="connsiteX97" fmla="*/ 449580 w 3025140"/>
                  <a:gd name="connsiteY97" fmla="*/ 3489960 h 3680460"/>
                  <a:gd name="connsiteX98" fmla="*/ 495300 w 3025140"/>
                  <a:gd name="connsiteY98" fmla="*/ 3520440 h 3680460"/>
                  <a:gd name="connsiteX99" fmla="*/ 525780 w 3025140"/>
                  <a:gd name="connsiteY99" fmla="*/ 3535680 h 3680460"/>
                  <a:gd name="connsiteX100" fmla="*/ 731520 w 3025140"/>
                  <a:gd name="connsiteY100" fmla="*/ 3558540 h 3680460"/>
                  <a:gd name="connsiteX101" fmla="*/ 1341120 w 3025140"/>
                  <a:gd name="connsiteY101" fmla="*/ 3550920 h 3680460"/>
                  <a:gd name="connsiteX102" fmla="*/ 1440180 w 3025140"/>
                  <a:gd name="connsiteY102" fmla="*/ 3528060 h 3680460"/>
                  <a:gd name="connsiteX103" fmla="*/ 1539240 w 3025140"/>
                  <a:gd name="connsiteY103" fmla="*/ 3520440 h 3680460"/>
                  <a:gd name="connsiteX104" fmla="*/ 1562100 w 3025140"/>
                  <a:gd name="connsiteY104" fmla="*/ 3512820 h 3680460"/>
                  <a:gd name="connsiteX105" fmla="*/ 1630680 w 3025140"/>
                  <a:gd name="connsiteY105" fmla="*/ 3497580 h 3680460"/>
                  <a:gd name="connsiteX106" fmla="*/ 1699260 w 3025140"/>
                  <a:gd name="connsiteY106" fmla="*/ 3474720 h 3680460"/>
                  <a:gd name="connsiteX107" fmla="*/ 1790700 w 3025140"/>
                  <a:gd name="connsiteY107" fmla="*/ 3451860 h 3680460"/>
                  <a:gd name="connsiteX108" fmla="*/ 1821180 w 3025140"/>
                  <a:gd name="connsiteY108" fmla="*/ 3444240 h 3680460"/>
                  <a:gd name="connsiteX109" fmla="*/ 1844040 w 3025140"/>
                  <a:gd name="connsiteY109" fmla="*/ 3429000 h 3680460"/>
                  <a:gd name="connsiteX110" fmla="*/ 1874520 w 3025140"/>
                  <a:gd name="connsiteY110" fmla="*/ 3421380 h 3680460"/>
                  <a:gd name="connsiteX111" fmla="*/ 1927860 w 3025140"/>
                  <a:gd name="connsiteY111" fmla="*/ 3398520 h 3680460"/>
                  <a:gd name="connsiteX112" fmla="*/ 1950720 w 3025140"/>
                  <a:gd name="connsiteY112" fmla="*/ 3390900 h 3680460"/>
                  <a:gd name="connsiteX113" fmla="*/ 2004060 w 3025140"/>
                  <a:gd name="connsiteY113" fmla="*/ 3360420 h 3680460"/>
                  <a:gd name="connsiteX114" fmla="*/ 2042160 w 3025140"/>
                  <a:gd name="connsiteY114" fmla="*/ 3352800 h 3680460"/>
                  <a:gd name="connsiteX115" fmla="*/ 2080260 w 3025140"/>
                  <a:gd name="connsiteY115" fmla="*/ 3337560 h 3680460"/>
                  <a:gd name="connsiteX116" fmla="*/ 2156460 w 3025140"/>
                  <a:gd name="connsiteY116" fmla="*/ 3299460 h 3680460"/>
                  <a:gd name="connsiteX117" fmla="*/ 2179320 w 3025140"/>
                  <a:gd name="connsiteY117" fmla="*/ 3284220 h 3680460"/>
                  <a:gd name="connsiteX118" fmla="*/ 2209800 w 3025140"/>
                  <a:gd name="connsiteY118" fmla="*/ 3276600 h 3680460"/>
                  <a:gd name="connsiteX119" fmla="*/ 2263140 w 3025140"/>
                  <a:gd name="connsiteY119" fmla="*/ 3230880 h 3680460"/>
                  <a:gd name="connsiteX120" fmla="*/ 2346960 w 3025140"/>
                  <a:gd name="connsiteY120" fmla="*/ 3154680 h 3680460"/>
                  <a:gd name="connsiteX121" fmla="*/ 2400300 w 3025140"/>
                  <a:gd name="connsiteY121" fmla="*/ 3070860 h 3680460"/>
                  <a:gd name="connsiteX122" fmla="*/ 2415540 w 3025140"/>
                  <a:gd name="connsiteY122" fmla="*/ 3048000 h 3680460"/>
                  <a:gd name="connsiteX123" fmla="*/ 2446020 w 3025140"/>
                  <a:gd name="connsiteY123" fmla="*/ 3032760 h 3680460"/>
                  <a:gd name="connsiteX124" fmla="*/ 2468880 w 3025140"/>
                  <a:gd name="connsiteY124" fmla="*/ 3009900 h 3680460"/>
                  <a:gd name="connsiteX125" fmla="*/ 2537460 w 3025140"/>
                  <a:gd name="connsiteY125" fmla="*/ 2926080 h 3680460"/>
                  <a:gd name="connsiteX126" fmla="*/ 2575560 w 3025140"/>
                  <a:gd name="connsiteY126" fmla="*/ 2880360 h 3680460"/>
                  <a:gd name="connsiteX127" fmla="*/ 2628900 w 3025140"/>
                  <a:gd name="connsiteY127" fmla="*/ 2811780 h 3680460"/>
                  <a:gd name="connsiteX128" fmla="*/ 2644140 w 3025140"/>
                  <a:gd name="connsiteY128" fmla="*/ 2773680 h 3680460"/>
                  <a:gd name="connsiteX129" fmla="*/ 2674620 w 3025140"/>
                  <a:gd name="connsiteY129" fmla="*/ 2727960 h 3680460"/>
                  <a:gd name="connsiteX130" fmla="*/ 2689860 w 3025140"/>
                  <a:gd name="connsiteY130" fmla="*/ 2705100 h 3680460"/>
                  <a:gd name="connsiteX131" fmla="*/ 2705100 w 3025140"/>
                  <a:gd name="connsiteY131" fmla="*/ 2667000 h 3680460"/>
                  <a:gd name="connsiteX132" fmla="*/ 2727960 w 3025140"/>
                  <a:gd name="connsiteY132" fmla="*/ 2621280 h 3680460"/>
                  <a:gd name="connsiteX133" fmla="*/ 2735580 w 3025140"/>
                  <a:gd name="connsiteY133" fmla="*/ 2590800 h 3680460"/>
                  <a:gd name="connsiteX134" fmla="*/ 2758440 w 3025140"/>
                  <a:gd name="connsiteY134" fmla="*/ 2545080 h 3680460"/>
                  <a:gd name="connsiteX135" fmla="*/ 2788920 w 3025140"/>
                  <a:gd name="connsiteY135" fmla="*/ 2484120 h 3680460"/>
                  <a:gd name="connsiteX136" fmla="*/ 2811780 w 3025140"/>
                  <a:gd name="connsiteY136" fmla="*/ 2407920 h 3680460"/>
                  <a:gd name="connsiteX137" fmla="*/ 2842260 w 3025140"/>
                  <a:gd name="connsiteY137" fmla="*/ 2324100 h 3680460"/>
                  <a:gd name="connsiteX138" fmla="*/ 2857500 w 3025140"/>
                  <a:gd name="connsiteY138" fmla="*/ 2247900 h 3680460"/>
                  <a:gd name="connsiteX139" fmla="*/ 2872740 w 3025140"/>
                  <a:gd name="connsiteY139" fmla="*/ 2194560 h 3680460"/>
                  <a:gd name="connsiteX140" fmla="*/ 2887980 w 3025140"/>
                  <a:gd name="connsiteY140" fmla="*/ 2148840 h 3680460"/>
                  <a:gd name="connsiteX141" fmla="*/ 2910840 w 3025140"/>
                  <a:gd name="connsiteY141" fmla="*/ 2087880 h 3680460"/>
                  <a:gd name="connsiteX142" fmla="*/ 2918460 w 3025140"/>
                  <a:gd name="connsiteY142" fmla="*/ 2049780 h 3680460"/>
                  <a:gd name="connsiteX143" fmla="*/ 2933700 w 3025140"/>
                  <a:gd name="connsiteY143" fmla="*/ 1844040 h 3680460"/>
                  <a:gd name="connsiteX144" fmla="*/ 2918460 w 3025140"/>
                  <a:gd name="connsiteY144" fmla="*/ 1470660 h 3680460"/>
                  <a:gd name="connsiteX145" fmla="*/ 2895600 w 3025140"/>
                  <a:gd name="connsiteY145" fmla="*/ 1371600 h 3680460"/>
                  <a:gd name="connsiteX146" fmla="*/ 2880360 w 3025140"/>
                  <a:gd name="connsiteY146" fmla="*/ 1341120 h 3680460"/>
                  <a:gd name="connsiteX147" fmla="*/ 2857500 w 3025140"/>
                  <a:gd name="connsiteY147" fmla="*/ 1272540 h 3680460"/>
                  <a:gd name="connsiteX148" fmla="*/ 2849880 w 3025140"/>
                  <a:gd name="connsiteY148" fmla="*/ 1234440 h 3680460"/>
                  <a:gd name="connsiteX149" fmla="*/ 2827020 w 3025140"/>
                  <a:gd name="connsiteY149" fmla="*/ 1196340 h 3680460"/>
                  <a:gd name="connsiteX150" fmla="*/ 2811780 w 3025140"/>
                  <a:gd name="connsiteY150" fmla="*/ 1165860 h 3680460"/>
                  <a:gd name="connsiteX151" fmla="*/ 2781300 w 3025140"/>
                  <a:gd name="connsiteY151" fmla="*/ 1127760 h 3680460"/>
                  <a:gd name="connsiteX152" fmla="*/ 2766060 w 3025140"/>
                  <a:gd name="connsiteY152" fmla="*/ 1089660 h 3680460"/>
                  <a:gd name="connsiteX153" fmla="*/ 2735580 w 3025140"/>
                  <a:gd name="connsiteY153" fmla="*/ 1043940 h 3680460"/>
                  <a:gd name="connsiteX154" fmla="*/ 2727960 w 3025140"/>
                  <a:gd name="connsiteY154" fmla="*/ 1021080 h 3680460"/>
                  <a:gd name="connsiteX155" fmla="*/ 2682240 w 3025140"/>
                  <a:gd name="connsiteY155" fmla="*/ 937260 h 3680460"/>
                  <a:gd name="connsiteX156" fmla="*/ 2659380 w 3025140"/>
                  <a:gd name="connsiteY156" fmla="*/ 876300 h 3680460"/>
                  <a:gd name="connsiteX157" fmla="*/ 2644140 w 3025140"/>
                  <a:gd name="connsiteY157" fmla="*/ 845820 h 3680460"/>
                  <a:gd name="connsiteX158" fmla="*/ 2636520 w 3025140"/>
                  <a:gd name="connsiteY158" fmla="*/ 822960 h 3680460"/>
                  <a:gd name="connsiteX159" fmla="*/ 2621280 w 3025140"/>
                  <a:gd name="connsiteY159" fmla="*/ 800100 h 3680460"/>
                  <a:gd name="connsiteX160" fmla="*/ 2598420 w 3025140"/>
                  <a:gd name="connsiteY160" fmla="*/ 739140 h 3680460"/>
                  <a:gd name="connsiteX161" fmla="*/ 2458403 w 3025140"/>
                  <a:gd name="connsiteY161" fmla="*/ 621983 h 3680460"/>
                  <a:gd name="connsiteX162" fmla="*/ 2301240 w 3025140"/>
                  <a:gd name="connsiteY162" fmla="*/ 458152 h 3680460"/>
                  <a:gd name="connsiteX163" fmla="*/ 2237423 w 3025140"/>
                  <a:gd name="connsiteY163" fmla="*/ 406717 h 3680460"/>
                  <a:gd name="connsiteX164" fmla="*/ 2103120 w 3025140"/>
                  <a:gd name="connsiteY164" fmla="*/ 312420 h 3680460"/>
                  <a:gd name="connsiteX165" fmla="*/ 2042160 w 3025140"/>
                  <a:gd name="connsiteY165" fmla="*/ 266700 h 3680460"/>
                  <a:gd name="connsiteX166" fmla="*/ 2004060 w 3025140"/>
                  <a:gd name="connsiteY166" fmla="*/ 251460 h 3680460"/>
                  <a:gd name="connsiteX167" fmla="*/ 1958340 w 3025140"/>
                  <a:gd name="connsiteY167" fmla="*/ 220980 h 3680460"/>
                  <a:gd name="connsiteX168" fmla="*/ 1897380 w 3025140"/>
                  <a:gd name="connsiteY168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61260 w 3025140"/>
                  <a:gd name="connsiteY13" fmla="*/ 320040 h 3680460"/>
                  <a:gd name="connsiteX14" fmla="*/ 2537460 w 3025140"/>
                  <a:gd name="connsiteY14" fmla="*/ 426720 h 3680460"/>
                  <a:gd name="connsiteX15" fmla="*/ 2552700 w 3025140"/>
                  <a:gd name="connsiteY15" fmla="*/ 449580 h 3680460"/>
                  <a:gd name="connsiteX16" fmla="*/ 2575560 w 3025140"/>
                  <a:gd name="connsiteY16" fmla="*/ 487680 h 3680460"/>
                  <a:gd name="connsiteX17" fmla="*/ 2621280 w 3025140"/>
                  <a:gd name="connsiteY17" fmla="*/ 548640 h 3680460"/>
                  <a:gd name="connsiteX18" fmla="*/ 2674620 w 3025140"/>
                  <a:gd name="connsiteY18" fmla="*/ 609600 h 3680460"/>
                  <a:gd name="connsiteX19" fmla="*/ 2727960 w 3025140"/>
                  <a:gd name="connsiteY19" fmla="*/ 678180 h 3680460"/>
                  <a:gd name="connsiteX20" fmla="*/ 2727960 w 3025140"/>
                  <a:gd name="connsiteY20" fmla="*/ 678180 h 3680460"/>
                  <a:gd name="connsiteX21" fmla="*/ 2766060 w 3025140"/>
                  <a:gd name="connsiteY21" fmla="*/ 754380 h 3680460"/>
                  <a:gd name="connsiteX22" fmla="*/ 2819400 w 3025140"/>
                  <a:gd name="connsiteY22" fmla="*/ 830580 h 3680460"/>
                  <a:gd name="connsiteX23" fmla="*/ 2834640 w 3025140"/>
                  <a:gd name="connsiteY23" fmla="*/ 853440 h 3680460"/>
                  <a:gd name="connsiteX24" fmla="*/ 2849880 w 3025140"/>
                  <a:gd name="connsiteY24" fmla="*/ 883920 h 3680460"/>
                  <a:gd name="connsiteX25" fmla="*/ 2880360 w 3025140"/>
                  <a:gd name="connsiteY25" fmla="*/ 922020 h 3680460"/>
                  <a:gd name="connsiteX26" fmla="*/ 2887980 w 3025140"/>
                  <a:gd name="connsiteY26" fmla="*/ 944880 h 3680460"/>
                  <a:gd name="connsiteX27" fmla="*/ 2903220 w 3025140"/>
                  <a:gd name="connsiteY27" fmla="*/ 967740 h 3680460"/>
                  <a:gd name="connsiteX28" fmla="*/ 2918460 w 3025140"/>
                  <a:gd name="connsiteY28" fmla="*/ 1036320 h 3680460"/>
                  <a:gd name="connsiteX29" fmla="*/ 2933700 w 3025140"/>
                  <a:gd name="connsiteY29" fmla="*/ 1074420 h 3680460"/>
                  <a:gd name="connsiteX30" fmla="*/ 2948940 w 3025140"/>
                  <a:gd name="connsiteY30" fmla="*/ 1120140 h 3680460"/>
                  <a:gd name="connsiteX31" fmla="*/ 2964180 w 3025140"/>
                  <a:gd name="connsiteY31" fmla="*/ 1203960 h 3680460"/>
                  <a:gd name="connsiteX32" fmla="*/ 2979420 w 3025140"/>
                  <a:gd name="connsiteY32" fmla="*/ 1264920 h 3680460"/>
                  <a:gd name="connsiteX33" fmla="*/ 2987040 w 3025140"/>
                  <a:gd name="connsiteY33" fmla="*/ 1318260 h 3680460"/>
                  <a:gd name="connsiteX34" fmla="*/ 2994660 w 3025140"/>
                  <a:gd name="connsiteY34" fmla="*/ 1348740 h 3680460"/>
                  <a:gd name="connsiteX35" fmla="*/ 3009900 w 3025140"/>
                  <a:gd name="connsiteY35" fmla="*/ 1432560 h 3680460"/>
                  <a:gd name="connsiteX36" fmla="*/ 3017520 w 3025140"/>
                  <a:gd name="connsiteY36" fmla="*/ 1684020 h 3680460"/>
                  <a:gd name="connsiteX37" fmla="*/ 3025140 w 3025140"/>
                  <a:gd name="connsiteY37" fmla="*/ 1744980 h 3680460"/>
                  <a:gd name="connsiteX38" fmla="*/ 3017520 w 3025140"/>
                  <a:gd name="connsiteY38" fmla="*/ 2095500 h 3680460"/>
                  <a:gd name="connsiteX39" fmla="*/ 3009900 w 3025140"/>
                  <a:gd name="connsiteY39" fmla="*/ 2125980 h 3680460"/>
                  <a:gd name="connsiteX40" fmla="*/ 2979420 w 3025140"/>
                  <a:gd name="connsiteY40" fmla="*/ 2194560 h 3680460"/>
                  <a:gd name="connsiteX41" fmla="*/ 2956560 w 3025140"/>
                  <a:gd name="connsiteY41" fmla="*/ 2247900 h 3680460"/>
                  <a:gd name="connsiteX42" fmla="*/ 2941320 w 3025140"/>
                  <a:gd name="connsiteY42" fmla="*/ 2324100 h 3680460"/>
                  <a:gd name="connsiteX43" fmla="*/ 2926080 w 3025140"/>
                  <a:gd name="connsiteY43" fmla="*/ 2392680 h 3680460"/>
                  <a:gd name="connsiteX44" fmla="*/ 2918460 w 3025140"/>
                  <a:gd name="connsiteY44" fmla="*/ 2415540 h 3680460"/>
                  <a:gd name="connsiteX45" fmla="*/ 2895600 w 3025140"/>
                  <a:gd name="connsiteY45" fmla="*/ 2484120 h 3680460"/>
                  <a:gd name="connsiteX46" fmla="*/ 2872740 w 3025140"/>
                  <a:gd name="connsiteY46" fmla="*/ 2583180 h 3680460"/>
                  <a:gd name="connsiteX47" fmla="*/ 2857500 w 3025140"/>
                  <a:gd name="connsiteY47" fmla="*/ 2606040 h 3680460"/>
                  <a:gd name="connsiteX48" fmla="*/ 2834640 w 3025140"/>
                  <a:gd name="connsiteY48" fmla="*/ 2689860 h 3680460"/>
                  <a:gd name="connsiteX49" fmla="*/ 2811780 w 3025140"/>
                  <a:gd name="connsiteY49" fmla="*/ 2750820 h 3680460"/>
                  <a:gd name="connsiteX50" fmla="*/ 2788920 w 3025140"/>
                  <a:gd name="connsiteY50" fmla="*/ 2781300 h 3680460"/>
                  <a:gd name="connsiteX51" fmla="*/ 2781300 w 3025140"/>
                  <a:gd name="connsiteY51" fmla="*/ 2804160 h 3680460"/>
                  <a:gd name="connsiteX52" fmla="*/ 2743200 w 3025140"/>
                  <a:gd name="connsiteY52" fmla="*/ 2865120 h 3680460"/>
                  <a:gd name="connsiteX53" fmla="*/ 2712720 w 3025140"/>
                  <a:gd name="connsiteY53" fmla="*/ 2903220 h 3680460"/>
                  <a:gd name="connsiteX54" fmla="*/ 2697480 w 3025140"/>
                  <a:gd name="connsiteY54" fmla="*/ 2933700 h 3680460"/>
                  <a:gd name="connsiteX55" fmla="*/ 2674620 w 3025140"/>
                  <a:gd name="connsiteY55" fmla="*/ 2964180 h 3680460"/>
                  <a:gd name="connsiteX56" fmla="*/ 2644140 w 3025140"/>
                  <a:gd name="connsiteY56" fmla="*/ 3009900 h 3680460"/>
                  <a:gd name="connsiteX57" fmla="*/ 2598420 w 3025140"/>
                  <a:gd name="connsiteY57" fmla="*/ 3055620 h 3680460"/>
                  <a:gd name="connsiteX58" fmla="*/ 2575560 w 3025140"/>
                  <a:gd name="connsiteY58" fmla="*/ 3078480 h 3680460"/>
                  <a:gd name="connsiteX59" fmla="*/ 2476500 w 3025140"/>
                  <a:gd name="connsiteY59" fmla="*/ 3169920 h 3680460"/>
                  <a:gd name="connsiteX60" fmla="*/ 2377440 w 3025140"/>
                  <a:gd name="connsiteY60" fmla="*/ 3223260 h 3680460"/>
                  <a:gd name="connsiteX61" fmla="*/ 2293620 w 3025140"/>
                  <a:gd name="connsiteY61" fmla="*/ 3284220 h 3680460"/>
                  <a:gd name="connsiteX62" fmla="*/ 2240280 w 3025140"/>
                  <a:gd name="connsiteY62" fmla="*/ 3314700 h 3680460"/>
                  <a:gd name="connsiteX63" fmla="*/ 2225040 w 3025140"/>
                  <a:gd name="connsiteY63" fmla="*/ 3337560 h 3680460"/>
                  <a:gd name="connsiteX64" fmla="*/ 2141220 w 3025140"/>
                  <a:gd name="connsiteY64" fmla="*/ 3390900 h 3680460"/>
                  <a:gd name="connsiteX65" fmla="*/ 2110740 w 3025140"/>
                  <a:gd name="connsiteY65" fmla="*/ 3413760 h 3680460"/>
                  <a:gd name="connsiteX66" fmla="*/ 2072640 w 3025140"/>
                  <a:gd name="connsiteY66" fmla="*/ 3451860 h 3680460"/>
                  <a:gd name="connsiteX67" fmla="*/ 2019300 w 3025140"/>
                  <a:gd name="connsiteY67" fmla="*/ 3467100 h 3680460"/>
                  <a:gd name="connsiteX68" fmla="*/ 1874520 w 3025140"/>
                  <a:gd name="connsiteY68" fmla="*/ 3512820 h 3680460"/>
                  <a:gd name="connsiteX69" fmla="*/ 1828800 w 3025140"/>
                  <a:gd name="connsiteY69" fmla="*/ 3520440 h 3680460"/>
                  <a:gd name="connsiteX70" fmla="*/ 1722120 w 3025140"/>
                  <a:gd name="connsiteY70" fmla="*/ 3550920 h 3680460"/>
                  <a:gd name="connsiteX71" fmla="*/ 1600200 w 3025140"/>
                  <a:gd name="connsiteY71" fmla="*/ 3589020 h 3680460"/>
                  <a:gd name="connsiteX72" fmla="*/ 1569720 w 3025140"/>
                  <a:gd name="connsiteY72" fmla="*/ 3596640 h 3680460"/>
                  <a:gd name="connsiteX73" fmla="*/ 1546860 w 3025140"/>
                  <a:gd name="connsiteY73" fmla="*/ 3611880 h 3680460"/>
                  <a:gd name="connsiteX74" fmla="*/ 1463040 w 3025140"/>
                  <a:gd name="connsiteY74" fmla="*/ 3627120 h 3680460"/>
                  <a:gd name="connsiteX75" fmla="*/ 1333500 w 3025140"/>
                  <a:gd name="connsiteY75" fmla="*/ 3657600 h 3680460"/>
                  <a:gd name="connsiteX76" fmla="*/ 1203960 w 3025140"/>
                  <a:gd name="connsiteY76" fmla="*/ 3672840 h 3680460"/>
                  <a:gd name="connsiteX77" fmla="*/ 1165860 w 3025140"/>
                  <a:gd name="connsiteY77" fmla="*/ 3680460 h 3680460"/>
                  <a:gd name="connsiteX78" fmla="*/ 449580 w 3025140"/>
                  <a:gd name="connsiteY78" fmla="*/ 3672840 h 3680460"/>
                  <a:gd name="connsiteX79" fmla="*/ 426720 w 3025140"/>
                  <a:gd name="connsiteY79" fmla="*/ 3665220 h 3680460"/>
                  <a:gd name="connsiteX80" fmla="*/ 388620 w 3025140"/>
                  <a:gd name="connsiteY80" fmla="*/ 3657600 h 3680460"/>
                  <a:gd name="connsiteX81" fmla="*/ 335280 w 3025140"/>
                  <a:gd name="connsiteY81" fmla="*/ 3627120 h 3680460"/>
                  <a:gd name="connsiteX82" fmla="*/ 266700 w 3025140"/>
                  <a:gd name="connsiteY82" fmla="*/ 3604260 h 3680460"/>
                  <a:gd name="connsiteX83" fmla="*/ 243840 w 3025140"/>
                  <a:gd name="connsiteY83" fmla="*/ 3589020 h 3680460"/>
                  <a:gd name="connsiteX84" fmla="*/ 160020 w 3025140"/>
                  <a:gd name="connsiteY84" fmla="*/ 3558540 h 3680460"/>
                  <a:gd name="connsiteX85" fmla="*/ 137160 w 3025140"/>
                  <a:gd name="connsiteY85" fmla="*/ 3535680 h 3680460"/>
                  <a:gd name="connsiteX86" fmla="*/ 99060 w 3025140"/>
                  <a:gd name="connsiteY86" fmla="*/ 3520440 h 3680460"/>
                  <a:gd name="connsiteX87" fmla="*/ 83820 w 3025140"/>
                  <a:gd name="connsiteY87" fmla="*/ 3489960 h 3680460"/>
                  <a:gd name="connsiteX88" fmla="*/ 45720 w 3025140"/>
                  <a:gd name="connsiteY88" fmla="*/ 3436620 h 3680460"/>
                  <a:gd name="connsiteX89" fmla="*/ 0 w 3025140"/>
                  <a:gd name="connsiteY89" fmla="*/ 3352800 h 3680460"/>
                  <a:gd name="connsiteX90" fmla="*/ 30480 w 3025140"/>
                  <a:gd name="connsiteY90" fmla="*/ 3345180 h 3680460"/>
                  <a:gd name="connsiteX91" fmla="*/ 137160 w 3025140"/>
                  <a:gd name="connsiteY91" fmla="*/ 3360420 h 3680460"/>
                  <a:gd name="connsiteX92" fmla="*/ 167640 w 3025140"/>
                  <a:gd name="connsiteY92" fmla="*/ 3390900 h 3680460"/>
                  <a:gd name="connsiteX93" fmla="*/ 198120 w 3025140"/>
                  <a:gd name="connsiteY93" fmla="*/ 3406140 h 3680460"/>
                  <a:gd name="connsiteX94" fmla="*/ 350520 w 3025140"/>
                  <a:gd name="connsiteY94" fmla="*/ 3436620 h 3680460"/>
                  <a:gd name="connsiteX95" fmla="*/ 381000 w 3025140"/>
                  <a:gd name="connsiteY95" fmla="*/ 3451860 h 3680460"/>
                  <a:gd name="connsiteX96" fmla="*/ 449580 w 3025140"/>
                  <a:gd name="connsiteY96" fmla="*/ 3489960 h 3680460"/>
                  <a:gd name="connsiteX97" fmla="*/ 495300 w 3025140"/>
                  <a:gd name="connsiteY97" fmla="*/ 3520440 h 3680460"/>
                  <a:gd name="connsiteX98" fmla="*/ 525780 w 3025140"/>
                  <a:gd name="connsiteY98" fmla="*/ 3535680 h 3680460"/>
                  <a:gd name="connsiteX99" fmla="*/ 731520 w 3025140"/>
                  <a:gd name="connsiteY99" fmla="*/ 3558540 h 3680460"/>
                  <a:gd name="connsiteX100" fmla="*/ 1341120 w 3025140"/>
                  <a:gd name="connsiteY100" fmla="*/ 3550920 h 3680460"/>
                  <a:gd name="connsiteX101" fmla="*/ 1440180 w 3025140"/>
                  <a:gd name="connsiteY101" fmla="*/ 3528060 h 3680460"/>
                  <a:gd name="connsiteX102" fmla="*/ 1539240 w 3025140"/>
                  <a:gd name="connsiteY102" fmla="*/ 3520440 h 3680460"/>
                  <a:gd name="connsiteX103" fmla="*/ 1562100 w 3025140"/>
                  <a:gd name="connsiteY103" fmla="*/ 3512820 h 3680460"/>
                  <a:gd name="connsiteX104" fmla="*/ 1630680 w 3025140"/>
                  <a:gd name="connsiteY104" fmla="*/ 3497580 h 3680460"/>
                  <a:gd name="connsiteX105" fmla="*/ 1699260 w 3025140"/>
                  <a:gd name="connsiteY105" fmla="*/ 3474720 h 3680460"/>
                  <a:gd name="connsiteX106" fmla="*/ 1790700 w 3025140"/>
                  <a:gd name="connsiteY106" fmla="*/ 3451860 h 3680460"/>
                  <a:gd name="connsiteX107" fmla="*/ 1821180 w 3025140"/>
                  <a:gd name="connsiteY107" fmla="*/ 3444240 h 3680460"/>
                  <a:gd name="connsiteX108" fmla="*/ 1844040 w 3025140"/>
                  <a:gd name="connsiteY108" fmla="*/ 3429000 h 3680460"/>
                  <a:gd name="connsiteX109" fmla="*/ 1874520 w 3025140"/>
                  <a:gd name="connsiteY109" fmla="*/ 3421380 h 3680460"/>
                  <a:gd name="connsiteX110" fmla="*/ 1927860 w 3025140"/>
                  <a:gd name="connsiteY110" fmla="*/ 3398520 h 3680460"/>
                  <a:gd name="connsiteX111" fmla="*/ 1950720 w 3025140"/>
                  <a:gd name="connsiteY111" fmla="*/ 3390900 h 3680460"/>
                  <a:gd name="connsiteX112" fmla="*/ 2004060 w 3025140"/>
                  <a:gd name="connsiteY112" fmla="*/ 3360420 h 3680460"/>
                  <a:gd name="connsiteX113" fmla="*/ 2042160 w 3025140"/>
                  <a:gd name="connsiteY113" fmla="*/ 3352800 h 3680460"/>
                  <a:gd name="connsiteX114" fmla="*/ 2080260 w 3025140"/>
                  <a:gd name="connsiteY114" fmla="*/ 3337560 h 3680460"/>
                  <a:gd name="connsiteX115" fmla="*/ 2156460 w 3025140"/>
                  <a:gd name="connsiteY115" fmla="*/ 3299460 h 3680460"/>
                  <a:gd name="connsiteX116" fmla="*/ 2179320 w 3025140"/>
                  <a:gd name="connsiteY116" fmla="*/ 3284220 h 3680460"/>
                  <a:gd name="connsiteX117" fmla="*/ 2209800 w 3025140"/>
                  <a:gd name="connsiteY117" fmla="*/ 3276600 h 3680460"/>
                  <a:gd name="connsiteX118" fmla="*/ 2263140 w 3025140"/>
                  <a:gd name="connsiteY118" fmla="*/ 3230880 h 3680460"/>
                  <a:gd name="connsiteX119" fmla="*/ 2346960 w 3025140"/>
                  <a:gd name="connsiteY119" fmla="*/ 3154680 h 3680460"/>
                  <a:gd name="connsiteX120" fmla="*/ 2400300 w 3025140"/>
                  <a:gd name="connsiteY120" fmla="*/ 3070860 h 3680460"/>
                  <a:gd name="connsiteX121" fmla="*/ 2415540 w 3025140"/>
                  <a:gd name="connsiteY121" fmla="*/ 3048000 h 3680460"/>
                  <a:gd name="connsiteX122" fmla="*/ 2446020 w 3025140"/>
                  <a:gd name="connsiteY122" fmla="*/ 3032760 h 3680460"/>
                  <a:gd name="connsiteX123" fmla="*/ 2468880 w 3025140"/>
                  <a:gd name="connsiteY123" fmla="*/ 3009900 h 3680460"/>
                  <a:gd name="connsiteX124" fmla="*/ 2537460 w 3025140"/>
                  <a:gd name="connsiteY124" fmla="*/ 2926080 h 3680460"/>
                  <a:gd name="connsiteX125" fmla="*/ 2575560 w 3025140"/>
                  <a:gd name="connsiteY125" fmla="*/ 2880360 h 3680460"/>
                  <a:gd name="connsiteX126" fmla="*/ 2628900 w 3025140"/>
                  <a:gd name="connsiteY126" fmla="*/ 2811780 h 3680460"/>
                  <a:gd name="connsiteX127" fmla="*/ 2644140 w 3025140"/>
                  <a:gd name="connsiteY127" fmla="*/ 2773680 h 3680460"/>
                  <a:gd name="connsiteX128" fmla="*/ 2674620 w 3025140"/>
                  <a:gd name="connsiteY128" fmla="*/ 2727960 h 3680460"/>
                  <a:gd name="connsiteX129" fmla="*/ 2689860 w 3025140"/>
                  <a:gd name="connsiteY129" fmla="*/ 2705100 h 3680460"/>
                  <a:gd name="connsiteX130" fmla="*/ 2705100 w 3025140"/>
                  <a:gd name="connsiteY130" fmla="*/ 2667000 h 3680460"/>
                  <a:gd name="connsiteX131" fmla="*/ 2727960 w 3025140"/>
                  <a:gd name="connsiteY131" fmla="*/ 2621280 h 3680460"/>
                  <a:gd name="connsiteX132" fmla="*/ 2735580 w 3025140"/>
                  <a:gd name="connsiteY132" fmla="*/ 2590800 h 3680460"/>
                  <a:gd name="connsiteX133" fmla="*/ 2758440 w 3025140"/>
                  <a:gd name="connsiteY133" fmla="*/ 2545080 h 3680460"/>
                  <a:gd name="connsiteX134" fmla="*/ 2788920 w 3025140"/>
                  <a:gd name="connsiteY134" fmla="*/ 2484120 h 3680460"/>
                  <a:gd name="connsiteX135" fmla="*/ 2811780 w 3025140"/>
                  <a:gd name="connsiteY135" fmla="*/ 2407920 h 3680460"/>
                  <a:gd name="connsiteX136" fmla="*/ 2842260 w 3025140"/>
                  <a:gd name="connsiteY136" fmla="*/ 2324100 h 3680460"/>
                  <a:gd name="connsiteX137" fmla="*/ 2857500 w 3025140"/>
                  <a:gd name="connsiteY137" fmla="*/ 2247900 h 3680460"/>
                  <a:gd name="connsiteX138" fmla="*/ 2872740 w 3025140"/>
                  <a:gd name="connsiteY138" fmla="*/ 2194560 h 3680460"/>
                  <a:gd name="connsiteX139" fmla="*/ 2887980 w 3025140"/>
                  <a:gd name="connsiteY139" fmla="*/ 2148840 h 3680460"/>
                  <a:gd name="connsiteX140" fmla="*/ 2910840 w 3025140"/>
                  <a:gd name="connsiteY140" fmla="*/ 2087880 h 3680460"/>
                  <a:gd name="connsiteX141" fmla="*/ 2918460 w 3025140"/>
                  <a:gd name="connsiteY141" fmla="*/ 2049780 h 3680460"/>
                  <a:gd name="connsiteX142" fmla="*/ 2933700 w 3025140"/>
                  <a:gd name="connsiteY142" fmla="*/ 1844040 h 3680460"/>
                  <a:gd name="connsiteX143" fmla="*/ 2918460 w 3025140"/>
                  <a:gd name="connsiteY143" fmla="*/ 1470660 h 3680460"/>
                  <a:gd name="connsiteX144" fmla="*/ 2895600 w 3025140"/>
                  <a:gd name="connsiteY144" fmla="*/ 1371600 h 3680460"/>
                  <a:gd name="connsiteX145" fmla="*/ 2880360 w 3025140"/>
                  <a:gd name="connsiteY145" fmla="*/ 1341120 h 3680460"/>
                  <a:gd name="connsiteX146" fmla="*/ 2857500 w 3025140"/>
                  <a:gd name="connsiteY146" fmla="*/ 1272540 h 3680460"/>
                  <a:gd name="connsiteX147" fmla="*/ 2849880 w 3025140"/>
                  <a:gd name="connsiteY147" fmla="*/ 1234440 h 3680460"/>
                  <a:gd name="connsiteX148" fmla="*/ 2827020 w 3025140"/>
                  <a:gd name="connsiteY148" fmla="*/ 1196340 h 3680460"/>
                  <a:gd name="connsiteX149" fmla="*/ 2811780 w 3025140"/>
                  <a:gd name="connsiteY149" fmla="*/ 1165860 h 3680460"/>
                  <a:gd name="connsiteX150" fmla="*/ 2781300 w 3025140"/>
                  <a:gd name="connsiteY150" fmla="*/ 1127760 h 3680460"/>
                  <a:gd name="connsiteX151" fmla="*/ 2766060 w 3025140"/>
                  <a:gd name="connsiteY151" fmla="*/ 1089660 h 3680460"/>
                  <a:gd name="connsiteX152" fmla="*/ 2735580 w 3025140"/>
                  <a:gd name="connsiteY152" fmla="*/ 1043940 h 3680460"/>
                  <a:gd name="connsiteX153" fmla="*/ 2727960 w 3025140"/>
                  <a:gd name="connsiteY153" fmla="*/ 1021080 h 3680460"/>
                  <a:gd name="connsiteX154" fmla="*/ 2682240 w 3025140"/>
                  <a:gd name="connsiteY154" fmla="*/ 937260 h 3680460"/>
                  <a:gd name="connsiteX155" fmla="*/ 2659380 w 3025140"/>
                  <a:gd name="connsiteY155" fmla="*/ 876300 h 3680460"/>
                  <a:gd name="connsiteX156" fmla="*/ 2644140 w 3025140"/>
                  <a:gd name="connsiteY156" fmla="*/ 845820 h 3680460"/>
                  <a:gd name="connsiteX157" fmla="*/ 2636520 w 3025140"/>
                  <a:gd name="connsiteY157" fmla="*/ 822960 h 3680460"/>
                  <a:gd name="connsiteX158" fmla="*/ 2621280 w 3025140"/>
                  <a:gd name="connsiteY158" fmla="*/ 800100 h 3680460"/>
                  <a:gd name="connsiteX159" fmla="*/ 2598420 w 3025140"/>
                  <a:gd name="connsiteY159" fmla="*/ 739140 h 3680460"/>
                  <a:gd name="connsiteX160" fmla="*/ 2458403 w 3025140"/>
                  <a:gd name="connsiteY160" fmla="*/ 621983 h 3680460"/>
                  <a:gd name="connsiteX161" fmla="*/ 2301240 w 3025140"/>
                  <a:gd name="connsiteY161" fmla="*/ 458152 h 3680460"/>
                  <a:gd name="connsiteX162" fmla="*/ 2237423 w 3025140"/>
                  <a:gd name="connsiteY162" fmla="*/ 406717 h 3680460"/>
                  <a:gd name="connsiteX163" fmla="*/ 2103120 w 3025140"/>
                  <a:gd name="connsiteY163" fmla="*/ 312420 h 3680460"/>
                  <a:gd name="connsiteX164" fmla="*/ 2042160 w 3025140"/>
                  <a:gd name="connsiteY164" fmla="*/ 266700 h 3680460"/>
                  <a:gd name="connsiteX165" fmla="*/ 2004060 w 3025140"/>
                  <a:gd name="connsiteY165" fmla="*/ 251460 h 3680460"/>
                  <a:gd name="connsiteX166" fmla="*/ 1958340 w 3025140"/>
                  <a:gd name="connsiteY166" fmla="*/ 220980 h 3680460"/>
                  <a:gd name="connsiteX167" fmla="*/ 1897380 w 3025140"/>
                  <a:gd name="connsiteY16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49880 w 3025140"/>
                  <a:gd name="connsiteY23" fmla="*/ 883920 h 3680460"/>
                  <a:gd name="connsiteX24" fmla="*/ 2880360 w 3025140"/>
                  <a:gd name="connsiteY24" fmla="*/ 922020 h 3680460"/>
                  <a:gd name="connsiteX25" fmla="*/ 2887980 w 3025140"/>
                  <a:gd name="connsiteY25" fmla="*/ 944880 h 3680460"/>
                  <a:gd name="connsiteX26" fmla="*/ 2903220 w 3025140"/>
                  <a:gd name="connsiteY26" fmla="*/ 967740 h 3680460"/>
                  <a:gd name="connsiteX27" fmla="*/ 2918460 w 3025140"/>
                  <a:gd name="connsiteY27" fmla="*/ 1036320 h 3680460"/>
                  <a:gd name="connsiteX28" fmla="*/ 2933700 w 3025140"/>
                  <a:gd name="connsiteY28" fmla="*/ 1074420 h 3680460"/>
                  <a:gd name="connsiteX29" fmla="*/ 2948940 w 3025140"/>
                  <a:gd name="connsiteY29" fmla="*/ 1120140 h 3680460"/>
                  <a:gd name="connsiteX30" fmla="*/ 2964180 w 3025140"/>
                  <a:gd name="connsiteY30" fmla="*/ 1203960 h 3680460"/>
                  <a:gd name="connsiteX31" fmla="*/ 2979420 w 3025140"/>
                  <a:gd name="connsiteY31" fmla="*/ 1264920 h 3680460"/>
                  <a:gd name="connsiteX32" fmla="*/ 2987040 w 3025140"/>
                  <a:gd name="connsiteY32" fmla="*/ 1318260 h 3680460"/>
                  <a:gd name="connsiteX33" fmla="*/ 2994660 w 3025140"/>
                  <a:gd name="connsiteY33" fmla="*/ 1348740 h 3680460"/>
                  <a:gd name="connsiteX34" fmla="*/ 3009900 w 3025140"/>
                  <a:gd name="connsiteY34" fmla="*/ 1432560 h 3680460"/>
                  <a:gd name="connsiteX35" fmla="*/ 3017520 w 3025140"/>
                  <a:gd name="connsiteY35" fmla="*/ 1684020 h 3680460"/>
                  <a:gd name="connsiteX36" fmla="*/ 3025140 w 3025140"/>
                  <a:gd name="connsiteY36" fmla="*/ 1744980 h 3680460"/>
                  <a:gd name="connsiteX37" fmla="*/ 3017520 w 3025140"/>
                  <a:gd name="connsiteY37" fmla="*/ 2095500 h 3680460"/>
                  <a:gd name="connsiteX38" fmla="*/ 3009900 w 3025140"/>
                  <a:gd name="connsiteY38" fmla="*/ 2125980 h 3680460"/>
                  <a:gd name="connsiteX39" fmla="*/ 2979420 w 3025140"/>
                  <a:gd name="connsiteY39" fmla="*/ 2194560 h 3680460"/>
                  <a:gd name="connsiteX40" fmla="*/ 2956560 w 3025140"/>
                  <a:gd name="connsiteY40" fmla="*/ 2247900 h 3680460"/>
                  <a:gd name="connsiteX41" fmla="*/ 2941320 w 3025140"/>
                  <a:gd name="connsiteY41" fmla="*/ 2324100 h 3680460"/>
                  <a:gd name="connsiteX42" fmla="*/ 2926080 w 3025140"/>
                  <a:gd name="connsiteY42" fmla="*/ 2392680 h 3680460"/>
                  <a:gd name="connsiteX43" fmla="*/ 2918460 w 3025140"/>
                  <a:gd name="connsiteY43" fmla="*/ 2415540 h 3680460"/>
                  <a:gd name="connsiteX44" fmla="*/ 2895600 w 3025140"/>
                  <a:gd name="connsiteY44" fmla="*/ 2484120 h 3680460"/>
                  <a:gd name="connsiteX45" fmla="*/ 2872740 w 3025140"/>
                  <a:gd name="connsiteY45" fmla="*/ 2583180 h 3680460"/>
                  <a:gd name="connsiteX46" fmla="*/ 2857500 w 3025140"/>
                  <a:gd name="connsiteY46" fmla="*/ 2606040 h 3680460"/>
                  <a:gd name="connsiteX47" fmla="*/ 2834640 w 3025140"/>
                  <a:gd name="connsiteY47" fmla="*/ 2689860 h 3680460"/>
                  <a:gd name="connsiteX48" fmla="*/ 2811780 w 3025140"/>
                  <a:gd name="connsiteY48" fmla="*/ 2750820 h 3680460"/>
                  <a:gd name="connsiteX49" fmla="*/ 2788920 w 3025140"/>
                  <a:gd name="connsiteY49" fmla="*/ 2781300 h 3680460"/>
                  <a:gd name="connsiteX50" fmla="*/ 2781300 w 3025140"/>
                  <a:gd name="connsiteY50" fmla="*/ 2804160 h 3680460"/>
                  <a:gd name="connsiteX51" fmla="*/ 2743200 w 3025140"/>
                  <a:gd name="connsiteY51" fmla="*/ 2865120 h 3680460"/>
                  <a:gd name="connsiteX52" fmla="*/ 2712720 w 3025140"/>
                  <a:gd name="connsiteY52" fmla="*/ 2903220 h 3680460"/>
                  <a:gd name="connsiteX53" fmla="*/ 2697480 w 3025140"/>
                  <a:gd name="connsiteY53" fmla="*/ 2933700 h 3680460"/>
                  <a:gd name="connsiteX54" fmla="*/ 2674620 w 3025140"/>
                  <a:gd name="connsiteY54" fmla="*/ 2964180 h 3680460"/>
                  <a:gd name="connsiteX55" fmla="*/ 2644140 w 3025140"/>
                  <a:gd name="connsiteY55" fmla="*/ 3009900 h 3680460"/>
                  <a:gd name="connsiteX56" fmla="*/ 2598420 w 3025140"/>
                  <a:gd name="connsiteY56" fmla="*/ 3055620 h 3680460"/>
                  <a:gd name="connsiteX57" fmla="*/ 2575560 w 3025140"/>
                  <a:gd name="connsiteY57" fmla="*/ 3078480 h 3680460"/>
                  <a:gd name="connsiteX58" fmla="*/ 2476500 w 3025140"/>
                  <a:gd name="connsiteY58" fmla="*/ 3169920 h 3680460"/>
                  <a:gd name="connsiteX59" fmla="*/ 2377440 w 3025140"/>
                  <a:gd name="connsiteY59" fmla="*/ 3223260 h 3680460"/>
                  <a:gd name="connsiteX60" fmla="*/ 2293620 w 3025140"/>
                  <a:gd name="connsiteY60" fmla="*/ 3284220 h 3680460"/>
                  <a:gd name="connsiteX61" fmla="*/ 2240280 w 3025140"/>
                  <a:gd name="connsiteY61" fmla="*/ 3314700 h 3680460"/>
                  <a:gd name="connsiteX62" fmla="*/ 2225040 w 3025140"/>
                  <a:gd name="connsiteY62" fmla="*/ 3337560 h 3680460"/>
                  <a:gd name="connsiteX63" fmla="*/ 2141220 w 3025140"/>
                  <a:gd name="connsiteY63" fmla="*/ 3390900 h 3680460"/>
                  <a:gd name="connsiteX64" fmla="*/ 2110740 w 3025140"/>
                  <a:gd name="connsiteY64" fmla="*/ 3413760 h 3680460"/>
                  <a:gd name="connsiteX65" fmla="*/ 2072640 w 3025140"/>
                  <a:gd name="connsiteY65" fmla="*/ 3451860 h 3680460"/>
                  <a:gd name="connsiteX66" fmla="*/ 2019300 w 3025140"/>
                  <a:gd name="connsiteY66" fmla="*/ 3467100 h 3680460"/>
                  <a:gd name="connsiteX67" fmla="*/ 1874520 w 3025140"/>
                  <a:gd name="connsiteY67" fmla="*/ 3512820 h 3680460"/>
                  <a:gd name="connsiteX68" fmla="*/ 1828800 w 3025140"/>
                  <a:gd name="connsiteY68" fmla="*/ 3520440 h 3680460"/>
                  <a:gd name="connsiteX69" fmla="*/ 1722120 w 3025140"/>
                  <a:gd name="connsiteY69" fmla="*/ 3550920 h 3680460"/>
                  <a:gd name="connsiteX70" fmla="*/ 1600200 w 3025140"/>
                  <a:gd name="connsiteY70" fmla="*/ 3589020 h 3680460"/>
                  <a:gd name="connsiteX71" fmla="*/ 1569720 w 3025140"/>
                  <a:gd name="connsiteY71" fmla="*/ 3596640 h 3680460"/>
                  <a:gd name="connsiteX72" fmla="*/ 1546860 w 3025140"/>
                  <a:gd name="connsiteY72" fmla="*/ 3611880 h 3680460"/>
                  <a:gd name="connsiteX73" fmla="*/ 1463040 w 3025140"/>
                  <a:gd name="connsiteY73" fmla="*/ 3627120 h 3680460"/>
                  <a:gd name="connsiteX74" fmla="*/ 1333500 w 3025140"/>
                  <a:gd name="connsiteY74" fmla="*/ 3657600 h 3680460"/>
                  <a:gd name="connsiteX75" fmla="*/ 1203960 w 3025140"/>
                  <a:gd name="connsiteY75" fmla="*/ 3672840 h 3680460"/>
                  <a:gd name="connsiteX76" fmla="*/ 1165860 w 3025140"/>
                  <a:gd name="connsiteY76" fmla="*/ 3680460 h 3680460"/>
                  <a:gd name="connsiteX77" fmla="*/ 449580 w 3025140"/>
                  <a:gd name="connsiteY77" fmla="*/ 3672840 h 3680460"/>
                  <a:gd name="connsiteX78" fmla="*/ 426720 w 3025140"/>
                  <a:gd name="connsiteY78" fmla="*/ 3665220 h 3680460"/>
                  <a:gd name="connsiteX79" fmla="*/ 388620 w 3025140"/>
                  <a:gd name="connsiteY79" fmla="*/ 3657600 h 3680460"/>
                  <a:gd name="connsiteX80" fmla="*/ 335280 w 3025140"/>
                  <a:gd name="connsiteY80" fmla="*/ 3627120 h 3680460"/>
                  <a:gd name="connsiteX81" fmla="*/ 266700 w 3025140"/>
                  <a:gd name="connsiteY81" fmla="*/ 3604260 h 3680460"/>
                  <a:gd name="connsiteX82" fmla="*/ 243840 w 3025140"/>
                  <a:gd name="connsiteY82" fmla="*/ 3589020 h 3680460"/>
                  <a:gd name="connsiteX83" fmla="*/ 160020 w 3025140"/>
                  <a:gd name="connsiteY83" fmla="*/ 3558540 h 3680460"/>
                  <a:gd name="connsiteX84" fmla="*/ 137160 w 3025140"/>
                  <a:gd name="connsiteY84" fmla="*/ 3535680 h 3680460"/>
                  <a:gd name="connsiteX85" fmla="*/ 99060 w 3025140"/>
                  <a:gd name="connsiteY85" fmla="*/ 3520440 h 3680460"/>
                  <a:gd name="connsiteX86" fmla="*/ 83820 w 3025140"/>
                  <a:gd name="connsiteY86" fmla="*/ 3489960 h 3680460"/>
                  <a:gd name="connsiteX87" fmla="*/ 45720 w 3025140"/>
                  <a:gd name="connsiteY87" fmla="*/ 3436620 h 3680460"/>
                  <a:gd name="connsiteX88" fmla="*/ 0 w 3025140"/>
                  <a:gd name="connsiteY88" fmla="*/ 3352800 h 3680460"/>
                  <a:gd name="connsiteX89" fmla="*/ 30480 w 3025140"/>
                  <a:gd name="connsiteY89" fmla="*/ 3345180 h 3680460"/>
                  <a:gd name="connsiteX90" fmla="*/ 137160 w 3025140"/>
                  <a:gd name="connsiteY90" fmla="*/ 3360420 h 3680460"/>
                  <a:gd name="connsiteX91" fmla="*/ 167640 w 3025140"/>
                  <a:gd name="connsiteY91" fmla="*/ 3390900 h 3680460"/>
                  <a:gd name="connsiteX92" fmla="*/ 198120 w 3025140"/>
                  <a:gd name="connsiteY92" fmla="*/ 3406140 h 3680460"/>
                  <a:gd name="connsiteX93" fmla="*/ 350520 w 3025140"/>
                  <a:gd name="connsiteY93" fmla="*/ 3436620 h 3680460"/>
                  <a:gd name="connsiteX94" fmla="*/ 381000 w 3025140"/>
                  <a:gd name="connsiteY94" fmla="*/ 3451860 h 3680460"/>
                  <a:gd name="connsiteX95" fmla="*/ 449580 w 3025140"/>
                  <a:gd name="connsiteY95" fmla="*/ 3489960 h 3680460"/>
                  <a:gd name="connsiteX96" fmla="*/ 495300 w 3025140"/>
                  <a:gd name="connsiteY96" fmla="*/ 3520440 h 3680460"/>
                  <a:gd name="connsiteX97" fmla="*/ 525780 w 3025140"/>
                  <a:gd name="connsiteY97" fmla="*/ 3535680 h 3680460"/>
                  <a:gd name="connsiteX98" fmla="*/ 731520 w 3025140"/>
                  <a:gd name="connsiteY98" fmla="*/ 3558540 h 3680460"/>
                  <a:gd name="connsiteX99" fmla="*/ 1341120 w 3025140"/>
                  <a:gd name="connsiteY99" fmla="*/ 3550920 h 3680460"/>
                  <a:gd name="connsiteX100" fmla="*/ 1440180 w 3025140"/>
                  <a:gd name="connsiteY100" fmla="*/ 3528060 h 3680460"/>
                  <a:gd name="connsiteX101" fmla="*/ 1539240 w 3025140"/>
                  <a:gd name="connsiteY101" fmla="*/ 3520440 h 3680460"/>
                  <a:gd name="connsiteX102" fmla="*/ 1562100 w 3025140"/>
                  <a:gd name="connsiteY102" fmla="*/ 3512820 h 3680460"/>
                  <a:gd name="connsiteX103" fmla="*/ 1630680 w 3025140"/>
                  <a:gd name="connsiteY103" fmla="*/ 3497580 h 3680460"/>
                  <a:gd name="connsiteX104" fmla="*/ 1699260 w 3025140"/>
                  <a:gd name="connsiteY104" fmla="*/ 3474720 h 3680460"/>
                  <a:gd name="connsiteX105" fmla="*/ 1790700 w 3025140"/>
                  <a:gd name="connsiteY105" fmla="*/ 3451860 h 3680460"/>
                  <a:gd name="connsiteX106" fmla="*/ 1821180 w 3025140"/>
                  <a:gd name="connsiteY106" fmla="*/ 3444240 h 3680460"/>
                  <a:gd name="connsiteX107" fmla="*/ 1844040 w 3025140"/>
                  <a:gd name="connsiteY107" fmla="*/ 3429000 h 3680460"/>
                  <a:gd name="connsiteX108" fmla="*/ 1874520 w 3025140"/>
                  <a:gd name="connsiteY108" fmla="*/ 3421380 h 3680460"/>
                  <a:gd name="connsiteX109" fmla="*/ 1927860 w 3025140"/>
                  <a:gd name="connsiteY109" fmla="*/ 3398520 h 3680460"/>
                  <a:gd name="connsiteX110" fmla="*/ 1950720 w 3025140"/>
                  <a:gd name="connsiteY110" fmla="*/ 3390900 h 3680460"/>
                  <a:gd name="connsiteX111" fmla="*/ 2004060 w 3025140"/>
                  <a:gd name="connsiteY111" fmla="*/ 3360420 h 3680460"/>
                  <a:gd name="connsiteX112" fmla="*/ 2042160 w 3025140"/>
                  <a:gd name="connsiteY112" fmla="*/ 3352800 h 3680460"/>
                  <a:gd name="connsiteX113" fmla="*/ 2080260 w 3025140"/>
                  <a:gd name="connsiteY113" fmla="*/ 3337560 h 3680460"/>
                  <a:gd name="connsiteX114" fmla="*/ 2156460 w 3025140"/>
                  <a:gd name="connsiteY114" fmla="*/ 3299460 h 3680460"/>
                  <a:gd name="connsiteX115" fmla="*/ 2179320 w 3025140"/>
                  <a:gd name="connsiteY115" fmla="*/ 3284220 h 3680460"/>
                  <a:gd name="connsiteX116" fmla="*/ 2209800 w 3025140"/>
                  <a:gd name="connsiteY116" fmla="*/ 3276600 h 3680460"/>
                  <a:gd name="connsiteX117" fmla="*/ 2263140 w 3025140"/>
                  <a:gd name="connsiteY117" fmla="*/ 3230880 h 3680460"/>
                  <a:gd name="connsiteX118" fmla="*/ 2346960 w 3025140"/>
                  <a:gd name="connsiteY118" fmla="*/ 3154680 h 3680460"/>
                  <a:gd name="connsiteX119" fmla="*/ 2400300 w 3025140"/>
                  <a:gd name="connsiteY119" fmla="*/ 3070860 h 3680460"/>
                  <a:gd name="connsiteX120" fmla="*/ 2415540 w 3025140"/>
                  <a:gd name="connsiteY120" fmla="*/ 3048000 h 3680460"/>
                  <a:gd name="connsiteX121" fmla="*/ 2446020 w 3025140"/>
                  <a:gd name="connsiteY121" fmla="*/ 3032760 h 3680460"/>
                  <a:gd name="connsiteX122" fmla="*/ 2468880 w 3025140"/>
                  <a:gd name="connsiteY122" fmla="*/ 3009900 h 3680460"/>
                  <a:gd name="connsiteX123" fmla="*/ 2537460 w 3025140"/>
                  <a:gd name="connsiteY123" fmla="*/ 2926080 h 3680460"/>
                  <a:gd name="connsiteX124" fmla="*/ 2575560 w 3025140"/>
                  <a:gd name="connsiteY124" fmla="*/ 2880360 h 3680460"/>
                  <a:gd name="connsiteX125" fmla="*/ 2628900 w 3025140"/>
                  <a:gd name="connsiteY125" fmla="*/ 2811780 h 3680460"/>
                  <a:gd name="connsiteX126" fmla="*/ 2644140 w 3025140"/>
                  <a:gd name="connsiteY126" fmla="*/ 2773680 h 3680460"/>
                  <a:gd name="connsiteX127" fmla="*/ 2674620 w 3025140"/>
                  <a:gd name="connsiteY127" fmla="*/ 2727960 h 3680460"/>
                  <a:gd name="connsiteX128" fmla="*/ 2689860 w 3025140"/>
                  <a:gd name="connsiteY128" fmla="*/ 2705100 h 3680460"/>
                  <a:gd name="connsiteX129" fmla="*/ 2705100 w 3025140"/>
                  <a:gd name="connsiteY129" fmla="*/ 2667000 h 3680460"/>
                  <a:gd name="connsiteX130" fmla="*/ 2727960 w 3025140"/>
                  <a:gd name="connsiteY130" fmla="*/ 2621280 h 3680460"/>
                  <a:gd name="connsiteX131" fmla="*/ 2735580 w 3025140"/>
                  <a:gd name="connsiteY131" fmla="*/ 2590800 h 3680460"/>
                  <a:gd name="connsiteX132" fmla="*/ 2758440 w 3025140"/>
                  <a:gd name="connsiteY132" fmla="*/ 2545080 h 3680460"/>
                  <a:gd name="connsiteX133" fmla="*/ 2788920 w 3025140"/>
                  <a:gd name="connsiteY133" fmla="*/ 2484120 h 3680460"/>
                  <a:gd name="connsiteX134" fmla="*/ 2811780 w 3025140"/>
                  <a:gd name="connsiteY134" fmla="*/ 2407920 h 3680460"/>
                  <a:gd name="connsiteX135" fmla="*/ 2842260 w 3025140"/>
                  <a:gd name="connsiteY135" fmla="*/ 2324100 h 3680460"/>
                  <a:gd name="connsiteX136" fmla="*/ 2857500 w 3025140"/>
                  <a:gd name="connsiteY136" fmla="*/ 2247900 h 3680460"/>
                  <a:gd name="connsiteX137" fmla="*/ 2872740 w 3025140"/>
                  <a:gd name="connsiteY137" fmla="*/ 2194560 h 3680460"/>
                  <a:gd name="connsiteX138" fmla="*/ 2887980 w 3025140"/>
                  <a:gd name="connsiteY138" fmla="*/ 2148840 h 3680460"/>
                  <a:gd name="connsiteX139" fmla="*/ 2910840 w 3025140"/>
                  <a:gd name="connsiteY139" fmla="*/ 2087880 h 3680460"/>
                  <a:gd name="connsiteX140" fmla="*/ 2918460 w 3025140"/>
                  <a:gd name="connsiteY140" fmla="*/ 2049780 h 3680460"/>
                  <a:gd name="connsiteX141" fmla="*/ 2933700 w 3025140"/>
                  <a:gd name="connsiteY141" fmla="*/ 1844040 h 3680460"/>
                  <a:gd name="connsiteX142" fmla="*/ 2918460 w 3025140"/>
                  <a:gd name="connsiteY142" fmla="*/ 1470660 h 3680460"/>
                  <a:gd name="connsiteX143" fmla="*/ 2895600 w 3025140"/>
                  <a:gd name="connsiteY143" fmla="*/ 1371600 h 3680460"/>
                  <a:gd name="connsiteX144" fmla="*/ 2880360 w 3025140"/>
                  <a:gd name="connsiteY144" fmla="*/ 1341120 h 3680460"/>
                  <a:gd name="connsiteX145" fmla="*/ 2857500 w 3025140"/>
                  <a:gd name="connsiteY145" fmla="*/ 1272540 h 3680460"/>
                  <a:gd name="connsiteX146" fmla="*/ 2849880 w 3025140"/>
                  <a:gd name="connsiteY146" fmla="*/ 1234440 h 3680460"/>
                  <a:gd name="connsiteX147" fmla="*/ 2827020 w 3025140"/>
                  <a:gd name="connsiteY147" fmla="*/ 1196340 h 3680460"/>
                  <a:gd name="connsiteX148" fmla="*/ 2811780 w 3025140"/>
                  <a:gd name="connsiteY148" fmla="*/ 1165860 h 3680460"/>
                  <a:gd name="connsiteX149" fmla="*/ 2781300 w 3025140"/>
                  <a:gd name="connsiteY149" fmla="*/ 1127760 h 3680460"/>
                  <a:gd name="connsiteX150" fmla="*/ 2766060 w 3025140"/>
                  <a:gd name="connsiteY150" fmla="*/ 1089660 h 3680460"/>
                  <a:gd name="connsiteX151" fmla="*/ 2735580 w 3025140"/>
                  <a:gd name="connsiteY151" fmla="*/ 1043940 h 3680460"/>
                  <a:gd name="connsiteX152" fmla="*/ 2727960 w 3025140"/>
                  <a:gd name="connsiteY152" fmla="*/ 1021080 h 3680460"/>
                  <a:gd name="connsiteX153" fmla="*/ 2682240 w 3025140"/>
                  <a:gd name="connsiteY153" fmla="*/ 937260 h 3680460"/>
                  <a:gd name="connsiteX154" fmla="*/ 2659380 w 3025140"/>
                  <a:gd name="connsiteY154" fmla="*/ 876300 h 3680460"/>
                  <a:gd name="connsiteX155" fmla="*/ 2644140 w 3025140"/>
                  <a:gd name="connsiteY155" fmla="*/ 845820 h 3680460"/>
                  <a:gd name="connsiteX156" fmla="*/ 2636520 w 3025140"/>
                  <a:gd name="connsiteY156" fmla="*/ 822960 h 3680460"/>
                  <a:gd name="connsiteX157" fmla="*/ 2621280 w 3025140"/>
                  <a:gd name="connsiteY157" fmla="*/ 800100 h 3680460"/>
                  <a:gd name="connsiteX158" fmla="*/ 2598420 w 3025140"/>
                  <a:gd name="connsiteY158" fmla="*/ 739140 h 3680460"/>
                  <a:gd name="connsiteX159" fmla="*/ 2458403 w 3025140"/>
                  <a:gd name="connsiteY159" fmla="*/ 621983 h 3680460"/>
                  <a:gd name="connsiteX160" fmla="*/ 2301240 w 3025140"/>
                  <a:gd name="connsiteY160" fmla="*/ 458152 h 3680460"/>
                  <a:gd name="connsiteX161" fmla="*/ 2237423 w 3025140"/>
                  <a:gd name="connsiteY161" fmla="*/ 406717 h 3680460"/>
                  <a:gd name="connsiteX162" fmla="*/ 2103120 w 3025140"/>
                  <a:gd name="connsiteY162" fmla="*/ 312420 h 3680460"/>
                  <a:gd name="connsiteX163" fmla="*/ 2042160 w 3025140"/>
                  <a:gd name="connsiteY163" fmla="*/ 266700 h 3680460"/>
                  <a:gd name="connsiteX164" fmla="*/ 2004060 w 3025140"/>
                  <a:gd name="connsiteY164" fmla="*/ 251460 h 3680460"/>
                  <a:gd name="connsiteX165" fmla="*/ 1958340 w 3025140"/>
                  <a:gd name="connsiteY165" fmla="*/ 220980 h 3680460"/>
                  <a:gd name="connsiteX166" fmla="*/ 1897380 w 3025140"/>
                  <a:gd name="connsiteY16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80360 w 3025140"/>
                  <a:gd name="connsiteY23" fmla="*/ 922020 h 3680460"/>
                  <a:gd name="connsiteX24" fmla="*/ 2887980 w 3025140"/>
                  <a:gd name="connsiteY24" fmla="*/ 944880 h 3680460"/>
                  <a:gd name="connsiteX25" fmla="*/ 2903220 w 3025140"/>
                  <a:gd name="connsiteY25" fmla="*/ 967740 h 3680460"/>
                  <a:gd name="connsiteX26" fmla="*/ 2918460 w 3025140"/>
                  <a:gd name="connsiteY26" fmla="*/ 1036320 h 3680460"/>
                  <a:gd name="connsiteX27" fmla="*/ 2933700 w 3025140"/>
                  <a:gd name="connsiteY27" fmla="*/ 1074420 h 3680460"/>
                  <a:gd name="connsiteX28" fmla="*/ 2948940 w 3025140"/>
                  <a:gd name="connsiteY28" fmla="*/ 1120140 h 3680460"/>
                  <a:gd name="connsiteX29" fmla="*/ 2964180 w 3025140"/>
                  <a:gd name="connsiteY29" fmla="*/ 1203960 h 3680460"/>
                  <a:gd name="connsiteX30" fmla="*/ 2979420 w 3025140"/>
                  <a:gd name="connsiteY30" fmla="*/ 1264920 h 3680460"/>
                  <a:gd name="connsiteX31" fmla="*/ 2987040 w 3025140"/>
                  <a:gd name="connsiteY31" fmla="*/ 1318260 h 3680460"/>
                  <a:gd name="connsiteX32" fmla="*/ 2994660 w 3025140"/>
                  <a:gd name="connsiteY32" fmla="*/ 1348740 h 3680460"/>
                  <a:gd name="connsiteX33" fmla="*/ 3009900 w 3025140"/>
                  <a:gd name="connsiteY33" fmla="*/ 1432560 h 3680460"/>
                  <a:gd name="connsiteX34" fmla="*/ 3017520 w 3025140"/>
                  <a:gd name="connsiteY34" fmla="*/ 1684020 h 3680460"/>
                  <a:gd name="connsiteX35" fmla="*/ 3025140 w 3025140"/>
                  <a:gd name="connsiteY35" fmla="*/ 1744980 h 3680460"/>
                  <a:gd name="connsiteX36" fmla="*/ 3017520 w 3025140"/>
                  <a:gd name="connsiteY36" fmla="*/ 2095500 h 3680460"/>
                  <a:gd name="connsiteX37" fmla="*/ 3009900 w 3025140"/>
                  <a:gd name="connsiteY37" fmla="*/ 2125980 h 3680460"/>
                  <a:gd name="connsiteX38" fmla="*/ 2979420 w 3025140"/>
                  <a:gd name="connsiteY38" fmla="*/ 2194560 h 3680460"/>
                  <a:gd name="connsiteX39" fmla="*/ 2956560 w 3025140"/>
                  <a:gd name="connsiteY39" fmla="*/ 2247900 h 3680460"/>
                  <a:gd name="connsiteX40" fmla="*/ 2941320 w 3025140"/>
                  <a:gd name="connsiteY40" fmla="*/ 2324100 h 3680460"/>
                  <a:gd name="connsiteX41" fmla="*/ 2926080 w 3025140"/>
                  <a:gd name="connsiteY41" fmla="*/ 2392680 h 3680460"/>
                  <a:gd name="connsiteX42" fmla="*/ 2918460 w 3025140"/>
                  <a:gd name="connsiteY42" fmla="*/ 2415540 h 3680460"/>
                  <a:gd name="connsiteX43" fmla="*/ 2895600 w 3025140"/>
                  <a:gd name="connsiteY43" fmla="*/ 2484120 h 3680460"/>
                  <a:gd name="connsiteX44" fmla="*/ 2872740 w 3025140"/>
                  <a:gd name="connsiteY44" fmla="*/ 2583180 h 3680460"/>
                  <a:gd name="connsiteX45" fmla="*/ 2857500 w 3025140"/>
                  <a:gd name="connsiteY45" fmla="*/ 2606040 h 3680460"/>
                  <a:gd name="connsiteX46" fmla="*/ 2834640 w 3025140"/>
                  <a:gd name="connsiteY46" fmla="*/ 2689860 h 3680460"/>
                  <a:gd name="connsiteX47" fmla="*/ 2811780 w 3025140"/>
                  <a:gd name="connsiteY47" fmla="*/ 2750820 h 3680460"/>
                  <a:gd name="connsiteX48" fmla="*/ 2788920 w 3025140"/>
                  <a:gd name="connsiteY48" fmla="*/ 2781300 h 3680460"/>
                  <a:gd name="connsiteX49" fmla="*/ 2781300 w 3025140"/>
                  <a:gd name="connsiteY49" fmla="*/ 2804160 h 3680460"/>
                  <a:gd name="connsiteX50" fmla="*/ 2743200 w 3025140"/>
                  <a:gd name="connsiteY50" fmla="*/ 2865120 h 3680460"/>
                  <a:gd name="connsiteX51" fmla="*/ 2712720 w 3025140"/>
                  <a:gd name="connsiteY51" fmla="*/ 2903220 h 3680460"/>
                  <a:gd name="connsiteX52" fmla="*/ 2697480 w 3025140"/>
                  <a:gd name="connsiteY52" fmla="*/ 2933700 h 3680460"/>
                  <a:gd name="connsiteX53" fmla="*/ 2674620 w 3025140"/>
                  <a:gd name="connsiteY53" fmla="*/ 2964180 h 3680460"/>
                  <a:gd name="connsiteX54" fmla="*/ 2644140 w 3025140"/>
                  <a:gd name="connsiteY54" fmla="*/ 3009900 h 3680460"/>
                  <a:gd name="connsiteX55" fmla="*/ 2598420 w 3025140"/>
                  <a:gd name="connsiteY55" fmla="*/ 3055620 h 3680460"/>
                  <a:gd name="connsiteX56" fmla="*/ 2575560 w 3025140"/>
                  <a:gd name="connsiteY56" fmla="*/ 3078480 h 3680460"/>
                  <a:gd name="connsiteX57" fmla="*/ 2476500 w 3025140"/>
                  <a:gd name="connsiteY57" fmla="*/ 3169920 h 3680460"/>
                  <a:gd name="connsiteX58" fmla="*/ 2377440 w 3025140"/>
                  <a:gd name="connsiteY58" fmla="*/ 3223260 h 3680460"/>
                  <a:gd name="connsiteX59" fmla="*/ 2293620 w 3025140"/>
                  <a:gd name="connsiteY59" fmla="*/ 3284220 h 3680460"/>
                  <a:gd name="connsiteX60" fmla="*/ 2240280 w 3025140"/>
                  <a:gd name="connsiteY60" fmla="*/ 3314700 h 3680460"/>
                  <a:gd name="connsiteX61" fmla="*/ 2225040 w 3025140"/>
                  <a:gd name="connsiteY61" fmla="*/ 3337560 h 3680460"/>
                  <a:gd name="connsiteX62" fmla="*/ 2141220 w 3025140"/>
                  <a:gd name="connsiteY62" fmla="*/ 3390900 h 3680460"/>
                  <a:gd name="connsiteX63" fmla="*/ 2110740 w 3025140"/>
                  <a:gd name="connsiteY63" fmla="*/ 3413760 h 3680460"/>
                  <a:gd name="connsiteX64" fmla="*/ 2072640 w 3025140"/>
                  <a:gd name="connsiteY64" fmla="*/ 3451860 h 3680460"/>
                  <a:gd name="connsiteX65" fmla="*/ 2019300 w 3025140"/>
                  <a:gd name="connsiteY65" fmla="*/ 3467100 h 3680460"/>
                  <a:gd name="connsiteX66" fmla="*/ 1874520 w 3025140"/>
                  <a:gd name="connsiteY66" fmla="*/ 3512820 h 3680460"/>
                  <a:gd name="connsiteX67" fmla="*/ 1828800 w 3025140"/>
                  <a:gd name="connsiteY67" fmla="*/ 3520440 h 3680460"/>
                  <a:gd name="connsiteX68" fmla="*/ 1722120 w 3025140"/>
                  <a:gd name="connsiteY68" fmla="*/ 3550920 h 3680460"/>
                  <a:gd name="connsiteX69" fmla="*/ 1600200 w 3025140"/>
                  <a:gd name="connsiteY69" fmla="*/ 3589020 h 3680460"/>
                  <a:gd name="connsiteX70" fmla="*/ 1569720 w 3025140"/>
                  <a:gd name="connsiteY70" fmla="*/ 3596640 h 3680460"/>
                  <a:gd name="connsiteX71" fmla="*/ 1546860 w 3025140"/>
                  <a:gd name="connsiteY71" fmla="*/ 3611880 h 3680460"/>
                  <a:gd name="connsiteX72" fmla="*/ 1463040 w 3025140"/>
                  <a:gd name="connsiteY72" fmla="*/ 3627120 h 3680460"/>
                  <a:gd name="connsiteX73" fmla="*/ 1333500 w 3025140"/>
                  <a:gd name="connsiteY73" fmla="*/ 3657600 h 3680460"/>
                  <a:gd name="connsiteX74" fmla="*/ 1203960 w 3025140"/>
                  <a:gd name="connsiteY74" fmla="*/ 3672840 h 3680460"/>
                  <a:gd name="connsiteX75" fmla="*/ 1165860 w 3025140"/>
                  <a:gd name="connsiteY75" fmla="*/ 3680460 h 3680460"/>
                  <a:gd name="connsiteX76" fmla="*/ 449580 w 3025140"/>
                  <a:gd name="connsiteY76" fmla="*/ 3672840 h 3680460"/>
                  <a:gd name="connsiteX77" fmla="*/ 426720 w 3025140"/>
                  <a:gd name="connsiteY77" fmla="*/ 3665220 h 3680460"/>
                  <a:gd name="connsiteX78" fmla="*/ 388620 w 3025140"/>
                  <a:gd name="connsiteY78" fmla="*/ 3657600 h 3680460"/>
                  <a:gd name="connsiteX79" fmla="*/ 335280 w 3025140"/>
                  <a:gd name="connsiteY79" fmla="*/ 3627120 h 3680460"/>
                  <a:gd name="connsiteX80" fmla="*/ 266700 w 3025140"/>
                  <a:gd name="connsiteY80" fmla="*/ 3604260 h 3680460"/>
                  <a:gd name="connsiteX81" fmla="*/ 243840 w 3025140"/>
                  <a:gd name="connsiteY81" fmla="*/ 3589020 h 3680460"/>
                  <a:gd name="connsiteX82" fmla="*/ 160020 w 3025140"/>
                  <a:gd name="connsiteY82" fmla="*/ 3558540 h 3680460"/>
                  <a:gd name="connsiteX83" fmla="*/ 137160 w 3025140"/>
                  <a:gd name="connsiteY83" fmla="*/ 3535680 h 3680460"/>
                  <a:gd name="connsiteX84" fmla="*/ 99060 w 3025140"/>
                  <a:gd name="connsiteY84" fmla="*/ 3520440 h 3680460"/>
                  <a:gd name="connsiteX85" fmla="*/ 83820 w 3025140"/>
                  <a:gd name="connsiteY85" fmla="*/ 3489960 h 3680460"/>
                  <a:gd name="connsiteX86" fmla="*/ 45720 w 3025140"/>
                  <a:gd name="connsiteY86" fmla="*/ 3436620 h 3680460"/>
                  <a:gd name="connsiteX87" fmla="*/ 0 w 3025140"/>
                  <a:gd name="connsiteY87" fmla="*/ 3352800 h 3680460"/>
                  <a:gd name="connsiteX88" fmla="*/ 30480 w 3025140"/>
                  <a:gd name="connsiteY88" fmla="*/ 3345180 h 3680460"/>
                  <a:gd name="connsiteX89" fmla="*/ 137160 w 3025140"/>
                  <a:gd name="connsiteY89" fmla="*/ 3360420 h 3680460"/>
                  <a:gd name="connsiteX90" fmla="*/ 167640 w 3025140"/>
                  <a:gd name="connsiteY90" fmla="*/ 3390900 h 3680460"/>
                  <a:gd name="connsiteX91" fmla="*/ 198120 w 3025140"/>
                  <a:gd name="connsiteY91" fmla="*/ 3406140 h 3680460"/>
                  <a:gd name="connsiteX92" fmla="*/ 350520 w 3025140"/>
                  <a:gd name="connsiteY92" fmla="*/ 3436620 h 3680460"/>
                  <a:gd name="connsiteX93" fmla="*/ 381000 w 3025140"/>
                  <a:gd name="connsiteY93" fmla="*/ 3451860 h 3680460"/>
                  <a:gd name="connsiteX94" fmla="*/ 449580 w 3025140"/>
                  <a:gd name="connsiteY94" fmla="*/ 3489960 h 3680460"/>
                  <a:gd name="connsiteX95" fmla="*/ 495300 w 3025140"/>
                  <a:gd name="connsiteY95" fmla="*/ 3520440 h 3680460"/>
                  <a:gd name="connsiteX96" fmla="*/ 525780 w 3025140"/>
                  <a:gd name="connsiteY96" fmla="*/ 3535680 h 3680460"/>
                  <a:gd name="connsiteX97" fmla="*/ 731520 w 3025140"/>
                  <a:gd name="connsiteY97" fmla="*/ 3558540 h 3680460"/>
                  <a:gd name="connsiteX98" fmla="*/ 1341120 w 3025140"/>
                  <a:gd name="connsiteY98" fmla="*/ 3550920 h 3680460"/>
                  <a:gd name="connsiteX99" fmla="*/ 1440180 w 3025140"/>
                  <a:gd name="connsiteY99" fmla="*/ 3528060 h 3680460"/>
                  <a:gd name="connsiteX100" fmla="*/ 1539240 w 3025140"/>
                  <a:gd name="connsiteY100" fmla="*/ 3520440 h 3680460"/>
                  <a:gd name="connsiteX101" fmla="*/ 1562100 w 3025140"/>
                  <a:gd name="connsiteY101" fmla="*/ 3512820 h 3680460"/>
                  <a:gd name="connsiteX102" fmla="*/ 1630680 w 3025140"/>
                  <a:gd name="connsiteY102" fmla="*/ 3497580 h 3680460"/>
                  <a:gd name="connsiteX103" fmla="*/ 1699260 w 3025140"/>
                  <a:gd name="connsiteY103" fmla="*/ 3474720 h 3680460"/>
                  <a:gd name="connsiteX104" fmla="*/ 1790700 w 3025140"/>
                  <a:gd name="connsiteY104" fmla="*/ 3451860 h 3680460"/>
                  <a:gd name="connsiteX105" fmla="*/ 1821180 w 3025140"/>
                  <a:gd name="connsiteY105" fmla="*/ 3444240 h 3680460"/>
                  <a:gd name="connsiteX106" fmla="*/ 1844040 w 3025140"/>
                  <a:gd name="connsiteY106" fmla="*/ 3429000 h 3680460"/>
                  <a:gd name="connsiteX107" fmla="*/ 1874520 w 3025140"/>
                  <a:gd name="connsiteY107" fmla="*/ 3421380 h 3680460"/>
                  <a:gd name="connsiteX108" fmla="*/ 1927860 w 3025140"/>
                  <a:gd name="connsiteY108" fmla="*/ 3398520 h 3680460"/>
                  <a:gd name="connsiteX109" fmla="*/ 1950720 w 3025140"/>
                  <a:gd name="connsiteY109" fmla="*/ 3390900 h 3680460"/>
                  <a:gd name="connsiteX110" fmla="*/ 2004060 w 3025140"/>
                  <a:gd name="connsiteY110" fmla="*/ 3360420 h 3680460"/>
                  <a:gd name="connsiteX111" fmla="*/ 2042160 w 3025140"/>
                  <a:gd name="connsiteY111" fmla="*/ 3352800 h 3680460"/>
                  <a:gd name="connsiteX112" fmla="*/ 2080260 w 3025140"/>
                  <a:gd name="connsiteY112" fmla="*/ 3337560 h 3680460"/>
                  <a:gd name="connsiteX113" fmla="*/ 2156460 w 3025140"/>
                  <a:gd name="connsiteY113" fmla="*/ 3299460 h 3680460"/>
                  <a:gd name="connsiteX114" fmla="*/ 2179320 w 3025140"/>
                  <a:gd name="connsiteY114" fmla="*/ 3284220 h 3680460"/>
                  <a:gd name="connsiteX115" fmla="*/ 2209800 w 3025140"/>
                  <a:gd name="connsiteY115" fmla="*/ 3276600 h 3680460"/>
                  <a:gd name="connsiteX116" fmla="*/ 2263140 w 3025140"/>
                  <a:gd name="connsiteY116" fmla="*/ 3230880 h 3680460"/>
                  <a:gd name="connsiteX117" fmla="*/ 2346960 w 3025140"/>
                  <a:gd name="connsiteY117" fmla="*/ 3154680 h 3680460"/>
                  <a:gd name="connsiteX118" fmla="*/ 2400300 w 3025140"/>
                  <a:gd name="connsiteY118" fmla="*/ 3070860 h 3680460"/>
                  <a:gd name="connsiteX119" fmla="*/ 2415540 w 3025140"/>
                  <a:gd name="connsiteY119" fmla="*/ 3048000 h 3680460"/>
                  <a:gd name="connsiteX120" fmla="*/ 2446020 w 3025140"/>
                  <a:gd name="connsiteY120" fmla="*/ 3032760 h 3680460"/>
                  <a:gd name="connsiteX121" fmla="*/ 2468880 w 3025140"/>
                  <a:gd name="connsiteY121" fmla="*/ 3009900 h 3680460"/>
                  <a:gd name="connsiteX122" fmla="*/ 2537460 w 3025140"/>
                  <a:gd name="connsiteY122" fmla="*/ 2926080 h 3680460"/>
                  <a:gd name="connsiteX123" fmla="*/ 2575560 w 3025140"/>
                  <a:gd name="connsiteY123" fmla="*/ 2880360 h 3680460"/>
                  <a:gd name="connsiteX124" fmla="*/ 2628900 w 3025140"/>
                  <a:gd name="connsiteY124" fmla="*/ 2811780 h 3680460"/>
                  <a:gd name="connsiteX125" fmla="*/ 2644140 w 3025140"/>
                  <a:gd name="connsiteY125" fmla="*/ 2773680 h 3680460"/>
                  <a:gd name="connsiteX126" fmla="*/ 2674620 w 3025140"/>
                  <a:gd name="connsiteY126" fmla="*/ 2727960 h 3680460"/>
                  <a:gd name="connsiteX127" fmla="*/ 2689860 w 3025140"/>
                  <a:gd name="connsiteY127" fmla="*/ 2705100 h 3680460"/>
                  <a:gd name="connsiteX128" fmla="*/ 2705100 w 3025140"/>
                  <a:gd name="connsiteY128" fmla="*/ 2667000 h 3680460"/>
                  <a:gd name="connsiteX129" fmla="*/ 2727960 w 3025140"/>
                  <a:gd name="connsiteY129" fmla="*/ 2621280 h 3680460"/>
                  <a:gd name="connsiteX130" fmla="*/ 2735580 w 3025140"/>
                  <a:gd name="connsiteY130" fmla="*/ 2590800 h 3680460"/>
                  <a:gd name="connsiteX131" fmla="*/ 2758440 w 3025140"/>
                  <a:gd name="connsiteY131" fmla="*/ 2545080 h 3680460"/>
                  <a:gd name="connsiteX132" fmla="*/ 2788920 w 3025140"/>
                  <a:gd name="connsiteY132" fmla="*/ 2484120 h 3680460"/>
                  <a:gd name="connsiteX133" fmla="*/ 2811780 w 3025140"/>
                  <a:gd name="connsiteY133" fmla="*/ 2407920 h 3680460"/>
                  <a:gd name="connsiteX134" fmla="*/ 2842260 w 3025140"/>
                  <a:gd name="connsiteY134" fmla="*/ 2324100 h 3680460"/>
                  <a:gd name="connsiteX135" fmla="*/ 2857500 w 3025140"/>
                  <a:gd name="connsiteY135" fmla="*/ 2247900 h 3680460"/>
                  <a:gd name="connsiteX136" fmla="*/ 2872740 w 3025140"/>
                  <a:gd name="connsiteY136" fmla="*/ 2194560 h 3680460"/>
                  <a:gd name="connsiteX137" fmla="*/ 2887980 w 3025140"/>
                  <a:gd name="connsiteY137" fmla="*/ 2148840 h 3680460"/>
                  <a:gd name="connsiteX138" fmla="*/ 2910840 w 3025140"/>
                  <a:gd name="connsiteY138" fmla="*/ 2087880 h 3680460"/>
                  <a:gd name="connsiteX139" fmla="*/ 2918460 w 3025140"/>
                  <a:gd name="connsiteY139" fmla="*/ 2049780 h 3680460"/>
                  <a:gd name="connsiteX140" fmla="*/ 2933700 w 3025140"/>
                  <a:gd name="connsiteY140" fmla="*/ 1844040 h 3680460"/>
                  <a:gd name="connsiteX141" fmla="*/ 2918460 w 3025140"/>
                  <a:gd name="connsiteY141" fmla="*/ 1470660 h 3680460"/>
                  <a:gd name="connsiteX142" fmla="*/ 2895600 w 3025140"/>
                  <a:gd name="connsiteY142" fmla="*/ 1371600 h 3680460"/>
                  <a:gd name="connsiteX143" fmla="*/ 2880360 w 3025140"/>
                  <a:gd name="connsiteY143" fmla="*/ 1341120 h 3680460"/>
                  <a:gd name="connsiteX144" fmla="*/ 2857500 w 3025140"/>
                  <a:gd name="connsiteY144" fmla="*/ 1272540 h 3680460"/>
                  <a:gd name="connsiteX145" fmla="*/ 2849880 w 3025140"/>
                  <a:gd name="connsiteY145" fmla="*/ 1234440 h 3680460"/>
                  <a:gd name="connsiteX146" fmla="*/ 2827020 w 3025140"/>
                  <a:gd name="connsiteY146" fmla="*/ 1196340 h 3680460"/>
                  <a:gd name="connsiteX147" fmla="*/ 2811780 w 3025140"/>
                  <a:gd name="connsiteY147" fmla="*/ 1165860 h 3680460"/>
                  <a:gd name="connsiteX148" fmla="*/ 2781300 w 3025140"/>
                  <a:gd name="connsiteY148" fmla="*/ 1127760 h 3680460"/>
                  <a:gd name="connsiteX149" fmla="*/ 2766060 w 3025140"/>
                  <a:gd name="connsiteY149" fmla="*/ 1089660 h 3680460"/>
                  <a:gd name="connsiteX150" fmla="*/ 2735580 w 3025140"/>
                  <a:gd name="connsiteY150" fmla="*/ 1043940 h 3680460"/>
                  <a:gd name="connsiteX151" fmla="*/ 2727960 w 3025140"/>
                  <a:gd name="connsiteY151" fmla="*/ 1021080 h 3680460"/>
                  <a:gd name="connsiteX152" fmla="*/ 2682240 w 3025140"/>
                  <a:gd name="connsiteY152" fmla="*/ 937260 h 3680460"/>
                  <a:gd name="connsiteX153" fmla="*/ 2659380 w 3025140"/>
                  <a:gd name="connsiteY153" fmla="*/ 876300 h 3680460"/>
                  <a:gd name="connsiteX154" fmla="*/ 2644140 w 3025140"/>
                  <a:gd name="connsiteY154" fmla="*/ 845820 h 3680460"/>
                  <a:gd name="connsiteX155" fmla="*/ 2636520 w 3025140"/>
                  <a:gd name="connsiteY155" fmla="*/ 822960 h 3680460"/>
                  <a:gd name="connsiteX156" fmla="*/ 2621280 w 3025140"/>
                  <a:gd name="connsiteY156" fmla="*/ 800100 h 3680460"/>
                  <a:gd name="connsiteX157" fmla="*/ 2598420 w 3025140"/>
                  <a:gd name="connsiteY157" fmla="*/ 739140 h 3680460"/>
                  <a:gd name="connsiteX158" fmla="*/ 2458403 w 3025140"/>
                  <a:gd name="connsiteY158" fmla="*/ 621983 h 3680460"/>
                  <a:gd name="connsiteX159" fmla="*/ 2301240 w 3025140"/>
                  <a:gd name="connsiteY159" fmla="*/ 458152 h 3680460"/>
                  <a:gd name="connsiteX160" fmla="*/ 2237423 w 3025140"/>
                  <a:gd name="connsiteY160" fmla="*/ 406717 h 3680460"/>
                  <a:gd name="connsiteX161" fmla="*/ 2103120 w 3025140"/>
                  <a:gd name="connsiteY161" fmla="*/ 312420 h 3680460"/>
                  <a:gd name="connsiteX162" fmla="*/ 2042160 w 3025140"/>
                  <a:gd name="connsiteY162" fmla="*/ 266700 h 3680460"/>
                  <a:gd name="connsiteX163" fmla="*/ 2004060 w 3025140"/>
                  <a:gd name="connsiteY163" fmla="*/ 251460 h 3680460"/>
                  <a:gd name="connsiteX164" fmla="*/ 1958340 w 3025140"/>
                  <a:gd name="connsiteY164" fmla="*/ 220980 h 3680460"/>
                  <a:gd name="connsiteX165" fmla="*/ 1897380 w 3025140"/>
                  <a:gd name="connsiteY16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03220 w 3025140"/>
                  <a:gd name="connsiteY24" fmla="*/ 967740 h 3680460"/>
                  <a:gd name="connsiteX25" fmla="*/ 2918460 w 3025140"/>
                  <a:gd name="connsiteY25" fmla="*/ 1036320 h 3680460"/>
                  <a:gd name="connsiteX26" fmla="*/ 2933700 w 3025140"/>
                  <a:gd name="connsiteY26" fmla="*/ 1074420 h 3680460"/>
                  <a:gd name="connsiteX27" fmla="*/ 2948940 w 3025140"/>
                  <a:gd name="connsiteY27" fmla="*/ 1120140 h 3680460"/>
                  <a:gd name="connsiteX28" fmla="*/ 2964180 w 3025140"/>
                  <a:gd name="connsiteY28" fmla="*/ 1203960 h 3680460"/>
                  <a:gd name="connsiteX29" fmla="*/ 2979420 w 3025140"/>
                  <a:gd name="connsiteY29" fmla="*/ 1264920 h 3680460"/>
                  <a:gd name="connsiteX30" fmla="*/ 2987040 w 3025140"/>
                  <a:gd name="connsiteY30" fmla="*/ 1318260 h 3680460"/>
                  <a:gd name="connsiteX31" fmla="*/ 2994660 w 3025140"/>
                  <a:gd name="connsiteY31" fmla="*/ 1348740 h 3680460"/>
                  <a:gd name="connsiteX32" fmla="*/ 3009900 w 3025140"/>
                  <a:gd name="connsiteY32" fmla="*/ 1432560 h 3680460"/>
                  <a:gd name="connsiteX33" fmla="*/ 3017520 w 3025140"/>
                  <a:gd name="connsiteY33" fmla="*/ 1684020 h 3680460"/>
                  <a:gd name="connsiteX34" fmla="*/ 3025140 w 3025140"/>
                  <a:gd name="connsiteY34" fmla="*/ 1744980 h 3680460"/>
                  <a:gd name="connsiteX35" fmla="*/ 3017520 w 3025140"/>
                  <a:gd name="connsiteY35" fmla="*/ 2095500 h 3680460"/>
                  <a:gd name="connsiteX36" fmla="*/ 3009900 w 3025140"/>
                  <a:gd name="connsiteY36" fmla="*/ 2125980 h 3680460"/>
                  <a:gd name="connsiteX37" fmla="*/ 2979420 w 3025140"/>
                  <a:gd name="connsiteY37" fmla="*/ 2194560 h 3680460"/>
                  <a:gd name="connsiteX38" fmla="*/ 2956560 w 3025140"/>
                  <a:gd name="connsiteY38" fmla="*/ 2247900 h 3680460"/>
                  <a:gd name="connsiteX39" fmla="*/ 2941320 w 3025140"/>
                  <a:gd name="connsiteY39" fmla="*/ 2324100 h 3680460"/>
                  <a:gd name="connsiteX40" fmla="*/ 2926080 w 3025140"/>
                  <a:gd name="connsiteY40" fmla="*/ 2392680 h 3680460"/>
                  <a:gd name="connsiteX41" fmla="*/ 2918460 w 3025140"/>
                  <a:gd name="connsiteY41" fmla="*/ 2415540 h 3680460"/>
                  <a:gd name="connsiteX42" fmla="*/ 2895600 w 3025140"/>
                  <a:gd name="connsiteY42" fmla="*/ 2484120 h 3680460"/>
                  <a:gd name="connsiteX43" fmla="*/ 2872740 w 3025140"/>
                  <a:gd name="connsiteY43" fmla="*/ 2583180 h 3680460"/>
                  <a:gd name="connsiteX44" fmla="*/ 2857500 w 3025140"/>
                  <a:gd name="connsiteY44" fmla="*/ 2606040 h 3680460"/>
                  <a:gd name="connsiteX45" fmla="*/ 2834640 w 3025140"/>
                  <a:gd name="connsiteY45" fmla="*/ 2689860 h 3680460"/>
                  <a:gd name="connsiteX46" fmla="*/ 2811780 w 3025140"/>
                  <a:gd name="connsiteY46" fmla="*/ 2750820 h 3680460"/>
                  <a:gd name="connsiteX47" fmla="*/ 2788920 w 3025140"/>
                  <a:gd name="connsiteY47" fmla="*/ 2781300 h 3680460"/>
                  <a:gd name="connsiteX48" fmla="*/ 2781300 w 3025140"/>
                  <a:gd name="connsiteY48" fmla="*/ 2804160 h 3680460"/>
                  <a:gd name="connsiteX49" fmla="*/ 2743200 w 3025140"/>
                  <a:gd name="connsiteY49" fmla="*/ 2865120 h 3680460"/>
                  <a:gd name="connsiteX50" fmla="*/ 2712720 w 3025140"/>
                  <a:gd name="connsiteY50" fmla="*/ 2903220 h 3680460"/>
                  <a:gd name="connsiteX51" fmla="*/ 2697480 w 3025140"/>
                  <a:gd name="connsiteY51" fmla="*/ 2933700 h 3680460"/>
                  <a:gd name="connsiteX52" fmla="*/ 2674620 w 3025140"/>
                  <a:gd name="connsiteY52" fmla="*/ 2964180 h 3680460"/>
                  <a:gd name="connsiteX53" fmla="*/ 2644140 w 3025140"/>
                  <a:gd name="connsiteY53" fmla="*/ 3009900 h 3680460"/>
                  <a:gd name="connsiteX54" fmla="*/ 2598420 w 3025140"/>
                  <a:gd name="connsiteY54" fmla="*/ 3055620 h 3680460"/>
                  <a:gd name="connsiteX55" fmla="*/ 2575560 w 3025140"/>
                  <a:gd name="connsiteY55" fmla="*/ 3078480 h 3680460"/>
                  <a:gd name="connsiteX56" fmla="*/ 2476500 w 3025140"/>
                  <a:gd name="connsiteY56" fmla="*/ 3169920 h 3680460"/>
                  <a:gd name="connsiteX57" fmla="*/ 2377440 w 3025140"/>
                  <a:gd name="connsiteY57" fmla="*/ 3223260 h 3680460"/>
                  <a:gd name="connsiteX58" fmla="*/ 2293620 w 3025140"/>
                  <a:gd name="connsiteY58" fmla="*/ 3284220 h 3680460"/>
                  <a:gd name="connsiteX59" fmla="*/ 2240280 w 3025140"/>
                  <a:gd name="connsiteY59" fmla="*/ 3314700 h 3680460"/>
                  <a:gd name="connsiteX60" fmla="*/ 2225040 w 3025140"/>
                  <a:gd name="connsiteY60" fmla="*/ 3337560 h 3680460"/>
                  <a:gd name="connsiteX61" fmla="*/ 2141220 w 3025140"/>
                  <a:gd name="connsiteY61" fmla="*/ 3390900 h 3680460"/>
                  <a:gd name="connsiteX62" fmla="*/ 2110740 w 3025140"/>
                  <a:gd name="connsiteY62" fmla="*/ 3413760 h 3680460"/>
                  <a:gd name="connsiteX63" fmla="*/ 2072640 w 3025140"/>
                  <a:gd name="connsiteY63" fmla="*/ 3451860 h 3680460"/>
                  <a:gd name="connsiteX64" fmla="*/ 2019300 w 3025140"/>
                  <a:gd name="connsiteY64" fmla="*/ 3467100 h 3680460"/>
                  <a:gd name="connsiteX65" fmla="*/ 1874520 w 3025140"/>
                  <a:gd name="connsiteY65" fmla="*/ 3512820 h 3680460"/>
                  <a:gd name="connsiteX66" fmla="*/ 1828800 w 3025140"/>
                  <a:gd name="connsiteY66" fmla="*/ 3520440 h 3680460"/>
                  <a:gd name="connsiteX67" fmla="*/ 1722120 w 3025140"/>
                  <a:gd name="connsiteY67" fmla="*/ 3550920 h 3680460"/>
                  <a:gd name="connsiteX68" fmla="*/ 1600200 w 3025140"/>
                  <a:gd name="connsiteY68" fmla="*/ 3589020 h 3680460"/>
                  <a:gd name="connsiteX69" fmla="*/ 1569720 w 3025140"/>
                  <a:gd name="connsiteY69" fmla="*/ 3596640 h 3680460"/>
                  <a:gd name="connsiteX70" fmla="*/ 1546860 w 3025140"/>
                  <a:gd name="connsiteY70" fmla="*/ 3611880 h 3680460"/>
                  <a:gd name="connsiteX71" fmla="*/ 1463040 w 3025140"/>
                  <a:gd name="connsiteY71" fmla="*/ 3627120 h 3680460"/>
                  <a:gd name="connsiteX72" fmla="*/ 1333500 w 3025140"/>
                  <a:gd name="connsiteY72" fmla="*/ 3657600 h 3680460"/>
                  <a:gd name="connsiteX73" fmla="*/ 1203960 w 3025140"/>
                  <a:gd name="connsiteY73" fmla="*/ 3672840 h 3680460"/>
                  <a:gd name="connsiteX74" fmla="*/ 1165860 w 3025140"/>
                  <a:gd name="connsiteY74" fmla="*/ 3680460 h 3680460"/>
                  <a:gd name="connsiteX75" fmla="*/ 449580 w 3025140"/>
                  <a:gd name="connsiteY75" fmla="*/ 3672840 h 3680460"/>
                  <a:gd name="connsiteX76" fmla="*/ 426720 w 3025140"/>
                  <a:gd name="connsiteY76" fmla="*/ 3665220 h 3680460"/>
                  <a:gd name="connsiteX77" fmla="*/ 388620 w 3025140"/>
                  <a:gd name="connsiteY77" fmla="*/ 3657600 h 3680460"/>
                  <a:gd name="connsiteX78" fmla="*/ 335280 w 3025140"/>
                  <a:gd name="connsiteY78" fmla="*/ 3627120 h 3680460"/>
                  <a:gd name="connsiteX79" fmla="*/ 266700 w 3025140"/>
                  <a:gd name="connsiteY79" fmla="*/ 3604260 h 3680460"/>
                  <a:gd name="connsiteX80" fmla="*/ 243840 w 3025140"/>
                  <a:gd name="connsiteY80" fmla="*/ 3589020 h 3680460"/>
                  <a:gd name="connsiteX81" fmla="*/ 160020 w 3025140"/>
                  <a:gd name="connsiteY81" fmla="*/ 3558540 h 3680460"/>
                  <a:gd name="connsiteX82" fmla="*/ 137160 w 3025140"/>
                  <a:gd name="connsiteY82" fmla="*/ 3535680 h 3680460"/>
                  <a:gd name="connsiteX83" fmla="*/ 99060 w 3025140"/>
                  <a:gd name="connsiteY83" fmla="*/ 3520440 h 3680460"/>
                  <a:gd name="connsiteX84" fmla="*/ 83820 w 3025140"/>
                  <a:gd name="connsiteY84" fmla="*/ 3489960 h 3680460"/>
                  <a:gd name="connsiteX85" fmla="*/ 45720 w 3025140"/>
                  <a:gd name="connsiteY85" fmla="*/ 3436620 h 3680460"/>
                  <a:gd name="connsiteX86" fmla="*/ 0 w 3025140"/>
                  <a:gd name="connsiteY86" fmla="*/ 3352800 h 3680460"/>
                  <a:gd name="connsiteX87" fmla="*/ 30480 w 3025140"/>
                  <a:gd name="connsiteY87" fmla="*/ 3345180 h 3680460"/>
                  <a:gd name="connsiteX88" fmla="*/ 137160 w 3025140"/>
                  <a:gd name="connsiteY88" fmla="*/ 3360420 h 3680460"/>
                  <a:gd name="connsiteX89" fmla="*/ 167640 w 3025140"/>
                  <a:gd name="connsiteY89" fmla="*/ 3390900 h 3680460"/>
                  <a:gd name="connsiteX90" fmla="*/ 198120 w 3025140"/>
                  <a:gd name="connsiteY90" fmla="*/ 3406140 h 3680460"/>
                  <a:gd name="connsiteX91" fmla="*/ 350520 w 3025140"/>
                  <a:gd name="connsiteY91" fmla="*/ 3436620 h 3680460"/>
                  <a:gd name="connsiteX92" fmla="*/ 381000 w 3025140"/>
                  <a:gd name="connsiteY92" fmla="*/ 3451860 h 3680460"/>
                  <a:gd name="connsiteX93" fmla="*/ 449580 w 3025140"/>
                  <a:gd name="connsiteY93" fmla="*/ 3489960 h 3680460"/>
                  <a:gd name="connsiteX94" fmla="*/ 495300 w 3025140"/>
                  <a:gd name="connsiteY94" fmla="*/ 3520440 h 3680460"/>
                  <a:gd name="connsiteX95" fmla="*/ 525780 w 3025140"/>
                  <a:gd name="connsiteY95" fmla="*/ 3535680 h 3680460"/>
                  <a:gd name="connsiteX96" fmla="*/ 731520 w 3025140"/>
                  <a:gd name="connsiteY96" fmla="*/ 3558540 h 3680460"/>
                  <a:gd name="connsiteX97" fmla="*/ 1341120 w 3025140"/>
                  <a:gd name="connsiteY97" fmla="*/ 3550920 h 3680460"/>
                  <a:gd name="connsiteX98" fmla="*/ 1440180 w 3025140"/>
                  <a:gd name="connsiteY98" fmla="*/ 3528060 h 3680460"/>
                  <a:gd name="connsiteX99" fmla="*/ 1539240 w 3025140"/>
                  <a:gd name="connsiteY99" fmla="*/ 3520440 h 3680460"/>
                  <a:gd name="connsiteX100" fmla="*/ 1562100 w 3025140"/>
                  <a:gd name="connsiteY100" fmla="*/ 3512820 h 3680460"/>
                  <a:gd name="connsiteX101" fmla="*/ 1630680 w 3025140"/>
                  <a:gd name="connsiteY101" fmla="*/ 3497580 h 3680460"/>
                  <a:gd name="connsiteX102" fmla="*/ 1699260 w 3025140"/>
                  <a:gd name="connsiteY102" fmla="*/ 3474720 h 3680460"/>
                  <a:gd name="connsiteX103" fmla="*/ 1790700 w 3025140"/>
                  <a:gd name="connsiteY103" fmla="*/ 3451860 h 3680460"/>
                  <a:gd name="connsiteX104" fmla="*/ 1821180 w 3025140"/>
                  <a:gd name="connsiteY104" fmla="*/ 3444240 h 3680460"/>
                  <a:gd name="connsiteX105" fmla="*/ 1844040 w 3025140"/>
                  <a:gd name="connsiteY105" fmla="*/ 3429000 h 3680460"/>
                  <a:gd name="connsiteX106" fmla="*/ 1874520 w 3025140"/>
                  <a:gd name="connsiteY106" fmla="*/ 3421380 h 3680460"/>
                  <a:gd name="connsiteX107" fmla="*/ 1927860 w 3025140"/>
                  <a:gd name="connsiteY107" fmla="*/ 3398520 h 3680460"/>
                  <a:gd name="connsiteX108" fmla="*/ 1950720 w 3025140"/>
                  <a:gd name="connsiteY108" fmla="*/ 3390900 h 3680460"/>
                  <a:gd name="connsiteX109" fmla="*/ 2004060 w 3025140"/>
                  <a:gd name="connsiteY109" fmla="*/ 3360420 h 3680460"/>
                  <a:gd name="connsiteX110" fmla="*/ 2042160 w 3025140"/>
                  <a:gd name="connsiteY110" fmla="*/ 3352800 h 3680460"/>
                  <a:gd name="connsiteX111" fmla="*/ 2080260 w 3025140"/>
                  <a:gd name="connsiteY111" fmla="*/ 3337560 h 3680460"/>
                  <a:gd name="connsiteX112" fmla="*/ 2156460 w 3025140"/>
                  <a:gd name="connsiteY112" fmla="*/ 3299460 h 3680460"/>
                  <a:gd name="connsiteX113" fmla="*/ 2179320 w 3025140"/>
                  <a:gd name="connsiteY113" fmla="*/ 3284220 h 3680460"/>
                  <a:gd name="connsiteX114" fmla="*/ 2209800 w 3025140"/>
                  <a:gd name="connsiteY114" fmla="*/ 3276600 h 3680460"/>
                  <a:gd name="connsiteX115" fmla="*/ 2263140 w 3025140"/>
                  <a:gd name="connsiteY115" fmla="*/ 3230880 h 3680460"/>
                  <a:gd name="connsiteX116" fmla="*/ 2346960 w 3025140"/>
                  <a:gd name="connsiteY116" fmla="*/ 3154680 h 3680460"/>
                  <a:gd name="connsiteX117" fmla="*/ 2400300 w 3025140"/>
                  <a:gd name="connsiteY117" fmla="*/ 3070860 h 3680460"/>
                  <a:gd name="connsiteX118" fmla="*/ 2415540 w 3025140"/>
                  <a:gd name="connsiteY118" fmla="*/ 3048000 h 3680460"/>
                  <a:gd name="connsiteX119" fmla="*/ 2446020 w 3025140"/>
                  <a:gd name="connsiteY119" fmla="*/ 3032760 h 3680460"/>
                  <a:gd name="connsiteX120" fmla="*/ 2468880 w 3025140"/>
                  <a:gd name="connsiteY120" fmla="*/ 3009900 h 3680460"/>
                  <a:gd name="connsiteX121" fmla="*/ 2537460 w 3025140"/>
                  <a:gd name="connsiteY121" fmla="*/ 2926080 h 3680460"/>
                  <a:gd name="connsiteX122" fmla="*/ 2575560 w 3025140"/>
                  <a:gd name="connsiteY122" fmla="*/ 2880360 h 3680460"/>
                  <a:gd name="connsiteX123" fmla="*/ 2628900 w 3025140"/>
                  <a:gd name="connsiteY123" fmla="*/ 2811780 h 3680460"/>
                  <a:gd name="connsiteX124" fmla="*/ 2644140 w 3025140"/>
                  <a:gd name="connsiteY124" fmla="*/ 2773680 h 3680460"/>
                  <a:gd name="connsiteX125" fmla="*/ 2674620 w 3025140"/>
                  <a:gd name="connsiteY125" fmla="*/ 2727960 h 3680460"/>
                  <a:gd name="connsiteX126" fmla="*/ 2689860 w 3025140"/>
                  <a:gd name="connsiteY126" fmla="*/ 2705100 h 3680460"/>
                  <a:gd name="connsiteX127" fmla="*/ 2705100 w 3025140"/>
                  <a:gd name="connsiteY127" fmla="*/ 2667000 h 3680460"/>
                  <a:gd name="connsiteX128" fmla="*/ 2727960 w 3025140"/>
                  <a:gd name="connsiteY128" fmla="*/ 2621280 h 3680460"/>
                  <a:gd name="connsiteX129" fmla="*/ 2735580 w 3025140"/>
                  <a:gd name="connsiteY129" fmla="*/ 2590800 h 3680460"/>
                  <a:gd name="connsiteX130" fmla="*/ 2758440 w 3025140"/>
                  <a:gd name="connsiteY130" fmla="*/ 2545080 h 3680460"/>
                  <a:gd name="connsiteX131" fmla="*/ 2788920 w 3025140"/>
                  <a:gd name="connsiteY131" fmla="*/ 2484120 h 3680460"/>
                  <a:gd name="connsiteX132" fmla="*/ 2811780 w 3025140"/>
                  <a:gd name="connsiteY132" fmla="*/ 2407920 h 3680460"/>
                  <a:gd name="connsiteX133" fmla="*/ 2842260 w 3025140"/>
                  <a:gd name="connsiteY133" fmla="*/ 2324100 h 3680460"/>
                  <a:gd name="connsiteX134" fmla="*/ 2857500 w 3025140"/>
                  <a:gd name="connsiteY134" fmla="*/ 2247900 h 3680460"/>
                  <a:gd name="connsiteX135" fmla="*/ 2872740 w 3025140"/>
                  <a:gd name="connsiteY135" fmla="*/ 2194560 h 3680460"/>
                  <a:gd name="connsiteX136" fmla="*/ 2887980 w 3025140"/>
                  <a:gd name="connsiteY136" fmla="*/ 2148840 h 3680460"/>
                  <a:gd name="connsiteX137" fmla="*/ 2910840 w 3025140"/>
                  <a:gd name="connsiteY137" fmla="*/ 2087880 h 3680460"/>
                  <a:gd name="connsiteX138" fmla="*/ 2918460 w 3025140"/>
                  <a:gd name="connsiteY138" fmla="*/ 2049780 h 3680460"/>
                  <a:gd name="connsiteX139" fmla="*/ 2933700 w 3025140"/>
                  <a:gd name="connsiteY139" fmla="*/ 1844040 h 3680460"/>
                  <a:gd name="connsiteX140" fmla="*/ 2918460 w 3025140"/>
                  <a:gd name="connsiteY140" fmla="*/ 1470660 h 3680460"/>
                  <a:gd name="connsiteX141" fmla="*/ 2895600 w 3025140"/>
                  <a:gd name="connsiteY141" fmla="*/ 1371600 h 3680460"/>
                  <a:gd name="connsiteX142" fmla="*/ 2880360 w 3025140"/>
                  <a:gd name="connsiteY142" fmla="*/ 1341120 h 3680460"/>
                  <a:gd name="connsiteX143" fmla="*/ 2857500 w 3025140"/>
                  <a:gd name="connsiteY143" fmla="*/ 1272540 h 3680460"/>
                  <a:gd name="connsiteX144" fmla="*/ 2849880 w 3025140"/>
                  <a:gd name="connsiteY144" fmla="*/ 1234440 h 3680460"/>
                  <a:gd name="connsiteX145" fmla="*/ 2827020 w 3025140"/>
                  <a:gd name="connsiteY145" fmla="*/ 1196340 h 3680460"/>
                  <a:gd name="connsiteX146" fmla="*/ 2811780 w 3025140"/>
                  <a:gd name="connsiteY146" fmla="*/ 1165860 h 3680460"/>
                  <a:gd name="connsiteX147" fmla="*/ 2781300 w 3025140"/>
                  <a:gd name="connsiteY147" fmla="*/ 1127760 h 3680460"/>
                  <a:gd name="connsiteX148" fmla="*/ 2766060 w 3025140"/>
                  <a:gd name="connsiteY148" fmla="*/ 1089660 h 3680460"/>
                  <a:gd name="connsiteX149" fmla="*/ 2735580 w 3025140"/>
                  <a:gd name="connsiteY149" fmla="*/ 1043940 h 3680460"/>
                  <a:gd name="connsiteX150" fmla="*/ 2727960 w 3025140"/>
                  <a:gd name="connsiteY150" fmla="*/ 1021080 h 3680460"/>
                  <a:gd name="connsiteX151" fmla="*/ 2682240 w 3025140"/>
                  <a:gd name="connsiteY151" fmla="*/ 937260 h 3680460"/>
                  <a:gd name="connsiteX152" fmla="*/ 2659380 w 3025140"/>
                  <a:gd name="connsiteY152" fmla="*/ 876300 h 3680460"/>
                  <a:gd name="connsiteX153" fmla="*/ 2644140 w 3025140"/>
                  <a:gd name="connsiteY153" fmla="*/ 845820 h 3680460"/>
                  <a:gd name="connsiteX154" fmla="*/ 2636520 w 3025140"/>
                  <a:gd name="connsiteY154" fmla="*/ 822960 h 3680460"/>
                  <a:gd name="connsiteX155" fmla="*/ 2621280 w 3025140"/>
                  <a:gd name="connsiteY155" fmla="*/ 800100 h 3680460"/>
                  <a:gd name="connsiteX156" fmla="*/ 2598420 w 3025140"/>
                  <a:gd name="connsiteY156" fmla="*/ 739140 h 3680460"/>
                  <a:gd name="connsiteX157" fmla="*/ 2458403 w 3025140"/>
                  <a:gd name="connsiteY157" fmla="*/ 621983 h 3680460"/>
                  <a:gd name="connsiteX158" fmla="*/ 2301240 w 3025140"/>
                  <a:gd name="connsiteY158" fmla="*/ 458152 h 3680460"/>
                  <a:gd name="connsiteX159" fmla="*/ 2237423 w 3025140"/>
                  <a:gd name="connsiteY159" fmla="*/ 406717 h 3680460"/>
                  <a:gd name="connsiteX160" fmla="*/ 2103120 w 3025140"/>
                  <a:gd name="connsiteY160" fmla="*/ 312420 h 3680460"/>
                  <a:gd name="connsiteX161" fmla="*/ 2042160 w 3025140"/>
                  <a:gd name="connsiteY161" fmla="*/ 266700 h 3680460"/>
                  <a:gd name="connsiteX162" fmla="*/ 2004060 w 3025140"/>
                  <a:gd name="connsiteY162" fmla="*/ 251460 h 3680460"/>
                  <a:gd name="connsiteX163" fmla="*/ 1958340 w 3025140"/>
                  <a:gd name="connsiteY163" fmla="*/ 220980 h 3680460"/>
                  <a:gd name="connsiteX164" fmla="*/ 1897380 w 3025140"/>
                  <a:gd name="connsiteY16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18460 w 3025140"/>
                  <a:gd name="connsiteY24" fmla="*/ 1036320 h 3680460"/>
                  <a:gd name="connsiteX25" fmla="*/ 2933700 w 3025140"/>
                  <a:gd name="connsiteY25" fmla="*/ 1074420 h 3680460"/>
                  <a:gd name="connsiteX26" fmla="*/ 2948940 w 3025140"/>
                  <a:gd name="connsiteY26" fmla="*/ 1120140 h 3680460"/>
                  <a:gd name="connsiteX27" fmla="*/ 2964180 w 3025140"/>
                  <a:gd name="connsiteY27" fmla="*/ 1203960 h 3680460"/>
                  <a:gd name="connsiteX28" fmla="*/ 2979420 w 3025140"/>
                  <a:gd name="connsiteY28" fmla="*/ 1264920 h 3680460"/>
                  <a:gd name="connsiteX29" fmla="*/ 2987040 w 3025140"/>
                  <a:gd name="connsiteY29" fmla="*/ 1318260 h 3680460"/>
                  <a:gd name="connsiteX30" fmla="*/ 2994660 w 3025140"/>
                  <a:gd name="connsiteY30" fmla="*/ 1348740 h 3680460"/>
                  <a:gd name="connsiteX31" fmla="*/ 3009900 w 3025140"/>
                  <a:gd name="connsiteY31" fmla="*/ 1432560 h 3680460"/>
                  <a:gd name="connsiteX32" fmla="*/ 3017520 w 3025140"/>
                  <a:gd name="connsiteY32" fmla="*/ 1684020 h 3680460"/>
                  <a:gd name="connsiteX33" fmla="*/ 3025140 w 3025140"/>
                  <a:gd name="connsiteY33" fmla="*/ 1744980 h 3680460"/>
                  <a:gd name="connsiteX34" fmla="*/ 3017520 w 3025140"/>
                  <a:gd name="connsiteY34" fmla="*/ 2095500 h 3680460"/>
                  <a:gd name="connsiteX35" fmla="*/ 3009900 w 3025140"/>
                  <a:gd name="connsiteY35" fmla="*/ 2125980 h 3680460"/>
                  <a:gd name="connsiteX36" fmla="*/ 2979420 w 3025140"/>
                  <a:gd name="connsiteY36" fmla="*/ 2194560 h 3680460"/>
                  <a:gd name="connsiteX37" fmla="*/ 2956560 w 3025140"/>
                  <a:gd name="connsiteY37" fmla="*/ 2247900 h 3680460"/>
                  <a:gd name="connsiteX38" fmla="*/ 2941320 w 3025140"/>
                  <a:gd name="connsiteY38" fmla="*/ 2324100 h 3680460"/>
                  <a:gd name="connsiteX39" fmla="*/ 2926080 w 3025140"/>
                  <a:gd name="connsiteY39" fmla="*/ 2392680 h 3680460"/>
                  <a:gd name="connsiteX40" fmla="*/ 2918460 w 3025140"/>
                  <a:gd name="connsiteY40" fmla="*/ 2415540 h 3680460"/>
                  <a:gd name="connsiteX41" fmla="*/ 2895600 w 3025140"/>
                  <a:gd name="connsiteY41" fmla="*/ 2484120 h 3680460"/>
                  <a:gd name="connsiteX42" fmla="*/ 2872740 w 3025140"/>
                  <a:gd name="connsiteY42" fmla="*/ 2583180 h 3680460"/>
                  <a:gd name="connsiteX43" fmla="*/ 2857500 w 3025140"/>
                  <a:gd name="connsiteY43" fmla="*/ 2606040 h 3680460"/>
                  <a:gd name="connsiteX44" fmla="*/ 2834640 w 3025140"/>
                  <a:gd name="connsiteY44" fmla="*/ 2689860 h 3680460"/>
                  <a:gd name="connsiteX45" fmla="*/ 2811780 w 3025140"/>
                  <a:gd name="connsiteY45" fmla="*/ 2750820 h 3680460"/>
                  <a:gd name="connsiteX46" fmla="*/ 2788920 w 3025140"/>
                  <a:gd name="connsiteY46" fmla="*/ 2781300 h 3680460"/>
                  <a:gd name="connsiteX47" fmla="*/ 2781300 w 3025140"/>
                  <a:gd name="connsiteY47" fmla="*/ 2804160 h 3680460"/>
                  <a:gd name="connsiteX48" fmla="*/ 2743200 w 3025140"/>
                  <a:gd name="connsiteY48" fmla="*/ 2865120 h 3680460"/>
                  <a:gd name="connsiteX49" fmla="*/ 2712720 w 3025140"/>
                  <a:gd name="connsiteY49" fmla="*/ 2903220 h 3680460"/>
                  <a:gd name="connsiteX50" fmla="*/ 2697480 w 3025140"/>
                  <a:gd name="connsiteY50" fmla="*/ 2933700 h 3680460"/>
                  <a:gd name="connsiteX51" fmla="*/ 2674620 w 3025140"/>
                  <a:gd name="connsiteY51" fmla="*/ 2964180 h 3680460"/>
                  <a:gd name="connsiteX52" fmla="*/ 2644140 w 3025140"/>
                  <a:gd name="connsiteY52" fmla="*/ 3009900 h 3680460"/>
                  <a:gd name="connsiteX53" fmla="*/ 2598420 w 3025140"/>
                  <a:gd name="connsiteY53" fmla="*/ 3055620 h 3680460"/>
                  <a:gd name="connsiteX54" fmla="*/ 2575560 w 3025140"/>
                  <a:gd name="connsiteY54" fmla="*/ 3078480 h 3680460"/>
                  <a:gd name="connsiteX55" fmla="*/ 2476500 w 3025140"/>
                  <a:gd name="connsiteY55" fmla="*/ 3169920 h 3680460"/>
                  <a:gd name="connsiteX56" fmla="*/ 2377440 w 3025140"/>
                  <a:gd name="connsiteY56" fmla="*/ 3223260 h 3680460"/>
                  <a:gd name="connsiteX57" fmla="*/ 2293620 w 3025140"/>
                  <a:gd name="connsiteY57" fmla="*/ 3284220 h 3680460"/>
                  <a:gd name="connsiteX58" fmla="*/ 2240280 w 3025140"/>
                  <a:gd name="connsiteY58" fmla="*/ 3314700 h 3680460"/>
                  <a:gd name="connsiteX59" fmla="*/ 2225040 w 3025140"/>
                  <a:gd name="connsiteY59" fmla="*/ 3337560 h 3680460"/>
                  <a:gd name="connsiteX60" fmla="*/ 2141220 w 3025140"/>
                  <a:gd name="connsiteY60" fmla="*/ 3390900 h 3680460"/>
                  <a:gd name="connsiteX61" fmla="*/ 2110740 w 3025140"/>
                  <a:gd name="connsiteY61" fmla="*/ 3413760 h 3680460"/>
                  <a:gd name="connsiteX62" fmla="*/ 2072640 w 3025140"/>
                  <a:gd name="connsiteY62" fmla="*/ 3451860 h 3680460"/>
                  <a:gd name="connsiteX63" fmla="*/ 2019300 w 3025140"/>
                  <a:gd name="connsiteY63" fmla="*/ 3467100 h 3680460"/>
                  <a:gd name="connsiteX64" fmla="*/ 1874520 w 3025140"/>
                  <a:gd name="connsiteY64" fmla="*/ 3512820 h 3680460"/>
                  <a:gd name="connsiteX65" fmla="*/ 1828800 w 3025140"/>
                  <a:gd name="connsiteY65" fmla="*/ 3520440 h 3680460"/>
                  <a:gd name="connsiteX66" fmla="*/ 1722120 w 3025140"/>
                  <a:gd name="connsiteY66" fmla="*/ 3550920 h 3680460"/>
                  <a:gd name="connsiteX67" fmla="*/ 1600200 w 3025140"/>
                  <a:gd name="connsiteY67" fmla="*/ 3589020 h 3680460"/>
                  <a:gd name="connsiteX68" fmla="*/ 1569720 w 3025140"/>
                  <a:gd name="connsiteY68" fmla="*/ 3596640 h 3680460"/>
                  <a:gd name="connsiteX69" fmla="*/ 1546860 w 3025140"/>
                  <a:gd name="connsiteY69" fmla="*/ 3611880 h 3680460"/>
                  <a:gd name="connsiteX70" fmla="*/ 1463040 w 3025140"/>
                  <a:gd name="connsiteY70" fmla="*/ 3627120 h 3680460"/>
                  <a:gd name="connsiteX71" fmla="*/ 1333500 w 3025140"/>
                  <a:gd name="connsiteY71" fmla="*/ 3657600 h 3680460"/>
                  <a:gd name="connsiteX72" fmla="*/ 1203960 w 3025140"/>
                  <a:gd name="connsiteY72" fmla="*/ 3672840 h 3680460"/>
                  <a:gd name="connsiteX73" fmla="*/ 1165860 w 3025140"/>
                  <a:gd name="connsiteY73" fmla="*/ 3680460 h 3680460"/>
                  <a:gd name="connsiteX74" fmla="*/ 449580 w 3025140"/>
                  <a:gd name="connsiteY74" fmla="*/ 3672840 h 3680460"/>
                  <a:gd name="connsiteX75" fmla="*/ 426720 w 3025140"/>
                  <a:gd name="connsiteY75" fmla="*/ 3665220 h 3680460"/>
                  <a:gd name="connsiteX76" fmla="*/ 388620 w 3025140"/>
                  <a:gd name="connsiteY76" fmla="*/ 3657600 h 3680460"/>
                  <a:gd name="connsiteX77" fmla="*/ 335280 w 3025140"/>
                  <a:gd name="connsiteY77" fmla="*/ 3627120 h 3680460"/>
                  <a:gd name="connsiteX78" fmla="*/ 266700 w 3025140"/>
                  <a:gd name="connsiteY78" fmla="*/ 3604260 h 3680460"/>
                  <a:gd name="connsiteX79" fmla="*/ 243840 w 3025140"/>
                  <a:gd name="connsiteY79" fmla="*/ 3589020 h 3680460"/>
                  <a:gd name="connsiteX80" fmla="*/ 160020 w 3025140"/>
                  <a:gd name="connsiteY80" fmla="*/ 3558540 h 3680460"/>
                  <a:gd name="connsiteX81" fmla="*/ 137160 w 3025140"/>
                  <a:gd name="connsiteY81" fmla="*/ 3535680 h 3680460"/>
                  <a:gd name="connsiteX82" fmla="*/ 99060 w 3025140"/>
                  <a:gd name="connsiteY82" fmla="*/ 3520440 h 3680460"/>
                  <a:gd name="connsiteX83" fmla="*/ 83820 w 3025140"/>
                  <a:gd name="connsiteY83" fmla="*/ 3489960 h 3680460"/>
                  <a:gd name="connsiteX84" fmla="*/ 45720 w 3025140"/>
                  <a:gd name="connsiteY84" fmla="*/ 3436620 h 3680460"/>
                  <a:gd name="connsiteX85" fmla="*/ 0 w 3025140"/>
                  <a:gd name="connsiteY85" fmla="*/ 3352800 h 3680460"/>
                  <a:gd name="connsiteX86" fmla="*/ 30480 w 3025140"/>
                  <a:gd name="connsiteY86" fmla="*/ 3345180 h 3680460"/>
                  <a:gd name="connsiteX87" fmla="*/ 137160 w 3025140"/>
                  <a:gd name="connsiteY87" fmla="*/ 3360420 h 3680460"/>
                  <a:gd name="connsiteX88" fmla="*/ 167640 w 3025140"/>
                  <a:gd name="connsiteY88" fmla="*/ 3390900 h 3680460"/>
                  <a:gd name="connsiteX89" fmla="*/ 198120 w 3025140"/>
                  <a:gd name="connsiteY89" fmla="*/ 3406140 h 3680460"/>
                  <a:gd name="connsiteX90" fmla="*/ 350520 w 3025140"/>
                  <a:gd name="connsiteY90" fmla="*/ 3436620 h 3680460"/>
                  <a:gd name="connsiteX91" fmla="*/ 381000 w 3025140"/>
                  <a:gd name="connsiteY91" fmla="*/ 3451860 h 3680460"/>
                  <a:gd name="connsiteX92" fmla="*/ 449580 w 3025140"/>
                  <a:gd name="connsiteY92" fmla="*/ 3489960 h 3680460"/>
                  <a:gd name="connsiteX93" fmla="*/ 495300 w 3025140"/>
                  <a:gd name="connsiteY93" fmla="*/ 3520440 h 3680460"/>
                  <a:gd name="connsiteX94" fmla="*/ 525780 w 3025140"/>
                  <a:gd name="connsiteY94" fmla="*/ 3535680 h 3680460"/>
                  <a:gd name="connsiteX95" fmla="*/ 731520 w 3025140"/>
                  <a:gd name="connsiteY95" fmla="*/ 3558540 h 3680460"/>
                  <a:gd name="connsiteX96" fmla="*/ 1341120 w 3025140"/>
                  <a:gd name="connsiteY96" fmla="*/ 3550920 h 3680460"/>
                  <a:gd name="connsiteX97" fmla="*/ 1440180 w 3025140"/>
                  <a:gd name="connsiteY97" fmla="*/ 3528060 h 3680460"/>
                  <a:gd name="connsiteX98" fmla="*/ 1539240 w 3025140"/>
                  <a:gd name="connsiteY98" fmla="*/ 3520440 h 3680460"/>
                  <a:gd name="connsiteX99" fmla="*/ 1562100 w 3025140"/>
                  <a:gd name="connsiteY99" fmla="*/ 3512820 h 3680460"/>
                  <a:gd name="connsiteX100" fmla="*/ 1630680 w 3025140"/>
                  <a:gd name="connsiteY100" fmla="*/ 3497580 h 3680460"/>
                  <a:gd name="connsiteX101" fmla="*/ 1699260 w 3025140"/>
                  <a:gd name="connsiteY101" fmla="*/ 3474720 h 3680460"/>
                  <a:gd name="connsiteX102" fmla="*/ 1790700 w 3025140"/>
                  <a:gd name="connsiteY102" fmla="*/ 3451860 h 3680460"/>
                  <a:gd name="connsiteX103" fmla="*/ 1821180 w 3025140"/>
                  <a:gd name="connsiteY103" fmla="*/ 3444240 h 3680460"/>
                  <a:gd name="connsiteX104" fmla="*/ 1844040 w 3025140"/>
                  <a:gd name="connsiteY104" fmla="*/ 3429000 h 3680460"/>
                  <a:gd name="connsiteX105" fmla="*/ 1874520 w 3025140"/>
                  <a:gd name="connsiteY105" fmla="*/ 3421380 h 3680460"/>
                  <a:gd name="connsiteX106" fmla="*/ 1927860 w 3025140"/>
                  <a:gd name="connsiteY106" fmla="*/ 3398520 h 3680460"/>
                  <a:gd name="connsiteX107" fmla="*/ 1950720 w 3025140"/>
                  <a:gd name="connsiteY107" fmla="*/ 3390900 h 3680460"/>
                  <a:gd name="connsiteX108" fmla="*/ 2004060 w 3025140"/>
                  <a:gd name="connsiteY108" fmla="*/ 3360420 h 3680460"/>
                  <a:gd name="connsiteX109" fmla="*/ 2042160 w 3025140"/>
                  <a:gd name="connsiteY109" fmla="*/ 3352800 h 3680460"/>
                  <a:gd name="connsiteX110" fmla="*/ 2080260 w 3025140"/>
                  <a:gd name="connsiteY110" fmla="*/ 3337560 h 3680460"/>
                  <a:gd name="connsiteX111" fmla="*/ 2156460 w 3025140"/>
                  <a:gd name="connsiteY111" fmla="*/ 3299460 h 3680460"/>
                  <a:gd name="connsiteX112" fmla="*/ 2179320 w 3025140"/>
                  <a:gd name="connsiteY112" fmla="*/ 3284220 h 3680460"/>
                  <a:gd name="connsiteX113" fmla="*/ 2209800 w 3025140"/>
                  <a:gd name="connsiteY113" fmla="*/ 3276600 h 3680460"/>
                  <a:gd name="connsiteX114" fmla="*/ 2263140 w 3025140"/>
                  <a:gd name="connsiteY114" fmla="*/ 3230880 h 3680460"/>
                  <a:gd name="connsiteX115" fmla="*/ 2346960 w 3025140"/>
                  <a:gd name="connsiteY115" fmla="*/ 3154680 h 3680460"/>
                  <a:gd name="connsiteX116" fmla="*/ 2400300 w 3025140"/>
                  <a:gd name="connsiteY116" fmla="*/ 3070860 h 3680460"/>
                  <a:gd name="connsiteX117" fmla="*/ 2415540 w 3025140"/>
                  <a:gd name="connsiteY117" fmla="*/ 3048000 h 3680460"/>
                  <a:gd name="connsiteX118" fmla="*/ 2446020 w 3025140"/>
                  <a:gd name="connsiteY118" fmla="*/ 3032760 h 3680460"/>
                  <a:gd name="connsiteX119" fmla="*/ 2468880 w 3025140"/>
                  <a:gd name="connsiteY119" fmla="*/ 3009900 h 3680460"/>
                  <a:gd name="connsiteX120" fmla="*/ 2537460 w 3025140"/>
                  <a:gd name="connsiteY120" fmla="*/ 2926080 h 3680460"/>
                  <a:gd name="connsiteX121" fmla="*/ 2575560 w 3025140"/>
                  <a:gd name="connsiteY121" fmla="*/ 2880360 h 3680460"/>
                  <a:gd name="connsiteX122" fmla="*/ 2628900 w 3025140"/>
                  <a:gd name="connsiteY122" fmla="*/ 2811780 h 3680460"/>
                  <a:gd name="connsiteX123" fmla="*/ 2644140 w 3025140"/>
                  <a:gd name="connsiteY123" fmla="*/ 2773680 h 3680460"/>
                  <a:gd name="connsiteX124" fmla="*/ 2674620 w 3025140"/>
                  <a:gd name="connsiteY124" fmla="*/ 2727960 h 3680460"/>
                  <a:gd name="connsiteX125" fmla="*/ 2689860 w 3025140"/>
                  <a:gd name="connsiteY125" fmla="*/ 2705100 h 3680460"/>
                  <a:gd name="connsiteX126" fmla="*/ 2705100 w 3025140"/>
                  <a:gd name="connsiteY126" fmla="*/ 2667000 h 3680460"/>
                  <a:gd name="connsiteX127" fmla="*/ 2727960 w 3025140"/>
                  <a:gd name="connsiteY127" fmla="*/ 2621280 h 3680460"/>
                  <a:gd name="connsiteX128" fmla="*/ 2735580 w 3025140"/>
                  <a:gd name="connsiteY128" fmla="*/ 2590800 h 3680460"/>
                  <a:gd name="connsiteX129" fmla="*/ 2758440 w 3025140"/>
                  <a:gd name="connsiteY129" fmla="*/ 2545080 h 3680460"/>
                  <a:gd name="connsiteX130" fmla="*/ 2788920 w 3025140"/>
                  <a:gd name="connsiteY130" fmla="*/ 2484120 h 3680460"/>
                  <a:gd name="connsiteX131" fmla="*/ 2811780 w 3025140"/>
                  <a:gd name="connsiteY131" fmla="*/ 2407920 h 3680460"/>
                  <a:gd name="connsiteX132" fmla="*/ 2842260 w 3025140"/>
                  <a:gd name="connsiteY132" fmla="*/ 2324100 h 3680460"/>
                  <a:gd name="connsiteX133" fmla="*/ 2857500 w 3025140"/>
                  <a:gd name="connsiteY133" fmla="*/ 2247900 h 3680460"/>
                  <a:gd name="connsiteX134" fmla="*/ 2872740 w 3025140"/>
                  <a:gd name="connsiteY134" fmla="*/ 2194560 h 3680460"/>
                  <a:gd name="connsiteX135" fmla="*/ 2887980 w 3025140"/>
                  <a:gd name="connsiteY135" fmla="*/ 2148840 h 3680460"/>
                  <a:gd name="connsiteX136" fmla="*/ 2910840 w 3025140"/>
                  <a:gd name="connsiteY136" fmla="*/ 2087880 h 3680460"/>
                  <a:gd name="connsiteX137" fmla="*/ 2918460 w 3025140"/>
                  <a:gd name="connsiteY137" fmla="*/ 2049780 h 3680460"/>
                  <a:gd name="connsiteX138" fmla="*/ 2933700 w 3025140"/>
                  <a:gd name="connsiteY138" fmla="*/ 1844040 h 3680460"/>
                  <a:gd name="connsiteX139" fmla="*/ 2918460 w 3025140"/>
                  <a:gd name="connsiteY139" fmla="*/ 1470660 h 3680460"/>
                  <a:gd name="connsiteX140" fmla="*/ 2895600 w 3025140"/>
                  <a:gd name="connsiteY140" fmla="*/ 1371600 h 3680460"/>
                  <a:gd name="connsiteX141" fmla="*/ 2880360 w 3025140"/>
                  <a:gd name="connsiteY141" fmla="*/ 1341120 h 3680460"/>
                  <a:gd name="connsiteX142" fmla="*/ 2857500 w 3025140"/>
                  <a:gd name="connsiteY142" fmla="*/ 1272540 h 3680460"/>
                  <a:gd name="connsiteX143" fmla="*/ 2849880 w 3025140"/>
                  <a:gd name="connsiteY143" fmla="*/ 1234440 h 3680460"/>
                  <a:gd name="connsiteX144" fmla="*/ 2827020 w 3025140"/>
                  <a:gd name="connsiteY144" fmla="*/ 1196340 h 3680460"/>
                  <a:gd name="connsiteX145" fmla="*/ 2811780 w 3025140"/>
                  <a:gd name="connsiteY145" fmla="*/ 1165860 h 3680460"/>
                  <a:gd name="connsiteX146" fmla="*/ 2781300 w 3025140"/>
                  <a:gd name="connsiteY146" fmla="*/ 1127760 h 3680460"/>
                  <a:gd name="connsiteX147" fmla="*/ 2766060 w 3025140"/>
                  <a:gd name="connsiteY147" fmla="*/ 1089660 h 3680460"/>
                  <a:gd name="connsiteX148" fmla="*/ 2735580 w 3025140"/>
                  <a:gd name="connsiteY148" fmla="*/ 1043940 h 3680460"/>
                  <a:gd name="connsiteX149" fmla="*/ 2727960 w 3025140"/>
                  <a:gd name="connsiteY149" fmla="*/ 1021080 h 3680460"/>
                  <a:gd name="connsiteX150" fmla="*/ 2682240 w 3025140"/>
                  <a:gd name="connsiteY150" fmla="*/ 937260 h 3680460"/>
                  <a:gd name="connsiteX151" fmla="*/ 2659380 w 3025140"/>
                  <a:gd name="connsiteY151" fmla="*/ 876300 h 3680460"/>
                  <a:gd name="connsiteX152" fmla="*/ 2644140 w 3025140"/>
                  <a:gd name="connsiteY152" fmla="*/ 845820 h 3680460"/>
                  <a:gd name="connsiteX153" fmla="*/ 2636520 w 3025140"/>
                  <a:gd name="connsiteY153" fmla="*/ 822960 h 3680460"/>
                  <a:gd name="connsiteX154" fmla="*/ 2621280 w 3025140"/>
                  <a:gd name="connsiteY154" fmla="*/ 800100 h 3680460"/>
                  <a:gd name="connsiteX155" fmla="*/ 2598420 w 3025140"/>
                  <a:gd name="connsiteY155" fmla="*/ 739140 h 3680460"/>
                  <a:gd name="connsiteX156" fmla="*/ 2458403 w 3025140"/>
                  <a:gd name="connsiteY156" fmla="*/ 621983 h 3680460"/>
                  <a:gd name="connsiteX157" fmla="*/ 2301240 w 3025140"/>
                  <a:gd name="connsiteY157" fmla="*/ 458152 h 3680460"/>
                  <a:gd name="connsiteX158" fmla="*/ 2237423 w 3025140"/>
                  <a:gd name="connsiteY158" fmla="*/ 406717 h 3680460"/>
                  <a:gd name="connsiteX159" fmla="*/ 2103120 w 3025140"/>
                  <a:gd name="connsiteY159" fmla="*/ 312420 h 3680460"/>
                  <a:gd name="connsiteX160" fmla="*/ 2042160 w 3025140"/>
                  <a:gd name="connsiteY160" fmla="*/ 266700 h 3680460"/>
                  <a:gd name="connsiteX161" fmla="*/ 2004060 w 3025140"/>
                  <a:gd name="connsiteY161" fmla="*/ 251460 h 3680460"/>
                  <a:gd name="connsiteX162" fmla="*/ 1958340 w 3025140"/>
                  <a:gd name="connsiteY162" fmla="*/ 220980 h 3680460"/>
                  <a:gd name="connsiteX163" fmla="*/ 1897380 w 3025140"/>
                  <a:gd name="connsiteY16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918460 w 3025140"/>
                  <a:gd name="connsiteY23" fmla="*/ 1036320 h 3680460"/>
                  <a:gd name="connsiteX24" fmla="*/ 2933700 w 3025140"/>
                  <a:gd name="connsiteY24" fmla="*/ 1074420 h 3680460"/>
                  <a:gd name="connsiteX25" fmla="*/ 2948940 w 3025140"/>
                  <a:gd name="connsiteY25" fmla="*/ 1120140 h 3680460"/>
                  <a:gd name="connsiteX26" fmla="*/ 2964180 w 3025140"/>
                  <a:gd name="connsiteY26" fmla="*/ 1203960 h 3680460"/>
                  <a:gd name="connsiteX27" fmla="*/ 2979420 w 3025140"/>
                  <a:gd name="connsiteY27" fmla="*/ 1264920 h 3680460"/>
                  <a:gd name="connsiteX28" fmla="*/ 2987040 w 3025140"/>
                  <a:gd name="connsiteY28" fmla="*/ 1318260 h 3680460"/>
                  <a:gd name="connsiteX29" fmla="*/ 2994660 w 3025140"/>
                  <a:gd name="connsiteY29" fmla="*/ 1348740 h 3680460"/>
                  <a:gd name="connsiteX30" fmla="*/ 3009900 w 3025140"/>
                  <a:gd name="connsiteY30" fmla="*/ 1432560 h 3680460"/>
                  <a:gd name="connsiteX31" fmla="*/ 3017520 w 3025140"/>
                  <a:gd name="connsiteY31" fmla="*/ 1684020 h 3680460"/>
                  <a:gd name="connsiteX32" fmla="*/ 3025140 w 3025140"/>
                  <a:gd name="connsiteY32" fmla="*/ 1744980 h 3680460"/>
                  <a:gd name="connsiteX33" fmla="*/ 3017520 w 3025140"/>
                  <a:gd name="connsiteY33" fmla="*/ 2095500 h 3680460"/>
                  <a:gd name="connsiteX34" fmla="*/ 3009900 w 3025140"/>
                  <a:gd name="connsiteY34" fmla="*/ 2125980 h 3680460"/>
                  <a:gd name="connsiteX35" fmla="*/ 2979420 w 3025140"/>
                  <a:gd name="connsiteY35" fmla="*/ 2194560 h 3680460"/>
                  <a:gd name="connsiteX36" fmla="*/ 2956560 w 3025140"/>
                  <a:gd name="connsiteY36" fmla="*/ 2247900 h 3680460"/>
                  <a:gd name="connsiteX37" fmla="*/ 2941320 w 3025140"/>
                  <a:gd name="connsiteY37" fmla="*/ 2324100 h 3680460"/>
                  <a:gd name="connsiteX38" fmla="*/ 2926080 w 3025140"/>
                  <a:gd name="connsiteY38" fmla="*/ 2392680 h 3680460"/>
                  <a:gd name="connsiteX39" fmla="*/ 2918460 w 3025140"/>
                  <a:gd name="connsiteY39" fmla="*/ 2415540 h 3680460"/>
                  <a:gd name="connsiteX40" fmla="*/ 2895600 w 3025140"/>
                  <a:gd name="connsiteY40" fmla="*/ 2484120 h 3680460"/>
                  <a:gd name="connsiteX41" fmla="*/ 2872740 w 3025140"/>
                  <a:gd name="connsiteY41" fmla="*/ 2583180 h 3680460"/>
                  <a:gd name="connsiteX42" fmla="*/ 2857500 w 3025140"/>
                  <a:gd name="connsiteY42" fmla="*/ 2606040 h 3680460"/>
                  <a:gd name="connsiteX43" fmla="*/ 2834640 w 3025140"/>
                  <a:gd name="connsiteY43" fmla="*/ 2689860 h 3680460"/>
                  <a:gd name="connsiteX44" fmla="*/ 2811780 w 3025140"/>
                  <a:gd name="connsiteY44" fmla="*/ 2750820 h 3680460"/>
                  <a:gd name="connsiteX45" fmla="*/ 2788920 w 3025140"/>
                  <a:gd name="connsiteY45" fmla="*/ 2781300 h 3680460"/>
                  <a:gd name="connsiteX46" fmla="*/ 2781300 w 3025140"/>
                  <a:gd name="connsiteY46" fmla="*/ 2804160 h 3680460"/>
                  <a:gd name="connsiteX47" fmla="*/ 2743200 w 3025140"/>
                  <a:gd name="connsiteY47" fmla="*/ 2865120 h 3680460"/>
                  <a:gd name="connsiteX48" fmla="*/ 2712720 w 3025140"/>
                  <a:gd name="connsiteY48" fmla="*/ 2903220 h 3680460"/>
                  <a:gd name="connsiteX49" fmla="*/ 2697480 w 3025140"/>
                  <a:gd name="connsiteY49" fmla="*/ 2933700 h 3680460"/>
                  <a:gd name="connsiteX50" fmla="*/ 2674620 w 3025140"/>
                  <a:gd name="connsiteY50" fmla="*/ 2964180 h 3680460"/>
                  <a:gd name="connsiteX51" fmla="*/ 2644140 w 3025140"/>
                  <a:gd name="connsiteY51" fmla="*/ 3009900 h 3680460"/>
                  <a:gd name="connsiteX52" fmla="*/ 2598420 w 3025140"/>
                  <a:gd name="connsiteY52" fmla="*/ 3055620 h 3680460"/>
                  <a:gd name="connsiteX53" fmla="*/ 2575560 w 3025140"/>
                  <a:gd name="connsiteY53" fmla="*/ 3078480 h 3680460"/>
                  <a:gd name="connsiteX54" fmla="*/ 2476500 w 3025140"/>
                  <a:gd name="connsiteY54" fmla="*/ 3169920 h 3680460"/>
                  <a:gd name="connsiteX55" fmla="*/ 2377440 w 3025140"/>
                  <a:gd name="connsiteY55" fmla="*/ 3223260 h 3680460"/>
                  <a:gd name="connsiteX56" fmla="*/ 2293620 w 3025140"/>
                  <a:gd name="connsiteY56" fmla="*/ 3284220 h 3680460"/>
                  <a:gd name="connsiteX57" fmla="*/ 2240280 w 3025140"/>
                  <a:gd name="connsiteY57" fmla="*/ 3314700 h 3680460"/>
                  <a:gd name="connsiteX58" fmla="*/ 2225040 w 3025140"/>
                  <a:gd name="connsiteY58" fmla="*/ 3337560 h 3680460"/>
                  <a:gd name="connsiteX59" fmla="*/ 2141220 w 3025140"/>
                  <a:gd name="connsiteY59" fmla="*/ 3390900 h 3680460"/>
                  <a:gd name="connsiteX60" fmla="*/ 2110740 w 3025140"/>
                  <a:gd name="connsiteY60" fmla="*/ 3413760 h 3680460"/>
                  <a:gd name="connsiteX61" fmla="*/ 2072640 w 3025140"/>
                  <a:gd name="connsiteY61" fmla="*/ 3451860 h 3680460"/>
                  <a:gd name="connsiteX62" fmla="*/ 2019300 w 3025140"/>
                  <a:gd name="connsiteY62" fmla="*/ 3467100 h 3680460"/>
                  <a:gd name="connsiteX63" fmla="*/ 1874520 w 3025140"/>
                  <a:gd name="connsiteY63" fmla="*/ 3512820 h 3680460"/>
                  <a:gd name="connsiteX64" fmla="*/ 1828800 w 3025140"/>
                  <a:gd name="connsiteY64" fmla="*/ 3520440 h 3680460"/>
                  <a:gd name="connsiteX65" fmla="*/ 1722120 w 3025140"/>
                  <a:gd name="connsiteY65" fmla="*/ 3550920 h 3680460"/>
                  <a:gd name="connsiteX66" fmla="*/ 1600200 w 3025140"/>
                  <a:gd name="connsiteY66" fmla="*/ 3589020 h 3680460"/>
                  <a:gd name="connsiteX67" fmla="*/ 1569720 w 3025140"/>
                  <a:gd name="connsiteY67" fmla="*/ 3596640 h 3680460"/>
                  <a:gd name="connsiteX68" fmla="*/ 1546860 w 3025140"/>
                  <a:gd name="connsiteY68" fmla="*/ 3611880 h 3680460"/>
                  <a:gd name="connsiteX69" fmla="*/ 1463040 w 3025140"/>
                  <a:gd name="connsiteY69" fmla="*/ 3627120 h 3680460"/>
                  <a:gd name="connsiteX70" fmla="*/ 1333500 w 3025140"/>
                  <a:gd name="connsiteY70" fmla="*/ 3657600 h 3680460"/>
                  <a:gd name="connsiteX71" fmla="*/ 1203960 w 3025140"/>
                  <a:gd name="connsiteY71" fmla="*/ 3672840 h 3680460"/>
                  <a:gd name="connsiteX72" fmla="*/ 1165860 w 3025140"/>
                  <a:gd name="connsiteY72" fmla="*/ 3680460 h 3680460"/>
                  <a:gd name="connsiteX73" fmla="*/ 449580 w 3025140"/>
                  <a:gd name="connsiteY73" fmla="*/ 3672840 h 3680460"/>
                  <a:gd name="connsiteX74" fmla="*/ 426720 w 3025140"/>
                  <a:gd name="connsiteY74" fmla="*/ 3665220 h 3680460"/>
                  <a:gd name="connsiteX75" fmla="*/ 388620 w 3025140"/>
                  <a:gd name="connsiteY75" fmla="*/ 3657600 h 3680460"/>
                  <a:gd name="connsiteX76" fmla="*/ 335280 w 3025140"/>
                  <a:gd name="connsiteY76" fmla="*/ 3627120 h 3680460"/>
                  <a:gd name="connsiteX77" fmla="*/ 266700 w 3025140"/>
                  <a:gd name="connsiteY77" fmla="*/ 3604260 h 3680460"/>
                  <a:gd name="connsiteX78" fmla="*/ 243840 w 3025140"/>
                  <a:gd name="connsiteY78" fmla="*/ 3589020 h 3680460"/>
                  <a:gd name="connsiteX79" fmla="*/ 160020 w 3025140"/>
                  <a:gd name="connsiteY79" fmla="*/ 3558540 h 3680460"/>
                  <a:gd name="connsiteX80" fmla="*/ 137160 w 3025140"/>
                  <a:gd name="connsiteY80" fmla="*/ 3535680 h 3680460"/>
                  <a:gd name="connsiteX81" fmla="*/ 99060 w 3025140"/>
                  <a:gd name="connsiteY81" fmla="*/ 3520440 h 3680460"/>
                  <a:gd name="connsiteX82" fmla="*/ 83820 w 3025140"/>
                  <a:gd name="connsiteY82" fmla="*/ 3489960 h 3680460"/>
                  <a:gd name="connsiteX83" fmla="*/ 45720 w 3025140"/>
                  <a:gd name="connsiteY83" fmla="*/ 3436620 h 3680460"/>
                  <a:gd name="connsiteX84" fmla="*/ 0 w 3025140"/>
                  <a:gd name="connsiteY84" fmla="*/ 3352800 h 3680460"/>
                  <a:gd name="connsiteX85" fmla="*/ 30480 w 3025140"/>
                  <a:gd name="connsiteY85" fmla="*/ 3345180 h 3680460"/>
                  <a:gd name="connsiteX86" fmla="*/ 137160 w 3025140"/>
                  <a:gd name="connsiteY86" fmla="*/ 3360420 h 3680460"/>
                  <a:gd name="connsiteX87" fmla="*/ 167640 w 3025140"/>
                  <a:gd name="connsiteY87" fmla="*/ 3390900 h 3680460"/>
                  <a:gd name="connsiteX88" fmla="*/ 198120 w 3025140"/>
                  <a:gd name="connsiteY88" fmla="*/ 3406140 h 3680460"/>
                  <a:gd name="connsiteX89" fmla="*/ 350520 w 3025140"/>
                  <a:gd name="connsiteY89" fmla="*/ 3436620 h 3680460"/>
                  <a:gd name="connsiteX90" fmla="*/ 381000 w 3025140"/>
                  <a:gd name="connsiteY90" fmla="*/ 3451860 h 3680460"/>
                  <a:gd name="connsiteX91" fmla="*/ 449580 w 3025140"/>
                  <a:gd name="connsiteY91" fmla="*/ 3489960 h 3680460"/>
                  <a:gd name="connsiteX92" fmla="*/ 495300 w 3025140"/>
                  <a:gd name="connsiteY92" fmla="*/ 3520440 h 3680460"/>
                  <a:gd name="connsiteX93" fmla="*/ 525780 w 3025140"/>
                  <a:gd name="connsiteY93" fmla="*/ 3535680 h 3680460"/>
                  <a:gd name="connsiteX94" fmla="*/ 731520 w 3025140"/>
                  <a:gd name="connsiteY94" fmla="*/ 3558540 h 3680460"/>
                  <a:gd name="connsiteX95" fmla="*/ 1341120 w 3025140"/>
                  <a:gd name="connsiteY95" fmla="*/ 3550920 h 3680460"/>
                  <a:gd name="connsiteX96" fmla="*/ 1440180 w 3025140"/>
                  <a:gd name="connsiteY96" fmla="*/ 3528060 h 3680460"/>
                  <a:gd name="connsiteX97" fmla="*/ 1539240 w 3025140"/>
                  <a:gd name="connsiteY97" fmla="*/ 3520440 h 3680460"/>
                  <a:gd name="connsiteX98" fmla="*/ 1562100 w 3025140"/>
                  <a:gd name="connsiteY98" fmla="*/ 3512820 h 3680460"/>
                  <a:gd name="connsiteX99" fmla="*/ 1630680 w 3025140"/>
                  <a:gd name="connsiteY99" fmla="*/ 3497580 h 3680460"/>
                  <a:gd name="connsiteX100" fmla="*/ 1699260 w 3025140"/>
                  <a:gd name="connsiteY100" fmla="*/ 3474720 h 3680460"/>
                  <a:gd name="connsiteX101" fmla="*/ 1790700 w 3025140"/>
                  <a:gd name="connsiteY101" fmla="*/ 3451860 h 3680460"/>
                  <a:gd name="connsiteX102" fmla="*/ 1821180 w 3025140"/>
                  <a:gd name="connsiteY102" fmla="*/ 3444240 h 3680460"/>
                  <a:gd name="connsiteX103" fmla="*/ 1844040 w 3025140"/>
                  <a:gd name="connsiteY103" fmla="*/ 3429000 h 3680460"/>
                  <a:gd name="connsiteX104" fmla="*/ 1874520 w 3025140"/>
                  <a:gd name="connsiteY104" fmla="*/ 3421380 h 3680460"/>
                  <a:gd name="connsiteX105" fmla="*/ 1927860 w 3025140"/>
                  <a:gd name="connsiteY105" fmla="*/ 3398520 h 3680460"/>
                  <a:gd name="connsiteX106" fmla="*/ 1950720 w 3025140"/>
                  <a:gd name="connsiteY106" fmla="*/ 3390900 h 3680460"/>
                  <a:gd name="connsiteX107" fmla="*/ 2004060 w 3025140"/>
                  <a:gd name="connsiteY107" fmla="*/ 3360420 h 3680460"/>
                  <a:gd name="connsiteX108" fmla="*/ 2042160 w 3025140"/>
                  <a:gd name="connsiteY108" fmla="*/ 3352800 h 3680460"/>
                  <a:gd name="connsiteX109" fmla="*/ 2080260 w 3025140"/>
                  <a:gd name="connsiteY109" fmla="*/ 3337560 h 3680460"/>
                  <a:gd name="connsiteX110" fmla="*/ 2156460 w 3025140"/>
                  <a:gd name="connsiteY110" fmla="*/ 3299460 h 3680460"/>
                  <a:gd name="connsiteX111" fmla="*/ 2179320 w 3025140"/>
                  <a:gd name="connsiteY111" fmla="*/ 3284220 h 3680460"/>
                  <a:gd name="connsiteX112" fmla="*/ 2209800 w 3025140"/>
                  <a:gd name="connsiteY112" fmla="*/ 3276600 h 3680460"/>
                  <a:gd name="connsiteX113" fmla="*/ 2263140 w 3025140"/>
                  <a:gd name="connsiteY113" fmla="*/ 3230880 h 3680460"/>
                  <a:gd name="connsiteX114" fmla="*/ 2346960 w 3025140"/>
                  <a:gd name="connsiteY114" fmla="*/ 3154680 h 3680460"/>
                  <a:gd name="connsiteX115" fmla="*/ 2400300 w 3025140"/>
                  <a:gd name="connsiteY115" fmla="*/ 3070860 h 3680460"/>
                  <a:gd name="connsiteX116" fmla="*/ 2415540 w 3025140"/>
                  <a:gd name="connsiteY116" fmla="*/ 3048000 h 3680460"/>
                  <a:gd name="connsiteX117" fmla="*/ 2446020 w 3025140"/>
                  <a:gd name="connsiteY117" fmla="*/ 3032760 h 3680460"/>
                  <a:gd name="connsiteX118" fmla="*/ 2468880 w 3025140"/>
                  <a:gd name="connsiteY118" fmla="*/ 3009900 h 3680460"/>
                  <a:gd name="connsiteX119" fmla="*/ 2537460 w 3025140"/>
                  <a:gd name="connsiteY119" fmla="*/ 2926080 h 3680460"/>
                  <a:gd name="connsiteX120" fmla="*/ 2575560 w 3025140"/>
                  <a:gd name="connsiteY120" fmla="*/ 2880360 h 3680460"/>
                  <a:gd name="connsiteX121" fmla="*/ 2628900 w 3025140"/>
                  <a:gd name="connsiteY121" fmla="*/ 2811780 h 3680460"/>
                  <a:gd name="connsiteX122" fmla="*/ 2644140 w 3025140"/>
                  <a:gd name="connsiteY122" fmla="*/ 2773680 h 3680460"/>
                  <a:gd name="connsiteX123" fmla="*/ 2674620 w 3025140"/>
                  <a:gd name="connsiteY123" fmla="*/ 2727960 h 3680460"/>
                  <a:gd name="connsiteX124" fmla="*/ 2689860 w 3025140"/>
                  <a:gd name="connsiteY124" fmla="*/ 2705100 h 3680460"/>
                  <a:gd name="connsiteX125" fmla="*/ 2705100 w 3025140"/>
                  <a:gd name="connsiteY125" fmla="*/ 2667000 h 3680460"/>
                  <a:gd name="connsiteX126" fmla="*/ 2727960 w 3025140"/>
                  <a:gd name="connsiteY126" fmla="*/ 2621280 h 3680460"/>
                  <a:gd name="connsiteX127" fmla="*/ 2735580 w 3025140"/>
                  <a:gd name="connsiteY127" fmla="*/ 2590800 h 3680460"/>
                  <a:gd name="connsiteX128" fmla="*/ 2758440 w 3025140"/>
                  <a:gd name="connsiteY128" fmla="*/ 2545080 h 3680460"/>
                  <a:gd name="connsiteX129" fmla="*/ 2788920 w 3025140"/>
                  <a:gd name="connsiteY129" fmla="*/ 2484120 h 3680460"/>
                  <a:gd name="connsiteX130" fmla="*/ 2811780 w 3025140"/>
                  <a:gd name="connsiteY130" fmla="*/ 2407920 h 3680460"/>
                  <a:gd name="connsiteX131" fmla="*/ 2842260 w 3025140"/>
                  <a:gd name="connsiteY131" fmla="*/ 2324100 h 3680460"/>
                  <a:gd name="connsiteX132" fmla="*/ 2857500 w 3025140"/>
                  <a:gd name="connsiteY132" fmla="*/ 2247900 h 3680460"/>
                  <a:gd name="connsiteX133" fmla="*/ 2872740 w 3025140"/>
                  <a:gd name="connsiteY133" fmla="*/ 2194560 h 3680460"/>
                  <a:gd name="connsiteX134" fmla="*/ 2887980 w 3025140"/>
                  <a:gd name="connsiteY134" fmla="*/ 2148840 h 3680460"/>
                  <a:gd name="connsiteX135" fmla="*/ 2910840 w 3025140"/>
                  <a:gd name="connsiteY135" fmla="*/ 2087880 h 3680460"/>
                  <a:gd name="connsiteX136" fmla="*/ 2918460 w 3025140"/>
                  <a:gd name="connsiteY136" fmla="*/ 2049780 h 3680460"/>
                  <a:gd name="connsiteX137" fmla="*/ 2933700 w 3025140"/>
                  <a:gd name="connsiteY137" fmla="*/ 1844040 h 3680460"/>
                  <a:gd name="connsiteX138" fmla="*/ 2918460 w 3025140"/>
                  <a:gd name="connsiteY138" fmla="*/ 1470660 h 3680460"/>
                  <a:gd name="connsiteX139" fmla="*/ 2895600 w 3025140"/>
                  <a:gd name="connsiteY139" fmla="*/ 1371600 h 3680460"/>
                  <a:gd name="connsiteX140" fmla="*/ 2880360 w 3025140"/>
                  <a:gd name="connsiteY140" fmla="*/ 1341120 h 3680460"/>
                  <a:gd name="connsiteX141" fmla="*/ 2857500 w 3025140"/>
                  <a:gd name="connsiteY141" fmla="*/ 1272540 h 3680460"/>
                  <a:gd name="connsiteX142" fmla="*/ 2849880 w 3025140"/>
                  <a:gd name="connsiteY142" fmla="*/ 1234440 h 3680460"/>
                  <a:gd name="connsiteX143" fmla="*/ 2827020 w 3025140"/>
                  <a:gd name="connsiteY143" fmla="*/ 1196340 h 3680460"/>
                  <a:gd name="connsiteX144" fmla="*/ 2811780 w 3025140"/>
                  <a:gd name="connsiteY144" fmla="*/ 1165860 h 3680460"/>
                  <a:gd name="connsiteX145" fmla="*/ 2781300 w 3025140"/>
                  <a:gd name="connsiteY145" fmla="*/ 1127760 h 3680460"/>
                  <a:gd name="connsiteX146" fmla="*/ 2766060 w 3025140"/>
                  <a:gd name="connsiteY146" fmla="*/ 1089660 h 3680460"/>
                  <a:gd name="connsiteX147" fmla="*/ 2735580 w 3025140"/>
                  <a:gd name="connsiteY147" fmla="*/ 1043940 h 3680460"/>
                  <a:gd name="connsiteX148" fmla="*/ 2727960 w 3025140"/>
                  <a:gd name="connsiteY148" fmla="*/ 1021080 h 3680460"/>
                  <a:gd name="connsiteX149" fmla="*/ 2682240 w 3025140"/>
                  <a:gd name="connsiteY149" fmla="*/ 937260 h 3680460"/>
                  <a:gd name="connsiteX150" fmla="*/ 2659380 w 3025140"/>
                  <a:gd name="connsiteY150" fmla="*/ 876300 h 3680460"/>
                  <a:gd name="connsiteX151" fmla="*/ 2644140 w 3025140"/>
                  <a:gd name="connsiteY151" fmla="*/ 845820 h 3680460"/>
                  <a:gd name="connsiteX152" fmla="*/ 2636520 w 3025140"/>
                  <a:gd name="connsiteY152" fmla="*/ 822960 h 3680460"/>
                  <a:gd name="connsiteX153" fmla="*/ 2621280 w 3025140"/>
                  <a:gd name="connsiteY153" fmla="*/ 800100 h 3680460"/>
                  <a:gd name="connsiteX154" fmla="*/ 2598420 w 3025140"/>
                  <a:gd name="connsiteY154" fmla="*/ 739140 h 3680460"/>
                  <a:gd name="connsiteX155" fmla="*/ 2458403 w 3025140"/>
                  <a:gd name="connsiteY155" fmla="*/ 621983 h 3680460"/>
                  <a:gd name="connsiteX156" fmla="*/ 2301240 w 3025140"/>
                  <a:gd name="connsiteY156" fmla="*/ 458152 h 3680460"/>
                  <a:gd name="connsiteX157" fmla="*/ 2237423 w 3025140"/>
                  <a:gd name="connsiteY157" fmla="*/ 406717 h 3680460"/>
                  <a:gd name="connsiteX158" fmla="*/ 2103120 w 3025140"/>
                  <a:gd name="connsiteY158" fmla="*/ 312420 h 3680460"/>
                  <a:gd name="connsiteX159" fmla="*/ 2042160 w 3025140"/>
                  <a:gd name="connsiteY159" fmla="*/ 266700 h 3680460"/>
                  <a:gd name="connsiteX160" fmla="*/ 2004060 w 3025140"/>
                  <a:gd name="connsiteY160" fmla="*/ 251460 h 3680460"/>
                  <a:gd name="connsiteX161" fmla="*/ 1958340 w 3025140"/>
                  <a:gd name="connsiteY161" fmla="*/ 220980 h 3680460"/>
                  <a:gd name="connsiteX162" fmla="*/ 1897380 w 3025140"/>
                  <a:gd name="connsiteY16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48940 w 3025140"/>
                  <a:gd name="connsiteY24" fmla="*/ 1120140 h 3680460"/>
                  <a:gd name="connsiteX25" fmla="*/ 2964180 w 3025140"/>
                  <a:gd name="connsiteY25" fmla="*/ 1203960 h 3680460"/>
                  <a:gd name="connsiteX26" fmla="*/ 2979420 w 3025140"/>
                  <a:gd name="connsiteY26" fmla="*/ 1264920 h 3680460"/>
                  <a:gd name="connsiteX27" fmla="*/ 2987040 w 3025140"/>
                  <a:gd name="connsiteY27" fmla="*/ 1318260 h 3680460"/>
                  <a:gd name="connsiteX28" fmla="*/ 2994660 w 3025140"/>
                  <a:gd name="connsiteY28" fmla="*/ 1348740 h 3680460"/>
                  <a:gd name="connsiteX29" fmla="*/ 3009900 w 3025140"/>
                  <a:gd name="connsiteY29" fmla="*/ 1432560 h 3680460"/>
                  <a:gd name="connsiteX30" fmla="*/ 3017520 w 3025140"/>
                  <a:gd name="connsiteY30" fmla="*/ 1684020 h 3680460"/>
                  <a:gd name="connsiteX31" fmla="*/ 3025140 w 3025140"/>
                  <a:gd name="connsiteY31" fmla="*/ 1744980 h 3680460"/>
                  <a:gd name="connsiteX32" fmla="*/ 3017520 w 3025140"/>
                  <a:gd name="connsiteY32" fmla="*/ 2095500 h 3680460"/>
                  <a:gd name="connsiteX33" fmla="*/ 3009900 w 3025140"/>
                  <a:gd name="connsiteY33" fmla="*/ 2125980 h 3680460"/>
                  <a:gd name="connsiteX34" fmla="*/ 2979420 w 3025140"/>
                  <a:gd name="connsiteY34" fmla="*/ 2194560 h 3680460"/>
                  <a:gd name="connsiteX35" fmla="*/ 2956560 w 3025140"/>
                  <a:gd name="connsiteY35" fmla="*/ 2247900 h 3680460"/>
                  <a:gd name="connsiteX36" fmla="*/ 2941320 w 3025140"/>
                  <a:gd name="connsiteY36" fmla="*/ 2324100 h 3680460"/>
                  <a:gd name="connsiteX37" fmla="*/ 2926080 w 3025140"/>
                  <a:gd name="connsiteY37" fmla="*/ 2392680 h 3680460"/>
                  <a:gd name="connsiteX38" fmla="*/ 2918460 w 3025140"/>
                  <a:gd name="connsiteY38" fmla="*/ 2415540 h 3680460"/>
                  <a:gd name="connsiteX39" fmla="*/ 2895600 w 3025140"/>
                  <a:gd name="connsiteY39" fmla="*/ 2484120 h 3680460"/>
                  <a:gd name="connsiteX40" fmla="*/ 2872740 w 3025140"/>
                  <a:gd name="connsiteY40" fmla="*/ 2583180 h 3680460"/>
                  <a:gd name="connsiteX41" fmla="*/ 2857500 w 3025140"/>
                  <a:gd name="connsiteY41" fmla="*/ 2606040 h 3680460"/>
                  <a:gd name="connsiteX42" fmla="*/ 2834640 w 3025140"/>
                  <a:gd name="connsiteY42" fmla="*/ 2689860 h 3680460"/>
                  <a:gd name="connsiteX43" fmla="*/ 2811780 w 3025140"/>
                  <a:gd name="connsiteY43" fmla="*/ 2750820 h 3680460"/>
                  <a:gd name="connsiteX44" fmla="*/ 2788920 w 3025140"/>
                  <a:gd name="connsiteY44" fmla="*/ 2781300 h 3680460"/>
                  <a:gd name="connsiteX45" fmla="*/ 2781300 w 3025140"/>
                  <a:gd name="connsiteY45" fmla="*/ 2804160 h 3680460"/>
                  <a:gd name="connsiteX46" fmla="*/ 2743200 w 3025140"/>
                  <a:gd name="connsiteY46" fmla="*/ 2865120 h 3680460"/>
                  <a:gd name="connsiteX47" fmla="*/ 2712720 w 3025140"/>
                  <a:gd name="connsiteY47" fmla="*/ 2903220 h 3680460"/>
                  <a:gd name="connsiteX48" fmla="*/ 2697480 w 3025140"/>
                  <a:gd name="connsiteY48" fmla="*/ 2933700 h 3680460"/>
                  <a:gd name="connsiteX49" fmla="*/ 2674620 w 3025140"/>
                  <a:gd name="connsiteY49" fmla="*/ 2964180 h 3680460"/>
                  <a:gd name="connsiteX50" fmla="*/ 2644140 w 3025140"/>
                  <a:gd name="connsiteY50" fmla="*/ 3009900 h 3680460"/>
                  <a:gd name="connsiteX51" fmla="*/ 2598420 w 3025140"/>
                  <a:gd name="connsiteY51" fmla="*/ 3055620 h 3680460"/>
                  <a:gd name="connsiteX52" fmla="*/ 2575560 w 3025140"/>
                  <a:gd name="connsiteY52" fmla="*/ 3078480 h 3680460"/>
                  <a:gd name="connsiteX53" fmla="*/ 2476500 w 3025140"/>
                  <a:gd name="connsiteY53" fmla="*/ 3169920 h 3680460"/>
                  <a:gd name="connsiteX54" fmla="*/ 2377440 w 3025140"/>
                  <a:gd name="connsiteY54" fmla="*/ 3223260 h 3680460"/>
                  <a:gd name="connsiteX55" fmla="*/ 2293620 w 3025140"/>
                  <a:gd name="connsiteY55" fmla="*/ 3284220 h 3680460"/>
                  <a:gd name="connsiteX56" fmla="*/ 2240280 w 3025140"/>
                  <a:gd name="connsiteY56" fmla="*/ 3314700 h 3680460"/>
                  <a:gd name="connsiteX57" fmla="*/ 2225040 w 3025140"/>
                  <a:gd name="connsiteY57" fmla="*/ 3337560 h 3680460"/>
                  <a:gd name="connsiteX58" fmla="*/ 2141220 w 3025140"/>
                  <a:gd name="connsiteY58" fmla="*/ 3390900 h 3680460"/>
                  <a:gd name="connsiteX59" fmla="*/ 2110740 w 3025140"/>
                  <a:gd name="connsiteY59" fmla="*/ 3413760 h 3680460"/>
                  <a:gd name="connsiteX60" fmla="*/ 2072640 w 3025140"/>
                  <a:gd name="connsiteY60" fmla="*/ 3451860 h 3680460"/>
                  <a:gd name="connsiteX61" fmla="*/ 2019300 w 3025140"/>
                  <a:gd name="connsiteY61" fmla="*/ 3467100 h 3680460"/>
                  <a:gd name="connsiteX62" fmla="*/ 1874520 w 3025140"/>
                  <a:gd name="connsiteY62" fmla="*/ 3512820 h 3680460"/>
                  <a:gd name="connsiteX63" fmla="*/ 1828800 w 3025140"/>
                  <a:gd name="connsiteY63" fmla="*/ 3520440 h 3680460"/>
                  <a:gd name="connsiteX64" fmla="*/ 1722120 w 3025140"/>
                  <a:gd name="connsiteY64" fmla="*/ 3550920 h 3680460"/>
                  <a:gd name="connsiteX65" fmla="*/ 1600200 w 3025140"/>
                  <a:gd name="connsiteY65" fmla="*/ 3589020 h 3680460"/>
                  <a:gd name="connsiteX66" fmla="*/ 1569720 w 3025140"/>
                  <a:gd name="connsiteY66" fmla="*/ 3596640 h 3680460"/>
                  <a:gd name="connsiteX67" fmla="*/ 1546860 w 3025140"/>
                  <a:gd name="connsiteY67" fmla="*/ 3611880 h 3680460"/>
                  <a:gd name="connsiteX68" fmla="*/ 1463040 w 3025140"/>
                  <a:gd name="connsiteY68" fmla="*/ 3627120 h 3680460"/>
                  <a:gd name="connsiteX69" fmla="*/ 1333500 w 3025140"/>
                  <a:gd name="connsiteY69" fmla="*/ 3657600 h 3680460"/>
                  <a:gd name="connsiteX70" fmla="*/ 1203960 w 3025140"/>
                  <a:gd name="connsiteY70" fmla="*/ 3672840 h 3680460"/>
                  <a:gd name="connsiteX71" fmla="*/ 1165860 w 3025140"/>
                  <a:gd name="connsiteY71" fmla="*/ 3680460 h 3680460"/>
                  <a:gd name="connsiteX72" fmla="*/ 449580 w 3025140"/>
                  <a:gd name="connsiteY72" fmla="*/ 3672840 h 3680460"/>
                  <a:gd name="connsiteX73" fmla="*/ 426720 w 3025140"/>
                  <a:gd name="connsiteY73" fmla="*/ 3665220 h 3680460"/>
                  <a:gd name="connsiteX74" fmla="*/ 388620 w 3025140"/>
                  <a:gd name="connsiteY74" fmla="*/ 3657600 h 3680460"/>
                  <a:gd name="connsiteX75" fmla="*/ 335280 w 3025140"/>
                  <a:gd name="connsiteY75" fmla="*/ 3627120 h 3680460"/>
                  <a:gd name="connsiteX76" fmla="*/ 266700 w 3025140"/>
                  <a:gd name="connsiteY76" fmla="*/ 3604260 h 3680460"/>
                  <a:gd name="connsiteX77" fmla="*/ 243840 w 3025140"/>
                  <a:gd name="connsiteY77" fmla="*/ 3589020 h 3680460"/>
                  <a:gd name="connsiteX78" fmla="*/ 160020 w 3025140"/>
                  <a:gd name="connsiteY78" fmla="*/ 3558540 h 3680460"/>
                  <a:gd name="connsiteX79" fmla="*/ 137160 w 3025140"/>
                  <a:gd name="connsiteY79" fmla="*/ 3535680 h 3680460"/>
                  <a:gd name="connsiteX80" fmla="*/ 99060 w 3025140"/>
                  <a:gd name="connsiteY80" fmla="*/ 3520440 h 3680460"/>
                  <a:gd name="connsiteX81" fmla="*/ 83820 w 3025140"/>
                  <a:gd name="connsiteY81" fmla="*/ 3489960 h 3680460"/>
                  <a:gd name="connsiteX82" fmla="*/ 45720 w 3025140"/>
                  <a:gd name="connsiteY82" fmla="*/ 3436620 h 3680460"/>
                  <a:gd name="connsiteX83" fmla="*/ 0 w 3025140"/>
                  <a:gd name="connsiteY83" fmla="*/ 3352800 h 3680460"/>
                  <a:gd name="connsiteX84" fmla="*/ 30480 w 3025140"/>
                  <a:gd name="connsiteY84" fmla="*/ 3345180 h 3680460"/>
                  <a:gd name="connsiteX85" fmla="*/ 137160 w 3025140"/>
                  <a:gd name="connsiteY85" fmla="*/ 3360420 h 3680460"/>
                  <a:gd name="connsiteX86" fmla="*/ 167640 w 3025140"/>
                  <a:gd name="connsiteY86" fmla="*/ 3390900 h 3680460"/>
                  <a:gd name="connsiteX87" fmla="*/ 198120 w 3025140"/>
                  <a:gd name="connsiteY87" fmla="*/ 3406140 h 3680460"/>
                  <a:gd name="connsiteX88" fmla="*/ 350520 w 3025140"/>
                  <a:gd name="connsiteY88" fmla="*/ 3436620 h 3680460"/>
                  <a:gd name="connsiteX89" fmla="*/ 381000 w 3025140"/>
                  <a:gd name="connsiteY89" fmla="*/ 3451860 h 3680460"/>
                  <a:gd name="connsiteX90" fmla="*/ 449580 w 3025140"/>
                  <a:gd name="connsiteY90" fmla="*/ 3489960 h 3680460"/>
                  <a:gd name="connsiteX91" fmla="*/ 495300 w 3025140"/>
                  <a:gd name="connsiteY91" fmla="*/ 3520440 h 3680460"/>
                  <a:gd name="connsiteX92" fmla="*/ 525780 w 3025140"/>
                  <a:gd name="connsiteY92" fmla="*/ 3535680 h 3680460"/>
                  <a:gd name="connsiteX93" fmla="*/ 731520 w 3025140"/>
                  <a:gd name="connsiteY93" fmla="*/ 3558540 h 3680460"/>
                  <a:gd name="connsiteX94" fmla="*/ 1341120 w 3025140"/>
                  <a:gd name="connsiteY94" fmla="*/ 3550920 h 3680460"/>
                  <a:gd name="connsiteX95" fmla="*/ 1440180 w 3025140"/>
                  <a:gd name="connsiteY95" fmla="*/ 3528060 h 3680460"/>
                  <a:gd name="connsiteX96" fmla="*/ 1539240 w 3025140"/>
                  <a:gd name="connsiteY96" fmla="*/ 3520440 h 3680460"/>
                  <a:gd name="connsiteX97" fmla="*/ 1562100 w 3025140"/>
                  <a:gd name="connsiteY97" fmla="*/ 3512820 h 3680460"/>
                  <a:gd name="connsiteX98" fmla="*/ 1630680 w 3025140"/>
                  <a:gd name="connsiteY98" fmla="*/ 3497580 h 3680460"/>
                  <a:gd name="connsiteX99" fmla="*/ 1699260 w 3025140"/>
                  <a:gd name="connsiteY99" fmla="*/ 3474720 h 3680460"/>
                  <a:gd name="connsiteX100" fmla="*/ 1790700 w 3025140"/>
                  <a:gd name="connsiteY100" fmla="*/ 3451860 h 3680460"/>
                  <a:gd name="connsiteX101" fmla="*/ 1821180 w 3025140"/>
                  <a:gd name="connsiteY101" fmla="*/ 3444240 h 3680460"/>
                  <a:gd name="connsiteX102" fmla="*/ 1844040 w 3025140"/>
                  <a:gd name="connsiteY102" fmla="*/ 3429000 h 3680460"/>
                  <a:gd name="connsiteX103" fmla="*/ 1874520 w 3025140"/>
                  <a:gd name="connsiteY103" fmla="*/ 3421380 h 3680460"/>
                  <a:gd name="connsiteX104" fmla="*/ 1927860 w 3025140"/>
                  <a:gd name="connsiteY104" fmla="*/ 3398520 h 3680460"/>
                  <a:gd name="connsiteX105" fmla="*/ 1950720 w 3025140"/>
                  <a:gd name="connsiteY105" fmla="*/ 3390900 h 3680460"/>
                  <a:gd name="connsiteX106" fmla="*/ 2004060 w 3025140"/>
                  <a:gd name="connsiteY106" fmla="*/ 3360420 h 3680460"/>
                  <a:gd name="connsiteX107" fmla="*/ 2042160 w 3025140"/>
                  <a:gd name="connsiteY107" fmla="*/ 3352800 h 3680460"/>
                  <a:gd name="connsiteX108" fmla="*/ 2080260 w 3025140"/>
                  <a:gd name="connsiteY108" fmla="*/ 3337560 h 3680460"/>
                  <a:gd name="connsiteX109" fmla="*/ 2156460 w 3025140"/>
                  <a:gd name="connsiteY109" fmla="*/ 3299460 h 3680460"/>
                  <a:gd name="connsiteX110" fmla="*/ 2179320 w 3025140"/>
                  <a:gd name="connsiteY110" fmla="*/ 3284220 h 3680460"/>
                  <a:gd name="connsiteX111" fmla="*/ 2209800 w 3025140"/>
                  <a:gd name="connsiteY111" fmla="*/ 3276600 h 3680460"/>
                  <a:gd name="connsiteX112" fmla="*/ 2263140 w 3025140"/>
                  <a:gd name="connsiteY112" fmla="*/ 3230880 h 3680460"/>
                  <a:gd name="connsiteX113" fmla="*/ 2346960 w 3025140"/>
                  <a:gd name="connsiteY113" fmla="*/ 3154680 h 3680460"/>
                  <a:gd name="connsiteX114" fmla="*/ 2400300 w 3025140"/>
                  <a:gd name="connsiteY114" fmla="*/ 3070860 h 3680460"/>
                  <a:gd name="connsiteX115" fmla="*/ 2415540 w 3025140"/>
                  <a:gd name="connsiteY115" fmla="*/ 3048000 h 3680460"/>
                  <a:gd name="connsiteX116" fmla="*/ 2446020 w 3025140"/>
                  <a:gd name="connsiteY116" fmla="*/ 3032760 h 3680460"/>
                  <a:gd name="connsiteX117" fmla="*/ 2468880 w 3025140"/>
                  <a:gd name="connsiteY117" fmla="*/ 3009900 h 3680460"/>
                  <a:gd name="connsiteX118" fmla="*/ 2537460 w 3025140"/>
                  <a:gd name="connsiteY118" fmla="*/ 2926080 h 3680460"/>
                  <a:gd name="connsiteX119" fmla="*/ 2575560 w 3025140"/>
                  <a:gd name="connsiteY119" fmla="*/ 2880360 h 3680460"/>
                  <a:gd name="connsiteX120" fmla="*/ 2628900 w 3025140"/>
                  <a:gd name="connsiteY120" fmla="*/ 2811780 h 3680460"/>
                  <a:gd name="connsiteX121" fmla="*/ 2644140 w 3025140"/>
                  <a:gd name="connsiteY121" fmla="*/ 2773680 h 3680460"/>
                  <a:gd name="connsiteX122" fmla="*/ 2674620 w 3025140"/>
                  <a:gd name="connsiteY122" fmla="*/ 2727960 h 3680460"/>
                  <a:gd name="connsiteX123" fmla="*/ 2689860 w 3025140"/>
                  <a:gd name="connsiteY123" fmla="*/ 2705100 h 3680460"/>
                  <a:gd name="connsiteX124" fmla="*/ 2705100 w 3025140"/>
                  <a:gd name="connsiteY124" fmla="*/ 2667000 h 3680460"/>
                  <a:gd name="connsiteX125" fmla="*/ 2727960 w 3025140"/>
                  <a:gd name="connsiteY125" fmla="*/ 2621280 h 3680460"/>
                  <a:gd name="connsiteX126" fmla="*/ 2735580 w 3025140"/>
                  <a:gd name="connsiteY126" fmla="*/ 2590800 h 3680460"/>
                  <a:gd name="connsiteX127" fmla="*/ 2758440 w 3025140"/>
                  <a:gd name="connsiteY127" fmla="*/ 2545080 h 3680460"/>
                  <a:gd name="connsiteX128" fmla="*/ 2788920 w 3025140"/>
                  <a:gd name="connsiteY128" fmla="*/ 2484120 h 3680460"/>
                  <a:gd name="connsiteX129" fmla="*/ 2811780 w 3025140"/>
                  <a:gd name="connsiteY129" fmla="*/ 2407920 h 3680460"/>
                  <a:gd name="connsiteX130" fmla="*/ 2842260 w 3025140"/>
                  <a:gd name="connsiteY130" fmla="*/ 2324100 h 3680460"/>
                  <a:gd name="connsiteX131" fmla="*/ 2857500 w 3025140"/>
                  <a:gd name="connsiteY131" fmla="*/ 2247900 h 3680460"/>
                  <a:gd name="connsiteX132" fmla="*/ 2872740 w 3025140"/>
                  <a:gd name="connsiteY132" fmla="*/ 2194560 h 3680460"/>
                  <a:gd name="connsiteX133" fmla="*/ 2887980 w 3025140"/>
                  <a:gd name="connsiteY133" fmla="*/ 2148840 h 3680460"/>
                  <a:gd name="connsiteX134" fmla="*/ 2910840 w 3025140"/>
                  <a:gd name="connsiteY134" fmla="*/ 2087880 h 3680460"/>
                  <a:gd name="connsiteX135" fmla="*/ 2918460 w 3025140"/>
                  <a:gd name="connsiteY135" fmla="*/ 2049780 h 3680460"/>
                  <a:gd name="connsiteX136" fmla="*/ 2933700 w 3025140"/>
                  <a:gd name="connsiteY136" fmla="*/ 1844040 h 3680460"/>
                  <a:gd name="connsiteX137" fmla="*/ 2918460 w 3025140"/>
                  <a:gd name="connsiteY137" fmla="*/ 1470660 h 3680460"/>
                  <a:gd name="connsiteX138" fmla="*/ 2895600 w 3025140"/>
                  <a:gd name="connsiteY138" fmla="*/ 1371600 h 3680460"/>
                  <a:gd name="connsiteX139" fmla="*/ 2880360 w 3025140"/>
                  <a:gd name="connsiteY139" fmla="*/ 1341120 h 3680460"/>
                  <a:gd name="connsiteX140" fmla="*/ 2857500 w 3025140"/>
                  <a:gd name="connsiteY140" fmla="*/ 1272540 h 3680460"/>
                  <a:gd name="connsiteX141" fmla="*/ 2849880 w 3025140"/>
                  <a:gd name="connsiteY141" fmla="*/ 1234440 h 3680460"/>
                  <a:gd name="connsiteX142" fmla="*/ 2827020 w 3025140"/>
                  <a:gd name="connsiteY142" fmla="*/ 1196340 h 3680460"/>
                  <a:gd name="connsiteX143" fmla="*/ 2811780 w 3025140"/>
                  <a:gd name="connsiteY143" fmla="*/ 1165860 h 3680460"/>
                  <a:gd name="connsiteX144" fmla="*/ 2781300 w 3025140"/>
                  <a:gd name="connsiteY144" fmla="*/ 1127760 h 3680460"/>
                  <a:gd name="connsiteX145" fmla="*/ 2766060 w 3025140"/>
                  <a:gd name="connsiteY145" fmla="*/ 1089660 h 3680460"/>
                  <a:gd name="connsiteX146" fmla="*/ 2735580 w 3025140"/>
                  <a:gd name="connsiteY146" fmla="*/ 1043940 h 3680460"/>
                  <a:gd name="connsiteX147" fmla="*/ 2727960 w 3025140"/>
                  <a:gd name="connsiteY147" fmla="*/ 1021080 h 3680460"/>
                  <a:gd name="connsiteX148" fmla="*/ 2682240 w 3025140"/>
                  <a:gd name="connsiteY148" fmla="*/ 937260 h 3680460"/>
                  <a:gd name="connsiteX149" fmla="*/ 2659380 w 3025140"/>
                  <a:gd name="connsiteY149" fmla="*/ 876300 h 3680460"/>
                  <a:gd name="connsiteX150" fmla="*/ 2644140 w 3025140"/>
                  <a:gd name="connsiteY150" fmla="*/ 845820 h 3680460"/>
                  <a:gd name="connsiteX151" fmla="*/ 2636520 w 3025140"/>
                  <a:gd name="connsiteY151" fmla="*/ 822960 h 3680460"/>
                  <a:gd name="connsiteX152" fmla="*/ 2621280 w 3025140"/>
                  <a:gd name="connsiteY152" fmla="*/ 800100 h 3680460"/>
                  <a:gd name="connsiteX153" fmla="*/ 2598420 w 3025140"/>
                  <a:gd name="connsiteY153" fmla="*/ 739140 h 3680460"/>
                  <a:gd name="connsiteX154" fmla="*/ 2458403 w 3025140"/>
                  <a:gd name="connsiteY154" fmla="*/ 621983 h 3680460"/>
                  <a:gd name="connsiteX155" fmla="*/ 2301240 w 3025140"/>
                  <a:gd name="connsiteY155" fmla="*/ 458152 h 3680460"/>
                  <a:gd name="connsiteX156" fmla="*/ 2237423 w 3025140"/>
                  <a:gd name="connsiteY156" fmla="*/ 406717 h 3680460"/>
                  <a:gd name="connsiteX157" fmla="*/ 2103120 w 3025140"/>
                  <a:gd name="connsiteY157" fmla="*/ 312420 h 3680460"/>
                  <a:gd name="connsiteX158" fmla="*/ 2042160 w 3025140"/>
                  <a:gd name="connsiteY158" fmla="*/ 266700 h 3680460"/>
                  <a:gd name="connsiteX159" fmla="*/ 2004060 w 3025140"/>
                  <a:gd name="connsiteY159" fmla="*/ 251460 h 3680460"/>
                  <a:gd name="connsiteX160" fmla="*/ 1958340 w 3025140"/>
                  <a:gd name="connsiteY160" fmla="*/ 220980 h 3680460"/>
                  <a:gd name="connsiteX161" fmla="*/ 1897380 w 3025140"/>
                  <a:gd name="connsiteY16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87040 w 3025140"/>
                  <a:gd name="connsiteY26" fmla="*/ 1318260 h 3680460"/>
                  <a:gd name="connsiteX27" fmla="*/ 2994660 w 3025140"/>
                  <a:gd name="connsiteY27" fmla="*/ 1348740 h 3680460"/>
                  <a:gd name="connsiteX28" fmla="*/ 3009900 w 3025140"/>
                  <a:gd name="connsiteY28" fmla="*/ 1432560 h 3680460"/>
                  <a:gd name="connsiteX29" fmla="*/ 3017520 w 3025140"/>
                  <a:gd name="connsiteY29" fmla="*/ 1684020 h 3680460"/>
                  <a:gd name="connsiteX30" fmla="*/ 3025140 w 3025140"/>
                  <a:gd name="connsiteY30" fmla="*/ 1744980 h 3680460"/>
                  <a:gd name="connsiteX31" fmla="*/ 3017520 w 3025140"/>
                  <a:gd name="connsiteY31" fmla="*/ 2095500 h 3680460"/>
                  <a:gd name="connsiteX32" fmla="*/ 3009900 w 3025140"/>
                  <a:gd name="connsiteY32" fmla="*/ 2125980 h 3680460"/>
                  <a:gd name="connsiteX33" fmla="*/ 2979420 w 3025140"/>
                  <a:gd name="connsiteY33" fmla="*/ 2194560 h 3680460"/>
                  <a:gd name="connsiteX34" fmla="*/ 2956560 w 3025140"/>
                  <a:gd name="connsiteY34" fmla="*/ 2247900 h 3680460"/>
                  <a:gd name="connsiteX35" fmla="*/ 2941320 w 3025140"/>
                  <a:gd name="connsiteY35" fmla="*/ 2324100 h 3680460"/>
                  <a:gd name="connsiteX36" fmla="*/ 2926080 w 3025140"/>
                  <a:gd name="connsiteY36" fmla="*/ 2392680 h 3680460"/>
                  <a:gd name="connsiteX37" fmla="*/ 2918460 w 3025140"/>
                  <a:gd name="connsiteY37" fmla="*/ 2415540 h 3680460"/>
                  <a:gd name="connsiteX38" fmla="*/ 2895600 w 3025140"/>
                  <a:gd name="connsiteY38" fmla="*/ 2484120 h 3680460"/>
                  <a:gd name="connsiteX39" fmla="*/ 2872740 w 3025140"/>
                  <a:gd name="connsiteY39" fmla="*/ 2583180 h 3680460"/>
                  <a:gd name="connsiteX40" fmla="*/ 2857500 w 3025140"/>
                  <a:gd name="connsiteY40" fmla="*/ 2606040 h 3680460"/>
                  <a:gd name="connsiteX41" fmla="*/ 2834640 w 3025140"/>
                  <a:gd name="connsiteY41" fmla="*/ 2689860 h 3680460"/>
                  <a:gd name="connsiteX42" fmla="*/ 2811780 w 3025140"/>
                  <a:gd name="connsiteY42" fmla="*/ 2750820 h 3680460"/>
                  <a:gd name="connsiteX43" fmla="*/ 2788920 w 3025140"/>
                  <a:gd name="connsiteY43" fmla="*/ 2781300 h 3680460"/>
                  <a:gd name="connsiteX44" fmla="*/ 2781300 w 3025140"/>
                  <a:gd name="connsiteY44" fmla="*/ 2804160 h 3680460"/>
                  <a:gd name="connsiteX45" fmla="*/ 2743200 w 3025140"/>
                  <a:gd name="connsiteY45" fmla="*/ 2865120 h 3680460"/>
                  <a:gd name="connsiteX46" fmla="*/ 2712720 w 3025140"/>
                  <a:gd name="connsiteY46" fmla="*/ 2903220 h 3680460"/>
                  <a:gd name="connsiteX47" fmla="*/ 2697480 w 3025140"/>
                  <a:gd name="connsiteY47" fmla="*/ 2933700 h 3680460"/>
                  <a:gd name="connsiteX48" fmla="*/ 2674620 w 3025140"/>
                  <a:gd name="connsiteY48" fmla="*/ 2964180 h 3680460"/>
                  <a:gd name="connsiteX49" fmla="*/ 2644140 w 3025140"/>
                  <a:gd name="connsiteY49" fmla="*/ 3009900 h 3680460"/>
                  <a:gd name="connsiteX50" fmla="*/ 2598420 w 3025140"/>
                  <a:gd name="connsiteY50" fmla="*/ 3055620 h 3680460"/>
                  <a:gd name="connsiteX51" fmla="*/ 2575560 w 3025140"/>
                  <a:gd name="connsiteY51" fmla="*/ 3078480 h 3680460"/>
                  <a:gd name="connsiteX52" fmla="*/ 2476500 w 3025140"/>
                  <a:gd name="connsiteY52" fmla="*/ 3169920 h 3680460"/>
                  <a:gd name="connsiteX53" fmla="*/ 2377440 w 3025140"/>
                  <a:gd name="connsiteY53" fmla="*/ 3223260 h 3680460"/>
                  <a:gd name="connsiteX54" fmla="*/ 2293620 w 3025140"/>
                  <a:gd name="connsiteY54" fmla="*/ 3284220 h 3680460"/>
                  <a:gd name="connsiteX55" fmla="*/ 2240280 w 3025140"/>
                  <a:gd name="connsiteY55" fmla="*/ 3314700 h 3680460"/>
                  <a:gd name="connsiteX56" fmla="*/ 2225040 w 3025140"/>
                  <a:gd name="connsiteY56" fmla="*/ 3337560 h 3680460"/>
                  <a:gd name="connsiteX57" fmla="*/ 2141220 w 3025140"/>
                  <a:gd name="connsiteY57" fmla="*/ 3390900 h 3680460"/>
                  <a:gd name="connsiteX58" fmla="*/ 2110740 w 3025140"/>
                  <a:gd name="connsiteY58" fmla="*/ 3413760 h 3680460"/>
                  <a:gd name="connsiteX59" fmla="*/ 2072640 w 3025140"/>
                  <a:gd name="connsiteY59" fmla="*/ 3451860 h 3680460"/>
                  <a:gd name="connsiteX60" fmla="*/ 2019300 w 3025140"/>
                  <a:gd name="connsiteY60" fmla="*/ 3467100 h 3680460"/>
                  <a:gd name="connsiteX61" fmla="*/ 1874520 w 3025140"/>
                  <a:gd name="connsiteY61" fmla="*/ 3512820 h 3680460"/>
                  <a:gd name="connsiteX62" fmla="*/ 1828800 w 3025140"/>
                  <a:gd name="connsiteY62" fmla="*/ 3520440 h 3680460"/>
                  <a:gd name="connsiteX63" fmla="*/ 1722120 w 3025140"/>
                  <a:gd name="connsiteY63" fmla="*/ 3550920 h 3680460"/>
                  <a:gd name="connsiteX64" fmla="*/ 1600200 w 3025140"/>
                  <a:gd name="connsiteY64" fmla="*/ 3589020 h 3680460"/>
                  <a:gd name="connsiteX65" fmla="*/ 1569720 w 3025140"/>
                  <a:gd name="connsiteY65" fmla="*/ 3596640 h 3680460"/>
                  <a:gd name="connsiteX66" fmla="*/ 1546860 w 3025140"/>
                  <a:gd name="connsiteY66" fmla="*/ 3611880 h 3680460"/>
                  <a:gd name="connsiteX67" fmla="*/ 1463040 w 3025140"/>
                  <a:gd name="connsiteY67" fmla="*/ 3627120 h 3680460"/>
                  <a:gd name="connsiteX68" fmla="*/ 1333500 w 3025140"/>
                  <a:gd name="connsiteY68" fmla="*/ 3657600 h 3680460"/>
                  <a:gd name="connsiteX69" fmla="*/ 1203960 w 3025140"/>
                  <a:gd name="connsiteY69" fmla="*/ 3672840 h 3680460"/>
                  <a:gd name="connsiteX70" fmla="*/ 1165860 w 3025140"/>
                  <a:gd name="connsiteY70" fmla="*/ 3680460 h 3680460"/>
                  <a:gd name="connsiteX71" fmla="*/ 449580 w 3025140"/>
                  <a:gd name="connsiteY71" fmla="*/ 3672840 h 3680460"/>
                  <a:gd name="connsiteX72" fmla="*/ 426720 w 3025140"/>
                  <a:gd name="connsiteY72" fmla="*/ 3665220 h 3680460"/>
                  <a:gd name="connsiteX73" fmla="*/ 388620 w 3025140"/>
                  <a:gd name="connsiteY73" fmla="*/ 3657600 h 3680460"/>
                  <a:gd name="connsiteX74" fmla="*/ 335280 w 3025140"/>
                  <a:gd name="connsiteY74" fmla="*/ 3627120 h 3680460"/>
                  <a:gd name="connsiteX75" fmla="*/ 266700 w 3025140"/>
                  <a:gd name="connsiteY75" fmla="*/ 3604260 h 3680460"/>
                  <a:gd name="connsiteX76" fmla="*/ 243840 w 3025140"/>
                  <a:gd name="connsiteY76" fmla="*/ 3589020 h 3680460"/>
                  <a:gd name="connsiteX77" fmla="*/ 160020 w 3025140"/>
                  <a:gd name="connsiteY77" fmla="*/ 3558540 h 3680460"/>
                  <a:gd name="connsiteX78" fmla="*/ 137160 w 3025140"/>
                  <a:gd name="connsiteY78" fmla="*/ 3535680 h 3680460"/>
                  <a:gd name="connsiteX79" fmla="*/ 99060 w 3025140"/>
                  <a:gd name="connsiteY79" fmla="*/ 3520440 h 3680460"/>
                  <a:gd name="connsiteX80" fmla="*/ 83820 w 3025140"/>
                  <a:gd name="connsiteY80" fmla="*/ 3489960 h 3680460"/>
                  <a:gd name="connsiteX81" fmla="*/ 45720 w 3025140"/>
                  <a:gd name="connsiteY81" fmla="*/ 3436620 h 3680460"/>
                  <a:gd name="connsiteX82" fmla="*/ 0 w 3025140"/>
                  <a:gd name="connsiteY82" fmla="*/ 3352800 h 3680460"/>
                  <a:gd name="connsiteX83" fmla="*/ 30480 w 3025140"/>
                  <a:gd name="connsiteY83" fmla="*/ 3345180 h 3680460"/>
                  <a:gd name="connsiteX84" fmla="*/ 137160 w 3025140"/>
                  <a:gd name="connsiteY84" fmla="*/ 3360420 h 3680460"/>
                  <a:gd name="connsiteX85" fmla="*/ 167640 w 3025140"/>
                  <a:gd name="connsiteY85" fmla="*/ 3390900 h 3680460"/>
                  <a:gd name="connsiteX86" fmla="*/ 198120 w 3025140"/>
                  <a:gd name="connsiteY86" fmla="*/ 3406140 h 3680460"/>
                  <a:gd name="connsiteX87" fmla="*/ 350520 w 3025140"/>
                  <a:gd name="connsiteY87" fmla="*/ 3436620 h 3680460"/>
                  <a:gd name="connsiteX88" fmla="*/ 381000 w 3025140"/>
                  <a:gd name="connsiteY88" fmla="*/ 3451860 h 3680460"/>
                  <a:gd name="connsiteX89" fmla="*/ 449580 w 3025140"/>
                  <a:gd name="connsiteY89" fmla="*/ 3489960 h 3680460"/>
                  <a:gd name="connsiteX90" fmla="*/ 495300 w 3025140"/>
                  <a:gd name="connsiteY90" fmla="*/ 3520440 h 3680460"/>
                  <a:gd name="connsiteX91" fmla="*/ 525780 w 3025140"/>
                  <a:gd name="connsiteY91" fmla="*/ 3535680 h 3680460"/>
                  <a:gd name="connsiteX92" fmla="*/ 731520 w 3025140"/>
                  <a:gd name="connsiteY92" fmla="*/ 3558540 h 3680460"/>
                  <a:gd name="connsiteX93" fmla="*/ 1341120 w 3025140"/>
                  <a:gd name="connsiteY93" fmla="*/ 3550920 h 3680460"/>
                  <a:gd name="connsiteX94" fmla="*/ 1440180 w 3025140"/>
                  <a:gd name="connsiteY94" fmla="*/ 3528060 h 3680460"/>
                  <a:gd name="connsiteX95" fmla="*/ 1539240 w 3025140"/>
                  <a:gd name="connsiteY95" fmla="*/ 3520440 h 3680460"/>
                  <a:gd name="connsiteX96" fmla="*/ 1562100 w 3025140"/>
                  <a:gd name="connsiteY96" fmla="*/ 3512820 h 3680460"/>
                  <a:gd name="connsiteX97" fmla="*/ 1630680 w 3025140"/>
                  <a:gd name="connsiteY97" fmla="*/ 3497580 h 3680460"/>
                  <a:gd name="connsiteX98" fmla="*/ 1699260 w 3025140"/>
                  <a:gd name="connsiteY98" fmla="*/ 3474720 h 3680460"/>
                  <a:gd name="connsiteX99" fmla="*/ 1790700 w 3025140"/>
                  <a:gd name="connsiteY99" fmla="*/ 3451860 h 3680460"/>
                  <a:gd name="connsiteX100" fmla="*/ 1821180 w 3025140"/>
                  <a:gd name="connsiteY100" fmla="*/ 3444240 h 3680460"/>
                  <a:gd name="connsiteX101" fmla="*/ 1844040 w 3025140"/>
                  <a:gd name="connsiteY101" fmla="*/ 3429000 h 3680460"/>
                  <a:gd name="connsiteX102" fmla="*/ 1874520 w 3025140"/>
                  <a:gd name="connsiteY102" fmla="*/ 3421380 h 3680460"/>
                  <a:gd name="connsiteX103" fmla="*/ 1927860 w 3025140"/>
                  <a:gd name="connsiteY103" fmla="*/ 3398520 h 3680460"/>
                  <a:gd name="connsiteX104" fmla="*/ 1950720 w 3025140"/>
                  <a:gd name="connsiteY104" fmla="*/ 3390900 h 3680460"/>
                  <a:gd name="connsiteX105" fmla="*/ 2004060 w 3025140"/>
                  <a:gd name="connsiteY105" fmla="*/ 3360420 h 3680460"/>
                  <a:gd name="connsiteX106" fmla="*/ 2042160 w 3025140"/>
                  <a:gd name="connsiteY106" fmla="*/ 3352800 h 3680460"/>
                  <a:gd name="connsiteX107" fmla="*/ 2080260 w 3025140"/>
                  <a:gd name="connsiteY107" fmla="*/ 3337560 h 3680460"/>
                  <a:gd name="connsiteX108" fmla="*/ 2156460 w 3025140"/>
                  <a:gd name="connsiteY108" fmla="*/ 3299460 h 3680460"/>
                  <a:gd name="connsiteX109" fmla="*/ 2179320 w 3025140"/>
                  <a:gd name="connsiteY109" fmla="*/ 3284220 h 3680460"/>
                  <a:gd name="connsiteX110" fmla="*/ 2209800 w 3025140"/>
                  <a:gd name="connsiteY110" fmla="*/ 3276600 h 3680460"/>
                  <a:gd name="connsiteX111" fmla="*/ 2263140 w 3025140"/>
                  <a:gd name="connsiteY111" fmla="*/ 3230880 h 3680460"/>
                  <a:gd name="connsiteX112" fmla="*/ 2346960 w 3025140"/>
                  <a:gd name="connsiteY112" fmla="*/ 3154680 h 3680460"/>
                  <a:gd name="connsiteX113" fmla="*/ 2400300 w 3025140"/>
                  <a:gd name="connsiteY113" fmla="*/ 3070860 h 3680460"/>
                  <a:gd name="connsiteX114" fmla="*/ 2415540 w 3025140"/>
                  <a:gd name="connsiteY114" fmla="*/ 3048000 h 3680460"/>
                  <a:gd name="connsiteX115" fmla="*/ 2446020 w 3025140"/>
                  <a:gd name="connsiteY115" fmla="*/ 3032760 h 3680460"/>
                  <a:gd name="connsiteX116" fmla="*/ 2468880 w 3025140"/>
                  <a:gd name="connsiteY116" fmla="*/ 3009900 h 3680460"/>
                  <a:gd name="connsiteX117" fmla="*/ 2537460 w 3025140"/>
                  <a:gd name="connsiteY117" fmla="*/ 2926080 h 3680460"/>
                  <a:gd name="connsiteX118" fmla="*/ 2575560 w 3025140"/>
                  <a:gd name="connsiteY118" fmla="*/ 2880360 h 3680460"/>
                  <a:gd name="connsiteX119" fmla="*/ 2628900 w 3025140"/>
                  <a:gd name="connsiteY119" fmla="*/ 2811780 h 3680460"/>
                  <a:gd name="connsiteX120" fmla="*/ 2644140 w 3025140"/>
                  <a:gd name="connsiteY120" fmla="*/ 2773680 h 3680460"/>
                  <a:gd name="connsiteX121" fmla="*/ 2674620 w 3025140"/>
                  <a:gd name="connsiteY121" fmla="*/ 2727960 h 3680460"/>
                  <a:gd name="connsiteX122" fmla="*/ 2689860 w 3025140"/>
                  <a:gd name="connsiteY122" fmla="*/ 2705100 h 3680460"/>
                  <a:gd name="connsiteX123" fmla="*/ 2705100 w 3025140"/>
                  <a:gd name="connsiteY123" fmla="*/ 2667000 h 3680460"/>
                  <a:gd name="connsiteX124" fmla="*/ 2727960 w 3025140"/>
                  <a:gd name="connsiteY124" fmla="*/ 2621280 h 3680460"/>
                  <a:gd name="connsiteX125" fmla="*/ 2735580 w 3025140"/>
                  <a:gd name="connsiteY125" fmla="*/ 2590800 h 3680460"/>
                  <a:gd name="connsiteX126" fmla="*/ 2758440 w 3025140"/>
                  <a:gd name="connsiteY126" fmla="*/ 2545080 h 3680460"/>
                  <a:gd name="connsiteX127" fmla="*/ 2788920 w 3025140"/>
                  <a:gd name="connsiteY127" fmla="*/ 2484120 h 3680460"/>
                  <a:gd name="connsiteX128" fmla="*/ 2811780 w 3025140"/>
                  <a:gd name="connsiteY128" fmla="*/ 2407920 h 3680460"/>
                  <a:gd name="connsiteX129" fmla="*/ 2842260 w 3025140"/>
                  <a:gd name="connsiteY129" fmla="*/ 2324100 h 3680460"/>
                  <a:gd name="connsiteX130" fmla="*/ 2857500 w 3025140"/>
                  <a:gd name="connsiteY130" fmla="*/ 2247900 h 3680460"/>
                  <a:gd name="connsiteX131" fmla="*/ 2872740 w 3025140"/>
                  <a:gd name="connsiteY131" fmla="*/ 2194560 h 3680460"/>
                  <a:gd name="connsiteX132" fmla="*/ 2887980 w 3025140"/>
                  <a:gd name="connsiteY132" fmla="*/ 2148840 h 3680460"/>
                  <a:gd name="connsiteX133" fmla="*/ 2910840 w 3025140"/>
                  <a:gd name="connsiteY133" fmla="*/ 2087880 h 3680460"/>
                  <a:gd name="connsiteX134" fmla="*/ 2918460 w 3025140"/>
                  <a:gd name="connsiteY134" fmla="*/ 2049780 h 3680460"/>
                  <a:gd name="connsiteX135" fmla="*/ 2933700 w 3025140"/>
                  <a:gd name="connsiteY135" fmla="*/ 1844040 h 3680460"/>
                  <a:gd name="connsiteX136" fmla="*/ 2918460 w 3025140"/>
                  <a:gd name="connsiteY136" fmla="*/ 1470660 h 3680460"/>
                  <a:gd name="connsiteX137" fmla="*/ 2895600 w 3025140"/>
                  <a:gd name="connsiteY137" fmla="*/ 1371600 h 3680460"/>
                  <a:gd name="connsiteX138" fmla="*/ 2880360 w 3025140"/>
                  <a:gd name="connsiteY138" fmla="*/ 1341120 h 3680460"/>
                  <a:gd name="connsiteX139" fmla="*/ 2857500 w 3025140"/>
                  <a:gd name="connsiteY139" fmla="*/ 1272540 h 3680460"/>
                  <a:gd name="connsiteX140" fmla="*/ 2849880 w 3025140"/>
                  <a:gd name="connsiteY140" fmla="*/ 1234440 h 3680460"/>
                  <a:gd name="connsiteX141" fmla="*/ 2827020 w 3025140"/>
                  <a:gd name="connsiteY141" fmla="*/ 1196340 h 3680460"/>
                  <a:gd name="connsiteX142" fmla="*/ 2811780 w 3025140"/>
                  <a:gd name="connsiteY142" fmla="*/ 1165860 h 3680460"/>
                  <a:gd name="connsiteX143" fmla="*/ 2781300 w 3025140"/>
                  <a:gd name="connsiteY143" fmla="*/ 1127760 h 3680460"/>
                  <a:gd name="connsiteX144" fmla="*/ 2766060 w 3025140"/>
                  <a:gd name="connsiteY144" fmla="*/ 1089660 h 3680460"/>
                  <a:gd name="connsiteX145" fmla="*/ 2735580 w 3025140"/>
                  <a:gd name="connsiteY145" fmla="*/ 1043940 h 3680460"/>
                  <a:gd name="connsiteX146" fmla="*/ 2727960 w 3025140"/>
                  <a:gd name="connsiteY146" fmla="*/ 1021080 h 3680460"/>
                  <a:gd name="connsiteX147" fmla="*/ 2682240 w 3025140"/>
                  <a:gd name="connsiteY147" fmla="*/ 937260 h 3680460"/>
                  <a:gd name="connsiteX148" fmla="*/ 2659380 w 3025140"/>
                  <a:gd name="connsiteY148" fmla="*/ 876300 h 3680460"/>
                  <a:gd name="connsiteX149" fmla="*/ 2644140 w 3025140"/>
                  <a:gd name="connsiteY149" fmla="*/ 845820 h 3680460"/>
                  <a:gd name="connsiteX150" fmla="*/ 2636520 w 3025140"/>
                  <a:gd name="connsiteY150" fmla="*/ 822960 h 3680460"/>
                  <a:gd name="connsiteX151" fmla="*/ 2621280 w 3025140"/>
                  <a:gd name="connsiteY151" fmla="*/ 800100 h 3680460"/>
                  <a:gd name="connsiteX152" fmla="*/ 2598420 w 3025140"/>
                  <a:gd name="connsiteY152" fmla="*/ 739140 h 3680460"/>
                  <a:gd name="connsiteX153" fmla="*/ 2458403 w 3025140"/>
                  <a:gd name="connsiteY153" fmla="*/ 621983 h 3680460"/>
                  <a:gd name="connsiteX154" fmla="*/ 2301240 w 3025140"/>
                  <a:gd name="connsiteY154" fmla="*/ 458152 h 3680460"/>
                  <a:gd name="connsiteX155" fmla="*/ 2237423 w 3025140"/>
                  <a:gd name="connsiteY155" fmla="*/ 406717 h 3680460"/>
                  <a:gd name="connsiteX156" fmla="*/ 2103120 w 3025140"/>
                  <a:gd name="connsiteY156" fmla="*/ 312420 h 3680460"/>
                  <a:gd name="connsiteX157" fmla="*/ 2042160 w 3025140"/>
                  <a:gd name="connsiteY157" fmla="*/ 266700 h 3680460"/>
                  <a:gd name="connsiteX158" fmla="*/ 2004060 w 3025140"/>
                  <a:gd name="connsiteY158" fmla="*/ 251460 h 3680460"/>
                  <a:gd name="connsiteX159" fmla="*/ 1958340 w 3025140"/>
                  <a:gd name="connsiteY159" fmla="*/ 220980 h 3680460"/>
                  <a:gd name="connsiteX160" fmla="*/ 1897380 w 3025140"/>
                  <a:gd name="connsiteY16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94660 w 3025140"/>
                  <a:gd name="connsiteY26" fmla="*/ 1348740 h 3680460"/>
                  <a:gd name="connsiteX27" fmla="*/ 3009900 w 3025140"/>
                  <a:gd name="connsiteY27" fmla="*/ 1432560 h 3680460"/>
                  <a:gd name="connsiteX28" fmla="*/ 3017520 w 3025140"/>
                  <a:gd name="connsiteY28" fmla="*/ 1684020 h 3680460"/>
                  <a:gd name="connsiteX29" fmla="*/ 3025140 w 3025140"/>
                  <a:gd name="connsiteY29" fmla="*/ 1744980 h 3680460"/>
                  <a:gd name="connsiteX30" fmla="*/ 3017520 w 3025140"/>
                  <a:gd name="connsiteY30" fmla="*/ 2095500 h 3680460"/>
                  <a:gd name="connsiteX31" fmla="*/ 3009900 w 3025140"/>
                  <a:gd name="connsiteY31" fmla="*/ 2125980 h 3680460"/>
                  <a:gd name="connsiteX32" fmla="*/ 2979420 w 3025140"/>
                  <a:gd name="connsiteY32" fmla="*/ 2194560 h 3680460"/>
                  <a:gd name="connsiteX33" fmla="*/ 2956560 w 3025140"/>
                  <a:gd name="connsiteY33" fmla="*/ 2247900 h 3680460"/>
                  <a:gd name="connsiteX34" fmla="*/ 2941320 w 3025140"/>
                  <a:gd name="connsiteY34" fmla="*/ 2324100 h 3680460"/>
                  <a:gd name="connsiteX35" fmla="*/ 2926080 w 3025140"/>
                  <a:gd name="connsiteY35" fmla="*/ 2392680 h 3680460"/>
                  <a:gd name="connsiteX36" fmla="*/ 2918460 w 3025140"/>
                  <a:gd name="connsiteY36" fmla="*/ 2415540 h 3680460"/>
                  <a:gd name="connsiteX37" fmla="*/ 2895600 w 3025140"/>
                  <a:gd name="connsiteY37" fmla="*/ 2484120 h 3680460"/>
                  <a:gd name="connsiteX38" fmla="*/ 2872740 w 3025140"/>
                  <a:gd name="connsiteY38" fmla="*/ 2583180 h 3680460"/>
                  <a:gd name="connsiteX39" fmla="*/ 2857500 w 3025140"/>
                  <a:gd name="connsiteY39" fmla="*/ 2606040 h 3680460"/>
                  <a:gd name="connsiteX40" fmla="*/ 2834640 w 3025140"/>
                  <a:gd name="connsiteY40" fmla="*/ 2689860 h 3680460"/>
                  <a:gd name="connsiteX41" fmla="*/ 2811780 w 3025140"/>
                  <a:gd name="connsiteY41" fmla="*/ 2750820 h 3680460"/>
                  <a:gd name="connsiteX42" fmla="*/ 2788920 w 3025140"/>
                  <a:gd name="connsiteY42" fmla="*/ 2781300 h 3680460"/>
                  <a:gd name="connsiteX43" fmla="*/ 2781300 w 3025140"/>
                  <a:gd name="connsiteY43" fmla="*/ 2804160 h 3680460"/>
                  <a:gd name="connsiteX44" fmla="*/ 2743200 w 3025140"/>
                  <a:gd name="connsiteY44" fmla="*/ 2865120 h 3680460"/>
                  <a:gd name="connsiteX45" fmla="*/ 2712720 w 3025140"/>
                  <a:gd name="connsiteY45" fmla="*/ 2903220 h 3680460"/>
                  <a:gd name="connsiteX46" fmla="*/ 2697480 w 3025140"/>
                  <a:gd name="connsiteY46" fmla="*/ 2933700 h 3680460"/>
                  <a:gd name="connsiteX47" fmla="*/ 2674620 w 3025140"/>
                  <a:gd name="connsiteY47" fmla="*/ 2964180 h 3680460"/>
                  <a:gd name="connsiteX48" fmla="*/ 2644140 w 3025140"/>
                  <a:gd name="connsiteY48" fmla="*/ 3009900 h 3680460"/>
                  <a:gd name="connsiteX49" fmla="*/ 2598420 w 3025140"/>
                  <a:gd name="connsiteY49" fmla="*/ 3055620 h 3680460"/>
                  <a:gd name="connsiteX50" fmla="*/ 2575560 w 3025140"/>
                  <a:gd name="connsiteY50" fmla="*/ 3078480 h 3680460"/>
                  <a:gd name="connsiteX51" fmla="*/ 2476500 w 3025140"/>
                  <a:gd name="connsiteY51" fmla="*/ 3169920 h 3680460"/>
                  <a:gd name="connsiteX52" fmla="*/ 2377440 w 3025140"/>
                  <a:gd name="connsiteY52" fmla="*/ 3223260 h 3680460"/>
                  <a:gd name="connsiteX53" fmla="*/ 2293620 w 3025140"/>
                  <a:gd name="connsiteY53" fmla="*/ 3284220 h 3680460"/>
                  <a:gd name="connsiteX54" fmla="*/ 2240280 w 3025140"/>
                  <a:gd name="connsiteY54" fmla="*/ 3314700 h 3680460"/>
                  <a:gd name="connsiteX55" fmla="*/ 2225040 w 3025140"/>
                  <a:gd name="connsiteY55" fmla="*/ 3337560 h 3680460"/>
                  <a:gd name="connsiteX56" fmla="*/ 2141220 w 3025140"/>
                  <a:gd name="connsiteY56" fmla="*/ 3390900 h 3680460"/>
                  <a:gd name="connsiteX57" fmla="*/ 2110740 w 3025140"/>
                  <a:gd name="connsiteY57" fmla="*/ 3413760 h 3680460"/>
                  <a:gd name="connsiteX58" fmla="*/ 2072640 w 3025140"/>
                  <a:gd name="connsiteY58" fmla="*/ 3451860 h 3680460"/>
                  <a:gd name="connsiteX59" fmla="*/ 2019300 w 3025140"/>
                  <a:gd name="connsiteY59" fmla="*/ 3467100 h 3680460"/>
                  <a:gd name="connsiteX60" fmla="*/ 1874520 w 3025140"/>
                  <a:gd name="connsiteY60" fmla="*/ 3512820 h 3680460"/>
                  <a:gd name="connsiteX61" fmla="*/ 1828800 w 3025140"/>
                  <a:gd name="connsiteY61" fmla="*/ 3520440 h 3680460"/>
                  <a:gd name="connsiteX62" fmla="*/ 1722120 w 3025140"/>
                  <a:gd name="connsiteY62" fmla="*/ 3550920 h 3680460"/>
                  <a:gd name="connsiteX63" fmla="*/ 1600200 w 3025140"/>
                  <a:gd name="connsiteY63" fmla="*/ 3589020 h 3680460"/>
                  <a:gd name="connsiteX64" fmla="*/ 1569720 w 3025140"/>
                  <a:gd name="connsiteY64" fmla="*/ 3596640 h 3680460"/>
                  <a:gd name="connsiteX65" fmla="*/ 1546860 w 3025140"/>
                  <a:gd name="connsiteY65" fmla="*/ 3611880 h 3680460"/>
                  <a:gd name="connsiteX66" fmla="*/ 1463040 w 3025140"/>
                  <a:gd name="connsiteY66" fmla="*/ 3627120 h 3680460"/>
                  <a:gd name="connsiteX67" fmla="*/ 1333500 w 3025140"/>
                  <a:gd name="connsiteY67" fmla="*/ 3657600 h 3680460"/>
                  <a:gd name="connsiteX68" fmla="*/ 1203960 w 3025140"/>
                  <a:gd name="connsiteY68" fmla="*/ 3672840 h 3680460"/>
                  <a:gd name="connsiteX69" fmla="*/ 1165860 w 3025140"/>
                  <a:gd name="connsiteY69" fmla="*/ 3680460 h 3680460"/>
                  <a:gd name="connsiteX70" fmla="*/ 449580 w 3025140"/>
                  <a:gd name="connsiteY70" fmla="*/ 3672840 h 3680460"/>
                  <a:gd name="connsiteX71" fmla="*/ 426720 w 3025140"/>
                  <a:gd name="connsiteY71" fmla="*/ 3665220 h 3680460"/>
                  <a:gd name="connsiteX72" fmla="*/ 388620 w 3025140"/>
                  <a:gd name="connsiteY72" fmla="*/ 3657600 h 3680460"/>
                  <a:gd name="connsiteX73" fmla="*/ 335280 w 3025140"/>
                  <a:gd name="connsiteY73" fmla="*/ 3627120 h 3680460"/>
                  <a:gd name="connsiteX74" fmla="*/ 266700 w 3025140"/>
                  <a:gd name="connsiteY74" fmla="*/ 3604260 h 3680460"/>
                  <a:gd name="connsiteX75" fmla="*/ 243840 w 3025140"/>
                  <a:gd name="connsiteY75" fmla="*/ 3589020 h 3680460"/>
                  <a:gd name="connsiteX76" fmla="*/ 160020 w 3025140"/>
                  <a:gd name="connsiteY76" fmla="*/ 3558540 h 3680460"/>
                  <a:gd name="connsiteX77" fmla="*/ 137160 w 3025140"/>
                  <a:gd name="connsiteY77" fmla="*/ 3535680 h 3680460"/>
                  <a:gd name="connsiteX78" fmla="*/ 99060 w 3025140"/>
                  <a:gd name="connsiteY78" fmla="*/ 3520440 h 3680460"/>
                  <a:gd name="connsiteX79" fmla="*/ 83820 w 3025140"/>
                  <a:gd name="connsiteY79" fmla="*/ 3489960 h 3680460"/>
                  <a:gd name="connsiteX80" fmla="*/ 45720 w 3025140"/>
                  <a:gd name="connsiteY80" fmla="*/ 3436620 h 3680460"/>
                  <a:gd name="connsiteX81" fmla="*/ 0 w 3025140"/>
                  <a:gd name="connsiteY81" fmla="*/ 3352800 h 3680460"/>
                  <a:gd name="connsiteX82" fmla="*/ 30480 w 3025140"/>
                  <a:gd name="connsiteY82" fmla="*/ 3345180 h 3680460"/>
                  <a:gd name="connsiteX83" fmla="*/ 137160 w 3025140"/>
                  <a:gd name="connsiteY83" fmla="*/ 3360420 h 3680460"/>
                  <a:gd name="connsiteX84" fmla="*/ 167640 w 3025140"/>
                  <a:gd name="connsiteY84" fmla="*/ 3390900 h 3680460"/>
                  <a:gd name="connsiteX85" fmla="*/ 198120 w 3025140"/>
                  <a:gd name="connsiteY85" fmla="*/ 3406140 h 3680460"/>
                  <a:gd name="connsiteX86" fmla="*/ 350520 w 3025140"/>
                  <a:gd name="connsiteY86" fmla="*/ 3436620 h 3680460"/>
                  <a:gd name="connsiteX87" fmla="*/ 381000 w 3025140"/>
                  <a:gd name="connsiteY87" fmla="*/ 3451860 h 3680460"/>
                  <a:gd name="connsiteX88" fmla="*/ 449580 w 3025140"/>
                  <a:gd name="connsiteY88" fmla="*/ 3489960 h 3680460"/>
                  <a:gd name="connsiteX89" fmla="*/ 495300 w 3025140"/>
                  <a:gd name="connsiteY89" fmla="*/ 3520440 h 3680460"/>
                  <a:gd name="connsiteX90" fmla="*/ 525780 w 3025140"/>
                  <a:gd name="connsiteY90" fmla="*/ 3535680 h 3680460"/>
                  <a:gd name="connsiteX91" fmla="*/ 731520 w 3025140"/>
                  <a:gd name="connsiteY91" fmla="*/ 3558540 h 3680460"/>
                  <a:gd name="connsiteX92" fmla="*/ 1341120 w 3025140"/>
                  <a:gd name="connsiteY92" fmla="*/ 3550920 h 3680460"/>
                  <a:gd name="connsiteX93" fmla="*/ 1440180 w 3025140"/>
                  <a:gd name="connsiteY93" fmla="*/ 3528060 h 3680460"/>
                  <a:gd name="connsiteX94" fmla="*/ 1539240 w 3025140"/>
                  <a:gd name="connsiteY94" fmla="*/ 3520440 h 3680460"/>
                  <a:gd name="connsiteX95" fmla="*/ 1562100 w 3025140"/>
                  <a:gd name="connsiteY95" fmla="*/ 3512820 h 3680460"/>
                  <a:gd name="connsiteX96" fmla="*/ 1630680 w 3025140"/>
                  <a:gd name="connsiteY96" fmla="*/ 3497580 h 3680460"/>
                  <a:gd name="connsiteX97" fmla="*/ 1699260 w 3025140"/>
                  <a:gd name="connsiteY97" fmla="*/ 3474720 h 3680460"/>
                  <a:gd name="connsiteX98" fmla="*/ 1790700 w 3025140"/>
                  <a:gd name="connsiteY98" fmla="*/ 3451860 h 3680460"/>
                  <a:gd name="connsiteX99" fmla="*/ 1821180 w 3025140"/>
                  <a:gd name="connsiteY99" fmla="*/ 3444240 h 3680460"/>
                  <a:gd name="connsiteX100" fmla="*/ 1844040 w 3025140"/>
                  <a:gd name="connsiteY100" fmla="*/ 3429000 h 3680460"/>
                  <a:gd name="connsiteX101" fmla="*/ 1874520 w 3025140"/>
                  <a:gd name="connsiteY101" fmla="*/ 3421380 h 3680460"/>
                  <a:gd name="connsiteX102" fmla="*/ 1927860 w 3025140"/>
                  <a:gd name="connsiteY102" fmla="*/ 3398520 h 3680460"/>
                  <a:gd name="connsiteX103" fmla="*/ 1950720 w 3025140"/>
                  <a:gd name="connsiteY103" fmla="*/ 3390900 h 3680460"/>
                  <a:gd name="connsiteX104" fmla="*/ 2004060 w 3025140"/>
                  <a:gd name="connsiteY104" fmla="*/ 3360420 h 3680460"/>
                  <a:gd name="connsiteX105" fmla="*/ 2042160 w 3025140"/>
                  <a:gd name="connsiteY105" fmla="*/ 3352800 h 3680460"/>
                  <a:gd name="connsiteX106" fmla="*/ 2080260 w 3025140"/>
                  <a:gd name="connsiteY106" fmla="*/ 3337560 h 3680460"/>
                  <a:gd name="connsiteX107" fmla="*/ 2156460 w 3025140"/>
                  <a:gd name="connsiteY107" fmla="*/ 3299460 h 3680460"/>
                  <a:gd name="connsiteX108" fmla="*/ 2179320 w 3025140"/>
                  <a:gd name="connsiteY108" fmla="*/ 3284220 h 3680460"/>
                  <a:gd name="connsiteX109" fmla="*/ 2209800 w 3025140"/>
                  <a:gd name="connsiteY109" fmla="*/ 3276600 h 3680460"/>
                  <a:gd name="connsiteX110" fmla="*/ 2263140 w 3025140"/>
                  <a:gd name="connsiteY110" fmla="*/ 3230880 h 3680460"/>
                  <a:gd name="connsiteX111" fmla="*/ 2346960 w 3025140"/>
                  <a:gd name="connsiteY111" fmla="*/ 3154680 h 3680460"/>
                  <a:gd name="connsiteX112" fmla="*/ 2400300 w 3025140"/>
                  <a:gd name="connsiteY112" fmla="*/ 3070860 h 3680460"/>
                  <a:gd name="connsiteX113" fmla="*/ 2415540 w 3025140"/>
                  <a:gd name="connsiteY113" fmla="*/ 3048000 h 3680460"/>
                  <a:gd name="connsiteX114" fmla="*/ 2446020 w 3025140"/>
                  <a:gd name="connsiteY114" fmla="*/ 3032760 h 3680460"/>
                  <a:gd name="connsiteX115" fmla="*/ 2468880 w 3025140"/>
                  <a:gd name="connsiteY115" fmla="*/ 3009900 h 3680460"/>
                  <a:gd name="connsiteX116" fmla="*/ 2537460 w 3025140"/>
                  <a:gd name="connsiteY116" fmla="*/ 2926080 h 3680460"/>
                  <a:gd name="connsiteX117" fmla="*/ 2575560 w 3025140"/>
                  <a:gd name="connsiteY117" fmla="*/ 2880360 h 3680460"/>
                  <a:gd name="connsiteX118" fmla="*/ 2628900 w 3025140"/>
                  <a:gd name="connsiteY118" fmla="*/ 2811780 h 3680460"/>
                  <a:gd name="connsiteX119" fmla="*/ 2644140 w 3025140"/>
                  <a:gd name="connsiteY119" fmla="*/ 2773680 h 3680460"/>
                  <a:gd name="connsiteX120" fmla="*/ 2674620 w 3025140"/>
                  <a:gd name="connsiteY120" fmla="*/ 2727960 h 3680460"/>
                  <a:gd name="connsiteX121" fmla="*/ 2689860 w 3025140"/>
                  <a:gd name="connsiteY121" fmla="*/ 2705100 h 3680460"/>
                  <a:gd name="connsiteX122" fmla="*/ 2705100 w 3025140"/>
                  <a:gd name="connsiteY122" fmla="*/ 2667000 h 3680460"/>
                  <a:gd name="connsiteX123" fmla="*/ 2727960 w 3025140"/>
                  <a:gd name="connsiteY123" fmla="*/ 2621280 h 3680460"/>
                  <a:gd name="connsiteX124" fmla="*/ 2735580 w 3025140"/>
                  <a:gd name="connsiteY124" fmla="*/ 2590800 h 3680460"/>
                  <a:gd name="connsiteX125" fmla="*/ 2758440 w 3025140"/>
                  <a:gd name="connsiteY125" fmla="*/ 2545080 h 3680460"/>
                  <a:gd name="connsiteX126" fmla="*/ 2788920 w 3025140"/>
                  <a:gd name="connsiteY126" fmla="*/ 2484120 h 3680460"/>
                  <a:gd name="connsiteX127" fmla="*/ 2811780 w 3025140"/>
                  <a:gd name="connsiteY127" fmla="*/ 2407920 h 3680460"/>
                  <a:gd name="connsiteX128" fmla="*/ 2842260 w 3025140"/>
                  <a:gd name="connsiteY128" fmla="*/ 2324100 h 3680460"/>
                  <a:gd name="connsiteX129" fmla="*/ 2857500 w 3025140"/>
                  <a:gd name="connsiteY129" fmla="*/ 2247900 h 3680460"/>
                  <a:gd name="connsiteX130" fmla="*/ 2872740 w 3025140"/>
                  <a:gd name="connsiteY130" fmla="*/ 2194560 h 3680460"/>
                  <a:gd name="connsiteX131" fmla="*/ 2887980 w 3025140"/>
                  <a:gd name="connsiteY131" fmla="*/ 2148840 h 3680460"/>
                  <a:gd name="connsiteX132" fmla="*/ 2910840 w 3025140"/>
                  <a:gd name="connsiteY132" fmla="*/ 2087880 h 3680460"/>
                  <a:gd name="connsiteX133" fmla="*/ 2918460 w 3025140"/>
                  <a:gd name="connsiteY133" fmla="*/ 2049780 h 3680460"/>
                  <a:gd name="connsiteX134" fmla="*/ 2933700 w 3025140"/>
                  <a:gd name="connsiteY134" fmla="*/ 1844040 h 3680460"/>
                  <a:gd name="connsiteX135" fmla="*/ 2918460 w 3025140"/>
                  <a:gd name="connsiteY135" fmla="*/ 1470660 h 3680460"/>
                  <a:gd name="connsiteX136" fmla="*/ 2895600 w 3025140"/>
                  <a:gd name="connsiteY136" fmla="*/ 1371600 h 3680460"/>
                  <a:gd name="connsiteX137" fmla="*/ 2880360 w 3025140"/>
                  <a:gd name="connsiteY137" fmla="*/ 1341120 h 3680460"/>
                  <a:gd name="connsiteX138" fmla="*/ 2857500 w 3025140"/>
                  <a:gd name="connsiteY138" fmla="*/ 1272540 h 3680460"/>
                  <a:gd name="connsiteX139" fmla="*/ 2849880 w 3025140"/>
                  <a:gd name="connsiteY139" fmla="*/ 1234440 h 3680460"/>
                  <a:gd name="connsiteX140" fmla="*/ 2827020 w 3025140"/>
                  <a:gd name="connsiteY140" fmla="*/ 1196340 h 3680460"/>
                  <a:gd name="connsiteX141" fmla="*/ 2811780 w 3025140"/>
                  <a:gd name="connsiteY141" fmla="*/ 1165860 h 3680460"/>
                  <a:gd name="connsiteX142" fmla="*/ 2781300 w 3025140"/>
                  <a:gd name="connsiteY142" fmla="*/ 1127760 h 3680460"/>
                  <a:gd name="connsiteX143" fmla="*/ 2766060 w 3025140"/>
                  <a:gd name="connsiteY143" fmla="*/ 1089660 h 3680460"/>
                  <a:gd name="connsiteX144" fmla="*/ 2735580 w 3025140"/>
                  <a:gd name="connsiteY144" fmla="*/ 1043940 h 3680460"/>
                  <a:gd name="connsiteX145" fmla="*/ 2727960 w 3025140"/>
                  <a:gd name="connsiteY145" fmla="*/ 1021080 h 3680460"/>
                  <a:gd name="connsiteX146" fmla="*/ 2682240 w 3025140"/>
                  <a:gd name="connsiteY146" fmla="*/ 937260 h 3680460"/>
                  <a:gd name="connsiteX147" fmla="*/ 2659380 w 3025140"/>
                  <a:gd name="connsiteY147" fmla="*/ 876300 h 3680460"/>
                  <a:gd name="connsiteX148" fmla="*/ 2644140 w 3025140"/>
                  <a:gd name="connsiteY148" fmla="*/ 845820 h 3680460"/>
                  <a:gd name="connsiteX149" fmla="*/ 2636520 w 3025140"/>
                  <a:gd name="connsiteY149" fmla="*/ 822960 h 3680460"/>
                  <a:gd name="connsiteX150" fmla="*/ 2621280 w 3025140"/>
                  <a:gd name="connsiteY150" fmla="*/ 800100 h 3680460"/>
                  <a:gd name="connsiteX151" fmla="*/ 2598420 w 3025140"/>
                  <a:gd name="connsiteY151" fmla="*/ 739140 h 3680460"/>
                  <a:gd name="connsiteX152" fmla="*/ 2458403 w 3025140"/>
                  <a:gd name="connsiteY152" fmla="*/ 621983 h 3680460"/>
                  <a:gd name="connsiteX153" fmla="*/ 2301240 w 3025140"/>
                  <a:gd name="connsiteY153" fmla="*/ 458152 h 3680460"/>
                  <a:gd name="connsiteX154" fmla="*/ 2237423 w 3025140"/>
                  <a:gd name="connsiteY154" fmla="*/ 406717 h 3680460"/>
                  <a:gd name="connsiteX155" fmla="*/ 2103120 w 3025140"/>
                  <a:gd name="connsiteY155" fmla="*/ 312420 h 3680460"/>
                  <a:gd name="connsiteX156" fmla="*/ 2042160 w 3025140"/>
                  <a:gd name="connsiteY156" fmla="*/ 266700 h 3680460"/>
                  <a:gd name="connsiteX157" fmla="*/ 2004060 w 3025140"/>
                  <a:gd name="connsiteY157" fmla="*/ 251460 h 3680460"/>
                  <a:gd name="connsiteX158" fmla="*/ 1958340 w 3025140"/>
                  <a:gd name="connsiteY158" fmla="*/ 220980 h 3680460"/>
                  <a:gd name="connsiteX159" fmla="*/ 1897380 w 3025140"/>
                  <a:gd name="connsiteY15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3009900 w 3018472"/>
                  <a:gd name="connsiteY30" fmla="*/ 2125980 h 3680460"/>
                  <a:gd name="connsiteX31" fmla="*/ 2979420 w 3018472"/>
                  <a:gd name="connsiteY31" fmla="*/ 2194560 h 3680460"/>
                  <a:gd name="connsiteX32" fmla="*/ 2956560 w 3018472"/>
                  <a:gd name="connsiteY32" fmla="*/ 2247900 h 3680460"/>
                  <a:gd name="connsiteX33" fmla="*/ 2941320 w 3018472"/>
                  <a:gd name="connsiteY33" fmla="*/ 2324100 h 3680460"/>
                  <a:gd name="connsiteX34" fmla="*/ 2926080 w 3018472"/>
                  <a:gd name="connsiteY34" fmla="*/ 2392680 h 3680460"/>
                  <a:gd name="connsiteX35" fmla="*/ 2918460 w 3018472"/>
                  <a:gd name="connsiteY35" fmla="*/ 2415540 h 3680460"/>
                  <a:gd name="connsiteX36" fmla="*/ 2895600 w 3018472"/>
                  <a:gd name="connsiteY36" fmla="*/ 2484120 h 3680460"/>
                  <a:gd name="connsiteX37" fmla="*/ 2872740 w 3018472"/>
                  <a:gd name="connsiteY37" fmla="*/ 2583180 h 3680460"/>
                  <a:gd name="connsiteX38" fmla="*/ 2857500 w 3018472"/>
                  <a:gd name="connsiteY38" fmla="*/ 2606040 h 3680460"/>
                  <a:gd name="connsiteX39" fmla="*/ 2834640 w 3018472"/>
                  <a:gd name="connsiteY39" fmla="*/ 2689860 h 3680460"/>
                  <a:gd name="connsiteX40" fmla="*/ 2811780 w 3018472"/>
                  <a:gd name="connsiteY40" fmla="*/ 2750820 h 3680460"/>
                  <a:gd name="connsiteX41" fmla="*/ 2788920 w 3018472"/>
                  <a:gd name="connsiteY41" fmla="*/ 2781300 h 3680460"/>
                  <a:gd name="connsiteX42" fmla="*/ 2781300 w 3018472"/>
                  <a:gd name="connsiteY42" fmla="*/ 2804160 h 3680460"/>
                  <a:gd name="connsiteX43" fmla="*/ 2743200 w 3018472"/>
                  <a:gd name="connsiteY43" fmla="*/ 2865120 h 3680460"/>
                  <a:gd name="connsiteX44" fmla="*/ 2712720 w 3018472"/>
                  <a:gd name="connsiteY44" fmla="*/ 2903220 h 3680460"/>
                  <a:gd name="connsiteX45" fmla="*/ 2697480 w 3018472"/>
                  <a:gd name="connsiteY45" fmla="*/ 2933700 h 3680460"/>
                  <a:gd name="connsiteX46" fmla="*/ 2674620 w 3018472"/>
                  <a:gd name="connsiteY46" fmla="*/ 2964180 h 3680460"/>
                  <a:gd name="connsiteX47" fmla="*/ 2644140 w 3018472"/>
                  <a:gd name="connsiteY47" fmla="*/ 3009900 h 3680460"/>
                  <a:gd name="connsiteX48" fmla="*/ 2598420 w 3018472"/>
                  <a:gd name="connsiteY48" fmla="*/ 3055620 h 3680460"/>
                  <a:gd name="connsiteX49" fmla="*/ 2575560 w 3018472"/>
                  <a:gd name="connsiteY49" fmla="*/ 3078480 h 3680460"/>
                  <a:gd name="connsiteX50" fmla="*/ 2476500 w 3018472"/>
                  <a:gd name="connsiteY50" fmla="*/ 3169920 h 3680460"/>
                  <a:gd name="connsiteX51" fmla="*/ 2377440 w 3018472"/>
                  <a:gd name="connsiteY51" fmla="*/ 3223260 h 3680460"/>
                  <a:gd name="connsiteX52" fmla="*/ 2293620 w 3018472"/>
                  <a:gd name="connsiteY52" fmla="*/ 3284220 h 3680460"/>
                  <a:gd name="connsiteX53" fmla="*/ 2240280 w 3018472"/>
                  <a:gd name="connsiteY53" fmla="*/ 3314700 h 3680460"/>
                  <a:gd name="connsiteX54" fmla="*/ 2225040 w 3018472"/>
                  <a:gd name="connsiteY54" fmla="*/ 3337560 h 3680460"/>
                  <a:gd name="connsiteX55" fmla="*/ 2141220 w 3018472"/>
                  <a:gd name="connsiteY55" fmla="*/ 3390900 h 3680460"/>
                  <a:gd name="connsiteX56" fmla="*/ 2110740 w 3018472"/>
                  <a:gd name="connsiteY56" fmla="*/ 3413760 h 3680460"/>
                  <a:gd name="connsiteX57" fmla="*/ 2072640 w 3018472"/>
                  <a:gd name="connsiteY57" fmla="*/ 3451860 h 3680460"/>
                  <a:gd name="connsiteX58" fmla="*/ 2019300 w 3018472"/>
                  <a:gd name="connsiteY58" fmla="*/ 3467100 h 3680460"/>
                  <a:gd name="connsiteX59" fmla="*/ 1874520 w 3018472"/>
                  <a:gd name="connsiteY59" fmla="*/ 3512820 h 3680460"/>
                  <a:gd name="connsiteX60" fmla="*/ 1828800 w 3018472"/>
                  <a:gd name="connsiteY60" fmla="*/ 3520440 h 3680460"/>
                  <a:gd name="connsiteX61" fmla="*/ 1722120 w 3018472"/>
                  <a:gd name="connsiteY61" fmla="*/ 3550920 h 3680460"/>
                  <a:gd name="connsiteX62" fmla="*/ 1600200 w 3018472"/>
                  <a:gd name="connsiteY62" fmla="*/ 3589020 h 3680460"/>
                  <a:gd name="connsiteX63" fmla="*/ 1569720 w 3018472"/>
                  <a:gd name="connsiteY63" fmla="*/ 3596640 h 3680460"/>
                  <a:gd name="connsiteX64" fmla="*/ 1546860 w 3018472"/>
                  <a:gd name="connsiteY64" fmla="*/ 3611880 h 3680460"/>
                  <a:gd name="connsiteX65" fmla="*/ 1463040 w 3018472"/>
                  <a:gd name="connsiteY65" fmla="*/ 3627120 h 3680460"/>
                  <a:gd name="connsiteX66" fmla="*/ 1333500 w 3018472"/>
                  <a:gd name="connsiteY66" fmla="*/ 3657600 h 3680460"/>
                  <a:gd name="connsiteX67" fmla="*/ 1203960 w 3018472"/>
                  <a:gd name="connsiteY67" fmla="*/ 3672840 h 3680460"/>
                  <a:gd name="connsiteX68" fmla="*/ 1165860 w 3018472"/>
                  <a:gd name="connsiteY68" fmla="*/ 3680460 h 3680460"/>
                  <a:gd name="connsiteX69" fmla="*/ 449580 w 3018472"/>
                  <a:gd name="connsiteY69" fmla="*/ 3672840 h 3680460"/>
                  <a:gd name="connsiteX70" fmla="*/ 426720 w 3018472"/>
                  <a:gd name="connsiteY70" fmla="*/ 3665220 h 3680460"/>
                  <a:gd name="connsiteX71" fmla="*/ 388620 w 3018472"/>
                  <a:gd name="connsiteY71" fmla="*/ 3657600 h 3680460"/>
                  <a:gd name="connsiteX72" fmla="*/ 335280 w 3018472"/>
                  <a:gd name="connsiteY72" fmla="*/ 3627120 h 3680460"/>
                  <a:gd name="connsiteX73" fmla="*/ 266700 w 3018472"/>
                  <a:gd name="connsiteY73" fmla="*/ 3604260 h 3680460"/>
                  <a:gd name="connsiteX74" fmla="*/ 243840 w 3018472"/>
                  <a:gd name="connsiteY74" fmla="*/ 3589020 h 3680460"/>
                  <a:gd name="connsiteX75" fmla="*/ 160020 w 3018472"/>
                  <a:gd name="connsiteY75" fmla="*/ 3558540 h 3680460"/>
                  <a:gd name="connsiteX76" fmla="*/ 137160 w 3018472"/>
                  <a:gd name="connsiteY76" fmla="*/ 3535680 h 3680460"/>
                  <a:gd name="connsiteX77" fmla="*/ 99060 w 3018472"/>
                  <a:gd name="connsiteY77" fmla="*/ 3520440 h 3680460"/>
                  <a:gd name="connsiteX78" fmla="*/ 83820 w 3018472"/>
                  <a:gd name="connsiteY78" fmla="*/ 3489960 h 3680460"/>
                  <a:gd name="connsiteX79" fmla="*/ 45720 w 3018472"/>
                  <a:gd name="connsiteY79" fmla="*/ 3436620 h 3680460"/>
                  <a:gd name="connsiteX80" fmla="*/ 0 w 3018472"/>
                  <a:gd name="connsiteY80" fmla="*/ 3352800 h 3680460"/>
                  <a:gd name="connsiteX81" fmla="*/ 30480 w 3018472"/>
                  <a:gd name="connsiteY81" fmla="*/ 3345180 h 3680460"/>
                  <a:gd name="connsiteX82" fmla="*/ 137160 w 3018472"/>
                  <a:gd name="connsiteY82" fmla="*/ 3360420 h 3680460"/>
                  <a:gd name="connsiteX83" fmla="*/ 167640 w 3018472"/>
                  <a:gd name="connsiteY83" fmla="*/ 3390900 h 3680460"/>
                  <a:gd name="connsiteX84" fmla="*/ 198120 w 3018472"/>
                  <a:gd name="connsiteY84" fmla="*/ 3406140 h 3680460"/>
                  <a:gd name="connsiteX85" fmla="*/ 350520 w 3018472"/>
                  <a:gd name="connsiteY85" fmla="*/ 3436620 h 3680460"/>
                  <a:gd name="connsiteX86" fmla="*/ 381000 w 3018472"/>
                  <a:gd name="connsiteY86" fmla="*/ 3451860 h 3680460"/>
                  <a:gd name="connsiteX87" fmla="*/ 449580 w 3018472"/>
                  <a:gd name="connsiteY87" fmla="*/ 3489960 h 3680460"/>
                  <a:gd name="connsiteX88" fmla="*/ 495300 w 3018472"/>
                  <a:gd name="connsiteY88" fmla="*/ 3520440 h 3680460"/>
                  <a:gd name="connsiteX89" fmla="*/ 525780 w 3018472"/>
                  <a:gd name="connsiteY89" fmla="*/ 3535680 h 3680460"/>
                  <a:gd name="connsiteX90" fmla="*/ 731520 w 3018472"/>
                  <a:gd name="connsiteY90" fmla="*/ 3558540 h 3680460"/>
                  <a:gd name="connsiteX91" fmla="*/ 1341120 w 3018472"/>
                  <a:gd name="connsiteY91" fmla="*/ 3550920 h 3680460"/>
                  <a:gd name="connsiteX92" fmla="*/ 1440180 w 3018472"/>
                  <a:gd name="connsiteY92" fmla="*/ 3528060 h 3680460"/>
                  <a:gd name="connsiteX93" fmla="*/ 1539240 w 3018472"/>
                  <a:gd name="connsiteY93" fmla="*/ 3520440 h 3680460"/>
                  <a:gd name="connsiteX94" fmla="*/ 1562100 w 3018472"/>
                  <a:gd name="connsiteY94" fmla="*/ 3512820 h 3680460"/>
                  <a:gd name="connsiteX95" fmla="*/ 1630680 w 3018472"/>
                  <a:gd name="connsiteY95" fmla="*/ 3497580 h 3680460"/>
                  <a:gd name="connsiteX96" fmla="*/ 1699260 w 3018472"/>
                  <a:gd name="connsiteY96" fmla="*/ 3474720 h 3680460"/>
                  <a:gd name="connsiteX97" fmla="*/ 1790700 w 3018472"/>
                  <a:gd name="connsiteY97" fmla="*/ 3451860 h 3680460"/>
                  <a:gd name="connsiteX98" fmla="*/ 1821180 w 3018472"/>
                  <a:gd name="connsiteY98" fmla="*/ 3444240 h 3680460"/>
                  <a:gd name="connsiteX99" fmla="*/ 1844040 w 3018472"/>
                  <a:gd name="connsiteY99" fmla="*/ 3429000 h 3680460"/>
                  <a:gd name="connsiteX100" fmla="*/ 1874520 w 3018472"/>
                  <a:gd name="connsiteY100" fmla="*/ 3421380 h 3680460"/>
                  <a:gd name="connsiteX101" fmla="*/ 1927860 w 3018472"/>
                  <a:gd name="connsiteY101" fmla="*/ 3398520 h 3680460"/>
                  <a:gd name="connsiteX102" fmla="*/ 1950720 w 3018472"/>
                  <a:gd name="connsiteY102" fmla="*/ 3390900 h 3680460"/>
                  <a:gd name="connsiteX103" fmla="*/ 2004060 w 3018472"/>
                  <a:gd name="connsiteY103" fmla="*/ 3360420 h 3680460"/>
                  <a:gd name="connsiteX104" fmla="*/ 2042160 w 3018472"/>
                  <a:gd name="connsiteY104" fmla="*/ 3352800 h 3680460"/>
                  <a:gd name="connsiteX105" fmla="*/ 2080260 w 3018472"/>
                  <a:gd name="connsiteY105" fmla="*/ 3337560 h 3680460"/>
                  <a:gd name="connsiteX106" fmla="*/ 2156460 w 3018472"/>
                  <a:gd name="connsiteY106" fmla="*/ 3299460 h 3680460"/>
                  <a:gd name="connsiteX107" fmla="*/ 2179320 w 3018472"/>
                  <a:gd name="connsiteY107" fmla="*/ 3284220 h 3680460"/>
                  <a:gd name="connsiteX108" fmla="*/ 2209800 w 3018472"/>
                  <a:gd name="connsiteY108" fmla="*/ 3276600 h 3680460"/>
                  <a:gd name="connsiteX109" fmla="*/ 2263140 w 3018472"/>
                  <a:gd name="connsiteY109" fmla="*/ 3230880 h 3680460"/>
                  <a:gd name="connsiteX110" fmla="*/ 2346960 w 3018472"/>
                  <a:gd name="connsiteY110" fmla="*/ 3154680 h 3680460"/>
                  <a:gd name="connsiteX111" fmla="*/ 2400300 w 3018472"/>
                  <a:gd name="connsiteY111" fmla="*/ 3070860 h 3680460"/>
                  <a:gd name="connsiteX112" fmla="*/ 2415540 w 3018472"/>
                  <a:gd name="connsiteY112" fmla="*/ 3048000 h 3680460"/>
                  <a:gd name="connsiteX113" fmla="*/ 2446020 w 3018472"/>
                  <a:gd name="connsiteY113" fmla="*/ 3032760 h 3680460"/>
                  <a:gd name="connsiteX114" fmla="*/ 2468880 w 3018472"/>
                  <a:gd name="connsiteY114" fmla="*/ 3009900 h 3680460"/>
                  <a:gd name="connsiteX115" fmla="*/ 2537460 w 3018472"/>
                  <a:gd name="connsiteY115" fmla="*/ 2926080 h 3680460"/>
                  <a:gd name="connsiteX116" fmla="*/ 2575560 w 3018472"/>
                  <a:gd name="connsiteY116" fmla="*/ 2880360 h 3680460"/>
                  <a:gd name="connsiteX117" fmla="*/ 2628900 w 3018472"/>
                  <a:gd name="connsiteY117" fmla="*/ 2811780 h 3680460"/>
                  <a:gd name="connsiteX118" fmla="*/ 2644140 w 3018472"/>
                  <a:gd name="connsiteY118" fmla="*/ 2773680 h 3680460"/>
                  <a:gd name="connsiteX119" fmla="*/ 2674620 w 3018472"/>
                  <a:gd name="connsiteY119" fmla="*/ 2727960 h 3680460"/>
                  <a:gd name="connsiteX120" fmla="*/ 2689860 w 3018472"/>
                  <a:gd name="connsiteY120" fmla="*/ 2705100 h 3680460"/>
                  <a:gd name="connsiteX121" fmla="*/ 2705100 w 3018472"/>
                  <a:gd name="connsiteY121" fmla="*/ 2667000 h 3680460"/>
                  <a:gd name="connsiteX122" fmla="*/ 2727960 w 3018472"/>
                  <a:gd name="connsiteY122" fmla="*/ 2621280 h 3680460"/>
                  <a:gd name="connsiteX123" fmla="*/ 2735580 w 3018472"/>
                  <a:gd name="connsiteY123" fmla="*/ 2590800 h 3680460"/>
                  <a:gd name="connsiteX124" fmla="*/ 2758440 w 3018472"/>
                  <a:gd name="connsiteY124" fmla="*/ 2545080 h 3680460"/>
                  <a:gd name="connsiteX125" fmla="*/ 2788920 w 3018472"/>
                  <a:gd name="connsiteY125" fmla="*/ 2484120 h 3680460"/>
                  <a:gd name="connsiteX126" fmla="*/ 2811780 w 3018472"/>
                  <a:gd name="connsiteY126" fmla="*/ 2407920 h 3680460"/>
                  <a:gd name="connsiteX127" fmla="*/ 2842260 w 3018472"/>
                  <a:gd name="connsiteY127" fmla="*/ 2324100 h 3680460"/>
                  <a:gd name="connsiteX128" fmla="*/ 2857500 w 3018472"/>
                  <a:gd name="connsiteY128" fmla="*/ 2247900 h 3680460"/>
                  <a:gd name="connsiteX129" fmla="*/ 2872740 w 3018472"/>
                  <a:gd name="connsiteY129" fmla="*/ 2194560 h 3680460"/>
                  <a:gd name="connsiteX130" fmla="*/ 2887980 w 3018472"/>
                  <a:gd name="connsiteY130" fmla="*/ 2148840 h 3680460"/>
                  <a:gd name="connsiteX131" fmla="*/ 2910840 w 3018472"/>
                  <a:gd name="connsiteY131" fmla="*/ 2087880 h 3680460"/>
                  <a:gd name="connsiteX132" fmla="*/ 2918460 w 3018472"/>
                  <a:gd name="connsiteY132" fmla="*/ 2049780 h 3680460"/>
                  <a:gd name="connsiteX133" fmla="*/ 2933700 w 3018472"/>
                  <a:gd name="connsiteY133" fmla="*/ 1844040 h 3680460"/>
                  <a:gd name="connsiteX134" fmla="*/ 2918460 w 3018472"/>
                  <a:gd name="connsiteY134" fmla="*/ 1470660 h 3680460"/>
                  <a:gd name="connsiteX135" fmla="*/ 2895600 w 3018472"/>
                  <a:gd name="connsiteY135" fmla="*/ 1371600 h 3680460"/>
                  <a:gd name="connsiteX136" fmla="*/ 2880360 w 3018472"/>
                  <a:gd name="connsiteY136" fmla="*/ 1341120 h 3680460"/>
                  <a:gd name="connsiteX137" fmla="*/ 2857500 w 3018472"/>
                  <a:gd name="connsiteY137" fmla="*/ 1272540 h 3680460"/>
                  <a:gd name="connsiteX138" fmla="*/ 2849880 w 3018472"/>
                  <a:gd name="connsiteY138" fmla="*/ 1234440 h 3680460"/>
                  <a:gd name="connsiteX139" fmla="*/ 2827020 w 3018472"/>
                  <a:gd name="connsiteY139" fmla="*/ 1196340 h 3680460"/>
                  <a:gd name="connsiteX140" fmla="*/ 2811780 w 3018472"/>
                  <a:gd name="connsiteY140" fmla="*/ 1165860 h 3680460"/>
                  <a:gd name="connsiteX141" fmla="*/ 2781300 w 3018472"/>
                  <a:gd name="connsiteY141" fmla="*/ 1127760 h 3680460"/>
                  <a:gd name="connsiteX142" fmla="*/ 2766060 w 3018472"/>
                  <a:gd name="connsiteY142" fmla="*/ 1089660 h 3680460"/>
                  <a:gd name="connsiteX143" fmla="*/ 2735580 w 3018472"/>
                  <a:gd name="connsiteY143" fmla="*/ 1043940 h 3680460"/>
                  <a:gd name="connsiteX144" fmla="*/ 2727960 w 3018472"/>
                  <a:gd name="connsiteY144" fmla="*/ 1021080 h 3680460"/>
                  <a:gd name="connsiteX145" fmla="*/ 2682240 w 3018472"/>
                  <a:gd name="connsiteY145" fmla="*/ 937260 h 3680460"/>
                  <a:gd name="connsiteX146" fmla="*/ 2659380 w 3018472"/>
                  <a:gd name="connsiteY146" fmla="*/ 876300 h 3680460"/>
                  <a:gd name="connsiteX147" fmla="*/ 2644140 w 3018472"/>
                  <a:gd name="connsiteY147" fmla="*/ 845820 h 3680460"/>
                  <a:gd name="connsiteX148" fmla="*/ 2636520 w 3018472"/>
                  <a:gd name="connsiteY148" fmla="*/ 822960 h 3680460"/>
                  <a:gd name="connsiteX149" fmla="*/ 2621280 w 3018472"/>
                  <a:gd name="connsiteY149" fmla="*/ 800100 h 3680460"/>
                  <a:gd name="connsiteX150" fmla="*/ 2598420 w 3018472"/>
                  <a:gd name="connsiteY150" fmla="*/ 739140 h 3680460"/>
                  <a:gd name="connsiteX151" fmla="*/ 2458403 w 3018472"/>
                  <a:gd name="connsiteY151" fmla="*/ 621983 h 3680460"/>
                  <a:gd name="connsiteX152" fmla="*/ 2301240 w 3018472"/>
                  <a:gd name="connsiteY152" fmla="*/ 458152 h 3680460"/>
                  <a:gd name="connsiteX153" fmla="*/ 2237423 w 3018472"/>
                  <a:gd name="connsiteY153" fmla="*/ 406717 h 3680460"/>
                  <a:gd name="connsiteX154" fmla="*/ 2103120 w 3018472"/>
                  <a:gd name="connsiteY154" fmla="*/ 312420 h 3680460"/>
                  <a:gd name="connsiteX155" fmla="*/ 2042160 w 3018472"/>
                  <a:gd name="connsiteY155" fmla="*/ 266700 h 3680460"/>
                  <a:gd name="connsiteX156" fmla="*/ 2004060 w 3018472"/>
                  <a:gd name="connsiteY156" fmla="*/ 251460 h 3680460"/>
                  <a:gd name="connsiteX157" fmla="*/ 1958340 w 3018472"/>
                  <a:gd name="connsiteY157" fmla="*/ 220980 h 3680460"/>
                  <a:gd name="connsiteX158" fmla="*/ 1897380 w 3018472"/>
                  <a:gd name="connsiteY15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56560 w 3018472"/>
                  <a:gd name="connsiteY31" fmla="*/ 2247900 h 3680460"/>
                  <a:gd name="connsiteX32" fmla="*/ 2941320 w 3018472"/>
                  <a:gd name="connsiteY32" fmla="*/ 2324100 h 3680460"/>
                  <a:gd name="connsiteX33" fmla="*/ 2926080 w 3018472"/>
                  <a:gd name="connsiteY33" fmla="*/ 2392680 h 3680460"/>
                  <a:gd name="connsiteX34" fmla="*/ 2918460 w 3018472"/>
                  <a:gd name="connsiteY34" fmla="*/ 2415540 h 3680460"/>
                  <a:gd name="connsiteX35" fmla="*/ 2895600 w 3018472"/>
                  <a:gd name="connsiteY35" fmla="*/ 2484120 h 3680460"/>
                  <a:gd name="connsiteX36" fmla="*/ 2872740 w 3018472"/>
                  <a:gd name="connsiteY36" fmla="*/ 2583180 h 3680460"/>
                  <a:gd name="connsiteX37" fmla="*/ 2857500 w 3018472"/>
                  <a:gd name="connsiteY37" fmla="*/ 2606040 h 3680460"/>
                  <a:gd name="connsiteX38" fmla="*/ 2834640 w 3018472"/>
                  <a:gd name="connsiteY38" fmla="*/ 2689860 h 3680460"/>
                  <a:gd name="connsiteX39" fmla="*/ 2811780 w 3018472"/>
                  <a:gd name="connsiteY39" fmla="*/ 2750820 h 3680460"/>
                  <a:gd name="connsiteX40" fmla="*/ 2788920 w 3018472"/>
                  <a:gd name="connsiteY40" fmla="*/ 2781300 h 3680460"/>
                  <a:gd name="connsiteX41" fmla="*/ 2781300 w 3018472"/>
                  <a:gd name="connsiteY41" fmla="*/ 2804160 h 3680460"/>
                  <a:gd name="connsiteX42" fmla="*/ 2743200 w 3018472"/>
                  <a:gd name="connsiteY42" fmla="*/ 2865120 h 3680460"/>
                  <a:gd name="connsiteX43" fmla="*/ 2712720 w 3018472"/>
                  <a:gd name="connsiteY43" fmla="*/ 2903220 h 3680460"/>
                  <a:gd name="connsiteX44" fmla="*/ 2697480 w 3018472"/>
                  <a:gd name="connsiteY44" fmla="*/ 2933700 h 3680460"/>
                  <a:gd name="connsiteX45" fmla="*/ 2674620 w 3018472"/>
                  <a:gd name="connsiteY45" fmla="*/ 2964180 h 3680460"/>
                  <a:gd name="connsiteX46" fmla="*/ 2644140 w 3018472"/>
                  <a:gd name="connsiteY46" fmla="*/ 3009900 h 3680460"/>
                  <a:gd name="connsiteX47" fmla="*/ 2598420 w 3018472"/>
                  <a:gd name="connsiteY47" fmla="*/ 3055620 h 3680460"/>
                  <a:gd name="connsiteX48" fmla="*/ 2575560 w 3018472"/>
                  <a:gd name="connsiteY48" fmla="*/ 3078480 h 3680460"/>
                  <a:gd name="connsiteX49" fmla="*/ 2476500 w 3018472"/>
                  <a:gd name="connsiteY49" fmla="*/ 3169920 h 3680460"/>
                  <a:gd name="connsiteX50" fmla="*/ 2377440 w 3018472"/>
                  <a:gd name="connsiteY50" fmla="*/ 3223260 h 3680460"/>
                  <a:gd name="connsiteX51" fmla="*/ 2293620 w 3018472"/>
                  <a:gd name="connsiteY51" fmla="*/ 3284220 h 3680460"/>
                  <a:gd name="connsiteX52" fmla="*/ 2240280 w 3018472"/>
                  <a:gd name="connsiteY52" fmla="*/ 3314700 h 3680460"/>
                  <a:gd name="connsiteX53" fmla="*/ 2225040 w 3018472"/>
                  <a:gd name="connsiteY53" fmla="*/ 3337560 h 3680460"/>
                  <a:gd name="connsiteX54" fmla="*/ 2141220 w 3018472"/>
                  <a:gd name="connsiteY54" fmla="*/ 3390900 h 3680460"/>
                  <a:gd name="connsiteX55" fmla="*/ 2110740 w 3018472"/>
                  <a:gd name="connsiteY55" fmla="*/ 3413760 h 3680460"/>
                  <a:gd name="connsiteX56" fmla="*/ 2072640 w 3018472"/>
                  <a:gd name="connsiteY56" fmla="*/ 3451860 h 3680460"/>
                  <a:gd name="connsiteX57" fmla="*/ 2019300 w 3018472"/>
                  <a:gd name="connsiteY57" fmla="*/ 3467100 h 3680460"/>
                  <a:gd name="connsiteX58" fmla="*/ 1874520 w 3018472"/>
                  <a:gd name="connsiteY58" fmla="*/ 3512820 h 3680460"/>
                  <a:gd name="connsiteX59" fmla="*/ 1828800 w 3018472"/>
                  <a:gd name="connsiteY59" fmla="*/ 3520440 h 3680460"/>
                  <a:gd name="connsiteX60" fmla="*/ 1722120 w 3018472"/>
                  <a:gd name="connsiteY60" fmla="*/ 3550920 h 3680460"/>
                  <a:gd name="connsiteX61" fmla="*/ 1600200 w 3018472"/>
                  <a:gd name="connsiteY61" fmla="*/ 3589020 h 3680460"/>
                  <a:gd name="connsiteX62" fmla="*/ 1569720 w 3018472"/>
                  <a:gd name="connsiteY62" fmla="*/ 3596640 h 3680460"/>
                  <a:gd name="connsiteX63" fmla="*/ 1546860 w 3018472"/>
                  <a:gd name="connsiteY63" fmla="*/ 3611880 h 3680460"/>
                  <a:gd name="connsiteX64" fmla="*/ 1463040 w 3018472"/>
                  <a:gd name="connsiteY64" fmla="*/ 3627120 h 3680460"/>
                  <a:gd name="connsiteX65" fmla="*/ 1333500 w 3018472"/>
                  <a:gd name="connsiteY65" fmla="*/ 3657600 h 3680460"/>
                  <a:gd name="connsiteX66" fmla="*/ 1203960 w 3018472"/>
                  <a:gd name="connsiteY66" fmla="*/ 3672840 h 3680460"/>
                  <a:gd name="connsiteX67" fmla="*/ 1165860 w 3018472"/>
                  <a:gd name="connsiteY67" fmla="*/ 3680460 h 3680460"/>
                  <a:gd name="connsiteX68" fmla="*/ 449580 w 3018472"/>
                  <a:gd name="connsiteY68" fmla="*/ 3672840 h 3680460"/>
                  <a:gd name="connsiteX69" fmla="*/ 426720 w 3018472"/>
                  <a:gd name="connsiteY69" fmla="*/ 3665220 h 3680460"/>
                  <a:gd name="connsiteX70" fmla="*/ 388620 w 3018472"/>
                  <a:gd name="connsiteY70" fmla="*/ 3657600 h 3680460"/>
                  <a:gd name="connsiteX71" fmla="*/ 335280 w 3018472"/>
                  <a:gd name="connsiteY71" fmla="*/ 3627120 h 3680460"/>
                  <a:gd name="connsiteX72" fmla="*/ 266700 w 3018472"/>
                  <a:gd name="connsiteY72" fmla="*/ 3604260 h 3680460"/>
                  <a:gd name="connsiteX73" fmla="*/ 243840 w 3018472"/>
                  <a:gd name="connsiteY73" fmla="*/ 3589020 h 3680460"/>
                  <a:gd name="connsiteX74" fmla="*/ 160020 w 3018472"/>
                  <a:gd name="connsiteY74" fmla="*/ 3558540 h 3680460"/>
                  <a:gd name="connsiteX75" fmla="*/ 137160 w 3018472"/>
                  <a:gd name="connsiteY75" fmla="*/ 3535680 h 3680460"/>
                  <a:gd name="connsiteX76" fmla="*/ 99060 w 3018472"/>
                  <a:gd name="connsiteY76" fmla="*/ 3520440 h 3680460"/>
                  <a:gd name="connsiteX77" fmla="*/ 83820 w 3018472"/>
                  <a:gd name="connsiteY77" fmla="*/ 3489960 h 3680460"/>
                  <a:gd name="connsiteX78" fmla="*/ 45720 w 3018472"/>
                  <a:gd name="connsiteY78" fmla="*/ 3436620 h 3680460"/>
                  <a:gd name="connsiteX79" fmla="*/ 0 w 3018472"/>
                  <a:gd name="connsiteY79" fmla="*/ 3352800 h 3680460"/>
                  <a:gd name="connsiteX80" fmla="*/ 30480 w 3018472"/>
                  <a:gd name="connsiteY80" fmla="*/ 3345180 h 3680460"/>
                  <a:gd name="connsiteX81" fmla="*/ 137160 w 3018472"/>
                  <a:gd name="connsiteY81" fmla="*/ 3360420 h 3680460"/>
                  <a:gd name="connsiteX82" fmla="*/ 167640 w 3018472"/>
                  <a:gd name="connsiteY82" fmla="*/ 3390900 h 3680460"/>
                  <a:gd name="connsiteX83" fmla="*/ 198120 w 3018472"/>
                  <a:gd name="connsiteY83" fmla="*/ 3406140 h 3680460"/>
                  <a:gd name="connsiteX84" fmla="*/ 350520 w 3018472"/>
                  <a:gd name="connsiteY84" fmla="*/ 3436620 h 3680460"/>
                  <a:gd name="connsiteX85" fmla="*/ 381000 w 3018472"/>
                  <a:gd name="connsiteY85" fmla="*/ 3451860 h 3680460"/>
                  <a:gd name="connsiteX86" fmla="*/ 449580 w 3018472"/>
                  <a:gd name="connsiteY86" fmla="*/ 3489960 h 3680460"/>
                  <a:gd name="connsiteX87" fmla="*/ 495300 w 3018472"/>
                  <a:gd name="connsiteY87" fmla="*/ 3520440 h 3680460"/>
                  <a:gd name="connsiteX88" fmla="*/ 525780 w 3018472"/>
                  <a:gd name="connsiteY88" fmla="*/ 3535680 h 3680460"/>
                  <a:gd name="connsiteX89" fmla="*/ 731520 w 3018472"/>
                  <a:gd name="connsiteY89" fmla="*/ 3558540 h 3680460"/>
                  <a:gd name="connsiteX90" fmla="*/ 1341120 w 3018472"/>
                  <a:gd name="connsiteY90" fmla="*/ 3550920 h 3680460"/>
                  <a:gd name="connsiteX91" fmla="*/ 1440180 w 3018472"/>
                  <a:gd name="connsiteY91" fmla="*/ 3528060 h 3680460"/>
                  <a:gd name="connsiteX92" fmla="*/ 1539240 w 3018472"/>
                  <a:gd name="connsiteY92" fmla="*/ 3520440 h 3680460"/>
                  <a:gd name="connsiteX93" fmla="*/ 1562100 w 3018472"/>
                  <a:gd name="connsiteY93" fmla="*/ 3512820 h 3680460"/>
                  <a:gd name="connsiteX94" fmla="*/ 1630680 w 3018472"/>
                  <a:gd name="connsiteY94" fmla="*/ 3497580 h 3680460"/>
                  <a:gd name="connsiteX95" fmla="*/ 1699260 w 3018472"/>
                  <a:gd name="connsiteY95" fmla="*/ 3474720 h 3680460"/>
                  <a:gd name="connsiteX96" fmla="*/ 1790700 w 3018472"/>
                  <a:gd name="connsiteY96" fmla="*/ 3451860 h 3680460"/>
                  <a:gd name="connsiteX97" fmla="*/ 1821180 w 3018472"/>
                  <a:gd name="connsiteY97" fmla="*/ 3444240 h 3680460"/>
                  <a:gd name="connsiteX98" fmla="*/ 1844040 w 3018472"/>
                  <a:gd name="connsiteY98" fmla="*/ 3429000 h 3680460"/>
                  <a:gd name="connsiteX99" fmla="*/ 1874520 w 3018472"/>
                  <a:gd name="connsiteY99" fmla="*/ 3421380 h 3680460"/>
                  <a:gd name="connsiteX100" fmla="*/ 1927860 w 3018472"/>
                  <a:gd name="connsiteY100" fmla="*/ 3398520 h 3680460"/>
                  <a:gd name="connsiteX101" fmla="*/ 1950720 w 3018472"/>
                  <a:gd name="connsiteY101" fmla="*/ 3390900 h 3680460"/>
                  <a:gd name="connsiteX102" fmla="*/ 2004060 w 3018472"/>
                  <a:gd name="connsiteY102" fmla="*/ 3360420 h 3680460"/>
                  <a:gd name="connsiteX103" fmla="*/ 2042160 w 3018472"/>
                  <a:gd name="connsiteY103" fmla="*/ 3352800 h 3680460"/>
                  <a:gd name="connsiteX104" fmla="*/ 2080260 w 3018472"/>
                  <a:gd name="connsiteY104" fmla="*/ 3337560 h 3680460"/>
                  <a:gd name="connsiteX105" fmla="*/ 2156460 w 3018472"/>
                  <a:gd name="connsiteY105" fmla="*/ 3299460 h 3680460"/>
                  <a:gd name="connsiteX106" fmla="*/ 2179320 w 3018472"/>
                  <a:gd name="connsiteY106" fmla="*/ 3284220 h 3680460"/>
                  <a:gd name="connsiteX107" fmla="*/ 2209800 w 3018472"/>
                  <a:gd name="connsiteY107" fmla="*/ 3276600 h 3680460"/>
                  <a:gd name="connsiteX108" fmla="*/ 2263140 w 3018472"/>
                  <a:gd name="connsiteY108" fmla="*/ 3230880 h 3680460"/>
                  <a:gd name="connsiteX109" fmla="*/ 2346960 w 3018472"/>
                  <a:gd name="connsiteY109" fmla="*/ 3154680 h 3680460"/>
                  <a:gd name="connsiteX110" fmla="*/ 2400300 w 3018472"/>
                  <a:gd name="connsiteY110" fmla="*/ 3070860 h 3680460"/>
                  <a:gd name="connsiteX111" fmla="*/ 2415540 w 3018472"/>
                  <a:gd name="connsiteY111" fmla="*/ 3048000 h 3680460"/>
                  <a:gd name="connsiteX112" fmla="*/ 2446020 w 3018472"/>
                  <a:gd name="connsiteY112" fmla="*/ 3032760 h 3680460"/>
                  <a:gd name="connsiteX113" fmla="*/ 2468880 w 3018472"/>
                  <a:gd name="connsiteY113" fmla="*/ 3009900 h 3680460"/>
                  <a:gd name="connsiteX114" fmla="*/ 2537460 w 3018472"/>
                  <a:gd name="connsiteY114" fmla="*/ 2926080 h 3680460"/>
                  <a:gd name="connsiteX115" fmla="*/ 2575560 w 3018472"/>
                  <a:gd name="connsiteY115" fmla="*/ 2880360 h 3680460"/>
                  <a:gd name="connsiteX116" fmla="*/ 2628900 w 3018472"/>
                  <a:gd name="connsiteY116" fmla="*/ 2811780 h 3680460"/>
                  <a:gd name="connsiteX117" fmla="*/ 2644140 w 3018472"/>
                  <a:gd name="connsiteY117" fmla="*/ 2773680 h 3680460"/>
                  <a:gd name="connsiteX118" fmla="*/ 2674620 w 3018472"/>
                  <a:gd name="connsiteY118" fmla="*/ 2727960 h 3680460"/>
                  <a:gd name="connsiteX119" fmla="*/ 2689860 w 3018472"/>
                  <a:gd name="connsiteY119" fmla="*/ 2705100 h 3680460"/>
                  <a:gd name="connsiteX120" fmla="*/ 2705100 w 3018472"/>
                  <a:gd name="connsiteY120" fmla="*/ 2667000 h 3680460"/>
                  <a:gd name="connsiteX121" fmla="*/ 2727960 w 3018472"/>
                  <a:gd name="connsiteY121" fmla="*/ 2621280 h 3680460"/>
                  <a:gd name="connsiteX122" fmla="*/ 2735580 w 3018472"/>
                  <a:gd name="connsiteY122" fmla="*/ 2590800 h 3680460"/>
                  <a:gd name="connsiteX123" fmla="*/ 2758440 w 3018472"/>
                  <a:gd name="connsiteY123" fmla="*/ 2545080 h 3680460"/>
                  <a:gd name="connsiteX124" fmla="*/ 2788920 w 3018472"/>
                  <a:gd name="connsiteY124" fmla="*/ 2484120 h 3680460"/>
                  <a:gd name="connsiteX125" fmla="*/ 2811780 w 3018472"/>
                  <a:gd name="connsiteY125" fmla="*/ 2407920 h 3680460"/>
                  <a:gd name="connsiteX126" fmla="*/ 2842260 w 3018472"/>
                  <a:gd name="connsiteY126" fmla="*/ 2324100 h 3680460"/>
                  <a:gd name="connsiteX127" fmla="*/ 2857500 w 3018472"/>
                  <a:gd name="connsiteY127" fmla="*/ 2247900 h 3680460"/>
                  <a:gd name="connsiteX128" fmla="*/ 2872740 w 3018472"/>
                  <a:gd name="connsiteY128" fmla="*/ 2194560 h 3680460"/>
                  <a:gd name="connsiteX129" fmla="*/ 2887980 w 3018472"/>
                  <a:gd name="connsiteY129" fmla="*/ 2148840 h 3680460"/>
                  <a:gd name="connsiteX130" fmla="*/ 2910840 w 3018472"/>
                  <a:gd name="connsiteY130" fmla="*/ 2087880 h 3680460"/>
                  <a:gd name="connsiteX131" fmla="*/ 2918460 w 3018472"/>
                  <a:gd name="connsiteY131" fmla="*/ 2049780 h 3680460"/>
                  <a:gd name="connsiteX132" fmla="*/ 2933700 w 3018472"/>
                  <a:gd name="connsiteY132" fmla="*/ 1844040 h 3680460"/>
                  <a:gd name="connsiteX133" fmla="*/ 2918460 w 3018472"/>
                  <a:gd name="connsiteY133" fmla="*/ 1470660 h 3680460"/>
                  <a:gd name="connsiteX134" fmla="*/ 2895600 w 3018472"/>
                  <a:gd name="connsiteY134" fmla="*/ 1371600 h 3680460"/>
                  <a:gd name="connsiteX135" fmla="*/ 2880360 w 3018472"/>
                  <a:gd name="connsiteY135" fmla="*/ 1341120 h 3680460"/>
                  <a:gd name="connsiteX136" fmla="*/ 2857500 w 3018472"/>
                  <a:gd name="connsiteY136" fmla="*/ 1272540 h 3680460"/>
                  <a:gd name="connsiteX137" fmla="*/ 2849880 w 3018472"/>
                  <a:gd name="connsiteY137" fmla="*/ 1234440 h 3680460"/>
                  <a:gd name="connsiteX138" fmla="*/ 2827020 w 3018472"/>
                  <a:gd name="connsiteY138" fmla="*/ 1196340 h 3680460"/>
                  <a:gd name="connsiteX139" fmla="*/ 2811780 w 3018472"/>
                  <a:gd name="connsiteY139" fmla="*/ 1165860 h 3680460"/>
                  <a:gd name="connsiteX140" fmla="*/ 2781300 w 3018472"/>
                  <a:gd name="connsiteY140" fmla="*/ 1127760 h 3680460"/>
                  <a:gd name="connsiteX141" fmla="*/ 2766060 w 3018472"/>
                  <a:gd name="connsiteY141" fmla="*/ 1089660 h 3680460"/>
                  <a:gd name="connsiteX142" fmla="*/ 2735580 w 3018472"/>
                  <a:gd name="connsiteY142" fmla="*/ 1043940 h 3680460"/>
                  <a:gd name="connsiteX143" fmla="*/ 2727960 w 3018472"/>
                  <a:gd name="connsiteY143" fmla="*/ 1021080 h 3680460"/>
                  <a:gd name="connsiteX144" fmla="*/ 2682240 w 3018472"/>
                  <a:gd name="connsiteY144" fmla="*/ 937260 h 3680460"/>
                  <a:gd name="connsiteX145" fmla="*/ 2659380 w 3018472"/>
                  <a:gd name="connsiteY145" fmla="*/ 876300 h 3680460"/>
                  <a:gd name="connsiteX146" fmla="*/ 2644140 w 3018472"/>
                  <a:gd name="connsiteY146" fmla="*/ 845820 h 3680460"/>
                  <a:gd name="connsiteX147" fmla="*/ 2636520 w 3018472"/>
                  <a:gd name="connsiteY147" fmla="*/ 822960 h 3680460"/>
                  <a:gd name="connsiteX148" fmla="*/ 2621280 w 3018472"/>
                  <a:gd name="connsiteY148" fmla="*/ 800100 h 3680460"/>
                  <a:gd name="connsiteX149" fmla="*/ 2598420 w 3018472"/>
                  <a:gd name="connsiteY149" fmla="*/ 739140 h 3680460"/>
                  <a:gd name="connsiteX150" fmla="*/ 2458403 w 3018472"/>
                  <a:gd name="connsiteY150" fmla="*/ 621983 h 3680460"/>
                  <a:gd name="connsiteX151" fmla="*/ 2301240 w 3018472"/>
                  <a:gd name="connsiteY151" fmla="*/ 458152 h 3680460"/>
                  <a:gd name="connsiteX152" fmla="*/ 2237423 w 3018472"/>
                  <a:gd name="connsiteY152" fmla="*/ 406717 h 3680460"/>
                  <a:gd name="connsiteX153" fmla="*/ 2103120 w 3018472"/>
                  <a:gd name="connsiteY153" fmla="*/ 312420 h 3680460"/>
                  <a:gd name="connsiteX154" fmla="*/ 2042160 w 3018472"/>
                  <a:gd name="connsiteY154" fmla="*/ 266700 h 3680460"/>
                  <a:gd name="connsiteX155" fmla="*/ 2004060 w 3018472"/>
                  <a:gd name="connsiteY155" fmla="*/ 251460 h 3680460"/>
                  <a:gd name="connsiteX156" fmla="*/ 1958340 w 3018472"/>
                  <a:gd name="connsiteY156" fmla="*/ 220980 h 3680460"/>
                  <a:gd name="connsiteX157" fmla="*/ 1897380 w 3018472"/>
                  <a:gd name="connsiteY15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95600 w 3018472"/>
                  <a:gd name="connsiteY34" fmla="*/ 2484120 h 3680460"/>
                  <a:gd name="connsiteX35" fmla="*/ 2872740 w 3018472"/>
                  <a:gd name="connsiteY35" fmla="*/ 2583180 h 3680460"/>
                  <a:gd name="connsiteX36" fmla="*/ 2857500 w 3018472"/>
                  <a:gd name="connsiteY36" fmla="*/ 2606040 h 3680460"/>
                  <a:gd name="connsiteX37" fmla="*/ 2834640 w 3018472"/>
                  <a:gd name="connsiteY37" fmla="*/ 2689860 h 3680460"/>
                  <a:gd name="connsiteX38" fmla="*/ 2811780 w 3018472"/>
                  <a:gd name="connsiteY38" fmla="*/ 2750820 h 3680460"/>
                  <a:gd name="connsiteX39" fmla="*/ 2788920 w 3018472"/>
                  <a:gd name="connsiteY39" fmla="*/ 2781300 h 3680460"/>
                  <a:gd name="connsiteX40" fmla="*/ 2781300 w 3018472"/>
                  <a:gd name="connsiteY40" fmla="*/ 2804160 h 3680460"/>
                  <a:gd name="connsiteX41" fmla="*/ 2743200 w 3018472"/>
                  <a:gd name="connsiteY41" fmla="*/ 2865120 h 3680460"/>
                  <a:gd name="connsiteX42" fmla="*/ 2712720 w 3018472"/>
                  <a:gd name="connsiteY42" fmla="*/ 2903220 h 3680460"/>
                  <a:gd name="connsiteX43" fmla="*/ 2697480 w 3018472"/>
                  <a:gd name="connsiteY43" fmla="*/ 2933700 h 3680460"/>
                  <a:gd name="connsiteX44" fmla="*/ 2674620 w 3018472"/>
                  <a:gd name="connsiteY44" fmla="*/ 2964180 h 3680460"/>
                  <a:gd name="connsiteX45" fmla="*/ 2644140 w 3018472"/>
                  <a:gd name="connsiteY45" fmla="*/ 3009900 h 3680460"/>
                  <a:gd name="connsiteX46" fmla="*/ 2598420 w 3018472"/>
                  <a:gd name="connsiteY46" fmla="*/ 3055620 h 3680460"/>
                  <a:gd name="connsiteX47" fmla="*/ 2575560 w 3018472"/>
                  <a:gd name="connsiteY47" fmla="*/ 3078480 h 3680460"/>
                  <a:gd name="connsiteX48" fmla="*/ 2476500 w 3018472"/>
                  <a:gd name="connsiteY48" fmla="*/ 3169920 h 3680460"/>
                  <a:gd name="connsiteX49" fmla="*/ 2377440 w 3018472"/>
                  <a:gd name="connsiteY49" fmla="*/ 3223260 h 3680460"/>
                  <a:gd name="connsiteX50" fmla="*/ 2293620 w 3018472"/>
                  <a:gd name="connsiteY50" fmla="*/ 3284220 h 3680460"/>
                  <a:gd name="connsiteX51" fmla="*/ 2240280 w 3018472"/>
                  <a:gd name="connsiteY51" fmla="*/ 3314700 h 3680460"/>
                  <a:gd name="connsiteX52" fmla="*/ 2225040 w 3018472"/>
                  <a:gd name="connsiteY52" fmla="*/ 3337560 h 3680460"/>
                  <a:gd name="connsiteX53" fmla="*/ 2141220 w 3018472"/>
                  <a:gd name="connsiteY53" fmla="*/ 3390900 h 3680460"/>
                  <a:gd name="connsiteX54" fmla="*/ 2110740 w 3018472"/>
                  <a:gd name="connsiteY54" fmla="*/ 3413760 h 3680460"/>
                  <a:gd name="connsiteX55" fmla="*/ 2072640 w 3018472"/>
                  <a:gd name="connsiteY55" fmla="*/ 3451860 h 3680460"/>
                  <a:gd name="connsiteX56" fmla="*/ 2019300 w 3018472"/>
                  <a:gd name="connsiteY56" fmla="*/ 3467100 h 3680460"/>
                  <a:gd name="connsiteX57" fmla="*/ 1874520 w 3018472"/>
                  <a:gd name="connsiteY57" fmla="*/ 3512820 h 3680460"/>
                  <a:gd name="connsiteX58" fmla="*/ 1828800 w 3018472"/>
                  <a:gd name="connsiteY58" fmla="*/ 3520440 h 3680460"/>
                  <a:gd name="connsiteX59" fmla="*/ 1722120 w 3018472"/>
                  <a:gd name="connsiteY59" fmla="*/ 3550920 h 3680460"/>
                  <a:gd name="connsiteX60" fmla="*/ 1600200 w 3018472"/>
                  <a:gd name="connsiteY60" fmla="*/ 3589020 h 3680460"/>
                  <a:gd name="connsiteX61" fmla="*/ 1569720 w 3018472"/>
                  <a:gd name="connsiteY61" fmla="*/ 3596640 h 3680460"/>
                  <a:gd name="connsiteX62" fmla="*/ 1546860 w 3018472"/>
                  <a:gd name="connsiteY62" fmla="*/ 3611880 h 3680460"/>
                  <a:gd name="connsiteX63" fmla="*/ 1463040 w 3018472"/>
                  <a:gd name="connsiteY63" fmla="*/ 3627120 h 3680460"/>
                  <a:gd name="connsiteX64" fmla="*/ 1333500 w 3018472"/>
                  <a:gd name="connsiteY64" fmla="*/ 3657600 h 3680460"/>
                  <a:gd name="connsiteX65" fmla="*/ 1203960 w 3018472"/>
                  <a:gd name="connsiteY65" fmla="*/ 3672840 h 3680460"/>
                  <a:gd name="connsiteX66" fmla="*/ 1165860 w 3018472"/>
                  <a:gd name="connsiteY66" fmla="*/ 3680460 h 3680460"/>
                  <a:gd name="connsiteX67" fmla="*/ 449580 w 3018472"/>
                  <a:gd name="connsiteY67" fmla="*/ 3672840 h 3680460"/>
                  <a:gd name="connsiteX68" fmla="*/ 426720 w 3018472"/>
                  <a:gd name="connsiteY68" fmla="*/ 3665220 h 3680460"/>
                  <a:gd name="connsiteX69" fmla="*/ 388620 w 3018472"/>
                  <a:gd name="connsiteY69" fmla="*/ 3657600 h 3680460"/>
                  <a:gd name="connsiteX70" fmla="*/ 335280 w 3018472"/>
                  <a:gd name="connsiteY70" fmla="*/ 3627120 h 3680460"/>
                  <a:gd name="connsiteX71" fmla="*/ 266700 w 3018472"/>
                  <a:gd name="connsiteY71" fmla="*/ 3604260 h 3680460"/>
                  <a:gd name="connsiteX72" fmla="*/ 243840 w 3018472"/>
                  <a:gd name="connsiteY72" fmla="*/ 3589020 h 3680460"/>
                  <a:gd name="connsiteX73" fmla="*/ 160020 w 3018472"/>
                  <a:gd name="connsiteY73" fmla="*/ 3558540 h 3680460"/>
                  <a:gd name="connsiteX74" fmla="*/ 137160 w 3018472"/>
                  <a:gd name="connsiteY74" fmla="*/ 3535680 h 3680460"/>
                  <a:gd name="connsiteX75" fmla="*/ 99060 w 3018472"/>
                  <a:gd name="connsiteY75" fmla="*/ 3520440 h 3680460"/>
                  <a:gd name="connsiteX76" fmla="*/ 83820 w 3018472"/>
                  <a:gd name="connsiteY76" fmla="*/ 3489960 h 3680460"/>
                  <a:gd name="connsiteX77" fmla="*/ 45720 w 3018472"/>
                  <a:gd name="connsiteY77" fmla="*/ 3436620 h 3680460"/>
                  <a:gd name="connsiteX78" fmla="*/ 0 w 3018472"/>
                  <a:gd name="connsiteY78" fmla="*/ 3352800 h 3680460"/>
                  <a:gd name="connsiteX79" fmla="*/ 30480 w 3018472"/>
                  <a:gd name="connsiteY79" fmla="*/ 3345180 h 3680460"/>
                  <a:gd name="connsiteX80" fmla="*/ 137160 w 3018472"/>
                  <a:gd name="connsiteY80" fmla="*/ 3360420 h 3680460"/>
                  <a:gd name="connsiteX81" fmla="*/ 167640 w 3018472"/>
                  <a:gd name="connsiteY81" fmla="*/ 3390900 h 3680460"/>
                  <a:gd name="connsiteX82" fmla="*/ 198120 w 3018472"/>
                  <a:gd name="connsiteY82" fmla="*/ 3406140 h 3680460"/>
                  <a:gd name="connsiteX83" fmla="*/ 350520 w 3018472"/>
                  <a:gd name="connsiteY83" fmla="*/ 3436620 h 3680460"/>
                  <a:gd name="connsiteX84" fmla="*/ 381000 w 3018472"/>
                  <a:gd name="connsiteY84" fmla="*/ 3451860 h 3680460"/>
                  <a:gd name="connsiteX85" fmla="*/ 449580 w 3018472"/>
                  <a:gd name="connsiteY85" fmla="*/ 3489960 h 3680460"/>
                  <a:gd name="connsiteX86" fmla="*/ 495300 w 3018472"/>
                  <a:gd name="connsiteY86" fmla="*/ 3520440 h 3680460"/>
                  <a:gd name="connsiteX87" fmla="*/ 525780 w 3018472"/>
                  <a:gd name="connsiteY87" fmla="*/ 3535680 h 3680460"/>
                  <a:gd name="connsiteX88" fmla="*/ 731520 w 3018472"/>
                  <a:gd name="connsiteY88" fmla="*/ 3558540 h 3680460"/>
                  <a:gd name="connsiteX89" fmla="*/ 1341120 w 3018472"/>
                  <a:gd name="connsiteY89" fmla="*/ 3550920 h 3680460"/>
                  <a:gd name="connsiteX90" fmla="*/ 1440180 w 3018472"/>
                  <a:gd name="connsiteY90" fmla="*/ 3528060 h 3680460"/>
                  <a:gd name="connsiteX91" fmla="*/ 1539240 w 3018472"/>
                  <a:gd name="connsiteY91" fmla="*/ 3520440 h 3680460"/>
                  <a:gd name="connsiteX92" fmla="*/ 1562100 w 3018472"/>
                  <a:gd name="connsiteY92" fmla="*/ 3512820 h 3680460"/>
                  <a:gd name="connsiteX93" fmla="*/ 1630680 w 3018472"/>
                  <a:gd name="connsiteY93" fmla="*/ 3497580 h 3680460"/>
                  <a:gd name="connsiteX94" fmla="*/ 1699260 w 3018472"/>
                  <a:gd name="connsiteY94" fmla="*/ 3474720 h 3680460"/>
                  <a:gd name="connsiteX95" fmla="*/ 1790700 w 3018472"/>
                  <a:gd name="connsiteY95" fmla="*/ 3451860 h 3680460"/>
                  <a:gd name="connsiteX96" fmla="*/ 1821180 w 3018472"/>
                  <a:gd name="connsiteY96" fmla="*/ 3444240 h 3680460"/>
                  <a:gd name="connsiteX97" fmla="*/ 1844040 w 3018472"/>
                  <a:gd name="connsiteY97" fmla="*/ 3429000 h 3680460"/>
                  <a:gd name="connsiteX98" fmla="*/ 1874520 w 3018472"/>
                  <a:gd name="connsiteY98" fmla="*/ 3421380 h 3680460"/>
                  <a:gd name="connsiteX99" fmla="*/ 1927860 w 3018472"/>
                  <a:gd name="connsiteY99" fmla="*/ 3398520 h 3680460"/>
                  <a:gd name="connsiteX100" fmla="*/ 1950720 w 3018472"/>
                  <a:gd name="connsiteY100" fmla="*/ 3390900 h 3680460"/>
                  <a:gd name="connsiteX101" fmla="*/ 2004060 w 3018472"/>
                  <a:gd name="connsiteY101" fmla="*/ 3360420 h 3680460"/>
                  <a:gd name="connsiteX102" fmla="*/ 2042160 w 3018472"/>
                  <a:gd name="connsiteY102" fmla="*/ 3352800 h 3680460"/>
                  <a:gd name="connsiteX103" fmla="*/ 2080260 w 3018472"/>
                  <a:gd name="connsiteY103" fmla="*/ 3337560 h 3680460"/>
                  <a:gd name="connsiteX104" fmla="*/ 2156460 w 3018472"/>
                  <a:gd name="connsiteY104" fmla="*/ 3299460 h 3680460"/>
                  <a:gd name="connsiteX105" fmla="*/ 2179320 w 3018472"/>
                  <a:gd name="connsiteY105" fmla="*/ 3284220 h 3680460"/>
                  <a:gd name="connsiteX106" fmla="*/ 2209800 w 3018472"/>
                  <a:gd name="connsiteY106" fmla="*/ 3276600 h 3680460"/>
                  <a:gd name="connsiteX107" fmla="*/ 2263140 w 3018472"/>
                  <a:gd name="connsiteY107" fmla="*/ 3230880 h 3680460"/>
                  <a:gd name="connsiteX108" fmla="*/ 2346960 w 3018472"/>
                  <a:gd name="connsiteY108" fmla="*/ 3154680 h 3680460"/>
                  <a:gd name="connsiteX109" fmla="*/ 2400300 w 3018472"/>
                  <a:gd name="connsiteY109" fmla="*/ 3070860 h 3680460"/>
                  <a:gd name="connsiteX110" fmla="*/ 2415540 w 3018472"/>
                  <a:gd name="connsiteY110" fmla="*/ 3048000 h 3680460"/>
                  <a:gd name="connsiteX111" fmla="*/ 2446020 w 3018472"/>
                  <a:gd name="connsiteY111" fmla="*/ 3032760 h 3680460"/>
                  <a:gd name="connsiteX112" fmla="*/ 2468880 w 3018472"/>
                  <a:gd name="connsiteY112" fmla="*/ 3009900 h 3680460"/>
                  <a:gd name="connsiteX113" fmla="*/ 2537460 w 3018472"/>
                  <a:gd name="connsiteY113" fmla="*/ 2926080 h 3680460"/>
                  <a:gd name="connsiteX114" fmla="*/ 2575560 w 3018472"/>
                  <a:gd name="connsiteY114" fmla="*/ 2880360 h 3680460"/>
                  <a:gd name="connsiteX115" fmla="*/ 2628900 w 3018472"/>
                  <a:gd name="connsiteY115" fmla="*/ 2811780 h 3680460"/>
                  <a:gd name="connsiteX116" fmla="*/ 2644140 w 3018472"/>
                  <a:gd name="connsiteY116" fmla="*/ 2773680 h 3680460"/>
                  <a:gd name="connsiteX117" fmla="*/ 2674620 w 3018472"/>
                  <a:gd name="connsiteY117" fmla="*/ 2727960 h 3680460"/>
                  <a:gd name="connsiteX118" fmla="*/ 2689860 w 3018472"/>
                  <a:gd name="connsiteY118" fmla="*/ 2705100 h 3680460"/>
                  <a:gd name="connsiteX119" fmla="*/ 2705100 w 3018472"/>
                  <a:gd name="connsiteY119" fmla="*/ 2667000 h 3680460"/>
                  <a:gd name="connsiteX120" fmla="*/ 2727960 w 3018472"/>
                  <a:gd name="connsiteY120" fmla="*/ 2621280 h 3680460"/>
                  <a:gd name="connsiteX121" fmla="*/ 2735580 w 3018472"/>
                  <a:gd name="connsiteY121" fmla="*/ 2590800 h 3680460"/>
                  <a:gd name="connsiteX122" fmla="*/ 2758440 w 3018472"/>
                  <a:gd name="connsiteY122" fmla="*/ 2545080 h 3680460"/>
                  <a:gd name="connsiteX123" fmla="*/ 2788920 w 3018472"/>
                  <a:gd name="connsiteY123" fmla="*/ 2484120 h 3680460"/>
                  <a:gd name="connsiteX124" fmla="*/ 2811780 w 3018472"/>
                  <a:gd name="connsiteY124" fmla="*/ 2407920 h 3680460"/>
                  <a:gd name="connsiteX125" fmla="*/ 2842260 w 3018472"/>
                  <a:gd name="connsiteY125" fmla="*/ 2324100 h 3680460"/>
                  <a:gd name="connsiteX126" fmla="*/ 2857500 w 3018472"/>
                  <a:gd name="connsiteY126" fmla="*/ 2247900 h 3680460"/>
                  <a:gd name="connsiteX127" fmla="*/ 2872740 w 3018472"/>
                  <a:gd name="connsiteY127" fmla="*/ 2194560 h 3680460"/>
                  <a:gd name="connsiteX128" fmla="*/ 2887980 w 3018472"/>
                  <a:gd name="connsiteY128" fmla="*/ 2148840 h 3680460"/>
                  <a:gd name="connsiteX129" fmla="*/ 2910840 w 3018472"/>
                  <a:gd name="connsiteY129" fmla="*/ 2087880 h 3680460"/>
                  <a:gd name="connsiteX130" fmla="*/ 2918460 w 3018472"/>
                  <a:gd name="connsiteY130" fmla="*/ 2049780 h 3680460"/>
                  <a:gd name="connsiteX131" fmla="*/ 2933700 w 3018472"/>
                  <a:gd name="connsiteY131" fmla="*/ 1844040 h 3680460"/>
                  <a:gd name="connsiteX132" fmla="*/ 2918460 w 3018472"/>
                  <a:gd name="connsiteY132" fmla="*/ 1470660 h 3680460"/>
                  <a:gd name="connsiteX133" fmla="*/ 2895600 w 3018472"/>
                  <a:gd name="connsiteY133" fmla="*/ 1371600 h 3680460"/>
                  <a:gd name="connsiteX134" fmla="*/ 2880360 w 3018472"/>
                  <a:gd name="connsiteY134" fmla="*/ 1341120 h 3680460"/>
                  <a:gd name="connsiteX135" fmla="*/ 2857500 w 3018472"/>
                  <a:gd name="connsiteY135" fmla="*/ 1272540 h 3680460"/>
                  <a:gd name="connsiteX136" fmla="*/ 2849880 w 3018472"/>
                  <a:gd name="connsiteY136" fmla="*/ 1234440 h 3680460"/>
                  <a:gd name="connsiteX137" fmla="*/ 2827020 w 3018472"/>
                  <a:gd name="connsiteY137" fmla="*/ 1196340 h 3680460"/>
                  <a:gd name="connsiteX138" fmla="*/ 2811780 w 3018472"/>
                  <a:gd name="connsiteY138" fmla="*/ 1165860 h 3680460"/>
                  <a:gd name="connsiteX139" fmla="*/ 2781300 w 3018472"/>
                  <a:gd name="connsiteY139" fmla="*/ 1127760 h 3680460"/>
                  <a:gd name="connsiteX140" fmla="*/ 2766060 w 3018472"/>
                  <a:gd name="connsiteY140" fmla="*/ 1089660 h 3680460"/>
                  <a:gd name="connsiteX141" fmla="*/ 2735580 w 3018472"/>
                  <a:gd name="connsiteY141" fmla="*/ 1043940 h 3680460"/>
                  <a:gd name="connsiteX142" fmla="*/ 2727960 w 3018472"/>
                  <a:gd name="connsiteY142" fmla="*/ 1021080 h 3680460"/>
                  <a:gd name="connsiteX143" fmla="*/ 2682240 w 3018472"/>
                  <a:gd name="connsiteY143" fmla="*/ 937260 h 3680460"/>
                  <a:gd name="connsiteX144" fmla="*/ 2659380 w 3018472"/>
                  <a:gd name="connsiteY144" fmla="*/ 876300 h 3680460"/>
                  <a:gd name="connsiteX145" fmla="*/ 2644140 w 3018472"/>
                  <a:gd name="connsiteY145" fmla="*/ 845820 h 3680460"/>
                  <a:gd name="connsiteX146" fmla="*/ 2636520 w 3018472"/>
                  <a:gd name="connsiteY146" fmla="*/ 822960 h 3680460"/>
                  <a:gd name="connsiteX147" fmla="*/ 2621280 w 3018472"/>
                  <a:gd name="connsiteY147" fmla="*/ 800100 h 3680460"/>
                  <a:gd name="connsiteX148" fmla="*/ 2598420 w 3018472"/>
                  <a:gd name="connsiteY148" fmla="*/ 739140 h 3680460"/>
                  <a:gd name="connsiteX149" fmla="*/ 2458403 w 3018472"/>
                  <a:gd name="connsiteY149" fmla="*/ 621983 h 3680460"/>
                  <a:gd name="connsiteX150" fmla="*/ 2301240 w 3018472"/>
                  <a:gd name="connsiteY150" fmla="*/ 458152 h 3680460"/>
                  <a:gd name="connsiteX151" fmla="*/ 2237423 w 3018472"/>
                  <a:gd name="connsiteY151" fmla="*/ 406717 h 3680460"/>
                  <a:gd name="connsiteX152" fmla="*/ 2103120 w 3018472"/>
                  <a:gd name="connsiteY152" fmla="*/ 312420 h 3680460"/>
                  <a:gd name="connsiteX153" fmla="*/ 2042160 w 3018472"/>
                  <a:gd name="connsiteY153" fmla="*/ 266700 h 3680460"/>
                  <a:gd name="connsiteX154" fmla="*/ 2004060 w 3018472"/>
                  <a:gd name="connsiteY154" fmla="*/ 251460 h 3680460"/>
                  <a:gd name="connsiteX155" fmla="*/ 1958340 w 3018472"/>
                  <a:gd name="connsiteY155" fmla="*/ 220980 h 3680460"/>
                  <a:gd name="connsiteX156" fmla="*/ 1897380 w 3018472"/>
                  <a:gd name="connsiteY15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43200 w 3018472"/>
                  <a:gd name="connsiteY40" fmla="*/ 2865120 h 3680460"/>
                  <a:gd name="connsiteX41" fmla="*/ 2712720 w 3018472"/>
                  <a:gd name="connsiteY41" fmla="*/ 2903220 h 3680460"/>
                  <a:gd name="connsiteX42" fmla="*/ 2697480 w 3018472"/>
                  <a:gd name="connsiteY42" fmla="*/ 2933700 h 3680460"/>
                  <a:gd name="connsiteX43" fmla="*/ 2674620 w 3018472"/>
                  <a:gd name="connsiteY43" fmla="*/ 2964180 h 3680460"/>
                  <a:gd name="connsiteX44" fmla="*/ 2644140 w 3018472"/>
                  <a:gd name="connsiteY44" fmla="*/ 3009900 h 3680460"/>
                  <a:gd name="connsiteX45" fmla="*/ 2598420 w 3018472"/>
                  <a:gd name="connsiteY45" fmla="*/ 3055620 h 3680460"/>
                  <a:gd name="connsiteX46" fmla="*/ 2575560 w 3018472"/>
                  <a:gd name="connsiteY46" fmla="*/ 3078480 h 3680460"/>
                  <a:gd name="connsiteX47" fmla="*/ 2476500 w 3018472"/>
                  <a:gd name="connsiteY47" fmla="*/ 3169920 h 3680460"/>
                  <a:gd name="connsiteX48" fmla="*/ 2377440 w 3018472"/>
                  <a:gd name="connsiteY48" fmla="*/ 3223260 h 3680460"/>
                  <a:gd name="connsiteX49" fmla="*/ 2293620 w 3018472"/>
                  <a:gd name="connsiteY49" fmla="*/ 3284220 h 3680460"/>
                  <a:gd name="connsiteX50" fmla="*/ 2240280 w 3018472"/>
                  <a:gd name="connsiteY50" fmla="*/ 3314700 h 3680460"/>
                  <a:gd name="connsiteX51" fmla="*/ 2225040 w 3018472"/>
                  <a:gd name="connsiteY51" fmla="*/ 3337560 h 3680460"/>
                  <a:gd name="connsiteX52" fmla="*/ 2141220 w 3018472"/>
                  <a:gd name="connsiteY52" fmla="*/ 3390900 h 3680460"/>
                  <a:gd name="connsiteX53" fmla="*/ 2110740 w 3018472"/>
                  <a:gd name="connsiteY53" fmla="*/ 3413760 h 3680460"/>
                  <a:gd name="connsiteX54" fmla="*/ 2072640 w 3018472"/>
                  <a:gd name="connsiteY54" fmla="*/ 3451860 h 3680460"/>
                  <a:gd name="connsiteX55" fmla="*/ 2019300 w 3018472"/>
                  <a:gd name="connsiteY55" fmla="*/ 3467100 h 3680460"/>
                  <a:gd name="connsiteX56" fmla="*/ 1874520 w 3018472"/>
                  <a:gd name="connsiteY56" fmla="*/ 3512820 h 3680460"/>
                  <a:gd name="connsiteX57" fmla="*/ 1828800 w 3018472"/>
                  <a:gd name="connsiteY57" fmla="*/ 3520440 h 3680460"/>
                  <a:gd name="connsiteX58" fmla="*/ 1722120 w 3018472"/>
                  <a:gd name="connsiteY58" fmla="*/ 3550920 h 3680460"/>
                  <a:gd name="connsiteX59" fmla="*/ 1600200 w 3018472"/>
                  <a:gd name="connsiteY59" fmla="*/ 3589020 h 3680460"/>
                  <a:gd name="connsiteX60" fmla="*/ 1569720 w 3018472"/>
                  <a:gd name="connsiteY60" fmla="*/ 3596640 h 3680460"/>
                  <a:gd name="connsiteX61" fmla="*/ 1546860 w 3018472"/>
                  <a:gd name="connsiteY61" fmla="*/ 3611880 h 3680460"/>
                  <a:gd name="connsiteX62" fmla="*/ 1463040 w 3018472"/>
                  <a:gd name="connsiteY62" fmla="*/ 3627120 h 3680460"/>
                  <a:gd name="connsiteX63" fmla="*/ 1333500 w 3018472"/>
                  <a:gd name="connsiteY63" fmla="*/ 3657600 h 3680460"/>
                  <a:gd name="connsiteX64" fmla="*/ 1203960 w 3018472"/>
                  <a:gd name="connsiteY64" fmla="*/ 3672840 h 3680460"/>
                  <a:gd name="connsiteX65" fmla="*/ 1165860 w 3018472"/>
                  <a:gd name="connsiteY65" fmla="*/ 3680460 h 3680460"/>
                  <a:gd name="connsiteX66" fmla="*/ 449580 w 3018472"/>
                  <a:gd name="connsiteY66" fmla="*/ 3672840 h 3680460"/>
                  <a:gd name="connsiteX67" fmla="*/ 426720 w 3018472"/>
                  <a:gd name="connsiteY67" fmla="*/ 3665220 h 3680460"/>
                  <a:gd name="connsiteX68" fmla="*/ 388620 w 3018472"/>
                  <a:gd name="connsiteY68" fmla="*/ 3657600 h 3680460"/>
                  <a:gd name="connsiteX69" fmla="*/ 335280 w 3018472"/>
                  <a:gd name="connsiteY69" fmla="*/ 3627120 h 3680460"/>
                  <a:gd name="connsiteX70" fmla="*/ 266700 w 3018472"/>
                  <a:gd name="connsiteY70" fmla="*/ 3604260 h 3680460"/>
                  <a:gd name="connsiteX71" fmla="*/ 243840 w 3018472"/>
                  <a:gd name="connsiteY71" fmla="*/ 3589020 h 3680460"/>
                  <a:gd name="connsiteX72" fmla="*/ 160020 w 3018472"/>
                  <a:gd name="connsiteY72" fmla="*/ 3558540 h 3680460"/>
                  <a:gd name="connsiteX73" fmla="*/ 137160 w 3018472"/>
                  <a:gd name="connsiteY73" fmla="*/ 3535680 h 3680460"/>
                  <a:gd name="connsiteX74" fmla="*/ 99060 w 3018472"/>
                  <a:gd name="connsiteY74" fmla="*/ 3520440 h 3680460"/>
                  <a:gd name="connsiteX75" fmla="*/ 83820 w 3018472"/>
                  <a:gd name="connsiteY75" fmla="*/ 3489960 h 3680460"/>
                  <a:gd name="connsiteX76" fmla="*/ 45720 w 3018472"/>
                  <a:gd name="connsiteY76" fmla="*/ 3436620 h 3680460"/>
                  <a:gd name="connsiteX77" fmla="*/ 0 w 3018472"/>
                  <a:gd name="connsiteY77" fmla="*/ 3352800 h 3680460"/>
                  <a:gd name="connsiteX78" fmla="*/ 30480 w 3018472"/>
                  <a:gd name="connsiteY78" fmla="*/ 3345180 h 3680460"/>
                  <a:gd name="connsiteX79" fmla="*/ 137160 w 3018472"/>
                  <a:gd name="connsiteY79" fmla="*/ 3360420 h 3680460"/>
                  <a:gd name="connsiteX80" fmla="*/ 167640 w 3018472"/>
                  <a:gd name="connsiteY80" fmla="*/ 3390900 h 3680460"/>
                  <a:gd name="connsiteX81" fmla="*/ 198120 w 3018472"/>
                  <a:gd name="connsiteY81" fmla="*/ 3406140 h 3680460"/>
                  <a:gd name="connsiteX82" fmla="*/ 350520 w 3018472"/>
                  <a:gd name="connsiteY82" fmla="*/ 3436620 h 3680460"/>
                  <a:gd name="connsiteX83" fmla="*/ 381000 w 3018472"/>
                  <a:gd name="connsiteY83" fmla="*/ 3451860 h 3680460"/>
                  <a:gd name="connsiteX84" fmla="*/ 449580 w 3018472"/>
                  <a:gd name="connsiteY84" fmla="*/ 3489960 h 3680460"/>
                  <a:gd name="connsiteX85" fmla="*/ 495300 w 3018472"/>
                  <a:gd name="connsiteY85" fmla="*/ 3520440 h 3680460"/>
                  <a:gd name="connsiteX86" fmla="*/ 525780 w 3018472"/>
                  <a:gd name="connsiteY86" fmla="*/ 3535680 h 3680460"/>
                  <a:gd name="connsiteX87" fmla="*/ 731520 w 3018472"/>
                  <a:gd name="connsiteY87" fmla="*/ 3558540 h 3680460"/>
                  <a:gd name="connsiteX88" fmla="*/ 1341120 w 3018472"/>
                  <a:gd name="connsiteY88" fmla="*/ 3550920 h 3680460"/>
                  <a:gd name="connsiteX89" fmla="*/ 1440180 w 3018472"/>
                  <a:gd name="connsiteY89" fmla="*/ 3528060 h 3680460"/>
                  <a:gd name="connsiteX90" fmla="*/ 1539240 w 3018472"/>
                  <a:gd name="connsiteY90" fmla="*/ 3520440 h 3680460"/>
                  <a:gd name="connsiteX91" fmla="*/ 1562100 w 3018472"/>
                  <a:gd name="connsiteY91" fmla="*/ 3512820 h 3680460"/>
                  <a:gd name="connsiteX92" fmla="*/ 1630680 w 3018472"/>
                  <a:gd name="connsiteY92" fmla="*/ 3497580 h 3680460"/>
                  <a:gd name="connsiteX93" fmla="*/ 1699260 w 3018472"/>
                  <a:gd name="connsiteY93" fmla="*/ 3474720 h 3680460"/>
                  <a:gd name="connsiteX94" fmla="*/ 1790700 w 3018472"/>
                  <a:gd name="connsiteY94" fmla="*/ 3451860 h 3680460"/>
                  <a:gd name="connsiteX95" fmla="*/ 1821180 w 3018472"/>
                  <a:gd name="connsiteY95" fmla="*/ 3444240 h 3680460"/>
                  <a:gd name="connsiteX96" fmla="*/ 1844040 w 3018472"/>
                  <a:gd name="connsiteY96" fmla="*/ 3429000 h 3680460"/>
                  <a:gd name="connsiteX97" fmla="*/ 1874520 w 3018472"/>
                  <a:gd name="connsiteY97" fmla="*/ 3421380 h 3680460"/>
                  <a:gd name="connsiteX98" fmla="*/ 1927860 w 3018472"/>
                  <a:gd name="connsiteY98" fmla="*/ 3398520 h 3680460"/>
                  <a:gd name="connsiteX99" fmla="*/ 1950720 w 3018472"/>
                  <a:gd name="connsiteY99" fmla="*/ 3390900 h 3680460"/>
                  <a:gd name="connsiteX100" fmla="*/ 2004060 w 3018472"/>
                  <a:gd name="connsiteY100" fmla="*/ 3360420 h 3680460"/>
                  <a:gd name="connsiteX101" fmla="*/ 2042160 w 3018472"/>
                  <a:gd name="connsiteY101" fmla="*/ 3352800 h 3680460"/>
                  <a:gd name="connsiteX102" fmla="*/ 2080260 w 3018472"/>
                  <a:gd name="connsiteY102" fmla="*/ 3337560 h 3680460"/>
                  <a:gd name="connsiteX103" fmla="*/ 2156460 w 3018472"/>
                  <a:gd name="connsiteY103" fmla="*/ 3299460 h 3680460"/>
                  <a:gd name="connsiteX104" fmla="*/ 2179320 w 3018472"/>
                  <a:gd name="connsiteY104" fmla="*/ 3284220 h 3680460"/>
                  <a:gd name="connsiteX105" fmla="*/ 2209800 w 3018472"/>
                  <a:gd name="connsiteY105" fmla="*/ 3276600 h 3680460"/>
                  <a:gd name="connsiteX106" fmla="*/ 2263140 w 3018472"/>
                  <a:gd name="connsiteY106" fmla="*/ 3230880 h 3680460"/>
                  <a:gd name="connsiteX107" fmla="*/ 2346960 w 3018472"/>
                  <a:gd name="connsiteY107" fmla="*/ 3154680 h 3680460"/>
                  <a:gd name="connsiteX108" fmla="*/ 2400300 w 3018472"/>
                  <a:gd name="connsiteY108" fmla="*/ 3070860 h 3680460"/>
                  <a:gd name="connsiteX109" fmla="*/ 2415540 w 3018472"/>
                  <a:gd name="connsiteY109" fmla="*/ 3048000 h 3680460"/>
                  <a:gd name="connsiteX110" fmla="*/ 2446020 w 3018472"/>
                  <a:gd name="connsiteY110" fmla="*/ 3032760 h 3680460"/>
                  <a:gd name="connsiteX111" fmla="*/ 2468880 w 3018472"/>
                  <a:gd name="connsiteY111" fmla="*/ 3009900 h 3680460"/>
                  <a:gd name="connsiteX112" fmla="*/ 2537460 w 3018472"/>
                  <a:gd name="connsiteY112" fmla="*/ 2926080 h 3680460"/>
                  <a:gd name="connsiteX113" fmla="*/ 2575560 w 3018472"/>
                  <a:gd name="connsiteY113" fmla="*/ 2880360 h 3680460"/>
                  <a:gd name="connsiteX114" fmla="*/ 2628900 w 3018472"/>
                  <a:gd name="connsiteY114" fmla="*/ 2811780 h 3680460"/>
                  <a:gd name="connsiteX115" fmla="*/ 2644140 w 3018472"/>
                  <a:gd name="connsiteY115" fmla="*/ 2773680 h 3680460"/>
                  <a:gd name="connsiteX116" fmla="*/ 2674620 w 3018472"/>
                  <a:gd name="connsiteY116" fmla="*/ 2727960 h 3680460"/>
                  <a:gd name="connsiteX117" fmla="*/ 2689860 w 3018472"/>
                  <a:gd name="connsiteY117" fmla="*/ 2705100 h 3680460"/>
                  <a:gd name="connsiteX118" fmla="*/ 2705100 w 3018472"/>
                  <a:gd name="connsiteY118" fmla="*/ 2667000 h 3680460"/>
                  <a:gd name="connsiteX119" fmla="*/ 2727960 w 3018472"/>
                  <a:gd name="connsiteY119" fmla="*/ 2621280 h 3680460"/>
                  <a:gd name="connsiteX120" fmla="*/ 2735580 w 3018472"/>
                  <a:gd name="connsiteY120" fmla="*/ 2590800 h 3680460"/>
                  <a:gd name="connsiteX121" fmla="*/ 2758440 w 3018472"/>
                  <a:gd name="connsiteY121" fmla="*/ 2545080 h 3680460"/>
                  <a:gd name="connsiteX122" fmla="*/ 2788920 w 3018472"/>
                  <a:gd name="connsiteY122" fmla="*/ 2484120 h 3680460"/>
                  <a:gd name="connsiteX123" fmla="*/ 2811780 w 3018472"/>
                  <a:gd name="connsiteY123" fmla="*/ 2407920 h 3680460"/>
                  <a:gd name="connsiteX124" fmla="*/ 2842260 w 3018472"/>
                  <a:gd name="connsiteY124" fmla="*/ 2324100 h 3680460"/>
                  <a:gd name="connsiteX125" fmla="*/ 2857500 w 3018472"/>
                  <a:gd name="connsiteY125" fmla="*/ 2247900 h 3680460"/>
                  <a:gd name="connsiteX126" fmla="*/ 2872740 w 3018472"/>
                  <a:gd name="connsiteY126" fmla="*/ 2194560 h 3680460"/>
                  <a:gd name="connsiteX127" fmla="*/ 2887980 w 3018472"/>
                  <a:gd name="connsiteY127" fmla="*/ 2148840 h 3680460"/>
                  <a:gd name="connsiteX128" fmla="*/ 2910840 w 3018472"/>
                  <a:gd name="connsiteY128" fmla="*/ 2087880 h 3680460"/>
                  <a:gd name="connsiteX129" fmla="*/ 2918460 w 3018472"/>
                  <a:gd name="connsiteY129" fmla="*/ 2049780 h 3680460"/>
                  <a:gd name="connsiteX130" fmla="*/ 2933700 w 3018472"/>
                  <a:gd name="connsiteY130" fmla="*/ 1844040 h 3680460"/>
                  <a:gd name="connsiteX131" fmla="*/ 2918460 w 3018472"/>
                  <a:gd name="connsiteY131" fmla="*/ 1470660 h 3680460"/>
                  <a:gd name="connsiteX132" fmla="*/ 2895600 w 3018472"/>
                  <a:gd name="connsiteY132" fmla="*/ 1371600 h 3680460"/>
                  <a:gd name="connsiteX133" fmla="*/ 2880360 w 3018472"/>
                  <a:gd name="connsiteY133" fmla="*/ 1341120 h 3680460"/>
                  <a:gd name="connsiteX134" fmla="*/ 2857500 w 3018472"/>
                  <a:gd name="connsiteY134" fmla="*/ 1272540 h 3680460"/>
                  <a:gd name="connsiteX135" fmla="*/ 2849880 w 3018472"/>
                  <a:gd name="connsiteY135" fmla="*/ 1234440 h 3680460"/>
                  <a:gd name="connsiteX136" fmla="*/ 2827020 w 3018472"/>
                  <a:gd name="connsiteY136" fmla="*/ 1196340 h 3680460"/>
                  <a:gd name="connsiteX137" fmla="*/ 2811780 w 3018472"/>
                  <a:gd name="connsiteY137" fmla="*/ 1165860 h 3680460"/>
                  <a:gd name="connsiteX138" fmla="*/ 2781300 w 3018472"/>
                  <a:gd name="connsiteY138" fmla="*/ 1127760 h 3680460"/>
                  <a:gd name="connsiteX139" fmla="*/ 2766060 w 3018472"/>
                  <a:gd name="connsiteY139" fmla="*/ 1089660 h 3680460"/>
                  <a:gd name="connsiteX140" fmla="*/ 2735580 w 3018472"/>
                  <a:gd name="connsiteY140" fmla="*/ 1043940 h 3680460"/>
                  <a:gd name="connsiteX141" fmla="*/ 2727960 w 3018472"/>
                  <a:gd name="connsiteY141" fmla="*/ 1021080 h 3680460"/>
                  <a:gd name="connsiteX142" fmla="*/ 2682240 w 3018472"/>
                  <a:gd name="connsiteY142" fmla="*/ 937260 h 3680460"/>
                  <a:gd name="connsiteX143" fmla="*/ 2659380 w 3018472"/>
                  <a:gd name="connsiteY143" fmla="*/ 876300 h 3680460"/>
                  <a:gd name="connsiteX144" fmla="*/ 2644140 w 3018472"/>
                  <a:gd name="connsiteY144" fmla="*/ 845820 h 3680460"/>
                  <a:gd name="connsiteX145" fmla="*/ 2636520 w 3018472"/>
                  <a:gd name="connsiteY145" fmla="*/ 822960 h 3680460"/>
                  <a:gd name="connsiteX146" fmla="*/ 2621280 w 3018472"/>
                  <a:gd name="connsiteY146" fmla="*/ 800100 h 3680460"/>
                  <a:gd name="connsiteX147" fmla="*/ 2598420 w 3018472"/>
                  <a:gd name="connsiteY147" fmla="*/ 739140 h 3680460"/>
                  <a:gd name="connsiteX148" fmla="*/ 2458403 w 3018472"/>
                  <a:gd name="connsiteY148" fmla="*/ 621983 h 3680460"/>
                  <a:gd name="connsiteX149" fmla="*/ 2301240 w 3018472"/>
                  <a:gd name="connsiteY149" fmla="*/ 458152 h 3680460"/>
                  <a:gd name="connsiteX150" fmla="*/ 2237423 w 3018472"/>
                  <a:gd name="connsiteY150" fmla="*/ 406717 h 3680460"/>
                  <a:gd name="connsiteX151" fmla="*/ 2103120 w 3018472"/>
                  <a:gd name="connsiteY151" fmla="*/ 312420 h 3680460"/>
                  <a:gd name="connsiteX152" fmla="*/ 2042160 w 3018472"/>
                  <a:gd name="connsiteY152" fmla="*/ 266700 h 3680460"/>
                  <a:gd name="connsiteX153" fmla="*/ 2004060 w 3018472"/>
                  <a:gd name="connsiteY153" fmla="*/ 251460 h 3680460"/>
                  <a:gd name="connsiteX154" fmla="*/ 1958340 w 3018472"/>
                  <a:gd name="connsiteY154" fmla="*/ 220980 h 3680460"/>
                  <a:gd name="connsiteX155" fmla="*/ 1897380 w 3018472"/>
                  <a:gd name="connsiteY15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97480 w 3018472"/>
                  <a:gd name="connsiteY41" fmla="*/ 2933700 h 3680460"/>
                  <a:gd name="connsiteX42" fmla="*/ 2674620 w 3018472"/>
                  <a:gd name="connsiteY42" fmla="*/ 2964180 h 3680460"/>
                  <a:gd name="connsiteX43" fmla="*/ 2644140 w 3018472"/>
                  <a:gd name="connsiteY43" fmla="*/ 3009900 h 3680460"/>
                  <a:gd name="connsiteX44" fmla="*/ 2598420 w 3018472"/>
                  <a:gd name="connsiteY44" fmla="*/ 3055620 h 3680460"/>
                  <a:gd name="connsiteX45" fmla="*/ 2575560 w 3018472"/>
                  <a:gd name="connsiteY45" fmla="*/ 3078480 h 3680460"/>
                  <a:gd name="connsiteX46" fmla="*/ 2476500 w 3018472"/>
                  <a:gd name="connsiteY46" fmla="*/ 3169920 h 3680460"/>
                  <a:gd name="connsiteX47" fmla="*/ 2377440 w 3018472"/>
                  <a:gd name="connsiteY47" fmla="*/ 3223260 h 3680460"/>
                  <a:gd name="connsiteX48" fmla="*/ 2293620 w 3018472"/>
                  <a:gd name="connsiteY48" fmla="*/ 3284220 h 3680460"/>
                  <a:gd name="connsiteX49" fmla="*/ 2240280 w 3018472"/>
                  <a:gd name="connsiteY49" fmla="*/ 3314700 h 3680460"/>
                  <a:gd name="connsiteX50" fmla="*/ 2225040 w 3018472"/>
                  <a:gd name="connsiteY50" fmla="*/ 3337560 h 3680460"/>
                  <a:gd name="connsiteX51" fmla="*/ 2141220 w 3018472"/>
                  <a:gd name="connsiteY51" fmla="*/ 3390900 h 3680460"/>
                  <a:gd name="connsiteX52" fmla="*/ 2110740 w 3018472"/>
                  <a:gd name="connsiteY52" fmla="*/ 3413760 h 3680460"/>
                  <a:gd name="connsiteX53" fmla="*/ 2072640 w 3018472"/>
                  <a:gd name="connsiteY53" fmla="*/ 3451860 h 3680460"/>
                  <a:gd name="connsiteX54" fmla="*/ 2019300 w 3018472"/>
                  <a:gd name="connsiteY54" fmla="*/ 3467100 h 3680460"/>
                  <a:gd name="connsiteX55" fmla="*/ 1874520 w 3018472"/>
                  <a:gd name="connsiteY55" fmla="*/ 3512820 h 3680460"/>
                  <a:gd name="connsiteX56" fmla="*/ 1828800 w 3018472"/>
                  <a:gd name="connsiteY56" fmla="*/ 3520440 h 3680460"/>
                  <a:gd name="connsiteX57" fmla="*/ 1722120 w 3018472"/>
                  <a:gd name="connsiteY57" fmla="*/ 3550920 h 3680460"/>
                  <a:gd name="connsiteX58" fmla="*/ 1600200 w 3018472"/>
                  <a:gd name="connsiteY58" fmla="*/ 3589020 h 3680460"/>
                  <a:gd name="connsiteX59" fmla="*/ 1569720 w 3018472"/>
                  <a:gd name="connsiteY59" fmla="*/ 3596640 h 3680460"/>
                  <a:gd name="connsiteX60" fmla="*/ 1546860 w 3018472"/>
                  <a:gd name="connsiteY60" fmla="*/ 3611880 h 3680460"/>
                  <a:gd name="connsiteX61" fmla="*/ 1463040 w 3018472"/>
                  <a:gd name="connsiteY61" fmla="*/ 3627120 h 3680460"/>
                  <a:gd name="connsiteX62" fmla="*/ 1333500 w 3018472"/>
                  <a:gd name="connsiteY62" fmla="*/ 3657600 h 3680460"/>
                  <a:gd name="connsiteX63" fmla="*/ 1203960 w 3018472"/>
                  <a:gd name="connsiteY63" fmla="*/ 3672840 h 3680460"/>
                  <a:gd name="connsiteX64" fmla="*/ 1165860 w 3018472"/>
                  <a:gd name="connsiteY64" fmla="*/ 3680460 h 3680460"/>
                  <a:gd name="connsiteX65" fmla="*/ 449580 w 3018472"/>
                  <a:gd name="connsiteY65" fmla="*/ 3672840 h 3680460"/>
                  <a:gd name="connsiteX66" fmla="*/ 426720 w 3018472"/>
                  <a:gd name="connsiteY66" fmla="*/ 3665220 h 3680460"/>
                  <a:gd name="connsiteX67" fmla="*/ 388620 w 3018472"/>
                  <a:gd name="connsiteY67" fmla="*/ 3657600 h 3680460"/>
                  <a:gd name="connsiteX68" fmla="*/ 335280 w 3018472"/>
                  <a:gd name="connsiteY68" fmla="*/ 3627120 h 3680460"/>
                  <a:gd name="connsiteX69" fmla="*/ 266700 w 3018472"/>
                  <a:gd name="connsiteY69" fmla="*/ 3604260 h 3680460"/>
                  <a:gd name="connsiteX70" fmla="*/ 243840 w 3018472"/>
                  <a:gd name="connsiteY70" fmla="*/ 3589020 h 3680460"/>
                  <a:gd name="connsiteX71" fmla="*/ 160020 w 3018472"/>
                  <a:gd name="connsiteY71" fmla="*/ 3558540 h 3680460"/>
                  <a:gd name="connsiteX72" fmla="*/ 137160 w 3018472"/>
                  <a:gd name="connsiteY72" fmla="*/ 3535680 h 3680460"/>
                  <a:gd name="connsiteX73" fmla="*/ 99060 w 3018472"/>
                  <a:gd name="connsiteY73" fmla="*/ 3520440 h 3680460"/>
                  <a:gd name="connsiteX74" fmla="*/ 83820 w 3018472"/>
                  <a:gd name="connsiteY74" fmla="*/ 3489960 h 3680460"/>
                  <a:gd name="connsiteX75" fmla="*/ 45720 w 3018472"/>
                  <a:gd name="connsiteY75" fmla="*/ 3436620 h 3680460"/>
                  <a:gd name="connsiteX76" fmla="*/ 0 w 3018472"/>
                  <a:gd name="connsiteY76" fmla="*/ 3352800 h 3680460"/>
                  <a:gd name="connsiteX77" fmla="*/ 30480 w 3018472"/>
                  <a:gd name="connsiteY77" fmla="*/ 3345180 h 3680460"/>
                  <a:gd name="connsiteX78" fmla="*/ 137160 w 3018472"/>
                  <a:gd name="connsiteY78" fmla="*/ 3360420 h 3680460"/>
                  <a:gd name="connsiteX79" fmla="*/ 167640 w 3018472"/>
                  <a:gd name="connsiteY79" fmla="*/ 3390900 h 3680460"/>
                  <a:gd name="connsiteX80" fmla="*/ 198120 w 3018472"/>
                  <a:gd name="connsiteY80" fmla="*/ 3406140 h 3680460"/>
                  <a:gd name="connsiteX81" fmla="*/ 350520 w 3018472"/>
                  <a:gd name="connsiteY81" fmla="*/ 3436620 h 3680460"/>
                  <a:gd name="connsiteX82" fmla="*/ 381000 w 3018472"/>
                  <a:gd name="connsiteY82" fmla="*/ 3451860 h 3680460"/>
                  <a:gd name="connsiteX83" fmla="*/ 449580 w 3018472"/>
                  <a:gd name="connsiteY83" fmla="*/ 3489960 h 3680460"/>
                  <a:gd name="connsiteX84" fmla="*/ 495300 w 3018472"/>
                  <a:gd name="connsiteY84" fmla="*/ 3520440 h 3680460"/>
                  <a:gd name="connsiteX85" fmla="*/ 525780 w 3018472"/>
                  <a:gd name="connsiteY85" fmla="*/ 3535680 h 3680460"/>
                  <a:gd name="connsiteX86" fmla="*/ 731520 w 3018472"/>
                  <a:gd name="connsiteY86" fmla="*/ 3558540 h 3680460"/>
                  <a:gd name="connsiteX87" fmla="*/ 1341120 w 3018472"/>
                  <a:gd name="connsiteY87" fmla="*/ 3550920 h 3680460"/>
                  <a:gd name="connsiteX88" fmla="*/ 1440180 w 3018472"/>
                  <a:gd name="connsiteY88" fmla="*/ 3528060 h 3680460"/>
                  <a:gd name="connsiteX89" fmla="*/ 1539240 w 3018472"/>
                  <a:gd name="connsiteY89" fmla="*/ 3520440 h 3680460"/>
                  <a:gd name="connsiteX90" fmla="*/ 1562100 w 3018472"/>
                  <a:gd name="connsiteY90" fmla="*/ 3512820 h 3680460"/>
                  <a:gd name="connsiteX91" fmla="*/ 1630680 w 3018472"/>
                  <a:gd name="connsiteY91" fmla="*/ 3497580 h 3680460"/>
                  <a:gd name="connsiteX92" fmla="*/ 1699260 w 3018472"/>
                  <a:gd name="connsiteY92" fmla="*/ 3474720 h 3680460"/>
                  <a:gd name="connsiteX93" fmla="*/ 1790700 w 3018472"/>
                  <a:gd name="connsiteY93" fmla="*/ 3451860 h 3680460"/>
                  <a:gd name="connsiteX94" fmla="*/ 1821180 w 3018472"/>
                  <a:gd name="connsiteY94" fmla="*/ 3444240 h 3680460"/>
                  <a:gd name="connsiteX95" fmla="*/ 1844040 w 3018472"/>
                  <a:gd name="connsiteY95" fmla="*/ 3429000 h 3680460"/>
                  <a:gd name="connsiteX96" fmla="*/ 1874520 w 3018472"/>
                  <a:gd name="connsiteY96" fmla="*/ 3421380 h 3680460"/>
                  <a:gd name="connsiteX97" fmla="*/ 1927860 w 3018472"/>
                  <a:gd name="connsiteY97" fmla="*/ 3398520 h 3680460"/>
                  <a:gd name="connsiteX98" fmla="*/ 1950720 w 3018472"/>
                  <a:gd name="connsiteY98" fmla="*/ 3390900 h 3680460"/>
                  <a:gd name="connsiteX99" fmla="*/ 2004060 w 3018472"/>
                  <a:gd name="connsiteY99" fmla="*/ 3360420 h 3680460"/>
                  <a:gd name="connsiteX100" fmla="*/ 2042160 w 3018472"/>
                  <a:gd name="connsiteY100" fmla="*/ 3352800 h 3680460"/>
                  <a:gd name="connsiteX101" fmla="*/ 2080260 w 3018472"/>
                  <a:gd name="connsiteY101" fmla="*/ 3337560 h 3680460"/>
                  <a:gd name="connsiteX102" fmla="*/ 2156460 w 3018472"/>
                  <a:gd name="connsiteY102" fmla="*/ 3299460 h 3680460"/>
                  <a:gd name="connsiteX103" fmla="*/ 2179320 w 3018472"/>
                  <a:gd name="connsiteY103" fmla="*/ 3284220 h 3680460"/>
                  <a:gd name="connsiteX104" fmla="*/ 2209800 w 3018472"/>
                  <a:gd name="connsiteY104" fmla="*/ 3276600 h 3680460"/>
                  <a:gd name="connsiteX105" fmla="*/ 2263140 w 3018472"/>
                  <a:gd name="connsiteY105" fmla="*/ 3230880 h 3680460"/>
                  <a:gd name="connsiteX106" fmla="*/ 2346960 w 3018472"/>
                  <a:gd name="connsiteY106" fmla="*/ 3154680 h 3680460"/>
                  <a:gd name="connsiteX107" fmla="*/ 2400300 w 3018472"/>
                  <a:gd name="connsiteY107" fmla="*/ 3070860 h 3680460"/>
                  <a:gd name="connsiteX108" fmla="*/ 2415540 w 3018472"/>
                  <a:gd name="connsiteY108" fmla="*/ 3048000 h 3680460"/>
                  <a:gd name="connsiteX109" fmla="*/ 2446020 w 3018472"/>
                  <a:gd name="connsiteY109" fmla="*/ 3032760 h 3680460"/>
                  <a:gd name="connsiteX110" fmla="*/ 2468880 w 3018472"/>
                  <a:gd name="connsiteY110" fmla="*/ 3009900 h 3680460"/>
                  <a:gd name="connsiteX111" fmla="*/ 2537460 w 3018472"/>
                  <a:gd name="connsiteY111" fmla="*/ 2926080 h 3680460"/>
                  <a:gd name="connsiteX112" fmla="*/ 2575560 w 3018472"/>
                  <a:gd name="connsiteY112" fmla="*/ 2880360 h 3680460"/>
                  <a:gd name="connsiteX113" fmla="*/ 2628900 w 3018472"/>
                  <a:gd name="connsiteY113" fmla="*/ 2811780 h 3680460"/>
                  <a:gd name="connsiteX114" fmla="*/ 2644140 w 3018472"/>
                  <a:gd name="connsiteY114" fmla="*/ 2773680 h 3680460"/>
                  <a:gd name="connsiteX115" fmla="*/ 2674620 w 3018472"/>
                  <a:gd name="connsiteY115" fmla="*/ 2727960 h 3680460"/>
                  <a:gd name="connsiteX116" fmla="*/ 2689860 w 3018472"/>
                  <a:gd name="connsiteY116" fmla="*/ 2705100 h 3680460"/>
                  <a:gd name="connsiteX117" fmla="*/ 2705100 w 3018472"/>
                  <a:gd name="connsiteY117" fmla="*/ 2667000 h 3680460"/>
                  <a:gd name="connsiteX118" fmla="*/ 2727960 w 3018472"/>
                  <a:gd name="connsiteY118" fmla="*/ 2621280 h 3680460"/>
                  <a:gd name="connsiteX119" fmla="*/ 2735580 w 3018472"/>
                  <a:gd name="connsiteY119" fmla="*/ 2590800 h 3680460"/>
                  <a:gd name="connsiteX120" fmla="*/ 2758440 w 3018472"/>
                  <a:gd name="connsiteY120" fmla="*/ 2545080 h 3680460"/>
                  <a:gd name="connsiteX121" fmla="*/ 2788920 w 3018472"/>
                  <a:gd name="connsiteY121" fmla="*/ 2484120 h 3680460"/>
                  <a:gd name="connsiteX122" fmla="*/ 2811780 w 3018472"/>
                  <a:gd name="connsiteY122" fmla="*/ 2407920 h 3680460"/>
                  <a:gd name="connsiteX123" fmla="*/ 2842260 w 3018472"/>
                  <a:gd name="connsiteY123" fmla="*/ 2324100 h 3680460"/>
                  <a:gd name="connsiteX124" fmla="*/ 2857500 w 3018472"/>
                  <a:gd name="connsiteY124" fmla="*/ 2247900 h 3680460"/>
                  <a:gd name="connsiteX125" fmla="*/ 2872740 w 3018472"/>
                  <a:gd name="connsiteY125" fmla="*/ 2194560 h 3680460"/>
                  <a:gd name="connsiteX126" fmla="*/ 2887980 w 3018472"/>
                  <a:gd name="connsiteY126" fmla="*/ 2148840 h 3680460"/>
                  <a:gd name="connsiteX127" fmla="*/ 2910840 w 3018472"/>
                  <a:gd name="connsiteY127" fmla="*/ 2087880 h 3680460"/>
                  <a:gd name="connsiteX128" fmla="*/ 2918460 w 3018472"/>
                  <a:gd name="connsiteY128" fmla="*/ 2049780 h 3680460"/>
                  <a:gd name="connsiteX129" fmla="*/ 2933700 w 3018472"/>
                  <a:gd name="connsiteY129" fmla="*/ 1844040 h 3680460"/>
                  <a:gd name="connsiteX130" fmla="*/ 2918460 w 3018472"/>
                  <a:gd name="connsiteY130" fmla="*/ 1470660 h 3680460"/>
                  <a:gd name="connsiteX131" fmla="*/ 2895600 w 3018472"/>
                  <a:gd name="connsiteY131" fmla="*/ 1371600 h 3680460"/>
                  <a:gd name="connsiteX132" fmla="*/ 2880360 w 3018472"/>
                  <a:gd name="connsiteY132" fmla="*/ 1341120 h 3680460"/>
                  <a:gd name="connsiteX133" fmla="*/ 2857500 w 3018472"/>
                  <a:gd name="connsiteY133" fmla="*/ 1272540 h 3680460"/>
                  <a:gd name="connsiteX134" fmla="*/ 2849880 w 3018472"/>
                  <a:gd name="connsiteY134" fmla="*/ 1234440 h 3680460"/>
                  <a:gd name="connsiteX135" fmla="*/ 2827020 w 3018472"/>
                  <a:gd name="connsiteY135" fmla="*/ 1196340 h 3680460"/>
                  <a:gd name="connsiteX136" fmla="*/ 2811780 w 3018472"/>
                  <a:gd name="connsiteY136" fmla="*/ 1165860 h 3680460"/>
                  <a:gd name="connsiteX137" fmla="*/ 2781300 w 3018472"/>
                  <a:gd name="connsiteY137" fmla="*/ 1127760 h 3680460"/>
                  <a:gd name="connsiteX138" fmla="*/ 2766060 w 3018472"/>
                  <a:gd name="connsiteY138" fmla="*/ 1089660 h 3680460"/>
                  <a:gd name="connsiteX139" fmla="*/ 2735580 w 3018472"/>
                  <a:gd name="connsiteY139" fmla="*/ 1043940 h 3680460"/>
                  <a:gd name="connsiteX140" fmla="*/ 2727960 w 3018472"/>
                  <a:gd name="connsiteY140" fmla="*/ 1021080 h 3680460"/>
                  <a:gd name="connsiteX141" fmla="*/ 2682240 w 3018472"/>
                  <a:gd name="connsiteY141" fmla="*/ 937260 h 3680460"/>
                  <a:gd name="connsiteX142" fmla="*/ 2659380 w 3018472"/>
                  <a:gd name="connsiteY142" fmla="*/ 876300 h 3680460"/>
                  <a:gd name="connsiteX143" fmla="*/ 2644140 w 3018472"/>
                  <a:gd name="connsiteY143" fmla="*/ 845820 h 3680460"/>
                  <a:gd name="connsiteX144" fmla="*/ 2636520 w 3018472"/>
                  <a:gd name="connsiteY144" fmla="*/ 822960 h 3680460"/>
                  <a:gd name="connsiteX145" fmla="*/ 2621280 w 3018472"/>
                  <a:gd name="connsiteY145" fmla="*/ 800100 h 3680460"/>
                  <a:gd name="connsiteX146" fmla="*/ 2598420 w 3018472"/>
                  <a:gd name="connsiteY146" fmla="*/ 739140 h 3680460"/>
                  <a:gd name="connsiteX147" fmla="*/ 2458403 w 3018472"/>
                  <a:gd name="connsiteY147" fmla="*/ 621983 h 3680460"/>
                  <a:gd name="connsiteX148" fmla="*/ 2301240 w 3018472"/>
                  <a:gd name="connsiteY148" fmla="*/ 458152 h 3680460"/>
                  <a:gd name="connsiteX149" fmla="*/ 2237423 w 3018472"/>
                  <a:gd name="connsiteY149" fmla="*/ 406717 h 3680460"/>
                  <a:gd name="connsiteX150" fmla="*/ 2103120 w 3018472"/>
                  <a:gd name="connsiteY150" fmla="*/ 312420 h 3680460"/>
                  <a:gd name="connsiteX151" fmla="*/ 2042160 w 3018472"/>
                  <a:gd name="connsiteY151" fmla="*/ 266700 h 3680460"/>
                  <a:gd name="connsiteX152" fmla="*/ 2004060 w 3018472"/>
                  <a:gd name="connsiteY152" fmla="*/ 251460 h 3680460"/>
                  <a:gd name="connsiteX153" fmla="*/ 1958340 w 3018472"/>
                  <a:gd name="connsiteY153" fmla="*/ 220980 h 3680460"/>
                  <a:gd name="connsiteX154" fmla="*/ 1897380 w 3018472"/>
                  <a:gd name="connsiteY15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74620 w 3018472"/>
                  <a:gd name="connsiteY41" fmla="*/ 2964180 h 3680460"/>
                  <a:gd name="connsiteX42" fmla="*/ 2644140 w 3018472"/>
                  <a:gd name="connsiteY42" fmla="*/ 3009900 h 3680460"/>
                  <a:gd name="connsiteX43" fmla="*/ 2598420 w 3018472"/>
                  <a:gd name="connsiteY43" fmla="*/ 3055620 h 3680460"/>
                  <a:gd name="connsiteX44" fmla="*/ 2575560 w 3018472"/>
                  <a:gd name="connsiteY44" fmla="*/ 3078480 h 3680460"/>
                  <a:gd name="connsiteX45" fmla="*/ 2476500 w 3018472"/>
                  <a:gd name="connsiteY45" fmla="*/ 3169920 h 3680460"/>
                  <a:gd name="connsiteX46" fmla="*/ 2377440 w 3018472"/>
                  <a:gd name="connsiteY46" fmla="*/ 3223260 h 3680460"/>
                  <a:gd name="connsiteX47" fmla="*/ 2293620 w 3018472"/>
                  <a:gd name="connsiteY47" fmla="*/ 3284220 h 3680460"/>
                  <a:gd name="connsiteX48" fmla="*/ 2240280 w 3018472"/>
                  <a:gd name="connsiteY48" fmla="*/ 3314700 h 3680460"/>
                  <a:gd name="connsiteX49" fmla="*/ 2225040 w 3018472"/>
                  <a:gd name="connsiteY49" fmla="*/ 3337560 h 3680460"/>
                  <a:gd name="connsiteX50" fmla="*/ 2141220 w 3018472"/>
                  <a:gd name="connsiteY50" fmla="*/ 3390900 h 3680460"/>
                  <a:gd name="connsiteX51" fmla="*/ 2110740 w 3018472"/>
                  <a:gd name="connsiteY51" fmla="*/ 3413760 h 3680460"/>
                  <a:gd name="connsiteX52" fmla="*/ 2072640 w 3018472"/>
                  <a:gd name="connsiteY52" fmla="*/ 3451860 h 3680460"/>
                  <a:gd name="connsiteX53" fmla="*/ 2019300 w 3018472"/>
                  <a:gd name="connsiteY53" fmla="*/ 3467100 h 3680460"/>
                  <a:gd name="connsiteX54" fmla="*/ 1874520 w 3018472"/>
                  <a:gd name="connsiteY54" fmla="*/ 3512820 h 3680460"/>
                  <a:gd name="connsiteX55" fmla="*/ 1828800 w 3018472"/>
                  <a:gd name="connsiteY55" fmla="*/ 3520440 h 3680460"/>
                  <a:gd name="connsiteX56" fmla="*/ 1722120 w 3018472"/>
                  <a:gd name="connsiteY56" fmla="*/ 3550920 h 3680460"/>
                  <a:gd name="connsiteX57" fmla="*/ 1600200 w 3018472"/>
                  <a:gd name="connsiteY57" fmla="*/ 3589020 h 3680460"/>
                  <a:gd name="connsiteX58" fmla="*/ 1569720 w 3018472"/>
                  <a:gd name="connsiteY58" fmla="*/ 3596640 h 3680460"/>
                  <a:gd name="connsiteX59" fmla="*/ 1546860 w 3018472"/>
                  <a:gd name="connsiteY59" fmla="*/ 3611880 h 3680460"/>
                  <a:gd name="connsiteX60" fmla="*/ 1463040 w 3018472"/>
                  <a:gd name="connsiteY60" fmla="*/ 3627120 h 3680460"/>
                  <a:gd name="connsiteX61" fmla="*/ 1333500 w 3018472"/>
                  <a:gd name="connsiteY61" fmla="*/ 3657600 h 3680460"/>
                  <a:gd name="connsiteX62" fmla="*/ 1203960 w 3018472"/>
                  <a:gd name="connsiteY62" fmla="*/ 3672840 h 3680460"/>
                  <a:gd name="connsiteX63" fmla="*/ 1165860 w 3018472"/>
                  <a:gd name="connsiteY63" fmla="*/ 3680460 h 3680460"/>
                  <a:gd name="connsiteX64" fmla="*/ 449580 w 3018472"/>
                  <a:gd name="connsiteY64" fmla="*/ 3672840 h 3680460"/>
                  <a:gd name="connsiteX65" fmla="*/ 426720 w 3018472"/>
                  <a:gd name="connsiteY65" fmla="*/ 3665220 h 3680460"/>
                  <a:gd name="connsiteX66" fmla="*/ 388620 w 3018472"/>
                  <a:gd name="connsiteY66" fmla="*/ 3657600 h 3680460"/>
                  <a:gd name="connsiteX67" fmla="*/ 335280 w 3018472"/>
                  <a:gd name="connsiteY67" fmla="*/ 3627120 h 3680460"/>
                  <a:gd name="connsiteX68" fmla="*/ 266700 w 3018472"/>
                  <a:gd name="connsiteY68" fmla="*/ 3604260 h 3680460"/>
                  <a:gd name="connsiteX69" fmla="*/ 243840 w 3018472"/>
                  <a:gd name="connsiteY69" fmla="*/ 3589020 h 3680460"/>
                  <a:gd name="connsiteX70" fmla="*/ 160020 w 3018472"/>
                  <a:gd name="connsiteY70" fmla="*/ 3558540 h 3680460"/>
                  <a:gd name="connsiteX71" fmla="*/ 137160 w 3018472"/>
                  <a:gd name="connsiteY71" fmla="*/ 3535680 h 3680460"/>
                  <a:gd name="connsiteX72" fmla="*/ 99060 w 3018472"/>
                  <a:gd name="connsiteY72" fmla="*/ 3520440 h 3680460"/>
                  <a:gd name="connsiteX73" fmla="*/ 83820 w 3018472"/>
                  <a:gd name="connsiteY73" fmla="*/ 3489960 h 3680460"/>
                  <a:gd name="connsiteX74" fmla="*/ 45720 w 3018472"/>
                  <a:gd name="connsiteY74" fmla="*/ 3436620 h 3680460"/>
                  <a:gd name="connsiteX75" fmla="*/ 0 w 3018472"/>
                  <a:gd name="connsiteY75" fmla="*/ 3352800 h 3680460"/>
                  <a:gd name="connsiteX76" fmla="*/ 30480 w 3018472"/>
                  <a:gd name="connsiteY76" fmla="*/ 3345180 h 3680460"/>
                  <a:gd name="connsiteX77" fmla="*/ 137160 w 3018472"/>
                  <a:gd name="connsiteY77" fmla="*/ 3360420 h 3680460"/>
                  <a:gd name="connsiteX78" fmla="*/ 167640 w 3018472"/>
                  <a:gd name="connsiteY78" fmla="*/ 3390900 h 3680460"/>
                  <a:gd name="connsiteX79" fmla="*/ 198120 w 3018472"/>
                  <a:gd name="connsiteY79" fmla="*/ 3406140 h 3680460"/>
                  <a:gd name="connsiteX80" fmla="*/ 350520 w 3018472"/>
                  <a:gd name="connsiteY80" fmla="*/ 3436620 h 3680460"/>
                  <a:gd name="connsiteX81" fmla="*/ 381000 w 3018472"/>
                  <a:gd name="connsiteY81" fmla="*/ 3451860 h 3680460"/>
                  <a:gd name="connsiteX82" fmla="*/ 449580 w 3018472"/>
                  <a:gd name="connsiteY82" fmla="*/ 3489960 h 3680460"/>
                  <a:gd name="connsiteX83" fmla="*/ 495300 w 3018472"/>
                  <a:gd name="connsiteY83" fmla="*/ 3520440 h 3680460"/>
                  <a:gd name="connsiteX84" fmla="*/ 525780 w 3018472"/>
                  <a:gd name="connsiteY84" fmla="*/ 3535680 h 3680460"/>
                  <a:gd name="connsiteX85" fmla="*/ 731520 w 3018472"/>
                  <a:gd name="connsiteY85" fmla="*/ 3558540 h 3680460"/>
                  <a:gd name="connsiteX86" fmla="*/ 1341120 w 3018472"/>
                  <a:gd name="connsiteY86" fmla="*/ 3550920 h 3680460"/>
                  <a:gd name="connsiteX87" fmla="*/ 1440180 w 3018472"/>
                  <a:gd name="connsiteY87" fmla="*/ 3528060 h 3680460"/>
                  <a:gd name="connsiteX88" fmla="*/ 1539240 w 3018472"/>
                  <a:gd name="connsiteY88" fmla="*/ 3520440 h 3680460"/>
                  <a:gd name="connsiteX89" fmla="*/ 1562100 w 3018472"/>
                  <a:gd name="connsiteY89" fmla="*/ 3512820 h 3680460"/>
                  <a:gd name="connsiteX90" fmla="*/ 1630680 w 3018472"/>
                  <a:gd name="connsiteY90" fmla="*/ 3497580 h 3680460"/>
                  <a:gd name="connsiteX91" fmla="*/ 1699260 w 3018472"/>
                  <a:gd name="connsiteY91" fmla="*/ 3474720 h 3680460"/>
                  <a:gd name="connsiteX92" fmla="*/ 1790700 w 3018472"/>
                  <a:gd name="connsiteY92" fmla="*/ 3451860 h 3680460"/>
                  <a:gd name="connsiteX93" fmla="*/ 1821180 w 3018472"/>
                  <a:gd name="connsiteY93" fmla="*/ 3444240 h 3680460"/>
                  <a:gd name="connsiteX94" fmla="*/ 1844040 w 3018472"/>
                  <a:gd name="connsiteY94" fmla="*/ 3429000 h 3680460"/>
                  <a:gd name="connsiteX95" fmla="*/ 1874520 w 3018472"/>
                  <a:gd name="connsiteY95" fmla="*/ 3421380 h 3680460"/>
                  <a:gd name="connsiteX96" fmla="*/ 1927860 w 3018472"/>
                  <a:gd name="connsiteY96" fmla="*/ 3398520 h 3680460"/>
                  <a:gd name="connsiteX97" fmla="*/ 1950720 w 3018472"/>
                  <a:gd name="connsiteY97" fmla="*/ 3390900 h 3680460"/>
                  <a:gd name="connsiteX98" fmla="*/ 2004060 w 3018472"/>
                  <a:gd name="connsiteY98" fmla="*/ 3360420 h 3680460"/>
                  <a:gd name="connsiteX99" fmla="*/ 2042160 w 3018472"/>
                  <a:gd name="connsiteY99" fmla="*/ 3352800 h 3680460"/>
                  <a:gd name="connsiteX100" fmla="*/ 2080260 w 3018472"/>
                  <a:gd name="connsiteY100" fmla="*/ 3337560 h 3680460"/>
                  <a:gd name="connsiteX101" fmla="*/ 2156460 w 3018472"/>
                  <a:gd name="connsiteY101" fmla="*/ 3299460 h 3680460"/>
                  <a:gd name="connsiteX102" fmla="*/ 2179320 w 3018472"/>
                  <a:gd name="connsiteY102" fmla="*/ 3284220 h 3680460"/>
                  <a:gd name="connsiteX103" fmla="*/ 2209800 w 3018472"/>
                  <a:gd name="connsiteY103" fmla="*/ 3276600 h 3680460"/>
                  <a:gd name="connsiteX104" fmla="*/ 2263140 w 3018472"/>
                  <a:gd name="connsiteY104" fmla="*/ 3230880 h 3680460"/>
                  <a:gd name="connsiteX105" fmla="*/ 2346960 w 3018472"/>
                  <a:gd name="connsiteY105" fmla="*/ 3154680 h 3680460"/>
                  <a:gd name="connsiteX106" fmla="*/ 2400300 w 3018472"/>
                  <a:gd name="connsiteY106" fmla="*/ 3070860 h 3680460"/>
                  <a:gd name="connsiteX107" fmla="*/ 2415540 w 3018472"/>
                  <a:gd name="connsiteY107" fmla="*/ 3048000 h 3680460"/>
                  <a:gd name="connsiteX108" fmla="*/ 2446020 w 3018472"/>
                  <a:gd name="connsiteY108" fmla="*/ 3032760 h 3680460"/>
                  <a:gd name="connsiteX109" fmla="*/ 2468880 w 3018472"/>
                  <a:gd name="connsiteY109" fmla="*/ 3009900 h 3680460"/>
                  <a:gd name="connsiteX110" fmla="*/ 2537460 w 3018472"/>
                  <a:gd name="connsiteY110" fmla="*/ 2926080 h 3680460"/>
                  <a:gd name="connsiteX111" fmla="*/ 2575560 w 3018472"/>
                  <a:gd name="connsiteY111" fmla="*/ 2880360 h 3680460"/>
                  <a:gd name="connsiteX112" fmla="*/ 2628900 w 3018472"/>
                  <a:gd name="connsiteY112" fmla="*/ 2811780 h 3680460"/>
                  <a:gd name="connsiteX113" fmla="*/ 2644140 w 3018472"/>
                  <a:gd name="connsiteY113" fmla="*/ 2773680 h 3680460"/>
                  <a:gd name="connsiteX114" fmla="*/ 2674620 w 3018472"/>
                  <a:gd name="connsiteY114" fmla="*/ 2727960 h 3680460"/>
                  <a:gd name="connsiteX115" fmla="*/ 2689860 w 3018472"/>
                  <a:gd name="connsiteY115" fmla="*/ 2705100 h 3680460"/>
                  <a:gd name="connsiteX116" fmla="*/ 2705100 w 3018472"/>
                  <a:gd name="connsiteY116" fmla="*/ 2667000 h 3680460"/>
                  <a:gd name="connsiteX117" fmla="*/ 2727960 w 3018472"/>
                  <a:gd name="connsiteY117" fmla="*/ 2621280 h 3680460"/>
                  <a:gd name="connsiteX118" fmla="*/ 2735580 w 3018472"/>
                  <a:gd name="connsiteY118" fmla="*/ 2590800 h 3680460"/>
                  <a:gd name="connsiteX119" fmla="*/ 2758440 w 3018472"/>
                  <a:gd name="connsiteY119" fmla="*/ 2545080 h 3680460"/>
                  <a:gd name="connsiteX120" fmla="*/ 2788920 w 3018472"/>
                  <a:gd name="connsiteY120" fmla="*/ 2484120 h 3680460"/>
                  <a:gd name="connsiteX121" fmla="*/ 2811780 w 3018472"/>
                  <a:gd name="connsiteY121" fmla="*/ 2407920 h 3680460"/>
                  <a:gd name="connsiteX122" fmla="*/ 2842260 w 3018472"/>
                  <a:gd name="connsiteY122" fmla="*/ 2324100 h 3680460"/>
                  <a:gd name="connsiteX123" fmla="*/ 2857500 w 3018472"/>
                  <a:gd name="connsiteY123" fmla="*/ 2247900 h 3680460"/>
                  <a:gd name="connsiteX124" fmla="*/ 2872740 w 3018472"/>
                  <a:gd name="connsiteY124" fmla="*/ 2194560 h 3680460"/>
                  <a:gd name="connsiteX125" fmla="*/ 2887980 w 3018472"/>
                  <a:gd name="connsiteY125" fmla="*/ 2148840 h 3680460"/>
                  <a:gd name="connsiteX126" fmla="*/ 2910840 w 3018472"/>
                  <a:gd name="connsiteY126" fmla="*/ 2087880 h 3680460"/>
                  <a:gd name="connsiteX127" fmla="*/ 2918460 w 3018472"/>
                  <a:gd name="connsiteY127" fmla="*/ 2049780 h 3680460"/>
                  <a:gd name="connsiteX128" fmla="*/ 2933700 w 3018472"/>
                  <a:gd name="connsiteY128" fmla="*/ 1844040 h 3680460"/>
                  <a:gd name="connsiteX129" fmla="*/ 2918460 w 3018472"/>
                  <a:gd name="connsiteY129" fmla="*/ 1470660 h 3680460"/>
                  <a:gd name="connsiteX130" fmla="*/ 2895600 w 3018472"/>
                  <a:gd name="connsiteY130" fmla="*/ 1371600 h 3680460"/>
                  <a:gd name="connsiteX131" fmla="*/ 2880360 w 3018472"/>
                  <a:gd name="connsiteY131" fmla="*/ 1341120 h 3680460"/>
                  <a:gd name="connsiteX132" fmla="*/ 2857500 w 3018472"/>
                  <a:gd name="connsiteY132" fmla="*/ 1272540 h 3680460"/>
                  <a:gd name="connsiteX133" fmla="*/ 2849880 w 3018472"/>
                  <a:gd name="connsiteY133" fmla="*/ 1234440 h 3680460"/>
                  <a:gd name="connsiteX134" fmla="*/ 2827020 w 3018472"/>
                  <a:gd name="connsiteY134" fmla="*/ 1196340 h 3680460"/>
                  <a:gd name="connsiteX135" fmla="*/ 2811780 w 3018472"/>
                  <a:gd name="connsiteY135" fmla="*/ 1165860 h 3680460"/>
                  <a:gd name="connsiteX136" fmla="*/ 2781300 w 3018472"/>
                  <a:gd name="connsiteY136" fmla="*/ 1127760 h 3680460"/>
                  <a:gd name="connsiteX137" fmla="*/ 2766060 w 3018472"/>
                  <a:gd name="connsiteY137" fmla="*/ 1089660 h 3680460"/>
                  <a:gd name="connsiteX138" fmla="*/ 2735580 w 3018472"/>
                  <a:gd name="connsiteY138" fmla="*/ 1043940 h 3680460"/>
                  <a:gd name="connsiteX139" fmla="*/ 2727960 w 3018472"/>
                  <a:gd name="connsiteY139" fmla="*/ 1021080 h 3680460"/>
                  <a:gd name="connsiteX140" fmla="*/ 2682240 w 3018472"/>
                  <a:gd name="connsiteY140" fmla="*/ 937260 h 3680460"/>
                  <a:gd name="connsiteX141" fmla="*/ 2659380 w 3018472"/>
                  <a:gd name="connsiteY141" fmla="*/ 876300 h 3680460"/>
                  <a:gd name="connsiteX142" fmla="*/ 2644140 w 3018472"/>
                  <a:gd name="connsiteY142" fmla="*/ 845820 h 3680460"/>
                  <a:gd name="connsiteX143" fmla="*/ 2636520 w 3018472"/>
                  <a:gd name="connsiteY143" fmla="*/ 822960 h 3680460"/>
                  <a:gd name="connsiteX144" fmla="*/ 2621280 w 3018472"/>
                  <a:gd name="connsiteY144" fmla="*/ 800100 h 3680460"/>
                  <a:gd name="connsiteX145" fmla="*/ 2598420 w 3018472"/>
                  <a:gd name="connsiteY145" fmla="*/ 739140 h 3680460"/>
                  <a:gd name="connsiteX146" fmla="*/ 2458403 w 3018472"/>
                  <a:gd name="connsiteY146" fmla="*/ 621983 h 3680460"/>
                  <a:gd name="connsiteX147" fmla="*/ 2301240 w 3018472"/>
                  <a:gd name="connsiteY147" fmla="*/ 458152 h 3680460"/>
                  <a:gd name="connsiteX148" fmla="*/ 2237423 w 3018472"/>
                  <a:gd name="connsiteY148" fmla="*/ 406717 h 3680460"/>
                  <a:gd name="connsiteX149" fmla="*/ 2103120 w 3018472"/>
                  <a:gd name="connsiteY149" fmla="*/ 312420 h 3680460"/>
                  <a:gd name="connsiteX150" fmla="*/ 2042160 w 3018472"/>
                  <a:gd name="connsiteY150" fmla="*/ 266700 h 3680460"/>
                  <a:gd name="connsiteX151" fmla="*/ 2004060 w 3018472"/>
                  <a:gd name="connsiteY151" fmla="*/ 251460 h 3680460"/>
                  <a:gd name="connsiteX152" fmla="*/ 1958340 w 3018472"/>
                  <a:gd name="connsiteY152" fmla="*/ 220980 h 3680460"/>
                  <a:gd name="connsiteX153" fmla="*/ 1897380 w 3018472"/>
                  <a:gd name="connsiteY153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44140 w 3018472"/>
                  <a:gd name="connsiteY41" fmla="*/ 3009900 h 3680460"/>
                  <a:gd name="connsiteX42" fmla="*/ 2598420 w 3018472"/>
                  <a:gd name="connsiteY42" fmla="*/ 3055620 h 3680460"/>
                  <a:gd name="connsiteX43" fmla="*/ 2575560 w 3018472"/>
                  <a:gd name="connsiteY43" fmla="*/ 3078480 h 3680460"/>
                  <a:gd name="connsiteX44" fmla="*/ 2476500 w 3018472"/>
                  <a:gd name="connsiteY44" fmla="*/ 3169920 h 3680460"/>
                  <a:gd name="connsiteX45" fmla="*/ 2377440 w 3018472"/>
                  <a:gd name="connsiteY45" fmla="*/ 3223260 h 3680460"/>
                  <a:gd name="connsiteX46" fmla="*/ 2293620 w 3018472"/>
                  <a:gd name="connsiteY46" fmla="*/ 3284220 h 3680460"/>
                  <a:gd name="connsiteX47" fmla="*/ 2240280 w 3018472"/>
                  <a:gd name="connsiteY47" fmla="*/ 3314700 h 3680460"/>
                  <a:gd name="connsiteX48" fmla="*/ 2225040 w 3018472"/>
                  <a:gd name="connsiteY48" fmla="*/ 3337560 h 3680460"/>
                  <a:gd name="connsiteX49" fmla="*/ 2141220 w 3018472"/>
                  <a:gd name="connsiteY49" fmla="*/ 3390900 h 3680460"/>
                  <a:gd name="connsiteX50" fmla="*/ 2110740 w 3018472"/>
                  <a:gd name="connsiteY50" fmla="*/ 3413760 h 3680460"/>
                  <a:gd name="connsiteX51" fmla="*/ 2072640 w 3018472"/>
                  <a:gd name="connsiteY51" fmla="*/ 3451860 h 3680460"/>
                  <a:gd name="connsiteX52" fmla="*/ 2019300 w 3018472"/>
                  <a:gd name="connsiteY52" fmla="*/ 3467100 h 3680460"/>
                  <a:gd name="connsiteX53" fmla="*/ 1874520 w 3018472"/>
                  <a:gd name="connsiteY53" fmla="*/ 3512820 h 3680460"/>
                  <a:gd name="connsiteX54" fmla="*/ 1828800 w 3018472"/>
                  <a:gd name="connsiteY54" fmla="*/ 3520440 h 3680460"/>
                  <a:gd name="connsiteX55" fmla="*/ 1722120 w 3018472"/>
                  <a:gd name="connsiteY55" fmla="*/ 3550920 h 3680460"/>
                  <a:gd name="connsiteX56" fmla="*/ 1600200 w 3018472"/>
                  <a:gd name="connsiteY56" fmla="*/ 3589020 h 3680460"/>
                  <a:gd name="connsiteX57" fmla="*/ 1569720 w 3018472"/>
                  <a:gd name="connsiteY57" fmla="*/ 3596640 h 3680460"/>
                  <a:gd name="connsiteX58" fmla="*/ 1546860 w 3018472"/>
                  <a:gd name="connsiteY58" fmla="*/ 3611880 h 3680460"/>
                  <a:gd name="connsiteX59" fmla="*/ 1463040 w 3018472"/>
                  <a:gd name="connsiteY59" fmla="*/ 3627120 h 3680460"/>
                  <a:gd name="connsiteX60" fmla="*/ 1333500 w 3018472"/>
                  <a:gd name="connsiteY60" fmla="*/ 3657600 h 3680460"/>
                  <a:gd name="connsiteX61" fmla="*/ 1203960 w 3018472"/>
                  <a:gd name="connsiteY61" fmla="*/ 3672840 h 3680460"/>
                  <a:gd name="connsiteX62" fmla="*/ 1165860 w 3018472"/>
                  <a:gd name="connsiteY62" fmla="*/ 3680460 h 3680460"/>
                  <a:gd name="connsiteX63" fmla="*/ 449580 w 3018472"/>
                  <a:gd name="connsiteY63" fmla="*/ 3672840 h 3680460"/>
                  <a:gd name="connsiteX64" fmla="*/ 426720 w 3018472"/>
                  <a:gd name="connsiteY64" fmla="*/ 3665220 h 3680460"/>
                  <a:gd name="connsiteX65" fmla="*/ 388620 w 3018472"/>
                  <a:gd name="connsiteY65" fmla="*/ 3657600 h 3680460"/>
                  <a:gd name="connsiteX66" fmla="*/ 335280 w 3018472"/>
                  <a:gd name="connsiteY66" fmla="*/ 3627120 h 3680460"/>
                  <a:gd name="connsiteX67" fmla="*/ 266700 w 3018472"/>
                  <a:gd name="connsiteY67" fmla="*/ 3604260 h 3680460"/>
                  <a:gd name="connsiteX68" fmla="*/ 243840 w 3018472"/>
                  <a:gd name="connsiteY68" fmla="*/ 3589020 h 3680460"/>
                  <a:gd name="connsiteX69" fmla="*/ 160020 w 3018472"/>
                  <a:gd name="connsiteY69" fmla="*/ 3558540 h 3680460"/>
                  <a:gd name="connsiteX70" fmla="*/ 137160 w 3018472"/>
                  <a:gd name="connsiteY70" fmla="*/ 3535680 h 3680460"/>
                  <a:gd name="connsiteX71" fmla="*/ 99060 w 3018472"/>
                  <a:gd name="connsiteY71" fmla="*/ 3520440 h 3680460"/>
                  <a:gd name="connsiteX72" fmla="*/ 83820 w 3018472"/>
                  <a:gd name="connsiteY72" fmla="*/ 3489960 h 3680460"/>
                  <a:gd name="connsiteX73" fmla="*/ 45720 w 3018472"/>
                  <a:gd name="connsiteY73" fmla="*/ 3436620 h 3680460"/>
                  <a:gd name="connsiteX74" fmla="*/ 0 w 3018472"/>
                  <a:gd name="connsiteY74" fmla="*/ 3352800 h 3680460"/>
                  <a:gd name="connsiteX75" fmla="*/ 30480 w 3018472"/>
                  <a:gd name="connsiteY75" fmla="*/ 3345180 h 3680460"/>
                  <a:gd name="connsiteX76" fmla="*/ 137160 w 3018472"/>
                  <a:gd name="connsiteY76" fmla="*/ 3360420 h 3680460"/>
                  <a:gd name="connsiteX77" fmla="*/ 167640 w 3018472"/>
                  <a:gd name="connsiteY77" fmla="*/ 3390900 h 3680460"/>
                  <a:gd name="connsiteX78" fmla="*/ 198120 w 3018472"/>
                  <a:gd name="connsiteY78" fmla="*/ 3406140 h 3680460"/>
                  <a:gd name="connsiteX79" fmla="*/ 350520 w 3018472"/>
                  <a:gd name="connsiteY79" fmla="*/ 3436620 h 3680460"/>
                  <a:gd name="connsiteX80" fmla="*/ 381000 w 3018472"/>
                  <a:gd name="connsiteY80" fmla="*/ 3451860 h 3680460"/>
                  <a:gd name="connsiteX81" fmla="*/ 449580 w 3018472"/>
                  <a:gd name="connsiteY81" fmla="*/ 3489960 h 3680460"/>
                  <a:gd name="connsiteX82" fmla="*/ 495300 w 3018472"/>
                  <a:gd name="connsiteY82" fmla="*/ 3520440 h 3680460"/>
                  <a:gd name="connsiteX83" fmla="*/ 525780 w 3018472"/>
                  <a:gd name="connsiteY83" fmla="*/ 3535680 h 3680460"/>
                  <a:gd name="connsiteX84" fmla="*/ 731520 w 3018472"/>
                  <a:gd name="connsiteY84" fmla="*/ 3558540 h 3680460"/>
                  <a:gd name="connsiteX85" fmla="*/ 1341120 w 3018472"/>
                  <a:gd name="connsiteY85" fmla="*/ 3550920 h 3680460"/>
                  <a:gd name="connsiteX86" fmla="*/ 1440180 w 3018472"/>
                  <a:gd name="connsiteY86" fmla="*/ 3528060 h 3680460"/>
                  <a:gd name="connsiteX87" fmla="*/ 1539240 w 3018472"/>
                  <a:gd name="connsiteY87" fmla="*/ 3520440 h 3680460"/>
                  <a:gd name="connsiteX88" fmla="*/ 1562100 w 3018472"/>
                  <a:gd name="connsiteY88" fmla="*/ 3512820 h 3680460"/>
                  <a:gd name="connsiteX89" fmla="*/ 1630680 w 3018472"/>
                  <a:gd name="connsiteY89" fmla="*/ 3497580 h 3680460"/>
                  <a:gd name="connsiteX90" fmla="*/ 1699260 w 3018472"/>
                  <a:gd name="connsiteY90" fmla="*/ 3474720 h 3680460"/>
                  <a:gd name="connsiteX91" fmla="*/ 1790700 w 3018472"/>
                  <a:gd name="connsiteY91" fmla="*/ 3451860 h 3680460"/>
                  <a:gd name="connsiteX92" fmla="*/ 1821180 w 3018472"/>
                  <a:gd name="connsiteY92" fmla="*/ 3444240 h 3680460"/>
                  <a:gd name="connsiteX93" fmla="*/ 1844040 w 3018472"/>
                  <a:gd name="connsiteY93" fmla="*/ 3429000 h 3680460"/>
                  <a:gd name="connsiteX94" fmla="*/ 1874520 w 3018472"/>
                  <a:gd name="connsiteY94" fmla="*/ 3421380 h 3680460"/>
                  <a:gd name="connsiteX95" fmla="*/ 1927860 w 3018472"/>
                  <a:gd name="connsiteY95" fmla="*/ 3398520 h 3680460"/>
                  <a:gd name="connsiteX96" fmla="*/ 1950720 w 3018472"/>
                  <a:gd name="connsiteY96" fmla="*/ 3390900 h 3680460"/>
                  <a:gd name="connsiteX97" fmla="*/ 2004060 w 3018472"/>
                  <a:gd name="connsiteY97" fmla="*/ 3360420 h 3680460"/>
                  <a:gd name="connsiteX98" fmla="*/ 2042160 w 3018472"/>
                  <a:gd name="connsiteY98" fmla="*/ 3352800 h 3680460"/>
                  <a:gd name="connsiteX99" fmla="*/ 2080260 w 3018472"/>
                  <a:gd name="connsiteY99" fmla="*/ 3337560 h 3680460"/>
                  <a:gd name="connsiteX100" fmla="*/ 2156460 w 3018472"/>
                  <a:gd name="connsiteY100" fmla="*/ 3299460 h 3680460"/>
                  <a:gd name="connsiteX101" fmla="*/ 2179320 w 3018472"/>
                  <a:gd name="connsiteY101" fmla="*/ 3284220 h 3680460"/>
                  <a:gd name="connsiteX102" fmla="*/ 2209800 w 3018472"/>
                  <a:gd name="connsiteY102" fmla="*/ 3276600 h 3680460"/>
                  <a:gd name="connsiteX103" fmla="*/ 2263140 w 3018472"/>
                  <a:gd name="connsiteY103" fmla="*/ 3230880 h 3680460"/>
                  <a:gd name="connsiteX104" fmla="*/ 2346960 w 3018472"/>
                  <a:gd name="connsiteY104" fmla="*/ 3154680 h 3680460"/>
                  <a:gd name="connsiteX105" fmla="*/ 2400300 w 3018472"/>
                  <a:gd name="connsiteY105" fmla="*/ 3070860 h 3680460"/>
                  <a:gd name="connsiteX106" fmla="*/ 2415540 w 3018472"/>
                  <a:gd name="connsiteY106" fmla="*/ 3048000 h 3680460"/>
                  <a:gd name="connsiteX107" fmla="*/ 2446020 w 3018472"/>
                  <a:gd name="connsiteY107" fmla="*/ 3032760 h 3680460"/>
                  <a:gd name="connsiteX108" fmla="*/ 2468880 w 3018472"/>
                  <a:gd name="connsiteY108" fmla="*/ 3009900 h 3680460"/>
                  <a:gd name="connsiteX109" fmla="*/ 2537460 w 3018472"/>
                  <a:gd name="connsiteY109" fmla="*/ 2926080 h 3680460"/>
                  <a:gd name="connsiteX110" fmla="*/ 2575560 w 3018472"/>
                  <a:gd name="connsiteY110" fmla="*/ 2880360 h 3680460"/>
                  <a:gd name="connsiteX111" fmla="*/ 2628900 w 3018472"/>
                  <a:gd name="connsiteY111" fmla="*/ 2811780 h 3680460"/>
                  <a:gd name="connsiteX112" fmla="*/ 2644140 w 3018472"/>
                  <a:gd name="connsiteY112" fmla="*/ 2773680 h 3680460"/>
                  <a:gd name="connsiteX113" fmla="*/ 2674620 w 3018472"/>
                  <a:gd name="connsiteY113" fmla="*/ 2727960 h 3680460"/>
                  <a:gd name="connsiteX114" fmla="*/ 2689860 w 3018472"/>
                  <a:gd name="connsiteY114" fmla="*/ 2705100 h 3680460"/>
                  <a:gd name="connsiteX115" fmla="*/ 2705100 w 3018472"/>
                  <a:gd name="connsiteY115" fmla="*/ 2667000 h 3680460"/>
                  <a:gd name="connsiteX116" fmla="*/ 2727960 w 3018472"/>
                  <a:gd name="connsiteY116" fmla="*/ 2621280 h 3680460"/>
                  <a:gd name="connsiteX117" fmla="*/ 2735580 w 3018472"/>
                  <a:gd name="connsiteY117" fmla="*/ 2590800 h 3680460"/>
                  <a:gd name="connsiteX118" fmla="*/ 2758440 w 3018472"/>
                  <a:gd name="connsiteY118" fmla="*/ 2545080 h 3680460"/>
                  <a:gd name="connsiteX119" fmla="*/ 2788920 w 3018472"/>
                  <a:gd name="connsiteY119" fmla="*/ 2484120 h 3680460"/>
                  <a:gd name="connsiteX120" fmla="*/ 2811780 w 3018472"/>
                  <a:gd name="connsiteY120" fmla="*/ 2407920 h 3680460"/>
                  <a:gd name="connsiteX121" fmla="*/ 2842260 w 3018472"/>
                  <a:gd name="connsiteY121" fmla="*/ 2324100 h 3680460"/>
                  <a:gd name="connsiteX122" fmla="*/ 2857500 w 3018472"/>
                  <a:gd name="connsiteY122" fmla="*/ 2247900 h 3680460"/>
                  <a:gd name="connsiteX123" fmla="*/ 2872740 w 3018472"/>
                  <a:gd name="connsiteY123" fmla="*/ 2194560 h 3680460"/>
                  <a:gd name="connsiteX124" fmla="*/ 2887980 w 3018472"/>
                  <a:gd name="connsiteY124" fmla="*/ 2148840 h 3680460"/>
                  <a:gd name="connsiteX125" fmla="*/ 2910840 w 3018472"/>
                  <a:gd name="connsiteY125" fmla="*/ 2087880 h 3680460"/>
                  <a:gd name="connsiteX126" fmla="*/ 2918460 w 3018472"/>
                  <a:gd name="connsiteY126" fmla="*/ 2049780 h 3680460"/>
                  <a:gd name="connsiteX127" fmla="*/ 2933700 w 3018472"/>
                  <a:gd name="connsiteY127" fmla="*/ 1844040 h 3680460"/>
                  <a:gd name="connsiteX128" fmla="*/ 2918460 w 3018472"/>
                  <a:gd name="connsiteY128" fmla="*/ 1470660 h 3680460"/>
                  <a:gd name="connsiteX129" fmla="*/ 2895600 w 3018472"/>
                  <a:gd name="connsiteY129" fmla="*/ 1371600 h 3680460"/>
                  <a:gd name="connsiteX130" fmla="*/ 2880360 w 3018472"/>
                  <a:gd name="connsiteY130" fmla="*/ 1341120 h 3680460"/>
                  <a:gd name="connsiteX131" fmla="*/ 2857500 w 3018472"/>
                  <a:gd name="connsiteY131" fmla="*/ 1272540 h 3680460"/>
                  <a:gd name="connsiteX132" fmla="*/ 2849880 w 3018472"/>
                  <a:gd name="connsiteY132" fmla="*/ 1234440 h 3680460"/>
                  <a:gd name="connsiteX133" fmla="*/ 2827020 w 3018472"/>
                  <a:gd name="connsiteY133" fmla="*/ 1196340 h 3680460"/>
                  <a:gd name="connsiteX134" fmla="*/ 2811780 w 3018472"/>
                  <a:gd name="connsiteY134" fmla="*/ 1165860 h 3680460"/>
                  <a:gd name="connsiteX135" fmla="*/ 2781300 w 3018472"/>
                  <a:gd name="connsiteY135" fmla="*/ 1127760 h 3680460"/>
                  <a:gd name="connsiteX136" fmla="*/ 2766060 w 3018472"/>
                  <a:gd name="connsiteY136" fmla="*/ 1089660 h 3680460"/>
                  <a:gd name="connsiteX137" fmla="*/ 2735580 w 3018472"/>
                  <a:gd name="connsiteY137" fmla="*/ 1043940 h 3680460"/>
                  <a:gd name="connsiteX138" fmla="*/ 2727960 w 3018472"/>
                  <a:gd name="connsiteY138" fmla="*/ 1021080 h 3680460"/>
                  <a:gd name="connsiteX139" fmla="*/ 2682240 w 3018472"/>
                  <a:gd name="connsiteY139" fmla="*/ 937260 h 3680460"/>
                  <a:gd name="connsiteX140" fmla="*/ 2659380 w 3018472"/>
                  <a:gd name="connsiteY140" fmla="*/ 876300 h 3680460"/>
                  <a:gd name="connsiteX141" fmla="*/ 2644140 w 3018472"/>
                  <a:gd name="connsiteY141" fmla="*/ 845820 h 3680460"/>
                  <a:gd name="connsiteX142" fmla="*/ 2636520 w 3018472"/>
                  <a:gd name="connsiteY142" fmla="*/ 822960 h 3680460"/>
                  <a:gd name="connsiteX143" fmla="*/ 2621280 w 3018472"/>
                  <a:gd name="connsiteY143" fmla="*/ 800100 h 3680460"/>
                  <a:gd name="connsiteX144" fmla="*/ 2598420 w 3018472"/>
                  <a:gd name="connsiteY144" fmla="*/ 739140 h 3680460"/>
                  <a:gd name="connsiteX145" fmla="*/ 2458403 w 3018472"/>
                  <a:gd name="connsiteY145" fmla="*/ 621983 h 3680460"/>
                  <a:gd name="connsiteX146" fmla="*/ 2301240 w 3018472"/>
                  <a:gd name="connsiteY146" fmla="*/ 458152 h 3680460"/>
                  <a:gd name="connsiteX147" fmla="*/ 2237423 w 3018472"/>
                  <a:gd name="connsiteY147" fmla="*/ 406717 h 3680460"/>
                  <a:gd name="connsiteX148" fmla="*/ 2103120 w 3018472"/>
                  <a:gd name="connsiteY148" fmla="*/ 312420 h 3680460"/>
                  <a:gd name="connsiteX149" fmla="*/ 2042160 w 3018472"/>
                  <a:gd name="connsiteY149" fmla="*/ 266700 h 3680460"/>
                  <a:gd name="connsiteX150" fmla="*/ 2004060 w 3018472"/>
                  <a:gd name="connsiteY150" fmla="*/ 251460 h 3680460"/>
                  <a:gd name="connsiteX151" fmla="*/ 1958340 w 3018472"/>
                  <a:gd name="connsiteY151" fmla="*/ 220980 h 3680460"/>
                  <a:gd name="connsiteX152" fmla="*/ 1897380 w 3018472"/>
                  <a:gd name="connsiteY152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98420 w 3018472"/>
                  <a:gd name="connsiteY41" fmla="*/ 3055620 h 3680460"/>
                  <a:gd name="connsiteX42" fmla="*/ 2575560 w 3018472"/>
                  <a:gd name="connsiteY42" fmla="*/ 3078480 h 3680460"/>
                  <a:gd name="connsiteX43" fmla="*/ 2476500 w 3018472"/>
                  <a:gd name="connsiteY43" fmla="*/ 3169920 h 3680460"/>
                  <a:gd name="connsiteX44" fmla="*/ 2377440 w 3018472"/>
                  <a:gd name="connsiteY44" fmla="*/ 3223260 h 3680460"/>
                  <a:gd name="connsiteX45" fmla="*/ 2293620 w 3018472"/>
                  <a:gd name="connsiteY45" fmla="*/ 3284220 h 3680460"/>
                  <a:gd name="connsiteX46" fmla="*/ 2240280 w 3018472"/>
                  <a:gd name="connsiteY46" fmla="*/ 3314700 h 3680460"/>
                  <a:gd name="connsiteX47" fmla="*/ 2225040 w 3018472"/>
                  <a:gd name="connsiteY47" fmla="*/ 3337560 h 3680460"/>
                  <a:gd name="connsiteX48" fmla="*/ 2141220 w 3018472"/>
                  <a:gd name="connsiteY48" fmla="*/ 3390900 h 3680460"/>
                  <a:gd name="connsiteX49" fmla="*/ 2110740 w 3018472"/>
                  <a:gd name="connsiteY49" fmla="*/ 3413760 h 3680460"/>
                  <a:gd name="connsiteX50" fmla="*/ 2072640 w 3018472"/>
                  <a:gd name="connsiteY50" fmla="*/ 3451860 h 3680460"/>
                  <a:gd name="connsiteX51" fmla="*/ 2019300 w 3018472"/>
                  <a:gd name="connsiteY51" fmla="*/ 3467100 h 3680460"/>
                  <a:gd name="connsiteX52" fmla="*/ 1874520 w 3018472"/>
                  <a:gd name="connsiteY52" fmla="*/ 3512820 h 3680460"/>
                  <a:gd name="connsiteX53" fmla="*/ 1828800 w 3018472"/>
                  <a:gd name="connsiteY53" fmla="*/ 3520440 h 3680460"/>
                  <a:gd name="connsiteX54" fmla="*/ 1722120 w 3018472"/>
                  <a:gd name="connsiteY54" fmla="*/ 3550920 h 3680460"/>
                  <a:gd name="connsiteX55" fmla="*/ 1600200 w 3018472"/>
                  <a:gd name="connsiteY55" fmla="*/ 3589020 h 3680460"/>
                  <a:gd name="connsiteX56" fmla="*/ 1569720 w 3018472"/>
                  <a:gd name="connsiteY56" fmla="*/ 3596640 h 3680460"/>
                  <a:gd name="connsiteX57" fmla="*/ 1546860 w 3018472"/>
                  <a:gd name="connsiteY57" fmla="*/ 3611880 h 3680460"/>
                  <a:gd name="connsiteX58" fmla="*/ 1463040 w 3018472"/>
                  <a:gd name="connsiteY58" fmla="*/ 3627120 h 3680460"/>
                  <a:gd name="connsiteX59" fmla="*/ 1333500 w 3018472"/>
                  <a:gd name="connsiteY59" fmla="*/ 3657600 h 3680460"/>
                  <a:gd name="connsiteX60" fmla="*/ 1203960 w 3018472"/>
                  <a:gd name="connsiteY60" fmla="*/ 3672840 h 3680460"/>
                  <a:gd name="connsiteX61" fmla="*/ 1165860 w 3018472"/>
                  <a:gd name="connsiteY61" fmla="*/ 3680460 h 3680460"/>
                  <a:gd name="connsiteX62" fmla="*/ 449580 w 3018472"/>
                  <a:gd name="connsiteY62" fmla="*/ 3672840 h 3680460"/>
                  <a:gd name="connsiteX63" fmla="*/ 426720 w 3018472"/>
                  <a:gd name="connsiteY63" fmla="*/ 3665220 h 3680460"/>
                  <a:gd name="connsiteX64" fmla="*/ 388620 w 3018472"/>
                  <a:gd name="connsiteY64" fmla="*/ 3657600 h 3680460"/>
                  <a:gd name="connsiteX65" fmla="*/ 335280 w 3018472"/>
                  <a:gd name="connsiteY65" fmla="*/ 3627120 h 3680460"/>
                  <a:gd name="connsiteX66" fmla="*/ 266700 w 3018472"/>
                  <a:gd name="connsiteY66" fmla="*/ 3604260 h 3680460"/>
                  <a:gd name="connsiteX67" fmla="*/ 243840 w 3018472"/>
                  <a:gd name="connsiteY67" fmla="*/ 3589020 h 3680460"/>
                  <a:gd name="connsiteX68" fmla="*/ 160020 w 3018472"/>
                  <a:gd name="connsiteY68" fmla="*/ 3558540 h 3680460"/>
                  <a:gd name="connsiteX69" fmla="*/ 137160 w 3018472"/>
                  <a:gd name="connsiteY69" fmla="*/ 3535680 h 3680460"/>
                  <a:gd name="connsiteX70" fmla="*/ 99060 w 3018472"/>
                  <a:gd name="connsiteY70" fmla="*/ 3520440 h 3680460"/>
                  <a:gd name="connsiteX71" fmla="*/ 83820 w 3018472"/>
                  <a:gd name="connsiteY71" fmla="*/ 3489960 h 3680460"/>
                  <a:gd name="connsiteX72" fmla="*/ 45720 w 3018472"/>
                  <a:gd name="connsiteY72" fmla="*/ 3436620 h 3680460"/>
                  <a:gd name="connsiteX73" fmla="*/ 0 w 3018472"/>
                  <a:gd name="connsiteY73" fmla="*/ 3352800 h 3680460"/>
                  <a:gd name="connsiteX74" fmla="*/ 30480 w 3018472"/>
                  <a:gd name="connsiteY74" fmla="*/ 3345180 h 3680460"/>
                  <a:gd name="connsiteX75" fmla="*/ 137160 w 3018472"/>
                  <a:gd name="connsiteY75" fmla="*/ 3360420 h 3680460"/>
                  <a:gd name="connsiteX76" fmla="*/ 167640 w 3018472"/>
                  <a:gd name="connsiteY76" fmla="*/ 3390900 h 3680460"/>
                  <a:gd name="connsiteX77" fmla="*/ 198120 w 3018472"/>
                  <a:gd name="connsiteY77" fmla="*/ 3406140 h 3680460"/>
                  <a:gd name="connsiteX78" fmla="*/ 350520 w 3018472"/>
                  <a:gd name="connsiteY78" fmla="*/ 3436620 h 3680460"/>
                  <a:gd name="connsiteX79" fmla="*/ 381000 w 3018472"/>
                  <a:gd name="connsiteY79" fmla="*/ 3451860 h 3680460"/>
                  <a:gd name="connsiteX80" fmla="*/ 449580 w 3018472"/>
                  <a:gd name="connsiteY80" fmla="*/ 3489960 h 3680460"/>
                  <a:gd name="connsiteX81" fmla="*/ 495300 w 3018472"/>
                  <a:gd name="connsiteY81" fmla="*/ 3520440 h 3680460"/>
                  <a:gd name="connsiteX82" fmla="*/ 525780 w 3018472"/>
                  <a:gd name="connsiteY82" fmla="*/ 3535680 h 3680460"/>
                  <a:gd name="connsiteX83" fmla="*/ 731520 w 3018472"/>
                  <a:gd name="connsiteY83" fmla="*/ 3558540 h 3680460"/>
                  <a:gd name="connsiteX84" fmla="*/ 1341120 w 3018472"/>
                  <a:gd name="connsiteY84" fmla="*/ 3550920 h 3680460"/>
                  <a:gd name="connsiteX85" fmla="*/ 1440180 w 3018472"/>
                  <a:gd name="connsiteY85" fmla="*/ 3528060 h 3680460"/>
                  <a:gd name="connsiteX86" fmla="*/ 1539240 w 3018472"/>
                  <a:gd name="connsiteY86" fmla="*/ 3520440 h 3680460"/>
                  <a:gd name="connsiteX87" fmla="*/ 1562100 w 3018472"/>
                  <a:gd name="connsiteY87" fmla="*/ 3512820 h 3680460"/>
                  <a:gd name="connsiteX88" fmla="*/ 1630680 w 3018472"/>
                  <a:gd name="connsiteY88" fmla="*/ 3497580 h 3680460"/>
                  <a:gd name="connsiteX89" fmla="*/ 1699260 w 3018472"/>
                  <a:gd name="connsiteY89" fmla="*/ 3474720 h 3680460"/>
                  <a:gd name="connsiteX90" fmla="*/ 1790700 w 3018472"/>
                  <a:gd name="connsiteY90" fmla="*/ 3451860 h 3680460"/>
                  <a:gd name="connsiteX91" fmla="*/ 1821180 w 3018472"/>
                  <a:gd name="connsiteY91" fmla="*/ 3444240 h 3680460"/>
                  <a:gd name="connsiteX92" fmla="*/ 1844040 w 3018472"/>
                  <a:gd name="connsiteY92" fmla="*/ 3429000 h 3680460"/>
                  <a:gd name="connsiteX93" fmla="*/ 1874520 w 3018472"/>
                  <a:gd name="connsiteY93" fmla="*/ 3421380 h 3680460"/>
                  <a:gd name="connsiteX94" fmla="*/ 1927860 w 3018472"/>
                  <a:gd name="connsiteY94" fmla="*/ 3398520 h 3680460"/>
                  <a:gd name="connsiteX95" fmla="*/ 1950720 w 3018472"/>
                  <a:gd name="connsiteY95" fmla="*/ 3390900 h 3680460"/>
                  <a:gd name="connsiteX96" fmla="*/ 2004060 w 3018472"/>
                  <a:gd name="connsiteY96" fmla="*/ 3360420 h 3680460"/>
                  <a:gd name="connsiteX97" fmla="*/ 2042160 w 3018472"/>
                  <a:gd name="connsiteY97" fmla="*/ 3352800 h 3680460"/>
                  <a:gd name="connsiteX98" fmla="*/ 2080260 w 3018472"/>
                  <a:gd name="connsiteY98" fmla="*/ 3337560 h 3680460"/>
                  <a:gd name="connsiteX99" fmla="*/ 2156460 w 3018472"/>
                  <a:gd name="connsiteY99" fmla="*/ 3299460 h 3680460"/>
                  <a:gd name="connsiteX100" fmla="*/ 2179320 w 3018472"/>
                  <a:gd name="connsiteY100" fmla="*/ 3284220 h 3680460"/>
                  <a:gd name="connsiteX101" fmla="*/ 2209800 w 3018472"/>
                  <a:gd name="connsiteY101" fmla="*/ 3276600 h 3680460"/>
                  <a:gd name="connsiteX102" fmla="*/ 2263140 w 3018472"/>
                  <a:gd name="connsiteY102" fmla="*/ 3230880 h 3680460"/>
                  <a:gd name="connsiteX103" fmla="*/ 2346960 w 3018472"/>
                  <a:gd name="connsiteY103" fmla="*/ 3154680 h 3680460"/>
                  <a:gd name="connsiteX104" fmla="*/ 2400300 w 3018472"/>
                  <a:gd name="connsiteY104" fmla="*/ 3070860 h 3680460"/>
                  <a:gd name="connsiteX105" fmla="*/ 2415540 w 3018472"/>
                  <a:gd name="connsiteY105" fmla="*/ 3048000 h 3680460"/>
                  <a:gd name="connsiteX106" fmla="*/ 2446020 w 3018472"/>
                  <a:gd name="connsiteY106" fmla="*/ 3032760 h 3680460"/>
                  <a:gd name="connsiteX107" fmla="*/ 2468880 w 3018472"/>
                  <a:gd name="connsiteY107" fmla="*/ 3009900 h 3680460"/>
                  <a:gd name="connsiteX108" fmla="*/ 2537460 w 3018472"/>
                  <a:gd name="connsiteY108" fmla="*/ 2926080 h 3680460"/>
                  <a:gd name="connsiteX109" fmla="*/ 2575560 w 3018472"/>
                  <a:gd name="connsiteY109" fmla="*/ 2880360 h 3680460"/>
                  <a:gd name="connsiteX110" fmla="*/ 2628900 w 3018472"/>
                  <a:gd name="connsiteY110" fmla="*/ 2811780 h 3680460"/>
                  <a:gd name="connsiteX111" fmla="*/ 2644140 w 3018472"/>
                  <a:gd name="connsiteY111" fmla="*/ 2773680 h 3680460"/>
                  <a:gd name="connsiteX112" fmla="*/ 2674620 w 3018472"/>
                  <a:gd name="connsiteY112" fmla="*/ 2727960 h 3680460"/>
                  <a:gd name="connsiteX113" fmla="*/ 2689860 w 3018472"/>
                  <a:gd name="connsiteY113" fmla="*/ 2705100 h 3680460"/>
                  <a:gd name="connsiteX114" fmla="*/ 2705100 w 3018472"/>
                  <a:gd name="connsiteY114" fmla="*/ 2667000 h 3680460"/>
                  <a:gd name="connsiteX115" fmla="*/ 2727960 w 3018472"/>
                  <a:gd name="connsiteY115" fmla="*/ 2621280 h 3680460"/>
                  <a:gd name="connsiteX116" fmla="*/ 2735580 w 3018472"/>
                  <a:gd name="connsiteY116" fmla="*/ 2590800 h 3680460"/>
                  <a:gd name="connsiteX117" fmla="*/ 2758440 w 3018472"/>
                  <a:gd name="connsiteY117" fmla="*/ 2545080 h 3680460"/>
                  <a:gd name="connsiteX118" fmla="*/ 2788920 w 3018472"/>
                  <a:gd name="connsiteY118" fmla="*/ 2484120 h 3680460"/>
                  <a:gd name="connsiteX119" fmla="*/ 2811780 w 3018472"/>
                  <a:gd name="connsiteY119" fmla="*/ 2407920 h 3680460"/>
                  <a:gd name="connsiteX120" fmla="*/ 2842260 w 3018472"/>
                  <a:gd name="connsiteY120" fmla="*/ 2324100 h 3680460"/>
                  <a:gd name="connsiteX121" fmla="*/ 2857500 w 3018472"/>
                  <a:gd name="connsiteY121" fmla="*/ 2247900 h 3680460"/>
                  <a:gd name="connsiteX122" fmla="*/ 2872740 w 3018472"/>
                  <a:gd name="connsiteY122" fmla="*/ 2194560 h 3680460"/>
                  <a:gd name="connsiteX123" fmla="*/ 2887980 w 3018472"/>
                  <a:gd name="connsiteY123" fmla="*/ 2148840 h 3680460"/>
                  <a:gd name="connsiteX124" fmla="*/ 2910840 w 3018472"/>
                  <a:gd name="connsiteY124" fmla="*/ 2087880 h 3680460"/>
                  <a:gd name="connsiteX125" fmla="*/ 2918460 w 3018472"/>
                  <a:gd name="connsiteY125" fmla="*/ 2049780 h 3680460"/>
                  <a:gd name="connsiteX126" fmla="*/ 2933700 w 3018472"/>
                  <a:gd name="connsiteY126" fmla="*/ 1844040 h 3680460"/>
                  <a:gd name="connsiteX127" fmla="*/ 2918460 w 3018472"/>
                  <a:gd name="connsiteY127" fmla="*/ 1470660 h 3680460"/>
                  <a:gd name="connsiteX128" fmla="*/ 2895600 w 3018472"/>
                  <a:gd name="connsiteY128" fmla="*/ 1371600 h 3680460"/>
                  <a:gd name="connsiteX129" fmla="*/ 2880360 w 3018472"/>
                  <a:gd name="connsiteY129" fmla="*/ 1341120 h 3680460"/>
                  <a:gd name="connsiteX130" fmla="*/ 2857500 w 3018472"/>
                  <a:gd name="connsiteY130" fmla="*/ 1272540 h 3680460"/>
                  <a:gd name="connsiteX131" fmla="*/ 2849880 w 3018472"/>
                  <a:gd name="connsiteY131" fmla="*/ 1234440 h 3680460"/>
                  <a:gd name="connsiteX132" fmla="*/ 2827020 w 3018472"/>
                  <a:gd name="connsiteY132" fmla="*/ 1196340 h 3680460"/>
                  <a:gd name="connsiteX133" fmla="*/ 2811780 w 3018472"/>
                  <a:gd name="connsiteY133" fmla="*/ 1165860 h 3680460"/>
                  <a:gd name="connsiteX134" fmla="*/ 2781300 w 3018472"/>
                  <a:gd name="connsiteY134" fmla="*/ 1127760 h 3680460"/>
                  <a:gd name="connsiteX135" fmla="*/ 2766060 w 3018472"/>
                  <a:gd name="connsiteY135" fmla="*/ 1089660 h 3680460"/>
                  <a:gd name="connsiteX136" fmla="*/ 2735580 w 3018472"/>
                  <a:gd name="connsiteY136" fmla="*/ 1043940 h 3680460"/>
                  <a:gd name="connsiteX137" fmla="*/ 2727960 w 3018472"/>
                  <a:gd name="connsiteY137" fmla="*/ 1021080 h 3680460"/>
                  <a:gd name="connsiteX138" fmla="*/ 2682240 w 3018472"/>
                  <a:gd name="connsiteY138" fmla="*/ 937260 h 3680460"/>
                  <a:gd name="connsiteX139" fmla="*/ 2659380 w 3018472"/>
                  <a:gd name="connsiteY139" fmla="*/ 876300 h 3680460"/>
                  <a:gd name="connsiteX140" fmla="*/ 2644140 w 3018472"/>
                  <a:gd name="connsiteY140" fmla="*/ 845820 h 3680460"/>
                  <a:gd name="connsiteX141" fmla="*/ 2636520 w 3018472"/>
                  <a:gd name="connsiteY141" fmla="*/ 822960 h 3680460"/>
                  <a:gd name="connsiteX142" fmla="*/ 2621280 w 3018472"/>
                  <a:gd name="connsiteY142" fmla="*/ 800100 h 3680460"/>
                  <a:gd name="connsiteX143" fmla="*/ 2598420 w 3018472"/>
                  <a:gd name="connsiteY143" fmla="*/ 739140 h 3680460"/>
                  <a:gd name="connsiteX144" fmla="*/ 2458403 w 3018472"/>
                  <a:gd name="connsiteY144" fmla="*/ 621983 h 3680460"/>
                  <a:gd name="connsiteX145" fmla="*/ 2301240 w 3018472"/>
                  <a:gd name="connsiteY145" fmla="*/ 458152 h 3680460"/>
                  <a:gd name="connsiteX146" fmla="*/ 2237423 w 3018472"/>
                  <a:gd name="connsiteY146" fmla="*/ 406717 h 3680460"/>
                  <a:gd name="connsiteX147" fmla="*/ 2103120 w 3018472"/>
                  <a:gd name="connsiteY147" fmla="*/ 312420 h 3680460"/>
                  <a:gd name="connsiteX148" fmla="*/ 2042160 w 3018472"/>
                  <a:gd name="connsiteY148" fmla="*/ 266700 h 3680460"/>
                  <a:gd name="connsiteX149" fmla="*/ 2004060 w 3018472"/>
                  <a:gd name="connsiteY149" fmla="*/ 251460 h 3680460"/>
                  <a:gd name="connsiteX150" fmla="*/ 1958340 w 3018472"/>
                  <a:gd name="connsiteY150" fmla="*/ 220980 h 3680460"/>
                  <a:gd name="connsiteX151" fmla="*/ 1897380 w 3018472"/>
                  <a:gd name="connsiteY151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75560 w 3018472"/>
                  <a:gd name="connsiteY41" fmla="*/ 3078480 h 3680460"/>
                  <a:gd name="connsiteX42" fmla="*/ 2476500 w 3018472"/>
                  <a:gd name="connsiteY42" fmla="*/ 3169920 h 3680460"/>
                  <a:gd name="connsiteX43" fmla="*/ 2377440 w 3018472"/>
                  <a:gd name="connsiteY43" fmla="*/ 3223260 h 3680460"/>
                  <a:gd name="connsiteX44" fmla="*/ 2293620 w 3018472"/>
                  <a:gd name="connsiteY44" fmla="*/ 3284220 h 3680460"/>
                  <a:gd name="connsiteX45" fmla="*/ 2240280 w 3018472"/>
                  <a:gd name="connsiteY45" fmla="*/ 3314700 h 3680460"/>
                  <a:gd name="connsiteX46" fmla="*/ 2225040 w 3018472"/>
                  <a:gd name="connsiteY46" fmla="*/ 3337560 h 3680460"/>
                  <a:gd name="connsiteX47" fmla="*/ 2141220 w 3018472"/>
                  <a:gd name="connsiteY47" fmla="*/ 3390900 h 3680460"/>
                  <a:gd name="connsiteX48" fmla="*/ 2110740 w 3018472"/>
                  <a:gd name="connsiteY48" fmla="*/ 3413760 h 3680460"/>
                  <a:gd name="connsiteX49" fmla="*/ 2072640 w 3018472"/>
                  <a:gd name="connsiteY49" fmla="*/ 3451860 h 3680460"/>
                  <a:gd name="connsiteX50" fmla="*/ 2019300 w 3018472"/>
                  <a:gd name="connsiteY50" fmla="*/ 3467100 h 3680460"/>
                  <a:gd name="connsiteX51" fmla="*/ 1874520 w 3018472"/>
                  <a:gd name="connsiteY51" fmla="*/ 3512820 h 3680460"/>
                  <a:gd name="connsiteX52" fmla="*/ 1828800 w 3018472"/>
                  <a:gd name="connsiteY52" fmla="*/ 3520440 h 3680460"/>
                  <a:gd name="connsiteX53" fmla="*/ 1722120 w 3018472"/>
                  <a:gd name="connsiteY53" fmla="*/ 3550920 h 3680460"/>
                  <a:gd name="connsiteX54" fmla="*/ 1600200 w 3018472"/>
                  <a:gd name="connsiteY54" fmla="*/ 3589020 h 3680460"/>
                  <a:gd name="connsiteX55" fmla="*/ 1569720 w 3018472"/>
                  <a:gd name="connsiteY55" fmla="*/ 3596640 h 3680460"/>
                  <a:gd name="connsiteX56" fmla="*/ 1546860 w 3018472"/>
                  <a:gd name="connsiteY56" fmla="*/ 3611880 h 3680460"/>
                  <a:gd name="connsiteX57" fmla="*/ 1463040 w 3018472"/>
                  <a:gd name="connsiteY57" fmla="*/ 3627120 h 3680460"/>
                  <a:gd name="connsiteX58" fmla="*/ 1333500 w 3018472"/>
                  <a:gd name="connsiteY58" fmla="*/ 3657600 h 3680460"/>
                  <a:gd name="connsiteX59" fmla="*/ 1203960 w 3018472"/>
                  <a:gd name="connsiteY59" fmla="*/ 3672840 h 3680460"/>
                  <a:gd name="connsiteX60" fmla="*/ 1165860 w 3018472"/>
                  <a:gd name="connsiteY60" fmla="*/ 3680460 h 3680460"/>
                  <a:gd name="connsiteX61" fmla="*/ 449580 w 3018472"/>
                  <a:gd name="connsiteY61" fmla="*/ 3672840 h 3680460"/>
                  <a:gd name="connsiteX62" fmla="*/ 426720 w 3018472"/>
                  <a:gd name="connsiteY62" fmla="*/ 3665220 h 3680460"/>
                  <a:gd name="connsiteX63" fmla="*/ 388620 w 3018472"/>
                  <a:gd name="connsiteY63" fmla="*/ 3657600 h 3680460"/>
                  <a:gd name="connsiteX64" fmla="*/ 335280 w 3018472"/>
                  <a:gd name="connsiteY64" fmla="*/ 3627120 h 3680460"/>
                  <a:gd name="connsiteX65" fmla="*/ 266700 w 3018472"/>
                  <a:gd name="connsiteY65" fmla="*/ 3604260 h 3680460"/>
                  <a:gd name="connsiteX66" fmla="*/ 243840 w 3018472"/>
                  <a:gd name="connsiteY66" fmla="*/ 3589020 h 3680460"/>
                  <a:gd name="connsiteX67" fmla="*/ 160020 w 3018472"/>
                  <a:gd name="connsiteY67" fmla="*/ 3558540 h 3680460"/>
                  <a:gd name="connsiteX68" fmla="*/ 137160 w 3018472"/>
                  <a:gd name="connsiteY68" fmla="*/ 3535680 h 3680460"/>
                  <a:gd name="connsiteX69" fmla="*/ 99060 w 3018472"/>
                  <a:gd name="connsiteY69" fmla="*/ 3520440 h 3680460"/>
                  <a:gd name="connsiteX70" fmla="*/ 83820 w 3018472"/>
                  <a:gd name="connsiteY70" fmla="*/ 3489960 h 3680460"/>
                  <a:gd name="connsiteX71" fmla="*/ 45720 w 3018472"/>
                  <a:gd name="connsiteY71" fmla="*/ 3436620 h 3680460"/>
                  <a:gd name="connsiteX72" fmla="*/ 0 w 3018472"/>
                  <a:gd name="connsiteY72" fmla="*/ 3352800 h 3680460"/>
                  <a:gd name="connsiteX73" fmla="*/ 30480 w 3018472"/>
                  <a:gd name="connsiteY73" fmla="*/ 3345180 h 3680460"/>
                  <a:gd name="connsiteX74" fmla="*/ 137160 w 3018472"/>
                  <a:gd name="connsiteY74" fmla="*/ 3360420 h 3680460"/>
                  <a:gd name="connsiteX75" fmla="*/ 167640 w 3018472"/>
                  <a:gd name="connsiteY75" fmla="*/ 3390900 h 3680460"/>
                  <a:gd name="connsiteX76" fmla="*/ 198120 w 3018472"/>
                  <a:gd name="connsiteY76" fmla="*/ 3406140 h 3680460"/>
                  <a:gd name="connsiteX77" fmla="*/ 350520 w 3018472"/>
                  <a:gd name="connsiteY77" fmla="*/ 3436620 h 3680460"/>
                  <a:gd name="connsiteX78" fmla="*/ 381000 w 3018472"/>
                  <a:gd name="connsiteY78" fmla="*/ 3451860 h 3680460"/>
                  <a:gd name="connsiteX79" fmla="*/ 449580 w 3018472"/>
                  <a:gd name="connsiteY79" fmla="*/ 3489960 h 3680460"/>
                  <a:gd name="connsiteX80" fmla="*/ 495300 w 3018472"/>
                  <a:gd name="connsiteY80" fmla="*/ 3520440 h 3680460"/>
                  <a:gd name="connsiteX81" fmla="*/ 525780 w 3018472"/>
                  <a:gd name="connsiteY81" fmla="*/ 3535680 h 3680460"/>
                  <a:gd name="connsiteX82" fmla="*/ 731520 w 3018472"/>
                  <a:gd name="connsiteY82" fmla="*/ 3558540 h 3680460"/>
                  <a:gd name="connsiteX83" fmla="*/ 1341120 w 3018472"/>
                  <a:gd name="connsiteY83" fmla="*/ 3550920 h 3680460"/>
                  <a:gd name="connsiteX84" fmla="*/ 1440180 w 3018472"/>
                  <a:gd name="connsiteY84" fmla="*/ 3528060 h 3680460"/>
                  <a:gd name="connsiteX85" fmla="*/ 1539240 w 3018472"/>
                  <a:gd name="connsiteY85" fmla="*/ 3520440 h 3680460"/>
                  <a:gd name="connsiteX86" fmla="*/ 1562100 w 3018472"/>
                  <a:gd name="connsiteY86" fmla="*/ 3512820 h 3680460"/>
                  <a:gd name="connsiteX87" fmla="*/ 1630680 w 3018472"/>
                  <a:gd name="connsiteY87" fmla="*/ 3497580 h 3680460"/>
                  <a:gd name="connsiteX88" fmla="*/ 1699260 w 3018472"/>
                  <a:gd name="connsiteY88" fmla="*/ 3474720 h 3680460"/>
                  <a:gd name="connsiteX89" fmla="*/ 1790700 w 3018472"/>
                  <a:gd name="connsiteY89" fmla="*/ 3451860 h 3680460"/>
                  <a:gd name="connsiteX90" fmla="*/ 1821180 w 3018472"/>
                  <a:gd name="connsiteY90" fmla="*/ 3444240 h 3680460"/>
                  <a:gd name="connsiteX91" fmla="*/ 1844040 w 3018472"/>
                  <a:gd name="connsiteY91" fmla="*/ 3429000 h 3680460"/>
                  <a:gd name="connsiteX92" fmla="*/ 1874520 w 3018472"/>
                  <a:gd name="connsiteY92" fmla="*/ 3421380 h 3680460"/>
                  <a:gd name="connsiteX93" fmla="*/ 1927860 w 3018472"/>
                  <a:gd name="connsiteY93" fmla="*/ 3398520 h 3680460"/>
                  <a:gd name="connsiteX94" fmla="*/ 1950720 w 3018472"/>
                  <a:gd name="connsiteY94" fmla="*/ 3390900 h 3680460"/>
                  <a:gd name="connsiteX95" fmla="*/ 2004060 w 3018472"/>
                  <a:gd name="connsiteY95" fmla="*/ 3360420 h 3680460"/>
                  <a:gd name="connsiteX96" fmla="*/ 2042160 w 3018472"/>
                  <a:gd name="connsiteY96" fmla="*/ 3352800 h 3680460"/>
                  <a:gd name="connsiteX97" fmla="*/ 2080260 w 3018472"/>
                  <a:gd name="connsiteY97" fmla="*/ 3337560 h 3680460"/>
                  <a:gd name="connsiteX98" fmla="*/ 2156460 w 3018472"/>
                  <a:gd name="connsiteY98" fmla="*/ 3299460 h 3680460"/>
                  <a:gd name="connsiteX99" fmla="*/ 2179320 w 3018472"/>
                  <a:gd name="connsiteY99" fmla="*/ 3284220 h 3680460"/>
                  <a:gd name="connsiteX100" fmla="*/ 2209800 w 3018472"/>
                  <a:gd name="connsiteY100" fmla="*/ 3276600 h 3680460"/>
                  <a:gd name="connsiteX101" fmla="*/ 2263140 w 3018472"/>
                  <a:gd name="connsiteY101" fmla="*/ 3230880 h 3680460"/>
                  <a:gd name="connsiteX102" fmla="*/ 2346960 w 3018472"/>
                  <a:gd name="connsiteY102" fmla="*/ 3154680 h 3680460"/>
                  <a:gd name="connsiteX103" fmla="*/ 2400300 w 3018472"/>
                  <a:gd name="connsiteY103" fmla="*/ 3070860 h 3680460"/>
                  <a:gd name="connsiteX104" fmla="*/ 2415540 w 3018472"/>
                  <a:gd name="connsiteY104" fmla="*/ 3048000 h 3680460"/>
                  <a:gd name="connsiteX105" fmla="*/ 2446020 w 3018472"/>
                  <a:gd name="connsiteY105" fmla="*/ 3032760 h 3680460"/>
                  <a:gd name="connsiteX106" fmla="*/ 2468880 w 3018472"/>
                  <a:gd name="connsiteY106" fmla="*/ 3009900 h 3680460"/>
                  <a:gd name="connsiteX107" fmla="*/ 2537460 w 3018472"/>
                  <a:gd name="connsiteY107" fmla="*/ 2926080 h 3680460"/>
                  <a:gd name="connsiteX108" fmla="*/ 2575560 w 3018472"/>
                  <a:gd name="connsiteY108" fmla="*/ 2880360 h 3680460"/>
                  <a:gd name="connsiteX109" fmla="*/ 2628900 w 3018472"/>
                  <a:gd name="connsiteY109" fmla="*/ 2811780 h 3680460"/>
                  <a:gd name="connsiteX110" fmla="*/ 2644140 w 3018472"/>
                  <a:gd name="connsiteY110" fmla="*/ 2773680 h 3680460"/>
                  <a:gd name="connsiteX111" fmla="*/ 2674620 w 3018472"/>
                  <a:gd name="connsiteY111" fmla="*/ 2727960 h 3680460"/>
                  <a:gd name="connsiteX112" fmla="*/ 2689860 w 3018472"/>
                  <a:gd name="connsiteY112" fmla="*/ 2705100 h 3680460"/>
                  <a:gd name="connsiteX113" fmla="*/ 2705100 w 3018472"/>
                  <a:gd name="connsiteY113" fmla="*/ 2667000 h 3680460"/>
                  <a:gd name="connsiteX114" fmla="*/ 2727960 w 3018472"/>
                  <a:gd name="connsiteY114" fmla="*/ 2621280 h 3680460"/>
                  <a:gd name="connsiteX115" fmla="*/ 2735580 w 3018472"/>
                  <a:gd name="connsiteY115" fmla="*/ 2590800 h 3680460"/>
                  <a:gd name="connsiteX116" fmla="*/ 2758440 w 3018472"/>
                  <a:gd name="connsiteY116" fmla="*/ 2545080 h 3680460"/>
                  <a:gd name="connsiteX117" fmla="*/ 2788920 w 3018472"/>
                  <a:gd name="connsiteY117" fmla="*/ 2484120 h 3680460"/>
                  <a:gd name="connsiteX118" fmla="*/ 2811780 w 3018472"/>
                  <a:gd name="connsiteY118" fmla="*/ 2407920 h 3680460"/>
                  <a:gd name="connsiteX119" fmla="*/ 2842260 w 3018472"/>
                  <a:gd name="connsiteY119" fmla="*/ 2324100 h 3680460"/>
                  <a:gd name="connsiteX120" fmla="*/ 2857500 w 3018472"/>
                  <a:gd name="connsiteY120" fmla="*/ 2247900 h 3680460"/>
                  <a:gd name="connsiteX121" fmla="*/ 2872740 w 3018472"/>
                  <a:gd name="connsiteY121" fmla="*/ 2194560 h 3680460"/>
                  <a:gd name="connsiteX122" fmla="*/ 2887980 w 3018472"/>
                  <a:gd name="connsiteY122" fmla="*/ 2148840 h 3680460"/>
                  <a:gd name="connsiteX123" fmla="*/ 2910840 w 3018472"/>
                  <a:gd name="connsiteY123" fmla="*/ 2087880 h 3680460"/>
                  <a:gd name="connsiteX124" fmla="*/ 2918460 w 3018472"/>
                  <a:gd name="connsiteY124" fmla="*/ 2049780 h 3680460"/>
                  <a:gd name="connsiteX125" fmla="*/ 2933700 w 3018472"/>
                  <a:gd name="connsiteY125" fmla="*/ 1844040 h 3680460"/>
                  <a:gd name="connsiteX126" fmla="*/ 2918460 w 3018472"/>
                  <a:gd name="connsiteY126" fmla="*/ 1470660 h 3680460"/>
                  <a:gd name="connsiteX127" fmla="*/ 2895600 w 3018472"/>
                  <a:gd name="connsiteY127" fmla="*/ 1371600 h 3680460"/>
                  <a:gd name="connsiteX128" fmla="*/ 2880360 w 3018472"/>
                  <a:gd name="connsiteY128" fmla="*/ 1341120 h 3680460"/>
                  <a:gd name="connsiteX129" fmla="*/ 2857500 w 3018472"/>
                  <a:gd name="connsiteY129" fmla="*/ 1272540 h 3680460"/>
                  <a:gd name="connsiteX130" fmla="*/ 2849880 w 3018472"/>
                  <a:gd name="connsiteY130" fmla="*/ 1234440 h 3680460"/>
                  <a:gd name="connsiteX131" fmla="*/ 2827020 w 3018472"/>
                  <a:gd name="connsiteY131" fmla="*/ 1196340 h 3680460"/>
                  <a:gd name="connsiteX132" fmla="*/ 2811780 w 3018472"/>
                  <a:gd name="connsiteY132" fmla="*/ 1165860 h 3680460"/>
                  <a:gd name="connsiteX133" fmla="*/ 2781300 w 3018472"/>
                  <a:gd name="connsiteY133" fmla="*/ 1127760 h 3680460"/>
                  <a:gd name="connsiteX134" fmla="*/ 2766060 w 3018472"/>
                  <a:gd name="connsiteY134" fmla="*/ 1089660 h 3680460"/>
                  <a:gd name="connsiteX135" fmla="*/ 2735580 w 3018472"/>
                  <a:gd name="connsiteY135" fmla="*/ 1043940 h 3680460"/>
                  <a:gd name="connsiteX136" fmla="*/ 2727960 w 3018472"/>
                  <a:gd name="connsiteY136" fmla="*/ 1021080 h 3680460"/>
                  <a:gd name="connsiteX137" fmla="*/ 2682240 w 3018472"/>
                  <a:gd name="connsiteY137" fmla="*/ 937260 h 3680460"/>
                  <a:gd name="connsiteX138" fmla="*/ 2659380 w 3018472"/>
                  <a:gd name="connsiteY138" fmla="*/ 876300 h 3680460"/>
                  <a:gd name="connsiteX139" fmla="*/ 2644140 w 3018472"/>
                  <a:gd name="connsiteY139" fmla="*/ 845820 h 3680460"/>
                  <a:gd name="connsiteX140" fmla="*/ 2636520 w 3018472"/>
                  <a:gd name="connsiteY140" fmla="*/ 822960 h 3680460"/>
                  <a:gd name="connsiteX141" fmla="*/ 2621280 w 3018472"/>
                  <a:gd name="connsiteY141" fmla="*/ 800100 h 3680460"/>
                  <a:gd name="connsiteX142" fmla="*/ 2598420 w 3018472"/>
                  <a:gd name="connsiteY142" fmla="*/ 739140 h 3680460"/>
                  <a:gd name="connsiteX143" fmla="*/ 2458403 w 3018472"/>
                  <a:gd name="connsiteY143" fmla="*/ 621983 h 3680460"/>
                  <a:gd name="connsiteX144" fmla="*/ 2301240 w 3018472"/>
                  <a:gd name="connsiteY144" fmla="*/ 458152 h 3680460"/>
                  <a:gd name="connsiteX145" fmla="*/ 2237423 w 3018472"/>
                  <a:gd name="connsiteY145" fmla="*/ 406717 h 3680460"/>
                  <a:gd name="connsiteX146" fmla="*/ 2103120 w 3018472"/>
                  <a:gd name="connsiteY146" fmla="*/ 312420 h 3680460"/>
                  <a:gd name="connsiteX147" fmla="*/ 2042160 w 3018472"/>
                  <a:gd name="connsiteY147" fmla="*/ 266700 h 3680460"/>
                  <a:gd name="connsiteX148" fmla="*/ 2004060 w 3018472"/>
                  <a:gd name="connsiteY148" fmla="*/ 251460 h 3680460"/>
                  <a:gd name="connsiteX149" fmla="*/ 1958340 w 3018472"/>
                  <a:gd name="connsiteY149" fmla="*/ 220980 h 3680460"/>
                  <a:gd name="connsiteX150" fmla="*/ 1897380 w 3018472"/>
                  <a:gd name="connsiteY150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476500 w 3018472"/>
                  <a:gd name="connsiteY41" fmla="*/ 3169920 h 3680460"/>
                  <a:gd name="connsiteX42" fmla="*/ 2377440 w 3018472"/>
                  <a:gd name="connsiteY42" fmla="*/ 3223260 h 3680460"/>
                  <a:gd name="connsiteX43" fmla="*/ 2293620 w 3018472"/>
                  <a:gd name="connsiteY43" fmla="*/ 3284220 h 3680460"/>
                  <a:gd name="connsiteX44" fmla="*/ 2240280 w 3018472"/>
                  <a:gd name="connsiteY44" fmla="*/ 3314700 h 3680460"/>
                  <a:gd name="connsiteX45" fmla="*/ 2225040 w 3018472"/>
                  <a:gd name="connsiteY45" fmla="*/ 3337560 h 3680460"/>
                  <a:gd name="connsiteX46" fmla="*/ 2141220 w 3018472"/>
                  <a:gd name="connsiteY46" fmla="*/ 3390900 h 3680460"/>
                  <a:gd name="connsiteX47" fmla="*/ 2110740 w 3018472"/>
                  <a:gd name="connsiteY47" fmla="*/ 3413760 h 3680460"/>
                  <a:gd name="connsiteX48" fmla="*/ 2072640 w 3018472"/>
                  <a:gd name="connsiteY48" fmla="*/ 3451860 h 3680460"/>
                  <a:gd name="connsiteX49" fmla="*/ 2019300 w 3018472"/>
                  <a:gd name="connsiteY49" fmla="*/ 3467100 h 3680460"/>
                  <a:gd name="connsiteX50" fmla="*/ 1874520 w 3018472"/>
                  <a:gd name="connsiteY50" fmla="*/ 3512820 h 3680460"/>
                  <a:gd name="connsiteX51" fmla="*/ 1828800 w 3018472"/>
                  <a:gd name="connsiteY51" fmla="*/ 3520440 h 3680460"/>
                  <a:gd name="connsiteX52" fmla="*/ 1722120 w 3018472"/>
                  <a:gd name="connsiteY52" fmla="*/ 3550920 h 3680460"/>
                  <a:gd name="connsiteX53" fmla="*/ 1600200 w 3018472"/>
                  <a:gd name="connsiteY53" fmla="*/ 3589020 h 3680460"/>
                  <a:gd name="connsiteX54" fmla="*/ 1569720 w 3018472"/>
                  <a:gd name="connsiteY54" fmla="*/ 3596640 h 3680460"/>
                  <a:gd name="connsiteX55" fmla="*/ 1546860 w 3018472"/>
                  <a:gd name="connsiteY55" fmla="*/ 3611880 h 3680460"/>
                  <a:gd name="connsiteX56" fmla="*/ 1463040 w 3018472"/>
                  <a:gd name="connsiteY56" fmla="*/ 3627120 h 3680460"/>
                  <a:gd name="connsiteX57" fmla="*/ 1333500 w 3018472"/>
                  <a:gd name="connsiteY57" fmla="*/ 3657600 h 3680460"/>
                  <a:gd name="connsiteX58" fmla="*/ 1203960 w 3018472"/>
                  <a:gd name="connsiteY58" fmla="*/ 3672840 h 3680460"/>
                  <a:gd name="connsiteX59" fmla="*/ 1165860 w 3018472"/>
                  <a:gd name="connsiteY59" fmla="*/ 3680460 h 3680460"/>
                  <a:gd name="connsiteX60" fmla="*/ 449580 w 3018472"/>
                  <a:gd name="connsiteY60" fmla="*/ 3672840 h 3680460"/>
                  <a:gd name="connsiteX61" fmla="*/ 426720 w 3018472"/>
                  <a:gd name="connsiteY61" fmla="*/ 3665220 h 3680460"/>
                  <a:gd name="connsiteX62" fmla="*/ 388620 w 3018472"/>
                  <a:gd name="connsiteY62" fmla="*/ 3657600 h 3680460"/>
                  <a:gd name="connsiteX63" fmla="*/ 335280 w 3018472"/>
                  <a:gd name="connsiteY63" fmla="*/ 3627120 h 3680460"/>
                  <a:gd name="connsiteX64" fmla="*/ 266700 w 3018472"/>
                  <a:gd name="connsiteY64" fmla="*/ 3604260 h 3680460"/>
                  <a:gd name="connsiteX65" fmla="*/ 243840 w 3018472"/>
                  <a:gd name="connsiteY65" fmla="*/ 3589020 h 3680460"/>
                  <a:gd name="connsiteX66" fmla="*/ 160020 w 3018472"/>
                  <a:gd name="connsiteY66" fmla="*/ 3558540 h 3680460"/>
                  <a:gd name="connsiteX67" fmla="*/ 137160 w 3018472"/>
                  <a:gd name="connsiteY67" fmla="*/ 3535680 h 3680460"/>
                  <a:gd name="connsiteX68" fmla="*/ 99060 w 3018472"/>
                  <a:gd name="connsiteY68" fmla="*/ 3520440 h 3680460"/>
                  <a:gd name="connsiteX69" fmla="*/ 83820 w 3018472"/>
                  <a:gd name="connsiteY69" fmla="*/ 3489960 h 3680460"/>
                  <a:gd name="connsiteX70" fmla="*/ 45720 w 3018472"/>
                  <a:gd name="connsiteY70" fmla="*/ 3436620 h 3680460"/>
                  <a:gd name="connsiteX71" fmla="*/ 0 w 3018472"/>
                  <a:gd name="connsiteY71" fmla="*/ 3352800 h 3680460"/>
                  <a:gd name="connsiteX72" fmla="*/ 30480 w 3018472"/>
                  <a:gd name="connsiteY72" fmla="*/ 3345180 h 3680460"/>
                  <a:gd name="connsiteX73" fmla="*/ 137160 w 3018472"/>
                  <a:gd name="connsiteY73" fmla="*/ 3360420 h 3680460"/>
                  <a:gd name="connsiteX74" fmla="*/ 167640 w 3018472"/>
                  <a:gd name="connsiteY74" fmla="*/ 3390900 h 3680460"/>
                  <a:gd name="connsiteX75" fmla="*/ 198120 w 3018472"/>
                  <a:gd name="connsiteY75" fmla="*/ 3406140 h 3680460"/>
                  <a:gd name="connsiteX76" fmla="*/ 350520 w 3018472"/>
                  <a:gd name="connsiteY76" fmla="*/ 3436620 h 3680460"/>
                  <a:gd name="connsiteX77" fmla="*/ 381000 w 3018472"/>
                  <a:gd name="connsiteY77" fmla="*/ 3451860 h 3680460"/>
                  <a:gd name="connsiteX78" fmla="*/ 449580 w 3018472"/>
                  <a:gd name="connsiteY78" fmla="*/ 3489960 h 3680460"/>
                  <a:gd name="connsiteX79" fmla="*/ 495300 w 3018472"/>
                  <a:gd name="connsiteY79" fmla="*/ 3520440 h 3680460"/>
                  <a:gd name="connsiteX80" fmla="*/ 525780 w 3018472"/>
                  <a:gd name="connsiteY80" fmla="*/ 3535680 h 3680460"/>
                  <a:gd name="connsiteX81" fmla="*/ 731520 w 3018472"/>
                  <a:gd name="connsiteY81" fmla="*/ 3558540 h 3680460"/>
                  <a:gd name="connsiteX82" fmla="*/ 1341120 w 3018472"/>
                  <a:gd name="connsiteY82" fmla="*/ 3550920 h 3680460"/>
                  <a:gd name="connsiteX83" fmla="*/ 1440180 w 3018472"/>
                  <a:gd name="connsiteY83" fmla="*/ 3528060 h 3680460"/>
                  <a:gd name="connsiteX84" fmla="*/ 1539240 w 3018472"/>
                  <a:gd name="connsiteY84" fmla="*/ 3520440 h 3680460"/>
                  <a:gd name="connsiteX85" fmla="*/ 1562100 w 3018472"/>
                  <a:gd name="connsiteY85" fmla="*/ 3512820 h 3680460"/>
                  <a:gd name="connsiteX86" fmla="*/ 1630680 w 3018472"/>
                  <a:gd name="connsiteY86" fmla="*/ 3497580 h 3680460"/>
                  <a:gd name="connsiteX87" fmla="*/ 1699260 w 3018472"/>
                  <a:gd name="connsiteY87" fmla="*/ 3474720 h 3680460"/>
                  <a:gd name="connsiteX88" fmla="*/ 1790700 w 3018472"/>
                  <a:gd name="connsiteY88" fmla="*/ 3451860 h 3680460"/>
                  <a:gd name="connsiteX89" fmla="*/ 1821180 w 3018472"/>
                  <a:gd name="connsiteY89" fmla="*/ 3444240 h 3680460"/>
                  <a:gd name="connsiteX90" fmla="*/ 1844040 w 3018472"/>
                  <a:gd name="connsiteY90" fmla="*/ 3429000 h 3680460"/>
                  <a:gd name="connsiteX91" fmla="*/ 1874520 w 3018472"/>
                  <a:gd name="connsiteY91" fmla="*/ 3421380 h 3680460"/>
                  <a:gd name="connsiteX92" fmla="*/ 1927860 w 3018472"/>
                  <a:gd name="connsiteY92" fmla="*/ 3398520 h 3680460"/>
                  <a:gd name="connsiteX93" fmla="*/ 1950720 w 3018472"/>
                  <a:gd name="connsiteY93" fmla="*/ 3390900 h 3680460"/>
                  <a:gd name="connsiteX94" fmla="*/ 2004060 w 3018472"/>
                  <a:gd name="connsiteY94" fmla="*/ 3360420 h 3680460"/>
                  <a:gd name="connsiteX95" fmla="*/ 2042160 w 3018472"/>
                  <a:gd name="connsiteY95" fmla="*/ 3352800 h 3680460"/>
                  <a:gd name="connsiteX96" fmla="*/ 2080260 w 3018472"/>
                  <a:gd name="connsiteY96" fmla="*/ 3337560 h 3680460"/>
                  <a:gd name="connsiteX97" fmla="*/ 2156460 w 3018472"/>
                  <a:gd name="connsiteY97" fmla="*/ 3299460 h 3680460"/>
                  <a:gd name="connsiteX98" fmla="*/ 2179320 w 3018472"/>
                  <a:gd name="connsiteY98" fmla="*/ 3284220 h 3680460"/>
                  <a:gd name="connsiteX99" fmla="*/ 2209800 w 3018472"/>
                  <a:gd name="connsiteY99" fmla="*/ 3276600 h 3680460"/>
                  <a:gd name="connsiteX100" fmla="*/ 2263140 w 3018472"/>
                  <a:gd name="connsiteY100" fmla="*/ 3230880 h 3680460"/>
                  <a:gd name="connsiteX101" fmla="*/ 2346960 w 3018472"/>
                  <a:gd name="connsiteY101" fmla="*/ 3154680 h 3680460"/>
                  <a:gd name="connsiteX102" fmla="*/ 2400300 w 3018472"/>
                  <a:gd name="connsiteY102" fmla="*/ 3070860 h 3680460"/>
                  <a:gd name="connsiteX103" fmla="*/ 2415540 w 3018472"/>
                  <a:gd name="connsiteY103" fmla="*/ 3048000 h 3680460"/>
                  <a:gd name="connsiteX104" fmla="*/ 2446020 w 3018472"/>
                  <a:gd name="connsiteY104" fmla="*/ 3032760 h 3680460"/>
                  <a:gd name="connsiteX105" fmla="*/ 2468880 w 3018472"/>
                  <a:gd name="connsiteY105" fmla="*/ 3009900 h 3680460"/>
                  <a:gd name="connsiteX106" fmla="*/ 2537460 w 3018472"/>
                  <a:gd name="connsiteY106" fmla="*/ 2926080 h 3680460"/>
                  <a:gd name="connsiteX107" fmla="*/ 2575560 w 3018472"/>
                  <a:gd name="connsiteY107" fmla="*/ 2880360 h 3680460"/>
                  <a:gd name="connsiteX108" fmla="*/ 2628900 w 3018472"/>
                  <a:gd name="connsiteY108" fmla="*/ 2811780 h 3680460"/>
                  <a:gd name="connsiteX109" fmla="*/ 2644140 w 3018472"/>
                  <a:gd name="connsiteY109" fmla="*/ 2773680 h 3680460"/>
                  <a:gd name="connsiteX110" fmla="*/ 2674620 w 3018472"/>
                  <a:gd name="connsiteY110" fmla="*/ 2727960 h 3680460"/>
                  <a:gd name="connsiteX111" fmla="*/ 2689860 w 3018472"/>
                  <a:gd name="connsiteY111" fmla="*/ 2705100 h 3680460"/>
                  <a:gd name="connsiteX112" fmla="*/ 2705100 w 3018472"/>
                  <a:gd name="connsiteY112" fmla="*/ 2667000 h 3680460"/>
                  <a:gd name="connsiteX113" fmla="*/ 2727960 w 3018472"/>
                  <a:gd name="connsiteY113" fmla="*/ 2621280 h 3680460"/>
                  <a:gd name="connsiteX114" fmla="*/ 2735580 w 3018472"/>
                  <a:gd name="connsiteY114" fmla="*/ 2590800 h 3680460"/>
                  <a:gd name="connsiteX115" fmla="*/ 2758440 w 3018472"/>
                  <a:gd name="connsiteY115" fmla="*/ 2545080 h 3680460"/>
                  <a:gd name="connsiteX116" fmla="*/ 2788920 w 3018472"/>
                  <a:gd name="connsiteY116" fmla="*/ 2484120 h 3680460"/>
                  <a:gd name="connsiteX117" fmla="*/ 2811780 w 3018472"/>
                  <a:gd name="connsiteY117" fmla="*/ 2407920 h 3680460"/>
                  <a:gd name="connsiteX118" fmla="*/ 2842260 w 3018472"/>
                  <a:gd name="connsiteY118" fmla="*/ 2324100 h 3680460"/>
                  <a:gd name="connsiteX119" fmla="*/ 2857500 w 3018472"/>
                  <a:gd name="connsiteY119" fmla="*/ 2247900 h 3680460"/>
                  <a:gd name="connsiteX120" fmla="*/ 2872740 w 3018472"/>
                  <a:gd name="connsiteY120" fmla="*/ 2194560 h 3680460"/>
                  <a:gd name="connsiteX121" fmla="*/ 2887980 w 3018472"/>
                  <a:gd name="connsiteY121" fmla="*/ 2148840 h 3680460"/>
                  <a:gd name="connsiteX122" fmla="*/ 2910840 w 3018472"/>
                  <a:gd name="connsiteY122" fmla="*/ 2087880 h 3680460"/>
                  <a:gd name="connsiteX123" fmla="*/ 2918460 w 3018472"/>
                  <a:gd name="connsiteY123" fmla="*/ 2049780 h 3680460"/>
                  <a:gd name="connsiteX124" fmla="*/ 2933700 w 3018472"/>
                  <a:gd name="connsiteY124" fmla="*/ 1844040 h 3680460"/>
                  <a:gd name="connsiteX125" fmla="*/ 2918460 w 3018472"/>
                  <a:gd name="connsiteY125" fmla="*/ 1470660 h 3680460"/>
                  <a:gd name="connsiteX126" fmla="*/ 2895600 w 3018472"/>
                  <a:gd name="connsiteY126" fmla="*/ 1371600 h 3680460"/>
                  <a:gd name="connsiteX127" fmla="*/ 2880360 w 3018472"/>
                  <a:gd name="connsiteY127" fmla="*/ 1341120 h 3680460"/>
                  <a:gd name="connsiteX128" fmla="*/ 2857500 w 3018472"/>
                  <a:gd name="connsiteY128" fmla="*/ 1272540 h 3680460"/>
                  <a:gd name="connsiteX129" fmla="*/ 2849880 w 3018472"/>
                  <a:gd name="connsiteY129" fmla="*/ 1234440 h 3680460"/>
                  <a:gd name="connsiteX130" fmla="*/ 2827020 w 3018472"/>
                  <a:gd name="connsiteY130" fmla="*/ 1196340 h 3680460"/>
                  <a:gd name="connsiteX131" fmla="*/ 2811780 w 3018472"/>
                  <a:gd name="connsiteY131" fmla="*/ 1165860 h 3680460"/>
                  <a:gd name="connsiteX132" fmla="*/ 2781300 w 3018472"/>
                  <a:gd name="connsiteY132" fmla="*/ 1127760 h 3680460"/>
                  <a:gd name="connsiteX133" fmla="*/ 2766060 w 3018472"/>
                  <a:gd name="connsiteY133" fmla="*/ 1089660 h 3680460"/>
                  <a:gd name="connsiteX134" fmla="*/ 2735580 w 3018472"/>
                  <a:gd name="connsiteY134" fmla="*/ 1043940 h 3680460"/>
                  <a:gd name="connsiteX135" fmla="*/ 2727960 w 3018472"/>
                  <a:gd name="connsiteY135" fmla="*/ 1021080 h 3680460"/>
                  <a:gd name="connsiteX136" fmla="*/ 2682240 w 3018472"/>
                  <a:gd name="connsiteY136" fmla="*/ 937260 h 3680460"/>
                  <a:gd name="connsiteX137" fmla="*/ 2659380 w 3018472"/>
                  <a:gd name="connsiteY137" fmla="*/ 876300 h 3680460"/>
                  <a:gd name="connsiteX138" fmla="*/ 2644140 w 3018472"/>
                  <a:gd name="connsiteY138" fmla="*/ 845820 h 3680460"/>
                  <a:gd name="connsiteX139" fmla="*/ 2636520 w 3018472"/>
                  <a:gd name="connsiteY139" fmla="*/ 822960 h 3680460"/>
                  <a:gd name="connsiteX140" fmla="*/ 2621280 w 3018472"/>
                  <a:gd name="connsiteY140" fmla="*/ 800100 h 3680460"/>
                  <a:gd name="connsiteX141" fmla="*/ 2598420 w 3018472"/>
                  <a:gd name="connsiteY141" fmla="*/ 739140 h 3680460"/>
                  <a:gd name="connsiteX142" fmla="*/ 2458403 w 3018472"/>
                  <a:gd name="connsiteY142" fmla="*/ 621983 h 3680460"/>
                  <a:gd name="connsiteX143" fmla="*/ 2301240 w 3018472"/>
                  <a:gd name="connsiteY143" fmla="*/ 458152 h 3680460"/>
                  <a:gd name="connsiteX144" fmla="*/ 2237423 w 3018472"/>
                  <a:gd name="connsiteY144" fmla="*/ 406717 h 3680460"/>
                  <a:gd name="connsiteX145" fmla="*/ 2103120 w 3018472"/>
                  <a:gd name="connsiteY145" fmla="*/ 312420 h 3680460"/>
                  <a:gd name="connsiteX146" fmla="*/ 2042160 w 3018472"/>
                  <a:gd name="connsiteY146" fmla="*/ 266700 h 3680460"/>
                  <a:gd name="connsiteX147" fmla="*/ 2004060 w 3018472"/>
                  <a:gd name="connsiteY147" fmla="*/ 251460 h 3680460"/>
                  <a:gd name="connsiteX148" fmla="*/ 1958340 w 3018472"/>
                  <a:gd name="connsiteY148" fmla="*/ 220980 h 3680460"/>
                  <a:gd name="connsiteX149" fmla="*/ 1897380 w 3018472"/>
                  <a:gd name="connsiteY14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476500 w 3018472"/>
                  <a:gd name="connsiteY40" fmla="*/ 3169920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505075 w 3018472"/>
                  <a:gd name="connsiteY40" fmla="*/ 3084195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1300 w 3018472"/>
                  <a:gd name="connsiteY38" fmla="*/ 2804160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752725 w 3018472"/>
                  <a:gd name="connsiteY37" fmla="*/ 2789872 h 3680460"/>
                  <a:gd name="connsiteX38" fmla="*/ 2505075 w 3018472"/>
                  <a:gd name="connsiteY38" fmla="*/ 3084195 h 3680460"/>
                  <a:gd name="connsiteX39" fmla="*/ 2377440 w 3018472"/>
                  <a:gd name="connsiteY39" fmla="*/ 3223260 h 3680460"/>
                  <a:gd name="connsiteX40" fmla="*/ 2293620 w 3018472"/>
                  <a:gd name="connsiteY40" fmla="*/ 3284220 h 3680460"/>
                  <a:gd name="connsiteX41" fmla="*/ 2240280 w 3018472"/>
                  <a:gd name="connsiteY41" fmla="*/ 3314700 h 3680460"/>
                  <a:gd name="connsiteX42" fmla="*/ 2225040 w 3018472"/>
                  <a:gd name="connsiteY42" fmla="*/ 3337560 h 3680460"/>
                  <a:gd name="connsiteX43" fmla="*/ 2141220 w 3018472"/>
                  <a:gd name="connsiteY43" fmla="*/ 3390900 h 3680460"/>
                  <a:gd name="connsiteX44" fmla="*/ 2110740 w 3018472"/>
                  <a:gd name="connsiteY44" fmla="*/ 3413760 h 3680460"/>
                  <a:gd name="connsiteX45" fmla="*/ 2072640 w 3018472"/>
                  <a:gd name="connsiteY45" fmla="*/ 3451860 h 3680460"/>
                  <a:gd name="connsiteX46" fmla="*/ 2019300 w 3018472"/>
                  <a:gd name="connsiteY46" fmla="*/ 3467100 h 3680460"/>
                  <a:gd name="connsiteX47" fmla="*/ 1874520 w 3018472"/>
                  <a:gd name="connsiteY47" fmla="*/ 3512820 h 3680460"/>
                  <a:gd name="connsiteX48" fmla="*/ 1828800 w 3018472"/>
                  <a:gd name="connsiteY48" fmla="*/ 3520440 h 3680460"/>
                  <a:gd name="connsiteX49" fmla="*/ 1722120 w 3018472"/>
                  <a:gd name="connsiteY49" fmla="*/ 3550920 h 3680460"/>
                  <a:gd name="connsiteX50" fmla="*/ 1600200 w 3018472"/>
                  <a:gd name="connsiteY50" fmla="*/ 3589020 h 3680460"/>
                  <a:gd name="connsiteX51" fmla="*/ 1569720 w 3018472"/>
                  <a:gd name="connsiteY51" fmla="*/ 3596640 h 3680460"/>
                  <a:gd name="connsiteX52" fmla="*/ 1546860 w 3018472"/>
                  <a:gd name="connsiteY52" fmla="*/ 3611880 h 3680460"/>
                  <a:gd name="connsiteX53" fmla="*/ 1463040 w 3018472"/>
                  <a:gd name="connsiteY53" fmla="*/ 3627120 h 3680460"/>
                  <a:gd name="connsiteX54" fmla="*/ 1333500 w 3018472"/>
                  <a:gd name="connsiteY54" fmla="*/ 3657600 h 3680460"/>
                  <a:gd name="connsiteX55" fmla="*/ 1203960 w 3018472"/>
                  <a:gd name="connsiteY55" fmla="*/ 3672840 h 3680460"/>
                  <a:gd name="connsiteX56" fmla="*/ 1165860 w 3018472"/>
                  <a:gd name="connsiteY56" fmla="*/ 3680460 h 3680460"/>
                  <a:gd name="connsiteX57" fmla="*/ 449580 w 3018472"/>
                  <a:gd name="connsiteY57" fmla="*/ 3672840 h 3680460"/>
                  <a:gd name="connsiteX58" fmla="*/ 426720 w 3018472"/>
                  <a:gd name="connsiteY58" fmla="*/ 3665220 h 3680460"/>
                  <a:gd name="connsiteX59" fmla="*/ 388620 w 3018472"/>
                  <a:gd name="connsiteY59" fmla="*/ 3657600 h 3680460"/>
                  <a:gd name="connsiteX60" fmla="*/ 335280 w 3018472"/>
                  <a:gd name="connsiteY60" fmla="*/ 3627120 h 3680460"/>
                  <a:gd name="connsiteX61" fmla="*/ 266700 w 3018472"/>
                  <a:gd name="connsiteY61" fmla="*/ 3604260 h 3680460"/>
                  <a:gd name="connsiteX62" fmla="*/ 243840 w 3018472"/>
                  <a:gd name="connsiteY62" fmla="*/ 3589020 h 3680460"/>
                  <a:gd name="connsiteX63" fmla="*/ 160020 w 3018472"/>
                  <a:gd name="connsiteY63" fmla="*/ 3558540 h 3680460"/>
                  <a:gd name="connsiteX64" fmla="*/ 137160 w 3018472"/>
                  <a:gd name="connsiteY64" fmla="*/ 3535680 h 3680460"/>
                  <a:gd name="connsiteX65" fmla="*/ 99060 w 3018472"/>
                  <a:gd name="connsiteY65" fmla="*/ 3520440 h 3680460"/>
                  <a:gd name="connsiteX66" fmla="*/ 83820 w 3018472"/>
                  <a:gd name="connsiteY66" fmla="*/ 3489960 h 3680460"/>
                  <a:gd name="connsiteX67" fmla="*/ 45720 w 3018472"/>
                  <a:gd name="connsiteY67" fmla="*/ 3436620 h 3680460"/>
                  <a:gd name="connsiteX68" fmla="*/ 0 w 3018472"/>
                  <a:gd name="connsiteY68" fmla="*/ 3352800 h 3680460"/>
                  <a:gd name="connsiteX69" fmla="*/ 30480 w 3018472"/>
                  <a:gd name="connsiteY69" fmla="*/ 3345180 h 3680460"/>
                  <a:gd name="connsiteX70" fmla="*/ 137160 w 3018472"/>
                  <a:gd name="connsiteY70" fmla="*/ 3360420 h 3680460"/>
                  <a:gd name="connsiteX71" fmla="*/ 167640 w 3018472"/>
                  <a:gd name="connsiteY71" fmla="*/ 3390900 h 3680460"/>
                  <a:gd name="connsiteX72" fmla="*/ 198120 w 3018472"/>
                  <a:gd name="connsiteY72" fmla="*/ 3406140 h 3680460"/>
                  <a:gd name="connsiteX73" fmla="*/ 350520 w 3018472"/>
                  <a:gd name="connsiteY73" fmla="*/ 3436620 h 3680460"/>
                  <a:gd name="connsiteX74" fmla="*/ 381000 w 3018472"/>
                  <a:gd name="connsiteY74" fmla="*/ 3451860 h 3680460"/>
                  <a:gd name="connsiteX75" fmla="*/ 449580 w 3018472"/>
                  <a:gd name="connsiteY75" fmla="*/ 3489960 h 3680460"/>
                  <a:gd name="connsiteX76" fmla="*/ 495300 w 3018472"/>
                  <a:gd name="connsiteY76" fmla="*/ 3520440 h 3680460"/>
                  <a:gd name="connsiteX77" fmla="*/ 525780 w 3018472"/>
                  <a:gd name="connsiteY77" fmla="*/ 3535680 h 3680460"/>
                  <a:gd name="connsiteX78" fmla="*/ 731520 w 3018472"/>
                  <a:gd name="connsiteY78" fmla="*/ 3558540 h 3680460"/>
                  <a:gd name="connsiteX79" fmla="*/ 1341120 w 3018472"/>
                  <a:gd name="connsiteY79" fmla="*/ 3550920 h 3680460"/>
                  <a:gd name="connsiteX80" fmla="*/ 1440180 w 3018472"/>
                  <a:gd name="connsiteY80" fmla="*/ 3528060 h 3680460"/>
                  <a:gd name="connsiteX81" fmla="*/ 1539240 w 3018472"/>
                  <a:gd name="connsiteY81" fmla="*/ 3520440 h 3680460"/>
                  <a:gd name="connsiteX82" fmla="*/ 1562100 w 3018472"/>
                  <a:gd name="connsiteY82" fmla="*/ 3512820 h 3680460"/>
                  <a:gd name="connsiteX83" fmla="*/ 1630680 w 3018472"/>
                  <a:gd name="connsiteY83" fmla="*/ 3497580 h 3680460"/>
                  <a:gd name="connsiteX84" fmla="*/ 1699260 w 3018472"/>
                  <a:gd name="connsiteY84" fmla="*/ 3474720 h 3680460"/>
                  <a:gd name="connsiteX85" fmla="*/ 1790700 w 3018472"/>
                  <a:gd name="connsiteY85" fmla="*/ 3451860 h 3680460"/>
                  <a:gd name="connsiteX86" fmla="*/ 1821180 w 3018472"/>
                  <a:gd name="connsiteY86" fmla="*/ 3444240 h 3680460"/>
                  <a:gd name="connsiteX87" fmla="*/ 1844040 w 3018472"/>
                  <a:gd name="connsiteY87" fmla="*/ 3429000 h 3680460"/>
                  <a:gd name="connsiteX88" fmla="*/ 1874520 w 3018472"/>
                  <a:gd name="connsiteY88" fmla="*/ 3421380 h 3680460"/>
                  <a:gd name="connsiteX89" fmla="*/ 1927860 w 3018472"/>
                  <a:gd name="connsiteY89" fmla="*/ 3398520 h 3680460"/>
                  <a:gd name="connsiteX90" fmla="*/ 1950720 w 3018472"/>
                  <a:gd name="connsiteY90" fmla="*/ 3390900 h 3680460"/>
                  <a:gd name="connsiteX91" fmla="*/ 2004060 w 3018472"/>
                  <a:gd name="connsiteY91" fmla="*/ 3360420 h 3680460"/>
                  <a:gd name="connsiteX92" fmla="*/ 2042160 w 3018472"/>
                  <a:gd name="connsiteY92" fmla="*/ 3352800 h 3680460"/>
                  <a:gd name="connsiteX93" fmla="*/ 2080260 w 3018472"/>
                  <a:gd name="connsiteY93" fmla="*/ 3337560 h 3680460"/>
                  <a:gd name="connsiteX94" fmla="*/ 2156460 w 3018472"/>
                  <a:gd name="connsiteY94" fmla="*/ 3299460 h 3680460"/>
                  <a:gd name="connsiteX95" fmla="*/ 2179320 w 3018472"/>
                  <a:gd name="connsiteY95" fmla="*/ 3284220 h 3680460"/>
                  <a:gd name="connsiteX96" fmla="*/ 2209800 w 3018472"/>
                  <a:gd name="connsiteY96" fmla="*/ 3276600 h 3680460"/>
                  <a:gd name="connsiteX97" fmla="*/ 2263140 w 3018472"/>
                  <a:gd name="connsiteY97" fmla="*/ 3230880 h 3680460"/>
                  <a:gd name="connsiteX98" fmla="*/ 2346960 w 3018472"/>
                  <a:gd name="connsiteY98" fmla="*/ 3154680 h 3680460"/>
                  <a:gd name="connsiteX99" fmla="*/ 2400300 w 3018472"/>
                  <a:gd name="connsiteY99" fmla="*/ 3070860 h 3680460"/>
                  <a:gd name="connsiteX100" fmla="*/ 2415540 w 3018472"/>
                  <a:gd name="connsiteY100" fmla="*/ 3048000 h 3680460"/>
                  <a:gd name="connsiteX101" fmla="*/ 2446020 w 3018472"/>
                  <a:gd name="connsiteY101" fmla="*/ 3032760 h 3680460"/>
                  <a:gd name="connsiteX102" fmla="*/ 2468880 w 3018472"/>
                  <a:gd name="connsiteY102" fmla="*/ 3009900 h 3680460"/>
                  <a:gd name="connsiteX103" fmla="*/ 2537460 w 3018472"/>
                  <a:gd name="connsiteY103" fmla="*/ 2926080 h 3680460"/>
                  <a:gd name="connsiteX104" fmla="*/ 2575560 w 3018472"/>
                  <a:gd name="connsiteY104" fmla="*/ 2880360 h 3680460"/>
                  <a:gd name="connsiteX105" fmla="*/ 2628900 w 3018472"/>
                  <a:gd name="connsiteY105" fmla="*/ 2811780 h 3680460"/>
                  <a:gd name="connsiteX106" fmla="*/ 2644140 w 3018472"/>
                  <a:gd name="connsiteY106" fmla="*/ 2773680 h 3680460"/>
                  <a:gd name="connsiteX107" fmla="*/ 2674620 w 3018472"/>
                  <a:gd name="connsiteY107" fmla="*/ 2727960 h 3680460"/>
                  <a:gd name="connsiteX108" fmla="*/ 2689860 w 3018472"/>
                  <a:gd name="connsiteY108" fmla="*/ 2705100 h 3680460"/>
                  <a:gd name="connsiteX109" fmla="*/ 2705100 w 3018472"/>
                  <a:gd name="connsiteY109" fmla="*/ 2667000 h 3680460"/>
                  <a:gd name="connsiteX110" fmla="*/ 2727960 w 3018472"/>
                  <a:gd name="connsiteY110" fmla="*/ 2621280 h 3680460"/>
                  <a:gd name="connsiteX111" fmla="*/ 2735580 w 3018472"/>
                  <a:gd name="connsiteY111" fmla="*/ 2590800 h 3680460"/>
                  <a:gd name="connsiteX112" fmla="*/ 2758440 w 3018472"/>
                  <a:gd name="connsiteY112" fmla="*/ 2545080 h 3680460"/>
                  <a:gd name="connsiteX113" fmla="*/ 2788920 w 3018472"/>
                  <a:gd name="connsiteY113" fmla="*/ 2484120 h 3680460"/>
                  <a:gd name="connsiteX114" fmla="*/ 2811780 w 3018472"/>
                  <a:gd name="connsiteY114" fmla="*/ 2407920 h 3680460"/>
                  <a:gd name="connsiteX115" fmla="*/ 2842260 w 3018472"/>
                  <a:gd name="connsiteY115" fmla="*/ 2324100 h 3680460"/>
                  <a:gd name="connsiteX116" fmla="*/ 2857500 w 3018472"/>
                  <a:gd name="connsiteY116" fmla="*/ 2247900 h 3680460"/>
                  <a:gd name="connsiteX117" fmla="*/ 2872740 w 3018472"/>
                  <a:gd name="connsiteY117" fmla="*/ 2194560 h 3680460"/>
                  <a:gd name="connsiteX118" fmla="*/ 2887980 w 3018472"/>
                  <a:gd name="connsiteY118" fmla="*/ 2148840 h 3680460"/>
                  <a:gd name="connsiteX119" fmla="*/ 2910840 w 3018472"/>
                  <a:gd name="connsiteY119" fmla="*/ 2087880 h 3680460"/>
                  <a:gd name="connsiteX120" fmla="*/ 2918460 w 3018472"/>
                  <a:gd name="connsiteY120" fmla="*/ 2049780 h 3680460"/>
                  <a:gd name="connsiteX121" fmla="*/ 2933700 w 3018472"/>
                  <a:gd name="connsiteY121" fmla="*/ 1844040 h 3680460"/>
                  <a:gd name="connsiteX122" fmla="*/ 2918460 w 3018472"/>
                  <a:gd name="connsiteY122" fmla="*/ 1470660 h 3680460"/>
                  <a:gd name="connsiteX123" fmla="*/ 2895600 w 3018472"/>
                  <a:gd name="connsiteY123" fmla="*/ 1371600 h 3680460"/>
                  <a:gd name="connsiteX124" fmla="*/ 2880360 w 3018472"/>
                  <a:gd name="connsiteY124" fmla="*/ 1341120 h 3680460"/>
                  <a:gd name="connsiteX125" fmla="*/ 2857500 w 3018472"/>
                  <a:gd name="connsiteY125" fmla="*/ 1272540 h 3680460"/>
                  <a:gd name="connsiteX126" fmla="*/ 2849880 w 3018472"/>
                  <a:gd name="connsiteY126" fmla="*/ 1234440 h 3680460"/>
                  <a:gd name="connsiteX127" fmla="*/ 2827020 w 3018472"/>
                  <a:gd name="connsiteY127" fmla="*/ 1196340 h 3680460"/>
                  <a:gd name="connsiteX128" fmla="*/ 2811780 w 3018472"/>
                  <a:gd name="connsiteY128" fmla="*/ 1165860 h 3680460"/>
                  <a:gd name="connsiteX129" fmla="*/ 2781300 w 3018472"/>
                  <a:gd name="connsiteY129" fmla="*/ 1127760 h 3680460"/>
                  <a:gd name="connsiteX130" fmla="*/ 2766060 w 3018472"/>
                  <a:gd name="connsiteY130" fmla="*/ 1089660 h 3680460"/>
                  <a:gd name="connsiteX131" fmla="*/ 2735580 w 3018472"/>
                  <a:gd name="connsiteY131" fmla="*/ 1043940 h 3680460"/>
                  <a:gd name="connsiteX132" fmla="*/ 2727960 w 3018472"/>
                  <a:gd name="connsiteY132" fmla="*/ 1021080 h 3680460"/>
                  <a:gd name="connsiteX133" fmla="*/ 2682240 w 3018472"/>
                  <a:gd name="connsiteY133" fmla="*/ 937260 h 3680460"/>
                  <a:gd name="connsiteX134" fmla="*/ 2659380 w 3018472"/>
                  <a:gd name="connsiteY134" fmla="*/ 876300 h 3680460"/>
                  <a:gd name="connsiteX135" fmla="*/ 2644140 w 3018472"/>
                  <a:gd name="connsiteY135" fmla="*/ 845820 h 3680460"/>
                  <a:gd name="connsiteX136" fmla="*/ 2636520 w 3018472"/>
                  <a:gd name="connsiteY136" fmla="*/ 822960 h 3680460"/>
                  <a:gd name="connsiteX137" fmla="*/ 2621280 w 3018472"/>
                  <a:gd name="connsiteY137" fmla="*/ 800100 h 3680460"/>
                  <a:gd name="connsiteX138" fmla="*/ 2598420 w 3018472"/>
                  <a:gd name="connsiteY138" fmla="*/ 739140 h 3680460"/>
                  <a:gd name="connsiteX139" fmla="*/ 2458403 w 3018472"/>
                  <a:gd name="connsiteY139" fmla="*/ 621983 h 3680460"/>
                  <a:gd name="connsiteX140" fmla="*/ 2301240 w 3018472"/>
                  <a:gd name="connsiteY140" fmla="*/ 458152 h 3680460"/>
                  <a:gd name="connsiteX141" fmla="*/ 2237423 w 3018472"/>
                  <a:gd name="connsiteY141" fmla="*/ 406717 h 3680460"/>
                  <a:gd name="connsiteX142" fmla="*/ 2103120 w 3018472"/>
                  <a:gd name="connsiteY142" fmla="*/ 312420 h 3680460"/>
                  <a:gd name="connsiteX143" fmla="*/ 2042160 w 3018472"/>
                  <a:gd name="connsiteY143" fmla="*/ 266700 h 3680460"/>
                  <a:gd name="connsiteX144" fmla="*/ 2004060 w 3018472"/>
                  <a:gd name="connsiteY144" fmla="*/ 251460 h 3680460"/>
                  <a:gd name="connsiteX145" fmla="*/ 1958340 w 3018472"/>
                  <a:gd name="connsiteY145" fmla="*/ 220980 h 3680460"/>
                  <a:gd name="connsiteX146" fmla="*/ 1897380 w 3018472"/>
                  <a:gd name="connsiteY14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4031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2126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52725 w 3018472"/>
                  <a:gd name="connsiteY35" fmla="*/ 2789872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28912 w 3018472"/>
                  <a:gd name="connsiteY35" fmla="*/ 2818447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72640 w 3017559"/>
                  <a:gd name="connsiteY43" fmla="*/ 3451860 h 3680460"/>
                  <a:gd name="connsiteX44" fmla="*/ 2019300 w 3017559"/>
                  <a:gd name="connsiteY44" fmla="*/ 3467100 h 3680460"/>
                  <a:gd name="connsiteX45" fmla="*/ 1874520 w 3017559"/>
                  <a:gd name="connsiteY45" fmla="*/ 3512820 h 3680460"/>
                  <a:gd name="connsiteX46" fmla="*/ 1828800 w 3017559"/>
                  <a:gd name="connsiteY46" fmla="*/ 3520440 h 3680460"/>
                  <a:gd name="connsiteX47" fmla="*/ 1722120 w 3017559"/>
                  <a:gd name="connsiteY47" fmla="*/ 3550920 h 3680460"/>
                  <a:gd name="connsiteX48" fmla="*/ 1600200 w 3017559"/>
                  <a:gd name="connsiteY48" fmla="*/ 3589020 h 3680460"/>
                  <a:gd name="connsiteX49" fmla="*/ 1569720 w 3017559"/>
                  <a:gd name="connsiteY49" fmla="*/ 3596640 h 3680460"/>
                  <a:gd name="connsiteX50" fmla="*/ 1546860 w 3017559"/>
                  <a:gd name="connsiteY50" fmla="*/ 3611880 h 3680460"/>
                  <a:gd name="connsiteX51" fmla="*/ 1463040 w 3017559"/>
                  <a:gd name="connsiteY51" fmla="*/ 3627120 h 3680460"/>
                  <a:gd name="connsiteX52" fmla="*/ 1333500 w 3017559"/>
                  <a:gd name="connsiteY52" fmla="*/ 3657600 h 3680460"/>
                  <a:gd name="connsiteX53" fmla="*/ 1203960 w 3017559"/>
                  <a:gd name="connsiteY53" fmla="*/ 3672840 h 3680460"/>
                  <a:gd name="connsiteX54" fmla="*/ 1165860 w 3017559"/>
                  <a:gd name="connsiteY54" fmla="*/ 3680460 h 3680460"/>
                  <a:gd name="connsiteX55" fmla="*/ 449580 w 3017559"/>
                  <a:gd name="connsiteY55" fmla="*/ 3672840 h 3680460"/>
                  <a:gd name="connsiteX56" fmla="*/ 426720 w 3017559"/>
                  <a:gd name="connsiteY56" fmla="*/ 3665220 h 3680460"/>
                  <a:gd name="connsiteX57" fmla="*/ 388620 w 3017559"/>
                  <a:gd name="connsiteY57" fmla="*/ 3657600 h 3680460"/>
                  <a:gd name="connsiteX58" fmla="*/ 335280 w 3017559"/>
                  <a:gd name="connsiteY58" fmla="*/ 3627120 h 3680460"/>
                  <a:gd name="connsiteX59" fmla="*/ 266700 w 3017559"/>
                  <a:gd name="connsiteY59" fmla="*/ 3604260 h 3680460"/>
                  <a:gd name="connsiteX60" fmla="*/ 243840 w 3017559"/>
                  <a:gd name="connsiteY60" fmla="*/ 3589020 h 3680460"/>
                  <a:gd name="connsiteX61" fmla="*/ 160020 w 3017559"/>
                  <a:gd name="connsiteY61" fmla="*/ 3558540 h 3680460"/>
                  <a:gd name="connsiteX62" fmla="*/ 137160 w 3017559"/>
                  <a:gd name="connsiteY62" fmla="*/ 3535680 h 3680460"/>
                  <a:gd name="connsiteX63" fmla="*/ 99060 w 3017559"/>
                  <a:gd name="connsiteY63" fmla="*/ 3520440 h 3680460"/>
                  <a:gd name="connsiteX64" fmla="*/ 83820 w 3017559"/>
                  <a:gd name="connsiteY64" fmla="*/ 3489960 h 3680460"/>
                  <a:gd name="connsiteX65" fmla="*/ 45720 w 3017559"/>
                  <a:gd name="connsiteY65" fmla="*/ 3436620 h 3680460"/>
                  <a:gd name="connsiteX66" fmla="*/ 0 w 3017559"/>
                  <a:gd name="connsiteY66" fmla="*/ 3352800 h 3680460"/>
                  <a:gd name="connsiteX67" fmla="*/ 30480 w 3017559"/>
                  <a:gd name="connsiteY67" fmla="*/ 3345180 h 3680460"/>
                  <a:gd name="connsiteX68" fmla="*/ 137160 w 3017559"/>
                  <a:gd name="connsiteY68" fmla="*/ 3360420 h 3680460"/>
                  <a:gd name="connsiteX69" fmla="*/ 167640 w 3017559"/>
                  <a:gd name="connsiteY69" fmla="*/ 3390900 h 3680460"/>
                  <a:gd name="connsiteX70" fmla="*/ 198120 w 3017559"/>
                  <a:gd name="connsiteY70" fmla="*/ 3406140 h 3680460"/>
                  <a:gd name="connsiteX71" fmla="*/ 350520 w 3017559"/>
                  <a:gd name="connsiteY71" fmla="*/ 3436620 h 3680460"/>
                  <a:gd name="connsiteX72" fmla="*/ 381000 w 3017559"/>
                  <a:gd name="connsiteY72" fmla="*/ 3451860 h 3680460"/>
                  <a:gd name="connsiteX73" fmla="*/ 449580 w 3017559"/>
                  <a:gd name="connsiteY73" fmla="*/ 3489960 h 3680460"/>
                  <a:gd name="connsiteX74" fmla="*/ 495300 w 3017559"/>
                  <a:gd name="connsiteY74" fmla="*/ 3520440 h 3680460"/>
                  <a:gd name="connsiteX75" fmla="*/ 525780 w 3017559"/>
                  <a:gd name="connsiteY75" fmla="*/ 3535680 h 3680460"/>
                  <a:gd name="connsiteX76" fmla="*/ 731520 w 3017559"/>
                  <a:gd name="connsiteY76" fmla="*/ 3558540 h 3680460"/>
                  <a:gd name="connsiteX77" fmla="*/ 1341120 w 3017559"/>
                  <a:gd name="connsiteY77" fmla="*/ 3550920 h 3680460"/>
                  <a:gd name="connsiteX78" fmla="*/ 1440180 w 3017559"/>
                  <a:gd name="connsiteY78" fmla="*/ 3528060 h 3680460"/>
                  <a:gd name="connsiteX79" fmla="*/ 1539240 w 3017559"/>
                  <a:gd name="connsiteY79" fmla="*/ 3520440 h 3680460"/>
                  <a:gd name="connsiteX80" fmla="*/ 1562100 w 3017559"/>
                  <a:gd name="connsiteY80" fmla="*/ 3512820 h 3680460"/>
                  <a:gd name="connsiteX81" fmla="*/ 1630680 w 3017559"/>
                  <a:gd name="connsiteY81" fmla="*/ 3497580 h 3680460"/>
                  <a:gd name="connsiteX82" fmla="*/ 1699260 w 3017559"/>
                  <a:gd name="connsiteY82" fmla="*/ 3474720 h 3680460"/>
                  <a:gd name="connsiteX83" fmla="*/ 1790700 w 3017559"/>
                  <a:gd name="connsiteY83" fmla="*/ 3451860 h 3680460"/>
                  <a:gd name="connsiteX84" fmla="*/ 1821180 w 3017559"/>
                  <a:gd name="connsiteY84" fmla="*/ 3444240 h 3680460"/>
                  <a:gd name="connsiteX85" fmla="*/ 1844040 w 3017559"/>
                  <a:gd name="connsiteY85" fmla="*/ 3429000 h 3680460"/>
                  <a:gd name="connsiteX86" fmla="*/ 1874520 w 3017559"/>
                  <a:gd name="connsiteY86" fmla="*/ 3421380 h 3680460"/>
                  <a:gd name="connsiteX87" fmla="*/ 1927860 w 3017559"/>
                  <a:gd name="connsiteY87" fmla="*/ 3398520 h 3680460"/>
                  <a:gd name="connsiteX88" fmla="*/ 1950720 w 3017559"/>
                  <a:gd name="connsiteY88" fmla="*/ 3390900 h 3680460"/>
                  <a:gd name="connsiteX89" fmla="*/ 2004060 w 3017559"/>
                  <a:gd name="connsiteY89" fmla="*/ 3360420 h 3680460"/>
                  <a:gd name="connsiteX90" fmla="*/ 2042160 w 3017559"/>
                  <a:gd name="connsiteY90" fmla="*/ 3352800 h 3680460"/>
                  <a:gd name="connsiteX91" fmla="*/ 2080260 w 3017559"/>
                  <a:gd name="connsiteY91" fmla="*/ 3337560 h 3680460"/>
                  <a:gd name="connsiteX92" fmla="*/ 2156460 w 3017559"/>
                  <a:gd name="connsiteY92" fmla="*/ 3299460 h 3680460"/>
                  <a:gd name="connsiteX93" fmla="*/ 2179320 w 3017559"/>
                  <a:gd name="connsiteY93" fmla="*/ 3284220 h 3680460"/>
                  <a:gd name="connsiteX94" fmla="*/ 2209800 w 3017559"/>
                  <a:gd name="connsiteY94" fmla="*/ 3276600 h 3680460"/>
                  <a:gd name="connsiteX95" fmla="*/ 2263140 w 3017559"/>
                  <a:gd name="connsiteY95" fmla="*/ 3230880 h 3680460"/>
                  <a:gd name="connsiteX96" fmla="*/ 2346960 w 3017559"/>
                  <a:gd name="connsiteY96" fmla="*/ 3154680 h 3680460"/>
                  <a:gd name="connsiteX97" fmla="*/ 2400300 w 3017559"/>
                  <a:gd name="connsiteY97" fmla="*/ 3070860 h 3680460"/>
                  <a:gd name="connsiteX98" fmla="*/ 2415540 w 3017559"/>
                  <a:gd name="connsiteY98" fmla="*/ 3048000 h 3680460"/>
                  <a:gd name="connsiteX99" fmla="*/ 2446020 w 3017559"/>
                  <a:gd name="connsiteY99" fmla="*/ 3032760 h 3680460"/>
                  <a:gd name="connsiteX100" fmla="*/ 2468880 w 3017559"/>
                  <a:gd name="connsiteY100" fmla="*/ 3009900 h 3680460"/>
                  <a:gd name="connsiteX101" fmla="*/ 2537460 w 3017559"/>
                  <a:gd name="connsiteY101" fmla="*/ 2926080 h 3680460"/>
                  <a:gd name="connsiteX102" fmla="*/ 2575560 w 3017559"/>
                  <a:gd name="connsiteY102" fmla="*/ 2880360 h 3680460"/>
                  <a:gd name="connsiteX103" fmla="*/ 2628900 w 3017559"/>
                  <a:gd name="connsiteY103" fmla="*/ 2811780 h 3680460"/>
                  <a:gd name="connsiteX104" fmla="*/ 2644140 w 3017559"/>
                  <a:gd name="connsiteY104" fmla="*/ 2773680 h 3680460"/>
                  <a:gd name="connsiteX105" fmla="*/ 2674620 w 3017559"/>
                  <a:gd name="connsiteY105" fmla="*/ 2727960 h 3680460"/>
                  <a:gd name="connsiteX106" fmla="*/ 2689860 w 3017559"/>
                  <a:gd name="connsiteY106" fmla="*/ 2705100 h 3680460"/>
                  <a:gd name="connsiteX107" fmla="*/ 2705100 w 3017559"/>
                  <a:gd name="connsiteY107" fmla="*/ 2667000 h 3680460"/>
                  <a:gd name="connsiteX108" fmla="*/ 2727960 w 3017559"/>
                  <a:gd name="connsiteY108" fmla="*/ 2621280 h 3680460"/>
                  <a:gd name="connsiteX109" fmla="*/ 2735580 w 3017559"/>
                  <a:gd name="connsiteY109" fmla="*/ 2590800 h 3680460"/>
                  <a:gd name="connsiteX110" fmla="*/ 2758440 w 3017559"/>
                  <a:gd name="connsiteY110" fmla="*/ 2545080 h 3680460"/>
                  <a:gd name="connsiteX111" fmla="*/ 2788920 w 3017559"/>
                  <a:gd name="connsiteY111" fmla="*/ 2484120 h 3680460"/>
                  <a:gd name="connsiteX112" fmla="*/ 2811780 w 3017559"/>
                  <a:gd name="connsiteY112" fmla="*/ 2407920 h 3680460"/>
                  <a:gd name="connsiteX113" fmla="*/ 2842260 w 3017559"/>
                  <a:gd name="connsiteY113" fmla="*/ 2324100 h 3680460"/>
                  <a:gd name="connsiteX114" fmla="*/ 2857500 w 3017559"/>
                  <a:gd name="connsiteY114" fmla="*/ 2247900 h 3680460"/>
                  <a:gd name="connsiteX115" fmla="*/ 2872740 w 3017559"/>
                  <a:gd name="connsiteY115" fmla="*/ 2194560 h 3680460"/>
                  <a:gd name="connsiteX116" fmla="*/ 2887980 w 3017559"/>
                  <a:gd name="connsiteY116" fmla="*/ 2148840 h 3680460"/>
                  <a:gd name="connsiteX117" fmla="*/ 2910840 w 3017559"/>
                  <a:gd name="connsiteY117" fmla="*/ 2087880 h 3680460"/>
                  <a:gd name="connsiteX118" fmla="*/ 2918460 w 3017559"/>
                  <a:gd name="connsiteY118" fmla="*/ 2049780 h 3680460"/>
                  <a:gd name="connsiteX119" fmla="*/ 2933700 w 3017559"/>
                  <a:gd name="connsiteY119" fmla="*/ 1844040 h 3680460"/>
                  <a:gd name="connsiteX120" fmla="*/ 2918460 w 3017559"/>
                  <a:gd name="connsiteY120" fmla="*/ 1470660 h 3680460"/>
                  <a:gd name="connsiteX121" fmla="*/ 2895600 w 3017559"/>
                  <a:gd name="connsiteY121" fmla="*/ 1371600 h 3680460"/>
                  <a:gd name="connsiteX122" fmla="*/ 2880360 w 3017559"/>
                  <a:gd name="connsiteY122" fmla="*/ 1341120 h 3680460"/>
                  <a:gd name="connsiteX123" fmla="*/ 2857500 w 3017559"/>
                  <a:gd name="connsiteY123" fmla="*/ 1272540 h 3680460"/>
                  <a:gd name="connsiteX124" fmla="*/ 2849880 w 3017559"/>
                  <a:gd name="connsiteY124" fmla="*/ 1234440 h 3680460"/>
                  <a:gd name="connsiteX125" fmla="*/ 2827020 w 3017559"/>
                  <a:gd name="connsiteY125" fmla="*/ 1196340 h 3680460"/>
                  <a:gd name="connsiteX126" fmla="*/ 2811780 w 3017559"/>
                  <a:gd name="connsiteY126" fmla="*/ 1165860 h 3680460"/>
                  <a:gd name="connsiteX127" fmla="*/ 2781300 w 3017559"/>
                  <a:gd name="connsiteY127" fmla="*/ 1127760 h 3680460"/>
                  <a:gd name="connsiteX128" fmla="*/ 2766060 w 3017559"/>
                  <a:gd name="connsiteY128" fmla="*/ 1089660 h 3680460"/>
                  <a:gd name="connsiteX129" fmla="*/ 2735580 w 3017559"/>
                  <a:gd name="connsiteY129" fmla="*/ 1043940 h 3680460"/>
                  <a:gd name="connsiteX130" fmla="*/ 2727960 w 3017559"/>
                  <a:gd name="connsiteY130" fmla="*/ 1021080 h 3680460"/>
                  <a:gd name="connsiteX131" fmla="*/ 2682240 w 3017559"/>
                  <a:gd name="connsiteY131" fmla="*/ 937260 h 3680460"/>
                  <a:gd name="connsiteX132" fmla="*/ 2659380 w 3017559"/>
                  <a:gd name="connsiteY132" fmla="*/ 876300 h 3680460"/>
                  <a:gd name="connsiteX133" fmla="*/ 2644140 w 3017559"/>
                  <a:gd name="connsiteY133" fmla="*/ 845820 h 3680460"/>
                  <a:gd name="connsiteX134" fmla="*/ 2636520 w 3017559"/>
                  <a:gd name="connsiteY134" fmla="*/ 822960 h 3680460"/>
                  <a:gd name="connsiteX135" fmla="*/ 2621280 w 3017559"/>
                  <a:gd name="connsiteY135" fmla="*/ 800100 h 3680460"/>
                  <a:gd name="connsiteX136" fmla="*/ 2598420 w 3017559"/>
                  <a:gd name="connsiteY136" fmla="*/ 739140 h 3680460"/>
                  <a:gd name="connsiteX137" fmla="*/ 2458403 w 3017559"/>
                  <a:gd name="connsiteY137" fmla="*/ 621983 h 3680460"/>
                  <a:gd name="connsiteX138" fmla="*/ 2301240 w 3017559"/>
                  <a:gd name="connsiteY138" fmla="*/ 458152 h 3680460"/>
                  <a:gd name="connsiteX139" fmla="*/ 2237423 w 3017559"/>
                  <a:gd name="connsiteY139" fmla="*/ 406717 h 3680460"/>
                  <a:gd name="connsiteX140" fmla="*/ 2103120 w 3017559"/>
                  <a:gd name="connsiteY140" fmla="*/ 312420 h 3680460"/>
                  <a:gd name="connsiteX141" fmla="*/ 2042160 w 3017559"/>
                  <a:gd name="connsiteY141" fmla="*/ 266700 h 3680460"/>
                  <a:gd name="connsiteX142" fmla="*/ 2004060 w 3017559"/>
                  <a:gd name="connsiteY142" fmla="*/ 251460 h 3680460"/>
                  <a:gd name="connsiteX143" fmla="*/ 1958340 w 3017559"/>
                  <a:gd name="connsiteY143" fmla="*/ 220980 h 3680460"/>
                  <a:gd name="connsiteX144" fmla="*/ 1897380 w 3017559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19300 w 3017559"/>
                  <a:gd name="connsiteY43" fmla="*/ 3467100 h 3680460"/>
                  <a:gd name="connsiteX44" fmla="*/ 1874520 w 3017559"/>
                  <a:gd name="connsiteY44" fmla="*/ 3512820 h 3680460"/>
                  <a:gd name="connsiteX45" fmla="*/ 1828800 w 3017559"/>
                  <a:gd name="connsiteY45" fmla="*/ 3520440 h 3680460"/>
                  <a:gd name="connsiteX46" fmla="*/ 1722120 w 3017559"/>
                  <a:gd name="connsiteY46" fmla="*/ 3550920 h 3680460"/>
                  <a:gd name="connsiteX47" fmla="*/ 1600200 w 3017559"/>
                  <a:gd name="connsiteY47" fmla="*/ 3589020 h 3680460"/>
                  <a:gd name="connsiteX48" fmla="*/ 1569720 w 3017559"/>
                  <a:gd name="connsiteY48" fmla="*/ 3596640 h 3680460"/>
                  <a:gd name="connsiteX49" fmla="*/ 1546860 w 3017559"/>
                  <a:gd name="connsiteY49" fmla="*/ 3611880 h 3680460"/>
                  <a:gd name="connsiteX50" fmla="*/ 1463040 w 3017559"/>
                  <a:gd name="connsiteY50" fmla="*/ 3627120 h 3680460"/>
                  <a:gd name="connsiteX51" fmla="*/ 1333500 w 3017559"/>
                  <a:gd name="connsiteY51" fmla="*/ 3657600 h 3680460"/>
                  <a:gd name="connsiteX52" fmla="*/ 1203960 w 3017559"/>
                  <a:gd name="connsiteY52" fmla="*/ 3672840 h 3680460"/>
                  <a:gd name="connsiteX53" fmla="*/ 1165860 w 3017559"/>
                  <a:gd name="connsiteY53" fmla="*/ 3680460 h 3680460"/>
                  <a:gd name="connsiteX54" fmla="*/ 449580 w 3017559"/>
                  <a:gd name="connsiteY54" fmla="*/ 3672840 h 3680460"/>
                  <a:gd name="connsiteX55" fmla="*/ 426720 w 3017559"/>
                  <a:gd name="connsiteY55" fmla="*/ 3665220 h 3680460"/>
                  <a:gd name="connsiteX56" fmla="*/ 388620 w 3017559"/>
                  <a:gd name="connsiteY56" fmla="*/ 3657600 h 3680460"/>
                  <a:gd name="connsiteX57" fmla="*/ 335280 w 3017559"/>
                  <a:gd name="connsiteY57" fmla="*/ 3627120 h 3680460"/>
                  <a:gd name="connsiteX58" fmla="*/ 266700 w 3017559"/>
                  <a:gd name="connsiteY58" fmla="*/ 3604260 h 3680460"/>
                  <a:gd name="connsiteX59" fmla="*/ 243840 w 3017559"/>
                  <a:gd name="connsiteY59" fmla="*/ 3589020 h 3680460"/>
                  <a:gd name="connsiteX60" fmla="*/ 160020 w 3017559"/>
                  <a:gd name="connsiteY60" fmla="*/ 3558540 h 3680460"/>
                  <a:gd name="connsiteX61" fmla="*/ 137160 w 3017559"/>
                  <a:gd name="connsiteY61" fmla="*/ 3535680 h 3680460"/>
                  <a:gd name="connsiteX62" fmla="*/ 99060 w 3017559"/>
                  <a:gd name="connsiteY62" fmla="*/ 3520440 h 3680460"/>
                  <a:gd name="connsiteX63" fmla="*/ 83820 w 3017559"/>
                  <a:gd name="connsiteY63" fmla="*/ 3489960 h 3680460"/>
                  <a:gd name="connsiteX64" fmla="*/ 45720 w 3017559"/>
                  <a:gd name="connsiteY64" fmla="*/ 3436620 h 3680460"/>
                  <a:gd name="connsiteX65" fmla="*/ 0 w 3017559"/>
                  <a:gd name="connsiteY65" fmla="*/ 3352800 h 3680460"/>
                  <a:gd name="connsiteX66" fmla="*/ 30480 w 3017559"/>
                  <a:gd name="connsiteY66" fmla="*/ 3345180 h 3680460"/>
                  <a:gd name="connsiteX67" fmla="*/ 137160 w 3017559"/>
                  <a:gd name="connsiteY67" fmla="*/ 3360420 h 3680460"/>
                  <a:gd name="connsiteX68" fmla="*/ 167640 w 3017559"/>
                  <a:gd name="connsiteY68" fmla="*/ 3390900 h 3680460"/>
                  <a:gd name="connsiteX69" fmla="*/ 198120 w 3017559"/>
                  <a:gd name="connsiteY69" fmla="*/ 3406140 h 3680460"/>
                  <a:gd name="connsiteX70" fmla="*/ 350520 w 3017559"/>
                  <a:gd name="connsiteY70" fmla="*/ 3436620 h 3680460"/>
                  <a:gd name="connsiteX71" fmla="*/ 381000 w 3017559"/>
                  <a:gd name="connsiteY71" fmla="*/ 3451860 h 3680460"/>
                  <a:gd name="connsiteX72" fmla="*/ 449580 w 3017559"/>
                  <a:gd name="connsiteY72" fmla="*/ 3489960 h 3680460"/>
                  <a:gd name="connsiteX73" fmla="*/ 495300 w 3017559"/>
                  <a:gd name="connsiteY73" fmla="*/ 3520440 h 3680460"/>
                  <a:gd name="connsiteX74" fmla="*/ 525780 w 3017559"/>
                  <a:gd name="connsiteY74" fmla="*/ 3535680 h 3680460"/>
                  <a:gd name="connsiteX75" fmla="*/ 731520 w 3017559"/>
                  <a:gd name="connsiteY75" fmla="*/ 3558540 h 3680460"/>
                  <a:gd name="connsiteX76" fmla="*/ 1341120 w 3017559"/>
                  <a:gd name="connsiteY76" fmla="*/ 3550920 h 3680460"/>
                  <a:gd name="connsiteX77" fmla="*/ 1440180 w 3017559"/>
                  <a:gd name="connsiteY77" fmla="*/ 3528060 h 3680460"/>
                  <a:gd name="connsiteX78" fmla="*/ 1539240 w 3017559"/>
                  <a:gd name="connsiteY78" fmla="*/ 3520440 h 3680460"/>
                  <a:gd name="connsiteX79" fmla="*/ 1562100 w 3017559"/>
                  <a:gd name="connsiteY79" fmla="*/ 3512820 h 3680460"/>
                  <a:gd name="connsiteX80" fmla="*/ 1630680 w 3017559"/>
                  <a:gd name="connsiteY80" fmla="*/ 3497580 h 3680460"/>
                  <a:gd name="connsiteX81" fmla="*/ 1699260 w 3017559"/>
                  <a:gd name="connsiteY81" fmla="*/ 3474720 h 3680460"/>
                  <a:gd name="connsiteX82" fmla="*/ 1790700 w 3017559"/>
                  <a:gd name="connsiteY82" fmla="*/ 3451860 h 3680460"/>
                  <a:gd name="connsiteX83" fmla="*/ 1821180 w 3017559"/>
                  <a:gd name="connsiteY83" fmla="*/ 3444240 h 3680460"/>
                  <a:gd name="connsiteX84" fmla="*/ 1844040 w 3017559"/>
                  <a:gd name="connsiteY84" fmla="*/ 3429000 h 3680460"/>
                  <a:gd name="connsiteX85" fmla="*/ 1874520 w 3017559"/>
                  <a:gd name="connsiteY85" fmla="*/ 3421380 h 3680460"/>
                  <a:gd name="connsiteX86" fmla="*/ 1927860 w 3017559"/>
                  <a:gd name="connsiteY86" fmla="*/ 3398520 h 3680460"/>
                  <a:gd name="connsiteX87" fmla="*/ 1950720 w 3017559"/>
                  <a:gd name="connsiteY87" fmla="*/ 3390900 h 3680460"/>
                  <a:gd name="connsiteX88" fmla="*/ 2004060 w 3017559"/>
                  <a:gd name="connsiteY88" fmla="*/ 3360420 h 3680460"/>
                  <a:gd name="connsiteX89" fmla="*/ 2042160 w 3017559"/>
                  <a:gd name="connsiteY89" fmla="*/ 3352800 h 3680460"/>
                  <a:gd name="connsiteX90" fmla="*/ 2080260 w 3017559"/>
                  <a:gd name="connsiteY90" fmla="*/ 3337560 h 3680460"/>
                  <a:gd name="connsiteX91" fmla="*/ 2156460 w 3017559"/>
                  <a:gd name="connsiteY91" fmla="*/ 3299460 h 3680460"/>
                  <a:gd name="connsiteX92" fmla="*/ 2179320 w 3017559"/>
                  <a:gd name="connsiteY92" fmla="*/ 3284220 h 3680460"/>
                  <a:gd name="connsiteX93" fmla="*/ 2209800 w 3017559"/>
                  <a:gd name="connsiteY93" fmla="*/ 3276600 h 3680460"/>
                  <a:gd name="connsiteX94" fmla="*/ 2263140 w 3017559"/>
                  <a:gd name="connsiteY94" fmla="*/ 3230880 h 3680460"/>
                  <a:gd name="connsiteX95" fmla="*/ 2346960 w 3017559"/>
                  <a:gd name="connsiteY95" fmla="*/ 3154680 h 3680460"/>
                  <a:gd name="connsiteX96" fmla="*/ 2400300 w 3017559"/>
                  <a:gd name="connsiteY96" fmla="*/ 3070860 h 3680460"/>
                  <a:gd name="connsiteX97" fmla="*/ 2415540 w 3017559"/>
                  <a:gd name="connsiteY97" fmla="*/ 3048000 h 3680460"/>
                  <a:gd name="connsiteX98" fmla="*/ 2446020 w 3017559"/>
                  <a:gd name="connsiteY98" fmla="*/ 3032760 h 3680460"/>
                  <a:gd name="connsiteX99" fmla="*/ 2468880 w 3017559"/>
                  <a:gd name="connsiteY99" fmla="*/ 3009900 h 3680460"/>
                  <a:gd name="connsiteX100" fmla="*/ 2537460 w 3017559"/>
                  <a:gd name="connsiteY100" fmla="*/ 2926080 h 3680460"/>
                  <a:gd name="connsiteX101" fmla="*/ 2575560 w 3017559"/>
                  <a:gd name="connsiteY101" fmla="*/ 2880360 h 3680460"/>
                  <a:gd name="connsiteX102" fmla="*/ 2628900 w 3017559"/>
                  <a:gd name="connsiteY102" fmla="*/ 2811780 h 3680460"/>
                  <a:gd name="connsiteX103" fmla="*/ 2644140 w 3017559"/>
                  <a:gd name="connsiteY103" fmla="*/ 2773680 h 3680460"/>
                  <a:gd name="connsiteX104" fmla="*/ 2674620 w 3017559"/>
                  <a:gd name="connsiteY104" fmla="*/ 2727960 h 3680460"/>
                  <a:gd name="connsiteX105" fmla="*/ 2689860 w 3017559"/>
                  <a:gd name="connsiteY105" fmla="*/ 2705100 h 3680460"/>
                  <a:gd name="connsiteX106" fmla="*/ 2705100 w 3017559"/>
                  <a:gd name="connsiteY106" fmla="*/ 2667000 h 3680460"/>
                  <a:gd name="connsiteX107" fmla="*/ 2727960 w 3017559"/>
                  <a:gd name="connsiteY107" fmla="*/ 2621280 h 3680460"/>
                  <a:gd name="connsiteX108" fmla="*/ 2735580 w 3017559"/>
                  <a:gd name="connsiteY108" fmla="*/ 2590800 h 3680460"/>
                  <a:gd name="connsiteX109" fmla="*/ 2758440 w 3017559"/>
                  <a:gd name="connsiteY109" fmla="*/ 2545080 h 3680460"/>
                  <a:gd name="connsiteX110" fmla="*/ 2788920 w 3017559"/>
                  <a:gd name="connsiteY110" fmla="*/ 2484120 h 3680460"/>
                  <a:gd name="connsiteX111" fmla="*/ 2811780 w 3017559"/>
                  <a:gd name="connsiteY111" fmla="*/ 2407920 h 3680460"/>
                  <a:gd name="connsiteX112" fmla="*/ 2842260 w 3017559"/>
                  <a:gd name="connsiteY112" fmla="*/ 2324100 h 3680460"/>
                  <a:gd name="connsiteX113" fmla="*/ 2857500 w 3017559"/>
                  <a:gd name="connsiteY113" fmla="*/ 2247900 h 3680460"/>
                  <a:gd name="connsiteX114" fmla="*/ 2872740 w 3017559"/>
                  <a:gd name="connsiteY114" fmla="*/ 2194560 h 3680460"/>
                  <a:gd name="connsiteX115" fmla="*/ 2887980 w 3017559"/>
                  <a:gd name="connsiteY115" fmla="*/ 2148840 h 3680460"/>
                  <a:gd name="connsiteX116" fmla="*/ 2910840 w 3017559"/>
                  <a:gd name="connsiteY116" fmla="*/ 2087880 h 3680460"/>
                  <a:gd name="connsiteX117" fmla="*/ 2918460 w 3017559"/>
                  <a:gd name="connsiteY117" fmla="*/ 2049780 h 3680460"/>
                  <a:gd name="connsiteX118" fmla="*/ 2933700 w 3017559"/>
                  <a:gd name="connsiteY118" fmla="*/ 1844040 h 3680460"/>
                  <a:gd name="connsiteX119" fmla="*/ 2918460 w 3017559"/>
                  <a:gd name="connsiteY119" fmla="*/ 1470660 h 3680460"/>
                  <a:gd name="connsiteX120" fmla="*/ 2895600 w 3017559"/>
                  <a:gd name="connsiteY120" fmla="*/ 1371600 h 3680460"/>
                  <a:gd name="connsiteX121" fmla="*/ 2880360 w 3017559"/>
                  <a:gd name="connsiteY121" fmla="*/ 1341120 h 3680460"/>
                  <a:gd name="connsiteX122" fmla="*/ 2857500 w 3017559"/>
                  <a:gd name="connsiteY122" fmla="*/ 1272540 h 3680460"/>
                  <a:gd name="connsiteX123" fmla="*/ 2849880 w 3017559"/>
                  <a:gd name="connsiteY123" fmla="*/ 1234440 h 3680460"/>
                  <a:gd name="connsiteX124" fmla="*/ 2827020 w 3017559"/>
                  <a:gd name="connsiteY124" fmla="*/ 1196340 h 3680460"/>
                  <a:gd name="connsiteX125" fmla="*/ 2811780 w 3017559"/>
                  <a:gd name="connsiteY125" fmla="*/ 1165860 h 3680460"/>
                  <a:gd name="connsiteX126" fmla="*/ 2781300 w 3017559"/>
                  <a:gd name="connsiteY126" fmla="*/ 1127760 h 3680460"/>
                  <a:gd name="connsiteX127" fmla="*/ 2766060 w 3017559"/>
                  <a:gd name="connsiteY127" fmla="*/ 1089660 h 3680460"/>
                  <a:gd name="connsiteX128" fmla="*/ 2735580 w 3017559"/>
                  <a:gd name="connsiteY128" fmla="*/ 1043940 h 3680460"/>
                  <a:gd name="connsiteX129" fmla="*/ 2727960 w 3017559"/>
                  <a:gd name="connsiteY129" fmla="*/ 1021080 h 3680460"/>
                  <a:gd name="connsiteX130" fmla="*/ 2682240 w 3017559"/>
                  <a:gd name="connsiteY130" fmla="*/ 937260 h 3680460"/>
                  <a:gd name="connsiteX131" fmla="*/ 2659380 w 3017559"/>
                  <a:gd name="connsiteY131" fmla="*/ 876300 h 3680460"/>
                  <a:gd name="connsiteX132" fmla="*/ 2644140 w 3017559"/>
                  <a:gd name="connsiteY132" fmla="*/ 845820 h 3680460"/>
                  <a:gd name="connsiteX133" fmla="*/ 2636520 w 3017559"/>
                  <a:gd name="connsiteY133" fmla="*/ 822960 h 3680460"/>
                  <a:gd name="connsiteX134" fmla="*/ 2621280 w 3017559"/>
                  <a:gd name="connsiteY134" fmla="*/ 800100 h 3680460"/>
                  <a:gd name="connsiteX135" fmla="*/ 2598420 w 3017559"/>
                  <a:gd name="connsiteY135" fmla="*/ 739140 h 3680460"/>
                  <a:gd name="connsiteX136" fmla="*/ 2458403 w 3017559"/>
                  <a:gd name="connsiteY136" fmla="*/ 621983 h 3680460"/>
                  <a:gd name="connsiteX137" fmla="*/ 2301240 w 3017559"/>
                  <a:gd name="connsiteY137" fmla="*/ 458152 h 3680460"/>
                  <a:gd name="connsiteX138" fmla="*/ 2237423 w 3017559"/>
                  <a:gd name="connsiteY138" fmla="*/ 406717 h 3680460"/>
                  <a:gd name="connsiteX139" fmla="*/ 2103120 w 3017559"/>
                  <a:gd name="connsiteY139" fmla="*/ 312420 h 3680460"/>
                  <a:gd name="connsiteX140" fmla="*/ 2042160 w 3017559"/>
                  <a:gd name="connsiteY140" fmla="*/ 266700 h 3680460"/>
                  <a:gd name="connsiteX141" fmla="*/ 2004060 w 3017559"/>
                  <a:gd name="connsiteY141" fmla="*/ 251460 h 3680460"/>
                  <a:gd name="connsiteX142" fmla="*/ 1958340 w 3017559"/>
                  <a:gd name="connsiteY142" fmla="*/ 220980 h 3680460"/>
                  <a:gd name="connsiteX143" fmla="*/ 1897380 w 3017559"/>
                  <a:gd name="connsiteY143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19300 w 3017559"/>
                  <a:gd name="connsiteY42" fmla="*/ 346710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09775 w 3017559"/>
                  <a:gd name="connsiteY42" fmla="*/ 344805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141220 w 3017559"/>
                  <a:gd name="connsiteY40" fmla="*/ 3390900 h 3680460"/>
                  <a:gd name="connsiteX41" fmla="*/ 2009775 w 3017559"/>
                  <a:gd name="connsiteY41" fmla="*/ 3448050 h 3680460"/>
                  <a:gd name="connsiteX42" fmla="*/ 1874520 w 3017559"/>
                  <a:gd name="connsiteY42" fmla="*/ 3512820 h 3680460"/>
                  <a:gd name="connsiteX43" fmla="*/ 1828800 w 3017559"/>
                  <a:gd name="connsiteY43" fmla="*/ 3520440 h 3680460"/>
                  <a:gd name="connsiteX44" fmla="*/ 1722120 w 3017559"/>
                  <a:gd name="connsiteY44" fmla="*/ 3550920 h 3680460"/>
                  <a:gd name="connsiteX45" fmla="*/ 1600200 w 3017559"/>
                  <a:gd name="connsiteY45" fmla="*/ 3589020 h 3680460"/>
                  <a:gd name="connsiteX46" fmla="*/ 1569720 w 3017559"/>
                  <a:gd name="connsiteY46" fmla="*/ 3596640 h 3680460"/>
                  <a:gd name="connsiteX47" fmla="*/ 1546860 w 3017559"/>
                  <a:gd name="connsiteY47" fmla="*/ 3611880 h 3680460"/>
                  <a:gd name="connsiteX48" fmla="*/ 1463040 w 3017559"/>
                  <a:gd name="connsiteY48" fmla="*/ 3627120 h 3680460"/>
                  <a:gd name="connsiteX49" fmla="*/ 1333500 w 3017559"/>
                  <a:gd name="connsiteY49" fmla="*/ 3657600 h 3680460"/>
                  <a:gd name="connsiteX50" fmla="*/ 1203960 w 3017559"/>
                  <a:gd name="connsiteY50" fmla="*/ 3672840 h 3680460"/>
                  <a:gd name="connsiteX51" fmla="*/ 1165860 w 3017559"/>
                  <a:gd name="connsiteY51" fmla="*/ 3680460 h 3680460"/>
                  <a:gd name="connsiteX52" fmla="*/ 449580 w 3017559"/>
                  <a:gd name="connsiteY52" fmla="*/ 3672840 h 3680460"/>
                  <a:gd name="connsiteX53" fmla="*/ 426720 w 3017559"/>
                  <a:gd name="connsiteY53" fmla="*/ 3665220 h 3680460"/>
                  <a:gd name="connsiteX54" fmla="*/ 388620 w 3017559"/>
                  <a:gd name="connsiteY54" fmla="*/ 3657600 h 3680460"/>
                  <a:gd name="connsiteX55" fmla="*/ 335280 w 3017559"/>
                  <a:gd name="connsiteY55" fmla="*/ 3627120 h 3680460"/>
                  <a:gd name="connsiteX56" fmla="*/ 266700 w 3017559"/>
                  <a:gd name="connsiteY56" fmla="*/ 3604260 h 3680460"/>
                  <a:gd name="connsiteX57" fmla="*/ 243840 w 3017559"/>
                  <a:gd name="connsiteY57" fmla="*/ 3589020 h 3680460"/>
                  <a:gd name="connsiteX58" fmla="*/ 160020 w 3017559"/>
                  <a:gd name="connsiteY58" fmla="*/ 3558540 h 3680460"/>
                  <a:gd name="connsiteX59" fmla="*/ 137160 w 3017559"/>
                  <a:gd name="connsiteY59" fmla="*/ 3535680 h 3680460"/>
                  <a:gd name="connsiteX60" fmla="*/ 99060 w 3017559"/>
                  <a:gd name="connsiteY60" fmla="*/ 3520440 h 3680460"/>
                  <a:gd name="connsiteX61" fmla="*/ 83820 w 3017559"/>
                  <a:gd name="connsiteY61" fmla="*/ 3489960 h 3680460"/>
                  <a:gd name="connsiteX62" fmla="*/ 45720 w 3017559"/>
                  <a:gd name="connsiteY62" fmla="*/ 3436620 h 3680460"/>
                  <a:gd name="connsiteX63" fmla="*/ 0 w 3017559"/>
                  <a:gd name="connsiteY63" fmla="*/ 3352800 h 3680460"/>
                  <a:gd name="connsiteX64" fmla="*/ 30480 w 3017559"/>
                  <a:gd name="connsiteY64" fmla="*/ 3345180 h 3680460"/>
                  <a:gd name="connsiteX65" fmla="*/ 137160 w 3017559"/>
                  <a:gd name="connsiteY65" fmla="*/ 3360420 h 3680460"/>
                  <a:gd name="connsiteX66" fmla="*/ 167640 w 3017559"/>
                  <a:gd name="connsiteY66" fmla="*/ 3390900 h 3680460"/>
                  <a:gd name="connsiteX67" fmla="*/ 198120 w 3017559"/>
                  <a:gd name="connsiteY67" fmla="*/ 3406140 h 3680460"/>
                  <a:gd name="connsiteX68" fmla="*/ 350520 w 3017559"/>
                  <a:gd name="connsiteY68" fmla="*/ 3436620 h 3680460"/>
                  <a:gd name="connsiteX69" fmla="*/ 381000 w 3017559"/>
                  <a:gd name="connsiteY69" fmla="*/ 3451860 h 3680460"/>
                  <a:gd name="connsiteX70" fmla="*/ 449580 w 3017559"/>
                  <a:gd name="connsiteY70" fmla="*/ 3489960 h 3680460"/>
                  <a:gd name="connsiteX71" fmla="*/ 495300 w 3017559"/>
                  <a:gd name="connsiteY71" fmla="*/ 3520440 h 3680460"/>
                  <a:gd name="connsiteX72" fmla="*/ 525780 w 3017559"/>
                  <a:gd name="connsiteY72" fmla="*/ 3535680 h 3680460"/>
                  <a:gd name="connsiteX73" fmla="*/ 731520 w 3017559"/>
                  <a:gd name="connsiteY73" fmla="*/ 3558540 h 3680460"/>
                  <a:gd name="connsiteX74" fmla="*/ 1341120 w 3017559"/>
                  <a:gd name="connsiteY74" fmla="*/ 3550920 h 3680460"/>
                  <a:gd name="connsiteX75" fmla="*/ 1440180 w 3017559"/>
                  <a:gd name="connsiteY75" fmla="*/ 3528060 h 3680460"/>
                  <a:gd name="connsiteX76" fmla="*/ 1539240 w 3017559"/>
                  <a:gd name="connsiteY76" fmla="*/ 3520440 h 3680460"/>
                  <a:gd name="connsiteX77" fmla="*/ 1562100 w 3017559"/>
                  <a:gd name="connsiteY77" fmla="*/ 3512820 h 3680460"/>
                  <a:gd name="connsiteX78" fmla="*/ 1630680 w 3017559"/>
                  <a:gd name="connsiteY78" fmla="*/ 3497580 h 3680460"/>
                  <a:gd name="connsiteX79" fmla="*/ 1699260 w 3017559"/>
                  <a:gd name="connsiteY79" fmla="*/ 3474720 h 3680460"/>
                  <a:gd name="connsiteX80" fmla="*/ 1790700 w 3017559"/>
                  <a:gd name="connsiteY80" fmla="*/ 3451860 h 3680460"/>
                  <a:gd name="connsiteX81" fmla="*/ 1821180 w 3017559"/>
                  <a:gd name="connsiteY81" fmla="*/ 3444240 h 3680460"/>
                  <a:gd name="connsiteX82" fmla="*/ 1844040 w 3017559"/>
                  <a:gd name="connsiteY82" fmla="*/ 3429000 h 3680460"/>
                  <a:gd name="connsiteX83" fmla="*/ 1874520 w 3017559"/>
                  <a:gd name="connsiteY83" fmla="*/ 3421380 h 3680460"/>
                  <a:gd name="connsiteX84" fmla="*/ 1927860 w 3017559"/>
                  <a:gd name="connsiteY84" fmla="*/ 3398520 h 3680460"/>
                  <a:gd name="connsiteX85" fmla="*/ 1950720 w 3017559"/>
                  <a:gd name="connsiteY85" fmla="*/ 3390900 h 3680460"/>
                  <a:gd name="connsiteX86" fmla="*/ 2004060 w 3017559"/>
                  <a:gd name="connsiteY86" fmla="*/ 3360420 h 3680460"/>
                  <a:gd name="connsiteX87" fmla="*/ 2042160 w 3017559"/>
                  <a:gd name="connsiteY87" fmla="*/ 3352800 h 3680460"/>
                  <a:gd name="connsiteX88" fmla="*/ 2080260 w 3017559"/>
                  <a:gd name="connsiteY88" fmla="*/ 3337560 h 3680460"/>
                  <a:gd name="connsiteX89" fmla="*/ 2156460 w 3017559"/>
                  <a:gd name="connsiteY89" fmla="*/ 3299460 h 3680460"/>
                  <a:gd name="connsiteX90" fmla="*/ 2179320 w 3017559"/>
                  <a:gd name="connsiteY90" fmla="*/ 3284220 h 3680460"/>
                  <a:gd name="connsiteX91" fmla="*/ 2209800 w 3017559"/>
                  <a:gd name="connsiteY91" fmla="*/ 3276600 h 3680460"/>
                  <a:gd name="connsiteX92" fmla="*/ 2263140 w 3017559"/>
                  <a:gd name="connsiteY92" fmla="*/ 3230880 h 3680460"/>
                  <a:gd name="connsiteX93" fmla="*/ 2346960 w 3017559"/>
                  <a:gd name="connsiteY93" fmla="*/ 3154680 h 3680460"/>
                  <a:gd name="connsiteX94" fmla="*/ 2400300 w 3017559"/>
                  <a:gd name="connsiteY94" fmla="*/ 3070860 h 3680460"/>
                  <a:gd name="connsiteX95" fmla="*/ 2415540 w 3017559"/>
                  <a:gd name="connsiteY95" fmla="*/ 3048000 h 3680460"/>
                  <a:gd name="connsiteX96" fmla="*/ 2446020 w 3017559"/>
                  <a:gd name="connsiteY96" fmla="*/ 3032760 h 3680460"/>
                  <a:gd name="connsiteX97" fmla="*/ 2468880 w 3017559"/>
                  <a:gd name="connsiteY97" fmla="*/ 3009900 h 3680460"/>
                  <a:gd name="connsiteX98" fmla="*/ 2537460 w 3017559"/>
                  <a:gd name="connsiteY98" fmla="*/ 2926080 h 3680460"/>
                  <a:gd name="connsiteX99" fmla="*/ 2575560 w 3017559"/>
                  <a:gd name="connsiteY99" fmla="*/ 2880360 h 3680460"/>
                  <a:gd name="connsiteX100" fmla="*/ 2628900 w 3017559"/>
                  <a:gd name="connsiteY100" fmla="*/ 2811780 h 3680460"/>
                  <a:gd name="connsiteX101" fmla="*/ 2644140 w 3017559"/>
                  <a:gd name="connsiteY101" fmla="*/ 2773680 h 3680460"/>
                  <a:gd name="connsiteX102" fmla="*/ 2674620 w 3017559"/>
                  <a:gd name="connsiteY102" fmla="*/ 2727960 h 3680460"/>
                  <a:gd name="connsiteX103" fmla="*/ 2689860 w 3017559"/>
                  <a:gd name="connsiteY103" fmla="*/ 2705100 h 3680460"/>
                  <a:gd name="connsiteX104" fmla="*/ 2705100 w 3017559"/>
                  <a:gd name="connsiteY104" fmla="*/ 2667000 h 3680460"/>
                  <a:gd name="connsiteX105" fmla="*/ 2727960 w 3017559"/>
                  <a:gd name="connsiteY105" fmla="*/ 2621280 h 3680460"/>
                  <a:gd name="connsiteX106" fmla="*/ 2735580 w 3017559"/>
                  <a:gd name="connsiteY106" fmla="*/ 2590800 h 3680460"/>
                  <a:gd name="connsiteX107" fmla="*/ 2758440 w 3017559"/>
                  <a:gd name="connsiteY107" fmla="*/ 2545080 h 3680460"/>
                  <a:gd name="connsiteX108" fmla="*/ 2788920 w 3017559"/>
                  <a:gd name="connsiteY108" fmla="*/ 2484120 h 3680460"/>
                  <a:gd name="connsiteX109" fmla="*/ 2811780 w 3017559"/>
                  <a:gd name="connsiteY109" fmla="*/ 2407920 h 3680460"/>
                  <a:gd name="connsiteX110" fmla="*/ 2842260 w 3017559"/>
                  <a:gd name="connsiteY110" fmla="*/ 2324100 h 3680460"/>
                  <a:gd name="connsiteX111" fmla="*/ 2857500 w 3017559"/>
                  <a:gd name="connsiteY111" fmla="*/ 2247900 h 3680460"/>
                  <a:gd name="connsiteX112" fmla="*/ 2872740 w 3017559"/>
                  <a:gd name="connsiteY112" fmla="*/ 2194560 h 3680460"/>
                  <a:gd name="connsiteX113" fmla="*/ 2887980 w 3017559"/>
                  <a:gd name="connsiteY113" fmla="*/ 2148840 h 3680460"/>
                  <a:gd name="connsiteX114" fmla="*/ 2910840 w 3017559"/>
                  <a:gd name="connsiteY114" fmla="*/ 2087880 h 3680460"/>
                  <a:gd name="connsiteX115" fmla="*/ 2918460 w 3017559"/>
                  <a:gd name="connsiteY115" fmla="*/ 2049780 h 3680460"/>
                  <a:gd name="connsiteX116" fmla="*/ 2933700 w 3017559"/>
                  <a:gd name="connsiteY116" fmla="*/ 1844040 h 3680460"/>
                  <a:gd name="connsiteX117" fmla="*/ 2918460 w 3017559"/>
                  <a:gd name="connsiteY117" fmla="*/ 1470660 h 3680460"/>
                  <a:gd name="connsiteX118" fmla="*/ 2895600 w 3017559"/>
                  <a:gd name="connsiteY118" fmla="*/ 1371600 h 3680460"/>
                  <a:gd name="connsiteX119" fmla="*/ 2880360 w 3017559"/>
                  <a:gd name="connsiteY119" fmla="*/ 1341120 h 3680460"/>
                  <a:gd name="connsiteX120" fmla="*/ 2857500 w 3017559"/>
                  <a:gd name="connsiteY120" fmla="*/ 1272540 h 3680460"/>
                  <a:gd name="connsiteX121" fmla="*/ 2849880 w 3017559"/>
                  <a:gd name="connsiteY121" fmla="*/ 1234440 h 3680460"/>
                  <a:gd name="connsiteX122" fmla="*/ 2827020 w 3017559"/>
                  <a:gd name="connsiteY122" fmla="*/ 1196340 h 3680460"/>
                  <a:gd name="connsiteX123" fmla="*/ 2811780 w 3017559"/>
                  <a:gd name="connsiteY123" fmla="*/ 1165860 h 3680460"/>
                  <a:gd name="connsiteX124" fmla="*/ 2781300 w 3017559"/>
                  <a:gd name="connsiteY124" fmla="*/ 1127760 h 3680460"/>
                  <a:gd name="connsiteX125" fmla="*/ 2766060 w 3017559"/>
                  <a:gd name="connsiteY125" fmla="*/ 1089660 h 3680460"/>
                  <a:gd name="connsiteX126" fmla="*/ 2735580 w 3017559"/>
                  <a:gd name="connsiteY126" fmla="*/ 1043940 h 3680460"/>
                  <a:gd name="connsiteX127" fmla="*/ 2727960 w 3017559"/>
                  <a:gd name="connsiteY127" fmla="*/ 1021080 h 3680460"/>
                  <a:gd name="connsiteX128" fmla="*/ 2682240 w 3017559"/>
                  <a:gd name="connsiteY128" fmla="*/ 937260 h 3680460"/>
                  <a:gd name="connsiteX129" fmla="*/ 2659380 w 3017559"/>
                  <a:gd name="connsiteY129" fmla="*/ 876300 h 3680460"/>
                  <a:gd name="connsiteX130" fmla="*/ 2644140 w 3017559"/>
                  <a:gd name="connsiteY130" fmla="*/ 845820 h 3680460"/>
                  <a:gd name="connsiteX131" fmla="*/ 2636520 w 3017559"/>
                  <a:gd name="connsiteY131" fmla="*/ 822960 h 3680460"/>
                  <a:gd name="connsiteX132" fmla="*/ 2621280 w 3017559"/>
                  <a:gd name="connsiteY132" fmla="*/ 800100 h 3680460"/>
                  <a:gd name="connsiteX133" fmla="*/ 2598420 w 3017559"/>
                  <a:gd name="connsiteY133" fmla="*/ 739140 h 3680460"/>
                  <a:gd name="connsiteX134" fmla="*/ 2458403 w 3017559"/>
                  <a:gd name="connsiteY134" fmla="*/ 621983 h 3680460"/>
                  <a:gd name="connsiteX135" fmla="*/ 2301240 w 3017559"/>
                  <a:gd name="connsiteY135" fmla="*/ 458152 h 3680460"/>
                  <a:gd name="connsiteX136" fmla="*/ 2237423 w 3017559"/>
                  <a:gd name="connsiteY136" fmla="*/ 406717 h 3680460"/>
                  <a:gd name="connsiteX137" fmla="*/ 2103120 w 3017559"/>
                  <a:gd name="connsiteY137" fmla="*/ 312420 h 3680460"/>
                  <a:gd name="connsiteX138" fmla="*/ 2042160 w 3017559"/>
                  <a:gd name="connsiteY138" fmla="*/ 266700 h 3680460"/>
                  <a:gd name="connsiteX139" fmla="*/ 2004060 w 3017559"/>
                  <a:gd name="connsiteY139" fmla="*/ 251460 h 3680460"/>
                  <a:gd name="connsiteX140" fmla="*/ 1958340 w 3017559"/>
                  <a:gd name="connsiteY140" fmla="*/ 220980 h 3680460"/>
                  <a:gd name="connsiteX141" fmla="*/ 1897380 w 3017559"/>
                  <a:gd name="connsiteY141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99060 w 3017559"/>
                  <a:gd name="connsiteY58" fmla="*/ 3520440 h 3680460"/>
                  <a:gd name="connsiteX59" fmla="*/ 83820 w 3017559"/>
                  <a:gd name="connsiteY59" fmla="*/ 3489960 h 3680460"/>
                  <a:gd name="connsiteX60" fmla="*/ 45720 w 3017559"/>
                  <a:gd name="connsiteY60" fmla="*/ 3436620 h 3680460"/>
                  <a:gd name="connsiteX61" fmla="*/ 0 w 3017559"/>
                  <a:gd name="connsiteY61" fmla="*/ 3352800 h 3680460"/>
                  <a:gd name="connsiteX62" fmla="*/ 30480 w 3017559"/>
                  <a:gd name="connsiteY62" fmla="*/ 3345180 h 3680460"/>
                  <a:gd name="connsiteX63" fmla="*/ 137160 w 3017559"/>
                  <a:gd name="connsiteY63" fmla="*/ 3360420 h 3680460"/>
                  <a:gd name="connsiteX64" fmla="*/ 167640 w 3017559"/>
                  <a:gd name="connsiteY64" fmla="*/ 3390900 h 3680460"/>
                  <a:gd name="connsiteX65" fmla="*/ 198120 w 3017559"/>
                  <a:gd name="connsiteY65" fmla="*/ 3406140 h 3680460"/>
                  <a:gd name="connsiteX66" fmla="*/ 350520 w 3017559"/>
                  <a:gd name="connsiteY66" fmla="*/ 3436620 h 3680460"/>
                  <a:gd name="connsiteX67" fmla="*/ 381000 w 3017559"/>
                  <a:gd name="connsiteY67" fmla="*/ 3451860 h 3680460"/>
                  <a:gd name="connsiteX68" fmla="*/ 449580 w 3017559"/>
                  <a:gd name="connsiteY68" fmla="*/ 3489960 h 3680460"/>
                  <a:gd name="connsiteX69" fmla="*/ 495300 w 3017559"/>
                  <a:gd name="connsiteY69" fmla="*/ 3520440 h 3680460"/>
                  <a:gd name="connsiteX70" fmla="*/ 525780 w 3017559"/>
                  <a:gd name="connsiteY70" fmla="*/ 3535680 h 3680460"/>
                  <a:gd name="connsiteX71" fmla="*/ 731520 w 3017559"/>
                  <a:gd name="connsiteY71" fmla="*/ 3558540 h 3680460"/>
                  <a:gd name="connsiteX72" fmla="*/ 1341120 w 3017559"/>
                  <a:gd name="connsiteY72" fmla="*/ 3550920 h 3680460"/>
                  <a:gd name="connsiteX73" fmla="*/ 1440180 w 3017559"/>
                  <a:gd name="connsiteY73" fmla="*/ 3528060 h 3680460"/>
                  <a:gd name="connsiteX74" fmla="*/ 1539240 w 3017559"/>
                  <a:gd name="connsiteY74" fmla="*/ 3520440 h 3680460"/>
                  <a:gd name="connsiteX75" fmla="*/ 1562100 w 3017559"/>
                  <a:gd name="connsiteY75" fmla="*/ 3512820 h 3680460"/>
                  <a:gd name="connsiteX76" fmla="*/ 1630680 w 3017559"/>
                  <a:gd name="connsiteY76" fmla="*/ 3497580 h 3680460"/>
                  <a:gd name="connsiteX77" fmla="*/ 1699260 w 3017559"/>
                  <a:gd name="connsiteY77" fmla="*/ 3474720 h 3680460"/>
                  <a:gd name="connsiteX78" fmla="*/ 1790700 w 3017559"/>
                  <a:gd name="connsiteY78" fmla="*/ 3451860 h 3680460"/>
                  <a:gd name="connsiteX79" fmla="*/ 1821180 w 3017559"/>
                  <a:gd name="connsiteY79" fmla="*/ 3444240 h 3680460"/>
                  <a:gd name="connsiteX80" fmla="*/ 1844040 w 3017559"/>
                  <a:gd name="connsiteY80" fmla="*/ 3429000 h 3680460"/>
                  <a:gd name="connsiteX81" fmla="*/ 1874520 w 3017559"/>
                  <a:gd name="connsiteY81" fmla="*/ 3421380 h 3680460"/>
                  <a:gd name="connsiteX82" fmla="*/ 1927860 w 3017559"/>
                  <a:gd name="connsiteY82" fmla="*/ 3398520 h 3680460"/>
                  <a:gd name="connsiteX83" fmla="*/ 1950720 w 3017559"/>
                  <a:gd name="connsiteY83" fmla="*/ 3390900 h 3680460"/>
                  <a:gd name="connsiteX84" fmla="*/ 2004060 w 3017559"/>
                  <a:gd name="connsiteY84" fmla="*/ 3360420 h 3680460"/>
                  <a:gd name="connsiteX85" fmla="*/ 2042160 w 3017559"/>
                  <a:gd name="connsiteY85" fmla="*/ 3352800 h 3680460"/>
                  <a:gd name="connsiteX86" fmla="*/ 2080260 w 3017559"/>
                  <a:gd name="connsiteY86" fmla="*/ 3337560 h 3680460"/>
                  <a:gd name="connsiteX87" fmla="*/ 2156460 w 3017559"/>
                  <a:gd name="connsiteY87" fmla="*/ 3299460 h 3680460"/>
                  <a:gd name="connsiteX88" fmla="*/ 2179320 w 3017559"/>
                  <a:gd name="connsiteY88" fmla="*/ 3284220 h 3680460"/>
                  <a:gd name="connsiteX89" fmla="*/ 2209800 w 3017559"/>
                  <a:gd name="connsiteY89" fmla="*/ 3276600 h 3680460"/>
                  <a:gd name="connsiteX90" fmla="*/ 2263140 w 3017559"/>
                  <a:gd name="connsiteY90" fmla="*/ 3230880 h 3680460"/>
                  <a:gd name="connsiteX91" fmla="*/ 2346960 w 3017559"/>
                  <a:gd name="connsiteY91" fmla="*/ 3154680 h 3680460"/>
                  <a:gd name="connsiteX92" fmla="*/ 2400300 w 3017559"/>
                  <a:gd name="connsiteY92" fmla="*/ 3070860 h 3680460"/>
                  <a:gd name="connsiteX93" fmla="*/ 2415540 w 3017559"/>
                  <a:gd name="connsiteY93" fmla="*/ 3048000 h 3680460"/>
                  <a:gd name="connsiteX94" fmla="*/ 2446020 w 3017559"/>
                  <a:gd name="connsiteY94" fmla="*/ 3032760 h 3680460"/>
                  <a:gd name="connsiteX95" fmla="*/ 2468880 w 3017559"/>
                  <a:gd name="connsiteY95" fmla="*/ 3009900 h 3680460"/>
                  <a:gd name="connsiteX96" fmla="*/ 2537460 w 3017559"/>
                  <a:gd name="connsiteY96" fmla="*/ 2926080 h 3680460"/>
                  <a:gd name="connsiteX97" fmla="*/ 2575560 w 3017559"/>
                  <a:gd name="connsiteY97" fmla="*/ 2880360 h 3680460"/>
                  <a:gd name="connsiteX98" fmla="*/ 2628900 w 3017559"/>
                  <a:gd name="connsiteY98" fmla="*/ 2811780 h 3680460"/>
                  <a:gd name="connsiteX99" fmla="*/ 2644140 w 3017559"/>
                  <a:gd name="connsiteY99" fmla="*/ 2773680 h 3680460"/>
                  <a:gd name="connsiteX100" fmla="*/ 2674620 w 3017559"/>
                  <a:gd name="connsiteY100" fmla="*/ 2727960 h 3680460"/>
                  <a:gd name="connsiteX101" fmla="*/ 2689860 w 3017559"/>
                  <a:gd name="connsiteY101" fmla="*/ 2705100 h 3680460"/>
                  <a:gd name="connsiteX102" fmla="*/ 2705100 w 3017559"/>
                  <a:gd name="connsiteY102" fmla="*/ 2667000 h 3680460"/>
                  <a:gd name="connsiteX103" fmla="*/ 2727960 w 3017559"/>
                  <a:gd name="connsiteY103" fmla="*/ 2621280 h 3680460"/>
                  <a:gd name="connsiteX104" fmla="*/ 2735580 w 3017559"/>
                  <a:gd name="connsiteY104" fmla="*/ 2590800 h 3680460"/>
                  <a:gd name="connsiteX105" fmla="*/ 2758440 w 3017559"/>
                  <a:gd name="connsiteY105" fmla="*/ 2545080 h 3680460"/>
                  <a:gd name="connsiteX106" fmla="*/ 2788920 w 3017559"/>
                  <a:gd name="connsiteY106" fmla="*/ 2484120 h 3680460"/>
                  <a:gd name="connsiteX107" fmla="*/ 2811780 w 3017559"/>
                  <a:gd name="connsiteY107" fmla="*/ 2407920 h 3680460"/>
                  <a:gd name="connsiteX108" fmla="*/ 2842260 w 3017559"/>
                  <a:gd name="connsiteY108" fmla="*/ 2324100 h 3680460"/>
                  <a:gd name="connsiteX109" fmla="*/ 2857500 w 3017559"/>
                  <a:gd name="connsiteY109" fmla="*/ 2247900 h 3680460"/>
                  <a:gd name="connsiteX110" fmla="*/ 2872740 w 3017559"/>
                  <a:gd name="connsiteY110" fmla="*/ 2194560 h 3680460"/>
                  <a:gd name="connsiteX111" fmla="*/ 2887980 w 3017559"/>
                  <a:gd name="connsiteY111" fmla="*/ 2148840 h 3680460"/>
                  <a:gd name="connsiteX112" fmla="*/ 2910840 w 3017559"/>
                  <a:gd name="connsiteY112" fmla="*/ 2087880 h 3680460"/>
                  <a:gd name="connsiteX113" fmla="*/ 2918460 w 3017559"/>
                  <a:gd name="connsiteY113" fmla="*/ 2049780 h 3680460"/>
                  <a:gd name="connsiteX114" fmla="*/ 2933700 w 3017559"/>
                  <a:gd name="connsiteY114" fmla="*/ 1844040 h 3680460"/>
                  <a:gd name="connsiteX115" fmla="*/ 2918460 w 3017559"/>
                  <a:gd name="connsiteY115" fmla="*/ 1470660 h 3680460"/>
                  <a:gd name="connsiteX116" fmla="*/ 2895600 w 3017559"/>
                  <a:gd name="connsiteY116" fmla="*/ 1371600 h 3680460"/>
                  <a:gd name="connsiteX117" fmla="*/ 2880360 w 3017559"/>
                  <a:gd name="connsiteY117" fmla="*/ 1341120 h 3680460"/>
                  <a:gd name="connsiteX118" fmla="*/ 2857500 w 3017559"/>
                  <a:gd name="connsiteY118" fmla="*/ 1272540 h 3680460"/>
                  <a:gd name="connsiteX119" fmla="*/ 2849880 w 3017559"/>
                  <a:gd name="connsiteY119" fmla="*/ 1234440 h 3680460"/>
                  <a:gd name="connsiteX120" fmla="*/ 2827020 w 3017559"/>
                  <a:gd name="connsiteY120" fmla="*/ 1196340 h 3680460"/>
                  <a:gd name="connsiteX121" fmla="*/ 2811780 w 3017559"/>
                  <a:gd name="connsiteY121" fmla="*/ 1165860 h 3680460"/>
                  <a:gd name="connsiteX122" fmla="*/ 2781300 w 3017559"/>
                  <a:gd name="connsiteY122" fmla="*/ 1127760 h 3680460"/>
                  <a:gd name="connsiteX123" fmla="*/ 2766060 w 3017559"/>
                  <a:gd name="connsiteY123" fmla="*/ 1089660 h 3680460"/>
                  <a:gd name="connsiteX124" fmla="*/ 2735580 w 3017559"/>
                  <a:gd name="connsiteY124" fmla="*/ 1043940 h 3680460"/>
                  <a:gd name="connsiteX125" fmla="*/ 2727960 w 3017559"/>
                  <a:gd name="connsiteY125" fmla="*/ 1021080 h 3680460"/>
                  <a:gd name="connsiteX126" fmla="*/ 2682240 w 3017559"/>
                  <a:gd name="connsiteY126" fmla="*/ 937260 h 3680460"/>
                  <a:gd name="connsiteX127" fmla="*/ 2659380 w 3017559"/>
                  <a:gd name="connsiteY127" fmla="*/ 876300 h 3680460"/>
                  <a:gd name="connsiteX128" fmla="*/ 2644140 w 3017559"/>
                  <a:gd name="connsiteY128" fmla="*/ 845820 h 3680460"/>
                  <a:gd name="connsiteX129" fmla="*/ 2636520 w 3017559"/>
                  <a:gd name="connsiteY129" fmla="*/ 822960 h 3680460"/>
                  <a:gd name="connsiteX130" fmla="*/ 2621280 w 3017559"/>
                  <a:gd name="connsiteY130" fmla="*/ 800100 h 3680460"/>
                  <a:gd name="connsiteX131" fmla="*/ 2598420 w 3017559"/>
                  <a:gd name="connsiteY131" fmla="*/ 739140 h 3680460"/>
                  <a:gd name="connsiteX132" fmla="*/ 2458403 w 3017559"/>
                  <a:gd name="connsiteY132" fmla="*/ 621983 h 3680460"/>
                  <a:gd name="connsiteX133" fmla="*/ 2301240 w 3017559"/>
                  <a:gd name="connsiteY133" fmla="*/ 458152 h 3680460"/>
                  <a:gd name="connsiteX134" fmla="*/ 2237423 w 3017559"/>
                  <a:gd name="connsiteY134" fmla="*/ 406717 h 3680460"/>
                  <a:gd name="connsiteX135" fmla="*/ 2103120 w 3017559"/>
                  <a:gd name="connsiteY135" fmla="*/ 312420 h 3680460"/>
                  <a:gd name="connsiteX136" fmla="*/ 2042160 w 3017559"/>
                  <a:gd name="connsiteY136" fmla="*/ 266700 h 3680460"/>
                  <a:gd name="connsiteX137" fmla="*/ 2004060 w 3017559"/>
                  <a:gd name="connsiteY137" fmla="*/ 251460 h 3680460"/>
                  <a:gd name="connsiteX138" fmla="*/ 1958340 w 3017559"/>
                  <a:gd name="connsiteY138" fmla="*/ 220980 h 3680460"/>
                  <a:gd name="connsiteX139" fmla="*/ 1897380 w 3017559"/>
                  <a:gd name="connsiteY139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83820 w 3017559"/>
                  <a:gd name="connsiteY58" fmla="*/ 3489960 h 3680460"/>
                  <a:gd name="connsiteX59" fmla="*/ 45720 w 3017559"/>
                  <a:gd name="connsiteY59" fmla="*/ 3436620 h 3680460"/>
                  <a:gd name="connsiteX60" fmla="*/ 0 w 3017559"/>
                  <a:gd name="connsiteY60" fmla="*/ 3352800 h 3680460"/>
                  <a:gd name="connsiteX61" fmla="*/ 30480 w 3017559"/>
                  <a:gd name="connsiteY61" fmla="*/ 3345180 h 3680460"/>
                  <a:gd name="connsiteX62" fmla="*/ 137160 w 3017559"/>
                  <a:gd name="connsiteY62" fmla="*/ 3360420 h 3680460"/>
                  <a:gd name="connsiteX63" fmla="*/ 167640 w 3017559"/>
                  <a:gd name="connsiteY63" fmla="*/ 3390900 h 3680460"/>
                  <a:gd name="connsiteX64" fmla="*/ 198120 w 3017559"/>
                  <a:gd name="connsiteY64" fmla="*/ 3406140 h 3680460"/>
                  <a:gd name="connsiteX65" fmla="*/ 350520 w 3017559"/>
                  <a:gd name="connsiteY65" fmla="*/ 3436620 h 3680460"/>
                  <a:gd name="connsiteX66" fmla="*/ 381000 w 3017559"/>
                  <a:gd name="connsiteY66" fmla="*/ 3451860 h 3680460"/>
                  <a:gd name="connsiteX67" fmla="*/ 449580 w 3017559"/>
                  <a:gd name="connsiteY67" fmla="*/ 3489960 h 3680460"/>
                  <a:gd name="connsiteX68" fmla="*/ 495300 w 3017559"/>
                  <a:gd name="connsiteY68" fmla="*/ 3520440 h 3680460"/>
                  <a:gd name="connsiteX69" fmla="*/ 525780 w 3017559"/>
                  <a:gd name="connsiteY69" fmla="*/ 3535680 h 3680460"/>
                  <a:gd name="connsiteX70" fmla="*/ 731520 w 3017559"/>
                  <a:gd name="connsiteY70" fmla="*/ 3558540 h 3680460"/>
                  <a:gd name="connsiteX71" fmla="*/ 1341120 w 3017559"/>
                  <a:gd name="connsiteY71" fmla="*/ 3550920 h 3680460"/>
                  <a:gd name="connsiteX72" fmla="*/ 1440180 w 3017559"/>
                  <a:gd name="connsiteY72" fmla="*/ 3528060 h 3680460"/>
                  <a:gd name="connsiteX73" fmla="*/ 1539240 w 3017559"/>
                  <a:gd name="connsiteY73" fmla="*/ 3520440 h 3680460"/>
                  <a:gd name="connsiteX74" fmla="*/ 1562100 w 3017559"/>
                  <a:gd name="connsiteY74" fmla="*/ 3512820 h 3680460"/>
                  <a:gd name="connsiteX75" fmla="*/ 1630680 w 3017559"/>
                  <a:gd name="connsiteY75" fmla="*/ 3497580 h 3680460"/>
                  <a:gd name="connsiteX76" fmla="*/ 1699260 w 3017559"/>
                  <a:gd name="connsiteY76" fmla="*/ 3474720 h 3680460"/>
                  <a:gd name="connsiteX77" fmla="*/ 1790700 w 3017559"/>
                  <a:gd name="connsiteY77" fmla="*/ 3451860 h 3680460"/>
                  <a:gd name="connsiteX78" fmla="*/ 1821180 w 3017559"/>
                  <a:gd name="connsiteY78" fmla="*/ 3444240 h 3680460"/>
                  <a:gd name="connsiteX79" fmla="*/ 1844040 w 3017559"/>
                  <a:gd name="connsiteY79" fmla="*/ 3429000 h 3680460"/>
                  <a:gd name="connsiteX80" fmla="*/ 1874520 w 3017559"/>
                  <a:gd name="connsiteY80" fmla="*/ 3421380 h 3680460"/>
                  <a:gd name="connsiteX81" fmla="*/ 1927860 w 3017559"/>
                  <a:gd name="connsiteY81" fmla="*/ 3398520 h 3680460"/>
                  <a:gd name="connsiteX82" fmla="*/ 1950720 w 3017559"/>
                  <a:gd name="connsiteY82" fmla="*/ 3390900 h 3680460"/>
                  <a:gd name="connsiteX83" fmla="*/ 2004060 w 3017559"/>
                  <a:gd name="connsiteY83" fmla="*/ 3360420 h 3680460"/>
                  <a:gd name="connsiteX84" fmla="*/ 2042160 w 3017559"/>
                  <a:gd name="connsiteY84" fmla="*/ 3352800 h 3680460"/>
                  <a:gd name="connsiteX85" fmla="*/ 2080260 w 3017559"/>
                  <a:gd name="connsiteY85" fmla="*/ 3337560 h 3680460"/>
                  <a:gd name="connsiteX86" fmla="*/ 2156460 w 3017559"/>
                  <a:gd name="connsiteY86" fmla="*/ 3299460 h 3680460"/>
                  <a:gd name="connsiteX87" fmla="*/ 2179320 w 3017559"/>
                  <a:gd name="connsiteY87" fmla="*/ 3284220 h 3680460"/>
                  <a:gd name="connsiteX88" fmla="*/ 2209800 w 3017559"/>
                  <a:gd name="connsiteY88" fmla="*/ 3276600 h 3680460"/>
                  <a:gd name="connsiteX89" fmla="*/ 2263140 w 3017559"/>
                  <a:gd name="connsiteY89" fmla="*/ 3230880 h 3680460"/>
                  <a:gd name="connsiteX90" fmla="*/ 2346960 w 3017559"/>
                  <a:gd name="connsiteY90" fmla="*/ 3154680 h 3680460"/>
                  <a:gd name="connsiteX91" fmla="*/ 2400300 w 3017559"/>
                  <a:gd name="connsiteY91" fmla="*/ 3070860 h 3680460"/>
                  <a:gd name="connsiteX92" fmla="*/ 2415540 w 3017559"/>
                  <a:gd name="connsiteY92" fmla="*/ 3048000 h 3680460"/>
                  <a:gd name="connsiteX93" fmla="*/ 2446020 w 3017559"/>
                  <a:gd name="connsiteY93" fmla="*/ 3032760 h 3680460"/>
                  <a:gd name="connsiteX94" fmla="*/ 2468880 w 3017559"/>
                  <a:gd name="connsiteY94" fmla="*/ 3009900 h 3680460"/>
                  <a:gd name="connsiteX95" fmla="*/ 2537460 w 3017559"/>
                  <a:gd name="connsiteY95" fmla="*/ 2926080 h 3680460"/>
                  <a:gd name="connsiteX96" fmla="*/ 2575560 w 3017559"/>
                  <a:gd name="connsiteY96" fmla="*/ 2880360 h 3680460"/>
                  <a:gd name="connsiteX97" fmla="*/ 2628900 w 3017559"/>
                  <a:gd name="connsiteY97" fmla="*/ 2811780 h 3680460"/>
                  <a:gd name="connsiteX98" fmla="*/ 2644140 w 3017559"/>
                  <a:gd name="connsiteY98" fmla="*/ 2773680 h 3680460"/>
                  <a:gd name="connsiteX99" fmla="*/ 2674620 w 3017559"/>
                  <a:gd name="connsiteY99" fmla="*/ 2727960 h 3680460"/>
                  <a:gd name="connsiteX100" fmla="*/ 2689860 w 3017559"/>
                  <a:gd name="connsiteY100" fmla="*/ 2705100 h 3680460"/>
                  <a:gd name="connsiteX101" fmla="*/ 2705100 w 3017559"/>
                  <a:gd name="connsiteY101" fmla="*/ 2667000 h 3680460"/>
                  <a:gd name="connsiteX102" fmla="*/ 2727960 w 3017559"/>
                  <a:gd name="connsiteY102" fmla="*/ 2621280 h 3680460"/>
                  <a:gd name="connsiteX103" fmla="*/ 2735580 w 3017559"/>
                  <a:gd name="connsiteY103" fmla="*/ 2590800 h 3680460"/>
                  <a:gd name="connsiteX104" fmla="*/ 2758440 w 3017559"/>
                  <a:gd name="connsiteY104" fmla="*/ 2545080 h 3680460"/>
                  <a:gd name="connsiteX105" fmla="*/ 2788920 w 3017559"/>
                  <a:gd name="connsiteY105" fmla="*/ 2484120 h 3680460"/>
                  <a:gd name="connsiteX106" fmla="*/ 2811780 w 3017559"/>
                  <a:gd name="connsiteY106" fmla="*/ 2407920 h 3680460"/>
                  <a:gd name="connsiteX107" fmla="*/ 2842260 w 3017559"/>
                  <a:gd name="connsiteY107" fmla="*/ 2324100 h 3680460"/>
                  <a:gd name="connsiteX108" fmla="*/ 2857500 w 3017559"/>
                  <a:gd name="connsiteY108" fmla="*/ 2247900 h 3680460"/>
                  <a:gd name="connsiteX109" fmla="*/ 2872740 w 3017559"/>
                  <a:gd name="connsiteY109" fmla="*/ 2194560 h 3680460"/>
                  <a:gd name="connsiteX110" fmla="*/ 2887980 w 3017559"/>
                  <a:gd name="connsiteY110" fmla="*/ 2148840 h 3680460"/>
                  <a:gd name="connsiteX111" fmla="*/ 2910840 w 3017559"/>
                  <a:gd name="connsiteY111" fmla="*/ 2087880 h 3680460"/>
                  <a:gd name="connsiteX112" fmla="*/ 2918460 w 3017559"/>
                  <a:gd name="connsiteY112" fmla="*/ 2049780 h 3680460"/>
                  <a:gd name="connsiteX113" fmla="*/ 2933700 w 3017559"/>
                  <a:gd name="connsiteY113" fmla="*/ 1844040 h 3680460"/>
                  <a:gd name="connsiteX114" fmla="*/ 2918460 w 3017559"/>
                  <a:gd name="connsiteY114" fmla="*/ 1470660 h 3680460"/>
                  <a:gd name="connsiteX115" fmla="*/ 2895600 w 3017559"/>
                  <a:gd name="connsiteY115" fmla="*/ 1371600 h 3680460"/>
                  <a:gd name="connsiteX116" fmla="*/ 2880360 w 3017559"/>
                  <a:gd name="connsiteY116" fmla="*/ 1341120 h 3680460"/>
                  <a:gd name="connsiteX117" fmla="*/ 2857500 w 3017559"/>
                  <a:gd name="connsiteY117" fmla="*/ 1272540 h 3680460"/>
                  <a:gd name="connsiteX118" fmla="*/ 2849880 w 3017559"/>
                  <a:gd name="connsiteY118" fmla="*/ 1234440 h 3680460"/>
                  <a:gd name="connsiteX119" fmla="*/ 2827020 w 3017559"/>
                  <a:gd name="connsiteY119" fmla="*/ 1196340 h 3680460"/>
                  <a:gd name="connsiteX120" fmla="*/ 2811780 w 3017559"/>
                  <a:gd name="connsiteY120" fmla="*/ 1165860 h 3680460"/>
                  <a:gd name="connsiteX121" fmla="*/ 2781300 w 3017559"/>
                  <a:gd name="connsiteY121" fmla="*/ 1127760 h 3680460"/>
                  <a:gd name="connsiteX122" fmla="*/ 2766060 w 3017559"/>
                  <a:gd name="connsiteY122" fmla="*/ 1089660 h 3680460"/>
                  <a:gd name="connsiteX123" fmla="*/ 2735580 w 3017559"/>
                  <a:gd name="connsiteY123" fmla="*/ 1043940 h 3680460"/>
                  <a:gd name="connsiteX124" fmla="*/ 2727960 w 3017559"/>
                  <a:gd name="connsiteY124" fmla="*/ 1021080 h 3680460"/>
                  <a:gd name="connsiteX125" fmla="*/ 2682240 w 3017559"/>
                  <a:gd name="connsiteY125" fmla="*/ 937260 h 3680460"/>
                  <a:gd name="connsiteX126" fmla="*/ 2659380 w 3017559"/>
                  <a:gd name="connsiteY126" fmla="*/ 876300 h 3680460"/>
                  <a:gd name="connsiteX127" fmla="*/ 2644140 w 3017559"/>
                  <a:gd name="connsiteY127" fmla="*/ 845820 h 3680460"/>
                  <a:gd name="connsiteX128" fmla="*/ 2636520 w 3017559"/>
                  <a:gd name="connsiteY128" fmla="*/ 822960 h 3680460"/>
                  <a:gd name="connsiteX129" fmla="*/ 2621280 w 3017559"/>
                  <a:gd name="connsiteY129" fmla="*/ 800100 h 3680460"/>
                  <a:gd name="connsiteX130" fmla="*/ 2598420 w 3017559"/>
                  <a:gd name="connsiteY130" fmla="*/ 739140 h 3680460"/>
                  <a:gd name="connsiteX131" fmla="*/ 2458403 w 3017559"/>
                  <a:gd name="connsiteY131" fmla="*/ 621983 h 3680460"/>
                  <a:gd name="connsiteX132" fmla="*/ 2301240 w 3017559"/>
                  <a:gd name="connsiteY132" fmla="*/ 458152 h 3680460"/>
                  <a:gd name="connsiteX133" fmla="*/ 2237423 w 3017559"/>
                  <a:gd name="connsiteY133" fmla="*/ 406717 h 3680460"/>
                  <a:gd name="connsiteX134" fmla="*/ 2103120 w 3017559"/>
                  <a:gd name="connsiteY134" fmla="*/ 312420 h 3680460"/>
                  <a:gd name="connsiteX135" fmla="*/ 2042160 w 3017559"/>
                  <a:gd name="connsiteY135" fmla="*/ 266700 h 3680460"/>
                  <a:gd name="connsiteX136" fmla="*/ 2004060 w 3017559"/>
                  <a:gd name="connsiteY136" fmla="*/ 251460 h 3680460"/>
                  <a:gd name="connsiteX137" fmla="*/ 1958340 w 3017559"/>
                  <a:gd name="connsiteY137" fmla="*/ 220980 h 3680460"/>
                  <a:gd name="connsiteX138" fmla="*/ 1897380 w 3017559"/>
                  <a:gd name="connsiteY138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45720 w 3017559"/>
                  <a:gd name="connsiteY58" fmla="*/ 3436620 h 3680460"/>
                  <a:gd name="connsiteX59" fmla="*/ 0 w 3017559"/>
                  <a:gd name="connsiteY59" fmla="*/ 3352800 h 3680460"/>
                  <a:gd name="connsiteX60" fmla="*/ 30480 w 3017559"/>
                  <a:gd name="connsiteY60" fmla="*/ 3345180 h 3680460"/>
                  <a:gd name="connsiteX61" fmla="*/ 137160 w 3017559"/>
                  <a:gd name="connsiteY61" fmla="*/ 3360420 h 3680460"/>
                  <a:gd name="connsiteX62" fmla="*/ 167640 w 3017559"/>
                  <a:gd name="connsiteY62" fmla="*/ 3390900 h 3680460"/>
                  <a:gd name="connsiteX63" fmla="*/ 198120 w 3017559"/>
                  <a:gd name="connsiteY63" fmla="*/ 3406140 h 3680460"/>
                  <a:gd name="connsiteX64" fmla="*/ 350520 w 3017559"/>
                  <a:gd name="connsiteY64" fmla="*/ 3436620 h 3680460"/>
                  <a:gd name="connsiteX65" fmla="*/ 381000 w 3017559"/>
                  <a:gd name="connsiteY65" fmla="*/ 3451860 h 3680460"/>
                  <a:gd name="connsiteX66" fmla="*/ 449580 w 3017559"/>
                  <a:gd name="connsiteY66" fmla="*/ 3489960 h 3680460"/>
                  <a:gd name="connsiteX67" fmla="*/ 495300 w 3017559"/>
                  <a:gd name="connsiteY67" fmla="*/ 3520440 h 3680460"/>
                  <a:gd name="connsiteX68" fmla="*/ 525780 w 3017559"/>
                  <a:gd name="connsiteY68" fmla="*/ 3535680 h 3680460"/>
                  <a:gd name="connsiteX69" fmla="*/ 731520 w 3017559"/>
                  <a:gd name="connsiteY69" fmla="*/ 3558540 h 3680460"/>
                  <a:gd name="connsiteX70" fmla="*/ 1341120 w 3017559"/>
                  <a:gd name="connsiteY70" fmla="*/ 3550920 h 3680460"/>
                  <a:gd name="connsiteX71" fmla="*/ 1440180 w 3017559"/>
                  <a:gd name="connsiteY71" fmla="*/ 3528060 h 3680460"/>
                  <a:gd name="connsiteX72" fmla="*/ 1539240 w 3017559"/>
                  <a:gd name="connsiteY72" fmla="*/ 3520440 h 3680460"/>
                  <a:gd name="connsiteX73" fmla="*/ 1562100 w 3017559"/>
                  <a:gd name="connsiteY73" fmla="*/ 3512820 h 3680460"/>
                  <a:gd name="connsiteX74" fmla="*/ 1630680 w 3017559"/>
                  <a:gd name="connsiteY74" fmla="*/ 3497580 h 3680460"/>
                  <a:gd name="connsiteX75" fmla="*/ 1699260 w 3017559"/>
                  <a:gd name="connsiteY75" fmla="*/ 3474720 h 3680460"/>
                  <a:gd name="connsiteX76" fmla="*/ 1790700 w 3017559"/>
                  <a:gd name="connsiteY76" fmla="*/ 3451860 h 3680460"/>
                  <a:gd name="connsiteX77" fmla="*/ 1821180 w 3017559"/>
                  <a:gd name="connsiteY77" fmla="*/ 3444240 h 3680460"/>
                  <a:gd name="connsiteX78" fmla="*/ 1844040 w 3017559"/>
                  <a:gd name="connsiteY78" fmla="*/ 3429000 h 3680460"/>
                  <a:gd name="connsiteX79" fmla="*/ 1874520 w 3017559"/>
                  <a:gd name="connsiteY79" fmla="*/ 3421380 h 3680460"/>
                  <a:gd name="connsiteX80" fmla="*/ 1927860 w 3017559"/>
                  <a:gd name="connsiteY80" fmla="*/ 3398520 h 3680460"/>
                  <a:gd name="connsiteX81" fmla="*/ 1950720 w 3017559"/>
                  <a:gd name="connsiteY81" fmla="*/ 3390900 h 3680460"/>
                  <a:gd name="connsiteX82" fmla="*/ 2004060 w 3017559"/>
                  <a:gd name="connsiteY82" fmla="*/ 3360420 h 3680460"/>
                  <a:gd name="connsiteX83" fmla="*/ 2042160 w 3017559"/>
                  <a:gd name="connsiteY83" fmla="*/ 3352800 h 3680460"/>
                  <a:gd name="connsiteX84" fmla="*/ 2080260 w 3017559"/>
                  <a:gd name="connsiteY84" fmla="*/ 3337560 h 3680460"/>
                  <a:gd name="connsiteX85" fmla="*/ 2156460 w 3017559"/>
                  <a:gd name="connsiteY85" fmla="*/ 3299460 h 3680460"/>
                  <a:gd name="connsiteX86" fmla="*/ 2179320 w 3017559"/>
                  <a:gd name="connsiteY86" fmla="*/ 3284220 h 3680460"/>
                  <a:gd name="connsiteX87" fmla="*/ 2209800 w 3017559"/>
                  <a:gd name="connsiteY87" fmla="*/ 3276600 h 3680460"/>
                  <a:gd name="connsiteX88" fmla="*/ 2263140 w 3017559"/>
                  <a:gd name="connsiteY88" fmla="*/ 3230880 h 3680460"/>
                  <a:gd name="connsiteX89" fmla="*/ 2346960 w 3017559"/>
                  <a:gd name="connsiteY89" fmla="*/ 3154680 h 3680460"/>
                  <a:gd name="connsiteX90" fmla="*/ 2400300 w 3017559"/>
                  <a:gd name="connsiteY90" fmla="*/ 3070860 h 3680460"/>
                  <a:gd name="connsiteX91" fmla="*/ 2415540 w 3017559"/>
                  <a:gd name="connsiteY91" fmla="*/ 3048000 h 3680460"/>
                  <a:gd name="connsiteX92" fmla="*/ 2446020 w 3017559"/>
                  <a:gd name="connsiteY92" fmla="*/ 3032760 h 3680460"/>
                  <a:gd name="connsiteX93" fmla="*/ 2468880 w 3017559"/>
                  <a:gd name="connsiteY93" fmla="*/ 3009900 h 3680460"/>
                  <a:gd name="connsiteX94" fmla="*/ 2537460 w 3017559"/>
                  <a:gd name="connsiteY94" fmla="*/ 2926080 h 3680460"/>
                  <a:gd name="connsiteX95" fmla="*/ 2575560 w 3017559"/>
                  <a:gd name="connsiteY95" fmla="*/ 2880360 h 3680460"/>
                  <a:gd name="connsiteX96" fmla="*/ 2628900 w 3017559"/>
                  <a:gd name="connsiteY96" fmla="*/ 2811780 h 3680460"/>
                  <a:gd name="connsiteX97" fmla="*/ 2644140 w 3017559"/>
                  <a:gd name="connsiteY97" fmla="*/ 2773680 h 3680460"/>
                  <a:gd name="connsiteX98" fmla="*/ 2674620 w 3017559"/>
                  <a:gd name="connsiteY98" fmla="*/ 2727960 h 3680460"/>
                  <a:gd name="connsiteX99" fmla="*/ 2689860 w 3017559"/>
                  <a:gd name="connsiteY99" fmla="*/ 2705100 h 3680460"/>
                  <a:gd name="connsiteX100" fmla="*/ 2705100 w 3017559"/>
                  <a:gd name="connsiteY100" fmla="*/ 2667000 h 3680460"/>
                  <a:gd name="connsiteX101" fmla="*/ 2727960 w 3017559"/>
                  <a:gd name="connsiteY101" fmla="*/ 2621280 h 3680460"/>
                  <a:gd name="connsiteX102" fmla="*/ 2735580 w 3017559"/>
                  <a:gd name="connsiteY102" fmla="*/ 2590800 h 3680460"/>
                  <a:gd name="connsiteX103" fmla="*/ 2758440 w 3017559"/>
                  <a:gd name="connsiteY103" fmla="*/ 2545080 h 3680460"/>
                  <a:gd name="connsiteX104" fmla="*/ 2788920 w 3017559"/>
                  <a:gd name="connsiteY104" fmla="*/ 2484120 h 3680460"/>
                  <a:gd name="connsiteX105" fmla="*/ 2811780 w 3017559"/>
                  <a:gd name="connsiteY105" fmla="*/ 2407920 h 3680460"/>
                  <a:gd name="connsiteX106" fmla="*/ 2842260 w 3017559"/>
                  <a:gd name="connsiteY106" fmla="*/ 2324100 h 3680460"/>
                  <a:gd name="connsiteX107" fmla="*/ 2857500 w 3017559"/>
                  <a:gd name="connsiteY107" fmla="*/ 2247900 h 3680460"/>
                  <a:gd name="connsiteX108" fmla="*/ 2872740 w 3017559"/>
                  <a:gd name="connsiteY108" fmla="*/ 2194560 h 3680460"/>
                  <a:gd name="connsiteX109" fmla="*/ 2887980 w 3017559"/>
                  <a:gd name="connsiteY109" fmla="*/ 2148840 h 3680460"/>
                  <a:gd name="connsiteX110" fmla="*/ 2910840 w 3017559"/>
                  <a:gd name="connsiteY110" fmla="*/ 2087880 h 3680460"/>
                  <a:gd name="connsiteX111" fmla="*/ 2918460 w 3017559"/>
                  <a:gd name="connsiteY111" fmla="*/ 2049780 h 3680460"/>
                  <a:gd name="connsiteX112" fmla="*/ 2933700 w 3017559"/>
                  <a:gd name="connsiteY112" fmla="*/ 1844040 h 3680460"/>
                  <a:gd name="connsiteX113" fmla="*/ 2918460 w 3017559"/>
                  <a:gd name="connsiteY113" fmla="*/ 1470660 h 3680460"/>
                  <a:gd name="connsiteX114" fmla="*/ 2895600 w 3017559"/>
                  <a:gd name="connsiteY114" fmla="*/ 1371600 h 3680460"/>
                  <a:gd name="connsiteX115" fmla="*/ 2880360 w 3017559"/>
                  <a:gd name="connsiteY115" fmla="*/ 1341120 h 3680460"/>
                  <a:gd name="connsiteX116" fmla="*/ 2857500 w 3017559"/>
                  <a:gd name="connsiteY116" fmla="*/ 1272540 h 3680460"/>
                  <a:gd name="connsiteX117" fmla="*/ 2849880 w 3017559"/>
                  <a:gd name="connsiteY117" fmla="*/ 1234440 h 3680460"/>
                  <a:gd name="connsiteX118" fmla="*/ 2827020 w 3017559"/>
                  <a:gd name="connsiteY118" fmla="*/ 1196340 h 3680460"/>
                  <a:gd name="connsiteX119" fmla="*/ 2811780 w 3017559"/>
                  <a:gd name="connsiteY119" fmla="*/ 1165860 h 3680460"/>
                  <a:gd name="connsiteX120" fmla="*/ 2781300 w 3017559"/>
                  <a:gd name="connsiteY120" fmla="*/ 1127760 h 3680460"/>
                  <a:gd name="connsiteX121" fmla="*/ 2766060 w 3017559"/>
                  <a:gd name="connsiteY121" fmla="*/ 1089660 h 3680460"/>
                  <a:gd name="connsiteX122" fmla="*/ 2735580 w 3017559"/>
                  <a:gd name="connsiteY122" fmla="*/ 1043940 h 3680460"/>
                  <a:gd name="connsiteX123" fmla="*/ 2727960 w 3017559"/>
                  <a:gd name="connsiteY123" fmla="*/ 1021080 h 3680460"/>
                  <a:gd name="connsiteX124" fmla="*/ 2682240 w 3017559"/>
                  <a:gd name="connsiteY124" fmla="*/ 937260 h 3680460"/>
                  <a:gd name="connsiteX125" fmla="*/ 2659380 w 3017559"/>
                  <a:gd name="connsiteY125" fmla="*/ 876300 h 3680460"/>
                  <a:gd name="connsiteX126" fmla="*/ 2644140 w 3017559"/>
                  <a:gd name="connsiteY126" fmla="*/ 845820 h 3680460"/>
                  <a:gd name="connsiteX127" fmla="*/ 2636520 w 3017559"/>
                  <a:gd name="connsiteY127" fmla="*/ 822960 h 3680460"/>
                  <a:gd name="connsiteX128" fmla="*/ 2621280 w 3017559"/>
                  <a:gd name="connsiteY128" fmla="*/ 800100 h 3680460"/>
                  <a:gd name="connsiteX129" fmla="*/ 2598420 w 3017559"/>
                  <a:gd name="connsiteY129" fmla="*/ 739140 h 3680460"/>
                  <a:gd name="connsiteX130" fmla="*/ 2458403 w 3017559"/>
                  <a:gd name="connsiteY130" fmla="*/ 621983 h 3680460"/>
                  <a:gd name="connsiteX131" fmla="*/ 2301240 w 3017559"/>
                  <a:gd name="connsiteY131" fmla="*/ 458152 h 3680460"/>
                  <a:gd name="connsiteX132" fmla="*/ 2237423 w 3017559"/>
                  <a:gd name="connsiteY132" fmla="*/ 406717 h 3680460"/>
                  <a:gd name="connsiteX133" fmla="*/ 2103120 w 3017559"/>
                  <a:gd name="connsiteY133" fmla="*/ 312420 h 3680460"/>
                  <a:gd name="connsiteX134" fmla="*/ 2042160 w 3017559"/>
                  <a:gd name="connsiteY134" fmla="*/ 266700 h 3680460"/>
                  <a:gd name="connsiteX135" fmla="*/ 2004060 w 3017559"/>
                  <a:gd name="connsiteY135" fmla="*/ 251460 h 3680460"/>
                  <a:gd name="connsiteX136" fmla="*/ 1958340 w 3017559"/>
                  <a:gd name="connsiteY136" fmla="*/ 220980 h 3680460"/>
                  <a:gd name="connsiteX137" fmla="*/ 1897380 w 3017559"/>
                  <a:gd name="connsiteY137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45720 w 3017559"/>
                  <a:gd name="connsiteY57" fmla="*/ 3436620 h 3680460"/>
                  <a:gd name="connsiteX58" fmla="*/ 0 w 3017559"/>
                  <a:gd name="connsiteY58" fmla="*/ 3352800 h 3680460"/>
                  <a:gd name="connsiteX59" fmla="*/ 30480 w 3017559"/>
                  <a:gd name="connsiteY59" fmla="*/ 3345180 h 3680460"/>
                  <a:gd name="connsiteX60" fmla="*/ 137160 w 3017559"/>
                  <a:gd name="connsiteY60" fmla="*/ 3360420 h 3680460"/>
                  <a:gd name="connsiteX61" fmla="*/ 167640 w 3017559"/>
                  <a:gd name="connsiteY61" fmla="*/ 3390900 h 3680460"/>
                  <a:gd name="connsiteX62" fmla="*/ 198120 w 3017559"/>
                  <a:gd name="connsiteY62" fmla="*/ 3406140 h 3680460"/>
                  <a:gd name="connsiteX63" fmla="*/ 350520 w 3017559"/>
                  <a:gd name="connsiteY63" fmla="*/ 3436620 h 3680460"/>
                  <a:gd name="connsiteX64" fmla="*/ 381000 w 3017559"/>
                  <a:gd name="connsiteY64" fmla="*/ 3451860 h 3680460"/>
                  <a:gd name="connsiteX65" fmla="*/ 449580 w 3017559"/>
                  <a:gd name="connsiteY65" fmla="*/ 3489960 h 3680460"/>
                  <a:gd name="connsiteX66" fmla="*/ 495300 w 3017559"/>
                  <a:gd name="connsiteY66" fmla="*/ 3520440 h 3680460"/>
                  <a:gd name="connsiteX67" fmla="*/ 525780 w 3017559"/>
                  <a:gd name="connsiteY67" fmla="*/ 3535680 h 3680460"/>
                  <a:gd name="connsiteX68" fmla="*/ 731520 w 3017559"/>
                  <a:gd name="connsiteY68" fmla="*/ 3558540 h 3680460"/>
                  <a:gd name="connsiteX69" fmla="*/ 1341120 w 3017559"/>
                  <a:gd name="connsiteY69" fmla="*/ 3550920 h 3680460"/>
                  <a:gd name="connsiteX70" fmla="*/ 1440180 w 3017559"/>
                  <a:gd name="connsiteY70" fmla="*/ 3528060 h 3680460"/>
                  <a:gd name="connsiteX71" fmla="*/ 1539240 w 3017559"/>
                  <a:gd name="connsiteY71" fmla="*/ 3520440 h 3680460"/>
                  <a:gd name="connsiteX72" fmla="*/ 1562100 w 3017559"/>
                  <a:gd name="connsiteY72" fmla="*/ 3512820 h 3680460"/>
                  <a:gd name="connsiteX73" fmla="*/ 1630680 w 3017559"/>
                  <a:gd name="connsiteY73" fmla="*/ 3497580 h 3680460"/>
                  <a:gd name="connsiteX74" fmla="*/ 1699260 w 3017559"/>
                  <a:gd name="connsiteY74" fmla="*/ 3474720 h 3680460"/>
                  <a:gd name="connsiteX75" fmla="*/ 1790700 w 3017559"/>
                  <a:gd name="connsiteY75" fmla="*/ 3451860 h 3680460"/>
                  <a:gd name="connsiteX76" fmla="*/ 1821180 w 3017559"/>
                  <a:gd name="connsiteY76" fmla="*/ 3444240 h 3680460"/>
                  <a:gd name="connsiteX77" fmla="*/ 1844040 w 3017559"/>
                  <a:gd name="connsiteY77" fmla="*/ 3429000 h 3680460"/>
                  <a:gd name="connsiteX78" fmla="*/ 1874520 w 3017559"/>
                  <a:gd name="connsiteY78" fmla="*/ 3421380 h 3680460"/>
                  <a:gd name="connsiteX79" fmla="*/ 1927860 w 3017559"/>
                  <a:gd name="connsiteY79" fmla="*/ 3398520 h 3680460"/>
                  <a:gd name="connsiteX80" fmla="*/ 1950720 w 3017559"/>
                  <a:gd name="connsiteY80" fmla="*/ 3390900 h 3680460"/>
                  <a:gd name="connsiteX81" fmla="*/ 2004060 w 3017559"/>
                  <a:gd name="connsiteY81" fmla="*/ 3360420 h 3680460"/>
                  <a:gd name="connsiteX82" fmla="*/ 2042160 w 3017559"/>
                  <a:gd name="connsiteY82" fmla="*/ 3352800 h 3680460"/>
                  <a:gd name="connsiteX83" fmla="*/ 2080260 w 3017559"/>
                  <a:gd name="connsiteY83" fmla="*/ 3337560 h 3680460"/>
                  <a:gd name="connsiteX84" fmla="*/ 2156460 w 3017559"/>
                  <a:gd name="connsiteY84" fmla="*/ 3299460 h 3680460"/>
                  <a:gd name="connsiteX85" fmla="*/ 2179320 w 3017559"/>
                  <a:gd name="connsiteY85" fmla="*/ 3284220 h 3680460"/>
                  <a:gd name="connsiteX86" fmla="*/ 2209800 w 3017559"/>
                  <a:gd name="connsiteY86" fmla="*/ 3276600 h 3680460"/>
                  <a:gd name="connsiteX87" fmla="*/ 2263140 w 3017559"/>
                  <a:gd name="connsiteY87" fmla="*/ 3230880 h 3680460"/>
                  <a:gd name="connsiteX88" fmla="*/ 2346960 w 3017559"/>
                  <a:gd name="connsiteY88" fmla="*/ 3154680 h 3680460"/>
                  <a:gd name="connsiteX89" fmla="*/ 2400300 w 3017559"/>
                  <a:gd name="connsiteY89" fmla="*/ 3070860 h 3680460"/>
                  <a:gd name="connsiteX90" fmla="*/ 2415540 w 3017559"/>
                  <a:gd name="connsiteY90" fmla="*/ 3048000 h 3680460"/>
                  <a:gd name="connsiteX91" fmla="*/ 2446020 w 3017559"/>
                  <a:gd name="connsiteY91" fmla="*/ 3032760 h 3680460"/>
                  <a:gd name="connsiteX92" fmla="*/ 2468880 w 3017559"/>
                  <a:gd name="connsiteY92" fmla="*/ 3009900 h 3680460"/>
                  <a:gd name="connsiteX93" fmla="*/ 2537460 w 3017559"/>
                  <a:gd name="connsiteY93" fmla="*/ 2926080 h 3680460"/>
                  <a:gd name="connsiteX94" fmla="*/ 2575560 w 3017559"/>
                  <a:gd name="connsiteY94" fmla="*/ 2880360 h 3680460"/>
                  <a:gd name="connsiteX95" fmla="*/ 2628900 w 3017559"/>
                  <a:gd name="connsiteY95" fmla="*/ 2811780 h 3680460"/>
                  <a:gd name="connsiteX96" fmla="*/ 2644140 w 3017559"/>
                  <a:gd name="connsiteY96" fmla="*/ 2773680 h 3680460"/>
                  <a:gd name="connsiteX97" fmla="*/ 2674620 w 3017559"/>
                  <a:gd name="connsiteY97" fmla="*/ 2727960 h 3680460"/>
                  <a:gd name="connsiteX98" fmla="*/ 2689860 w 3017559"/>
                  <a:gd name="connsiteY98" fmla="*/ 2705100 h 3680460"/>
                  <a:gd name="connsiteX99" fmla="*/ 2705100 w 3017559"/>
                  <a:gd name="connsiteY99" fmla="*/ 2667000 h 3680460"/>
                  <a:gd name="connsiteX100" fmla="*/ 2727960 w 3017559"/>
                  <a:gd name="connsiteY100" fmla="*/ 2621280 h 3680460"/>
                  <a:gd name="connsiteX101" fmla="*/ 2735580 w 3017559"/>
                  <a:gd name="connsiteY101" fmla="*/ 2590800 h 3680460"/>
                  <a:gd name="connsiteX102" fmla="*/ 2758440 w 3017559"/>
                  <a:gd name="connsiteY102" fmla="*/ 2545080 h 3680460"/>
                  <a:gd name="connsiteX103" fmla="*/ 2788920 w 3017559"/>
                  <a:gd name="connsiteY103" fmla="*/ 2484120 h 3680460"/>
                  <a:gd name="connsiteX104" fmla="*/ 2811780 w 3017559"/>
                  <a:gd name="connsiteY104" fmla="*/ 2407920 h 3680460"/>
                  <a:gd name="connsiteX105" fmla="*/ 2842260 w 3017559"/>
                  <a:gd name="connsiteY105" fmla="*/ 2324100 h 3680460"/>
                  <a:gd name="connsiteX106" fmla="*/ 2857500 w 3017559"/>
                  <a:gd name="connsiteY106" fmla="*/ 2247900 h 3680460"/>
                  <a:gd name="connsiteX107" fmla="*/ 2872740 w 3017559"/>
                  <a:gd name="connsiteY107" fmla="*/ 2194560 h 3680460"/>
                  <a:gd name="connsiteX108" fmla="*/ 2887980 w 3017559"/>
                  <a:gd name="connsiteY108" fmla="*/ 2148840 h 3680460"/>
                  <a:gd name="connsiteX109" fmla="*/ 2910840 w 3017559"/>
                  <a:gd name="connsiteY109" fmla="*/ 2087880 h 3680460"/>
                  <a:gd name="connsiteX110" fmla="*/ 2918460 w 3017559"/>
                  <a:gd name="connsiteY110" fmla="*/ 2049780 h 3680460"/>
                  <a:gd name="connsiteX111" fmla="*/ 2933700 w 3017559"/>
                  <a:gd name="connsiteY111" fmla="*/ 1844040 h 3680460"/>
                  <a:gd name="connsiteX112" fmla="*/ 2918460 w 3017559"/>
                  <a:gd name="connsiteY112" fmla="*/ 1470660 h 3680460"/>
                  <a:gd name="connsiteX113" fmla="*/ 2895600 w 3017559"/>
                  <a:gd name="connsiteY113" fmla="*/ 1371600 h 3680460"/>
                  <a:gd name="connsiteX114" fmla="*/ 2880360 w 3017559"/>
                  <a:gd name="connsiteY114" fmla="*/ 1341120 h 3680460"/>
                  <a:gd name="connsiteX115" fmla="*/ 2857500 w 3017559"/>
                  <a:gd name="connsiteY115" fmla="*/ 1272540 h 3680460"/>
                  <a:gd name="connsiteX116" fmla="*/ 2849880 w 3017559"/>
                  <a:gd name="connsiteY116" fmla="*/ 1234440 h 3680460"/>
                  <a:gd name="connsiteX117" fmla="*/ 2827020 w 3017559"/>
                  <a:gd name="connsiteY117" fmla="*/ 1196340 h 3680460"/>
                  <a:gd name="connsiteX118" fmla="*/ 2811780 w 3017559"/>
                  <a:gd name="connsiteY118" fmla="*/ 1165860 h 3680460"/>
                  <a:gd name="connsiteX119" fmla="*/ 2781300 w 3017559"/>
                  <a:gd name="connsiteY119" fmla="*/ 1127760 h 3680460"/>
                  <a:gd name="connsiteX120" fmla="*/ 2766060 w 3017559"/>
                  <a:gd name="connsiteY120" fmla="*/ 1089660 h 3680460"/>
                  <a:gd name="connsiteX121" fmla="*/ 2735580 w 3017559"/>
                  <a:gd name="connsiteY121" fmla="*/ 1043940 h 3680460"/>
                  <a:gd name="connsiteX122" fmla="*/ 2727960 w 3017559"/>
                  <a:gd name="connsiteY122" fmla="*/ 1021080 h 3680460"/>
                  <a:gd name="connsiteX123" fmla="*/ 2682240 w 3017559"/>
                  <a:gd name="connsiteY123" fmla="*/ 937260 h 3680460"/>
                  <a:gd name="connsiteX124" fmla="*/ 2659380 w 3017559"/>
                  <a:gd name="connsiteY124" fmla="*/ 876300 h 3680460"/>
                  <a:gd name="connsiteX125" fmla="*/ 2644140 w 3017559"/>
                  <a:gd name="connsiteY125" fmla="*/ 845820 h 3680460"/>
                  <a:gd name="connsiteX126" fmla="*/ 2636520 w 3017559"/>
                  <a:gd name="connsiteY126" fmla="*/ 822960 h 3680460"/>
                  <a:gd name="connsiteX127" fmla="*/ 2621280 w 3017559"/>
                  <a:gd name="connsiteY127" fmla="*/ 800100 h 3680460"/>
                  <a:gd name="connsiteX128" fmla="*/ 2598420 w 3017559"/>
                  <a:gd name="connsiteY128" fmla="*/ 739140 h 3680460"/>
                  <a:gd name="connsiteX129" fmla="*/ 2458403 w 3017559"/>
                  <a:gd name="connsiteY129" fmla="*/ 621983 h 3680460"/>
                  <a:gd name="connsiteX130" fmla="*/ 2301240 w 3017559"/>
                  <a:gd name="connsiteY130" fmla="*/ 458152 h 3680460"/>
                  <a:gd name="connsiteX131" fmla="*/ 2237423 w 3017559"/>
                  <a:gd name="connsiteY131" fmla="*/ 406717 h 3680460"/>
                  <a:gd name="connsiteX132" fmla="*/ 2103120 w 3017559"/>
                  <a:gd name="connsiteY132" fmla="*/ 312420 h 3680460"/>
                  <a:gd name="connsiteX133" fmla="*/ 2042160 w 3017559"/>
                  <a:gd name="connsiteY133" fmla="*/ 266700 h 3680460"/>
                  <a:gd name="connsiteX134" fmla="*/ 2004060 w 3017559"/>
                  <a:gd name="connsiteY134" fmla="*/ 251460 h 3680460"/>
                  <a:gd name="connsiteX135" fmla="*/ 1958340 w 3017559"/>
                  <a:gd name="connsiteY135" fmla="*/ 220980 h 3680460"/>
                  <a:gd name="connsiteX136" fmla="*/ 1897380 w 3017559"/>
                  <a:gd name="connsiteY136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266700 w 3017559"/>
                  <a:gd name="connsiteY54" fmla="*/ 3604260 h 3680460"/>
                  <a:gd name="connsiteX55" fmla="*/ 160020 w 3017559"/>
                  <a:gd name="connsiteY55" fmla="*/ 3558540 h 3680460"/>
                  <a:gd name="connsiteX56" fmla="*/ 45720 w 3017559"/>
                  <a:gd name="connsiteY56" fmla="*/ 3436620 h 3680460"/>
                  <a:gd name="connsiteX57" fmla="*/ 0 w 3017559"/>
                  <a:gd name="connsiteY57" fmla="*/ 3352800 h 3680460"/>
                  <a:gd name="connsiteX58" fmla="*/ 30480 w 3017559"/>
                  <a:gd name="connsiteY58" fmla="*/ 3345180 h 3680460"/>
                  <a:gd name="connsiteX59" fmla="*/ 137160 w 3017559"/>
                  <a:gd name="connsiteY59" fmla="*/ 3360420 h 3680460"/>
                  <a:gd name="connsiteX60" fmla="*/ 167640 w 3017559"/>
                  <a:gd name="connsiteY60" fmla="*/ 3390900 h 3680460"/>
                  <a:gd name="connsiteX61" fmla="*/ 198120 w 3017559"/>
                  <a:gd name="connsiteY61" fmla="*/ 3406140 h 3680460"/>
                  <a:gd name="connsiteX62" fmla="*/ 350520 w 3017559"/>
                  <a:gd name="connsiteY62" fmla="*/ 3436620 h 3680460"/>
                  <a:gd name="connsiteX63" fmla="*/ 381000 w 3017559"/>
                  <a:gd name="connsiteY63" fmla="*/ 3451860 h 3680460"/>
                  <a:gd name="connsiteX64" fmla="*/ 449580 w 3017559"/>
                  <a:gd name="connsiteY64" fmla="*/ 3489960 h 3680460"/>
                  <a:gd name="connsiteX65" fmla="*/ 495300 w 3017559"/>
                  <a:gd name="connsiteY65" fmla="*/ 3520440 h 3680460"/>
                  <a:gd name="connsiteX66" fmla="*/ 525780 w 3017559"/>
                  <a:gd name="connsiteY66" fmla="*/ 3535680 h 3680460"/>
                  <a:gd name="connsiteX67" fmla="*/ 731520 w 3017559"/>
                  <a:gd name="connsiteY67" fmla="*/ 3558540 h 3680460"/>
                  <a:gd name="connsiteX68" fmla="*/ 1341120 w 3017559"/>
                  <a:gd name="connsiteY68" fmla="*/ 3550920 h 3680460"/>
                  <a:gd name="connsiteX69" fmla="*/ 1440180 w 3017559"/>
                  <a:gd name="connsiteY69" fmla="*/ 3528060 h 3680460"/>
                  <a:gd name="connsiteX70" fmla="*/ 1539240 w 3017559"/>
                  <a:gd name="connsiteY70" fmla="*/ 3520440 h 3680460"/>
                  <a:gd name="connsiteX71" fmla="*/ 1562100 w 3017559"/>
                  <a:gd name="connsiteY71" fmla="*/ 3512820 h 3680460"/>
                  <a:gd name="connsiteX72" fmla="*/ 1630680 w 3017559"/>
                  <a:gd name="connsiteY72" fmla="*/ 3497580 h 3680460"/>
                  <a:gd name="connsiteX73" fmla="*/ 1699260 w 3017559"/>
                  <a:gd name="connsiteY73" fmla="*/ 3474720 h 3680460"/>
                  <a:gd name="connsiteX74" fmla="*/ 1790700 w 3017559"/>
                  <a:gd name="connsiteY74" fmla="*/ 3451860 h 3680460"/>
                  <a:gd name="connsiteX75" fmla="*/ 1821180 w 3017559"/>
                  <a:gd name="connsiteY75" fmla="*/ 3444240 h 3680460"/>
                  <a:gd name="connsiteX76" fmla="*/ 1844040 w 3017559"/>
                  <a:gd name="connsiteY76" fmla="*/ 3429000 h 3680460"/>
                  <a:gd name="connsiteX77" fmla="*/ 1874520 w 3017559"/>
                  <a:gd name="connsiteY77" fmla="*/ 3421380 h 3680460"/>
                  <a:gd name="connsiteX78" fmla="*/ 1927860 w 3017559"/>
                  <a:gd name="connsiteY78" fmla="*/ 3398520 h 3680460"/>
                  <a:gd name="connsiteX79" fmla="*/ 1950720 w 3017559"/>
                  <a:gd name="connsiteY79" fmla="*/ 3390900 h 3680460"/>
                  <a:gd name="connsiteX80" fmla="*/ 2004060 w 3017559"/>
                  <a:gd name="connsiteY80" fmla="*/ 3360420 h 3680460"/>
                  <a:gd name="connsiteX81" fmla="*/ 2042160 w 3017559"/>
                  <a:gd name="connsiteY81" fmla="*/ 3352800 h 3680460"/>
                  <a:gd name="connsiteX82" fmla="*/ 2080260 w 3017559"/>
                  <a:gd name="connsiteY82" fmla="*/ 3337560 h 3680460"/>
                  <a:gd name="connsiteX83" fmla="*/ 2156460 w 3017559"/>
                  <a:gd name="connsiteY83" fmla="*/ 3299460 h 3680460"/>
                  <a:gd name="connsiteX84" fmla="*/ 2179320 w 3017559"/>
                  <a:gd name="connsiteY84" fmla="*/ 3284220 h 3680460"/>
                  <a:gd name="connsiteX85" fmla="*/ 2209800 w 3017559"/>
                  <a:gd name="connsiteY85" fmla="*/ 3276600 h 3680460"/>
                  <a:gd name="connsiteX86" fmla="*/ 2263140 w 3017559"/>
                  <a:gd name="connsiteY86" fmla="*/ 3230880 h 3680460"/>
                  <a:gd name="connsiteX87" fmla="*/ 2346960 w 3017559"/>
                  <a:gd name="connsiteY87" fmla="*/ 3154680 h 3680460"/>
                  <a:gd name="connsiteX88" fmla="*/ 2400300 w 3017559"/>
                  <a:gd name="connsiteY88" fmla="*/ 3070860 h 3680460"/>
                  <a:gd name="connsiteX89" fmla="*/ 2415540 w 3017559"/>
                  <a:gd name="connsiteY89" fmla="*/ 3048000 h 3680460"/>
                  <a:gd name="connsiteX90" fmla="*/ 2446020 w 3017559"/>
                  <a:gd name="connsiteY90" fmla="*/ 3032760 h 3680460"/>
                  <a:gd name="connsiteX91" fmla="*/ 2468880 w 3017559"/>
                  <a:gd name="connsiteY91" fmla="*/ 3009900 h 3680460"/>
                  <a:gd name="connsiteX92" fmla="*/ 2537460 w 3017559"/>
                  <a:gd name="connsiteY92" fmla="*/ 2926080 h 3680460"/>
                  <a:gd name="connsiteX93" fmla="*/ 2575560 w 3017559"/>
                  <a:gd name="connsiteY93" fmla="*/ 2880360 h 3680460"/>
                  <a:gd name="connsiteX94" fmla="*/ 2628900 w 3017559"/>
                  <a:gd name="connsiteY94" fmla="*/ 2811780 h 3680460"/>
                  <a:gd name="connsiteX95" fmla="*/ 2644140 w 3017559"/>
                  <a:gd name="connsiteY95" fmla="*/ 2773680 h 3680460"/>
                  <a:gd name="connsiteX96" fmla="*/ 2674620 w 3017559"/>
                  <a:gd name="connsiteY96" fmla="*/ 2727960 h 3680460"/>
                  <a:gd name="connsiteX97" fmla="*/ 2689860 w 3017559"/>
                  <a:gd name="connsiteY97" fmla="*/ 2705100 h 3680460"/>
                  <a:gd name="connsiteX98" fmla="*/ 2705100 w 3017559"/>
                  <a:gd name="connsiteY98" fmla="*/ 2667000 h 3680460"/>
                  <a:gd name="connsiteX99" fmla="*/ 2727960 w 3017559"/>
                  <a:gd name="connsiteY99" fmla="*/ 2621280 h 3680460"/>
                  <a:gd name="connsiteX100" fmla="*/ 2735580 w 3017559"/>
                  <a:gd name="connsiteY100" fmla="*/ 2590800 h 3680460"/>
                  <a:gd name="connsiteX101" fmla="*/ 2758440 w 3017559"/>
                  <a:gd name="connsiteY101" fmla="*/ 2545080 h 3680460"/>
                  <a:gd name="connsiteX102" fmla="*/ 2788920 w 3017559"/>
                  <a:gd name="connsiteY102" fmla="*/ 2484120 h 3680460"/>
                  <a:gd name="connsiteX103" fmla="*/ 2811780 w 3017559"/>
                  <a:gd name="connsiteY103" fmla="*/ 2407920 h 3680460"/>
                  <a:gd name="connsiteX104" fmla="*/ 2842260 w 3017559"/>
                  <a:gd name="connsiteY104" fmla="*/ 2324100 h 3680460"/>
                  <a:gd name="connsiteX105" fmla="*/ 2857500 w 3017559"/>
                  <a:gd name="connsiteY105" fmla="*/ 2247900 h 3680460"/>
                  <a:gd name="connsiteX106" fmla="*/ 2872740 w 3017559"/>
                  <a:gd name="connsiteY106" fmla="*/ 2194560 h 3680460"/>
                  <a:gd name="connsiteX107" fmla="*/ 2887980 w 3017559"/>
                  <a:gd name="connsiteY107" fmla="*/ 2148840 h 3680460"/>
                  <a:gd name="connsiteX108" fmla="*/ 2910840 w 3017559"/>
                  <a:gd name="connsiteY108" fmla="*/ 2087880 h 3680460"/>
                  <a:gd name="connsiteX109" fmla="*/ 2918460 w 3017559"/>
                  <a:gd name="connsiteY109" fmla="*/ 2049780 h 3680460"/>
                  <a:gd name="connsiteX110" fmla="*/ 2933700 w 3017559"/>
                  <a:gd name="connsiteY110" fmla="*/ 1844040 h 3680460"/>
                  <a:gd name="connsiteX111" fmla="*/ 2918460 w 3017559"/>
                  <a:gd name="connsiteY111" fmla="*/ 1470660 h 3680460"/>
                  <a:gd name="connsiteX112" fmla="*/ 2895600 w 3017559"/>
                  <a:gd name="connsiteY112" fmla="*/ 1371600 h 3680460"/>
                  <a:gd name="connsiteX113" fmla="*/ 2880360 w 3017559"/>
                  <a:gd name="connsiteY113" fmla="*/ 1341120 h 3680460"/>
                  <a:gd name="connsiteX114" fmla="*/ 2857500 w 3017559"/>
                  <a:gd name="connsiteY114" fmla="*/ 1272540 h 3680460"/>
                  <a:gd name="connsiteX115" fmla="*/ 2849880 w 3017559"/>
                  <a:gd name="connsiteY115" fmla="*/ 1234440 h 3680460"/>
                  <a:gd name="connsiteX116" fmla="*/ 2827020 w 3017559"/>
                  <a:gd name="connsiteY116" fmla="*/ 1196340 h 3680460"/>
                  <a:gd name="connsiteX117" fmla="*/ 2811780 w 3017559"/>
                  <a:gd name="connsiteY117" fmla="*/ 1165860 h 3680460"/>
                  <a:gd name="connsiteX118" fmla="*/ 2781300 w 3017559"/>
                  <a:gd name="connsiteY118" fmla="*/ 1127760 h 3680460"/>
                  <a:gd name="connsiteX119" fmla="*/ 2766060 w 3017559"/>
                  <a:gd name="connsiteY119" fmla="*/ 1089660 h 3680460"/>
                  <a:gd name="connsiteX120" fmla="*/ 2735580 w 3017559"/>
                  <a:gd name="connsiteY120" fmla="*/ 1043940 h 3680460"/>
                  <a:gd name="connsiteX121" fmla="*/ 2727960 w 3017559"/>
                  <a:gd name="connsiteY121" fmla="*/ 1021080 h 3680460"/>
                  <a:gd name="connsiteX122" fmla="*/ 2682240 w 3017559"/>
                  <a:gd name="connsiteY122" fmla="*/ 937260 h 3680460"/>
                  <a:gd name="connsiteX123" fmla="*/ 2659380 w 3017559"/>
                  <a:gd name="connsiteY123" fmla="*/ 876300 h 3680460"/>
                  <a:gd name="connsiteX124" fmla="*/ 2644140 w 3017559"/>
                  <a:gd name="connsiteY124" fmla="*/ 845820 h 3680460"/>
                  <a:gd name="connsiteX125" fmla="*/ 2636520 w 3017559"/>
                  <a:gd name="connsiteY125" fmla="*/ 822960 h 3680460"/>
                  <a:gd name="connsiteX126" fmla="*/ 2621280 w 3017559"/>
                  <a:gd name="connsiteY126" fmla="*/ 800100 h 3680460"/>
                  <a:gd name="connsiteX127" fmla="*/ 2598420 w 3017559"/>
                  <a:gd name="connsiteY127" fmla="*/ 739140 h 3680460"/>
                  <a:gd name="connsiteX128" fmla="*/ 2458403 w 3017559"/>
                  <a:gd name="connsiteY128" fmla="*/ 621983 h 3680460"/>
                  <a:gd name="connsiteX129" fmla="*/ 2301240 w 3017559"/>
                  <a:gd name="connsiteY129" fmla="*/ 458152 h 3680460"/>
                  <a:gd name="connsiteX130" fmla="*/ 2237423 w 3017559"/>
                  <a:gd name="connsiteY130" fmla="*/ 406717 h 3680460"/>
                  <a:gd name="connsiteX131" fmla="*/ 2103120 w 3017559"/>
                  <a:gd name="connsiteY131" fmla="*/ 312420 h 3680460"/>
                  <a:gd name="connsiteX132" fmla="*/ 2042160 w 3017559"/>
                  <a:gd name="connsiteY132" fmla="*/ 266700 h 3680460"/>
                  <a:gd name="connsiteX133" fmla="*/ 2004060 w 3017559"/>
                  <a:gd name="connsiteY133" fmla="*/ 251460 h 3680460"/>
                  <a:gd name="connsiteX134" fmla="*/ 1958340 w 3017559"/>
                  <a:gd name="connsiteY134" fmla="*/ 220980 h 3680460"/>
                  <a:gd name="connsiteX135" fmla="*/ 1897380 w 3017559"/>
                  <a:gd name="connsiteY135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137160 w 3017559"/>
                  <a:gd name="connsiteY57" fmla="*/ 3360420 h 3680460"/>
                  <a:gd name="connsiteX58" fmla="*/ 167640 w 3017559"/>
                  <a:gd name="connsiteY58" fmla="*/ 3390900 h 3680460"/>
                  <a:gd name="connsiteX59" fmla="*/ 198120 w 3017559"/>
                  <a:gd name="connsiteY59" fmla="*/ 3406140 h 3680460"/>
                  <a:gd name="connsiteX60" fmla="*/ 350520 w 3017559"/>
                  <a:gd name="connsiteY60" fmla="*/ 3436620 h 3680460"/>
                  <a:gd name="connsiteX61" fmla="*/ 381000 w 3017559"/>
                  <a:gd name="connsiteY61" fmla="*/ 3451860 h 3680460"/>
                  <a:gd name="connsiteX62" fmla="*/ 449580 w 3017559"/>
                  <a:gd name="connsiteY62" fmla="*/ 3489960 h 3680460"/>
                  <a:gd name="connsiteX63" fmla="*/ 495300 w 3017559"/>
                  <a:gd name="connsiteY63" fmla="*/ 3520440 h 3680460"/>
                  <a:gd name="connsiteX64" fmla="*/ 525780 w 3017559"/>
                  <a:gd name="connsiteY64" fmla="*/ 3535680 h 3680460"/>
                  <a:gd name="connsiteX65" fmla="*/ 731520 w 3017559"/>
                  <a:gd name="connsiteY65" fmla="*/ 3558540 h 3680460"/>
                  <a:gd name="connsiteX66" fmla="*/ 1341120 w 3017559"/>
                  <a:gd name="connsiteY66" fmla="*/ 3550920 h 3680460"/>
                  <a:gd name="connsiteX67" fmla="*/ 1440180 w 3017559"/>
                  <a:gd name="connsiteY67" fmla="*/ 3528060 h 3680460"/>
                  <a:gd name="connsiteX68" fmla="*/ 1539240 w 3017559"/>
                  <a:gd name="connsiteY68" fmla="*/ 3520440 h 3680460"/>
                  <a:gd name="connsiteX69" fmla="*/ 1562100 w 3017559"/>
                  <a:gd name="connsiteY69" fmla="*/ 3512820 h 3680460"/>
                  <a:gd name="connsiteX70" fmla="*/ 1630680 w 3017559"/>
                  <a:gd name="connsiteY70" fmla="*/ 3497580 h 3680460"/>
                  <a:gd name="connsiteX71" fmla="*/ 1699260 w 3017559"/>
                  <a:gd name="connsiteY71" fmla="*/ 3474720 h 3680460"/>
                  <a:gd name="connsiteX72" fmla="*/ 1790700 w 3017559"/>
                  <a:gd name="connsiteY72" fmla="*/ 3451860 h 3680460"/>
                  <a:gd name="connsiteX73" fmla="*/ 1821180 w 3017559"/>
                  <a:gd name="connsiteY73" fmla="*/ 3444240 h 3680460"/>
                  <a:gd name="connsiteX74" fmla="*/ 1844040 w 3017559"/>
                  <a:gd name="connsiteY74" fmla="*/ 3429000 h 3680460"/>
                  <a:gd name="connsiteX75" fmla="*/ 1874520 w 3017559"/>
                  <a:gd name="connsiteY75" fmla="*/ 3421380 h 3680460"/>
                  <a:gd name="connsiteX76" fmla="*/ 1927860 w 3017559"/>
                  <a:gd name="connsiteY76" fmla="*/ 3398520 h 3680460"/>
                  <a:gd name="connsiteX77" fmla="*/ 1950720 w 3017559"/>
                  <a:gd name="connsiteY77" fmla="*/ 3390900 h 3680460"/>
                  <a:gd name="connsiteX78" fmla="*/ 2004060 w 3017559"/>
                  <a:gd name="connsiteY78" fmla="*/ 3360420 h 3680460"/>
                  <a:gd name="connsiteX79" fmla="*/ 2042160 w 3017559"/>
                  <a:gd name="connsiteY79" fmla="*/ 3352800 h 3680460"/>
                  <a:gd name="connsiteX80" fmla="*/ 2080260 w 3017559"/>
                  <a:gd name="connsiteY80" fmla="*/ 3337560 h 3680460"/>
                  <a:gd name="connsiteX81" fmla="*/ 2156460 w 3017559"/>
                  <a:gd name="connsiteY81" fmla="*/ 3299460 h 3680460"/>
                  <a:gd name="connsiteX82" fmla="*/ 2179320 w 3017559"/>
                  <a:gd name="connsiteY82" fmla="*/ 3284220 h 3680460"/>
                  <a:gd name="connsiteX83" fmla="*/ 2209800 w 3017559"/>
                  <a:gd name="connsiteY83" fmla="*/ 3276600 h 3680460"/>
                  <a:gd name="connsiteX84" fmla="*/ 2263140 w 3017559"/>
                  <a:gd name="connsiteY84" fmla="*/ 3230880 h 3680460"/>
                  <a:gd name="connsiteX85" fmla="*/ 2346960 w 3017559"/>
                  <a:gd name="connsiteY85" fmla="*/ 3154680 h 3680460"/>
                  <a:gd name="connsiteX86" fmla="*/ 2400300 w 3017559"/>
                  <a:gd name="connsiteY86" fmla="*/ 3070860 h 3680460"/>
                  <a:gd name="connsiteX87" fmla="*/ 2415540 w 3017559"/>
                  <a:gd name="connsiteY87" fmla="*/ 3048000 h 3680460"/>
                  <a:gd name="connsiteX88" fmla="*/ 2446020 w 3017559"/>
                  <a:gd name="connsiteY88" fmla="*/ 3032760 h 3680460"/>
                  <a:gd name="connsiteX89" fmla="*/ 2468880 w 3017559"/>
                  <a:gd name="connsiteY89" fmla="*/ 3009900 h 3680460"/>
                  <a:gd name="connsiteX90" fmla="*/ 2537460 w 3017559"/>
                  <a:gd name="connsiteY90" fmla="*/ 2926080 h 3680460"/>
                  <a:gd name="connsiteX91" fmla="*/ 2575560 w 3017559"/>
                  <a:gd name="connsiteY91" fmla="*/ 2880360 h 3680460"/>
                  <a:gd name="connsiteX92" fmla="*/ 2628900 w 3017559"/>
                  <a:gd name="connsiteY92" fmla="*/ 2811780 h 3680460"/>
                  <a:gd name="connsiteX93" fmla="*/ 2644140 w 3017559"/>
                  <a:gd name="connsiteY93" fmla="*/ 2773680 h 3680460"/>
                  <a:gd name="connsiteX94" fmla="*/ 2674620 w 3017559"/>
                  <a:gd name="connsiteY94" fmla="*/ 2727960 h 3680460"/>
                  <a:gd name="connsiteX95" fmla="*/ 2689860 w 3017559"/>
                  <a:gd name="connsiteY95" fmla="*/ 2705100 h 3680460"/>
                  <a:gd name="connsiteX96" fmla="*/ 2705100 w 3017559"/>
                  <a:gd name="connsiteY96" fmla="*/ 2667000 h 3680460"/>
                  <a:gd name="connsiteX97" fmla="*/ 2727960 w 3017559"/>
                  <a:gd name="connsiteY97" fmla="*/ 2621280 h 3680460"/>
                  <a:gd name="connsiteX98" fmla="*/ 2735580 w 3017559"/>
                  <a:gd name="connsiteY98" fmla="*/ 2590800 h 3680460"/>
                  <a:gd name="connsiteX99" fmla="*/ 2758440 w 3017559"/>
                  <a:gd name="connsiteY99" fmla="*/ 2545080 h 3680460"/>
                  <a:gd name="connsiteX100" fmla="*/ 2788920 w 3017559"/>
                  <a:gd name="connsiteY100" fmla="*/ 2484120 h 3680460"/>
                  <a:gd name="connsiteX101" fmla="*/ 2811780 w 3017559"/>
                  <a:gd name="connsiteY101" fmla="*/ 2407920 h 3680460"/>
                  <a:gd name="connsiteX102" fmla="*/ 2842260 w 3017559"/>
                  <a:gd name="connsiteY102" fmla="*/ 2324100 h 3680460"/>
                  <a:gd name="connsiteX103" fmla="*/ 2857500 w 3017559"/>
                  <a:gd name="connsiteY103" fmla="*/ 2247900 h 3680460"/>
                  <a:gd name="connsiteX104" fmla="*/ 2872740 w 3017559"/>
                  <a:gd name="connsiteY104" fmla="*/ 2194560 h 3680460"/>
                  <a:gd name="connsiteX105" fmla="*/ 2887980 w 3017559"/>
                  <a:gd name="connsiteY105" fmla="*/ 2148840 h 3680460"/>
                  <a:gd name="connsiteX106" fmla="*/ 2910840 w 3017559"/>
                  <a:gd name="connsiteY106" fmla="*/ 2087880 h 3680460"/>
                  <a:gd name="connsiteX107" fmla="*/ 2918460 w 3017559"/>
                  <a:gd name="connsiteY107" fmla="*/ 2049780 h 3680460"/>
                  <a:gd name="connsiteX108" fmla="*/ 2933700 w 3017559"/>
                  <a:gd name="connsiteY108" fmla="*/ 1844040 h 3680460"/>
                  <a:gd name="connsiteX109" fmla="*/ 2918460 w 3017559"/>
                  <a:gd name="connsiteY109" fmla="*/ 1470660 h 3680460"/>
                  <a:gd name="connsiteX110" fmla="*/ 2895600 w 3017559"/>
                  <a:gd name="connsiteY110" fmla="*/ 1371600 h 3680460"/>
                  <a:gd name="connsiteX111" fmla="*/ 2880360 w 3017559"/>
                  <a:gd name="connsiteY111" fmla="*/ 1341120 h 3680460"/>
                  <a:gd name="connsiteX112" fmla="*/ 2857500 w 3017559"/>
                  <a:gd name="connsiteY112" fmla="*/ 1272540 h 3680460"/>
                  <a:gd name="connsiteX113" fmla="*/ 2849880 w 3017559"/>
                  <a:gd name="connsiteY113" fmla="*/ 1234440 h 3680460"/>
                  <a:gd name="connsiteX114" fmla="*/ 2827020 w 3017559"/>
                  <a:gd name="connsiteY114" fmla="*/ 1196340 h 3680460"/>
                  <a:gd name="connsiteX115" fmla="*/ 2811780 w 3017559"/>
                  <a:gd name="connsiteY115" fmla="*/ 1165860 h 3680460"/>
                  <a:gd name="connsiteX116" fmla="*/ 2781300 w 3017559"/>
                  <a:gd name="connsiteY116" fmla="*/ 1127760 h 3680460"/>
                  <a:gd name="connsiteX117" fmla="*/ 2766060 w 3017559"/>
                  <a:gd name="connsiteY117" fmla="*/ 1089660 h 3680460"/>
                  <a:gd name="connsiteX118" fmla="*/ 2735580 w 3017559"/>
                  <a:gd name="connsiteY118" fmla="*/ 1043940 h 3680460"/>
                  <a:gd name="connsiteX119" fmla="*/ 2727960 w 3017559"/>
                  <a:gd name="connsiteY119" fmla="*/ 1021080 h 3680460"/>
                  <a:gd name="connsiteX120" fmla="*/ 2682240 w 3017559"/>
                  <a:gd name="connsiteY120" fmla="*/ 937260 h 3680460"/>
                  <a:gd name="connsiteX121" fmla="*/ 2659380 w 3017559"/>
                  <a:gd name="connsiteY121" fmla="*/ 876300 h 3680460"/>
                  <a:gd name="connsiteX122" fmla="*/ 2644140 w 3017559"/>
                  <a:gd name="connsiteY122" fmla="*/ 845820 h 3680460"/>
                  <a:gd name="connsiteX123" fmla="*/ 2636520 w 3017559"/>
                  <a:gd name="connsiteY123" fmla="*/ 822960 h 3680460"/>
                  <a:gd name="connsiteX124" fmla="*/ 2621280 w 3017559"/>
                  <a:gd name="connsiteY124" fmla="*/ 800100 h 3680460"/>
                  <a:gd name="connsiteX125" fmla="*/ 2598420 w 3017559"/>
                  <a:gd name="connsiteY125" fmla="*/ 739140 h 3680460"/>
                  <a:gd name="connsiteX126" fmla="*/ 2458403 w 3017559"/>
                  <a:gd name="connsiteY126" fmla="*/ 621983 h 3680460"/>
                  <a:gd name="connsiteX127" fmla="*/ 2301240 w 3017559"/>
                  <a:gd name="connsiteY127" fmla="*/ 458152 h 3680460"/>
                  <a:gd name="connsiteX128" fmla="*/ 2237423 w 3017559"/>
                  <a:gd name="connsiteY128" fmla="*/ 406717 h 3680460"/>
                  <a:gd name="connsiteX129" fmla="*/ 2103120 w 3017559"/>
                  <a:gd name="connsiteY129" fmla="*/ 312420 h 3680460"/>
                  <a:gd name="connsiteX130" fmla="*/ 2042160 w 3017559"/>
                  <a:gd name="connsiteY130" fmla="*/ 266700 h 3680460"/>
                  <a:gd name="connsiteX131" fmla="*/ 2004060 w 3017559"/>
                  <a:gd name="connsiteY131" fmla="*/ 251460 h 3680460"/>
                  <a:gd name="connsiteX132" fmla="*/ 1958340 w 3017559"/>
                  <a:gd name="connsiteY132" fmla="*/ 220980 h 3680460"/>
                  <a:gd name="connsiteX133" fmla="*/ 1897380 w 3017559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188595 w 3008034"/>
                  <a:gd name="connsiteY59" fmla="*/ 3406140 h 3680460"/>
                  <a:gd name="connsiteX60" fmla="*/ 340995 w 3008034"/>
                  <a:gd name="connsiteY60" fmla="*/ 3436620 h 3680460"/>
                  <a:gd name="connsiteX61" fmla="*/ 371475 w 3008034"/>
                  <a:gd name="connsiteY61" fmla="*/ 3451860 h 3680460"/>
                  <a:gd name="connsiteX62" fmla="*/ 440055 w 3008034"/>
                  <a:gd name="connsiteY62" fmla="*/ 3489960 h 3680460"/>
                  <a:gd name="connsiteX63" fmla="*/ 485775 w 3008034"/>
                  <a:gd name="connsiteY63" fmla="*/ 3520440 h 3680460"/>
                  <a:gd name="connsiteX64" fmla="*/ 516255 w 3008034"/>
                  <a:gd name="connsiteY64" fmla="*/ 3535680 h 3680460"/>
                  <a:gd name="connsiteX65" fmla="*/ 721995 w 3008034"/>
                  <a:gd name="connsiteY65" fmla="*/ 3558540 h 3680460"/>
                  <a:gd name="connsiteX66" fmla="*/ 1331595 w 3008034"/>
                  <a:gd name="connsiteY66" fmla="*/ 3550920 h 3680460"/>
                  <a:gd name="connsiteX67" fmla="*/ 1430655 w 3008034"/>
                  <a:gd name="connsiteY67" fmla="*/ 3528060 h 3680460"/>
                  <a:gd name="connsiteX68" fmla="*/ 1529715 w 3008034"/>
                  <a:gd name="connsiteY68" fmla="*/ 3520440 h 3680460"/>
                  <a:gd name="connsiteX69" fmla="*/ 1552575 w 3008034"/>
                  <a:gd name="connsiteY69" fmla="*/ 3512820 h 3680460"/>
                  <a:gd name="connsiteX70" fmla="*/ 1621155 w 3008034"/>
                  <a:gd name="connsiteY70" fmla="*/ 3497580 h 3680460"/>
                  <a:gd name="connsiteX71" fmla="*/ 1689735 w 3008034"/>
                  <a:gd name="connsiteY71" fmla="*/ 3474720 h 3680460"/>
                  <a:gd name="connsiteX72" fmla="*/ 1781175 w 3008034"/>
                  <a:gd name="connsiteY72" fmla="*/ 3451860 h 3680460"/>
                  <a:gd name="connsiteX73" fmla="*/ 1811655 w 3008034"/>
                  <a:gd name="connsiteY73" fmla="*/ 3444240 h 3680460"/>
                  <a:gd name="connsiteX74" fmla="*/ 1834515 w 3008034"/>
                  <a:gd name="connsiteY74" fmla="*/ 3429000 h 3680460"/>
                  <a:gd name="connsiteX75" fmla="*/ 1864995 w 3008034"/>
                  <a:gd name="connsiteY75" fmla="*/ 3421380 h 3680460"/>
                  <a:gd name="connsiteX76" fmla="*/ 1918335 w 3008034"/>
                  <a:gd name="connsiteY76" fmla="*/ 3398520 h 3680460"/>
                  <a:gd name="connsiteX77" fmla="*/ 1941195 w 3008034"/>
                  <a:gd name="connsiteY77" fmla="*/ 3390900 h 3680460"/>
                  <a:gd name="connsiteX78" fmla="*/ 1994535 w 3008034"/>
                  <a:gd name="connsiteY78" fmla="*/ 3360420 h 3680460"/>
                  <a:gd name="connsiteX79" fmla="*/ 2032635 w 3008034"/>
                  <a:gd name="connsiteY79" fmla="*/ 3352800 h 3680460"/>
                  <a:gd name="connsiteX80" fmla="*/ 2070735 w 3008034"/>
                  <a:gd name="connsiteY80" fmla="*/ 3337560 h 3680460"/>
                  <a:gd name="connsiteX81" fmla="*/ 2146935 w 3008034"/>
                  <a:gd name="connsiteY81" fmla="*/ 3299460 h 3680460"/>
                  <a:gd name="connsiteX82" fmla="*/ 2169795 w 3008034"/>
                  <a:gd name="connsiteY82" fmla="*/ 3284220 h 3680460"/>
                  <a:gd name="connsiteX83" fmla="*/ 2200275 w 3008034"/>
                  <a:gd name="connsiteY83" fmla="*/ 3276600 h 3680460"/>
                  <a:gd name="connsiteX84" fmla="*/ 2253615 w 3008034"/>
                  <a:gd name="connsiteY84" fmla="*/ 3230880 h 3680460"/>
                  <a:gd name="connsiteX85" fmla="*/ 2337435 w 3008034"/>
                  <a:gd name="connsiteY85" fmla="*/ 3154680 h 3680460"/>
                  <a:gd name="connsiteX86" fmla="*/ 2390775 w 3008034"/>
                  <a:gd name="connsiteY86" fmla="*/ 3070860 h 3680460"/>
                  <a:gd name="connsiteX87" fmla="*/ 2406015 w 3008034"/>
                  <a:gd name="connsiteY87" fmla="*/ 3048000 h 3680460"/>
                  <a:gd name="connsiteX88" fmla="*/ 2436495 w 3008034"/>
                  <a:gd name="connsiteY88" fmla="*/ 3032760 h 3680460"/>
                  <a:gd name="connsiteX89" fmla="*/ 2459355 w 3008034"/>
                  <a:gd name="connsiteY89" fmla="*/ 3009900 h 3680460"/>
                  <a:gd name="connsiteX90" fmla="*/ 2527935 w 3008034"/>
                  <a:gd name="connsiteY90" fmla="*/ 2926080 h 3680460"/>
                  <a:gd name="connsiteX91" fmla="*/ 2566035 w 3008034"/>
                  <a:gd name="connsiteY91" fmla="*/ 2880360 h 3680460"/>
                  <a:gd name="connsiteX92" fmla="*/ 2619375 w 3008034"/>
                  <a:gd name="connsiteY92" fmla="*/ 2811780 h 3680460"/>
                  <a:gd name="connsiteX93" fmla="*/ 2634615 w 3008034"/>
                  <a:gd name="connsiteY93" fmla="*/ 2773680 h 3680460"/>
                  <a:gd name="connsiteX94" fmla="*/ 2665095 w 3008034"/>
                  <a:gd name="connsiteY94" fmla="*/ 2727960 h 3680460"/>
                  <a:gd name="connsiteX95" fmla="*/ 2680335 w 3008034"/>
                  <a:gd name="connsiteY95" fmla="*/ 2705100 h 3680460"/>
                  <a:gd name="connsiteX96" fmla="*/ 2695575 w 3008034"/>
                  <a:gd name="connsiteY96" fmla="*/ 2667000 h 3680460"/>
                  <a:gd name="connsiteX97" fmla="*/ 2718435 w 3008034"/>
                  <a:gd name="connsiteY97" fmla="*/ 2621280 h 3680460"/>
                  <a:gd name="connsiteX98" fmla="*/ 2726055 w 3008034"/>
                  <a:gd name="connsiteY98" fmla="*/ 2590800 h 3680460"/>
                  <a:gd name="connsiteX99" fmla="*/ 2748915 w 3008034"/>
                  <a:gd name="connsiteY99" fmla="*/ 2545080 h 3680460"/>
                  <a:gd name="connsiteX100" fmla="*/ 2779395 w 3008034"/>
                  <a:gd name="connsiteY100" fmla="*/ 2484120 h 3680460"/>
                  <a:gd name="connsiteX101" fmla="*/ 2802255 w 3008034"/>
                  <a:gd name="connsiteY101" fmla="*/ 2407920 h 3680460"/>
                  <a:gd name="connsiteX102" fmla="*/ 2832735 w 3008034"/>
                  <a:gd name="connsiteY102" fmla="*/ 2324100 h 3680460"/>
                  <a:gd name="connsiteX103" fmla="*/ 2847975 w 3008034"/>
                  <a:gd name="connsiteY103" fmla="*/ 2247900 h 3680460"/>
                  <a:gd name="connsiteX104" fmla="*/ 2863215 w 3008034"/>
                  <a:gd name="connsiteY104" fmla="*/ 2194560 h 3680460"/>
                  <a:gd name="connsiteX105" fmla="*/ 2878455 w 3008034"/>
                  <a:gd name="connsiteY105" fmla="*/ 2148840 h 3680460"/>
                  <a:gd name="connsiteX106" fmla="*/ 2901315 w 3008034"/>
                  <a:gd name="connsiteY106" fmla="*/ 2087880 h 3680460"/>
                  <a:gd name="connsiteX107" fmla="*/ 2908935 w 3008034"/>
                  <a:gd name="connsiteY107" fmla="*/ 2049780 h 3680460"/>
                  <a:gd name="connsiteX108" fmla="*/ 2924175 w 3008034"/>
                  <a:gd name="connsiteY108" fmla="*/ 1844040 h 3680460"/>
                  <a:gd name="connsiteX109" fmla="*/ 2908935 w 3008034"/>
                  <a:gd name="connsiteY109" fmla="*/ 1470660 h 3680460"/>
                  <a:gd name="connsiteX110" fmla="*/ 2886075 w 3008034"/>
                  <a:gd name="connsiteY110" fmla="*/ 1371600 h 3680460"/>
                  <a:gd name="connsiteX111" fmla="*/ 2870835 w 3008034"/>
                  <a:gd name="connsiteY111" fmla="*/ 1341120 h 3680460"/>
                  <a:gd name="connsiteX112" fmla="*/ 2847975 w 3008034"/>
                  <a:gd name="connsiteY112" fmla="*/ 1272540 h 3680460"/>
                  <a:gd name="connsiteX113" fmla="*/ 2840355 w 3008034"/>
                  <a:gd name="connsiteY113" fmla="*/ 1234440 h 3680460"/>
                  <a:gd name="connsiteX114" fmla="*/ 2817495 w 3008034"/>
                  <a:gd name="connsiteY114" fmla="*/ 1196340 h 3680460"/>
                  <a:gd name="connsiteX115" fmla="*/ 2802255 w 3008034"/>
                  <a:gd name="connsiteY115" fmla="*/ 1165860 h 3680460"/>
                  <a:gd name="connsiteX116" fmla="*/ 2771775 w 3008034"/>
                  <a:gd name="connsiteY116" fmla="*/ 1127760 h 3680460"/>
                  <a:gd name="connsiteX117" fmla="*/ 2756535 w 3008034"/>
                  <a:gd name="connsiteY117" fmla="*/ 1089660 h 3680460"/>
                  <a:gd name="connsiteX118" fmla="*/ 2726055 w 3008034"/>
                  <a:gd name="connsiteY118" fmla="*/ 1043940 h 3680460"/>
                  <a:gd name="connsiteX119" fmla="*/ 2718435 w 3008034"/>
                  <a:gd name="connsiteY119" fmla="*/ 1021080 h 3680460"/>
                  <a:gd name="connsiteX120" fmla="*/ 2672715 w 3008034"/>
                  <a:gd name="connsiteY120" fmla="*/ 937260 h 3680460"/>
                  <a:gd name="connsiteX121" fmla="*/ 2649855 w 3008034"/>
                  <a:gd name="connsiteY121" fmla="*/ 876300 h 3680460"/>
                  <a:gd name="connsiteX122" fmla="*/ 2634615 w 3008034"/>
                  <a:gd name="connsiteY122" fmla="*/ 845820 h 3680460"/>
                  <a:gd name="connsiteX123" fmla="*/ 2626995 w 3008034"/>
                  <a:gd name="connsiteY123" fmla="*/ 822960 h 3680460"/>
                  <a:gd name="connsiteX124" fmla="*/ 2611755 w 3008034"/>
                  <a:gd name="connsiteY124" fmla="*/ 800100 h 3680460"/>
                  <a:gd name="connsiteX125" fmla="*/ 2588895 w 3008034"/>
                  <a:gd name="connsiteY125" fmla="*/ 739140 h 3680460"/>
                  <a:gd name="connsiteX126" fmla="*/ 2448878 w 3008034"/>
                  <a:gd name="connsiteY126" fmla="*/ 621983 h 3680460"/>
                  <a:gd name="connsiteX127" fmla="*/ 2291715 w 3008034"/>
                  <a:gd name="connsiteY127" fmla="*/ 458152 h 3680460"/>
                  <a:gd name="connsiteX128" fmla="*/ 2227898 w 3008034"/>
                  <a:gd name="connsiteY128" fmla="*/ 406717 h 3680460"/>
                  <a:gd name="connsiteX129" fmla="*/ 2093595 w 3008034"/>
                  <a:gd name="connsiteY129" fmla="*/ 312420 h 3680460"/>
                  <a:gd name="connsiteX130" fmla="*/ 2032635 w 3008034"/>
                  <a:gd name="connsiteY130" fmla="*/ 266700 h 3680460"/>
                  <a:gd name="connsiteX131" fmla="*/ 1994535 w 3008034"/>
                  <a:gd name="connsiteY131" fmla="*/ 251460 h 3680460"/>
                  <a:gd name="connsiteX132" fmla="*/ 1948815 w 3008034"/>
                  <a:gd name="connsiteY132" fmla="*/ 220980 h 3680460"/>
                  <a:gd name="connsiteX133" fmla="*/ 1887855 w 3008034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371475 w 3008034"/>
                  <a:gd name="connsiteY60" fmla="*/ 3451860 h 3680460"/>
                  <a:gd name="connsiteX61" fmla="*/ 440055 w 3008034"/>
                  <a:gd name="connsiteY61" fmla="*/ 3489960 h 3680460"/>
                  <a:gd name="connsiteX62" fmla="*/ 485775 w 3008034"/>
                  <a:gd name="connsiteY62" fmla="*/ 3520440 h 3680460"/>
                  <a:gd name="connsiteX63" fmla="*/ 516255 w 3008034"/>
                  <a:gd name="connsiteY63" fmla="*/ 3535680 h 3680460"/>
                  <a:gd name="connsiteX64" fmla="*/ 721995 w 3008034"/>
                  <a:gd name="connsiteY64" fmla="*/ 3558540 h 3680460"/>
                  <a:gd name="connsiteX65" fmla="*/ 1331595 w 3008034"/>
                  <a:gd name="connsiteY65" fmla="*/ 3550920 h 3680460"/>
                  <a:gd name="connsiteX66" fmla="*/ 1430655 w 3008034"/>
                  <a:gd name="connsiteY66" fmla="*/ 3528060 h 3680460"/>
                  <a:gd name="connsiteX67" fmla="*/ 1529715 w 3008034"/>
                  <a:gd name="connsiteY67" fmla="*/ 3520440 h 3680460"/>
                  <a:gd name="connsiteX68" fmla="*/ 1552575 w 3008034"/>
                  <a:gd name="connsiteY68" fmla="*/ 3512820 h 3680460"/>
                  <a:gd name="connsiteX69" fmla="*/ 1621155 w 3008034"/>
                  <a:gd name="connsiteY69" fmla="*/ 3497580 h 3680460"/>
                  <a:gd name="connsiteX70" fmla="*/ 1689735 w 3008034"/>
                  <a:gd name="connsiteY70" fmla="*/ 3474720 h 3680460"/>
                  <a:gd name="connsiteX71" fmla="*/ 1781175 w 3008034"/>
                  <a:gd name="connsiteY71" fmla="*/ 3451860 h 3680460"/>
                  <a:gd name="connsiteX72" fmla="*/ 1811655 w 3008034"/>
                  <a:gd name="connsiteY72" fmla="*/ 3444240 h 3680460"/>
                  <a:gd name="connsiteX73" fmla="*/ 1834515 w 3008034"/>
                  <a:gd name="connsiteY73" fmla="*/ 3429000 h 3680460"/>
                  <a:gd name="connsiteX74" fmla="*/ 1864995 w 3008034"/>
                  <a:gd name="connsiteY74" fmla="*/ 3421380 h 3680460"/>
                  <a:gd name="connsiteX75" fmla="*/ 1918335 w 3008034"/>
                  <a:gd name="connsiteY75" fmla="*/ 3398520 h 3680460"/>
                  <a:gd name="connsiteX76" fmla="*/ 1941195 w 3008034"/>
                  <a:gd name="connsiteY76" fmla="*/ 3390900 h 3680460"/>
                  <a:gd name="connsiteX77" fmla="*/ 1994535 w 3008034"/>
                  <a:gd name="connsiteY77" fmla="*/ 3360420 h 3680460"/>
                  <a:gd name="connsiteX78" fmla="*/ 2032635 w 3008034"/>
                  <a:gd name="connsiteY78" fmla="*/ 3352800 h 3680460"/>
                  <a:gd name="connsiteX79" fmla="*/ 2070735 w 3008034"/>
                  <a:gd name="connsiteY79" fmla="*/ 3337560 h 3680460"/>
                  <a:gd name="connsiteX80" fmla="*/ 2146935 w 3008034"/>
                  <a:gd name="connsiteY80" fmla="*/ 3299460 h 3680460"/>
                  <a:gd name="connsiteX81" fmla="*/ 2169795 w 3008034"/>
                  <a:gd name="connsiteY81" fmla="*/ 3284220 h 3680460"/>
                  <a:gd name="connsiteX82" fmla="*/ 2200275 w 3008034"/>
                  <a:gd name="connsiteY82" fmla="*/ 3276600 h 3680460"/>
                  <a:gd name="connsiteX83" fmla="*/ 2253615 w 3008034"/>
                  <a:gd name="connsiteY83" fmla="*/ 3230880 h 3680460"/>
                  <a:gd name="connsiteX84" fmla="*/ 2337435 w 3008034"/>
                  <a:gd name="connsiteY84" fmla="*/ 3154680 h 3680460"/>
                  <a:gd name="connsiteX85" fmla="*/ 2390775 w 3008034"/>
                  <a:gd name="connsiteY85" fmla="*/ 3070860 h 3680460"/>
                  <a:gd name="connsiteX86" fmla="*/ 2406015 w 3008034"/>
                  <a:gd name="connsiteY86" fmla="*/ 3048000 h 3680460"/>
                  <a:gd name="connsiteX87" fmla="*/ 2436495 w 3008034"/>
                  <a:gd name="connsiteY87" fmla="*/ 3032760 h 3680460"/>
                  <a:gd name="connsiteX88" fmla="*/ 2459355 w 3008034"/>
                  <a:gd name="connsiteY88" fmla="*/ 3009900 h 3680460"/>
                  <a:gd name="connsiteX89" fmla="*/ 2527935 w 3008034"/>
                  <a:gd name="connsiteY89" fmla="*/ 2926080 h 3680460"/>
                  <a:gd name="connsiteX90" fmla="*/ 2566035 w 3008034"/>
                  <a:gd name="connsiteY90" fmla="*/ 2880360 h 3680460"/>
                  <a:gd name="connsiteX91" fmla="*/ 2619375 w 3008034"/>
                  <a:gd name="connsiteY91" fmla="*/ 2811780 h 3680460"/>
                  <a:gd name="connsiteX92" fmla="*/ 2634615 w 3008034"/>
                  <a:gd name="connsiteY92" fmla="*/ 2773680 h 3680460"/>
                  <a:gd name="connsiteX93" fmla="*/ 2665095 w 3008034"/>
                  <a:gd name="connsiteY93" fmla="*/ 2727960 h 3680460"/>
                  <a:gd name="connsiteX94" fmla="*/ 2680335 w 3008034"/>
                  <a:gd name="connsiteY94" fmla="*/ 2705100 h 3680460"/>
                  <a:gd name="connsiteX95" fmla="*/ 2695575 w 3008034"/>
                  <a:gd name="connsiteY95" fmla="*/ 2667000 h 3680460"/>
                  <a:gd name="connsiteX96" fmla="*/ 2718435 w 3008034"/>
                  <a:gd name="connsiteY96" fmla="*/ 2621280 h 3680460"/>
                  <a:gd name="connsiteX97" fmla="*/ 2726055 w 3008034"/>
                  <a:gd name="connsiteY97" fmla="*/ 2590800 h 3680460"/>
                  <a:gd name="connsiteX98" fmla="*/ 2748915 w 3008034"/>
                  <a:gd name="connsiteY98" fmla="*/ 2545080 h 3680460"/>
                  <a:gd name="connsiteX99" fmla="*/ 2779395 w 3008034"/>
                  <a:gd name="connsiteY99" fmla="*/ 2484120 h 3680460"/>
                  <a:gd name="connsiteX100" fmla="*/ 2802255 w 3008034"/>
                  <a:gd name="connsiteY100" fmla="*/ 2407920 h 3680460"/>
                  <a:gd name="connsiteX101" fmla="*/ 2832735 w 3008034"/>
                  <a:gd name="connsiteY101" fmla="*/ 2324100 h 3680460"/>
                  <a:gd name="connsiteX102" fmla="*/ 2847975 w 3008034"/>
                  <a:gd name="connsiteY102" fmla="*/ 2247900 h 3680460"/>
                  <a:gd name="connsiteX103" fmla="*/ 2863215 w 3008034"/>
                  <a:gd name="connsiteY103" fmla="*/ 2194560 h 3680460"/>
                  <a:gd name="connsiteX104" fmla="*/ 2878455 w 3008034"/>
                  <a:gd name="connsiteY104" fmla="*/ 2148840 h 3680460"/>
                  <a:gd name="connsiteX105" fmla="*/ 2901315 w 3008034"/>
                  <a:gd name="connsiteY105" fmla="*/ 2087880 h 3680460"/>
                  <a:gd name="connsiteX106" fmla="*/ 2908935 w 3008034"/>
                  <a:gd name="connsiteY106" fmla="*/ 2049780 h 3680460"/>
                  <a:gd name="connsiteX107" fmla="*/ 2924175 w 3008034"/>
                  <a:gd name="connsiteY107" fmla="*/ 1844040 h 3680460"/>
                  <a:gd name="connsiteX108" fmla="*/ 2908935 w 3008034"/>
                  <a:gd name="connsiteY108" fmla="*/ 1470660 h 3680460"/>
                  <a:gd name="connsiteX109" fmla="*/ 2886075 w 3008034"/>
                  <a:gd name="connsiteY109" fmla="*/ 1371600 h 3680460"/>
                  <a:gd name="connsiteX110" fmla="*/ 2870835 w 3008034"/>
                  <a:gd name="connsiteY110" fmla="*/ 1341120 h 3680460"/>
                  <a:gd name="connsiteX111" fmla="*/ 2847975 w 3008034"/>
                  <a:gd name="connsiteY111" fmla="*/ 1272540 h 3680460"/>
                  <a:gd name="connsiteX112" fmla="*/ 2840355 w 3008034"/>
                  <a:gd name="connsiteY112" fmla="*/ 1234440 h 3680460"/>
                  <a:gd name="connsiteX113" fmla="*/ 2817495 w 3008034"/>
                  <a:gd name="connsiteY113" fmla="*/ 1196340 h 3680460"/>
                  <a:gd name="connsiteX114" fmla="*/ 2802255 w 3008034"/>
                  <a:gd name="connsiteY114" fmla="*/ 1165860 h 3680460"/>
                  <a:gd name="connsiteX115" fmla="*/ 2771775 w 3008034"/>
                  <a:gd name="connsiteY115" fmla="*/ 1127760 h 3680460"/>
                  <a:gd name="connsiteX116" fmla="*/ 2756535 w 3008034"/>
                  <a:gd name="connsiteY116" fmla="*/ 1089660 h 3680460"/>
                  <a:gd name="connsiteX117" fmla="*/ 2726055 w 3008034"/>
                  <a:gd name="connsiteY117" fmla="*/ 1043940 h 3680460"/>
                  <a:gd name="connsiteX118" fmla="*/ 2718435 w 3008034"/>
                  <a:gd name="connsiteY118" fmla="*/ 1021080 h 3680460"/>
                  <a:gd name="connsiteX119" fmla="*/ 2672715 w 3008034"/>
                  <a:gd name="connsiteY119" fmla="*/ 937260 h 3680460"/>
                  <a:gd name="connsiteX120" fmla="*/ 2649855 w 3008034"/>
                  <a:gd name="connsiteY120" fmla="*/ 876300 h 3680460"/>
                  <a:gd name="connsiteX121" fmla="*/ 2634615 w 3008034"/>
                  <a:gd name="connsiteY121" fmla="*/ 845820 h 3680460"/>
                  <a:gd name="connsiteX122" fmla="*/ 2626995 w 3008034"/>
                  <a:gd name="connsiteY122" fmla="*/ 822960 h 3680460"/>
                  <a:gd name="connsiteX123" fmla="*/ 2611755 w 3008034"/>
                  <a:gd name="connsiteY123" fmla="*/ 800100 h 3680460"/>
                  <a:gd name="connsiteX124" fmla="*/ 2588895 w 3008034"/>
                  <a:gd name="connsiteY124" fmla="*/ 739140 h 3680460"/>
                  <a:gd name="connsiteX125" fmla="*/ 2448878 w 3008034"/>
                  <a:gd name="connsiteY125" fmla="*/ 621983 h 3680460"/>
                  <a:gd name="connsiteX126" fmla="*/ 2291715 w 3008034"/>
                  <a:gd name="connsiteY126" fmla="*/ 458152 h 3680460"/>
                  <a:gd name="connsiteX127" fmla="*/ 2227898 w 3008034"/>
                  <a:gd name="connsiteY127" fmla="*/ 406717 h 3680460"/>
                  <a:gd name="connsiteX128" fmla="*/ 2093595 w 3008034"/>
                  <a:gd name="connsiteY128" fmla="*/ 312420 h 3680460"/>
                  <a:gd name="connsiteX129" fmla="*/ 2032635 w 3008034"/>
                  <a:gd name="connsiteY129" fmla="*/ 266700 h 3680460"/>
                  <a:gd name="connsiteX130" fmla="*/ 1994535 w 3008034"/>
                  <a:gd name="connsiteY130" fmla="*/ 251460 h 3680460"/>
                  <a:gd name="connsiteX131" fmla="*/ 1948815 w 3008034"/>
                  <a:gd name="connsiteY131" fmla="*/ 220980 h 3680460"/>
                  <a:gd name="connsiteX132" fmla="*/ 1887855 w 3008034"/>
                  <a:gd name="connsiteY13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721995 w 3008034"/>
                  <a:gd name="connsiteY62" fmla="*/ 3558540 h 3680460"/>
                  <a:gd name="connsiteX63" fmla="*/ 1331595 w 3008034"/>
                  <a:gd name="connsiteY63" fmla="*/ 3550920 h 3680460"/>
                  <a:gd name="connsiteX64" fmla="*/ 1430655 w 3008034"/>
                  <a:gd name="connsiteY64" fmla="*/ 3528060 h 3680460"/>
                  <a:gd name="connsiteX65" fmla="*/ 1529715 w 3008034"/>
                  <a:gd name="connsiteY65" fmla="*/ 3520440 h 3680460"/>
                  <a:gd name="connsiteX66" fmla="*/ 1552575 w 3008034"/>
                  <a:gd name="connsiteY66" fmla="*/ 3512820 h 3680460"/>
                  <a:gd name="connsiteX67" fmla="*/ 1621155 w 3008034"/>
                  <a:gd name="connsiteY67" fmla="*/ 3497580 h 3680460"/>
                  <a:gd name="connsiteX68" fmla="*/ 1689735 w 3008034"/>
                  <a:gd name="connsiteY68" fmla="*/ 3474720 h 3680460"/>
                  <a:gd name="connsiteX69" fmla="*/ 1781175 w 3008034"/>
                  <a:gd name="connsiteY69" fmla="*/ 3451860 h 3680460"/>
                  <a:gd name="connsiteX70" fmla="*/ 1811655 w 3008034"/>
                  <a:gd name="connsiteY70" fmla="*/ 3444240 h 3680460"/>
                  <a:gd name="connsiteX71" fmla="*/ 1834515 w 3008034"/>
                  <a:gd name="connsiteY71" fmla="*/ 3429000 h 3680460"/>
                  <a:gd name="connsiteX72" fmla="*/ 1864995 w 3008034"/>
                  <a:gd name="connsiteY72" fmla="*/ 3421380 h 3680460"/>
                  <a:gd name="connsiteX73" fmla="*/ 1918335 w 3008034"/>
                  <a:gd name="connsiteY73" fmla="*/ 3398520 h 3680460"/>
                  <a:gd name="connsiteX74" fmla="*/ 1941195 w 3008034"/>
                  <a:gd name="connsiteY74" fmla="*/ 3390900 h 3680460"/>
                  <a:gd name="connsiteX75" fmla="*/ 1994535 w 3008034"/>
                  <a:gd name="connsiteY75" fmla="*/ 3360420 h 3680460"/>
                  <a:gd name="connsiteX76" fmla="*/ 2032635 w 3008034"/>
                  <a:gd name="connsiteY76" fmla="*/ 3352800 h 3680460"/>
                  <a:gd name="connsiteX77" fmla="*/ 2070735 w 3008034"/>
                  <a:gd name="connsiteY77" fmla="*/ 3337560 h 3680460"/>
                  <a:gd name="connsiteX78" fmla="*/ 2146935 w 3008034"/>
                  <a:gd name="connsiteY78" fmla="*/ 3299460 h 3680460"/>
                  <a:gd name="connsiteX79" fmla="*/ 2169795 w 3008034"/>
                  <a:gd name="connsiteY79" fmla="*/ 3284220 h 3680460"/>
                  <a:gd name="connsiteX80" fmla="*/ 2200275 w 3008034"/>
                  <a:gd name="connsiteY80" fmla="*/ 3276600 h 3680460"/>
                  <a:gd name="connsiteX81" fmla="*/ 2253615 w 3008034"/>
                  <a:gd name="connsiteY81" fmla="*/ 3230880 h 3680460"/>
                  <a:gd name="connsiteX82" fmla="*/ 2337435 w 3008034"/>
                  <a:gd name="connsiteY82" fmla="*/ 3154680 h 3680460"/>
                  <a:gd name="connsiteX83" fmla="*/ 2390775 w 3008034"/>
                  <a:gd name="connsiteY83" fmla="*/ 3070860 h 3680460"/>
                  <a:gd name="connsiteX84" fmla="*/ 2406015 w 3008034"/>
                  <a:gd name="connsiteY84" fmla="*/ 3048000 h 3680460"/>
                  <a:gd name="connsiteX85" fmla="*/ 2436495 w 3008034"/>
                  <a:gd name="connsiteY85" fmla="*/ 3032760 h 3680460"/>
                  <a:gd name="connsiteX86" fmla="*/ 2459355 w 3008034"/>
                  <a:gd name="connsiteY86" fmla="*/ 3009900 h 3680460"/>
                  <a:gd name="connsiteX87" fmla="*/ 2527935 w 3008034"/>
                  <a:gd name="connsiteY87" fmla="*/ 2926080 h 3680460"/>
                  <a:gd name="connsiteX88" fmla="*/ 2566035 w 3008034"/>
                  <a:gd name="connsiteY88" fmla="*/ 2880360 h 3680460"/>
                  <a:gd name="connsiteX89" fmla="*/ 2619375 w 3008034"/>
                  <a:gd name="connsiteY89" fmla="*/ 2811780 h 3680460"/>
                  <a:gd name="connsiteX90" fmla="*/ 2634615 w 3008034"/>
                  <a:gd name="connsiteY90" fmla="*/ 2773680 h 3680460"/>
                  <a:gd name="connsiteX91" fmla="*/ 2665095 w 3008034"/>
                  <a:gd name="connsiteY91" fmla="*/ 2727960 h 3680460"/>
                  <a:gd name="connsiteX92" fmla="*/ 2680335 w 3008034"/>
                  <a:gd name="connsiteY92" fmla="*/ 2705100 h 3680460"/>
                  <a:gd name="connsiteX93" fmla="*/ 2695575 w 3008034"/>
                  <a:gd name="connsiteY93" fmla="*/ 2667000 h 3680460"/>
                  <a:gd name="connsiteX94" fmla="*/ 2718435 w 3008034"/>
                  <a:gd name="connsiteY94" fmla="*/ 2621280 h 3680460"/>
                  <a:gd name="connsiteX95" fmla="*/ 2726055 w 3008034"/>
                  <a:gd name="connsiteY95" fmla="*/ 2590800 h 3680460"/>
                  <a:gd name="connsiteX96" fmla="*/ 2748915 w 3008034"/>
                  <a:gd name="connsiteY96" fmla="*/ 2545080 h 3680460"/>
                  <a:gd name="connsiteX97" fmla="*/ 2779395 w 3008034"/>
                  <a:gd name="connsiteY97" fmla="*/ 2484120 h 3680460"/>
                  <a:gd name="connsiteX98" fmla="*/ 2802255 w 3008034"/>
                  <a:gd name="connsiteY98" fmla="*/ 2407920 h 3680460"/>
                  <a:gd name="connsiteX99" fmla="*/ 2832735 w 3008034"/>
                  <a:gd name="connsiteY99" fmla="*/ 2324100 h 3680460"/>
                  <a:gd name="connsiteX100" fmla="*/ 2847975 w 3008034"/>
                  <a:gd name="connsiteY100" fmla="*/ 2247900 h 3680460"/>
                  <a:gd name="connsiteX101" fmla="*/ 2863215 w 3008034"/>
                  <a:gd name="connsiteY101" fmla="*/ 2194560 h 3680460"/>
                  <a:gd name="connsiteX102" fmla="*/ 2878455 w 3008034"/>
                  <a:gd name="connsiteY102" fmla="*/ 2148840 h 3680460"/>
                  <a:gd name="connsiteX103" fmla="*/ 2901315 w 3008034"/>
                  <a:gd name="connsiteY103" fmla="*/ 2087880 h 3680460"/>
                  <a:gd name="connsiteX104" fmla="*/ 2908935 w 3008034"/>
                  <a:gd name="connsiteY104" fmla="*/ 2049780 h 3680460"/>
                  <a:gd name="connsiteX105" fmla="*/ 2924175 w 3008034"/>
                  <a:gd name="connsiteY105" fmla="*/ 1844040 h 3680460"/>
                  <a:gd name="connsiteX106" fmla="*/ 2908935 w 3008034"/>
                  <a:gd name="connsiteY106" fmla="*/ 1470660 h 3680460"/>
                  <a:gd name="connsiteX107" fmla="*/ 2886075 w 3008034"/>
                  <a:gd name="connsiteY107" fmla="*/ 1371600 h 3680460"/>
                  <a:gd name="connsiteX108" fmla="*/ 2870835 w 3008034"/>
                  <a:gd name="connsiteY108" fmla="*/ 1341120 h 3680460"/>
                  <a:gd name="connsiteX109" fmla="*/ 2847975 w 3008034"/>
                  <a:gd name="connsiteY109" fmla="*/ 1272540 h 3680460"/>
                  <a:gd name="connsiteX110" fmla="*/ 2840355 w 3008034"/>
                  <a:gd name="connsiteY110" fmla="*/ 1234440 h 3680460"/>
                  <a:gd name="connsiteX111" fmla="*/ 2817495 w 3008034"/>
                  <a:gd name="connsiteY111" fmla="*/ 1196340 h 3680460"/>
                  <a:gd name="connsiteX112" fmla="*/ 2802255 w 3008034"/>
                  <a:gd name="connsiteY112" fmla="*/ 1165860 h 3680460"/>
                  <a:gd name="connsiteX113" fmla="*/ 2771775 w 3008034"/>
                  <a:gd name="connsiteY113" fmla="*/ 1127760 h 3680460"/>
                  <a:gd name="connsiteX114" fmla="*/ 2756535 w 3008034"/>
                  <a:gd name="connsiteY114" fmla="*/ 1089660 h 3680460"/>
                  <a:gd name="connsiteX115" fmla="*/ 2726055 w 3008034"/>
                  <a:gd name="connsiteY115" fmla="*/ 1043940 h 3680460"/>
                  <a:gd name="connsiteX116" fmla="*/ 2718435 w 3008034"/>
                  <a:gd name="connsiteY116" fmla="*/ 1021080 h 3680460"/>
                  <a:gd name="connsiteX117" fmla="*/ 2672715 w 3008034"/>
                  <a:gd name="connsiteY117" fmla="*/ 937260 h 3680460"/>
                  <a:gd name="connsiteX118" fmla="*/ 2649855 w 3008034"/>
                  <a:gd name="connsiteY118" fmla="*/ 876300 h 3680460"/>
                  <a:gd name="connsiteX119" fmla="*/ 2634615 w 3008034"/>
                  <a:gd name="connsiteY119" fmla="*/ 845820 h 3680460"/>
                  <a:gd name="connsiteX120" fmla="*/ 2626995 w 3008034"/>
                  <a:gd name="connsiteY120" fmla="*/ 822960 h 3680460"/>
                  <a:gd name="connsiteX121" fmla="*/ 2611755 w 3008034"/>
                  <a:gd name="connsiteY121" fmla="*/ 800100 h 3680460"/>
                  <a:gd name="connsiteX122" fmla="*/ 2588895 w 3008034"/>
                  <a:gd name="connsiteY122" fmla="*/ 739140 h 3680460"/>
                  <a:gd name="connsiteX123" fmla="*/ 2448878 w 3008034"/>
                  <a:gd name="connsiteY123" fmla="*/ 621983 h 3680460"/>
                  <a:gd name="connsiteX124" fmla="*/ 2291715 w 3008034"/>
                  <a:gd name="connsiteY124" fmla="*/ 458152 h 3680460"/>
                  <a:gd name="connsiteX125" fmla="*/ 2227898 w 3008034"/>
                  <a:gd name="connsiteY125" fmla="*/ 406717 h 3680460"/>
                  <a:gd name="connsiteX126" fmla="*/ 2093595 w 3008034"/>
                  <a:gd name="connsiteY126" fmla="*/ 312420 h 3680460"/>
                  <a:gd name="connsiteX127" fmla="*/ 2032635 w 3008034"/>
                  <a:gd name="connsiteY127" fmla="*/ 266700 h 3680460"/>
                  <a:gd name="connsiteX128" fmla="*/ 1994535 w 3008034"/>
                  <a:gd name="connsiteY128" fmla="*/ 251460 h 3680460"/>
                  <a:gd name="connsiteX129" fmla="*/ 1948815 w 3008034"/>
                  <a:gd name="connsiteY129" fmla="*/ 220980 h 3680460"/>
                  <a:gd name="connsiteX130" fmla="*/ 1887855 w 3008034"/>
                  <a:gd name="connsiteY13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552575 w 3008034"/>
                  <a:gd name="connsiteY64" fmla="*/ 3512820 h 3680460"/>
                  <a:gd name="connsiteX65" fmla="*/ 1621155 w 3008034"/>
                  <a:gd name="connsiteY65" fmla="*/ 3497580 h 3680460"/>
                  <a:gd name="connsiteX66" fmla="*/ 1689735 w 3008034"/>
                  <a:gd name="connsiteY66" fmla="*/ 3474720 h 3680460"/>
                  <a:gd name="connsiteX67" fmla="*/ 1781175 w 3008034"/>
                  <a:gd name="connsiteY67" fmla="*/ 3451860 h 3680460"/>
                  <a:gd name="connsiteX68" fmla="*/ 1811655 w 3008034"/>
                  <a:gd name="connsiteY68" fmla="*/ 3444240 h 3680460"/>
                  <a:gd name="connsiteX69" fmla="*/ 1834515 w 3008034"/>
                  <a:gd name="connsiteY69" fmla="*/ 3429000 h 3680460"/>
                  <a:gd name="connsiteX70" fmla="*/ 1864995 w 3008034"/>
                  <a:gd name="connsiteY70" fmla="*/ 3421380 h 3680460"/>
                  <a:gd name="connsiteX71" fmla="*/ 1918335 w 3008034"/>
                  <a:gd name="connsiteY71" fmla="*/ 3398520 h 3680460"/>
                  <a:gd name="connsiteX72" fmla="*/ 1941195 w 3008034"/>
                  <a:gd name="connsiteY72" fmla="*/ 3390900 h 3680460"/>
                  <a:gd name="connsiteX73" fmla="*/ 1994535 w 3008034"/>
                  <a:gd name="connsiteY73" fmla="*/ 3360420 h 3680460"/>
                  <a:gd name="connsiteX74" fmla="*/ 2032635 w 3008034"/>
                  <a:gd name="connsiteY74" fmla="*/ 3352800 h 3680460"/>
                  <a:gd name="connsiteX75" fmla="*/ 2070735 w 3008034"/>
                  <a:gd name="connsiteY75" fmla="*/ 3337560 h 3680460"/>
                  <a:gd name="connsiteX76" fmla="*/ 2146935 w 3008034"/>
                  <a:gd name="connsiteY76" fmla="*/ 3299460 h 3680460"/>
                  <a:gd name="connsiteX77" fmla="*/ 2169795 w 3008034"/>
                  <a:gd name="connsiteY77" fmla="*/ 3284220 h 3680460"/>
                  <a:gd name="connsiteX78" fmla="*/ 2200275 w 3008034"/>
                  <a:gd name="connsiteY78" fmla="*/ 3276600 h 3680460"/>
                  <a:gd name="connsiteX79" fmla="*/ 2253615 w 3008034"/>
                  <a:gd name="connsiteY79" fmla="*/ 3230880 h 3680460"/>
                  <a:gd name="connsiteX80" fmla="*/ 2337435 w 3008034"/>
                  <a:gd name="connsiteY80" fmla="*/ 3154680 h 3680460"/>
                  <a:gd name="connsiteX81" fmla="*/ 2390775 w 3008034"/>
                  <a:gd name="connsiteY81" fmla="*/ 3070860 h 3680460"/>
                  <a:gd name="connsiteX82" fmla="*/ 2406015 w 3008034"/>
                  <a:gd name="connsiteY82" fmla="*/ 3048000 h 3680460"/>
                  <a:gd name="connsiteX83" fmla="*/ 2436495 w 3008034"/>
                  <a:gd name="connsiteY83" fmla="*/ 3032760 h 3680460"/>
                  <a:gd name="connsiteX84" fmla="*/ 2459355 w 3008034"/>
                  <a:gd name="connsiteY84" fmla="*/ 3009900 h 3680460"/>
                  <a:gd name="connsiteX85" fmla="*/ 2527935 w 3008034"/>
                  <a:gd name="connsiteY85" fmla="*/ 2926080 h 3680460"/>
                  <a:gd name="connsiteX86" fmla="*/ 2566035 w 3008034"/>
                  <a:gd name="connsiteY86" fmla="*/ 2880360 h 3680460"/>
                  <a:gd name="connsiteX87" fmla="*/ 2619375 w 3008034"/>
                  <a:gd name="connsiteY87" fmla="*/ 2811780 h 3680460"/>
                  <a:gd name="connsiteX88" fmla="*/ 2634615 w 3008034"/>
                  <a:gd name="connsiteY88" fmla="*/ 2773680 h 3680460"/>
                  <a:gd name="connsiteX89" fmla="*/ 2665095 w 3008034"/>
                  <a:gd name="connsiteY89" fmla="*/ 2727960 h 3680460"/>
                  <a:gd name="connsiteX90" fmla="*/ 2680335 w 3008034"/>
                  <a:gd name="connsiteY90" fmla="*/ 2705100 h 3680460"/>
                  <a:gd name="connsiteX91" fmla="*/ 2695575 w 3008034"/>
                  <a:gd name="connsiteY91" fmla="*/ 2667000 h 3680460"/>
                  <a:gd name="connsiteX92" fmla="*/ 2718435 w 3008034"/>
                  <a:gd name="connsiteY92" fmla="*/ 2621280 h 3680460"/>
                  <a:gd name="connsiteX93" fmla="*/ 2726055 w 3008034"/>
                  <a:gd name="connsiteY93" fmla="*/ 2590800 h 3680460"/>
                  <a:gd name="connsiteX94" fmla="*/ 2748915 w 3008034"/>
                  <a:gd name="connsiteY94" fmla="*/ 2545080 h 3680460"/>
                  <a:gd name="connsiteX95" fmla="*/ 2779395 w 3008034"/>
                  <a:gd name="connsiteY95" fmla="*/ 2484120 h 3680460"/>
                  <a:gd name="connsiteX96" fmla="*/ 2802255 w 3008034"/>
                  <a:gd name="connsiteY96" fmla="*/ 2407920 h 3680460"/>
                  <a:gd name="connsiteX97" fmla="*/ 2832735 w 3008034"/>
                  <a:gd name="connsiteY97" fmla="*/ 2324100 h 3680460"/>
                  <a:gd name="connsiteX98" fmla="*/ 2847975 w 3008034"/>
                  <a:gd name="connsiteY98" fmla="*/ 2247900 h 3680460"/>
                  <a:gd name="connsiteX99" fmla="*/ 2863215 w 3008034"/>
                  <a:gd name="connsiteY99" fmla="*/ 2194560 h 3680460"/>
                  <a:gd name="connsiteX100" fmla="*/ 2878455 w 3008034"/>
                  <a:gd name="connsiteY100" fmla="*/ 2148840 h 3680460"/>
                  <a:gd name="connsiteX101" fmla="*/ 2901315 w 3008034"/>
                  <a:gd name="connsiteY101" fmla="*/ 2087880 h 3680460"/>
                  <a:gd name="connsiteX102" fmla="*/ 2908935 w 3008034"/>
                  <a:gd name="connsiteY102" fmla="*/ 2049780 h 3680460"/>
                  <a:gd name="connsiteX103" fmla="*/ 2924175 w 3008034"/>
                  <a:gd name="connsiteY103" fmla="*/ 1844040 h 3680460"/>
                  <a:gd name="connsiteX104" fmla="*/ 2908935 w 3008034"/>
                  <a:gd name="connsiteY104" fmla="*/ 1470660 h 3680460"/>
                  <a:gd name="connsiteX105" fmla="*/ 2886075 w 3008034"/>
                  <a:gd name="connsiteY105" fmla="*/ 1371600 h 3680460"/>
                  <a:gd name="connsiteX106" fmla="*/ 2870835 w 3008034"/>
                  <a:gd name="connsiteY106" fmla="*/ 1341120 h 3680460"/>
                  <a:gd name="connsiteX107" fmla="*/ 2847975 w 3008034"/>
                  <a:gd name="connsiteY107" fmla="*/ 1272540 h 3680460"/>
                  <a:gd name="connsiteX108" fmla="*/ 2840355 w 3008034"/>
                  <a:gd name="connsiteY108" fmla="*/ 1234440 h 3680460"/>
                  <a:gd name="connsiteX109" fmla="*/ 2817495 w 3008034"/>
                  <a:gd name="connsiteY109" fmla="*/ 1196340 h 3680460"/>
                  <a:gd name="connsiteX110" fmla="*/ 2802255 w 3008034"/>
                  <a:gd name="connsiteY110" fmla="*/ 1165860 h 3680460"/>
                  <a:gd name="connsiteX111" fmla="*/ 2771775 w 3008034"/>
                  <a:gd name="connsiteY111" fmla="*/ 1127760 h 3680460"/>
                  <a:gd name="connsiteX112" fmla="*/ 2756535 w 3008034"/>
                  <a:gd name="connsiteY112" fmla="*/ 1089660 h 3680460"/>
                  <a:gd name="connsiteX113" fmla="*/ 2726055 w 3008034"/>
                  <a:gd name="connsiteY113" fmla="*/ 1043940 h 3680460"/>
                  <a:gd name="connsiteX114" fmla="*/ 2718435 w 3008034"/>
                  <a:gd name="connsiteY114" fmla="*/ 1021080 h 3680460"/>
                  <a:gd name="connsiteX115" fmla="*/ 2672715 w 3008034"/>
                  <a:gd name="connsiteY115" fmla="*/ 937260 h 3680460"/>
                  <a:gd name="connsiteX116" fmla="*/ 2649855 w 3008034"/>
                  <a:gd name="connsiteY116" fmla="*/ 876300 h 3680460"/>
                  <a:gd name="connsiteX117" fmla="*/ 2634615 w 3008034"/>
                  <a:gd name="connsiteY117" fmla="*/ 845820 h 3680460"/>
                  <a:gd name="connsiteX118" fmla="*/ 2626995 w 3008034"/>
                  <a:gd name="connsiteY118" fmla="*/ 822960 h 3680460"/>
                  <a:gd name="connsiteX119" fmla="*/ 2611755 w 3008034"/>
                  <a:gd name="connsiteY119" fmla="*/ 800100 h 3680460"/>
                  <a:gd name="connsiteX120" fmla="*/ 2588895 w 3008034"/>
                  <a:gd name="connsiteY120" fmla="*/ 739140 h 3680460"/>
                  <a:gd name="connsiteX121" fmla="*/ 2448878 w 3008034"/>
                  <a:gd name="connsiteY121" fmla="*/ 621983 h 3680460"/>
                  <a:gd name="connsiteX122" fmla="*/ 2291715 w 3008034"/>
                  <a:gd name="connsiteY122" fmla="*/ 458152 h 3680460"/>
                  <a:gd name="connsiteX123" fmla="*/ 2227898 w 3008034"/>
                  <a:gd name="connsiteY123" fmla="*/ 406717 h 3680460"/>
                  <a:gd name="connsiteX124" fmla="*/ 2093595 w 3008034"/>
                  <a:gd name="connsiteY124" fmla="*/ 312420 h 3680460"/>
                  <a:gd name="connsiteX125" fmla="*/ 2032635 w 3008034"/>
                  <a:gd name="connsiteY125" fmla="*/ 266700 h 3680460"/>
                  <a:gd name="connsiteX126" fmla="*/ 1994535 w 3008034"/>
                  <a:gd name="connsiteY126" fmla="*/ 251460 h 3680460"/>
                  <a:gd name="connsiteX127" fmla="*/ 1948815 w 3008034"/>
                  <a:gd name="connsiteY127" fmla="*/ 220980 h 3680460"/>
                  <a:gd name="connsiteX128" fmla="*/ 1887855 w 3008034"/>
                  <a:gd name="connsiteY12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34515 w 3008034"/>
                  <a:gd name="connsiteY68" fmla="*/ 3429000 h 3680460"/>
                  <a:gd name="connsiteX69" fmla="*/ 1864995 w 3008034"/>
                  <a:gd name="connsiteY69" fmla="*/ 3421380 h 3680460"/>
                  <a:gd name="connsiteX70" fmla="*/ 1918335 w 3008034"/>
                  <a:gd name="connsiteY70" fmla="*/ 3398520 h 3680460"/>
                  <a:gd name="connsiteX71" fmla="*/ 1941195 w 3008034"/>
                  <a:gd name="connsiteY71" fmla="*/ 3390900 h 3680460"/>
                  <a:gd name="connsiteX72" fmla="*/ 1994535 w 3008034"/>
                  <a:gd name="connsiteY72" fmla="*/ 3360420 h 3680460"/>
                  <a:gd name="connsiteX73" fmla="*/ 2032635 w 3008034"/>
                  <a:gd name="connsiteY73" fmla="*/ 3352800 h 3680460"/>
                  <a:gd name="connsiteX74" fmla="*/ 2070735 w 3008034"/>
                  <a:gd name="connsiteY74" fmla="*/ 3337560 h 3680460"/>
                  <a:gd name="connsiteX75" fmla="*/ 2146935 w 3008034"/>
                  <a:gd name="connsiteY75" fmla="*/ 3299460 h 3680460"/>
                  <a:gd name="connsiteX76" fmla="*/ 2169795 w 3008034"/>
                  <a:gd name="connsiteY76" fmla="*/ 3284220 h 3680460"/>
                  <a:gd name="connsiteX77" fmla="*/ 2200275 w 3008034"/>
                  <a:gd name="connsiteY77" fmla="*/ 3276600 h 3680460"/>
                  <a:gd name="connsiteX78" fmla="*/ 2253615 w 3008034"/>
                  <a:gd name="connsiteY78" fmla="*/ 3230880 h 3680460"/>
                  <a:gd name="connsiteX79" fmla="*/ 2337435 w 3008034"/>
                  <a:gd name="connsiteY79" fmla="*/ 3154680 h 3680460"/>
                  <a:gd name="connsiteX80" fmla="*/ 2390775 w 3008034"/>
                  <a:gd name="connsiteY80" fmla="*/ 3070860 h 3680460"/>
                  <a:gd name="connsiteX81" fmla="*/ 2406015 w 3008034"/>
                  <a:gd name="connsiteY81" fmla="*/ 3048000 h 3680460"/>
                  <a:gd name="connsiteX82" fmla="*/ 2436495 w 3008034"/>
                  <a:gd name="connsiteY82" fmla="*/ 3032760 h 3680460"/>
                  <a:gd name="connsiteX83" fmla="*/ 2459355 w 3008034"/>
                  <a:gd name="connsiteY83" fmla="*/ 3009900 h 3680460"/>
                  <a:gd name="connsiteX84" fmla="*/ 2527935 w 3008034"/>
                  <a:gd name="connsiteY84" fmla="*/ 2926080 h 3680460"/>
                  <a:gd name="connsiteX85" fmla="*/ 2566035 w 3008034"/>
                  <a:gd name="connsiteY85" fmla="*/ 2880360 h 3680460"/>
                  <a:gd name="connsiteX86" fmla="*/ 2619375 w 3008034"/>
                  <a:gd name="connsiteY86" fmla="*/ 2811780 h 3680460"/>
                  <a:gd name="connsiteX87" fmla="*/ 2634615 w 3008034"/>
                  <a:gd name="connsiteY87" fmla="*/ 2773680 h 3680460"/>
                  <a:gd name="connsiteX88" fmla="*/ 2665095 w 3008034"/>
                  <a:gd name="connsiteY88" fmla="*/ 2727960 h 3680460"/>
                  <a:gd name="connsiteX89" fmla="*/ 2680335 w 3008034"/>
                  <a:gd name="connsiteY89" fmla="*/ 2705100 h 3680460"/>
                  <a:gd name="connsiteX90" fmla="*/ 2695575 w 3008034"/>
                  <a:gd name="connsiteY90" fmla="*/ 2667000 h 3680460"/>
                  <a:gd name="connsiteX91" fmla="*/ 2718435 w 3008034"/>
                  <a:gd name="connsiteY91" fmla="*/ 2621280 h 3680460"/>
                  <a:gd name="connsiteX92" fmla="*/ 2726055 w 3008034"/>
                  <a:gd name="connsiteY92" fmla="*/ 2590800 h 3680460"/>
                  <a:gd name="connsiteX93" fmla="*/ 2748915 w 3008034"/>
                  <a:gd name="connsiteY93" fmla="*/ 2545080 h 3680460"/>
                  <a:gd name="connsiteX94" fmla="*/ 2779395 w 3008034"/>
                  <a:gd name="connsiteY94" fmla="*/ 2484120 h 3680460"/>
                  <a:gd name="connsiteX95" fmla="*/ 2802255 w 3008034"/>
                  <a:gd name="connsiteY95" fmla="*/ 2407920 h 3680460"/>
                  <a:gd name="connsiteX96" fmla="*/ 2832735 w 3008034"/>
                  <a:gd name="connsiteY96" fmla="*/ 2324100 h 3680460"/>
                  <a:gd name="connsiteX97" fmla="*/ 2847975 w 3008034"/>
                  <a:gd name="connsiteY97" fmla="*/ 2247900 h 3680460"/>
                  <a:gd name="connsiteX98" fmla="*/ 2863215 w 3008034"/>
                  <a:gd name="connsiteY98" fmla="*/ 2194560 h 3680460"/>
                  <a:gd name="connsiteX99" fmla="*/ 2878455 w 3008034"/>
                  <a:gd name="connsiteY99" fmla="*/ 2148840 h 3680460"/>
                  <a:gd name="connsiteX100" fmla="*/ 2901315 w 3008034"/>
                  <a:gd name="connsiteY100" fmla="*/ 2087880 h 3680460"/>
                  <a:gd name="connsiteX101" fmla="*/ 2908935 w 3008034"/>
                  <a:gd name="connsiteY101" fmla="*/ 2049780 h 3680460"/>
                  <a:gd name="connsiteX102" fmla="*/ 2924175 w 3008034"/>
                  <a:gd name="connsiteY102" fmla="*/ 1844040 h 3680460"/>
                  <a:gd name="connsiteX103" fmla="*/ 2908935 w 3008034"/>
                  <a:gd name="connsiteY103" fmla="*/ 1470660 h 3680460"/>
                  <a:gd name="connsiteX104" fmla="*/ 2886075 w 3008034"/>
                  <a:gd name="connsiteY104" fmla="*/ 1371600 h 3680460"/>
                  <a:gd name="connsiteX105" fmla="*/ 2870835 w 3008034"/>
                  <a:gd name="connsiteY105" fmla="*/ 1341120 h 3680460"/>
                  <a:gd name="connsiteX106" fmla="*/ 2847975 w 3008034"/>
                  <a:gd name="connsiteY106" fmla="*/ 1272540 h 3680460"/>
                  <a:gd name="connsiteX107" fmla="*/ 2840355 w 3008034"/>
                  <a:gd name="connsiteY107" fmla="*/ 1234440 h 3680460"/>
                  <a:gd name="connsiteX108" fmla="*/ 2817495 w 3008034"/>
                  <a:gd name="connsiteY108" fmla="*/ 1196340 h 3680460"/>
                  <a:gd name="connsiteX109" fmla="*/ 2802255 w 3008034"/>
                  <a:gd name="connsiteY109" fmla="*/ 1165860 h 3680460"/>
                  <a:gd name="connsiteX110" fmla="*/ 2771775 w 3008034"/>
                  <a:gd name="connsiteY110" fmla="*/ 1127760 h 3680460"/>
                  <a:gd name="connsiteX111" fmla="*/ 2756535 w 3008034"/>
                  <a:gd name="connsiteY111" fmla="*/ 1089660 h 3680460"/>
                  <a:gd name="connsiteX112" fmla="*/ 2726055 w 3008034"/>
                  <a:gd name="connsiteY112" fmla="*/ 1043940 h 3680460"/>
                  <a:gd name="connsiteX113" fmla="*/ 2718435 w 3008034"/>
                  <a:gd name="connsiteY113" fmla="*/ 1021080 h 3680460"/>
                  <a:gd name="connsiteX114" fmla="*/ 2672715 w 3008034"/>
                  <a:gd name="connsiteY114" fmla="*/ 937260 h 3680460"/>
                  <a:gd name="connsiteX115" fmla="*/ 2649855 w 3008034"/>
                  <a:gd name="connsiteY115" fmla="*/ 876300 h 3680460"/>
                  <a:gd name="connsiteX116" fmla="*/ 2634615 w 3008034"/>
                  <a:gd name="connsiteY116" fmla="*/ 845820 h 3680460"/>
                  <a:gd name="connsiteX117" fmla="*/ 2626995 w 3008034"/>
                  <a:gd name="connsiteY117" fmla="*/ 822960 h 3680460"/>
                  <a:gd name="connsiteX118" fmla="*/ 2611755 w 3008034"/>
                  <a:gd name="connsiteY118" fmla="*/ 800100 h 3680460"/>
                  <a:gd name="connsiteX119" fmla="*/ 2588895 w 3008034"/>
                  <a:gd name="connsiteY119" fmla="*/ 739140 h 3680460"/>
                  <a:gd name="connsiteX120" fmla="*/ 2448878 w 3008034"/>
                  <a:gd name="connsiteY120" fmla="*/ 621983 h 3680460"/>
                  <a:gd name="connsiteX121" fmla="*/ 2291715 w 3008034"/>
                  <a:gd name="connsiteY121" fmla="*/ 458152 h 3680460"/>
                  <a:gd name="connsiteX122" fmla="*/ 2227898 w 3008034"/>
                  <a:gd name="connsiteY122" fmla="*/ 406717 h 3680460"/>
                  <a:gd name="connsiteX123" fmla="*/ 2093595 w 3008034"/>
                  <a:gd name="connsiteY123" fmla="*/ 312420 h 3680460"/>
                  <a:gd name="connsiteX124" fmla="*/ 2032635 w 3008034"/>
                  <a:gd name="connsiteY124" fmla="*/ 266700 h 3680460"/>
                  <a:gd name="connsiteX125" fmla="*/ 1994535 w 3008034"/>
                  <a:gd name="connsiteY125" fmla="*/ 251460 h 3680460"/>
                  <a:gd name="connsiteX126" fmla="*/ 1948815 w 3008034"/>
                  <a:gd name="connsiteY126" fmla="*/ 220980 h 3680460"/>
                  <a:gd name="connsiteX127" fmla="*/ 1887855 w 3008034"/>
                  <a:gd name="connsiteY12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253615 w 3008034"/>
                  <a:gd name="connsiteY77" fmla="*/ 3230880 h 3680460"/>
                  <a:gd name="connsiteX78" fmla="*/ 2337435 w 3008034"/>
                  <a:gd name="connsiteY78" fmla="*/ 3154680 h 3680460"/>
                  <a:gd name="connsiteX79" fmla="*/ 2390775 w 3008034"/>
                  <a:gd name="connsiteY79" fmla="*/ 3070860 h 3680460"/>
                  <a:gd name="connsiteX80" fmla="*/ 2406015 w 3008034"/>
                  <a:gd name="connsiteY80" fmla="*/ 3048000 h 3680460"/>
                  <a:gd name="connsiteX81" fmla="*/ 2436495 w 3008034"/>
                  <a:gd name="connsiteY81" fmla="*/ 3032760 h 3680460"/>
                  <a:gd name="connsiteX82" fmla="*/ 2459355 w 3008034"/>
                  <a:gd name="connsiteY82" fmla="*/ 3009900 h 3680460"/>
                  <a:gd name="connsiteX83" fmla="*/ 2527935 w 3008034"/>
                  <a:gd name="connsiteY83" fmla="*/ 2926080 h 3680460"/>
                  <a:gd name="connsiteX84" fmla="*/ 2566035 w 3008034"/>
                  <a:gd name="connsiteY84" fmla="*/ 2880360 h 3680460"/>
                  <a:gd name="connsiteX85" fmla="*/ 2619375 w 3008034"/>
                  <a:gd name="connsiteY85" fmla="*/ 2811780 h 3680460"/>
                  <a:gd name="connsiteX86" fmla="*/ 2634615 w 3008034"/>
                  <a:gd name="connsiteY86" fmla="*/ 2773680 h 3680460"/>
                  <a:gd name="connsiteX87" fmla="*/ 2665095 w 3008034"/>
                  <a:gd name="connsiteY87" fmla="*/ 2727960 h 3680460"/>
                  <a:gd name="connsiteX88" fmla="*/ 2680335 w 3008034"/>
                  <a:gd name="connsiteY88" fmla="*/ 2705100 h 3680460"/>
                  <a:gd name="connsiteX89" fmla="*/ 2695575 w 3008034"/>
                  <a:gd name="connsiteY89" fmla="*/ 2667000 h 3680460"/>
                  <a:gd name="connsiteX90" fmla="*/ 2718435 w 3008034"/>
                  <a:gd name="connsiteY90" fmla="*/ 2621280 h 3680460"/>
                  <a:gd name="connsiteX91" fmla="*/ 2726055 w 3008034"/>
                  <a:gd name="connsiteY91" fmla="*/ 2590800 h 3680460"/>
                  <a:gd name="connsiteX92" fmla="*/ 2748915 w 3008034"/>
                  <a:gd name="connsiteY92" fmla="*/ 2545080 h 3680460"/>
                  <a:gd name="connsiteX93" fmla="*/ 2779395 w 3008034"/>
                  <a:gd name="connsiteY93" fmla="*/ 2484120 h 3680460"/>
                  <a:gd name="connsiteX94" fmla="*/ 2802255 w 3008034"/>
                  <a:gd name="connsiteY94" fmla="*/ 2407920 h 3680460"/>
                  <a:gd name="connsiteX95" fmla="*/ 2832735 w 3008034"/>
                  <a:gd name="connsiteY95" fmla="*/ 2324100 h 3680460"/>
                  <a:gd name="connsiteX96" fmla="*/ 2847975 w 3008034"/>
                  <a:gd name="connsiteY96" fmla="*/ 2247900 h 3680460"/>
                  <a:gd name="connsiteX97" fmla="*/ 2863215 w 3008034"/>
                  <a:gd name="connsiteY97" fmla="*/ 2194560 h 3680460"/>
                  <a:gd name="connsiteX98" fmla="*/ 2878455 w 3008034"/>
                  <a:gd name="connsiteY98" fmla="*/ 2148840 h 3680460"/>
                  <a:gd name="connsiteX99" fmla="*/ 2901315 w 3008034"/>
                  <a:gd name="connsiteY99" fmla="*/ 2087880 h 3680460"/>
                  <a:gd name="connsiteX100" fmla="*/ 2908935 w 3008034"/>
                  <a:gd name="connsiteY100" fmla="*/ 2049780 h 3680460"/>
                  <a:gd name="connsiteX101" fmla="*/ 2924175 w 3008034"/>
                  <a:gd name="connsiteY101" fmla="*/ 1844040 h 3680460"/>
                  <a:gd name="connsiteX102" fmla="*/ 2908935 w 3008034"/>
                  <a:gd name="connsiteY102" fmla="*/ 1470660 h 3680460"/>
                  <a:gd name="connsiteX103" fmla="*/ 2886075 w 3008034"/>
                  <a:gd name="connsiteY103" fmla="*/ 1371600 h 3680460"/>
                  <a:gd name="connsiteX104" fmla="*/ 2870835 w 3008034"/>
                  <a:gd name="connsiteY104" fmla="*/ 1341120 h 3680460"/>
                  <a:gd name="connsiteX105" fmla="*/ 2847975 w 3008034"/>
                  <a:gd name="connsiteY105" fmla="*/ 1272540 h 3680460"/>
                  <a:gd name="connsiteX106" fmla="*/ 2840355 w 3008034"/>
                  <a:gd name="connsiteY106" fmla="*/ 1234440 h 3680460"/>
                  <a:gd name="connsiteX107" fmla="*/ 2817495 w 3008034"/>
                  <a:gd name="connsiteY107" fmla="*/ 1196340 h 3680460"/>
                  <a:gd name="connsiteX108" fmla="*/ 2802255 w 3008034"/>
                  <a:gd name="connsiteY108" fmla="*/ 1165860 h 3680460"/>
                  <a:gd name="connsiteX109" fmla="*/ 2771775 w 3008034"/>
                  <a:gd name="connsiteY109" fmla="*/ 1127760 h 3680460"/>
                  <a:gd name="connsiteX110" fmla="*/ 2756535 w 3008034"/>
                  <a:gd name="connsiteY110" fmla="*/ 1089660 h 3680460"/>
                  <a:gd name="connsiteX111" fmla="*/ 2726055 w 3008034"/>
                  <a:gd name="connsiteY111" fmla="*/ 1043940 h 3680460"/>
                  <a:gd name="connsiteX112" fmla="*/ 2718435 w 3008034"/>
                  <a:gd name="connsiteY112" fmla="*/ 1021080 h 3680460"/>
                  <a:gd name="connsiteX113" fmla="*/ 2672715 w 3008034"/>
                  <a:gd name="connsiteY113" fmla="*/ 937260 h 3680460"/>
                  <a:gd name="connsiteX114" fmla="*/ 2649855 w 3008034"/>
                  <a:gd name="connsiteY114" fmla="*/ 876300 h 3680460"/>
                  <a:gd name="connsiteX115" fmla="*/ 2634615 w 3008034"/>
                  <a:gd name="connsiteY115" fmla="*/ 845820 h 3680460"/>
                  <a:gd name="connsiteX116" fmla="*/ 2626995 w 3008034"/>
                  <a:gd name="connsiteY116" fmla="*/ 822960 h 3680460"/>
                  <a:gd name="connsiteX117" fmla="*/ 2611755 w 3008034"/>
                  <a:gd name="connsiteY117" fmla="*/ 800100 h 3680460"/>
                  <a:gd name="connsiteX118" fmla="*/ 2588895 w 3008034"/>
                  <a:gd name="connsiteY118" fmla="*/ 739140 h 3680460"/>
                  <a:gd name="connsiteX119" fmla="*/ 2448878 w 3008034"/>
                  <a:gd name="connsiteY119" fmla="*/ 621983 h 3680460"/>
                  <a:gd name="connsiteX120" fmla="*/ 2291715 w 3008034"/>
                  <a:gd name="connsiteY120" fmla="*/ 458152 h 3680460"/>
                  <a:gd name="connsiteX121" fmla="*/ 2227898 w 3008034"/>
                  <a:gd name="connsiteY121" fmla="*/ 406717 h 3680460"/>
                  <a:gd name="connsiteX122" fmla="*/ 2093595 w 3008034"/>
                  <a:gd name="connsiteY122" fmla="*/ 312420 h 3680460"/>
                  <a:gd name="connsiteX123" fmla="*/ 2032635 w 3008034"/>
                  <a:gd name="connsiteY123" fmla="*/ 266700 h 3680460"/>
                  <a:gd name="connsiteX124" fmla="*/ 1994535 w 3008034"/>
                  <a:gd name="connsiteY124" fmla="*/ 251460 h 3680460"/>
                  <a:gd name="connsiteX125" fmla="*/ 1948815 w 3008034"/>
                  <a:gd name="connsiteY125" fmla="*/ 220980 h 3680460"/>
                  <a:gd name="connsiteX126" fmla="*/ 1887855 w 3008034"/>
                  <a:gd name="connsiteY12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337435 w 3008034"/>
                  <a:gd name="connsiteY77" fmla="*/ 3154680 h 3680460"/>
                  <a:gd name="connsiteX78" fmla="*/ 2390775 w 3008034"/>
                  <a:gd name="connsiteY78" fmla="*/ 3070860 h 3680460"/>
                  <a:gd name="connsiteX79" fmla="*/ 2406015 w 3008034"/>
                  <a:gd name="connsiteY79" fmla="*/ 3048000 h 3680460"/>
                  <a:gd name="connsiteX80" fmla="*/ 2436495 w 3008034"/>
                  <a:gd name="connsiteY80" fmla="*/ 3032760 h 3680460"/>
                  <a:gd name="connsiteX81" fmla="*/ 2459355 w 3008034"/>
                  <a:gd name="connsiteY81" fmla="*/ 3009900 h 3680460"/>
                  <a:gd name="connsiteX82" fmla="*/ 2527935 w 3008034"/>
                  <a:gd name="connsiteY82" fmla="*/ 2926080 h 3680460"/>
                  <a:gd name="connsiteX83" fmla="*/ 2566035 w 3008034"/>
                  <a:gd name="connsiteY83" fmla="*/ 2880360 h 3680460"/>
                  <a:gd name="connsiteX84" fmla="*/ 2619375 w 3008034"/>
                  <a:gd name="connsiteY84" fmla="*/ 2811780 h 3680460"/>
                  <a:gd name="connsiteX85" fmla="*/ 2634615 w 3008034"/>
                  <a:gd name="connsiteY85" fmla="*/ 2773680 h 3680460"/>
                  <a:gd name="connsiteX86" fmla="*/ 2665095 w 3008034"/>
                  <a:gd name="connsiteY86" fmla="*/ 2727960 h 3680460"/>
                  <a:gd name="connsiteX87" fmla="*/ 2680335 w 3008034"/>
                  <a:gd name="connsiteY87" fmla="*/ 2705100 h 3680460"/>
                  <a:gd name="connsiteX88" fmla="*/ 2695575 w 3008034"/>
                  <a:gd name="connsiteY88" fmla="*/ 2667000 h 3680460"/>
                  <a:gd name="connsiteX89" fmla="*/ 2718435 w 3008034"/>
                  <a:gd name="connsiteY89" fmla="*/ 2621280 h 3680460"/>
                  <a:gd name="connsiteX90" fmla="*/ 2726055 w 3008034"/>
                  <a:gd name="connsiteY90" fmla="*/ 2590800 h 3680460"/>
                  <a:gd name="connsiteX91" fmla="*/ 2748915 w 3008034"/>
                  <a:gd name="connsiteY91" fmla="*/ 2545080 h 3680460"/>
                  <a:gd name="connsiteX92" fmla="*/ 2779395 w 3008034"/>
                  <a:gd name="connsiteY92" fmla="*/ 2484120 h 3680460"/>
                  <a:gd name="connsiteX93" fmla="*/ 2802255 w 3008034"/>
                  <a:gd name="connsiteY93" fmla="*/ 2407920 h 3680460"/>
                  <a:gd name="connsiteX94" fmla="*/ 2832735 w 3008034"/>
                  <a:gd name="connsiteY94" fmla="*/ 2324100 h 3680460"/>
                  <a:gd name="connsiteX95" fmla="*/ 2847975 w 3008034"/>
                  <a:gd name="connsiteY95" fmla="*/ 2247900 h 3680460"/>
                  <a:gd name="connsiteX96" fmla="*/ 2863215 w 3008034"/>
                  <a:gd name="connsiteY96" fmla="*/ 2194560 h 3680460"/>
                  <a:gd name="connsiteX97" fmla="*/ 2878455 w 3008034"/>
                  <a:gd name="connsiteY97" fmla="*/ 2148840 h 3680460"/>
                  <a:gd name="connsiteX98" fmla="*/ 2901315 w 3008034"/>
                  <a:gd name="connsiteY98" fmla="*/ 2087880 h 3680460"/>
                  <a:gd name="connsiteX99" fmla="*/ 2908935 w 3008034"/>
                  <a:gd name="connsiteY99" fmla="*/ 2049780 h 3680460"/>
                  <a:gd name="connsiteX100" fmla="*/ 2924175 w 3008034"/>
                  <a:gd name="connsiteY100" fmla="*/ 1844040 h 3680460"/>
                  <a:gd name="connsiteX101" fmla="*/ 2908935 w 3008034"/>
                  <a:gd name="connsiteY101" fmla="*/ 1470660 h 3680460"/>
                  <a:gd name="connsiteX102" fmla="*/ 2886075 w 3008034"/>
                  <a:gd name="connsiteY102" fmla="*/ 1371600 h 3680460"/>
                  <a:gd name="connsiteX103" fmla="*/ 2870835 w 3008034"/>
                  <a:gd name="connsiteY103" fmla="*/ 1341120 h 3680460"/>
                  <a:gd name="connsiteX104" fmla="*/ 2847975 w 3008034"/>
                  <a:gd name="connsiteY104" fmla="*/ 1272540 h 3680460"/>
                  <a:gd name="connsiteX105" fmla="*/ 2840355 w 3008034"/>
                  <a:gd name="connsiteY105" fmla="*/ 1234440 h 3680460"/>
                  <a:gd name="connsiteX106" fmla="*/ 2817495 w 3008034"/>
                  <a:gd name="connsiteY106" fmla="*/ 1196340 h 3680460"/>
                  <a:gd name="connsiteX107" fmla="*/ 2802255 w 3008034"/>
                  <a:gd name="connsiteY107" fmla="*/ 1165860 h 3680460"/>
                  <a:gd name="connsiteX108" fmla="*/ 2771775 w 3008034"/>
                  <a:gd name="connsiteY108" fmla="*/ 1127760 h 3680460"/>
                  <a:gd name="connsiteX109" fmla="*/ 2756535 w 3008034"/>
                  <a:gd name="connsiteY109" fmla="*/ 1089660 h 3680460"/>
                  <a:gd name="connsiteX110" fmla="*/ 2726055 w 3008034"/>
                  <a:gd name="connsiteY110" fmla="*/ 1043940 h 3680460"/>
                  <a:gd name="connsiteX111" fmla="*/ 2718435 w 3008034"/>
                  <a:gd name="connsiteY111" fmla="*/ 1021080 h 3680460"/>
                  <a:gd name="connsiteX112" fmla="*/ 2672715 w 3008034"/>
                  <a:gd name="connsiteY112" fmla="*/ 937260 h 3680460"/>
                  <a:gd name="connsiteX113" fmla="*/ 2649855 w 3008034"/>
                  <a:gd name="connsiteY113" fmla="*/ 876300 h 3680460"/>
                  <a:gd name="connsiteX114" fmla="*/ 2634615 w 3008034"/>
                  <a:gd name="connsiteY114" fmla="*/ 845820 h 3680460"/>
                  <a:gd name="connsiteX115" fmla="*/ 2626995 w 3008034"/>
                  <a:gd name="connsiteY115" fmla="*/ 822960 h 3680460"/>
                  <a:gd name="connsiteX116" fmla="*/ 2611755 w 3008034"/>
                  <a:gd name="connsiteY116" fmla="*/ 800100 h 3680460"/>
                  <a:gd name="connsiteX117" fmla="*/ 2588895 w 3008034"/>
                  <a:gd name="connsiteY117" fmla="*/ 739140 h 3680460"/>
                  <a:gd name="connsiteX118" fmla="*/ 2448878 w 3008034"/>
                  <a:gd name="connsiteY118" fmla="*/ 621983 h 3680460"/>
                  <a:gd name="connsiteX119" fmla="*/ 2291715 w 3008034"/>
                  <a:gd name="connsiteY119" fmla="*/ 458152 h 3680460"/>
                  <a:gd name="connsiteX120" fmla="*/ 2227898 w 3008034"/>
                  <a:gd name="connsiteY120" fmla="*/ 406717 h 3680460"/>
                  <a:gd name="connsiteX121" fmla="*/ 2093595 w 3008034"/>
                  <a:gd name="connsiteY121" fmla="*/ 312420 h 3680460"/>
                  <a:gd name="connsiteX122" fmla="*/ 2032635 w 3008034"/>
                  <a:gd name="connsiteY122" fmla="*/ 266700 h 3680460"/>
                  <a:gd name="connsiteX123" fmla="*/ 1994535 w 3008034"/>
                  <a:gd name="connsiteY123" fmla="*/ 251460 h 3680460"/>
                  <a:gd name="connsiteX124" fmla="*/ 1948815 w 3008034"/>
                  <a:gd name="connsiteY124" fmla="*/ 220980 h 3680460"/>
                  <a:gd name="connsiteX125" fmla="*/ 1887855 w 3008034"/>
                  <a:gd name="connsiteY12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337435 w 3008034"/>
                  <a:gd name="connsiteY76" fmla="*/ 3154680 h 3680460"/>
                  <a:gd name="connsiteX77" fmla="*/ 2390775 w 3008034"/>
                  <a:gd name="connsiteY77" fmla="*/ 3070860 h 3680460"/>
                  <a:gd name="connsiteX78" fmla="*/ 2406015 w 3008034"/>
                  <a:gd name="connsiteY78" fmla="*/ 3048000 h 3680460"/>
                  <a:gd name="connsiteX79" fmla="*/ 2436495 w 3008034"/>
                  <a:gd name="connsiteY79" fmla="*/ 3032760 h 3680460"/>
                  <a:gd name="connsiteX80" fmla="*/ 2459355 w 3008034"/>
                  <a:gd name="connsiteY80" fmla="*/ 3009900 h 3680460"/>
                  <a:gd name="connsiteX81" fmla="*/ 2527935 w 3008034"/>
                  <a:gd name="connsiteY81" fmla="*/ 2926080 h 3680460"/>
                  <a:gd name="connsiteX82" fmla="*/ 2566035 w 3008034"/>
                  <a:gd name="connsiteY82" fmla="*/ 2880360 h 3680460"/>
                  <a:gd name="connsiteX83" fmla="*/ 2619375 w 3008034"/>
                  <a:gd name="connsiteY83" fmla="*/ 2811780 h 3680460"/>
                  <a:gd name="connsiteX84" fmla="*/ 2634615 w 3008034"/>
                  <a:gd name="connsiteY84" fmla="*/ 2773680 h 3680460"/>
                  <a:gd name="connsiteX85" fmla="*/ 2665095 w 3008034"/>
                  <a:gd name="connsiteY85" fmla="*/ 2727960 h 3680460"/>
                  <a:gd name="connsiteX86" fmla="*/ 2680335 w 3008034"/>
                  <a:gd name="connsiteY86" fmla="*/ 2705100 h 3680460"/>
                  <a:gd name="connsiteX87" fmla="*/ 2695575 w 3008034"/>
                  <a:gd name="connsiteY87" fmla="*/ 2667000 h 3680460"/>
                  <a:gd name="connsiteX88" fmla="*/ 2718435 w 3008034"/>
                  <a:gd name="connsiteY88" fmla="*/ 2621280 h 3680460"/>
                  <a:gd name="connsiteX89" fmla="*/ 2726055 w 3008034"/>
                  <a:gd name="connsiteY89" fmla="*/ 2590800 h 3680460"/>
                  <a:gd name="connsiteX90" fmla="*/ 2748915 w 3008034"/>
                  <a:gd name="connsiteY90" fmla="*/ 2545080 h 3680460"/>
                  <a:gd name="connsiteX91" fmla="*/ 2779395 w 3008034"/>
                  <a:gd name="connsiteY91" fmla="*/ 2484120 h 3680460"/>
                  <a:gd name="connsiteX92" fmla="*/ 2802255 w 3008034"/>
                  <a:gd name="connsiteY92" fmla="*/ 2407920 h 3680460"/>
                  <a:gd name="connsiteX93" fmla="*/ 2832735 w 3008034"/>
                  <a:gd name="connsiteY93" fmla="*/ 2324100 h 3680460"/>
                  <a:gd name="connsiteX94" fmla="*/ 2847975 w 3008034"/>
                  <a:gd name="connsiteY94" fmla="*/ 2247900 h 3680460"/>
                  <a:gd name="connsiteX95" fmla="*/ 2863215 w 3008034"/>
                  <a:gd name="connsiteY95" fmla="*/ 2194560 h 3680460"/>
                  <a:gd name="connsiteX96" fmla="*/ 2878455 w 3008034"/>
                  <a:gd name="connsiteY96" fmla="*/ 2148840 h 3680460"/>
                  <a:gd name="connsiteX97" fmla="*/ 2901315 w 3008034"/>
                  <a:gd name="connsiteY97" fmla="*/ 2087880 h 3680460"/>
                  <a:gd name="connsiteX98" fmla="*/ 2908935 w 3008034"/>
                  <a:gd name="connsiteY98" fmla="*/ 2049780 h 3680460"/>
                  <a:gd name="connsiteX99" fmla="*/ 2924175 w 3008034"/>
                  <a:gd name="connsiteY99" fmla="*/ 1844040 h 3680460"/>
                  <a:gd name="connsiteX100" fmla="*/ 2908935 w 3008034"/>
                  <a:gd name="connsiteY100" fmla="*/ 1470660 h 3680460"/>
                  <a:gd name="connsiteX101" fmla="*/ 2886075 w 3008034"/>
                  <a:gd name="connsiteY101" fmla="*/ 1371600 h 3680460"/>
                  <a:gd name="connsiteX102" fmla="*/ 2870835 w 3008034"/>
                  <a:gd name="connsiteY102" fmla="*/ 1341120 h 3680460"/>
                  <a:gd name="connsiteX103" fmla="*/ 2847975 w 3008034"/>
                  <a:gd name="connsiteY103" fmla="*/ 1272540 h 3680460"/>
                  <a:gd name="connsiteX104" fmla="*/ 2840355 w 3008034"/>
                  <a:gd name="connsiteY104" fmla="*/ 1234440 h 3680460"/>
                  <a:gd name="connsiteX105" fmla="*/ 2817495 w 3008034"/>
                  <a:gd name="connsiteY105" fmla="*/ 1196340 h 3680460"/>
                  <a:gd name="connsiteX106" fmla="*/ 2802255 w 3008034"/>
                  <a:gd name="connsiteY106" fmla="*/ 1165860 h 3680460"/>
                  <a:gd name="connsiteX107" fmla="*/ 2771775 w 3008034"/>
                  <a:gd name="connsiteY107" fmla="*/ 1127760 h 3680460"/>
                  <a:gd name="connsiteX108" fmla="*/ 2756535 w 3008034"/>
                  <a:gd name="connsiteY108" fmla="*/ 1089660 h 3680460"/>
                  <a:gd name="connsiteX109" fmla="*/ 2726055 w 3008034"/>
                  <a:gd name="connsiteY109" fmla="*/ 1043940 h 3680460"/>
                  <a:gd name="connsiteX110" fmla="*/ 2718435 w 3008034"/>
                  <a:gd name="connsiteY110" fmla="*/ 1021080 h 3680460"/>
                  <a:gd name="connsiteX111" fmla="*/ 2672715 w 3008034"/>
                  <a:gd name="connsiteY111" fmla="*/ 937260 h 3680460"/>
                  <a:gd name="connsiteX112" fmla="*/ 2649855 w 3008034"/>
                  <a:gd name="connsiteY112" fmla="*/ 876300 h 3680460"/>
                  <a:gd name="connsiteX113" fmla="*/ 2634615 w 3008034"/>
                  <a:gd name="connsiteY113" fmla="*/ 845820 h 3680460"/>
                  <a:gd name="connsiteX114" fmla="*/ 2626995 w 3008034"/>
                  <a:gd name="connsiteY114" fmla="*/ 822960 h 3680460"/>
                  <a:gd name="connsiteX115" fmla="*/ 2611755 w 3008034"/>
                  <a:gd name="connsiteY115" fmla="*/ 800100 h 3680460"/>
                  <a:gd name="connsiteX116" fmla="*/ 2588895 w 3008034"/>
                  <a:gd name="connsiteY116" fmla="*/ 739140 h 3680460"/>
                  <a:gd name="connsiteX117" fmla="*/ 2448878 w 3008034"/>
                  <a:gd name="connsiteY117" fmla="*/ 621983 h 3680460"/>
                  <a:gd name="connsiteX118" fmla="*/ 2291715 w 3008034"/>
                  <a:gd name="connsiteY118" fmla="*/ 458152 h 3680460"/>
                  <a:gd name="connsiteX119" fmla="*/ 2227898 w 3008034"/>
                  <a:gd name="connsiteY119" fmla="*/ 406717 h 3680460"/>
                  <a:gd name="connsiteX120" fmla="*/ 2093595 w 3008034"/>
                  <a:gd name="connsiteY120" fmla="*/ 312420 h 3680460"/>
                  <a:gd name="connsiteX121" fmla="*/ 2032635 w 3008034"/>
                  <a:gd name="connsiteY121" fmla="*/ 266700 h 3680460"/>
                  <a:gd name="connsiteX122" fmla="*/ 1994535 w 3008034"/>
                  <a:gd name="connsiteY122" fmla="*/ 251460 h 3680460"/>
                  <a:gd name="connsiteX123" fmla="*/ 1948815 w 3008034"/>
                  <a:gd name="connsiteY123" fmla="*/ 220980 h 3680460"/>
                  <a:gd name="connsiteX124" fmla="*/ 1887855 w 3008034"/>
                  <a:gd name="connsiteY12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36495 w 3008034"/>
                  <a:gd name="connsiteY77" fmla="*/ 3032760 h 3680460"/>
                  <a:gd name="connsiteX78" fmla="*/ 2459355 w 3008034"/>
                  <a:gd name="connsiteY78" fmla="*/ 3009900 h 3680460"/>
                  <a:gd name="connsiteX79" fmla="*/ 2527935 w 3008034"/>
                  <a:gd name="connsiteY79" fmla="*/ 2926080 h 3680460"/>
                  <a:gd name="connsiteX80" fmla="*/ 2566035 w 3008034"/>
                  <a:gd name="connsiteY80" fmla="*/ 2880360 h 3680460"/>
                  <a:gd name="connsiteX81" fmla="*/ 2619375 w 3008034"/>
                  <a:gd name="connsiteY81" fmla="*/ 2811780 h 3680460"/>
                  <a:gd name="connsiteX82" fmla="*/ 2634615 w 3008034"/>
                  <a:gd name="connsiteY82" fmla="*/ 2773680 h 3680460"/>
                  <a:gd name="connsiteX83" fmla="*/ 2665095 w 3008034"/>
                  <a:gd name="connsiteY83" fmla="*/ 2727960 h 3680460"/>
                  <a:gd name="connsiteX84" fmla="*/ 2680335 w 3008034"/>
                  <a:gd name="connsiteY84" fmla="*/ 2705100 h 3680460"/>
                  <a:gd name="connsiteX85" fmla="*/ 2695575 w 3008034"/>
                  <a:gd name="connsiteY85" fmla="*/ 2667000 h 3680460"/>
                  <a:gd name="connsiteX86" fmla="*/ 2718435 w 3008034"/>
                  <a:gd name="connsiteY86" fmla="*/ 2621280 h 3680460"/>
                  <a:gd name="connsiteX87" fmla="*/ 2726055 w 3008034"/>
                  <a:gd name="connsiteY87" fmla="*/ 2590800 h 3680460"/>
                  <a:gd name="connsiteX88" fmla="*/ 2748915 w 3008034"/>
                  <a:gd name="connsiteY88" fmla="*/ 2545080 h 3680460"/>
                  <a:gd name="connsiteX89" fmla="*/ 2779395 w 3008034"/>
                  <a:gd name="connsiteY89" fmla="*/ 2484120 h 3680460"/>
                  <a:gd name="connsiteX90" fmla="*/ 2802255 w 3008034"/>
                  <a:gd name="connsiteY90" fmla="*/ 2407920 h 3680460"/>
                  <a:gd name="connsiteX91" fmla="*/ 2832735 w 3008034"/>
                  <a:gd name="connsiteY91" fmla="*/ 2324100 h 3680460"/>
                  <a:gd name="connsiteX92" fmla="*/ 2847975 w 3008034"/>
                  <a:gd name="connsiteY92" fmla="*/ 2247900 h 3680460"/>
                  <a:gd name="connsiteX93" fmla="*/ 2863215 w 3008034"/>
                  <a:gd name="connsiteY93" fmla="*/ 2194560 h 3680460"/>
                  <a:gd name="connsiteX94" fmla="*/ 2878455 w 3008034"/>
                  <a:gd name="connsiteY94" fmla="*/ 2148840 h 3680460"/>
                  <a:gd name="connsiteX95" fmla="*/ 2901315 w 3008034"/>
                  <a:gd name="connsiteY95" fmla="*/ 2087880 h 3680460"/>
                  <a:gd name="connsiteX96" fmla="*/ 2908935 w 3008034"/>
                  <a:gd name="connsiteY96" fmla="*/ 2049780 h 3680460"/>
                  <a:gd name="connsiteX97" fmla="*/ 2924175 w 3008034"/>
                  <a:gd name="connsiteY97" fmla="*/ 1844040 h 3680460"/>
                  <a:gd name="connsiteX98" fmla="*/ 2908935 w 3008034"/>
                  <a:gd name="connsiteY98" fmla="*/ 1470660 h 3680460"/>
                  <a:gd name="connsiteX99" fmla="*/ 2886075 w 3008034"/>
                  <a:gd name="connsiteY99" fmla="*/ 1371600 h 3680460"/>
                  <a:gd name="connsiteX100" fmla="*/ 2870835 w 3008034"/>
                  <a:gd name="connsiteY100" fmla="*/ 1341120 h 3680460"/>
                  <a:gd name="connsiteX101" fmla="*/ 2847975 w 3008034"/>
                  <a:gd name="connsiteY101" fmla="*/ 1272540 h 3680460"/>
                  <a:gd name="connsiteX102" fmla="*/ 2840355 w 3008034"/>
                  <a:gd name="connsiteY102" fmla="*/ 1234440 h 3680460"/>
                  <a:gd name="connsiteX103" fmla="*/ 2817495 w 3008034"/>
                  <a:gd name="connsiteY103" fmla="*/ 1196340 h 3680460"/>
                  <a:gd name="connsiteX104" fmla="*/ 2802255 w 3008034"/>
                  <a:gd name="connsiteY104" fmla="*/ 1165860 h 3680460"/>
                  <a:gd name="connsiteX105" fmla="*/ 2771775 w 3008034"/>
                  <a:gd name="connsiteY105" fmla="*/ 1127760 h 3680460"/>
                  <a:gd name="connsiteX106" fmla="*/ 2756535 w 3008034"/>
                  <a:gd name="connsiteY106" fmla="*/ 1089660 h 3680460"/>
                  <a:gd name="connsiteX107" fmla="*/ 2726055 w 3008034"/>
                  <a:gd name="connsiteY107" fmla="*/ 1043940 h 3680460"/>
                  <a:gd name="connsiteX108" fmla="*/ 2718435 w 3008034"/>
                  <a:gd name="connsiteY108" fmla="*/ 1021080 h 3680460"/>
                  <a:gd name="connsiteX109" fmla="*/ 2672715 w 3008034"/>
                  <a:gd name="connsiteY109" fmla="*/ 937260 h 3680460"/>
                  <a:gd name="connsiteX110" fmla="*/ 2649855 w 3008034"/>
                  <a:gd name="connsiteY110" fmla="*/ 876300 h 3680460"/>
                  <a:gd name="connsiteX111" fmla="*/ 2634615 w 3008034"/>
                  <a:gd name="connsiteY111" fmla="*/ 845820 h 3680460"/>
                  <a:gd name="connsiteX112" fmla="*/ 2626995 w 3008034"/>
                  <a:gd name="connsiteY112" fmla="*/ 822960 h 3680460"/>
                  <a:gd name="connsiteX113" fmla="*/ 2611755 w 3008034"/>
                  <a:gd name="connsiteY113" fmla="*/ 800100 h 3680460"/>
                  <a:gd name="connsiteX114" fmla="*/ 2588895 w 3008034"/>
                  <a:gd name="connsiteY114" fmla="*/ 739140 h 3680460"/>
                  <a:gd name="connsiteX115" fmla="*/ 2448878 w 3008034"/>
                  <a:gd name="connsiteY115" fmla="*/ 621983 h 3680460"/>
                  <a:gd name="connsiteX116" fmla="*/ 2291715 w 3008034"/>
                  <a:gd name="connsiteY116" fmla="*/ 458152 h 3680460"/>
                  <a:gd name="connsiteX117" fmla="*/ 2227898 w 3008034"/>
                  <a:gd name="connsiteY117" fmla="*/ 406717 h 3680460"/>
                  <a:gd name="connsiteX118" fmla="*/ 2093595 w 3008034"/>
                  <a:gd name="connsiteY118" fmla="*/ 312420 h 3680460"/>
                  <a:gd name="connsiteX119" fmla="*/ 2032635 w 3008034"/>
                  <a:gd name="connsiteY119" fmla="*/ 266700 h 3680460"/>
                  <a:gd name="connsiteX120" fmla="*/ 1994535 w 3008034"/>
                  <a:gd name="connsiteY120" fmla="*/ 251460 h 3680460"/>
                  <a:gd name="connsiteX121" fmla="*/ 1948815 w 3008034"/>
                  <a:gd name="connsiteY121" fmla="*/ 220980 h 3680460"/>
                  <a:gd name="connsiteX122" fmla="*/ 1887855 w 3008034"/>
                  <a:gd name="connsiteY12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566035 w 3008034"/>
                  <a:gd name="connsiteY79" fmla="*/ 2880360 h 3680460"/>
                  <a:gd name="connsiteX80" fmla="*/ 2619375 w 3008034"/>
                  <a:gd name="connsiteY80" fmla="*/ 2811780 h 3680460"/>
                  <a:gd name="connsiteX81" fmla="*/ 2634615 w 3008034"/>
                  <a:gd name="connsiteY81" fmla="*/ 2773680 h 3680460"/>
                  <a:gd name="connsiteX82" fmla="*/ 2665095 w 3008034"/>
                  <a:gd name="connsiteY82" fmla="*/ 2727960 h 3680460"/>
                  <a:gd name="connsiteX83" fmla="*/ 2680335 w 3008034"/>
                  <a:gd name="connsiteY83" fmla="*/ 2705100 h 3680460"/>
                  <a:gd name="connsiteX84" fmla="*/ 2695575 w 3008034"/>
                  <a:gd name="connsiteY84" fmla="*/ 2667000 h 3680460"/>
                  <a:gd name="connsiteX85" fmla="*/ 2718435 w 3008034"/>
                  <a:gd name="connsiteY85" fmla="*/ 2621280 h 3680460"/>
                  <a:gd name="connsiteX86" fmla="*/ 2726055 w 3008034"/>
                  <a:gd name="connsiteY86" fmla="*/ 2590800 h 3680460"/>
                  <a:gd name="connsiteX87" fmla="*/ 2748915 w 3008034"/>
                  <a:gd name="connsiteY87" fmla="*/ 2545080 h 3680460"/>
                  <a:gd name="connsiteX88" fmla="*/ 2779395 w 3008034"/>
                  <a:gd name="connsiteY88" fmla="*/ 2484120 h 3680460"/>
                  <a:gd name="connsiteX89" fmla="*/ 2802255 w 3008034"/>
                  <a:gd name="connsiteY89" fmla="*/ 2407920 h 3680460"/>
                  <a:gd name="connsiteX90" fmla="*/ 2832735 w 3008034"/>
                  <a:gd name="connsiteY90" fmla="*/ 2324100 h 3680460"/>
                  <a:gd name="connsiteX91" fmla="*/ 2847975 w 3008034"/>
                  <a:gd name="connsiteY91" fmla="*/ 2247900 h 3680460"/>
                  <a:gd name="connsiteX92" fmla="*/ 2863215 w 3008034"/>
                  <a:gd name="connsiteY92" fmla="*/ 2194560 h 3680460"/>
                  <a:gd name="connsiteX93" fmla="*/ 2878455 w 3008034"/>
                  <a:gd name="connsiteY93" fmla="*/ 2148840 h 3680460"/>
                  <a:gd name="connsiteX94" fmla="*/ 2901315 w 3008034"/>
                  <a:gd name="connsiteY94" fmla="*/ 2087880 h 3680460"/>
                  <a:gd name="connsiteX95" fmla="*/ 2908935 w 3008034"/>
                  <a:gd name="connsiteY95" fmla="*/ 2049780 h 3680460"/>
                  <a:gd name="connsiteX96" fmla="*/ 2924175 w 3008034"/>
                  <a:gd name="connsiteY96" fmla="*/ 1844040 h 3680460"/>
                  <a:gd name="connsiteX97" fmla="*/ 2908935 w 3008034"/>
                  <a:gd name="connsiteY97" fmla="*/ 1470660 h 3680460"/>
                  <a:gd name="connsiteX98" fmla="*/ 2886075 w 3008034"/>
                  <a:gd name="connsiteY98" fmla="*/ 1371600 h 3680460"/>
                  <a:gd name="connsiteX99" fmla="*/ 2870835 w 3008034"/>
                  <a:gd name="connsiteY99" fmla="*/ 1341120 h 3680460"/>
                  <a:gd name="connsiteX100" fmla="*/ 2847975 w 3008034"/>
                  <a:gd name="connsiteY100" fmla="*/ 1272540 h 3680460"/>
                  <a:gd name="connsiteX101" fmla="*/ 2840355 w 3008034"/>
                  <a:gd name="connsiteY101" fmla="*/ 1234440 h 3680460"/>
                  <a:gd name="connsiteX102" fmla="*/ 2817495 w 3008034"/>
                  <a:gd name="connsiteY102" fmla="*/ 1196340 h 3680460"/>
                  <a:gd name="connsiteX103" fmla="*/ 2802255 w 3008034"/>
                  <a:gd name="connsiteY103" fmla="*/ 1165860 h 3680460"/>
                  <a:gd name="connsiteX104" fmla="*/ 2771775 w 3008034"/>
                  <a:gd name="connsiteY104" fmla="*/ 1127760 h 3680460"/>
                  <a:gd name="connsiteX105" fmla="*/ 2756535 w 3008034"/>
                  <a:gd name="connsiteY105" fmla="*/ 1089660 h 3680460"/>
                  <a:gd name="connsiteX106" fmla="*/ 2726055 w 3008034"/>
                  <a:gd name="connsiteY106" fmla="*/ 1043940 h 3680460"/>
                  <a:gd name="connsiteX107" fmla="*/ 2718435 w 3008034"/>
                  <a:gd name="connsiteY107" fmla="*/ 1021080 h 3680460"/>
                  <a:gd name="connsiteX108" fmla="*/ 2672715 w 3008034"/>
                  <a:gd name="connsiteY108" fmla="*/ 937260 h 3680460"/>
                  <a:gd name="connsiteX109" fmla="*/ 2649855 w 3008034"/>
                  <a:gd name="connsiteY109" fmla="*/ 876300 h 3680460"/>
                  <a:gd name="connsiteX110" fmla="*/ 2634615 w 3008034"/>
                  <a:gd name="connsiteY110" fmla="*/ 845820 h 3680460"/>
                  <a:gd name="connsiteX111" fmla="*/ 2626995 w 3008034"/>
                  <a:gd name="connsiteY111" fmla="*/ 822960 h 3680460"/>
                  <a:gd name="connsiteX112" fmla="*/ 2611755 w 3008034"/>
                  <a:gd name="connsiteY112" fmla="*/ 800100 h 3680460"/>
                  <a:gd name="connsiteX113" fmla="*/ 2588895 w 3008034"/>
                  <a:gd name="connsiteY113" fmla="*/ 739140 h 3680460"/>
                  <a:gd name="connsiteX114" fmla="*/ 2448878 w 3008034"/>
                  <a:gd name="connsiteY114" fmla="*/ 621983 h 3680460"/>
                  <a:gd name="connsiteX115" fmla="*/ 2291715 w 3008034"/>
                  <a:gd name="connsiteY115" fmla="*/ 458152 h 3680460"/>
                  <a:gd name="connsiteX116" fmla="*/ 2227898 w 3008034"/>
                  <a:gd name="connsiteY116" fmla="*/ 406717 h 3680460"/>
                  <a:gd name="connsiteX117" fmla="*/ 2093595 w 3008034"/>
                  <a:gd name="connsiteY117" fmla="*/ 312420 h 3680460"/>
                  <a:gd name="connsiteX118" fmla="*/ 2032635 w 3008034"/>
                  <a:gd name="connsiteY118" fmla="*/ 266700 h 3680460"/>
                  <a:gd name="connsiteX119" fmla="*/ 1994535 w 3008034"/>
                  <a:gd name="connsiteY119" fmla="*/ 251460 h 3680460"/>
                  <a:gd name="connsiteX120" fmla="*/ 1948815 w 3008034"/>
                  <a:gd name="connsiteY120" fmla="*/ 220980 h 3680460"/>
                  <a:gd name="connsiteX121" fmla="*/ 1887855 w 3008034"/>
                  <a:gd name="connsiteY12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48915 w 3008034"/>
                  <a:gd name="connsiteY86" fmla="*/ 2545080 h 3680460"/>
                  <a:gd name="connsiteX87" fmla="*/ 2779395 w 3008034"/>
                  <a:gd name="connsiteY87" fmla="*/ 2484120 h 3680460"/>
                  <a:gd name="connsiteX88" fmla="*/ 2802255 w 3008034"/>
                  <a:gd name="connsiteY88" fmla="*/ 2407920 h 3680460"/>
                  <a:gd name="connsiteX89" fmla="*/ 2832735 w 3008034"/>
                  <a:gd name="connsiteY89" fmla="*/ 2324100 h 3680460"/>
                  <a:gd name="connsiteX90" fmla="*/ 2847975 w 3008034"/>
                  <a:gd name="connsiteY90" fmla="*/ 2247900 h 3680460"/>
                  <a:gd name="connsiteX91" fmla="*/ 2863215 w 3008034"/>
                  <a:gd name="connsiteY91" fmla="*/ 2194560 h 3680460"/>
                  <a:gd name="connsiteX92" fmla="*/ 2878455 w 3008034"/>
                  <a:gd name="connsiteY92" fmla="*/ 2148840 h 3680460"/>
                  <a:gd name="connsiteX93" fmla="*/ 2901315 w 3008034"/>
                  <a:gd name="connsiteY93" fmla="*/ 2087880 h 3680460"/>
                  <a:gd name="connsiteX94" fmla="*/ 2908935 w 3008034"/>
                  <a:gd name="connsiteY94" fmla="*/ 2049780 h 3680460"/>
                  <a:gd name="connsiteX95" fmla="*/ 2924175 w 3008034"/>
                  <a:gd name="connsiteY95" fmla="*/ 1844040 h 3680460"/>
                  <a:gd name="connsiteX96" fmla="*/ 2908935 w 3008034"/>
                  <a:gd name="connsiteY96" fmla="*/ 1470660 h 3680460"/>
                  <a:gd name="connsiteX97" fmla="*/ 2886075 w 3008034"/>
                  <a:gd name="connsiteY97" fmla="*/ 1371600 h 3680460"/>
                  <a:gd name="connsiteX98" fmla="*/ 2870835 w 3008034"/>
                  <a:gd name="connsiteY98" fmla="*/ 1341120 h 3680460"/>
                  <a:gd name="connsiteX99" fmla="*/ 2847975 w 3008034"/>
                  <a:gd name="connsiteY99" fmla="*/ 1272540 h 3680460"/>
                  <a:gd name="connsiteX100" fmla="*/ 2840355 w 3008034"/>
                  <a:gd name="connsiteY100" fmla="*/ 1234440 h 3680460"/>
                  <a:gd name="connsiteX101" fmla="*/ 2817495 w 3008034"/>
                  <a:gd name="connsiteY101" fmla="*/ 1196340 h 3680460"/>
                  <a:gd name="connsiteX102" fmla="*/ 2802255 w 3008034"/>
                  <a:gd name="connsiteY102" fmla="*/ 1165860 h 3680460"/>
                  <a:gd name="connsiteX103" fmla="*/ 2771775 w 3008034"/>
                  <a:gd name="connsiteY103" fmla="*/ 1127760 h 3680460"/>
                  <a:gd name="connsiteX104" fmla="*/ 2756535 w 3008034"/>
                  <a:gd name="connsiteY104" fmla="*/ 1089660 h 3680460"/>
                  <a:gd name="connsiteX105" fmla="*/ 2726055 w 3008034"/>
                  <a:gd name="connsiteY105" fmla="*/ 1043940 h 3680460"/>
                  <a:gd name="connsiteX106" fmla="*/ 2718435 w 3008034"/>
                  <a:gd name="connsiteY106" fmla="*/ 1021080 h 3680460"/>
                  <a:gd name="connsiteX107" fmla="*/ 2672715 w 3008034"/>
                  <a:gd name="connsiteY107" fmla="*/ 937260 h 3680460"/>
                  <a:gd name="connsiteX108" fmla="*/ 2649855 w 3008034"/>
                  <a:gd name="connsiteY108" fmla="*/ 876300 h 3680460"/>
                  <a:gd name="connsiteX109" fmla="*/ 2634615 w 3008034"/>
                  <a:gd name="connsiteY109" fmla="*/ 845820 h 3680460"/>
                  <a:gd name="connsiteX110" fmla="*/ 2626995 w 3008034"/>
                  <a:gd name="connsiteY110" fmla="*/ 822960 h 3680460"/>
                  <a:gd name="connsiteX111" fmla="*/ 2611755 w 3008034"/>
                  <a:gd name="connsiteY111" fmla="*/ 800100 h 3680460"/>
                  <a:gd name="connsiteX112" fmla="*/ 2588895 w 3008034"/>
                  <a:gd name="connsiteY112" fmla="*/ 739140 h 3680460"/>
                  <a:gd name="connsiteX113" fmla="*/ 2448878 w 3008034"/>
                  <a:gd name="connsiteY113" fmla="*/ 621983 h 3680460"/>
                  <a:gd name="connsiteX114" fmla="*/ 2291715 w 3008034"/>
                  <a:gd name="connsiteY114" fmla="*/ 458152 h 3680460"/>
                  <a:gd name="connsiteX115" fmla="*/ 2227898 w 3008034"/>
                  <a:gd name="connsiteY115" fmla="*/ 406717 h 3680460"/>
                  <a:gd name="connsiteX116" fmla="*/ 2093595 w 3008034"/>
                  <a:gd name="connsiteY116" fmla="*/ 312420 h 3680460"/>
                  <a:gd name="connsiteX117" fmla="*/ 2032635 w 3008034"/>
                  <a:gd name="connsiteY117" fmla="*/ 266700 h 3680460"/>
                  <a:gd name="connsiteX118" fmla="*/ 1994535 w 3008034"/>
                  <a:gd name="connsiteY118" fmla="*/ 251460 h 3680460"/>
                  <a:gd name="connsiteX119" fmla="*/ 1948815 w 3008034"/>
                  <a:gd name="connsiteY119" fmla="*/ 220980 h 3680460"/>
                  <a:gd name="connsiteX120" fmla="*/ 1887855 w 3008034"/>
                  <a:gd name="connsiteY12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79395 w 3008034"/>
                  <a:gd name="connsiteY86" fmla="*/ 2484120 h 3680460"/>
                  <a:gd name="connsiteX87" fmla="*/ 2802255 w 3008034"/>
                  <a:gd name="connsiteY87" fmla="*/ 2407920 h 3680460"/>
                  <a:gd name="connsiteX88" fmla="*/ 2832735 w 3008034"/>
                  <a:gd name="connsiteY88" fmla="*/ 2324100 h 3680460"/>
                  <a:gd name="connsiteX89" fmla="*/ 2847975 w 3008034"/>
                  <a:gd name="connsiteY89" fmla="*/ 2247900 h 3680460"/>
                  <a:gd name="connsiteX90" fmla="*/ 2863215 w 3008034"/>
                  <a:gd name="connsiteY90" fmla="*/ 2194560 h 3680460"/>
                  <a:gd name="connsiteX91" fmla="*/ 2878455 w 3008034"/>
                  <a:gd name="connsiteY91" fmla="*/ 2148840 h 3680460"/>
                  <a:gd name="connsiteX92" fmla="*/ 2901315 w 3008034"/>
                  <a:gd name="connsiteY92" fmla="*/ 2087880 h 3680460"/>
                  <a:gd name="connsiteX93" fmla="*/ 2908935 w 3008034"/>
                  <a:gd name="connsiteY93" fmla="*/ 2049780 h 3680460"/>
                  <a:gd name="connsiteX94" fmla="*/ 2924175 w 3008034"/>
                  <a:gd name="connsiteY94" fmla="*/ 1844040 h 3680460"/>
                  <a:gd name="connsiteX95" fmla="*/ 2908935 w 3008034"/>
                  <a:gd name="connsiteY95" fmla="*/ 1470660 h 3680460"/>
                  <a:gd name="connsiteX96" fmla="*/ 2886075 w 3008034"/>
                  <a:gd name="connsiteY96" fmla="*/ 1371600 h 3680460"/>
                  <a:gd name="connsiteX97" fmla="*/ 2870835 w 3008034"/>
                  <a:gd name="connsiteY97" fmla="*/ 1341120 h 3680460"/>
                  <a:gd name="connsiteX98" fmla="*/ 2847975 w 3008034"/>
                  <a:gd name="connsiteY98" fmla="*/ 1272540 h 3680460"/>
                  <a:gd name="connsiteX99" fmla="*/ 2840355 w 3008034"/>
                  <a:gd name="connsiteY99" fmla="*/ 1234440 h 3680460"/>
                  <a:gd name="connsiteX100" fmla="*/ 2817495 w 3008034"/>
                  <a:gd name="connsiteY100" fmla="*/ 1196340 h 3680460"/>
                  <a:gd name="connsiteX101" fmla="*/ 2802255 w 3008034"/>
                  <a:gd name="connsiteY101" fmla="*/ 1165860 h 3680460"/>
                  <a:gd name="connsiteX102" fmla="*/ 2771775 w 3008034"/>
                  <a:gd name="connsiteY102" fmla="*/ 1127760 h 3680460"/>
                  <a:gd name="connsiteX103" fmla="*/ 2756535 w 3008034"/>
                  <a:gd name="connsiteY103" fmla="*/ 1089660 h 3680460"/>
                  <a:gd name="connsiteX104" fmla="*/ 2726055 w 3008034"/>
                  <a:gd name="connsiteY104" fmla="*/ 1043940 h 3680460"/>
                  <a:gd name="connsiteX105" fmla="*/ 2718435 w 3008034"/>
                  <a:gd name="connsiteY105" fmla="*/ 1021080 h 3680460"/>
                  <a:gd name="connsiteX106" fmla="*/ 2672715 w 3008034"/>
                  <a:gd name="connsiteY106" fmla="*/ 937260 h 3680460"/>
                  <a:gd name="connsiteX107" fmla="*/ 2649855 w 3008034"/>
                  <a:gd name="connsiteY107" fmla="*/ 876300 h 3680460"/>
                  <a:gd name="connsiteX108" fmla="*/ 2634615 w 3008034"/>
                  <a:gd name="connsiteY108" fmla="*/ 845820 h 3680460"/>
                  <a:gd name="connsiteX109" fmla="*/ 2626995 w 3008034"/>
                  <a:gd name="connsiteY109" fmla="*/ 822960 h 3680460"/>
                  <a:gd name="connsiteX110" fmla="*/ 2611755 w 3008034"/>
                  <a:gd name="connsiteY110" fmla="*/ 800100 h 3680460"/>
                  <a:gd name="connsiteX111" fmla="*/ 2588895 w 3008034"/>
                  <a:gd name="connsiteY111" fmla="*/ 739140 h 3680460"/>
                  <a:gd name="connsiteX112" fmla="*/ 2448878 w 3008034"/>
                  <a:gd name="connsiteY112" fmla="*/ 621983 h 3680460"/>
                  <a:gd name="connsiteX113" fmla="*/ 2291715 w 3008034"/>
                  <a:gd name="connsiteY113" fmla="*/ 458152 h 3680460"/>
                  <a:gd name="connsiteX114" fmla="*/ 2227898 w 3008034"/>
                  <a:gd name="connsiteY114" fmla="*/ 406717 h 3680460"/>
                  <a:gd name="connsiteX115" fmla="*/ 2093595 w 3008034"/>
                  <a:gd name="connsiteY115" fmla="*/ 312420 h 3680460"/>
                  <a:gd name="connsiteX116" fmla="*/ 2032635 w 3008034"/>
                  <a:gd name="connsiteY116" fmla="*/ 266700 h 3680460"/>
                  <a:gd name="connsiteX117" fmla="*/ 1994535 w 3008034"/>
                  <a:gd name="connsiteY117" fmla="*/ 251460 h 3680460"/>
                  <a:gd name="connsiteX118" fmla="*/ 1948815 w 3008034"/>
                  <a:gd name="connsiteY118" fmla="*/ 220980 h 3680460"/>
                  <a:gd name="connsiteX119" fmla="*/ 1887855 w 3008034"/>
                  <a:gd name="connsiteY11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79395 w 3008034"/>
                  <a:gd name="connsiteY85" fmla="*/ 2484120 h 3680460"/>
                  <a:gd name="connsiteX86" fmla="*/ 2802255 w 3008034"/>
                  <a:gd name="connsiteY86" fmla="*/ 2407920 h 3680460"/>
                  <a:gd name="connsiteX87" fmla="*/ 2832735 w 3008034"/>
                  <a:gd name="connsiteY87" fmla="*/ 2324100 h 3680460"/>
                  <a:gd name="connsiteX88" fmla="*/ 2847975 w 3008034"/>
                  <a:gd name="connsiteY88" fmla="*/ 2247900 h 3680460"/>
                  <a:gd name="connsiteX89" fmla="*/ 2863215 w 3008034"/>
                  <a:gd name="connsiteY89" fmla="*/ 2194560 h 3680460"/>
                  <a:gd name="connsiteX90" fmla="*/ 2878455 w 3008034"/>
                  <a:gd name="connsiteY90" fmla="*/ 2148840 h 3680460"/>
                  <a:gd name="connsiteX91" fmla="*/ 2901315 w 3008034"/>
                  <a:gd name="connsiteY91" fmla="*/ 2087880 h 3680460"/>
                  <a:gd name="connsiteX92" fmla="*/ 2908935 w 3008034"/>
                  <a:gd name="connsiteY92" fmla="*/ 2049780 h 3680460"/>
                  <a:gd name="connsiteX93" fmla="*/ 2924175 w 3008034"/>
                  <a:gd name="connsiteY93" fmla="*/ 1844040 h 3680460"/>
                  <a:gd name="connsiteX94" fmla="*/ 2908935 w 3008034"/>
                  <a:gd name="connsiteY94" fmla="*/ 1470660 h 3680460"/>
                  <a:gd name="connsiteX95" fmla="*/ 2886075 w 3008034"/>
                  <a:gd name="connsiteY95" fmla="*/ 1371600 h 3680460"/>
                  <a:gd name="connsiteX96" fmla="*/ 2870835 w 3008034"/>
                  <a:gd name="connsiteY96" fmla="*/ 1341120 h 3680460"/>
                  <a:gd name="connsiteX97" fmla="*/ 2847975 w 3008034"/>
                  <a:gd name="connsiteY97" fmla="*/ 1272540 h 3680460"/>
                  <a:gd name="connsiteX98" fmla="*/ 2840355 w 3008034"/>
                  <a:gd name="connsiteY98" fmla="*/ 1234440 h 3680460"/>
                  <a:gd name="connsiteX99" fmla="*/ 2817495 w 3008034"/>
                  <a:gd name="connsiteY99" fmla="*/ 1196340 h 3680460"/>
                  <a:gd name="connsiteX100" fmla="*/ 2802255 w 3008034"/>
                  <a:gd name="connsiteY100" fmla="*/ 1165860 h 3680460"/>
                  <a:gd name="connsiteX101" fmla="*/ 2771775 w 3008034"/>
                  <a:gd name="connsiteY101" fmla="*/ 1127760 h 3680460"/>
                  <a:gd name="connsiteX102" fmla="*/ 2756535 w 3008034"/>
                  <a:gd name="connsiteY102" fmla="*/ 1089660 h 3680460"/>
                  <a:gd name="connsiteX103" fmla="*/ 2726055 w 3008034"/>
                  <a:gd name="connsiteY103" fmla="*/ 1043940 h 3680460"/>
                  <a:gd name="connsiteX104" fmla="*/ 2718435 w 3008034"/>
                  <a:gd name="connsiteY104" fmla="*/ 1021080 h 3680460"/>
                  <a:gd name="connsiteX105" fmla="*/ 2672715 w 3008034"/>
                  <a:gd name="connsiteY105" fmla="*/ 937260 h 3680460"/>
                  <a:gd name="connsiteX106" fmla="*/ 2649855 w 3008034"/>
                  <a:gd name="connsiteY106" fmla="*/ 876300 h 3680460"/>
                  <a:gd name="connsiteX107" fmla="*/ 2634615 w 3008034"/>
                  <a:gd name="connsiteY107" fmla="*/ 845820 h 3680460"/>
                  <a:gd name="connsiteX108" fmla="*/ 2626995 w 3008034"/>
                  <a:gd name="connsiteY108" fmla="*/ 822960 h 3680460"/>
                  <a:gd name="connsiteX109" fmla="*/ 2611755 w 3008034"/>
                  <a:gd name="connsiteY109" fmla="*/ 800100 h 3680460"/>
                  <a:gd name="connsiteX110" fmla="*/ 2588895 w 3008034"/>
                  <a:gd name="connsiteY110" fmla="*/ 739140 h 3680460"/>
                  <a:gd name="connsiteX111" fmla="*/ 2448878 w 3008034"/>
                  <a:gd name="connsiteY111" fmla="*/ 621983 h 3680460"/>
                  <a:gd name="connsiteX112" fmla="*/ 2291715 w 3008034"/>
                  <a:gd name="connsiteY112" fmla="*/ 458152 h 3680460"/>
                  <a:gd name="connsiteX113" fmla="*/ 2227898 w 3008034"/>
                  <a:gd name="connsiteY113" fmla="*/ 406717 h 3680460"/>
                  <a:gd name="connsiteX114" fmla="*/ 2093595 w 3008034"/>
                  <a:gd name="connsiteY114" fmla="*/ 312420 h 3680460"/>
                  <a:gd name="connsiteX115" fmla="*/ 2032635 w 3008034"/>
                  <a:gd name="connsiteY115" fmla="*/ 266700 h 3680460"/>
                  <a:gd name="connsiteX116" fmla="*/ 1994535 w 3008034"/>
                  <a:gd name="connsiteY116" fmla="*/ 251460 h 3680460"/>
                  <a:gd name="connsiteX117" fmla="*/ 1948815 w 3008034"/>
                  <a:gd name="connsiteY117" fmla="*/ 220980 h 3680460"/>
                  <a:gd name="connsiteX118" fmla="*/ 1887855 w 3008034"/>
                  <a:gd name="connsiteY11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79395 w 3008034"/>
                  <a:gd name="connsiteY84" fmla="*/ 2484120 h 3680460"/>
                  <a:gd name="connsiteX85" fmla="*/ 2802255 w 3008034"/>
                  <a:gd name="connsiteY85" fmla="*/ 2407920 h 3680460"/>
                  <a:gd name="connsiteX86" fmla="*/ 2832735 w 3008034"/>
                  <a:gd name="connsiteY86" fmla="*/ 2324100 h 3680460"/>
                  <a:gd name="connsiteX87" fmla="*/ 2847975 w 3008034"/>
                  <a:gd name="connsiteY87" fmla="*/ 2247900 h 3680460"/>
                  <a:gd name="connsiteX88" fmla="*/ 2863215 w 3008034"/>
                  <a:gd name="connsiteY88" fmla="*/ 2194560 h 3680460"/>
                  <a:gd name="connsiteX89" fmla="*/ 2878455 w 3008034"/>
                  <a:gd name="connsiteY89" fmla="*/ 2148840 h 3680460"/>
                  <a:gd name="connsiteX90" fmla="*/ 2901315 w 3008034"/>
                  <a:gd name="connsiteY90" fmla="*/ 2087880 h 3680460"/>
                  <a:gd name="connsiteX91" fmla="*/ 2908935 w 3008034"/>
                  <a:gd name="connsiteY91" fmla="*/ 2049780 h 3680460"/>
                  <a:gd name="connsiteX92" fmla="*/ 2924175 w 3008034"/>
                  <a:gd name="connsiteY92" fmla="*/ 1844040 h 3680460"/>
                  <a:gd name="connsiteX93" fmla="*/ 2908935 w 3008034"/>
                  <a:gd name="connsiteY93" fmla="*/ 1470660 h 3680460"/>
                  <a:gd name="connsiteX94" fmla="*/ 2886075 w 3008034"/>
                  <a:gd name="connsiteY94" fmla="*/ 1371600 h 3680460"/>
                  <a:gd name="connsiteX95" fmla="*/ 2870835 w 3008034"/>
                  <a:gd name="connsiteY95" fmla="*/ 1341120 h 3680460"/>
                  <a:gd name="connsiteX96" fmla="*/ 2847975 w 3008034"/>
                  <a:gd name="connsiteY96" fmla="*/ 1272540 h 3680460"/>
                  <a:gd name="connsiteX97" fmla="*/ 2840355 w 3008034"/>
                  <a:gd name="connsiteY97" fmla="*/ 1234440 h 3680460"/>
                  <a:gd name="connsiteX98" fmla="*/ 2817495 w 3008034"/>
                  <a:gd name="connsiteY98" fmla="*/ 1196340 h 3680460"/>
                  <a:gd name="connsiteX99" fmla="*/ 2802255 w 3008034"/>
                  <a:gd name="connsiteY99" fmla="*/ 1165860 h 3680460"/>
                  <a:gd name="connsiteX100" fmla="*/ 2771775 w 3008034"/>
                  <a:gd name="connsiteY100" fmla="*/ 1127760 h 3680460"/>
                  <a:gd name="connsiteX101" fmla="*/ 2756535 w 3008034"/>
                  <a:gd name="connsiteY101" fmla="*/ 1089660 h 3680460"/>
                  <a:gd name="connsiteX102" fmla="*/ 2726055 w 3008034"/>
                  <a:gd name="connsiteY102" fmla="*/ 1043940 h 3680460"/>
                  <a:gd name="connsiteX103" fmla="*/ 2718435 w 3008034"/>
                  <a:gd name="connsiteY103" fmla="*/ 1021080 h 3680460"/>
                  <a:gd name="connsiteX104" fmla="*/ 2672715 w 3008034"/>
                  <a:gd name="connsiteY104" fmla="*/ 937260 h 3680460"/>
                  <a:gd name="connsiteX105" fmla="*/ 2649855 w 3008034"/>
                  <a:gd name="connsiteY105" fmla="*/ 876300 h 3680460"/>
                  <a:gd name="connsiteX106" fmla="*/ 2634615 w 3008034"/>
                  <a:gd name="connsiteY106" fmla="*/ 845820 h 3680460"/>
                  <a:gd name="connsiteX107" fmla="*/ 2626995 w 3008034"/>
                  <a:gd name="connsiteY107" fmla="*/ 822960 h 3680460"/>
                  <a:gd name="connsiteX108" fmla="*/ 2611755 w 3008034"/>
                  <a:gd name="connsiteY108" fmla="*/ 800100 h 3680460"/>
                  <a:gd name="connsiteX109" fmla="*/ 2588895 w 3008034"/>
                  <a:gd name="connsiteY109" fmla="*/ 739140 h 3680460"/>
                  <a:gd name="connsiteX110" fmla="*/ 2448878 w 3008034"/>
                  <a:gd name="connsiteY110" fmla="*/ 621983 h 3680460"/>
                  <a:gd name="connsiteX111" fmla="*/ 2291715 w 3008034"/>
                  <a:gd name="connsiteY111" fmla="*/ 458152 h 3680460"/>
                  <a:gd name="connsiteX112" fmla="*/ 2227898 w 3008034"/>
                  <a:gd name="connsiteY112" fmla="*/ 406717 h 3680460"/>
                  <a:gd name="connsiteX113" fmla="*/ 2093595 w 3008034"/>
                  <a:gd name="connsiteY113" fmla="*/ 312420 h 3680460"/>
                  <a:gd name="connsiteX114" fmla="*/ 2032635 w 3008034"/>
                  <a:gd name="connsiteY114" fmla="*/ 266700 h 3680460"/>
                  <a:gd name="connsiteX115" fmla="*/ 1994535 w 3008034"/>
                  <a:gd name="connsiteY115" fmla="*/ 251460 h 3680460"/>
                  <a:gd name="connsiteX116" fmla="*/ 1948815 w 3008034"/>
                  <a:gd name="connsiteY116" fmla="*/ 220980 h 3680460"/>
                  <a:gd name="connsiteX117" fmla="*/ 1887855 w 3008034"/>
                  <a:gd name="connsiteY11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32735 w 3008034"/>
                  <a:gd name="connsiteY85" fmla="*/ 2324100 h 3680460"/>
                  <a:gd name="connsiteX86" fmla="*/ 2847975 w 3008034"/>
                  <a:gd name="connsiteY86" fmla="*/ 2247900 h 3680460"/>
                  <a:gd name="connsiteX87" fmla="*/ 2863215 w 3008034"/>
                  <a:gd name="connsiteY87" fmla="*/ 2194560 h 3680460"/>
                  <a:gd name="connsiteX88" fmla="*/ 2878455 w 3008034"/>
                  <a:gd name="connsiteY88" fmla="*/ 2148840 h 3680460"/>
                  <a:gd name="connsiteX89" fmla="*/ 2901315 w 3008034"/>
                  <a:gd name="connsiteY89" fmla="*/ 2087880 h 3680460"/>
                  <a:gd name="connsiteX90" fmla="*/ 2908935 w 3008034"/>
                  <a:gd name="connsiteY90" fmla="*/ 2049780 h 3680460"/>
                  <a:gd name="connsiteX91" fmla="*/ 2924175 w 3008034"/>
                  <a:gd name="connsiteY91" fmla="*/ 1844040 h 3680460"/>
                  <a:gd name="connsiteX92" fmla="*/ 2908935 w 3008034"/>
                  <a:gd name="connsiteY92" fmla="*/ 1470660 h 3680460"/>
                  <a:gd name="connsiteX93" fmla="*/ 2886075 w 3008034"/>
                  <a:gd name="connsiteY93" fmla="*/ 1371600 h 3680460"/>
                  <a:gd name="connsiteX94" fmla="*/ 2870835 w 3008034"/>
                  <a:gd name="connsiteY94" fmla="*/ 1341120 h 3680460"/>
                  <a:gd name="connsiteX95" fmla="*/ 2847975 w 3008034"/>
                  <a:gd name="connsiteY95" fmla="*/ 1272540 h 3680460"/>
                  <a:gd name="connsiteX96" fmla="*/ 2840355 w 3008034"/>
                  <a:gd name="connsiteY96" fmla="*/ 1234440 h 3680460"/>
                  <a:gd name="connsiteX97" fmla="*/ 2817495 w 3008034"/>
                  <a:gd name="connsiteY97" fmla="*/ 1196340 h 3680460"/>
                  <a:gd name="connsiteX98" fmla="*/ 2802255 w 3008034"/>
                  <a:gd name="connsiteY98" fmla="*/ 1165860 h 3680460"/>
                  <a:gd name="connsiteX99" fmla="*/ 2771775 w 3008034"/>
                  <a:gd name="connsiteY99" fmla="*/ 1127760 h 3680460"/>
                  <a:gd name="connsiteX100" fmla="*/ 2756535 w 3008034"/>
                  <a:gd name="connsiteY100" fmla="*/ 1089660 h 3680460"/>
                  <a:gd name="connsiteX101" fmla="*/ 2726055 w 3008034"/>
                  <a:gd name="connsiteY101" fmla="*/ 1043940 h 3680460"/>
                  <a:gd name="connsiteX102" fmla="*/ 2718435 w 3008034"/>
                  <a:gd name="connsiteY102" fmla="*/ 1021080 h 3680460"/>
                  <a:gd name="connsiteX103" fmla="*/ 2672715 w 3008034"/>
                  <a:gd name="connsiteY103" fmla="*/ 937260 h 3680460"/>
                  <a:gd name="connsiteX104" fmla="*/ 2649855 w 3008034"/>
                  <a:gd name="connsiteY104" fmla="*/ 876300 h 3680460"/>
                  <a:gd name="connsiteX105" fmla="*/ 2634615 w 3008034"/>
                  <a:gd name="connsiteY105" fmla="*/ 845820 h 3680460"/>
                  <a:gd name="connsiteX106" fmla="*/ 2626995 w 3008034"/>
                  <a:gd name="connsiteY106" fmla="*/ 822960 h 3680460"/>
                  <a:gd name="connsiteX107" fmla="*/ 2611755 w 3008034"/>
                  <a:gd name="connsiteY107" fmla="*/ 800100 h 3680460"/>
                  <a:gd name="connsiteX108" fmla="*/ 2588895 w 3008034"/>
                  <a:gd name="connsiteY108" fmla="*/ 739140 h 3680460"/>
                  <a:gd name="connsiteX109" fmla="*/ 2448878 w 3008034"/>
                  <a:gd name="connsiteY109" fmla="*/ 621983 h 3680460"/>
                  <a:gd name="connsiteX110" fmla="*/ 2291715 w 3008034"/>
                  <a:gd name="connsiteY110" fmla="*/ 458152 h 3680460"/>
                  <a:gd name="connsiteX111" fmla="*/ 2227898 w 3008034"/>
                  <a:gd name="connsiteY111" fmla="*/ 406717 h 3680460"/>
                  <a:gd name="connsiteX112" fmla="*/ 2093595 w 3008034"/>
                  <a:gd name="connsiteY112" fmla="*/ 312420 h 3680460"/>
                  <a:gd name="connsiteX113" fmla="*/ 2032635 w 3008034"/>
                  <a:gd name="connsiteY113" fmla="*/ 266700 h 3680460"/>
                  <a:gd name="connsiteX114" fmla="*/ 1994535 w 3008034"/>
                  <a:gd name="connsiteY114" fmla="*/ 251460 h 3680460"/>
                  <a:gd name="connsiteX115" fmla="*/ 1948815 w 3008034"/>
                  <a:gd name="connsiteY115" fmla="*/ 220980 h 3680460"/>
                  <a:gd name="connsiteX116" fmla="*/ 1887855 w 3008034"/>
                  <a:gd name="connsiteY11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47975 w 3008034"/>
                  <a:gd name="connsiteY85" fmla="*/ 2247900 h 3680460"/>
                  <a:gd name="connsiteX86" fmla="*/ 2863215 w 3008034"/>
                  <a:gd name="connsiteY86" fmla="*/ 2194560 h 3680460"/>
                  <a:gd name="connsiteX87" fmla="*/ 2878455 w 3008034"/>
                  <a:gd name="connsiteY87" fmla="*/ 2148840 h 3680460"/>
                  <a:gd name="connsiteX88" fmla="*/ 2901315 w 3008034"/>
                  <a:gd name="connsiteY88" fmla="*/ 2087880 h 3680460"/>
                  <a:gd name="connsiteX89" fmla="*/ 2908935 w 3008034"/>
                  <a:gd name="connsiteY89" fmla="*/ 2049780 h 3680460"/>
                  <a:gd name="connsiteX90" fmla="*/ 2924175 w 3008034"/>
                  <a:gd name="connsiteY90" fmla="*/ 1844040 h 3680460"/>
                  <a:gd name="connsiteX91" fmla="*/ 2908935 w 3008034"/>
                  <a:gd name="connsiteY91" fmla="*/ 1470660 h 3680460"/>
                  <a:gd name="connsiteX92" fmla="*/ 2886075 w 3008034"/>
                  <a:gd name="connsiteY92" fmla="*/ 1371600 h 3680460"/>
                  <a:gd name="connsiteX93" fmla="*/ 2870835 w 3008034"/>
                  <a:gd name="connsiteY93" fmla="*/ 1341120 h 3680460"/>
                  <a:gd name="connsiteX94" fmla="*/ 2847975 w 3008034"/>
                  <a:gd name="connsiteY94" fmla="*/ 1272540 h 3680460"/>
                  <a:gd name="connsiteX95" fmla="*/ 2840355 w 3008034"/>
                  <a:gd name="connsiteY95" fmla="*/ 1234440 h 3680460"/>
                  <a:gd name="connsiteX96" fmla="*/ 2817495 w 3008034"/>
                  <a:gd name="connsiteY96" fmla="*/ 1196340 h 3680460"/>
                  <a:gd name="connsiteX97" fmla="*/ 2802255 w 3008034"/>
                  <a:gd name="connsiteY97" fmla="*/ 1165860 h 3680460"/>
                  <a:gd name="connsiteX98" fmla="*/ 2771775 w 3008034"/>
                  <a:gd name="connsiteY98" fmla="*/ 1127760 h 3680460"/>
                  <a:gd name="connsiteX99" fmla="*/ 2756535 w 3008034"/>
                  <a:gd name="connsiteY99" fmla="*/ 1089660 h 3680460"/>
                  <a:gd name="connsiteX100" fmla="*/ 2726055 w 3008034"/>
                  <a:gd name="connsiteY100" fmla="*/ 1043940 h 3680460"/>
                  <a:gd name="connsiteX101" fmla="*/ 2718435 w 3008034"/>
                  <a:gd name="connsiteY101" fmla="*/ 1021080 h 3680460"/>
                  <a:gd name="connsiteX102" fmla="*/ 2672715 w 3008034"/>
                  <a:gd name="connsiteY102" fmla="*/ 937260 h 3680460"/>
                  <a:gd name="connsiteX103" fmla="*/ 2649855 w 3008034"/>
                  <a:gd name="connsiteY103" fmla="*/ 876300 h 3680460"/>
                  <a:gd name="connsiteX104" fmla="*/ 2634615 w 3008034"/>
                  <a:gd name="connsiteY104" fmla="*/ 845820 h 3680460"/>
                  <a:gd name="connsiteX105" fmla="*/ 2626995 w 3008034"/>
                  <a:gd name="connsiteY105" fmla="*/ 822960 h 3680460"/>
                  <a:gd name="connsiteX106" fmla="*/ 2611755 w 3008034"/>
                  <a:gd name="connsiteY106" fmla="*/ 800100 h 3680460"/>
                  <a:gd name="connsiteX107" fmla="*/ 2588895 w 3008034"/>
                  <a:gd name="connsiteY107" fmla="*/ 739140 h 3680460"/>
                  <a:gd name="connsiteX108" fmla="*/ 2448878 w 3008034"/>
                  <a:gd name="connsiteY108" fmla="*/ 621983 h 3680460"/>
                  <a:gd name="connsiteX109" fmla="*/ 2291715 w 3008034"/>
                  <a:gd name="connsiteY109" fmla="*/ 458152 h 3680460"/>
                  <a:gd name="connsiteX110" fmla="*/ 2227898 w 3008034"/>
                  <a:gd name="connsiteY110" fmla="*/ 406717 h 3680460"/>
                  <a:gd name="connsiteX111" fmla="*/ 2093595 w 3008034"/>
                  <a:gd name="connsiteY111" fmla="*/ 312420 h 3680460"/>
                  <a:gd name="connsiteX112" fmla="*/ 2032635 w 3008034"/>
                  <a:gd name="connsiteY112" fmla="*/ 266700 h 3680460"/>
                  <a:gd name="connsiteX113" fmla="*/ 1994535 w 3008034"/>
                  <a:gd name="connsiteY113" fmla="*/ 251460 h 3680460"/>
                  <a:gd name="connsiteX114" fmla="*/ 1948815 w 3008034"/>
                  <a:gd name="connsiteY114" fmla="*/ 220980 h 3680460"/>
                  <a:gd name="connsiteX115" fmla="*/ 1887855 w 3008034"/>
                  <a:gd name="connsiteY11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63215 w 3008034"/>
                  <a:gd name="connsiteY85" fmla="*/ 2194560 h 3680460"/>
                  <a:gd name="connsiteX86" fmla="*/ 2878455 w 3008034"/>
                  <a:gd name="connsiteY86" fmla="*/ 2148840 h 3680460"/>
                  <a:gd name="connsiteX87" fmla="*/ 2901315 w 3008034"/>
                  <a:gd name="connsiteY87" fmla="*/ 2087880 h 3680460"/>
                  <a:gd name="connsiteX88" fmla="*/ 2908935 w 3008034"/>
                  <a:gd name="connsiteY88" fmla="*/ 2049780 h 3680460"/>
                  <a:gd name="connsiteX89" fmla="*/ 2924175 w 3008034"/>
                  <a:gd name="connsiteY89" fmla="*/ 1844040 h 3680460"/>
                  <a:gd name="connsiteX90" fmla="*/ 2908935 w 3008034"/>
                  <a:gd name="connsiteY90" fmla="*/ 1470660 h 3680460"/>
                  <a:gd name="connsiteX91" fmla="*/ 2886075 w 3008034"/>
                  <a:gd name="connsiteY91" fmla="*/ 1371600 h 3680460"/>
                  <a:gd name="connsiteX92" fmla="*/ 2870835 w 3008034"/>
                  <a:gd name="connsiteY92" fmla="*/ 1341120 h 3680460"/>
                  <a:gd name="connsiteX93" fmla="*/ 2847975 w 3008034"/>
                  <a:gd name="connsiteY93" fmla="*/ 1272540 h 3680460"/>
                  <a:gd name="connsiteX94" fmla="*/ 2840355 w 3008034"/>
                  <a:gd name="connsiteY94" fmla="*/ 1234440 h 3680460"/>
                  <a:gd name="connsiteX95" fmla="*/ 2817495 w 3008034"/>
                  <a:gd name="connsiteY95" fmla="*/ 1196340 h 3680460"/>
                  <a:gd name="connsiteX96" fmla="*/ 2802255 w 3008034"/>
                  <a:gd name="connsiteY96" fmla="*/ 1165860 h 3680460"/>
                  <a:gd name="connsiteX97" fmla="*/ 2771775 w 3008034"/>
                  <a:gd name="connsiteY97" fmla="*/ 1127760 h 3680460"/>
                  <a:gd name="connsiteX98" fmla="*/ 2756535 w 3008034"/>
                  <a:gd name="connsiteY98" fmla="*/ 1089660 h 3680460"/>
                  <a:gd name="connsiteX99" fmla="*/ 2726055 w 3008034"/>
                  <a:gd name="connsiteY99" fmla="*/ 1043940 h 3680460"/>
                  <a:gd name="connsiteX100" fmla="*/ 2718435 w 3008034"/>
                  <a:gd name="connsiteY100" fmla="*/ 1021080 h 3680460"/>
                  <a:gd name="connsiteX101" fmla="*/ 2672715 w 3008034"/>
                  <a:gd name="connsiteY101" fmla="*/ 937260 h 3680460"/>
                  <a:gd name="connsiteX102" fmla="*/ 2649855 w 3008034"/>
                  <a:gd name="connsiteY102" fmla="*/ 876300 h 3680460"/>
                  <a:gd name="connsiteX103" fmla="*/ 2634615 w 3008034"/>
                  <a:gd name="connsiteY103" fmla="*/ 845820 h 3680460"/>
                  <a:gd name="connsiteX104" fmla="*/ 2626995 w 3008034"/>
                  <a:gd name="connsiteY104" fmla="*/ 822960 h 3680460"/>
                  <a:gd name="connsiteX105" fmla="*/ 2611755 w 3008034"/>
                  <a:gd name="connsiteY105" fmla="*/ 800100 h 3680460"/>
                  <a:gd name="connsiteX106" fmla="*/ 2588895 w 3008034"/>
                  <a:gd name="connsiteY106" fmla="*/ 739140 h 3680460"/>
                  <a:gd name="connsiteX107" fmla="*/ 2448878 w 3008034"/>
                  <a:gd name="connsiteY107" fmla="*/ 621983 h 3680460"/>
                  <a:gd name="connsiteX108" fmla="*/ 2291715 w 3008034"/>
                  <a:gd name="connsiteY108" fmla="*/ 458152 h 3680460"/>
                  <a:gd name="connsiteX109" fmla="*/ 2227898 w 3008034"/>
                  <a:gd name="connsiteY109" fmla="*/ 406717 h 3680460"/>
                  <a:gd name="connsiteX110" fmla="*/ 2093595 w 3008034"/>
                  <a:gd name="connsiteY110" fmla="*/ 312420 h 3680460"/>
                  <a:gd name="connsiteX111" fmla="*/ 2032635 w 3008034"/>
                  <a:gd name="connsiteY111" fmla="*/ 266700 h 3680460"/>
                  <a:gd name="connsiteX112" fmla="*/ 1994535 w 3008034"/>
                  <a:gd name="connsiteY112" fmla="*/ 251460 h 3680460"/>
                  <a:gd name="connsiteX113" fmla="*/ 1948815 w 3008034"/>
                  <a:gd name="connsiteY113" fmla="*/ 220980 h 3680460"/>
                  <a:gd name="connsiteX114" fmla="*/ 1887855 w 3008034"/>
                  <a:gd name="connsiteY11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78455 w 3008034"/>
                  <a:gd name="connsiteY85" fmla="*/ 2148840 h 3680460"/>
                  <a:gd name="connsiteX86" fmla="*/ 2901315 w 3008034"/>
                  <a:gd name="connsiteY86" fmla="*/ 2087880 h 3680460"/>
                  <a:gd name="connsiteX87" fmla="*/ 2908935 w 3008034"/>
                  <a:gd name="connsiteY87" fmla="*/ 2049780 h 3680460"/>
                  <a:gd name="connsiteX88" fmla="*/ 2924175 w 3008034"/>
                  <a:gd name="connsiteY88" fmla="*/ 1844040 h 3680460"/>
                  <a:gd name="connsiteX89" fmla="*/ 2908935 w 3008034"/>
                  <a:gd name="connsiteY89" fmla="*/ 1470660 h 3680460"/>
                  <a:gd name="connsiteX90" fmla="*/ 2886075 w 3008034"/>
                  <a:gd name="connsiteY90" fmla="*/ 1371600 h 3680460"/>
                  <a:gd name="connsiteX91" fmla="*/ 2870835 w 3008034"/>
                  <a:gd name="connsiteY91" fmla="*/ 1341120 h 3680460"/>
                  <a:gd name="connsiteX92" fmla="*/ 2847975 w 3008034"/>
                  <a:gd name="connsiteY92" fmla="*/ 1272540 h 3680460"/>
                  <a:gd name="connsiteX93" fmla="*/ 2840355 w 3008034"/>
                  <a:gd name="connsiteY93" fmla="*/ 1234440 h 3680460"/>
                  <a:gd name="connsiteX94" fmla="*/ 2817495 w 3008034"/>
                  <a:gd name="connsiteY94" fmla="*/ 1196340 h 3680460"/>
                  <a:gd name="connsiteX95" fmla="*/ 2802255 w 3008034"/>
                  <a:gd name="connsiteY95" fmla="*/ 1165860 h 3680460"/>
                  <a:gd name="connsiteX96" fmla="*/ 2771775 w 3008034"/>
                  <a:gd name="connsiteY96" fmla="*/ 1127760 h 3680460"/>
                  <a:gd name="connsiteX97" fmla="*/ 2756535 w 3008034"/>
                  <a:gd name="connsiteY97" fmla="*/ 1089660 h 3680460"/>
                  <a:gd name="connsiteX98" fmla="*/ 2726055 w 3008034"/>
                  <a:gd name="connsiteY98" fmla="*/ 1043940 h 3680460"/>
                  <a:gd name="connsiteX99" fmla="*/ 2718435 w 3008034"/>
                  <a:gd name="connsiteY99" fmla="*/ 1021080 h 3680460"/>
                  <a:gd name="connsiteX100" fmla="*/ 2672715 w 3008034"/>
                  <a:gd name="connsiteY100" fmla="*/ 937260 h 3680460"/>
                  <a:gd name="connsiteX101" fmla="*/ 2649855 w 3008034"/>
                  <a:gd name="connsiteY101" fmla="*/ 876300 h 3680460"/>
                  <a:gd name="connsiteX102" fmla="*/ 2634615 w 3008034"/>
                  <a:gd name="connsiteY102" fmla="*/ 845820 h 3680460"/>
                  <a:gd name="connsiteX103" fmla="*/ 2626995 w 3008034"/>
                  <a:gd name="connsiteY103" fmla="*/ 822960 h 3680460"/>
                  <a:gd name="connsiteX104" fmla="*/ 2611755 w 3008034"/>
                  <a:gd name="connsiteY104" fmla="*/ 800100 h 3680460"/>
                  <a:gd name="connsiteX105" fmla="*/ 2588895 w 3008034"/>
                  <a:gd name="connsiteY105" fmla="*/ 739140 h 3680460"/>
                  <a:gd name="connsiteX106" fmla="*/ 2448878 w 3008034"/>
                  <a:gd name="connsiteY106" fmla="*/ 621983 h 3680460"/>
                  <a:gd name="connsiteX107" fmla="*/ 2291715 w 3008034"/>
                  <a:gd name="connsiteY107" fmla="*/ 458152 h 3680460"/>
                  <a:gd name="connsiteX108" fmla="*/ 2227898 w 3008034"/>
                  <a:gd name="connsiteY108" fmla="*/ 406717 h 3680460"/>
                  <a:gd name="connsiteX109" fmla="*/ 2093595 w 3008034"/>
                  <a:gd name="connsiteY109" fmla="*/ 312420 h 3680460"/>
                  <a:gd name="connsiteX110" fmla="*/ 2032635 w 3008034"/>
                  <a:gd name="connsiteY110" fmla="*/ 266700 h 3680460"/>
                  <a:gd name="connsiteX111" fmla="*/ 1994535 w 3008034"/>
                  <a:gd name="connsiteY111" fmla="*/ 251460 h 3680460"/>
                  <a:gd name="connsiteX112" fmla="*/ 1948815 w 3008034"/>
                  <a:gd name="connsiteY112" fmla="*/ 220980 h 3680460"/>
                  <a:gd name="connsiteX113" fmla="*/ 1887855 w 3008034"/>
                  <a:gd name="connsiteY11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1315 w 3008034"/>
                  <a:gd name="connsiteY85" fmla="*/ 2087880 h 3680460"/>
                  <a:gd name="connsiteX86" fmla="*/ 2908935 w 3008034"/>
                  <a:gd name="connsiteY86" fmla="*/ 2049780 h 3680460"/>
                  <a:gd name="connsiteX87" fmla="*/ 2924175 w 3008034"/>
                  <a:gd name="connsiteY87" fmla="*/ 1844040 h 3680460"/>
                  <a:gd name="connsiteX88" fmla="*/ 2908935 w 3008034"/>
                  <a:gd name="connsiteY88" fmla="*/ 1470660 h 3680460"/>
                  <a:gd name="connsiteX89" fmla="*/ 2886075 w 3008034"/>
                  <a:gd name="connsiteY89" fmla="*/ 1371600 h 3680460"/>
                  <a:gd name="connsiteX90" fmla="*/ 2870835 w 3008034"/>
                  <a:gd name="connsiteY90" fmla="*/ 1341120 h 3680460"/>
                  <a:gd name="connsiteX91" fmla="*/ 2847975 w 3008034"/>
                  <a:gd name="connsiteY91" fmla="*/ 1272540 h 3680460"/>
                  <a:gd name="connsiteX92" fmla="*/ 2840355 w 3008034"/>
                  <a:gd name="connsiteY92" fmla="*/ 1234440 h 3680460"/>
                  <a:gd name="connsiteX93" fmla="*/ 2817495 w 3008034"/>
                  <a:gd name="connsiteY93" fmla="*/ 1196340 h 3680460"/>
                  <a:gd name="connsiteX94" fmla="*/ 2802255 w 3008034"/>
                  <a:gd name="connsiteY94" fmla="*/ 1165860 h 3680460"/>
                  <a:gd name="connsiteX95" fmla="*/ 2771775 w 3008034"/>
                  <a:gd name="connsiteY95" fmla="*/ 1127760 h 3680460"/>
                  <a:gd name="connsiteX96" fmla="*/ 2756535 w 3008034"/>
                  <a:gd name="connsiteY96" fmla="*/ 1089660 h 3680460"/>
                  <a:gd name="connsiteX97" fmla="*/ 2726055 w 3008034"/>
                  <a:gd name="connsiteY97" fmla="*/ 1043940 h 3680460"/>
                  <a:gd name="connsiteX98" fmla="*/ 2718435 w 3008034"/>
                  <a:gd name="connsiteY98" fmla="*/ 1021080 h 3680460"/>
                  <a:gd name="connsiteX99" fmla="*/ 2672715 w 3008034"/>
                  <a:gd name="connsiteY99" fmla="*/ 937260 h 3680460"/>
                  <a:gd name="connsiteX100" fmla="*/ 2649855 w 3008034"/>
                  <a:gd name="connsiteY100" fmla="*/ 876300 h 3680460"/>
                  <a:gd name="connsiteX101" fmla="*/ 2634615 w 3008034"/>
                  <a:gd name="connsiteY101" fmla="*/ 845820 h 3680460"/>
                  <a:gd name="connsiteX102" fmla="*/ 2626995 w 3008034"/>
                  <a:gd name="connsiteY102" fmla="*/ 822960 h 3680460"/>
                  <a:gd name="connsiteX103" fmla="*/ 2611755 w 3008034"/>
                  <a:gd name="connsiteY103" fmla="*/ 800100 h 3680460"/>
                  <a:gd name="connsiteX104" fmla="*/ 2588895 w 3008034"/>
                  <a:gd name="connsiteY104" fmla="*/ 739140 h 3680460"/>
                  <a:gd name="connsiteX105" fmla="*/ 2448878 w 3008034"/>
                  <a:gd name="connsiteY105" fmla="*/ 621983 h 3680460"/>
                  <a:gd name="connsiteX106" fmla="*/ 2291715 w 3008034"/>
                  <a:gd name="connsiteY106" fmla="*/ 458152 h 3680460"/>
                  <a:gd name="connsiteX107" fmla="*/ 2227898 w 3008034"/>
                  <a:gd name="connsiteY107" fmla="*/ 406717 h 3680460"/>
                  <a:gd name="connsiteX108" fmla="*/ 2093595 w 3008034"/>
                  <a:gd name="connsiteY108" fmla="*/ 312420 h 3680460"/>
                  <a:gd name="connsiteX109" fmla="*/ 2032635 w 3008034"/>
                  <a:gd name="connsiteY109" fmla="*/ 266700 h 3680460"/>
                  <a:gd name="connsiteX110" fmla="*/ 1994535 w 3008034"/>
                  <a:gd name="connsiteY110" fmla="*/ 251460 h 3680460"/>
                  <a:gd name="connsiteX111" fmla="*/ 1948815 w 3008034"/>
                  <a:gd name="connsiteY111" fmla="*/ 220980 h 3680460"/>
                  <a:gd name="connsiteX112" fmla="*/ 1887855 w 3008034"/>
                  <a:gd name="connsiteY11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17495 w 3008034"/>
                  <a:gd name="connsiteY92" fmla="*/ 1196340 h 3680460"/>
                  <a:gd name="connsiteX93" fmla="*/ 2802255 w 3008034"/>
                  <a:gd name="connsiteY93" fmla="*/ 1165860 h 3680460"/>
                  <a:gd name="connsiteX94" fmla="*/ 2771775 w 3008034"/>
                  <a:gd name="connsiteY94" fmla="*/ 1127760 h 3680460"/>
                  <a:gd name="connsiteX95" fmla="*/ 2756535 w 3008034"/>
                  <a:gd name="connsiteY95" fmla="*/ 1089660 h 3680460"/>
                  <a:gd name="connsiteX96" fmla="*/ 2726055 w 3008034"/>
                  <a:gd name="connsiteY96" fmla="*/ 1043940 h 3680460"/>
                  <a:gd name="connsiteX97" fmla="*/ 2718435 w 3008034"/>
                  <a:gd name="connsiteY97" fmla="*/ 1021080 h 3680460"/>
                  <a:gd name="connsiteX98" fmla="*/ 2672715 w 3008034"/>
                  <a:gd name="connsiteY98" fmla="*/ 937260 h 3680460"/>
                  <a:gd name="connsiteX99" fmla="*/ 2649855 w 3008034"/>
                  <a:gd name="connsiteY99" fmla="*/ 876300 h 3680460"/>
                  <a:gd name="connsiteX100" fmla="*/ 2634615 w 3008034"/>
                  <a:gd name="connsiteY100" fmla="*/ 845820 h 3680460"/>
                  <a:gd name="connsiteX101" fmla="*/ 2626995 w 3008034"/>
                  <a:gd name="connsiteY101" fmla="*/ 822960 h 3680460"/>
                  <a:gd name="connsiteX102" fmla="*/ 2611755 w 3008034"/>
                  <a:gd name="connsiteY102" fmla="*/ 800100 h 3680460"/>
                  <a:gd name="connsiteX103" fmla="*/ 2588895 w 3008034"/>
                  <a:gd name="connsiteY103" fmla="*/ 739140 h 3680460"/>
                  <a:gd name="connsiteX104" fmla="*/ 2448878 w 3008034"/>
                  <a:gd name="connsiteY104" fmla="*/ 621983 h 3680460"/>
                  <a:gd name="connsiteX105" fmla="*/ 2291715 w 3008034"/>
                  <a:gd name="connsiteY105" fmla="*/ 458152 h 3680460"/>
                  <a:gd name="connsiteX106" fmla="*/ 2227898 w 3008034"/>
                  <a:gd name="connsiteY106" fmla="*/ 406717 h 3680460"/>
                  <a:gd name="connsiteX107" fmla="*/ 2093595 w 3008034"/>
                  <a:gd name="connsiteY107" fmla="*/ 312420 h 3680460"/>
                  <a:gd name="connsiteX108" fmla="*/ 2032635 w 3008034"/>
                  <a:gd name="connsiteY108" fmla="*/ 266700 h 3680460"/>
                  <a:gd name="connsiteX109" fmla="*/ 1994535 w 3008034"/>
                  <a:gd name="connsiteY109" fmla="*/ 251460 h 3680460"/>
                  <a:gd name="connsiteX110" fmla="*/ 1948815 w 3008034"/>
                  <a:gd name="connsiteY110" fmla="*/ 220980 h 3680460"/>
                  <a:gd name="connsiteX111" fmla="*/ 1887855 w 3008034"/>
                  <a:gd name="connsiteY11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02255 w 3008034"/>
                  <a:gd name="connsiteY92" fmla="*/ 1165860 h 3680460"/>
                  <a:gd name="connsiteX93" fmla="*/ 2771775 w 3008034"/>
                  <a:gd name="connsiteY93" fmla="*/ 1127760 h 3680460"/>
                  <a:gd name="connsiteX94" fmla="*/ 2756535 w 3008034"/>
                  <a:gd name="connsiteY94" fmla="*/ 1089660 h 3680460"/>
                  <a:gd name="connsiteX95" fmla="*/ 2726055 w 3008034"/>
                  <a:gd name="connsiteY95" fmla="*/ 1043940 h 3680460"/>
                  <a:gd name="connsiteX96" fmla="*/ 2718435 w 3008034"/>
                  <a:gd name="connsiteY96" fmla="*/ 1021080 h 3680460"/>
                  <a:gd name="connsiteX97" fmla="*/ 2672715 w 3008034"/>
                  <a:gd name="connsiteY97" fmla="*/ 937260 h 3680460"/>
                  <a:gd name="connsiteX98" fmla="*/ 2649855 w 3008034"/>
                  <a:gd name="connsiteY98" fmla="*/ 876300 h 3680460"/>
                  <a:gd name="connsiteX99" fmla="*/ 2634615 w 3008034"/>
                  <a:gd name="connsiteY99" fmla="*/ 845820 h 3680460"/>
                  <a:gd name="connsiteX100" fmla="*/ 2626995 w 3008034"/>
                  <a:gd name="connsiteY100" fmla="*/ 822960 h 3680460"/>
                  <a:gd name="connsiteX101" fmla="*/ 2611755 w 3008034"/>
                  <a:gd name="connsiteY101" fmla="*/ 800100 h 3680460"/>
                  <a:gd name="connsiteX102" fmla="*/ 2588895 w 3008034"/>
                  <a:gd name="connsiteY102" fmla="*/ 739140 h 3680460"/>
                  <a:gd name="connsiteX103" fmla="*/ 2448878 w 3008034"/>
                  <a:gd name="connsiteY103" fmla="*/ 621983 h 3680460"/>
                  <a:gd name="connsiteX104" fmla="*/ 2291715 w 3008034"/>
                  <a:gd name="connsiteY104" fmla="*/ 458152 h 3680460"/>
                  <a:gd name="connsiteX105" fmla="*/ 2227898 w 3008034"/>
                  <a:gd name="connsiteY105" fmla="*/ 406717 h 3680460"/>
                  <a:gd name="connsiteX106" fmla="*/ 2093595 w 3008034"/>
                  <a:gd name="connsiteY106" fmla="*/ 312420 h 3680460"/>
                  <a:gd name="connsiteX107" fmla="*/ 2032635 w 3008034"/>
                  <a:gd name="connsiteY107" fmla="*/ 266700 h 3680460"/>
                  <a:gd name="connsiteX108" fmla="*/ 1994535 w 3008034"/>
                  <a:gd name="connsiteY108" fmla="*/ 251460 h 3680460"/>
                  <a:gd name="connsiteX109" fmla="*/ 1948815 w 3008034"/>
                  <a:gd name="connsiteY109" fmla="*/ 220980 h 3680460"/>
                  <a:gd name="connsiteX110" fmla="*/ 1887855 w 3008034"/>
                  <a:gd name="connsiteY11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71775 w 3008034"/>
                  <a:gd name="connsiteY92" fmla="*/ 1127760 h 3680460"/>
                  <a:gd name="connsiteX93" fmla="*/ 2756535 w 3008034"/>
                  <a:gd name="connsiteY93" fmla="*/ 1089660 h 3680460"/>
                  <a:gd name="connsiteX94" fmla="*/ 2726055 w 3008034"/>
                  <a:gd name="connsiteY94" fmla="*/ 1043940 h 3680460"/>
                  <a:gd name="connsiteX95" fmla="*/ 2718435 w 3008034"/>
                  <a:gd name="connsiteY95" fmla="*/ 1021080 h 3680460"/>
                  <a:gd name="connsiteX96" fmla="*/ 2672715 w 3008034"/>
                  <a:gd name="connsiteY96" fmla="*/ 937260 h 3680460"/>
                  <a:gd name="connsiteX97" fmla="*/ 2649855 w 3008034"/>
                  <a:gd name="connsiteY97" fmla="*/ 876300 h 3680460"/>
                  <a:gd name="connsiteX98" fmla="*/ 2634615 w 3008034"/>
                  <a:gd name="connsiteY98" fmla="*/ 845820 h 3680460"/>
                  <a:gd name="connsiteX99" fmla="*/ 2626995 w 3008034"/>
                  <a:gd name="connsiteY99" fmla="*/ 822960 h 3680460"/>
                  <a:gd name="connsiteX100" fmla="*/ 2611755 w 3008034"/>
                  <a:gd name="connsiteY100" fmla="*/ 800100 h 3680460"/>
                  <a:gd name="connsiteX101" fmla="*/ 2588895 w 3008034"/>
                  <a:gd name="connsiteY101" fmla="*/ 739140 h 3680460"/>
                  <a:gd name="connsiteX102" fmla="*/ 2448878 w 3008034"/>
                  <a:gd name="connsiteY102" fmla="*/ 621983 h 3680460"/>
                  <a:gd name="connsiteX103" fmla="*/ 2291715 w 3008034"/>
                  <a:gd name="connsiteY103" fmla="*/ 458152 h 3680460"/>
                  <a:gd name="connsiteX104" fmla="*/ 2227898 w 3008034"/>
                  <a:gd name="connsiteY104" fmla="*/ 406717 h 3680460"/>
                  <a:gd name="connsiteX105" fmla="*/ 2093595 w 3008034"/>
                  <a:gd name="connsiteY105" fmla="*/ 312420 h 3680460"/>
                  <a:gd name="connsiteX106" fmla="*/ 2032635 w 3008034"/>
                  <a:gd name="connsiteY106" fmla="*/ 266700 h 3680460"/>
                  <a:gd name="connsiteX107" fmla="*/ 1994535 w 3008034"/>
                  <a:gd name="connsiteY107" fmla="*/ 251460 h 3680460"/>
                  <a:gd name="connsiteX108" fmla="*/ 1948815 w 3008034"/>
                  <a:gd name="connsiteY108" fmla="*/ 220980 h 3680460"/>
                  <a:gd name="connsiteX109" fmla="*/ 1887855 w 3008034"/>
                  <a:gd name="connsiteY10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26995 w 3008034"/>
                  <a:gd name="connsiteY98" fmla="*/ 822960 h 3680460"/>
                  <a:gd name="connsiteX99" fmla="*/ 2611755 w 3008034"/>
                  <a:gd name="connsiteY99" fmla="*/ 800100 h 3680460"/>
                  <a:gd name="connsiteX100" fmla="*/ 2588895 w 3008034"/>
                  <a:gd name="connsiteY100" fmla="*/ 739140 h 3680460"/>
                  <a:gd name="connsiteX101" fmla="*/ 2448878 w 3008034"/>
                  <a:gd name="connsiteY101" fmla="*/ 621983 h 3680460"/>
                  <a:gd name="connsiteX102" fmla="*/ 2291715 w 3008034"/>
                  <a:gd name="connsiteY102" fmla="*/ 458152 h 3680460"/>
                  <a:gd name="connsiteX103" fmla="*/ 2227898 w 3008034"/>
                  <a:gd name="connsiteY103" fmla="*/ 406717 h 3680460"/>
                  <a:gd name="connsiteX104" fmla="*/ 2093595 w 3008034"/>
                  <a:gd name="connsiteY104" fmla="*/ 312420 h 3680460"/>
                  <a:gd name="connsiteX105" fmla="*/ 2032635 w 3008034"/>
                  <a:gd name="connsiteY105" fmla="*/ 266700 h 3680460"/>
                  <a:gd name="connsiteX106" fmla="*/ 1994535 w 3008034"/>
                  <a:gd name="connsiteY106" fmla="*/ 251460 h 3680460"/>
                  <a:gd name="connsiteX107" fmla="*/ 1948815 w 3008034"/>
                  <a:gd name="connsiteY107" fmla="*/ 220980 h 3680460"/>
                  <a:gd name="connsiteX108" fmla="*/ 1887855 w 3008034"/>
                  <a:gd name="connsiteY10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588895 w 3008034"/>
                  <a:gd name="connsiteY99" fmla="*/ 739140 h 3680460"/>
                  <a:gd name="connsiteX100" fmla="*/ 2448878 w 3008034"/>
                  <a:gd name="connsiteY100" fmla="*/ 621983 h 3680460"/>
                  <a:gd name="connsiteX101" fmla="*/ 2291715 w 3008034"/>
                  <a:gd name="connsiteY101" fmla="*/ 458152 h 3680460"/>
                  <a:gd name="connsiteX102" fmla="*/ 2227898 w 3008034"/>
                  <a:gd name="connsiteY102" fmla="*/ 406717 h 3680460"/>
                  <a:gd name="connsiteX103" fmla="*/ 2093595 w 3008034"/>
                  <a:gd name="connsiteY103" fmla="*/ 312420 h 3680460"/>
                  <a:gd name="connsiteX104" fmla="*/ 2032635 w 3008034"/>
                  <a:gd name="connsiteY104" fmla="*/ 266700 h 3680460"/>
                  <a:gd name="connsiteX105" fmla="*/ 1994535 w 3008034"/>
                  <a:gd name="connsiteY105" fmla="*/ 251460 h 3680460"/>
                  <a:gd name="connsiteX106" fmla="*/ 1948815 w 3008034"/>
                  <a:gd name="connsiteY106" fmla="*/ 220980 h 3680460"/>
                  <a:gd name="connsiteX107" fmla="*/ 1887855 w 3008034"/>
                  <a:gd name="connsiteY10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448878 w 3008034"/>
                  <a:gd name="connsiteY99" fmla="*/ 621983 h 3680460"/>
                  <a:gd name="connsiteX100" fmla="*/ 2291715 w 3008034"/>
                  <a:gd name="connsiteY100" fmla="*/ 458152 h 3680460"/>
                  <a:gd name="connsiteX101" fmla="*/ 2227898 w 3008034"/>
                  <a:gd name="connsiteY101" fmla="*/ 406717 h 3680460"/>
                  <a:gd name="connsiteX102" fmla="*/ 2093595 w 3008034"/>
                  <a:gd name="connsiteY102" fmla="*/ 312420 h 3680460"/>
                  <a:gd name="connsiteX103" fmla="*/ 2032635 w 3008034"/>
                  <a:gd name="connsiteY103" fmla="*/ 266700 h 3680460"/>
                  <a:gd name="connsiteX104" fmla="*/ 1994535 w 3008034"/>
                  <a:gd name="connsiteY104" fmla="*/ 251460 h 3680460"/>
                  <a:gd name="connsiteX105" fmla="*/ 1948815 w 3008034"/>
                  <a:gd name="connsiteY105" fmla="*/ 220980 h 3680460"/>
                  <a:gd name="connsiteX106" fmla="*/ 1887855 w 3008034"/>
                  <a:gd name="connsiteY10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18435 w 3008034"/>
                  <a:gd name="connsiteY18" fmla="*/ 678180 h 3680460"/>
                  <a:gd name="connsiteX19" fmla="*/ 2756535 w 3008034"/>
                  <a:gd name="connsiteY19" fmla="*/ 754380 h 3680460"/>
                  <a:gd name="connsiteX20" fmla="*/ 2809875 w 3008034"/>
                  <a:gd name="connsiteY20" fmla="*/ 830580 h 3680460"/>
                  <a:gd name="connsiteX21" fmla="*/ 2908935 w 3008034"/>
                  <a:gd name="connsiteY21" fmla="*/ 1036320 h 3680460"/>
                  <a:gd name="connsiteX22" fmla="*/ 2924175 w 3008034"/>
                  <a:gd name="connsiteY22" fmla="*/ 1074420 h 3680460"/>
                  <a:gd name="connsiteX23" fmla="*/ 2954655 w 3008034"/>
                  <a:gd name="connsiteY23" fmla="*/ 1203960 h 3680460"/>
                  <a:gd name="connsiteX24" fmla="*/ 2969895 w 3008034"/>
                  <a:gd name="connsiteY24" fmla="*/ 1264920 h 3680460"/>
                  <a:gd name="connsiteX25" fmla="*/ 2985135 w 3008034"/>
                  <a:gd name="connsiteY25" fmla="*/ 1348740 h 3680460"/>
                  <a:gd name="connsiteX26" fmla="*/ 3000375 w 3008034"/>
                  <a:gd name="connsiteY26" fmla="*/ 1432560 h 3680460"/>
                  <a:gd name="connsiteX27" fmla="*/ 3007995 w 3008034"/>
                  <a:gd name="connsiteY27" fmla="*/ 1684020 h 3680460"/>
                  <a:gd name="connsiteX28" fmla="*/ 3003233 w 3008034"/>
                  <a:gd name="connsiteY28" fmla="*/ 1990725 h 3680460"/>
                  <a:gd name="connsiteX29" fmla="*/ 2969895 w 3008034"/>
                  <a:gd name="connsiteY29" fmla="*/ 2194560 h 3680460"/>
                  <a:gd name="connsiteX30" fmla="*/ 2931795 w 3008034"/>
                  <a:gd name="connsiteY30" fmla="*/ 2324100 h 3680460"/>
                  <a:gd name="connsiteX31" fmla="*/ 2916555 w 3008034"/>
                  <a:gd name="connsiteY31" fmla="*/ 2392680 h 3680460"/>
                  <a:gd name="connsiteX32" fmla="*/ 2867978 w 3008034"/>
                  <a:gd name="connsiteY32" fmla="*/ 2521267 h 3680460"/>
                  <a:gd name="connsiteX33" fmla="*/ 2801303 w 3008034"/>
                  <a:gd name="connsiteY33" fmla="*/ 2656523 h 3680460"/>
                  <a:gd name="connsiteX34" fmla="*/ 2719387 w 3008034"/>
                  <a:gd name="connsiteY34" fmla="*/ 2818447 h 3680460"/>
                  <a:gd name="connsiteX35" fmla="*/ 2495550 w 3008034"/>
                  <a:gd name="connsiteY35" fmla="*/ 3084195 h 3680460"/>
                  <a:gd name="connsiteX36" fmla="*/ 2396490 w 3008034"/>
                  <a:gd name="connsiteY36" fmla="*/ 3185160 h 3680460"/>
                  <a:gd name="connsiteX37" fmla="*/ 2284095 w 3008034"/>
                  <a:gd name="connsiteY37" fmla="*/ 3284220 h 3680460"/>
                  <a:gd name="connsiteX38" fmla="*/ 2131695 w 3008034"/>
                  <a:gd name="connsiteY38" fmla="*/ 3390900 h 3680460"/>
                  <a:gd name="connsiteX39" fmla="*/ 2000250 w 3008034"/>
                  <a:gd name="connsiteY39" fmla="*/ 3448050 h 3680460"/>
                  <a:gd name="connsiteX40" fmla="*/ 1864995 w 3008034"/>
                  <a:gd name="connsiteY40" fmla="*/ 3512820 h 3680460"/>
                  <a:gd name="connsiteX41" fmla="*/ 1819275 w 3008034"/>
                  <a:gd name="connsiteY41" fmla="*/ 3520440 h 3680460"/>
                  <a:gd name="connsiteX42" fmla="*/ 1712595 w 3008034"/>
                  <a:gd name="connsiteY42" fmla="*/ 3550920 h 3680460"/>
                  <a:gd name="connsiteX43" fmla="*/ 1590675 w 3008034"/>
                  <a:gd name="connsiteY43" fmla="*/ 3589020 h 3680460"/>
                  <a:gd name="connsiteX44" fmla="*/ 1560195 w 3008034"/>
                  <a:gd name="connsiteY44" fmla="*/ 3596640 h 3680460"/>
                  <a:gd name="connsiteX45" fmla="*/ 1537335 w 3008034"/>
                  <a:gd name="connsiteY45" fmla="*/ 3611880 h 3680460"/>
                  <a:gd name="connsiteX46" fmla="*/ 1453515 w 3008034"/>
                  <a:gd name="connsiteY46" fmla="*/ 3627120 h 3680460"/>
                  <a:gd name="connsiteX47" fmla="*/ 1323975 w 3008034"/>
                  <a:gd name="connsiteY47" fmla="*/ 3657600 h 3680460"/>
                  <a:gd name="connsiteX48" fmla="*/ 1194435 w 3008034"/>
                  <a:gd name="connsiteY48" fmla="*/ 3672840 h 3680460"/>
                  <a:gd name="connsiteX49" fmla="*/ 1156335 w 3008034"/>
                  <a:gd name="connsiteY49" fmla="*/ 3680460 h 3680460"/>
                  <a:gd name="connsiteX50" fmla="*/ 625792 w 3008034"/>
                  <a:gd name="connsiteY50" fmla="*/ 3668078 h 3680460"/>
                  <a:gd name="connsiteX51" fmla="*/ 402908 w 3008034"/>
                  <a:gd name="connsiteY51" fmla="*/ 3614738 h 3680460"/>
                  <a:gd name="connsiteX52" fmla="*/ 266700 w 3008034"/>
                  <a:gd name="connsiteY52" fmla="*/ 3570922 h 3680460"/>
                  <a:gd name="connsiteX53" fmla="*/ 164782 w 3008034"/>
                  <a:gd name="connsiteY53" fmla="*/ 3515678 h 3680460"/>
                  <a:gd name="connsiteX54" fmla="*/ 31433 w 3008034"/>
                  <a:gd name="connsiteY54" fmla="*/ 3422333 h 3680460"/>
                  <a:gd name="connsiteX55" fmla="*/ 0 w 3008034"/>
                  <a:gd name="connsiteY55" fmla="*/ 3376613 h 3680460"/>
                  <a:gd name="connsiteX56" fmla="*/ 127635 w 3008034"/>
                  <a:gd name="connsiteY56" fmla="*/ 3360420 h 3680460"/>
                  <a:gd name="connsiteX57" fmla="*/ 158115 w 3008034"/>
                  <a:gd name="connsiteY57" fmla="*/ 3390900 h 3680460"/>
                  <a:gd name="connsiteX58" fmla="*/ 317183 w 3008034"/>
                  <a:gd name="connsiteY58" fmla="*/ 3450907 h 3680460"/>
                  <a:gd name="connsiteX59" fmla="*/ 485775 w 3008034"/>
                  <a:gd name="connsiteY59" fmla="*/ 3520440 h 3680460"/>
                  <a:gd name="connsiteX60" fmla="*/ 721995 w 3008034"/>
                  <a:gd name="connsiteY60" fmla="*/ 3558540 h 3680460"/>
                  <a:gd name="connsiteX61" fmla="*/ 1331595 w 3008034"/>
                  <a:gd name="connsiteY61" fmla="*/ 3550920 h 3680460"/>
                  <a:gd name="connsiteX62" fmla="*/ 1529715 w 3008034"/>
                  <a:gd name="connsiteY62" fmla="*/ 3520440 h 3680460"/>
                  <a:gd name="connsiteX63" fmla="*/ 1621155 w 3008034"/>
                  <a:gd name="connsiteY63" fmla="*/ 3497580 h 3680460"/>
                  <a:gd name="connsiteX64" fmla="*/ 1689735 w 3008034"/>
                  <a:gd name="connsiteY64" fmla="*/ 3474720 h 3680460"/>
                  <a:gd name="connsiteX65" fmla="*/ 1781175 w 3008034"/>
                  <a:gd name="connsiteY65" fmla="*/ 3451860 h 3680460"/>
                  <a:gd name="connsiteX66" fmla="*/ 1811655 w 3008034"/>
                  <a:gd name="connsiteY66" fmla="*/ 3444240 h 3680460"/>
                  <a:gd name="connsiteX67" fmla="*/ 1864995 w 3008034"/>
                  <a:gd name="connsiteY67" fmla="*/ 3421380 h 3680460"/>
                  <a:gd name="connsiteX68" fmla="*/ 1918335 w 3008034"/>
                  <a:gd name="connsiteY68" fmla="*/ 3398520 h 3680460"/>
                  <a:gd name="connsiteX69" fmla="*/ 1941195 w 3008034"/>
                  <a:gd name="connsiteY69" fmla="*/ 3390900 h 3680460"/>
                  <a:gd name="connsiteX70" fmla="*/ 1994535 w 3008034"/>
                  <a:gd name="connsiteY70" fmla="*/ 3360420 h 3680460"/>
                  <a:gd name="connsiteX71" fmla="*/ 2032635 w 3008034"/>
                  <a:gd name="connsiteY71" fmla="*/ 3352800 h 3680460"/>
                  <a:gd name="connsiteX72" fmla="*/ 2070735 w 3008034"/>
                  <a:gd name="connsiteY72" fmla="*/ 3337560 h 3680460"/>
                  <a:gd name="connsiteX73" fmla="*/ 2189797 w 3008034"/>
                  <a:gd name="connsiteY73" fmla="*/ 3251835 h 3680460"/>
                  <a:gd name="connsiteX74" fmla="*/ 2337435 w 3008034"/>
                  <a:gd name="connsiteY74" fmla="*/ 3154680 h 3680460"/>
                  <a:gd name="connsiteX75" fmla="*/ 2436495 w 3008034"/>
                  <a:gd name="connsiteY75" fmla="*/ 3032760 h 3680460"/>
                  <a:gd name="connsiteX76" fmla="*/ 2459355 w 3008034"/>
                  <a:gd name="connsiteY76" fmla="*/ 3009900 h 3680460"/>
                  <a:gd name="connsiteX77" fmla="*/ 2527935 w 3008034"/>
                  <a:gd name="connsiteY77" fmla="*/ 2926080 h 3680460"/>
                  <a:gd name="connsiteX78" fmla="*/ 2619375 w 3008034"/>
                  <a:gd name="connsiteY78" fmla="*/ 2811780 h 3680460"/>
                  <a:gd name="connsiteX79" fmla="*/ 2634615 w 3008034"/>
                  <a:gd name="connsiteY79" fmla="*/ 2773680 h 3680460"/>
                  <a:gd name="connsiteX80" fmla="*/ 2665095 w 3008034"/>
                  <a:gd name="connsiteY80" fmla="*/ 2727960 h 3680460"/>
                  <a:gd name="connsiteX81" fmla="*/ 2695575 w 3008034"/>
                  <a:gd name="connsiteY81" fmla="*/ 2667000 h 3680460"/>
                  <a:gd name="connsiteX82" fmla="*/ 2779395 w 3008034"/>
                  <a:gd name="connsiteY82" fmla="*/ 2484120 h 3680460"/>
                  <a:gd name="connsiteX83" fmla="*/ 2802255 w 3008034"/>
                  <a:gd name="connsiteY83" fmla="*/ 2407920 h 3680460"/>
                  <a:gd name="connsiteX84" fmla="*/ 2908935 w 3008034"/>
                  <a:gd name="connsiteY84" fmla="*/ 2049780 h 3680460"/>
                  <a:gd name="connsiteX85" fmla="*/ 2924175 w 3008034"/>
                  <a:gd name="connsiteY85" fmla="*/ 1844040 h 3680460"/>
                  <a:gd name="connsiteX86" fmla="*/ 2908935 w 3008034"/>
                  <a:gd name="connsiteY86" fmla="*/ 1470660 h 3680460"/>
                  <a:gd name="connsiteX87" fmla="*/ 2886075 w 3008034"/>
                  <a:gd name="connsiteY87" fmla="*/ 1371600 h 3680460"/>
                  <a:gd name="connsiteX88" fmla="*/ 2870835 w 3008034"/>
                  <a:gd name="connsiteY88" fmla="*/ 1341120 h 3680460"/>
                  <a:gd name="connsiteX89" fmla="*/ 2847975 w 3008034"/>
                  <a:gd name="connsiteY89" fmla="*/ 1272540 h 3680460"/>
                  <a:gd name="connsiteX90" fmla="*/ 2840355 w 3008034"/>
                  <a:gd name="connsiteY90" fmla="*/ 1234440 h 3680460"/>
                  <a:gd name="connsiteX91" fmla="*/ 2756535 w 3008034"/>
                  <a:gd name="connsiteY91" fmla="*/ 1089660 h 3680460"/>
                  <a:gd name="connsiteX92" fmla="*/ 2726055 w 3008034"/>
                  <a:gd name="connsiteY92" fmla="*/ 1043940 h 3680460"/>
                  <a:gd name="connsiteX93" fmla="*/ 2718435 w 3008034"/>
                  <a:gd name="connsiteY93" fmla="*/ 1021080 h 3680460"/>
                  <a:gd name="connsiteX94" fmla="*/ 2672715 w 3008034"/>
                  <a:gd name="connsiteY94" fmla="*/ 937260 h 3680460"/>
                  <a:gd name="connsiteX95" fmla="*/ 2649855 w 3008034"/>
                  <a:gd name="connsiteY95" fmla="*/ 876300 h 3680460"/>
                  <a:gd name="connsiteX96" fmla="*/ 2634615 w 3008034"/>
                  <a:gd name="connsiteY96" fmla="*/ 845820 h 3680460"/>
                  <a:gd name="connsiteX97" fmla="*/ 2611755 w 3008034"/>
                  <a:gd name="connsiteY97" fmla="*/ 800100 h 3680460"/>
                  <a:gd name="connsiteX98" fmla="*/ 2448878 w 3008034"/>
                  <a:gd name="connsiteY98" fmla="*/ 621983 h 3680460"/>
                  <a:gd name="connsiteX99" fmla="*/ 2291715 w 3008034"/>
                  <a:gd name="connsiteY99" fmla="*/ 458152 h 3680460"/>
                  <a:gd name="connsiteX100" fmla="*/ 2227898 w 3008034"/>
                  <a:gd name="connsiteY100" fmla="*/ 406717 h 3680460"/>
                  <a:gd name="connsiteX101" fmla="*/ 2093595 w 3008034"/>
                  <a:gd name="connsiteY101" fmla="*/ 312420 h 3680460"/>
                  <a:gd name="connsiteX102" fmla="*/ 2032635 w 3008034"/>
                  <a:gd name="connsiteY102" fmla="*/ 266700 h 3680460"/>
                  <a:gd name="connsiteX103" fmla="*/ 1994535 w 3008034"/>
                  <a:gd name="connsiteY103" fmla="*/ 251460 h 3680460"/>
                  <a:gd name="connsiteX104" fmla="*/ 1948815 w 3008034"/>
                  <a:gd name="connsiteY104" fmla="*/ 220980 h 3680460"/>
                  <a:gd name="connsiteX105" fmla="*/ 1887855 w 3008034"/>
                  <a:gd name="connsiteY10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56535 w 3008034"/>
                  <a:gd name="connsiteY18" fmla="*/ 754380 h 3680460"/>
                  <a:gd name="connsiteX19" fmla="*/ 2809875 w 3008034"/>
                  <a:gd name="connsiteY19" fmla="*/ 830580 h 3680460"/>
                  <a:gd name="connsiteX20" fmla="*/ 2908935 w 3008034"/>
                  <a:gd name="connsiteY20" fmla="*/ 1036320 h 3680460"/>
                  <a:gd name="connsiteX21" fmla="*/ 2924175 w 3008034"/>
                  <a:gd name="connsiteY21" fmla="*/ 1074420 h 3680460"/>
                  <a:gd name="connsiteX22" fmla="*/ 2954655 w 3008034"/>
                  <a:gd name="connsiteY22" fmla="*/ 1203960 h 3680460"/>
                  <a:gd name="connsiteX23" fmla="*/ 2969895 w 3008034"/>
                  <a:gd name="connsiteY23" fmla="*/ 1264920 h 3680460"/>
                  <a:gd name="connsiteX24" fmla="*/ 2985135 w 3008034"/>
                  <a:gd name="connsiteY24" fmla="*/ 1348740 h 3680460"/>
                  <a:gd name="connsiteX25" fmla="*/ 3000375 w 3008034"/>
                  <a:gd name="connsiteY25" fmla="*/ 1432560 h 3680460"/>
                  <a:gd name="connsiteX26" fmla="*/ 3007995 w 3008034"/>
                  <a:gd name="connsiteY26" fmla="*/ 1684020 h 3680460"/>
                  <a:gd name="connsiteX27" fmla="*/ 3003233 w 3008034"/>
                  <a:gd name="connsiteY27" fmla="*/ 1990725 h 3680460"/>
                  <a:gd name="connsiteX28" fmla="*/ 2969895 w 3008034"/>
                  <a:gd name="connsiteY28" fmla="*/ 2194560 h 3680460"/>
                  <a:gd name="connsiteX29" fmla="*/ 2931795 w 3008034"/>
                  <a:gd name="connsiteY29" fmla="*/ 2324100 h 3680460"/>
                  <a:gd name="connsiteX30" fmla="*/ 2916555 w 3008034"/>
                  <a:gd name="connsiteY30" fmla="*/ 2392680 h 3680460"/>
                  <a:gd name="connsiteX31" fmla="*/ 2867978 w 3008034"/>
                  <a:gd name="connsiteY31" fmla="*/ 2521267 h 3680460"/>
                  <a:gd name="connsiteX32" fmla="*/ 2801303 w 3008034"/>
                  <a:gd name="connsiteY32" fmla="*/ 2656523 h 3680460"/>
                  <a:gd name="connsiteX33" fmla="*/ 2719387 w 3008034"/>
                  <a:gd name="connsiteY33" fmla="*/ 2818447 h 3680460"/>
                  <a:gd name="connsiteX34" fmla="*/ 2495550 w 3008034"/>
                  <a:gd name="connsiteY34" fmla="*/ 3084195 h 3680460"/>
                  <a:gd name="connsiteX35" fmla="*/ 2396490 w 3008034"/>
                  <a:gd name="connsiteY35" fmla="*/ 3185160 h 3680460"/>
                  <a:gd name="connsiteX36" fmla="*/ 2284095 w 3008034"/>
                  <a:gd name="connsiteY36" fmla="*/ 3284220 h 3680460"/>
                  <a:gd name="connsiteX37" fmla="*/ 2131695 w 3008034"/>
                  <a:gd name="connsiteY37" fmla="*/ 3390900 h 3680460"/>
                  <a:gd name="connsiteX38" fmla="*/ 2000250 w 3008034"/>
                  <a:gd name="connsiteY38" fmla="*/ 3448050 h 3680460"/>
                  <a:gd name="connsiteX39" fmla="*/ 1864995 w 3008034"/>
                  <a:gd name="connsiteY39" fmla="*/ 3512820 h 3680460"/>
                  <a:gd name="connsiteX40" fmla="*/ 1819275 w 3008034"/>
                  <a:gd name="connsiteY40" fmla="*/ 3520440 h 3680460"/>
                  <a:gd name="connsiteX41" fmla="*/ 1712595 w 3008034"/>
                  <a:gd name="connsiteY41" fmla="*/ 3550920 h 3680460"/>
                  <a:gd name="connsiteX42" fmla="*/ 1590675 w 3008034"/>
                  <a:gd name="connsiteY42" fmla="*/ 3589020 h 3680460"/>
                  <a:gd name="connsiteX43" fmla="*/ 1560195 w 3008034"/>
                  <a:gd name="connsiteY43" fmla="*/ 3596640 h 3680460"/>
                  <a:gd name="connsiteX44" fmla="*/ 1537335 w 3008034"/>
                  <a:gd name="connsiteY44" fmla="*/ 3611880 h 3680460"/>
                  <a:gd name="connsiteX45" fmla="*/ 1453515 w 3008034"/>
                  <a:gd name="connsiteY45" fmla="*/ 3627120 h 3680460"/>
                  <a:gd name="connsiteX46" fmla="*/ 1323975 w 3008034"/>
                  <a:gd name="connsiteY46" fmla="*/ 3657600 h 3680460"/>
                  <a:gd name="connsiteX47" fmla="*/ 1194435 w 3008034"/>
                  <a:gd name="connsiteY47" fmla="*/ 3672840 h 3680460"/>
                  <a:gd name="connsiteX48" fmla="*/ 1156335 w 3008034"/>
                  <a:gd name="connsiteY48" fmla="*/ 3680460 h 3680460"/>
                  <a:gd name="connsiteX49" fmla="*/ 625792 w 3008034"/>
                  <a:gd name="connsiteY49" fmla="*/ 3668078 h 3680460"/>
                  <a:gd name="connsiteX50" fmla="*/ 402908 w 3008034"/>
                  <a:gd name="connsiteY50" fmla="*/ 3614738 h 3680460"/>
                  <a:gd name="connsiteX51" fmla="*/ 266700 w 3008034"/>
                  <a:gd name="connsiteY51" fmla="*/ 3570922 h 3680460"/>
                  <a:gd name="connsiteX52" fmla="*/ 164782 w 3008034"/>
                  <a:gd name="connsiteY52" fmla="*/ 3515678 h 3680460"/>
                  <a:gd name="connsiteX53" fmla="*/ 31433 w 3008034"/>
                  <a:gd name="connsiteY53" fmla="*/ 3422333 h 3680460"/>
                  <a:gd name="connsiteX54" fmla="*/ 0 w 3008034"/>
                  <a:gd name="connsiteY54" fmla="*/ 3376613 h 3680460"/>
                  <a:gd name="connsiteX55" fmla="*/ 127635 w 3008034"/>
                  <a:gd name="connsiteY55" fmla="*/ 3360420 h 3680460"/>
                  <a:gd name="connsiteX56" fmla="*/ 158115 w 3008034"/>
                  <a:gd name="connsiteY56" fmla="*/ 3390900 h 3680460"/>
                  <a:gd name="connsiteX57" fmla="*/ 317183 w 3008034"/>
                  <a:gd name="connsiteY57" fmla="*/ 3450907 h 3680460"/>
                  <a:gd name="connsiteX58" fmla="*/ 485775 w 3008034"/>
                  <a:gd name="connsiteY58" fmla="*/ 3520440 h 3680460"/>
                  <a:gd name="connsiteX59" fmla="*/ 721995 w 3008034"/>
                  <a:gd name="connsiteY59" fmla="*/ 3558540 h 3680460"/>
                  <a:gd name="connsiteX60" fmla="*/ 1331595 w 3008034"/>
                  <a:gd name="connsiteY60" fmla="*/ 3550920 h 3680460"/>
                  <a:gd name="connsiteX61" fmla="*/ 1529715 w 3008034"/>
                  <a:gd name="connsiteY61" fmla="*/ 3520440 h 3680460"/>
                  <a:gd name="connsiteX62" fmla="*/ 1621155 w 3008034"/>
                  <a:gd name="connsiteY62" fmla="*/ 3497580 h 3680460"/>
                  <a:gd name="connsiteX63" fmla="*/ 1689735 w 3008034"/>
                  <a:gd name="connsiteY63" fmla="*/ 3474720 h 3680460"/>
                  <a:gd name="connsiteX64" fmla="*/ 1781175 w 3008034"/>
                  <a:gd name="connsiteY64" fmla="*/ 3451860 h 3680460"/>
                  <a:gd name="connsiteX65" fmla="*/ 1811655 w 3008034"/>
                  <a:gd name="connsiteY65" fmla="*/ 3444240 h 3680460"/>
                  <a:gd name="connsiteX66" fmla="*/ 1864995 w 3008034"/>
                  <a:gd name="connsiteY66" fmla="*/ 3421380 h 3680460"/>
                  <a:gd name="connsiteX67" fmla="*/ 1918335 w 3008034"/>
                  <a:gd name="connsiteY67" fmla="*/ 3398520 h 3680460"/>
                  <a:gd name="connsiteX68" fmla="*/ 1941195 w 3008034"/>
                  <a:gd name="connsiteY68" fmla="*/ 3390900 h 3680460"/>
                  <a:gd name="connsiteX69" fmla="*/ 1994535 w 3008034"/>
                  <a:gd name="connsiteY69" fmla="*/ 3360420 h 3680460"/>
                  <a:gd name="connsiteX70" fmla="*/ 2032635 w 3008034"/>
                  <a:gd name="connsiteY70" fmla="*/ 3352800 h 3680460"/>
                  <a:gd name="connsiteX71" fmla="*/ 2070735 w 3008034"/>
                  <a:gd name="connsiteY71" fmla="*/ 3337560 h 3680460"/>
                  <a:gd name="connsiteX72" fmla="*/ 2189797 w 3008034"/>
                  <a:gd name="connsiteY72" fmla="*/ 3251835 h 3680460"/>
                  <a:gd name="connsiteX73" fmla="*/ 2337435 w 3008034"/>
                  <a:gd name="connsiteY73" fmla="*/ 3154680 h 3680460"/>
                  <a:gd name="connsiteX74" fmla="*/ 2436495 w 3008034"/>
                  <a:gd name="connsiteY74" fmla="*/ 3032760 h 3680460"/>
                  <a:gd name="connsiteX75" fmla="*/ 2459355 w 3008034"/>
                  <a:gd name="connsiteY75" fmla="*/ 3009900 h 3680460"/>
                  <a:gd name="connsiteX76" fmla="*/ 2527935 w 3008034"/>
                  <a:gd name="connsiteY76" fmla="*/ 2926080 h 3680460"/>
                  <a:gd name="connsiteX77" fmla="*/ 2619375 w 3008034"/>
                  <a:gd name="connsiteY77" fmla="*/ 2811780 h 3680460"/>
                  <a:gd name="connsiteX78" fmla="*/ 2634615 w 3008034"/>
                  <a:gd name="connsiteY78" fmla="*/ 2773680 h 3680460"/>
                  <a:gd name="connsiteX79" fmla="*/ 2665095 w 3008034"/>
                  <a:gd name="connsiteY79" fmla="*/ 2727960 h 3680460"/>
                  <a:gd name="connsiteX80" fmla="*/ 2695575 w 3008034"/>
                  <a:gd name="connsiteY80" fmla="*/ 2667000 h 3680460"/>
                  <a:gd name="connsiteX81" fmla="*/ 2779395 w 3008034"/>
                  <a:gd name="connsiteY81" fmla="*/ 2484120 h 3680460"/>
                  <a:gd name="connsiteX82" fmla="*/ 2802255 w 3008034"/>
                  <a:gd name="connsiteY82" fmla="*/ 2407920 h 3680460"/>
                  <a:gd name="connsiteX83" fmla="*/ 2908935 w 3008034"/>
                  <a:gd name="connsiteY83" fmla="*/ 2049780 h 3680460"/>
                  <a:gd name="connsiteX84" fmla="*/ 2924175 w 3008034"/>
                  <a:gd name="connsiteY84" fmla="*/ 1844040 h 3680460"/>
                  <a:gd name="connsiteX85" fmla="*/ 2908935 w 3008034"/>
                  <a:gd name="connsiteY85" fmla="*/ 1470660 h 3680460"/>
                  <a:gd name="connsiteX86" fmla="*/ 2886075 w 3008034"/>
                  <a:gd name="connsiteY86" fmla="*/ 1371600 h 3680460"/>
                  <a:gd name="connsiteX87" fmla="*/ 2870835 w 3008034"/>
                  <a:gd name="connsiteY87" fmla="*/ 1341120 h 3680460"/>
                  <a:gd name="connsiteX88" fmla="*/ 2847975 w 3008034"/>
                  <a:gd name="connsiteY88" fmla="*/ 1272540 h 3680460"/>
                  <a:gd name="connsiteX89" fmla="*/ 2840355 w 3008034"/>
                  <a:gd name="connsiteY89" fmla="*/ 1234440 h 3680460"/>
                  <a:gd name="connsiteX90" fmla="*/ 2756535 w 3008034"/>
                  <a:gd name="connsiteY90" fmla="*/ 1089660 h 3680460"/>
                  <a:gd name="connsiteX91" fmla="*/ 2726055 w 3008034"/>
                  <a:gd name="connsiteY91" fmla="*/ 1043940 h 3680460"/>
                  <a:gd name="connsiteX92" fmla="*/ 2718435 w 3008034"/>
                  <a:gd name="connsiteY92" fmla="*/ 1021080 h 3680460"/>
                  <a:gd name="connsiteX93" fmla="*/ 2672715 w 3008034"/>
                  <a:gd name="connsiteY93" fmla="*/ 937260 h 3680460"/>
                  <a:gd name="connsiteX94" fmla="*/ 2649855 w 3008034"/>
                  <a:gd name="connsiteY94" fmla="*/ 876300 h 3680460"/>
                  <a:gd name="connsiteX95" fmla="*/ 2634615 w 3008034"/>
                  <a:gd name="connsiteY95" fmla="*/ 845820 h 3680460"/>
                  <a:gd name="connsiteX96" fmla="*/ 2611755 w 3008034"/>
                  <a:gd name="connsiteY96" fmla="*/ 800100 h 3680460"/>
                  <a:gd name="connsiteX97" fmla="*/ 2448878 w 3008034"/>
                  <a:gd name="connsiteY97" fmla="*/ 621983 h 3680460"/>
                  <a:gd name="connsiteX98" fmla="*/ 2291715 w 3008034"/>
                  <a:gd name="connsiteY98" fmla="*/ 458152 h 3680460"/>
                  <a:gd name="connsiteX99" fmla="*/ 2227898 w 3008034"/>
                  <a:gd name="connsiteY99" fmla="*/ 406717 h 3680460"/>
                  <a:gd name="connsiteX100" fmla="*/ 2093595 w 3008034"/>
                  <a:gd name="connsiteY100" fmla="*/ 312420 h 3680460"/>
                  <a:gd name="connsiteX101" fmla="*/ 2032635 w 3008034"/>
                  <a:gd name="connsiteY101" fmla="*/ 266700 h 3680460"/>
                  <a:gd name="connsiteX102" fmla="*/ 1994535 w 3008034"/>
                  <a:gd name="connsiteY102" fmla="*/ 251460 h 3680460"/>
                  <a:gd name="connsiteX103" fmla="*/ 1948815 w 3008034"/>
                  <a:gd name="connsiteY103" fmla="*/ 220980 h 3680460"/>
                  <a:gd name="connsiteX104" fmla="*/ 1887855 w 3008034"/>
                  <a:gd name="connsiteY10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56535 w 3008034"/>
                  <a:gd name="connsiteY17" fmla="*/ 754380 h 3680460"/>
                  <a:gd name="connsiteX18" fmla="*/ 2809875 w 3008034"/>
                  <a:gd name="connsiteY18" fmla="*/ 830580 h 3680460"/>
                  <a:gd name="connsiteX19" fmla="*/ 2908935 w 3008034"/>
                  <a:gd name="connsiteY19" fmla="*/ 1036320 h 3680460"/>
                  <a:gd name="connsiteX20" fmla="*/ 2924175 w 3008034"/>
                  <a:gd name="connsiteY20" fmla="*/ 1074420 h 3680460"/>
                  <a:gd name="connsiteX21" fmla="*/ 2954655 w 3008034"/>
                  <a:gd name="connsiteY21" fmla="*/ 1203960 h 3680460"/>
                  <a:gd name="connsiteX22" fmla="*/ 2969895 w 3008034"/>
                  <a:gd name="connsiteY22" fmla="*/ 1264920 h 3680460"/>
                  <a:gd name="connsiteX23" fmla="*/ 2985135 w 3008034"/>
                  <a:gd name="connsiteY23" fmla="*/ 1348740 h 3680460"/>
                  <a:gd name="connsiteX24" fmla="*/ 3000375 w 3008034"/>
                  <a:gd name="connsiteY24" fmla="*/ 1432560 h 3680460"/>
                  <a:gd name="connsiteX25" fmla="*/ 3007995 w 3008034"/>
                  <a:gd name="connsiteY25" fmla="*/ 1684020 h 3680460"/>
                  <a:gd name="connsiteX26" fmla="*/ 3003233 w 3008034"/>
                  <a:gd name="connsiteY26" fmla="*/ 1990725 h 3680460"/>
                  <a:gd name="connsiteX27" fmla="*/ 2969895 w 3008034"/>
                  <a:gd name="connsiteY27" fmla="*/ 2194560 h 3680460"/>
                  <a:gd name="connsiteX28" fmla="*/ 2931795 w 3008034"/>
                  <a:gd name="connsiteY28" fmla="*/ 2324100 h 3680460"/>
                  <a:gd name="connsiteX29" fmla="*/ 2916555 w 3008034"/>
                  <a:gd name="connsiteY29" fmla="*/ 2392680 h 3680460"/>
                  <a:gd name="connsiteX30" fmla="*/ 2867978 w 3008034"/>
                  <a:gd name="connsiteY30" fmla="*/ 2521267 h 3680460"/>
                  <a:gd name="connsiteX31" fmla="*/ 2801303 w 3008034"/>
                  <a:gd name="connsiteY31" fmla="*/ 2656523 h 3680460"/>
                  <a:gd name="connsiteX32" fmla="*/ 2719387 w 3008034"/>
                  <a:gd name="connsiteY32" fmla="*/ 2818447 h 3680460"/>
                  <a:gd name="connsiteX33" fmla="*/ 2495550 w 3008034"/>
                  <a:gd name="connsiteY33" fmla="*/ 3084195 h 3680460"/>
                  <a:gd name="connsiteX34" fmla="*/ 2396490 w 3008034"/>
                  <a:gd name="connsiteY34" fmla="*/ 3185160 h 3680460"/>
                  <a:gd name="connsiteX35" fmla="*/ 2284095 w 3008034"/>
                  <a:gd name="connsiteY35" fmla="*/ 3284220 h 3680460"/>
                  <a:gd name="connsiteX36" fmla="*/ 2131695 w 3008034"/>
                  <a:gd name="connsiteY36" fmla="*/ 3390900 h 3680460"/>
                  <a:gd name="connsiteX37" fmla="*/ 2000250 w 3008034"/>
                  <a:gd name="connsiteY37" fmla="*/ 3448050 h 3680460"/>
                  <a:gd name="connsiteX38" fmla="*/ 1864995 w 3008034"/>
                  <a:gd name="connsiteY38" fmla="*/ 3512820 h 3680460"/>
                  <a:gd name="connsiteX39" fmla="*/ 1819275 w 3008034"/>
                  <a:gd name="connsiteY39" fmla="*/ 3520440 h 3680460"/>
                  <a:gd name="connsiteX40" fmla="*/ 1712595 w 3008034"/>
                  <a:gd name="connsiteY40" fmla="*/ 3550920 h 3680460"/>
                  <a:gd name="connsiteX41" fmla="*/ 1590675 w 3008034"/>
                  <a:gd name="connsiteY41" fmla="*/ 3589020 h 3680460"/>
                  <a:gd name="connsiteX42" fmla="*/ 1560195 w 3008034"/>
                  <a:gd name="connsiteY42" fmla="*/ 3596640 h 3680460"/>
                  <a:gd name="connsiteX43" fmla="*/ 1537335 w 3008034"/>
                  <a:gd name="connsiteY43" fmla="*/ 3611880 h 3680460"/>
                  <a:gd name="connsiteX44" fmla="*/ 1453515 w 3008034"/>
                  <a:gd name="connsiteY44" fmla="*/ 3627120 h 3680460"/>
                  <a:gd name="connsiteX45" fmla="*/ 1323975 w 3008034"/>
                  <a:gd name="connsiteY45" fmla="*/ 3657600 h 3680460"/>
                  <a:gd name="connsiteX46" fmla="*/ 1194435 w 3008034"/>
                  <a:gd name="connsiteY46" fmla="*/ 3672840 h 3680460"/>
                  <a:gd name="connsiteX47" fmla="*/ 1156335 w 3008034"/>
                  <a:gd name="connsiteY47" fmla="*/ 3680460 h 3680460"/>
                  <a:gd name="connsiteX48" fmla="*/ 625792 w 3008034"/>
                  <a:gd name="connsiteY48" fmla="*/ 3668078 h 3680460"/>
                  <a:gd name="connsiteX49" fmla="*/ 402908 w 3008034"/>
                  <a:gd name="connsiteY49" fmla="*/ 3614738 h 3680460"/>
                  <a:gd name="connsiteX50" fmla="*/ 266700 w 3008034"/>
                  <a:gd name="connsiteY50" fmla="*/ 3570922 h 3680460"/>
                  <a:gd name="connsiteX51" fmla="*/ 164782 w 3008034"/>
                  <a:gd name="connsiteY51" fmla="*/ 3515678 h 3680460"/>
                  <a:gd name="connsiteX52" fmla="*/ 31433 w 3008034"/>
                  <a:gd name="connsiteY52" fmla="*/ 3422333 h 3680460"/>
                  <a:gd name="connsiteX53" fmla="*/ 0 w 3008034"/>
                  <a:gd name="connsiteY53" fmla="*/ 3376613 h 3680460"/>
                  <a:gd name="connsiteX54" fmla="*/ 127635 w 3008034"/>
                  <a:gd name="connsiteY54" fmla="*/ 3360420 h 3680460"/>
                  <a:gd name="connsiteX55" fmla="*/ 158115 w 3008034"/>
                  <a:gd name="connsiteY55" fmla="*/ 3390900 h 3680460"/>
                  <a:gd name="connsiteX56" fmla="*/ 317183 w 3008034"/>
                  <a:gd name="connsiteY56" fmla="*/ 3450907 h 3680460"/>
                  <a:gd name="connsiteX57" fmla="*/ 485775 w 3008034"/>
                  <a:gd name="connsiteY57" fmla="*/ 3520440 h 3680460"/>
                  <a:gd name="connsiteX58" fmla="*/ 721995 w 3008034"/>
                  <a:gd name="connsiteY58" fmla="*/ 3558540 h 3680460"/>
                  <a:gd name="connsiteX59" fmla="*/ 1331595 w 3008034"/>
                  <a:gd name="connsiteY59" fmla="*/ 3550920 h 3680460"/>
                  <a:gd name="connsiteX60" fmla="*/ 1529715 w 3008034"/>
                  <a:gd name="connsiteY60" fmla="*/ 3520440 h 3680460"/>
                  <a:gd name="connsiteX61" fmla="*/ 1621155 w 3008034"/>
                  <a:gd name="connsiteY61" fmla="*/ 3497580 h 3680460"/>
                  <a:gd name="connsiteX62" fmla="*/ 1689735 w 3008034"/>
                  <a:gd name="connsiteY62" fmla="*/ 3474720 h 3680460"/>
                  <a:gd name="connsiteX63" fmla="*/ 1781175 w 3008034"/>
                  <a:gd name="connsiteY63" fmla="*/ 3451860 h 3680460"/>
                  <a:gd name="connsiteX64" fmla="*/ 1811655 w 3008034"/>
                  <a:gd name="connsiteY64" fmla="*/ 3444240 h 3680460"/>
                  <a:gd name="connsiteX65" fmla="*/ 1864995 w 3008034"/>
                  <a:gd name="connsiteY65" fmla="*/ 3421380 h 3680460"/>
                  <a:gd name="connsiteX66" fmla="*/ 1918335 w 3008034"/>
                  <a:gd name="connsiteY66" fmla="*/ 3398520 h 3680460"/>
                  <a:gd name="connsiteX67" fmla="*/ 1941195 w 3008034"/>
                  <a:gd name="connsiteY67" fmla="*/ 3390900 h 3680460"/>
                  <a:gd name="connsiteX68" fmla="*/ 1994535 w 3008034"/>
                  <a:gd name="connsiteY68" fmla="*/ 3360420 h 3680460"/>
                  <a:gd name="connsiteX69" fmla="*/ 2032635 w 3008034"/>
                  <a:gd name="connsiteY69" fmla="*/ 3352800 h 3680460"/>
                  <a:gd name="connsiteX70" fmla="*/ 2070735 w 3008034"/>
                  <a:gd name="connsiteY70" fmla="*/ 3337560 h 3680460"/>
                  <a:gd name="connsiteX71" fmla="*/ 2189797 w 3008034"/>
                  <a:gd name="connsiteY71" fmla="*/ 3251835 h 3680460"/>
                  <a:gd name="connsiteX72" fmla="*/ 2337435 w 3008034"/>
                  <a:gd name="connsiteY72" fmla="*/ 3154680 h 3680460"/>
                  <a:gd name="connsiteX73" fmla="*/ 2436495 w 3008034"/>
                  <a:gd name="connsiteY73" fmla="*/ 3032760 h 3680460"/>
                  <a:gd name="connsiteX74" fmla="*/ 2459355 w 3008034"/>
                  <a:gd name="connsiteY74" fmla="*/ 3009900 h 3680460"/>
                  <a:gd name="connsiteX75" fmla="*/ 2527935 w 3008034"/>
                  <a:gd name="connsiteY75" fmla="*/ 2926080 h 3680460"/>
                  <a:gd name="connsiteX76" fmla="*/ 2619375 w 3008034"/>
                  <a:gd name="connsiteY76" fmla="*/ 2811780 h 3680460"/>
                  <a:gd name="connsiteX77" fmla="*/ 2634615 w 3008034"/>
                  <a:gd name="connsiteY77" fmla="*/ 2773680 h 3680460"/>
                  <a:gd name="connsiteX78" fmla="*/ 2665095 w 3008034"/>
                  <a:gd name="connsiteY78" fmla="*/ 2727960 h 3680460"/>
                  <a:gd name="connsiteX79" fmla="*/ 2695575 w 3008034"/>
                  <a:gd name="connsiteY79" fmla="*/ 2667000 h 3680460"/>
                  <a:gd name="connsiteX80" fmla="*/ 2779395 w 3008034"/>
                  <a:gd name="connsiteY80" fmla="*/ 2484120 h 3680460"/>
                  <a:gd name="connsiteX81" fmla="*/ 2802255 w 3008034"/>
                  <a:gd name="connsiteY81" fmla="*/ 2407920 h 3680460"/>
                  <a:gd name="connsiteX82" fmla="*/ 2908935 w 3008034"/>
                  <a:gd name="connsiteY82" fmla="*/ 2049780 h 3680460"/>
                  <a:gd name="connsiteX83" fmla="*/ 2924175 w 3008034"/>
                  <a:gd name="connsiteY83" fmla="*/ 1844040 h 3680460"/>
                  <a:gd name="connsiteX84" fmla="*/ 2908935 w 3008034"/>
                  <a:gd name="connsiteY84" fmla="*/ 1470660 h 3680460"/>
                  <a:gd name="connsiteX85" fmla="*/ 2886075 w 3008034"/>
                  <a:gd name="connsiteY85" fmla="*/ 1371600 h 3680460"/>
                  <a:gd name="connsiteX86" fmla="*/ 2870835 w 3008034"/>
                  <a:gd name="connsiteY86" fmla="*/ 1341120 h 3680460"/>
                  <a:gd name="connsiteX87" fmla="*/ 2847975 w 3008034"/>
                  <a:gd name="connsiteY87" fmla="*/ 1272540 h 3680460"/>
                  <a:gd name="connsiteX88" fmla="*/ 2840355 w 3008034"/>
                  <a:gd name="connsiteY88" fmla="*/ 1234440 h 3680460"/>
                  <a:gd name="connsiteX89" fmla="*/ 2756535 w 3008034"/>
                  <a:gd name="connsiteY89" fmla="*/ 1089660 h 3680460"/>
                  <a:gd name="connsiteX90" fmla="*/ 2726055 w 3008034"/>
                  <a:gd name="connsiteY90" fmla="*/ 1043940 h 3680460"/>
                  <a:gd name="connsiteX91" fmla="*/ 2718435 w 3008034"/>
                  <a:gd name="connsiteY91" fmla="*/ 1021080 h 3680460"/>
                  <a:gd name="connsiteX92" fmla="*/ 2672715 w 3008034"/>
                  <a:gd name="connsiteY92" fmla="*/ 937260 h 3680460"/>
                  <a:gd name="connsiteX93" fmla="*/ 2649855 w 3008034"/>
                  <a:gd name="connsiteY93" fmla="*/ 876300 h 3680460"/>
                  <a:gd name="connsiteX94" fmla="*/ 2634615 w 3008034"/>
                  <a:gd name="connsiteY94" fmla="*/ 845820 h 3680460"/>
                  <a:gd name="connsiteX95" fmla="*/ 2611755 w 3008034"/>
                  <a:gd name="connsiteY95" fmla="*/ 800100 h 3680460"/>
                  <a:gd name="connsiteX96" fmla="*/ 2448878 w 3008034"/>
                  <a:gd name="connsiteY96" fmla="*/ 621983 h 3680460"/>
                  <a:gd name="connsiteX97" fmla="*/ 2291715 w 3008034"/>
                  <a:gd name="connsiteY97" fmla="*/ 458152 h 3680460"/>
                  <a:gd name="connsiteX98" fmla="*/ 2227898 w 3008034"/>
                  <a:gd name="connsiteY98" fmla="*/ 406717 h 3680460"/>
                  <a:gd name="connsiteX99" fmla="*/ 2093595 w 3008034"/>
                  <a:gd name="connsiteY99" fmla="*/ 312420 h 3680460"/>
                  <a:gd name="connsiteX100" fmla="*/ 2032635 w 3008034"/>
                  <a:gd name="connsiteY100" fmla="*/ 266700 h 3680460"/>
                  <a:gd name="connsiteX101" fmla="*/ 1994535 w 3008034"/>
                  <a:gd name="connsiteY101" fmla="*/ 251460 h 3680460"/>
                  <a:gd name="connsiteX102" fmla="*/ 1948815 w 3008034"/>
                  <a:gd name="connsiteY102" fmla="*/ 220980 h 3680460"/>
                  <a:gd name="connsiteX103" fmla="*/ 1887855 w 3008034"/>
                  <a:gd name="connsiteY10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11655 w 3008034"/>
                  <a:gd name="connsiteY63" fmla="*/ 3444240 h 3680460"/>
                  <a:gd name="connsiteX64" fmla="*/ 1864995 w 3008034"/>
                  <a:gd name="connsiteY64" fmla="*/ 3421380 h 3680460"/>
                  <a:gd name="connsiteX65" fmla="*/ 1918335 w 3008034"/>
                  <a:gd name="connsiteY65" fmla="*/ 3398520 h 3680460"/>
                  <a:gd name="connsiteX66" fmla="*/ 1941195 w 3008034"/>
                  <a:gd name="connsiteY66" fmla="*/ 3390900 h 3680460"/>
                  <a:gd name="connsiteX67" fmla="*/ 1994535 w 3008034"/>
                  <a:gd name="connsiteY67" fmla="*/ 3360420 h 3680460"/>
                  <a:gd name="connsiteX68" fmla="*/ 2032635 w 3008034"/>
                  <a:gd name="connsiteY68" fmla="*/ 3352800 h 3680460"/>
                  <a:gd name="connsiteX69" fmla="*/ 2070735 w 3008034"/>
                  <a:gd name="connsiteY69" fmla="*/ 3337560 h 3680460"/>
                  <a:gd name="connsiteX70" fmla="*/ 2189797 w 3008034"/>
                  <a:gd name="connsiteY70" fmla="*/ 3251835 h 3680460"/>
                  <a:gd name="connsiteX71" fmla="*/ 2337435 w 3008034"/>
                  <a:gd name="connsiteY71" fmla="*/ 3154680 h 3680460"/>
                  <a:gd name="connsiteX72" fmla="*/ 2436495 w 3008034"/>
                  <a:gd name="connsiteY72" fmla="*/ 3032760 h 3680460"/>
                  <a:gd name="connsiteX73" fmla="*/ 2459355 w 3008034"/>
                  <a:gd name="connsiteY73" fmla="*/ 3009900 h 3680460"/>
                  <a:gd name="connsiteX74" fmla="*/ 2527935 w 3008034"/>
                  <a:gd name="connsiteY74" fmla="*/ 2926080 h 3680460"/>
                  <a:gd name="connsiteX75" fmla="*/ 2619375 w 3008034"/>
                  <a:gd name="connsiteY75" fmla="*/ 2811780 h 3680460"/>
                  <a:gd name="connsiteX76" fmla="*/ 2634615 w 3008034"/>
                  <a:gd name="connsiteY76" fmla="*/ 2773680 h 3680460"/>
                  <a:gd name="connsiteX77" fmla="*/ 2665095 w 3008034"/>
                  <a:gd name="connsiteY77" fmla="*/ 2727960 h 3680460"/>
                  <a:gd name="connsiteX78" fmla="*/ 2695575 w 3008034"/>
                  <a:gd name="connsiteY78" fmla="*/ 2667000 h 3680460"/>
                  <a:gd name="connsiteX79" fmla="*/ 2779395 w 3008034"/>
                  <a:gd name="connsiteY79" fmla="*/ 2484120 h 3680460"/>
                  <a:gd name="connsiteX80" fmla="*/ 2802255 w 3008034"/>
                  <a:gd name="connsiteY80" fmla="*/ 2407920 h 3680460"/>
                  <a:gd name="connsiteX81" fmla="*/ 2908935 w 3008034"/>
                  <a:gd name="connsiteY81" fmla="*/ 2049780 h 3680460"/>
                  <a:gd name="connsiteX82" fmla="*/ 2924175 w 3008034"/>
                  <a:gd name="connsiteY82" fmla="*/ 1844040 h 3680460"/>
                  <a:gd name="connsiteX83" fmla="*/ 2908935 w 3008034"/>
                  <a:gd name="connsiteY83" fmla="*/ 1470660 h 3680460"/>
                  <a:gd name="connsiteX84" fmla="*/ 2886075 w 3008034"/>
                  <a:gd name="connsiteY84" fmla="*/ 1371600 h 3680460"/>
                  <a:gd name="connsiteX85" fmla="*/ 2870835 w 3008034"/>
                  <a:gd name="connsiteY85" fmla="*/ 1341120 h 3680460"/>
                  <a:gd name="connsiteX86" fmla="*/ 2847975 w 3008034"/>
                  <a:gd name="connsiteY86" fmla="*/ 1272540 h 3680460"/>
                  <a:gd name="connsiteX87" fmla="*/ 2840355 w 3008034"/>
                  <a:gd name="connsiteY87" fmla="*/ 1234440 h 3680460"/>
                  <a:gd name="connsiteX88" fmla="*/ 2756535 w 3008034"/>
                  <a:gd name="connsiteY88" fmla="*/ 1089660 h 3680460"/>
                  <a:gd name="connsiteX89" fmla="*/ 2726055 w 3008034"/>
                  <a:gd name="connsiteY89" fmla="*/ 1043940 h 3680460"/>
                  <a:gd name="connsiteX90" fmla="*/ 2718435 w 3008034"/>
                  <a:gd name="connsiteY90" fmla="*/ 1021080 h 3680460"/>
                  <a:gd name="connsiteX91" fmla="*/ 2672715 w 3008034"/>
                  <a:gd name="connsiteY91" fmla="*/ 937260 h 3680460"/>
                  <a:gd name="connsiteX92" fmla="*/ 2649855 w 3008034"/>
                  <a:gd name="connsiteY92" fmla="*/ 876300 h 3680460"/>
                  <a:gd name="connsiteX93" fmla="*/ 2634615 w 3008034"/>
                  <a:gd name="connsiteY93" fmla="*/ 845820 h 3680460"/>
                  <a:gd name="connsiteX94" fmla="*/ 2611755 w 3008034"/>
                  <a:gd name="connsiteY94" fmla="*/ 800100 h 3680460"/>
                  <a:gd name="connsiteX95" fmla="*/ 2448878 w 3008034"/>
                  <a:gd name="connsiteY95" fmla="*/ 621983 h 3680460"/>
                  <a:gd name="connsiteX96" fmla="*/ 2291715 w 3008034"/>
                  <a:gd name="connsiteY96" fmla="*/ 458152 h 3680460"/>
                  <a:gd name="connsiteX97" fmla="*/ 2227898 w 3008034"/>
                  <a:gd name="connsiteY97" fmla="*/ 406717 h 3680460"/>
                  <a:gd name="connsiteX98" fmla="*/ 2093595 w 3008034"/>
                  <a:gd name="connsiteY98" fmla="*/ 312420 h 3680460"/>
                  <a:gd name="connsiteX99" fmla="*/ 2032635 w 3008034"/>
                  <a:gd name="connsiteY99" fmla="*/ 266700 h 3680460"/>
                  <a:gd name="connsiteX100" fmla="*/ 1994535 w 3008034"/>
                  <a:gd name="connsiteY100" fmla="*/ 251460 h 3680460"/>
                  <a:gd name="connsiteX101" fmla="*/ 1948815 w 3008034"/>
                  <a:gd name="connsiteY101" fmla="*/ 220980 h 3680460"/>
                  <a:gd name="connsiteX102" fmla="*/ 1887855 w 3008034"/>
                  <a:gd name="connsiteY10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1994535 w 3008034"/>
                  <a:gd name="connsiteY66" fmla="*/ 3360420 h 3680460"/>
                  <a:gd name="connsiteX67" fmla="*/ 2032635 w 3008034"/>
                  <a:gd name="connsiteY67" fmla="*/ 3352800 h 3680460"/>
                  <a:gd name="connsiteX68" fmla="*/ 2070735 w 3008034"/>
                  <a:gd name="connsiteY68" fmla="*/ 3337560 h 3680460"/>
                  <a:gd name="connsiteX69" fmla="*/ 2189797 w 3008034"/>
                  <a:gd name="connsiteY69" fmla="*/ 3251835 h 3680460"/>
                  <a:gd name="connsiteX70" fmla="*/ 2337435 w 3008034"/>
                  <a:gd name="connsiteY70" fmla="*/ 3154680 h 3680460"/>
                  <a:gd name="connsiteX71" fmla="*/ 2436495 w 3008034"/>
                  <a:gd name="connsiteY71" fmla="*/ 3032760 h 3680460"/>
                  <a:gd name="connsiteX72" fmla="*/ 2459355 w 3008034"/>
                  <a:gd name="connsiteY72" fmla="*/ 3009900 h 3680460"/>
                  <a:gd name="connsiteX73" fmla="*/ 2527935 w 3008034"/>
                  <a:gd name="connsiteY73" fmla="*/ 2926080 h 3680460"/>
                  <a:gd name="connsiteX74" fmla="*/ 2619375 w 3008034"/>
                  <a:gd name="connsiteY74" fmla="*/ 2811780 h 3680460"/>
                  <a:gd name="connsiteX75" fmla="*/ 2634615 w 3008034"/>
                  <a:gd name="connsiteY75" fmla="*/ 2773680 h 3680460"/>
                  <a:gd name="connsiteX76" fmla="*/ 2665095 w 3008034"/>
                  <a:gd name="connsiteY76" fmla="*/ 2727960 h 3680460"/>
                  <a:gd name="connsiteX77" fmla="*/ 2695575 w 3008034"/>
                  <a:gd name="connsiteY77" fmla="*/ 2667000 h 3680460"/>
                  <a:gd name="connsiteX78" fmla="*/ 2779395 w 3008034"/>
                  <a:gd name="connsiteY78" fmla="*/ 2484120 h 3680460"/>
                  <a:gd name="connsiteX79" fmla="*/ 2802255 w 3008034"/>
                  <a:gd name="connsiteY79" fmla="*/ 2407920 h 3680460"/>
                  <a:gd name="connsiteX80" fmla="*/ 2908935 w 3008034"/>
                  <a:gd name="connsiteY80" fmla="*/ 2049780 h 3680460"/>
                  <a:gd name="connsiteX81" fmla="*/ 2924175 w 3008034"/>
                  <a:gd name="connsiteY81" fmla="*/ 1844040 h 3680460"/>
                  <a:gd name="connsiteX82" fmla="*/ 2908935 w 3008034"/>
                  <a:gd name="connsiteY82" fmla="*/ 1470660 h 3680460"/>
                  <a:gd name="connsiteX83" fmla="*/ 2886075 w 3008034"/>
                  <a:gd name="connsiteY83" fmla="*/ 1371600 h 3680460"/>
                  <a:gd name="connsiteX84" fmla="*/ 2870835 w 3008034"/>
                  <a:gd name="connsiteY84" fmla="*/ 1341120 h 3680460"/>
                  <a:gd name="connsiteX85" fmla="*/ 2847975 w 3008034"/>
                  <a:gd name="connsiteY85" fmla="*/ 1272540 h 3680460"/>
                  <a:gd name="connsiteX86" fmla="*/ 2840355 w 3008034"/>
                  <a:gd name="connsiteY86" fmla="*/ 1234440 h 3680460"/>
                  <a:gd name="connsiteX87" fmla="*/ 2756535 w 3008034"/>
                  <a:gd name="connsiteY87" fmla="*/ 1089660 h 3680460"/>
                  <a:gd name="connsiteX88" fmla="*/ 2726055 w 3008034"/>
                  <a:gd name="connsiteY88" fmla="*/ 1043940 h 3680460"/>
                  <a:gd name="connsiteX89" fmla="*/ 2718435 w 3008034"/>
                  <a:gd name="connsiteY89" fmla="*/ 1021080 h 3680460"/>
                  <a:gd name="connsiteX90" fmla="*/ 2672715 w 3008034"/>
                  <a:gd name="connsiteY90" fmla="*/ 937260 h 3680460"/>
                  <a:gd name="connsiteX91" fmla="*/ 2649855 w 3008034"/>
                  <a:gd name="connsiteY91" fmla="*/ 876300 h 3680460"/>
                  <a:gd name="connsiteX92" fmla="*/ 2634615 w 3008034"/>
                  <a:gd name="connsiteY92" fmla="*/ 845820 h 3680460"/>
                  <a:gd name="connsiteX93" fmla="*/ 2611755 w 3008034"/>
                  <a:gd name="connsiteY93" fmla="*/ 800100 h 3680460"/>
                  <a:gd name="connsiteX94" fmla="*/ 2448878 w 3008034"/>
                  <a:gd name="connsiteY94" fmla="*/ 621983 h 3680460"/>
                  <a:gd name="connsiteX95" fmla="*/ 2291715 w 3008034"/>
                  <a:gd name="connsiteY95" fmla="*/ 458152 h 3680460"/>
                  <a:gd name="connsiteX96" fmla="*/ 2227898 w 3008034"/>
                  <a:gd name="connsiteY96" fmla="*/ 406717 h 3680460"/>
                  <a:gd name="connsiteX97" fmla="*/ 2093595 w 3008034"/>
                  <a:gd name="connsiteY97" fmla="*/ 312420 h 3680460"/>
                  <a:gd name="connsiteX98" fmla="*/ 2032635 w 3008034"/>
                  <a:gd name="connsiteY98" fmla="*/ 266700 h 3680460"/>
                  <a:gd name="connsiteX99" fmla="*/ 1994535 w 3008034"/>
                  <a:gd name="connsiteY99" fmla="*/ 251460 h 3680460"/>
                  <a:gd name="connsiteX100" fmla="*/ 1948815 w 3008034"/>
                  <a:gd name="connsiteY100" fmla="*/ 220980 h 3680460"/>
                  <a:gd name="connsiteX101" fmla="*/ 1887855 w 3008034"/>
                  <a:gd name="connsiteY10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32635 w 3008034"/>
                  <a:gd name="connsiteY66" fmla="*/ 3352800 h 3680460"/>
                  <a:gd name="connsiteX67" fmla="*/ 2070735 w 3008034"/>
                  <a:gd name="connsiteY67" fmla="*/ 3337560 h 3680460"/>
                  <a:gd name="connsiteX68" fmla="*/ 2189797 w 3008034"/>
                  <a:gd name="connsiteY68" fmla="*/ 3251835 h 3680460"/>
                  <a:gd name="connsiteX69" fmla="*/ 2337435 w 3008034"/>
                  <a:gd name="connsiteY69" fmla="*/ 3154680 h 3680460"/>
                  <a:gd name="connsiteX70" fmla="*/ 2436495 w 3008034"/>
                  <a:gd name="connsiteY70" fmla="*/ 3032760 h 3680460"/>
                  <a:gd name="connsiteX71" fmla="*/ 2459355 w 3008034"/>
                  <a:gd name="connsiteY71" fmla="*/ 3009900 h 3680460"/>
                  <a:gd name="connsiteX72" fmla="*/ 2527935 w 3008034"/>
                  <a:gd name="connsiteY72" fmla="*/ 2926080 h 3680460"/>
                  <a:gd name="connsiteX73" fmla="*/ 2619375 w 3008034"/>
                  <a:gd name="connsiteY73" fmla="*/ 2811780 h 3680460"/>
                  <a:gd name="connsiteX74" fmla="*/ 2634615 w 3008034"/>
                  <a:gd name="connsiteY74" fmla="*/ 2773680 h 3680460"/>
                  <a:gd name="connsiteX75" fmla="*/ 2665095 w 3008034"/>
                  <a:gd name="connsiteY75" fmla="*/ 2727960 h 3680460"/>
                  <a:gd name="connsiteX76" fmla="*/ 2695575 w 3008034"/>
                  <a:gd name="connsiteY76" fmla="*/ 2667000 h 3680460"/>
                  <a:gd name="connsiteX77" fmla="*/ 2779395 w 3008034"/>
                  <a:gd name="connsiteY77" fmla="*/ 2484120 h 3680460"/>
                  <a:gd name="connsiteX78" fmla="*/ 2802255 w 3008034"/>
                  <a:gd name="connsiteY78" fmla="*/ 2407920 h 3680460"/>
                  <a:gd name="connsiteX79" fmla="*/ 2908935 w 3008034"/>
                  <a:gd name="connsiteY79" fmla="*/ 2049780 h 3680460"/>
                  <a:gd name="connsiteX80" fmla="*/ 2924175 w 3008034"/>
                  <a:gd name="connsiteY80" fmla="*/ 1844040 h 3680460"/>
                  <a:gd name="connsiteX81" fmla="*/ 2908935 w 3008034"/>
                  <a:gd name="connsiteY81" fmla="*/ 1470660 h 3680460"/>
                  <a:gd name="connsiteX82" fmla="*/ 2886075 w 3008034"/>
                  <a:gd name="connsiteY82" fmla="*/ 1371600 h 3680460"/>
                  <a:gd name="connsiteX83" fmla="*/ 2870835 w 3008034"/>
                  <a:gd name="connsiteY83" fmla="*/ 1341120 h 3680460"/>
                  <a:gd name="connsiteX84" fmla="*/ 2847975 w 3008034"/>
                  <a:gd name="connsiteY84" fmla="*/ 1272540 h 3680460"/>
                  <a:gd name="connsiteX85" fmla="*/ 2840355 w 3008034"/>
                  <a:gd name="connsiteY85" fmla="*/ 1234440 h 3680460"/>
                  <a:gd name="connsiteX86" fmla="*/ 2756535 w 3008034"/>
                  <a:gd name="connsiteY86" fmla="*/ 1089660 h 3680460"/>
                  <a:gd name="connsiteX87" fmla="*/ 2726055 w 3008034"/>
                  <a:gd name="connsiteY87" fmla="*/ 1043940 h 3680460"/>
                  <a:gd name="connsiteX88" fmla="*/ 2718435 w 3008034"/>
                  <a:gd name="connsiteY88" fmla="*/ 1021080 h 3680460"/>
                  <a:gd name="connsiteX89" fmla="*/ 2672715 w 3008034"/>
                  <a:gd name="connsiteY89" fmla="*/ 937260 h 3680460"/>
                  <a:gd name="connsiteX90" fmla="*/ 2649855 w 3008034"/>
                  <a:gd name="connsiteY90" fmla="*/ 876300 h 3680460"/>
                  <a:gd name="connsiteX91" fmla="*/ 2634615 w 3008034"/>
                  <a:gd name="connsiteY91" fmla="*/ 845820 h 3680460"/>
                  <a:gd name="connsiteX92" fmla="*/ 2611755 w 3008034"/>
                  <a:gd name="connsiteY92" fmla="*/ 800100 h 3680460"/>
                  <a:gd name="connsiteX93" fmla="*/ 2448878 w 3008034"/>
                  <a:gd name="connsiteY93" fmla="*/ 621983 h 3680460"/>
                  <a:gd name="connsiteX94" fmla="*/ 2291715 w 3008034"/>
                  <a:gd name="connsiteY94" fmla="*/ 458152 h 3680460"/>
                  <a:gd name="connsiteX95" fmla="*/ 2227898 w 3008034"/>
                  <a:gd name="connsiteY95" fmla="*/ 406717 h 3680460"/>
                  <a:gd name="connsiteX96" fmla="*/ 2093595 w 3008034"/>
                  <a:gd name="connsiteY96" fmla="*/ 312420 h 3680460"/>
                  <a:gd name="connsiteX97" fmla="*/ 2032635 w 3008034"/>
                  <a:gd name="connsiteY97" fmla="*/ 266700 h 3680460"/>
                  <a:gd name="connsiteX98" fmla="*/ 1994535 w 3008034"/>
                  <a:gd name="connsiteY98" fmla="*/ 251460 h 3680460"/>
                  <a:gd name="connsiteX99" fmla="*/ 1948815 w 3008034"/>
                  <a:gd name="connsiteY99" fmla="*/ 220980 h 3680460"/>
                  <a:gd name="connsiteX100" fmla="*/ 1887855 w 3008034"/>
                  <a:gd name="connsiteY10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70735 w 3008034"/>
                  <a:gd name="connsiteY66" fmla="*/ 3337560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65095 w 3008034"/>
                  <a:gd name="connsiteY73" fmla="*/ 2727960 h 3680460"/>
                  <a:gd name="connsiteX74" fmla="*/ 2695575 w 3008034"/>
                  <a:gd name="connsiteY74" fmla="*/ 2667000 h 3680460"/>
                  <a:gd name="connsiteX75" fmla="*/ 2779395 w 3008034"/>
                  <a:gd name="connsiteY75" fmla="*/ 2484120 h 3680460"/>
                  <a:gd name="connsiteX76" fmla="*/ 2802255 w 3008034"/>
                  <a:gd name="connsiteY76" fmla="*/ 2407920 h 3680460"/>
                  <a:gd name="connsiteX77" fmla="*/ 2908935 w 3008034"/>
                  <a:gd name="connsiteY77" fmla="*/ 2049780 h 3680460"/>
                  <a:gd name="connsiteX78" fmla="*/ 2924175 w 3008034"/>
                  <a:gd name="connsiteY78" fmla="*/ 1844040 h 3680460"/>
                  <a:gd name="connsiteX79" fmla="*/ 2908935 w 3008034"/>
                  <a:gd name="connsiteY79" fmla="*/ 1470660 h 3680460"/>
                  <a:gd name="connsiteX80" fmla="*/ 2886075 w 3008034"/>
                  <a:gd name="connsiteY80" fmla="*/ 1371600 h 3680460"/>
                  <a:gd name="connsiteX81" fmla="*/ 2870835 w 3008034"/>
                  <a:gd name="connsiteY81" fmla="*/ 1341120 h 3680460"/>
                  <a:gd name="connsiteX82" fmla="*/ 2847975 w 3008034"/>
                  <a:gd name="connsiteY82" fmla="*/ 1272540 h 3680460"/>
                  <a:gd name="connsiteX83" fmla="*/ 2840355 w 3008034"/>
                  <a:gd name="connsiteY83" fmla="*/ 1234440 h 3680460"/>
                  <a:gd name="connsiteX84" fmla="*/ 2756535 w 3008034"/>
                  <a:gd name="connsiteY84" fmla="*/ 1089660 h 3680460"/>
                  <a:gd name="connsiteX85" fmla="*/ 2726055 w 3008034"/>
                  <a:gd name="connsiteY85" fmla="*/ 1043940 h 3680460"/>
                  <a:gd name="connsiteX86" fmla="*/ 2718435 w 3008034"/>
                  <a:gd name="connsiteY86" fmla="*/ 1021080 h 3680460"/>
                  <a:gd name="connsiteX87" fmla="*/ 2672715 w 3008034"/>
                  <a:gd name="connsiteY87" fmla="*/ 937260 h 3680460"/>
                  <a:gd name="connsiteX88" fmla="*/ 2649855 w 3008034"/>
                  <a:gd name="connsiteY88" fmla="*/ 876300 h 3680460"/>
                  <a:gd name="connsiteX89" fmla="*/ 2634615 w 3008034"/>
                  <a:gd name="connsiteY89" fmla="*/ 845820 h 3680460"/>
                  <a:gd name="connsiteX90" fmla="*/ 2611755 w 3008034"/>
                  <a:gd name="connsiteY90" fmla="*/ 800100 h 3680460"/>
                  <a:gd name="connsiteX91" fmla="*/ 2448878 w 3008034"/>
                  <a:gd name="connsiteY91" fmla="*/ 621983 h 3680460"/>
                  <a:gd name="connsiteX92" fmla="*/ 2291715 w 3008034"/>
                  <a:gd name="connsiteY92" fmla="*/ 458152 h 3680460"/>
                  <a:gd name="connsiteX93" fmla="*/ 2227898 w 3008034"/>
                  <a:gd name="connsiteY93" fmla="*/ 406717 h 3680460"/>
                  <a:gd name="connsiteX94" fmla="*/ 2093595 w 3008034"/>
                  <a:gd name="connsiteY94" fmla="*/ 312420 h 3680460"/>
                  <a:gd name="connsiteX95" fmla="*/ 2032635 w 3008034"/>
                  <a:gd name="connsiteY95" fmla="*/ 266700 h 3680460"/>
                  <a:gd name="connsiteX96" fmla="*/ 1994535 w 3008034"/>
                  <a:gd name="connsiteY96" fmla="*/ 251460 h 3680460"/>
                  <a:gd name="connsiteX97" fmla="*/ 1948815 w 3008034"/>
                  <a:gd name="connsiteY97" fmla="*/ 220980 h 3680460"/>
                  <a:gd name="connsiteX98" fmla="*/ 1887855 w 3008034"/>
                  <a:gd name="connsiteY9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59355 w 3008034"/>
                  <a:gd name="connsiteY69" fmla="*/ 3009900 h 3680460"/>
                  <a:gd name="connsiteX70" fmla="*/ 2527935 w 3008034"/>
                  <a:gd name="connsiteY70" fmla="*/ 2926080 h 3680460"/>
                  <a:gd name="connsiteX71" fmla="*/ 2619375 w 3008034"/>
                  <a:gd name="connsiteY71" fmla="*/ 2811780 h 3680460"/>
                  <a:gd name="connsiteX72" fmla="*/ 2665095 w 3008034"/>
                  <a:gd name="connsiteY72" fmla="*/ 2727960 h 3680460"/>
                  <a:gd name="connsiteX73" fmla="*/ 2695575 w 3008034"/>
                  <a:gd name="connsiteY73" fmla="*/ 2667000 h 3680460"/>
                  <a:gd name="connsiteX74" fmla="*/ 2779395 w 3008034"/>
                  <a:gd name="connsiteY74" fmla="*/ 2484120 h 3680460"/>
                  <a:gd name="connsiteX75" fmla="*/ 2802255 w 3008034"/>
                  <a:gd name="connsiteY75" fmla="*/ 2407920 h 3680460"/>
                  <a:gd name="connsiteX76" fmla="*/ 2908935 w 3008034"/>
                  <a:gd name="connsiteY76" fmla="*/ 2049780 h 3680460"/>
                  <a:gd name="connsiteX77" fmla="*/ 2924175 w 3008034"/>
                  <a:gd name="connsiteY77" fmla="*/ 1844040 h 3680460"/>
                  <a:gd name="connsiteX78" fmla="*/ 2908935 w 3008034"/>
                  <a:gd name="connsiteY78" fmla="*/ 1470660 h 3680460"/>
                  <a:gd name="connsiteX79" fmla="*/ 2886075 w 3008034"/>
                  <a:gd name="connsiteY79" fmla="*/ 1371600 h 3680460"/>
                  <a:gd name="connsiteX80" fmla="*/ 2870835 w 3008034"/>
                  <a:gd name="connsiteY80" fmla="*/ 1341120 h 3680460"/>
                  <a:gd name="connsiteX81" fmla="*/ 2847975 w 3008034"/>
                  <a:gd name="connsiteY81" fmla="*/ 1272540 h 3680460"/>
                  <a:gd name="connsiteX82" fmla="*/ 2840355 w 3008034"/>
                  <a:gd name="connsiteY82" fmla="*/ 1234440 h 3680460"/>
                  <a:gd name="connsiteX83" fmla="*/ 2756535 w 3008034"/>
                  <a:gd name="connsiteY83" fmla="*/ 1089660 h 3680460"/>
                  <a:gd name="connsiteX84" fmla="*/ 2726055 w 3008034"/>
                  <a:gd name="connsiteY84" fmla="*/ 1043940 h 3680460"/>
                  <a:gd name="connsiteX85" fmla="*/ 2718435 w 3008034"/>
                  <a:gd name="connsiteY85" fmla="*/ 1021080 h 3680460"/>
                  <a:gd name="connsiteX86" fmla="*/ 2672715 w 3008034"/>
                  <a:gd name="connsiteY86" fmla="*/ 937260 h 3680460"/>
                  <a:gd name="connsiteX87" fmla="*/ 2649855 w 3008034"/>
                  <a:gd name="connsiteY87" fmla="*/ 876300 h 3680460"/>
                  <a:gd name="connsiteX88" fmla="*/ 2634615 w 3008034"/>
                  <a:gd name="connsiteY88" fmla="*/ 845820 h 3680460"/>
                  <a:gd name="connsiteX89" fmla="*/ 2611755 w 3008034"/>
                  <a:gd name="connsiteY89" fmla="*/ 800100 h 3680460"/>
                  <a:gd name="connsiteX90" fmla="*/ 2448878 w 3008034"/>
                  <a:gd name="connsiteY90" fmla="*/ 621983 h 3680460"/>
                  <a:gd name="connsiteX91" fmla="*/ 2291715 w 3008034"/>
                  <a:gd name="connsiteY91" fmla="*/ 458152 h 3680460"/>
                  <a:gd name="connsiteX92" fmla="*/ 2227898 w 3008034"/>
                  <a:gd name="connsiteY92" fmla="*/ 406717 h 3680460"/>
                  <a:gd name="connsiteX93" fmla="*/ 2093595 w 3008034"/>
                  <a:gd name="connsiteY93" fmla="*/ 312420 h 3680460"/>
                  <a:gd name="connsiteX94" fmla="*/ 2032635 w 3008034"/>
                  <a:gd name="connsiteY94" fmla="*/ 266700 h 3680460"/>
                  <a:gd name="connsiteX95" fmla="*/ 1994535 w 3008034"/>
                  <a:gd name="connsiteY95" fmla="*/ 251460 h 3680460"/>
                  <a:gd name="connsiteX96" fmla="*/ 1948815 w 3008034"/>
                  <a:gd name="connsiteY96" fmla="*/ 220980 h 3680460"/>
                  <a:gd name="connsiteX97" fmla="*/ 1887855 w 3008034"/>
                  <a:gd name="connsiteY9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18335 w 3008034"/>
                  <a:gd name="connsiteY63" fmla="*/ 3398520 h 3680460"/>
                  <a:gd name="connsiteX64" fmla="*/ 1941195 w 3008034"/>
                  <a:gd name="connsiteY64" fmla="*/ 3390900 h 3680460"/>
                  <a:gd name="connsiteX65" fmla="*/ 2089785 w 3008034"/>
                  <a:gd name="connsiteY65" fmla="*/ 3308985 h 3680460"/>
                  <a:gd name="connsiteX66" fmla="*/ 2189797 w 3008034"/>
                  <a:gd name="connsiteY66" fmla="*/ 3251835 h 3680460"/>
                  <a:gd name="connsiteX67" fmla="*/ 2337435 w 3008034"/>
                  <a:gd name="connsiteY67" fmla="*/ 3154680 h 3680460"/>
                  <a:gd name="connsiteX68" fmla="*/ 2459355 w 3008034"/>
                  <a:gd name="connsiteY68" fmla="*/ 3009900 h 3680460"/>
                  <a:gd name="connsiteX69" fmla="*/ 2527935 w 3008034"/>
                  <a:gd name="connsiteY69" fmla="*/ 2926080 h 3680460"/>
                  <a:gd name="connsiteX70" fmla="*/ 2619375 w 3008034"/>
                  <a:gd name="connsiteY70" fmla="*/ 2811780 h 3680460"/>
                  <a:gd name="connsiteX71" fmla="*/ 2665095 w 3008034"/>
                  <a:gd name="connsiteY71" fmla="*/ 2727960 h 3680460"/>
                  <a:gd name="connsiteX72" fmla="*/ 2695575 w 3008034"/>
                  <a:gd name="connsiteY72" fmla="*/ 2667000 h 3680460"/>
                  <a:gd name="connsiteX73" fmla="*/ 2779395 w 3008034"/>
                  <a:gd name="connsiteY73" fmla="*/ 2484120 h 3680460"/>
                  <a:gd name="connsiteX74" fmla="*/ 2802255 w 3008034"/>
                  <a:gd name="connsiteY74" fmla="*/ 2407920 h 3680460"/>
                  <a:gd name="connsiteX75" fmla="*/ 2908935 w 3008034"/>
                  <a:gd name="connsiteY75" fmla="*/ 2049780 h 3680460"/>
                  <a:gd name="connsiteX76" fmla="*/ 2924175 w 3008034"/>
                  <a:gd name="connsiteY76" fmla="*/ 1844040 h 3680460"/>
                  <a:gd name="connsiteX77" fmla="*/ 2908935 w 3008034"/>
                  <a:gd name="connsiteY77" fmla="*/ 1470660 h 3680460"/>
                  <a:gd name="connsiteX78" fmla="*/ 2886075 w 3008034"/>
                  <a:gd name="connsiteY78" fmla="*/ 1371600 h 3680460"/>
                  <a:gd name="connsiteX79" fmla="*/ 2870835 w 3008034"/>
                  <a:gd name="connsiteY79" fmla="*/ 1341120 h 3680460"/>
                  <a:gd name="connsiteX80" fmla="*/ 2847975 w 3008034"/>
                  <a:gd name="connsiteY80" fmla="*/ 1272540 h 3680460"/>
                  <a:gd name="connsiteX81" fmla="*/ 2840355 w 3008034"/>
                  <a:gd name="connsiteY81" fmla="*/ 1234440 h 3680460"/>
                  <a:gd name="connsiteX82" fmla="*/ 2756535 w 3008034"/>
                  <a:gd name="connsiteY82" fmla="*/ 1089660 h 3680460"/>
                  <a:gd name="connsiteX83" fmla="*/ 2726055 w 3008034"/>
                  <a:gd name="connsiteY83" fmla="*/ 1043940 h 3680460"/>
                  <a:gd name="connsiteX84" fmla="*/ 2718435 w 3008034"/>
                  <a:gd name="connsiteY84" fmla="*/ 1021080 h 3680460"/>
                  <a:gd name="connsiteX85" fmla="*/ 2672715 w 3008034"/>
                  <a:gd name="connsiteY85" fmla="*/ 937260 h 3680460"/>
                  <a:gd name="connsiteX86" fmla="*/ 2649855 w 3008034"/>
                  <a:gd name="connsiteY86" fmla="*/ 876300 h 3680460"/>
                  <a:gd name="connsiteX87" fmla="*/ 2634615 w 3008034"/>
                  <a:gd name="connsiteY87" fmla="*/ 845820 h 3680460"/>
                  <a:gd name="connsiteX88" fmla="*/ 2611755 w 3008034"/>
                  <a:gd name="connsiteY88" fmla="*/ 800100 h 3680460"/>
                  <a:gd name="connsiteX89" fmla="*/ 2448878 w 3008034"/>
                  <a:gd name="connsiteY89" fmla="*/ 621983 h 3680460"/>
                  <a:gd name="connsiteX90" fmla="*/ 2291715 w 3008034"/>
                  <a:gd name="connsiteY90" fmla="*/ 458152 h 3680460"/>
                  <a:gd name="connsiteX91" fmla="*/ 2227898 w 3008034"/>
                  <a:gd name="connsiteY91" fmla="*/ 406717 h 3680460"/>
                  <a:gd name="connsiteX92" fmla="*/ 2093595 w 3008034"/>
                  <a:gd name="connsiteY92" fmla="*/ 312420 h 3680460"/>
                  <a:gd name="connsiteX93" fmla="*/ 2032635 w 3008034"/>
                  <a:gd name="connsiteY93" fmla="*/ 266700 h 3680460"/>
                  <a:gd name="connsiteX94" fmla="*/ 1994535 w 3008034"/>
                  <a:gd name="connsiteY94" fmla="*/ 251460 h 3680460"/>
                  <a:gd name="connsiteX95" fmla="*/ 1948815 w 3008034"/>
                  <a:gd name="connsiteY95" fmla="*/ 220980 h 3680460"/>
                  <a:gd name="connsiteX96" fmla="*/ 1887855 w 3008034"/>
                  <a:gd name="connsiteY9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41195 w 3008034"/>
                  <a:gd name="connsiteY63" fmla="*/ 3390900 h 3680460"/>
                  <a:gd name="connsiteX64" fmla="*/ 2089785 w 3008034"/>
                  <a:gd name="connsiteY64" fmla="*/ 3308985 h 3680460"/>
                  <a:gd name="connsiteX65" fmla="*/ 2189797 w 3008034"/>
                  <a:gd name="connsiteY65" fmla="*/ 3251835 h 3680460"/>
                  <a:gd name="connsiteX66" fmla="*/ 2337435 w 3008034"/>
                  <a:gd name="connsiteY66" fmla="*/ 3154680 h 3680460"/>
                  <a:gd name="connsiteX67" fmla="*/ 2459355 w 3008034"/>
                  <a:gd name="connsiteY67" fmla="*/ 3009900 h 3680460"/>
                  <a:gd name="connsiteX68" fmla="*/ 2527935 w 3008034"/>
                  <a:gd name="connsiteY68" fmla="*/ 2926080 h 3680460"/>
                  <a:gd name="connsiteX69" fmla="*/ 2619375 w 3008034"/>
                  <a:gd name="connsiteY69" fmla="*/ 2811780 h 3680460"/>
                  <a:gd name="connsiteX70" fmla="*/ 2665095 w 3008034"/>
                  <a:gd name="connsiteY70" fmla="*/ 2727960 h 3680460"/>
                  <a:gd name="connsiteX71" fmla="*/ 2695575 w 3008034"/>
                  <a:gd name="connsiteY71" fmla="*/ 2667000 h 3680460"/>
                  <a:gd name="connsiteX72" fmla="*/ 2779395 w 3008034"/>
                  <a:gd name="connsiteY72" fmla="*/ 2484120 h 3680460"/>
                  <a:gd name="connsiteX73" fmla="*/ 2802255 w 3008034"/>
                  <a:gd name="connsiteY73" fmla="*/ 2407920 h 3680460"/>
                  <a:gd name="connsiteX74" fmla="*/ 2908935 w 3008034"/>
                  <a:gd name="connsiteY74" fmla="*/ 2049780 h 3680460"/>
                  <a:gd name="connsiteX75" fmla="*/ 2924175 w 3008034"/>
                  <a:gd name="connsiteY75" fmla="*/ 1844040 h 3680460"/>
                  <a:gd name="connsiteX76" fmla="*/ 2908935 w 3008034"/>
                  <a:gd name="connsiteY76" fmla="*/ 1470660 h 3680460"/>
                  <a:gd name="connsiteX77" fmla="*/ 2886075 w 3008034"/>
                  <a:gd name="connsiteY77" fmla="*/ 1371600 h 3680460"/>
                  <a:gd name="connsiteX78" fmla="*/ 2870835 w 3008034"/>
                  <a:gd name="connsiteY78" fmla="*/ 1341120 h 3680460"/>
                  <a:gd name="connsiteX79" fmla="*/ 2847975 w 3008034"/>
                  <a:gd name="connsiteY79" fmla="*/ 1272540 h 3680460"/>
                  <a:gd name="connsiteX80" fmla="*/ 2840355 w 3008034"/>
                  <a:gd name="connsiteY80" fmla="*/ 1234440 h 3680460"/>
                  <a:gd name="connsiteX81" fmla="*/ 2756535 w 3008034"/>
                  <a:gd name="connsiteY81" fmla="*/ 1089660 h 3680460"/>
                  <a:gd name="connsiteX82" fmla="*/ 2726055 w 3008034"/>
                  <a:gd name="connsiteY82" fmla="*/ 1043940 h 3680460"/>
                  <a:gd name="connsiteX83" fmla="*/ 2718435 w 3008034"/>
                  <a:gd name="connsiteY83" fmla="*/ 1021080 h 3680460"/>
                  <a:gd name="connsiteX84" fmla="*/ 2672715 w 3008034"/>
                  <a:gd name="connsiteY84" fmla="*/ 937260 h 3680460"/>
                  <a:gd name="connsiteX85" fmla="*/ 2649855 w 3008034"/>
                  <a:gd name="connsiteY85" fmla="*/ 876300 h 3680460"/>
                  <a:gd name="connsiteX86" fmla="*/ 2634615 w 3008034"/>
                  <a:gd name="connsiteY86" fmla="*/ 845820 h 3680460"/>
                  <a:gd name="connsiteX87" fmla="*/ 2611755 w 3008034"/>
                  <a:gd name="connsiteY87" fmla="*/ 800100 h 3680460"/>
                  <a:gd name="connsiteX88" fmla="*/ 2448878 w 3008034"/>
                  <a:gd name="connsiteY88" fmla="*/ 621983 h 3680460"/>
                  <a:gd name="connsiteX89" fmla="*/ 2291715 w 3008034"/>
                  <a:gd name="connsiteY89" fmla="*/ 458152 h 3680460"/>
                  <a:gd name="connsiteX90" fmla="*/ 2227898 w 3008034"/>
                  <a:gd name="connsiteY90" fmla="*/ 406717 h 3680460"/>
                  <a:gd name="connsiteX91" fmla="*/ 2093595 w 3008034"/>
                  <a:gd name="connsiteY91" fmla="*/ 312420 h 3680460"/>
                  <a:gd name="connsiteX92" fmla="*/ 2032635 w 3008034"/>
                  <a:gd name="connsiteY92" fmla="*/ 266700 h 3680460"/>
                  <a:gd name="connsiteX93" fmla="*/ 1994535 w 3008034"/>
                  <a:gd name="connsiteY93" fmla="*/ 251460 h 3680460"/>
                  <a:gd name="connsiteX94" fmla="*/ 1948815 w 3008034"/>
                  <a:gd name="connsiteY94" fmla="*/ 220980 h 3680460"/>
                  <a:gd name="connsiteX95" fmla="*/ 1887855 w 3008034"/>
                  <a:gd name="connsiteY9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37335 w 3008034"/>
                  <a:gd name="connsiteY41" fmla="*/ 3611880 h 3680460"/>
                  <a:gd name="connsiteX42" fmla="*/ 1453515 w 3008034"/>
                  <a:gd name="connsiteY42" fmla="*/ 3627120 h 3680460"/>
                  <a:gd name="connsiteX43" fmla="*/ 1323975 w 3008034"/>
                  <a:gd name="connsiteY43" fmla="*/ 3657600 h 3680460"/>
                  <a:gd name="connsiteX44" fmla="*/ 1194435 w 3008034"/>
                  <a:gd name="connsiteY44" fmla="*/ 3672840 h 3680460"/>
                  <a:gd name="connsiteX45" fmla="*/ 1156335 w 3008034"/>
                  <a:gd name="connsiteY45" fmla="*/ 3680460 h 3680460"/>
                  <a:gd name="connsiteX46" fmla="*/ 625792 w 3008034"/>
                  <a:gd name="connsiteY46" fmla="*/ 3668078 h 3680460"/>
                  <a:gd name="connsiteX47" fmla="*/ 402908 w 3008034"/>
                  <a:gd name="connsiteY47" fmla="*/ 3614738 h 3680460"/>
                  <a:gd name="connsiteX48" fmla="*/ 266700 w 3008034"/>
                  <a:gd name="connsiteY48" fmla="*/ 3570922 h 3680460"/>
                  <a:gd name="connsiteX49" fmla="*/ 164782 w 3008034"/>
                  <a:gd name="connsiteY49" fmla="*/ 3515678 h 3680460"/>
                  <a:gd name="connsiteX50" fmla="*/ 31433 w 3008034"/>
                  <a:gd name="connsiteY50" fmla="*/ 3422333 h 3680460"/>
                  <a:gd name="connsiteX51" fmla="*/ 0 w 3008034"/>
                  <a:gd name="connsiteY51" fmla="*/ 3376613 h 3680460"/>
                  <a:gd name="connsiteX52" fmla="*/ 127635 w 3008034"/>
                  <a:gd name="connsiteY52" fmla="*/ 3360420 h 3680460"/>
                  <a:gd name="connsiteX53" fmla="*/ 158115 w 3008034"/>
                  <a:gd name="connsiteY53" fmla="*/ 3390900 h 3680460"/>
                  <a:gd name="connsiteX54" fmla="*/ 317183 w 3008034"/>
                  <a:gd name="connsiteY54" fmla="*/ 3450907 h 3680460"/>
                  <a:gd name="connsiteX55" fmla="*/ 485775 w 3008034"/>
                  <a:gd name="connsiteY55" fmla="*/ 3520440 h 3680460"/>
                  <a:gd name="connsiteX56" fmla="*/ 721995 w 3008034"/>
                  <a:gd name="connsiteY56" fmla="*/ 3558540 h 3680460"/>
                  <a:gd name="connsiteX57" fmla="*/ 1331595 w 3008034"/>
                  <a:gd name="connsiteY57" fmla="*/ 3550920 h 3680460"/>
                  <a:gd name="connsiteX58" fmla="*/ 1529715 w 3008034"/>
                  <a:gd name="connsiteY58" fmla="*/ 3520440 h 3680460"/>
                  <a:gd name="connsiteX59" fmla="*/ 1621155 w 3008034"/>
                  <a:gd name="connsiteY59" fmla="*/ 3497580 h 3680460"/>
                  <a:gd name="connsiteX60" fmla="*/ 1781175 w 3008034"/>
                  <a:gd name="connsiteY60" fmla="*/ 3451860 h 3680460"/>
                  <a:gd name="connsiteX61" fmla="*/ 1864995 w 3008034"/>
                  <a:gd name="connsiteY61" fmla="*/ 3421380 h 3680460"/>
                  <a:gd name="connsiteX62" fmla="*/ 1941195 w 3008034"/>
                  <a:gd name="connsiteY62" fmla="*/ 3390900 h 3680460"/>
                  <a:gd name="connsiteX63" fmla="*/ 2089785 w 3008034"/>
                  <a:gd name="connsiteY63" fmla="*/ 3308985 h 3680460"/>
                  <a:gd name="connsiteX64" fmla="*/ 2189797 w 3008034"/>
                  <a:gd name="connsiteY64" fmla="*/ 3251835 h 3680460"/>
                  <a:gd name="connsiteX65" fmla="*/ 2337435 w 3008034"/>
                  <a:gd name="connsiteY65" fmla="*/ 3154680 h 3680460"/>
                  <a:gd name="connsiteX66" fmla="*/ 2459355 w 3008034"/>
                  <a:gd name="connsiteY66" fmla="*/ 3009900 h 3680460"/>
                  <a:gd name="connsiteX67" fmla="*/ 2527935 w 3008034"/>
                  <a:gd name="connsiteY67" fmla="*/ 2926080 h 3680460"/>
                  <a:gd name="connsiteX68" fmla="*/ 2619375 w 3008034"/>
                  <a:gd name="connsiteY68" fmla="*/ 2811780 h 3680460"/>
                  <a:gd name="connsiteX69" fmla="*/ 2665095 w 3008034"/>
                  <a:gd name="connsiteY69" fmla="*/ 2727960 h 3680460"/>
                  <a:gd name="connsiteX70" fmla="*/ 2695575 w 3008034"/>
                  <a:gd name="connsiteY70" fmla="*/ 2667000 h 3680460"/>
                  <a:gd name="connsiteX71" fmla="*/ 2779395 w 3008034"/>
                  <a:gd name="connsiteY71" fmla="*/ 2484120 h 3680460"/>
                  <a:gd name="connsiteX72" fmla="*/ 2802255 w 3008034"/>
                  <a:gd name="connsiteY72" fmla="*/ 2407920 h 3680460"/>
                  <a:gd name="connsiteX73" fmla="*/ 2908935 w 3008034"/>
                  <a:gd name="connsiteY73" fmla="*/ 2049780 h 3680460"/>
                  <a:gd name="connsiteX74" fmla="*/ 2924175 w 3008034"/>
                  <a:gd name="connsiteY74" fmla="*/ 1844040 h 3680460"/>
                  <a:gd name="connsiteX75" fmla="*/ 2908935 w 3008034"/>
                  <a:gd name="connsiteY75" fmla="*/ 1470660 h 3680460"/>
                  <a:gd name="connsiteX76" fmla="*/ 2886075 w 3008034"/>
                  <a:gd name="connsiteY76" fmla="*/ 1371600 h 3680460"/>
                  <a:gd name="connsiteX77" fmla="*/ 2870835 w 3008034"/>
                  <a:gd name="connsiteY77" fmla="*/ 1341120 h 3680460"/>
                  <a:gd name="connsiteX78" fmla="*/ 2847975 w 3008034"/>
                  <a:gd name="connsiteY78" fmla="*/ 1272540 h 3680460"/>
                  <a:gd name="connsiteX79" fmla="*/ 2840355 w 3008034"/>
                  <a:gd name="connsiteY79" fmla="*/ 1234440 h 3680460"/>
                  <a:gd name="connsiteX80" fmla="*/ 2756535 w 3008034"/>
                  <a:gd name="connsiteY80" fmla="*/ 1089660 h 3680460"/>
                  <a:gd name="connsiteX81" fmla="*/ 2726055 w 3008034"/>
                  <a:gd name="connsiteY81" fmla="*/ 1043940 h 3680460"/>
                  <a:gd name="connsiteX82" fmla="*/ 2718435 w 3008034"/>
                  <a:gd name="connsiteY82" fmla="*/ 1021080 h 3680460"/>
                  <a:gd name="connsiteX83" fmla="*/ 2672715 w 3008034"/>
                  <a:gd name="connsiteY83" fmla="*/ 937260 h 3680460"/>
                  <a:gd name="connsiteX84" fmla="*/ 2649855 w 3008034"/>
                  <a:gd name="connsiteY84" fmla="*/ 876300 h 3680460"/>
                  <a:gd name="connsiteX85" fmla="*/ 2634615 w 3008034"/>
                  <a:gd name="connsiteY85" fmla="*/ 845820 h 3680460"/>
                  <a:gd name="connsiteX86" fmla="*/ 2611755 w 3008034"/>
                  <a:gd name="connsiteY86" fmla="*/ 800100 h 3680460"/>
                  <a:gd name="connsiteX87" fmla="*/ 2448878 w 3008034"/>
                  <a:gd name="connsiteY87" fmla="*/ 621983 h 3680460"/>
                  <a:gd name="connsiteX88" fmla="*/ 2291715 w 3008034"/>
                  <a:gd name="connsiteY88" fmla="*/ 458152 h 3680460"/>
                  <a:gd name="connsiteX89" fmla="*/ 2227898 w 3008034"/>
                  <a:gd name="connsiteY89" fmla="*/ 406717 h 3680460"/>
                  <a:gd name="connsiteX90" fmla="*/ 2093595 w 3008034"/>
                  <a:gd name="connsiteY90" fmla="*/ 312420 h 3680460"/>
                  <a:gd name="connsiteX91" fmla="*/ 2032635 w 3008034"/>
                  <a:gd name="connsiteY91" fmla="*/ 266700 h 3680460"/>
                  <a:gd name="connsiteX92" fmla="*/ 1994535 w 3008034"/>
                  <a:gd name="connsiteY92" fmla="*/ 251460 h 3680460"/>
                  <a:gd name="connsiteX93" fmla="*/ 1948815 w 3008034"/>
                  <a:gd name="connsiteY93" fmla="*/ 220980 h 3680460"/>
                  <a:gd name="connsiteX94" fmla="*/ 1887855 w 3008034"/>
                  <a:gd name="connsiteY9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611755 w 3008034"/>
                  <a:gd name="connsiteY13" fmla="*/ 548640 h 3680460"/>
                  <a:gd name="connsiteX14" fmla="*/ 2665095 w 3008034"/>
                  <a:gd name="connsiteY14" fmla="*/ 609600 h 3680460"/>
                  <a:gd name="connsiteX15" fmla="*/ 2756535 w 3008034"/>
                  <a:gd name="connsiteY15" fmla="*/ 754380 h 3680460"/>
                  <a:gd name="connsiteX16" fmla="*/ 2809875 w 3008034"/>
                  <a:gd name="connsiteY16" fmla="*/ 830580 h 3680460"/>
                  <a:gd name="connsiteX17" fmla="*/ 2908935 w 3008034"/>
                  <a:gd name="connsiteY17" fmla="*/ 1036320 h 3680460"/>
                  <a:gd name="connsiteX18" fmla="*/ 2924175 w 3008034"/>
                  <a:gd name="connsiteY18" fmla="*/ 1074420 h 3680460"/>
                  <a:gd name="connsiteX19" fmla="*/ 2954655 w 3008034"/>
                  <a:gd name="connsiteY19" fmla="*/ 1203960 h 3680460"/>
                  <a:gd name="connsiteX20" fmla="*/ 2969895 w 3008034"/>
                  <a:gd name="connsiteY20" fmla="*/ 1264920 h 3680460"/>
                  <a:gd name="connsiteX21" fmla="*/ 2985135 w 3008034"/>
                  <a:gd name="connsiteY21" fmla="*/ 1348740 h 3680460"/>
                  <a:gd name="connsiteX22" fmla="*/ 3000375 w 3008034"/>
                  <a:gd name="connsiteY22" fmla="*/ 1432560 h 3680460"/>
                  <a:gd name="connsiteX23" fmla="*/ 3007995 w 3008034"/>
                  <a:gd name="connsiteY23" fmla="*/ 1684020 h 3680460"/>
                  <a:gd name="connsiteX24" fmla="*/ 3003233 w 3008034"/>
                  <a:gd name="connsiteY24" fmla="*/ 1990725 h 3680460"/>
                  <a:gd name="connsiteX25" fmla="*/ 2969895 w 3008034"/>
                  <a:gd name="connsiteY25" fmla="*/ 2194560 h 3680460"/>
                  <a:gd name="connsiteX26" fmla="*/ 2931795 w 3008034"/>
                  <a:gd name="connsiteY26" fmla="*/ 2324100 h 3680460"/>
                  <a:gd name="connsiteX27" fmla="*/ 2916555 w 3008034"/>
                  <a:gd name="connsiteY27" fmla="*/ 2392680 h 3680460"/>
                  <a:gd name="connsiteX28" fmla="*/ 2867978 w 3008034"/>
                  <a:gd name="connsiteY28" fmla="*/ 2521267 h 3680460"/>
                  <a:gd name="connsiteX29" fmla="*/ 2801303 w 3008034"/>
                  <a:gd name="connsiteY29" fmla="*/ 2656523 h 3680460"/>
                  <a:gd name="connsiteX30" fmla="*/ 2719387 w 3008034"/>
                  <a:gd name="connsiteY30" fmla="*/ 2818447 h 3680460"/>
                  <a:gd name="connsiteX31" fmla="*/ 2495550 w 3008034"/>
                  <a:gd name="connsiteY31" fmla="*/ 3084195 h 3680460"/>
                  <a:gd name="connsiteX32" fmla="*/ 2396490 w 3008034"/>
                  <a:gd name="connsiteY32" fmla="*/ 3185160 h 3680460"/>
                  <a:gd name="connsiteX33" fmla="*/ 2284095 w 3008034"/>
                  <a:gd name="connsiteY33" fmla="*/ 3284220 h 3680460"/>
                  <a:gd name="connsiteX34" fmla="*/ 2131695 w 3008034"/>
                  <a:gd name="connsiteY34" fmla="*/ 3390900 h 3680460"/>
                  <a:gd name="connsiteX35" fmla="*/ 2000250 w 3008034"/>
                  <a:gd name="connsiteY35" fmla="*/ 3448050 h 3680460"/>
                  <a:gd name="connsiteX36" fmla="*/ 1864995 w 3008034"/>
                  <a:gd name="connsiteY36" fmla="*/ 3512820 h 3680460"/>
                  <a:gd name="connsiteX37" fmla="*/ 1819275 w 3008034"/>
                  <a:gd name="connsiteY37" fmla="*/ 3520440 h 3680460"/>
                  <a:gd name="connsiteX38" fmla="*/ 1712595 w 3008034"/>
                  <a:gd name="connsiteY38" fmla="*/ 3550920 h 3680460"/>
                  <a:gd name="connsiteX39" fmla="*/ 1590675 w 3008034"/>
                  <a:gd name="connsiteY39" fmla="*/ 3589020 h 3680460"/>
                  <a:gd name="connsiteX40" fmla="*/ 1537335 w 3008034"/>
                  <a:gd name="connsiteY40" fmla="*/ 3611880 h 3680460"/>
                  <a:gd name="connsiteX41" fmla="*/ 1453515 w 3008034"/>
                  <a:gd name="connsiteY41" fmla="*/ 3627120 h 3680460"/>
                  <a:gd name="connsiteX42" fmla="*/ 1323975 w 3008034"/>
                  <a:gd name="connsiteY42" fmla="*/ 3657600 h 3680460"/>
                  <a:gd name="connsiteX43" fmla="*/ 1194435 w 3008034"/>
                  <a:gd name="connsiteY43" fmla="*/ 3672840 h 3680460"/>
                  <a:gd name="connsiteX44" fmla="*/ 1156335 w 3008034"/>
                  <a:gd name="connsiteY44" fmla="*/ 3680460 h 3680460"/>
                  <a:gd name="connsiteX45" fmla="*/ 625792 w 3008034"/>
                  <a:gd name="connsiteY45" fmla="*/ 3668078 h 3680460"/>
                  <a:gd name="connsiteX46" fmla="*/ 402908 w 3008034"/>
                  <a:gd name="connsiteY46" fmla="*/ 3614738 h 3680460"/>
                  <a:gd name="connsiteX47" fmla="*/ 266700 w 3008034"/>
                  <a:gd name="connsiteY47" fmla="*/ 3570922 h 3680460"/>
                  <a:gd name="connsiteX48" fmla="*/ 164782 w 3008034"/>
                  <a:gd name="connsiteY48" fmla="*/ 3515678 h 3680460"/>
                  <a:gd name="connsiteX49" fmla="*/ 31433 w 3008034"/>
                  <a:gd name="connsiteY49" fmla="*/ 3422333 h 3680460"/>
                  <a:gd name="connsiteX50" fmla="*/ 0 w 3008034"/>
                  <a:gd name="connsiteY50" fmla="*/ 3376613 h 3680460"/>
                  <a:gd name="connsiteX51" fmla="*/ 127635 w 3008034"/>
                  <a:gd name="connsiteY51" fmla="*/ 3360420 h 3680460"/>
                  <a:gd name="connsiteX52" fmla="*/ 158115 w 3008034"/>
                  <a:gd name="connsiteY52" fmla="*/ 3390900 h 3680460"/>
                  <a:gd name="connsiteX53" fmla="*/ 317183 w 3008034"/>
                  <a:gd name="connsiteY53" fmla="*/ 3450907 h 3680460"/>
                  <a:gd name="connsiteX54" fmla="*/ 485775 w 3008034"/>
                  <a:gd name="connsiteY54" fmla="*/ 3520440 h 3680460"/>
                  <a:gd name="connsiteX55" fmla="*/ 721995 w 3008034"/>
                  <a:gd name="connsiteY55" fmla="*/ 3558540 h 3680460"/>
                  <a:gd name="connsiteX56" fmla="*/ 1331595 w 3008034"/>
                  <a:gd name="connsiteY56" fmla="*/ 3550920 h 3680460"/>
                  <a:gd name="connsiteX57" fmla="*/ 1529715 w 3008034"/>
                  <a:gd name="connsiteY57" fmla="*/ 3520440 h 3680460"/>
                  <a:gd name="connsiteX58" fmla="*/ 1621155 w 3008034"/>
                  <a:gd name="connsiteY58" fmla="*/ 3497580 h 3680460"/>
                  <a:gd name="connsiteX59" fmla="*/ 1781175 w 3008034"/>
                  <a:gd name="connsiteY59" fmla="*/ 3451860 h 3680460"/>
                  <a:gd name="connsiteX60" fmla="*/ 1864995 w 3008034"/>
                  <a:gd name="connsiteY60" fmla="*/ 3421380 h 3680460"/>
                  <a:gd name="connsiteX61" fmla="*/ 1941195 w 3008034"/>
                  <a:gd name="connsiteY61" fmla="*/ 3390900 h 3680460"/>
                  <a:gd name="connsiteX62" fmla="*/ 2089785 w 3008034"/>
                  <a:gd name="connsiteY62" fmla="*/ 3308985 h 3680460"/>
                  <a:gd name="connsiteX63" fmla="*/ 2189797 w 3008034"/>
                  <a:gd name="connsiteY63" fmla="*/ 3251835 h 3680460"/>
                  <a:gd name="connsiteX64" fmla="*/ 2337435 w 3008034"/>
                  <a:gd name="connsiteY64" fmla="*/ 3154680 h 3680460"/>
                  <a:gd name="connsiteX65" fmla="*/ 2459355 w 3008034"/>
                  <a:gd name="connsiteY65" fmla="*/ 3009900 h 3680460"/>
                  <a:gd name="connsiteX66" fmla="*/ 2527935 w 3008034"/>
                  <a:gd name="connsiteY66" fmla="*/ 2926080 h 3680460"/>
                  <a:gd name="connsiteX67" fmla="*/ 2619375 w 3008034"/>
                  <a:gd name="connsiteY67" fmla="*/ 2811780 h 3680460"/>
                  <a:gd name="connsiteX68" fmla="*/ 2665095 w 3008034"/>
                  <a:gd name="connsiteY68" fmla="*/ 2727960 h 3680460"/>
                  <a:gd name="connsiteX69" fmla="*/ 2695575 w 3008034"/>
                  <a:gd name="connsiteY69" fmla="*/ 2667000 h 3680460"/>
                  <a:gd name="connsiteX70" fmla="*/ 2779395 w 3008034"/>
                  <a:gd name="connsiteY70" fmla="*/ 2484120 h 3680460"/>
                  <a:gd name="connsiteX71" fmla="*/ 2802255 w 3008034"/>
                  <a:gd name="connsiteY71" fmla="*/ 2407920 h 3680460"/>
                  <a:gd name="connsiteX72" fmla="*/ 2908935 w 3008034"/>
                  <a:gd name="connsiteY72" fmla="*/ 2049780 h 3680460"/>
                  <a:gd name="connsiteX73" fmla="*/ 2924175 w 3008034"/>
                  <a:gd name="connsiteY73" fmla="*/ 1844040 h 3680460"/>
                  <a:gd name="connsiteX74" fmla="*/ 2908935 w 3008034"/>
                  <a:gd name="connsiteY74" fmla="*/ 1470660 h 3680460"/>
                  <a:gd name="connsiteX75" fmla="*/ 2886075 w 3008034"/>
                  <a:gd name="connsiteY75" fmla="*/ 1371600 h 3680460"/>
                  <a:gd name="connsiteX76" fmla="*/ 2870835 w 3008034"/>
                  <a:gd name="connsiteY76" fmla="*/ 1341120 h 3680460"/>
                  <a:gd name="connsiteX77" fmla="*/ 2847975 w 3008034"/>
                  <a:gd name="connsiteY77" fmla="*/ 1272540 h 3680460"/>
                  <a:gd name="connsiteX78" fmla="*/ 2840355 w 3008034"/>
                  <a:gd name="connsiteY78" fmla="*/ 1234440 h 3680460"/>
                  <a:gd name="connsiteX79" fmla="*/ 2756535 w 3008034"/>
                  <a:gd name="connsiteY79" fmla="*/ 1089660 h 3680460"/>
                  <a:gd name="connsiteX80" fmla="*/ 2726055 w 3008034"/>
                  <a:gd name="connsiteY80" fmla="*/ 1043940 h 3680460"/>
                  <a:gd name="connsiteX81" fmla="*/ 2718435 w 3008034"/>
                  <a:gd name="connsiteY81" fmla="*/ 1021080 h 3680460"/>
                  <a:gd name="connsiteX82" fmla="*/ 2672715 w 3008034"/>
                  <a:gd name="connsiteY82" fmla="*/ 937260 h 3680460"/>
                  <a:gd name="connsiteX83" fmla="*/ 2649855 w 3008034"/>
                  <a:gd name="connsiteY83" fmla="*/ 876300 h 3680460"/>
                  <a:gd name="connsiteX84" fmla="*/ 2634615 w 3008034"/>
                  <a:gd name="connsiteY84" fmla="*/ 845820 h 3680460"/>
                  <a:gd name="connsiteX85" fmla="*/ 2611755 w 3008034"/>
                  <a:gd name="connsiteY85" fmla="*/ 800100 h 3680460"/>
                  <a:gd name="connsiteX86" fmla="*/ 2448878 w 3008034"/>
                  <a:gd name="connsiteY86" fmla="*/ 621983 h 3680460"/>
                  <a:gd name="connsiteX87" fmla="*/ 2291715 w 3008034"/>
                  <a:gd name="connsiteY87" fmla="*/ 458152 h 3680460"/>
                  <a:gd name="connsiteX88" fmla="*/ 2227898 w 3008034"/>
                  <a:gd name="connsiteY88" fmla="*/ 406717 h 3680460"/>
                  <a:gd name="connsiteX89" fmla="*/ 2093595 w 3008034"/>
                  <a:gd name="connsiteY89" fmla="*/ 312420 h 3680460"/>
                  <a:gd name="connsiteX90" fmla="*/ 2032635 w 3008034"/>
                  <a:gd name="connsiteY90" fmla="*/ 266700 h 3680460"/>
                  <a:gd name="connsiteX91" fmla="*/ 1994535 w 3008034"/>
                  <a:gd name="connsiteY91" fmla="*/ 251460 h 3680460"/>
                  <a:gd name="connsiteX92" fmla="*/ 1948815 w 3008034"/>
                  <a:gd name="connsiteY92" fmla="*/ 220980 h 3680460"/>
                  <a:gd name="connsiteX93" fmla="*/ 1887855 w 3008034"/>
                  <a:gd name="connsiteY9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765935 w 3008034"/>
                  <a:gd name="connsiteY3" fmla="*/ 91440 h 3680460"/>
                  <a:gd name="connsiteX4" fmla="*/ 1750695 w 3008034"/>
                  <a:gd name="connsiteY4" fmla="*/ 68580 h 3680460"/>
                  <a:gd name="connsiteX5" fmla="*/ 1727835 w 3008034"/>
                  <a:gd name="connsiteY5" fmla="*/ 53340 h 3680460"/>
                  <a:gd name="connsiteX6" fmla="*/ 1720215 w 3008034"/>
                  <a:gd name="connsiteY6" fmla="*/ 16193 h 3680460"/>
                  <a:gd name="connsiteX7" fmla="*/ 1971675 w 3008034"/>
                  <a:gd name="connsiteY7" fmla="*/ 0 h 3680460"/>
                  <a:gd name="connsiteX8" fmla="*/ 2162175 w 3008034"/>
                  <a:gd name="connsiteY8" fmla="*/ 114300 h 3680460"/>
                  <a:gd name="connsiteX9" fmla="*/ 2276475 w 3008034"/>
                  <a:gd name="connsiteY9" fmla="*/ 190500 h 3680460"/>
                  <a:gd name="connsiteX10" fmla="*/ 2527935 w 3008034"/>
                  <a:gd name="connsiteY10" fmla="*/ 426720 h 3680460"/>
                  <a:gd name="connsiteX11" fmla="*/ 2543175 w 3008034"/>
                  <a:gd name="connsiteY11" fmla="*/ 449580 h 3680460"/>
                  <a:gd name="connsiteX12" fmla="*/ 2611755 w 3008034"/>
                  <a:gd name="connsiteY12" fmla="*/ 548640 h 3680460"/>
                  <a:gd name="connsiteX13" fmla="*/ 2665095 w 3008034"/>
                  <a:gd name="connsiteY13" fmla="*/ 609600 h 3680460"/>
                  <a:gd name="connsiteX14" fmla="*/ 2756535 w 3008034"/>
                  <a:gd name="connsiteY14" fmla="*/ 754380 h 3680460"/>
                  <a:gd name="connsiteX15" fmla="*/ 2809875 w 3008034"/>
                  <a:gd name="connsiteY15" fmla="*/ 830580 h 3680460"/>
                  <a:gd name="connsiteX16" fmla="*/ 2908935 w 3008034"/>
                  <a:gd name="connsiteY16" fmla="*/ 1036320 h 3680460"/>
                  <a:gd name="connsiteX17" fmla="*/ 2924175 w 3008034"/>
                  <a:gd name="connsiteY17" fmla="*/ 1074420 h 3680460"/>
                  <a:gd name="connsiteX18" fmla="*/ 2954655 w 3008034"/>
                  <a:gd name="connsiteY18" fmla="*/ 1203960 h 3680460"/>
                  <a:gd name="connsiteX19" fmla="*/ 2969895 w 3008034"/>
                  <a:gd name="connsiteY19" fmla="*/ 1264920 h 3680460"/>
                  <a:gd name="connsiteX20" fmla="*/ 2985135 w 3008034"/>
                  <a:gd name="connsiteY20" fmla="*/ 1348740 h 3680460"/>
                  <a:gd name="connsiteX21" fmla="*/ 3000375 w 3008034"/>
                  <a:gd name="connsiteY21" fmla="*/ 1432560 h 3680460"/>
                  <a:gd name="connsiteX22" fmla="*/ 3007995 w 3008034"/>
                  <a:gd name="connsiteY22" fmla="*/ 1684020 h 3680460"/>
                  <a:gd name="connsiteX23" fmla="*/ 3003233 w 3008034"/>
                  <a:gd name="connsiteY23" fmla="*/ 1990725 h 3680460"/>
                  <a:gd name="connsiteX24" fmla="*/ 2969895 w 3008034"/>
                  <a:gd name="connsiteY24" fmla="*/ 2194560 h 3680460"/>
                  <a:gd name="connsiteX25" fmla="*/ 2931795 w 3008034"/>
                  <a:gd name="connsiteY25" fmla="*/ 2324100 h 3680460"/>
                  <a:gd name="connsiteX26" fmla="*/ 2916555 w 3008034"/>
                  <a:gd name="connsiteY26" fmla="*/ 2392680 h 3680460"/>
                  <a:gd name="connsiteX27" fmla="*/ 2867978 w 3008034"/>
                  <a:gd name="connsiteY27" fmla="*/ 2521267 h 3680460"/>
                  <a:gd name="connsiteX28" fmla="*/ 2801303 w 3008034"/>
                  <a:gd name="connsiteY28" fmla="*/ 2656523 h 3680460"/>
                  <a:gd name="connsiteX29" fmla="*/ 2719387 w 3008034"/>
                  <a:gd name="connsiteY29" fmla="*/ 2818447 h 3680460"/>
                  <a:gd name="connsiteX30" fmla="*/ 2495550 w 3008034"/>
                  <a:gd name="connsiteY30" fmla="*/ 3084195 h 3680460"/>
                  <a:gd name="connsiteX31" fmla="*/ 2396490 w 3008034"/>
                  <a:gd name="connsiteY31" fmla="*/ 3185160 h 3680460"/>
                  <a:gd name="connsiteX32" fmla="*/ 2284095 w 3008034"/>
                  <a:gd name="connsiteY32" fmla="*/ 3284220 h 3680460"/>
                  <a:gd name="connsiteX33" fmla="*/ 2131695 w 3008034"/>
                  <a:gd name="connsiteY33" fmla="*/ 3390900 h 3680460"/>
                  <a:gd name="connsiteX34" fmla="*/ 2000250 w 3008034"/>
                  <a:gd name="connsiteY34" fmla="*/ 3448050 h 3680460"/>
                  <a:gd name="connsiteX35" fmla="*/ 1864995 w 3008034"/>
                  <a:gd name="connsiteY35" fmla="*/ 3512820 h 3680460"/>
                  <a:gd name="connsiteX36" fmla="*/ 1819275 w 3008034"/>
                  <a:gd name="connsiteY36" fmla="*/ 3520440 h 3680460"/>
                  <a:gd name="connsiteX37" fmla="*/ 1712595 w 3008034"/>
                  <a:gd name="connsiteY37" fmla="*/ 3550920 h 3680460"/>
                  <a:gd name="connsiteX38" fmla="*/ 1590675 w 3008034"/>
                  <a:gd name="connsiteY38" fmla="*/ 3589020 h 3680460"/>
                  <a:gd name="connsiteX39" fmla="*/ 1537335 w 3008034"/>
                  <a:gd name="connsiteY39" fmla="*/ 3611880 h 3680460"/>
                  <a:gd name="connsiteX40" fmla="*/ 1453515 w 3008034"/>
                  <a:gd name="connsiteY40" fmla="*/ 3627120 h 3680460"/>
                  <a:gd name="connsiteX41" fmla="*/ 1323975 w 3008034"/>
                  <a:gd name="connsiteY41" fmla="*/ 3657600 h 3680460"/>
                  <a:gd name="connsiteX42" fmla="*/ 1194435 w 3008034"/>
                  <a:gd name="connsiteY42" fmla="*/ 3672840 h 3680460"/>
                  <a:gd name="connsiteX43" fmla="*/ 1156335 w 3008034"/>
                  <a:gd name="connsiteY43" fmla="*/ 3680460 h 3680460"/>
                  <a:gd name="connsiteX44" fmla="*/ 625792 w 3008034"/>
                  <a:gd name="connsiteY44" fmla="*/ 3668078 h 3680460"/>
                  <a:gd name="connsiteX45" fmla="*/ 402908 w 3008034"/>
                  <a:gd name="connsiteY45" fmla="*/ 3614738 h 3680460"/>
                  <a:gd name="connsiteX46" fmla="*/ 266700 w 3008034"/>
                  <a:gd name="connsiteY46" fmla="*/ 3570922 h 3680460"/>
                  <a:gd name="connsiteX47" fmla="*/ 164782 w 3008034"/>
                  <a:gd name="connsiteY47" fmla="*/ 3515678 h 3680460"/>
                  <a:gd name="connsiteX48" fmla="*/ 31433 w 3008034"/>
                  <a:gd name="connsiteY48" fmla="*/ 3422333 h 3680460"/>
                  <a:gd name="connsiteX49" fmla="*/ 0 w 3008034"/>
                  <a:gd name="connsiteY49" fmla="*/ 3376613 h 3680460"/>
                  <a:gd name="connsiteX50" fmla="*/ 127635 w 3008034"/>
                  <a:gd name="connsiteY50" fmla="*/ 3360420 h 3680460"/>
                  <a:gd name="connsiteX51" fmla="*/ 158115 w 3008034"/>
                  <a:gd name="connsiteY51" fmla="*/ 3390900 h 3680460"/>
                  <a:gd name="connsiteX52" fmla="*/ 317183 w 3008034"/>
                  <a:gd name="connsiteY52" fmla="*/ 3450907 h 3680460"/>
                  <a:gd name="connsiteX53" fmla="*/ 485775 w 3008034"/>
                  <a:gd name="connsiteY53" fmla="*/ 3520440 h 3680460"/>
                  <a:gd name="connsiteX54" fmla="*/ 721995 w 3008034"/>
                  <a:gd name="connsiteY54" fmla="*/ 3558540 h 3680460"/>
                  <a:gd name="connsiteX55" fmla="*/ 1331595 w 3008034"/>
                  <a:gd name="connsiteY55" fmla="*/ 3550920 h 3680460"/>
                  <a:gd name="connsiteX56" fmla="*/ 1529715 w 3008034"/>
                  <a:gd name="connsiteY56" fmla="*/ 3520440 h 3680460"/>
                  <a:gd name="connsiteX57" fmla="*/ 1621155 w 3008034"/>
                  <a:gd name="connsiteY57" fmla="*/ 3497580 h 3680460"/>
                  <a:gd name="connsiteX58" fmla="*/ 1781175 w 3008034"/>
                  <a:gd name="connsiteY58" fmla="*/ 3451860 h 3680460"/>
                  <a:gd name="connsiteX59" fmla="*/ 1864995 w 3008034"/>
                  <a:gd name="connsiteY59" fmla="*/ 3421380 h 3680460"/>
                  <a:gd name="connsiteX60" fmla="*/ 1941195 w 3008034"/>
                  <a:gd name="connsiteY60" fmla="*/ 3390900 h 3680460"/>
                  <a:gd name="connsiteX61" fmla="*/ 2089785 w 3008034"/>
                  <a:gd name="connsiteY61" fmla="*/ 3308985 h 3680460"/>
                  <a:gd name="connsiteX62" fmla="*/ 2189797 w 3008034"/>
                  <a:gd name="connsiteY62" fmla="*/ 3251835 h 3680460"/>
                  <a:gd name="connsiteX63" fmla="*/ 2337435 w 3008034"/>
                  <a:gd name="connsiteY63" fmla="*/ 3154680 h 3680460"/>
                  <a:gd name="connsiteX64" fmla="*/ 2459355 w 3008034"/>
                  <a:gd name="connsiteY64" fmla="*/ 3009900 h 3680460"/>
                  <a:gd name="connsiteX65" fmla="*/ 2527935 w 3008034"/>
                  <a:gd name="connsiteY65" fmla="*/ 2926080 h 3680460"/>
                  <a:gd name="connsiteX66" fmla="*/ 2619375 w 3008034"/>
                  <a:gd name="connsiteY66" fmla="*/ 2811780 h 3680460"/>
                  <a:gd name="connsiteX67" fmla="*/ 2665095 w 3008034"/>
                  <a:gd name="connsiteY67" fmla="*/ 2727960 h 3680460"/>
                  <a:gd name="connsiteX68" fmla="*/ 2695575 w 3008034"/>
                  <a:gd name="connsiteY68" fmla="*/ 2667000 h 3680460"/>
                  <a:gd name="connsiteX69" fmla="*/ 2779395 w 3008034"/>
                  <a:gd name="connsiteY69" fmla="*/ 2484120 h 3680460"/>
                  <a:gd name="connsiteX70" fmla="*/ 2802255 w 3008034"/>
                  <a:gd name="connsiteY70" fmla="*/ 2407920 h 3680460"/>
                  <a:gd name="connsiteX71" fmla="*/ 2908935 w 3008034"/>
                  <a:gd name="connsiteY71" fmla="*/ 2049780 h 3680460"/>
                  <a:gd name="connsiteX72" fmla="*/ 2924175 w 3008034"/>
                  <a:gd name="connsiteY72" fmla="*/ 1844040 h 3680460"/>
                  <a:gd name="connsiteX73" fmla="*/ 2908935 w 3008034"/>
                  <a:gd name="connsiteY73" fmla="*/ 1470660 h 3680460"/>
                  <a:gd name="connsiteX74" fmla="*/ 2886075 w 3008034"/>
                  <a:gd name="connsiteY74" fmla="*/ 1371600 h 3680460"/>
                  <a:gd name="connsiteX75" fmla="*/ 2870835 w 3008034"/>
                  <a:gd name="connsiteY75" fmla="*/ 1341120 h 3680460"/>
                  <a:gd name="connsiteX76" fmla="*/ 2847975 w 3008034"/>
                  <a:gd name="connsiteY76" fmla="*/ 1272540 h 3680460"/>
                  <a:gd name="connsiteX77" fmla="*/ 2840355 w 3008034"/>
                  <a:gd name="connsiteY77" fmla="*/ 1234440 h 3680460"/>
                  <a:gd name="connsiteX78" fmla="*/ 2756535 w 3008034"/>
                  <a:gd name="connsiteY78" fmla="*/ 1089660 h 3680460"/>
                  <a:gd name="connsiteX79" fmla="*/ 2726055 w 3008034"/>
                  <a:gd name="connsiteY79" fmla="*/ 1043940 h 3680460"/>
                  <a:gd name="connsiteX80" fmla="*/ 2718435 w 3008034"/>
                  <a:gd name="connsiteY80" fmla="*/ 1021080 h 3680460"/>
                  <a:gd name="connsiteX81" fmla="*/ 2672715 w 3008034"/>
                  <a:gd name="connsiteY81" fmla="*/ 937260 h 3680460"/>
                  <a:gd name="connsiteX82" fmla="*/ 2649855 w 3008034"/>
                  <a:gd name="connsiteY82" fmla="*/ 876300 h 3680460"/>
                  <a:gd name="connsiteX83" fmla="*/ 2634615 w 3008034"/>
                  <a:gd name="connsiteY83" fmla="*/ 845820 h 3680460"/>
                  <a:gd name="connsiteX84" fmla="*/ 2611755 w 3008034"/>
                  <a:gd name="connsiteY84" fmla="*/ 800100 h 3680460"/>
                  <a:gd name="connsiteX85" fmla="*/ 2448878 w 3008034"/>
                  <a:gd name="connsiteY85" fmla="*/ 621983 h 3680460"/>
                  <a:gd name="connsiteX86" fmla="*/ 2291715 w 3008034"/>
                  <a:gd name="connsiteY86" fmla="*/ 458152 h 3680460"/>
                  <a:gd name="connsiteX87" fmla="*/ 2227898 w 3008034"/>
                  <a:gd name="connsiteY87" fmla="*/ 406717 h 3680460"/>
                  <a:gd name="connsiteX88" fmla="*/ 2093595 w 3008034"/>
                  <a:gd name="connsiteY88" fmla="*/ 312420 h 3680460"/>
                  <a:gd name="connsiteX89" fmla="*/ 2032635 w 3008034"/>
                  <a:gd name="connsiteY89" fmla="*/ 266700 h 3680460"/>
                  <a:gd name="connsiteX90" fmla="*/ 1994535 w 3008034"/>
                  <a:gd name="connsiteY90" fmla="*/ 251460 h 3680460"/>
                  <a:gd name="connsiteX91" fmla="*/ 1948815 w 3008034"/>
                  <a:gd name="connsiteY91" fmla="*/ 220980 h 3680460"/>
                  <a:gd name="connsiteX92" fmla="*/ 1887855 w 3008034"/>
                  <a:gd name="connsiteY9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948815 w 3008034"/>
                  <a:gd name="connsiteY90" fmla="*/ 220980 h 3680460"/>
                  <a:gd name="connsiteX91" fmla="*/ 1887855 w 3008034"/>
                  <a:gd name="connsiteY9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887855 w 3008034"/>
                  <a:gd name="connsiteY9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34615 w 3008034"/>
                  <a:gd name="connsiteY81" fmla="*/ 845820 h 3680460"/>
                  <a:gd name="connsiteX82" fmla="*/ 2611755 w 3008034"/>
                  <a:gd name="connsiteY82" fmla="*/ 800100 h 3680460"/>
                  <a:gd name="connsiteX83" fmla="*/ 2448878 w 3008034"/>
                  <a:gd name="connsiteY83" fmla="*/ 621983 h 3680460"/>
                  <a:gd name="connsiteX84" fmla="*/ 2291715 w 3008034"/>
                  <a:gd name="connsiteY84" fmla="*/ 458152 h 3680460"/>
                  <a:gd name="connsiteX85" fmla="*/ 2227898 w 3008034"/>
                  <a:gd name="connsiteY85" fmla="*/ 406717 h 3680460"/>
                  <a:gd name="connsiteX86" fmla="*/ 2093595 w 3008034"/>
                  <a:gd name="connsiteY86" fmla="*/ 312420 h 3680460"/>
                  <a:gd name="connsiteX87" fmla="*/ 2032635 w 3008034"/>
                  <a:gd name="connsiteY87" fmla="*/ 266700 h 3680460"/>
                  <a:gd name="connsiteX88" fmla="*/ 1994535 w 3008034"/>
                  <a:gd name="connsiteY88" fmla="*/ 251460 h 3680460"/>
                  <a:gd name="connsiteX89" fmla="*/ 1887855 w 3008034"/>
                  <a:gd name="connsiteY8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11755 w 3008034"/>
                  <a:gd name="connsiteY81" fmla="*/ 800100 h 3680460"/>
                  <a:gd name="connsiteX82" fmla="*/ 2448878 w 3008034"/>
                  <a:gd name="connsiteY82" fmla="*/ 621983 h 3680460"/>
                  <a:gd name="connsiteX83" fmla="*/ 2291715 w 3008034"/>
                  <a:gd name="connsiteY83" fmla="*/ 458152 h 3680460"/>
                  <a:gd name="connsiteX84" fmla="*/ 2227898 w 3008034"/>
                  <a:gd name="connsiteY84" fmla="*/ 406717 h 3680460"/>
                  <a:gd name="connsiteX85" fmla="*/ 2093595 w 3008034"/>
                  <a:gd name="connsiteY85" fmla="*/ 312420 h 3680460"/>
                  <a:gd name="connsiteX86" fmla="*/ 2032635 w 3008034"/>
                  <a:gd name="connsiteY86" fmla="*/ 266700 h 3680460"/>
                  <a:gd name="connsiteX87" fmla="*/ 1994535 w 3008034"/>
                  <a:gd name="connsiteY87" fmla="*/ 251460 h 3680460"/>
                  <a:gd name="connsiteX88" fmla="*/ 1887855 w 3008034"/>
                  <a:gd name="connsiteY8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11755 w 3008034"/>
                  <a:gd name="connsiteY80" fmla="*/ 800100 h 3680460"/>
                  <a:gd name="connsiteX81" fmla="*/ 2448878 w 3008034"/>
                  <a:gd name="connsiteY81" fmla="*/ 621983 h 3680460"/>
                  <a:gd name="connsiteX82" fmla="*/ 2291715 w 3008034"/>
                  <a:gd name="connsiteY82" fmla="*/ 458152 h 3680460"/>
                  <a:gd name="connsiteX83" fmla="*/ 2227898 w 3008034"/>
                  <a:gd name="connsiteY83" fmla="*/ 406717 h 3680460"/>
                  <a:gd name="connsiteX84" fmla="*/ 2093595 w 3008034"/>
                  <a:gd name="connsiteY84" fmla="*/ 312420 h 3680460"/>
                  <a:gd name="connsiteX85" fmla="*/ 2032635 w 3008034"/>
                  <a:gd name="connsiteY85" fmla="*/ 266700 h 3680460"/>
                  <a:gd name="connsiteX86" fmla="*/ 1994535 w 3008034"/>
                  <a:gd name="connsiteY86" fmla="*/ 251460 h 3680460"/>
                  <a:gd name="connsiteX87" fmla="*/ 1887855 w 3008034"/>
                  <a:gd name="connsiteY8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47975 w 3008034"/>
                  <a:gd name="connsiteY73" fmla="*/ 1272540 h 3680460"/>
                  <a:gd name="connsiteX74" fmla="*/ 2840355 w 3008034"/>
                  <a:gd name="connsiteY74" fmla="*/ 1234440 h 3680460"/>
                  <a:gd name="connsiteX75" fmla="*/ 2756535 w 3008034"/>
                  <a:gd name="connsiteY75" fmla="*/ 1089660 h 3680460"/>
                  <a:gd name="connsiteX76" fmla="*/ 2726055 w 3008034"/>
                  <a:gd name="connsiteY76" fmla="*/ 1043940 h 3680460"/>
                  <a:gd name="connsiteX77" fmla="*/ 2718435 w 3008034"/>
                  <a:gd name="connsiteY77" fmla="*/ 1021080 h 3680460"/>
                  <a:gd name="connsiteX78" fmla="*/ 2672715 w 3008034"/>
                  <a:gd name="connsiteY78" fmla="*/ 937260 h 3680460"/>
                  <a:gd name="connsiteX79" fmla="*/ 2611755 w 3008034"/>
                  <a:gd name="connsiteY79" fmla="*/ 800100 h 3680460"/>
                  <a:gd name="connsiteX80" fmla="*/ 2448878 w 3008034"/>
                  <a:gd name="connsiteY80" fmla="*/ 621983 h 3680460"/>
                  <a:gd name="connsiteX81" fmla="*/ 2291715 w 3008034"/>
                  <a:gd name="connsiteY81" fmla="*/ 458152 h 3680460"/>
                  <a:gd name="connsiteX82" fmla="*/ 2227898 w 3008034"/>
                  <a:gd name="connsiteY82" fmla="*/ 406717 h 3680460"/>
                  <a:gd name="connsiteX83" fmla="*/ 2093595 w 3008034"/>
                  <a:gd name="connsiteY83" fmla="*/ 312420 h 3680460"/>
                  <a:gd name="connsiteX84" fmla="*/ 2032635 w 3008034"/>
                  <a:gd name="connsiteY84" fmla="*/ 266700 h 3680460"/>
                  <a:gd name="connsiteX85" fmla="*/ 1994535 w 3008034"/>
                  <a:gd name="connsiteY85" fmla="*/ 251460 h 3680460"/>
                  <a:gd name="connsiteX86" fmla="*/ 1887855 w 3008034"/>
                  <a:gd name="connsiteY8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85135 w 3008034"/>
                  <a:gd name="connsiteY17" fmla="*/ 1348740 h 3680460"/>
                  <a:gd name="connsiteX18" fmla="*/ 3000375 w 3008034"/>
                  <a:gd name="connsiteY18" fmla="*/ 1432560 h 3680460"/>
                  <a:gd name="connsiteX19" fmla="*/ 3007995 w 3008034"/>
                  <a:gd name="connsiteY19" fmla="*/ 1684020 h 3680460"/>
                  <a:gd name="connsiteX20" fmla="*/ 3003233 w 3008034"/>
                  <a:gd name="connsiteY20" fmla="*/ 1990725 h 3680460"/>
                  <a:gd name="connsiteX21" fmla="*/ 2969895 w 3008034"/>
                  <a:gd name="connsiteY21" fmla="*/ 2194560 h 3680460"/>
                  <a:gd name="connsiteX22" fmla="*/ 2931795 w 3008034"/>
                  <a:gd name="connsiteY22" fmla="*/ 2324100 h 3680460"/>
                  <a:gd name="connsiteX23" fmla="*/ 2916555 w 3008034"/>
                  <a:gd name="connsiteY23" fmla="*/ 2392680 h 3680460"/>
                  <a:gd name="connsiteX24" fmla="*/ 2867978 w 3008034"/>
                  <a:gd name="connsiteY24" fmla="*/ 2521267 h 3680460"/>
                  <a:gd name="connsiteX25" fmla="*/ 2801303 w 3008034"/>
                  <a:gd name="connsiteY25" fmla="*/ 2656523 h 3680460"/>
                  <a:gd name="connsiteX26" fmla="*/ 2719387 w 3008034"/>
                  <a:gd name="connsiteY26" fmla="*/ 2818447 h 3680460"/>
                  <a:gd name="connsiteX27" fmla="*/ 2495550 w 3008034"/>
                  <a:gd name="connsiteY27" fmla="*/ 3084195 h 3680460"/>
                  <a:gd name="connsiteX28" fmla="*/ 2396490 w 3008034"/>
                  <a:gd name="connsiteY28" fmla="*/ 3185160 h 3680460"/>
                  <a:gd name="connsiteX29" fmla="*/ 2284095 w 3008034"/>
                  <a:gd name="connsiteY29" fmla="*/ 3284220 h 3680460"/>
                  <a:gd name="connsiteX30" fmla="*/ 2131695 w 3008034"/>
                  <a:gd name="connsiteY30" fmla="*/ 3390900 h 3680460"/>
                  <a:gd name="connsiteX31" fmla="*/ 2000250 w 3008034"/>
                  <a:gd name="connsiteY31" fmla="*/ 3448050 h 3680460"/>
                  <a:gd name="connsiteX32" fmla="*/ 1864995 w 3008034"/>
                  <a:gd name="connsiteY32" fmla="*/ 3512820 h 3680460"/>
                  <a:gd name="connsiteX33" fmla="*/ 1819275 w 3008034"/>
                  <a:gd name="connsiteY33" fmla="*/ 3520440 h 3680460"/>
                  <a:gd name="connsiteX34" fmla="*/ 1712595 w 3008034"/>
                  <a:gd name="connsiteY34" fmla="*/ 3550920 h 3680460"/>
                  <a:gd name="connsiteX35" fmla="*/ 1590675 w 3008034"/>
                  <a:gd name="connsiteY35" fmla="*/ 3589020 h 3680460"/>
                  <a:gd name="connsiteX36" fmla="*/ 1537335 w 3008034"/>
                  <a:gd name="connsiteY36" fmla="*/ 3611880 h 3680460"/>
                  <a:gd name="connsiteX37" fmla="*/ 1453515 w 3008034"/>
                  <a:gd name="connsiteY37" fmla="*/ 3627120 h 3680460"/>
                  <a:gd name="connsiteX38" fmla="*/ 1323975 w 3008034"/>
                  <a:gd name="connsiteY38" fmla="*/ 3657600 h 3680460"/>
                  <a:gd name="connsiteX39" fmla="*/ 1194435 w 3008034"/>
                  <a:gd name="connsiteY39" fmla="*/ 3672840 h 3680460"/>
                  <a:gd name="connsiteX40" fmla="*/ 1156335 w 3008034"/>
                  <a:gd name="connsiteY40" fmla="*/ 3680460 h 3680460"/>
                  <a:gd name="connsiteX41" fmla="*/ 625792 w 3008034"/>
                  <a:gd name="connsiteY41" fmla="*/ 3668078 h 3680460"/>
                  <a:gd name="connsiteX42" fmla="*/ 402908 w 3008034"/>
                  <a:gd name="connsiteY42" fmla="*/ 3614738 h 3680460"/>
                  <a:gd name="connsiteX43" fmla="*/ 266700 w 3008034"/>
                  <a:gd name="connsiteY43" fmla="*/ 3570922 h 3680460"/>
                  <a:gd name="connsiteX44" fmla="*/ 164782 w 3008034"/>
                  <a:gd name="connsiteY44" fmla="*/ 3515678 h 3680460"/>
                  <a:gd name="connsiteX45" fmla="*/ 31433 w 3008034"/>
                  <a:gd name="connsiteY45" fmla="*/ 3422333 h 3680460"/>
                  <a:gd name="connsiteX46" fmla="*/ 0 w 3008034"/>
                  <a:gd name="connsiteY46" fmla="*/ 3376613 h 3680460"/>
                  <a:gd name="connsiteX47" fmla="*/ 127635 w 3008034"/>
                  <a:gd name="connsiteY47" fmla="*/ 3360420 h 3680460"/>
                  <a:gd name="connsiteX48" fmla="*/ 158115 w 3008034"/>
                  <a:gd name="connsiteY48" fmla="*/ 3390900 h 3680460"/>
                  <a:gd name="connsiteX49" fmla="*/ 317183 w 3008034"/>
                  <a:gd name="connsiteY49" fmla="*/ 3450907 h 3680460"/>
                  <a:gd name="connsiteX50" fmla="*/ 485775 w 3008034"/>
                  <a:gd name="connsiteY50" fmla="*/ 3520440 h 3680460"/>
                  <a:gd name="connsiteX51" fmla="*/ 721995 w 3008034"/>
                  <a:gd name="connsiteY51" fmla="*/ 3558540 h 3680460"/>
                  <a:gd name="connsiteX52" fmla="*/ 1331595 w 3008034"/>
                  <a:gd name="connsiteY52" fmla="*/ 3550920 h 3680460"/>
                  <a:gd name="connsiteX53" fmla="*/ 1529715 w 3008034"/>
                  <a:gd name="connsiteY53" fmla="*/ 3520440 h 3680460"/>
                  <a:gd name="connsiteX54" fmla="*/ 1621155 w 3008034"/>
                  <a:gd name="connsiteY54" fmla="*/ 3497580 h 3680460"/>
                  <a:gd name="connsiteX55" fmla="*/ 1781175 w 3008034"/>
                  <a:gd name="connsiteY55" fmla="*/ 3451860 h 3680460"/>
                  <a:gd name="connsiteX56" fmla="*/ 1864995 w 3008034"/>
                  <a:gd name="connsiteY56" fmla="*/ 3421380 h 3680460"/>
                  <a:gd name="connsiteX57" fmla="*/ 1941195 w 3008034"/>
                  <a:gd name="connsiteY57" fmla="*/ 3390900 h 3680460"/>
                  <a:gd name="connsiteX58" fmla="*/ 2089785 w 3008034"/>
                  <a:gd name="connsiteY58" fmla="*/ 3308985 h 3680460"/>
                  <a:gd name="connsiteX59" fmla="*/ 2189797 w 3008034"/>
                  <a:gd name="connsiteY59" fmla="*/ 3251835 h 3680460"/>
                  <a:gd name="connsiteX60" fmla="*/ 2337435 w 3008034"/>
                  <a:gd name="connsiteY60" fmla="*/ 3154680 h 3680460"/>
                  <a:gd name="connsiteX61" fmla="*/ 2459355 w 3008034"/>
                  <a:gd name="connsiteY61" fmla="*/ 3009900 h 3680460"/>
                  <a:gd name="connsiteX62" fmla="*/ 2527935 w 3008034"/>
                  <a:gd name="connsiteY62" fmla="*/ 2926080 h 3680460"/>
                  <a:gd name="connsiteX63" fmla="*/ 2619375 w 3008034"/>
                  <a:gd name="connsiteY63" fmla="*/ 2811780 h 3680460"/>
                  <a:gd name="connsiteX64" fmla="*/ 2665095 w 3008034"/>
                  <a:gd name="connsiteY64" fmla="*/ 2727960 h 3680460"/>
                  <a:gd name="connsiteX65" fmla="*/ 2695575 w 3008034"/>
                  <a:gd name="connsiteY65" fmla="*/ 2667000 h 3680460"/>
                  <a:gd name="connsiteX66" fmla="*/ 2779395 w 3008034"/>
                  <a:gd name="connsiteY66" fmla="*/ 2484120 h 3680460"/>
                  <a:gd name="connsiteX67" fmla="*/ 2802255 w 3008034"/>
                  <a:gd name="connsiteY67" fmla="*/ 2407920 h 3680460"/>
                  <a:gd name="connsiteX68" fmla="*/ 2908935 w 3008034"/>
                  <a:gd name="connsiteY68" fmla="*/ 2049780 h 3680460"/>
                  <a:gd name="connsiteX69" fmla="*/ 2924175 w 3008034"/>
                  <a:gd name="connsiteY69" fmla="*/ 1844040 h 3680460"/>
                  <a:gd name="connsiteX70" fmla="*/ 2908935 w 3008034"/>
                  <a:gd name="connsiteY70" fmla="*/ 1470660 h 3680460"/>
                  <a:gd name="connsiteX71" fmla="*/ 2886075 w 3008034"/>
                  <a:gd name="connsiteY71" fmla="*/ 1371600 h 3680460"/>
                  <a:gd name="connsiteX72" fmla="*/ 2847975 w 3008034"/>
                  <a:gd name="connsiteY72" fmla="*/ 1272540 h 3680460"/>
                  <a:gd name="connsiteX73" fmla="*/ 2840355 w 3008034"/>
                  <a:gd name="connsiteY73" fmla="*/ 1234440 h 3680460"/>
                  <a:gd name="connsiteX74" fmla="*/ 2756535 w 3008034"/>
                  <a:gd name="connsiteY74" fmla="*/ 1089660 h 3680460"/>
                  <a:gd name="connsiteX75" fmla="*/ 2726055 w 3008034"/>
                  <a:gd name="connsiteY75" fmla="*/ 1043940 h 3680460"/>
                  <a:gd name="connsiteX76" fmla="*/ 2718435 w 3008034"/>
                  <a:gd name="connsiteY76" fmla="*/ 1021080 h 3680460"/>
                  <a:gd name="connsiteX77" fmla="*/ 2672715 w 3008034"/>
                  <a:gd name="connsiteY77" fmla="*/ 937260 h 3680460"/>
                  <a:gd name="connsiteX78" fmla="*/ 2611755 w 3008034"/>
                  <a:gd name="connsiteY78" fmla="*/ 800100 h 3680460"/>
                  <a:gd name="connsiteX79" fmla="*/ 2448878 w 3008034"/>
                  <a:gd name="connsiteY79" fmla="*/ 621983 h 3680460"/>
                  <a:gd name="connsiteX80" fmla="*/ 2291715 w 3008034"/>
                  <a:gd name="connsiteY80" fmla="*/ 458152 h 3680460"/>
                  <a:gd name="connsiteX81" fmla="*/ 2227898 w 3008034"/>
                  <a:gd name="connsiteY81" fmla="*/ 406717 h 3680460"/>
                  <a:gd name="connsiteX82" fmla="*/ 2093595 w 3008034"/>
                  <a:gd name="connsiteY82" fmla="*/ 312420 h 3680460"/>
                  <a:gd name="connsiteX83" fmla="*/ 2032635 w 3008034"/>
                  <a:gd name="connsiteY83" fmla="*/ 266700 h 3680460"/>
                  <a:gd name="connsiteX84" fmla="*/ 1994535 w 3008034"/>
                  <a:gd name="connsiteY84" fmla="*/ 251460 h 3680460"/>
                  <a:gd name="connsiteX85" fmla="*/ 1887855 w 3008034"/>
                  <a:gd name="connsiteY8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323975 w 3008034"/>
                  <a:gd name="connsiteY37" fmla="*/ 365760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3008034" h="3680460">
                    <a:moveTo>
                      <a:pt x="1887855" y="182880"/>
                    </a:moveTo>
                    <a:cubicBezTo>
                      <a:pt x="1863725" y="167640"/>
                      <a:pt x="1870075" y="175260"/>
                      <a:pt x="1849755" y="160020"/>
                    </a:cubicBezTo>
                    <a:cubicBezTo>
                      <a:pt x="1829435" y="144780"/>
                      <a:pt x="1782445" y="106680"/>
                      <a:pt x="1765935" y="91440"/>
                    </a:cubicBezTo>
                    <a:cubicBezTo>
                      <a:pt x="1749425" y="76200"/>
                      <a:pt x="1758315" y="81121"/>
                      <a:pt x="1750695" y="68580"/>
                    </a:cubicBezTo>
                    <a:cubicBezTo>
                      <a:pt x="1743075" y="56039"/>
                      <a:pt x="1683385" y="27623"/>
                      <a:pt x="1720215" y="16193"/>
                    </a:cubicBez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  <a:cubicBezTo>
                      <a:pt x="553244" y="3538379"/>
                      <a:pt x="581025" y="3553460"/>
                      <a:pt x="721995" y="3558540"/>
                    </a:cubicBezTo>
                    <a:cubicBezTo>
                      <a:pt x="949007" y="3594100"/>
                      <a:pt x="1128395" y="3553460"/>
                      <a:pt x="1331595" y="3550920"/>
                    </a:cubicBezTo>
                    <a:cubicBezTo>
                      <a:pt x="1466215" y="3544570"/>
                      <a:pt x="1492885" y="3526790"/>
                      <a:pt x="1529715" y="3520440"/>
                    </a:cubicBezTo>
                    <a:cubicBezTo>
                      <a:pt x="1577975" y="3511550"/>
                      <a:pt x="1579245" y="3509010"/>
                      <a:pt x="1621155" y="3497580"/>
                    </a:cubicBezTo>
                    <a:cubicBezTo>
                      <a:pt x="1663065" y="3486150"/>
                      <a:pt x="1740535" y="3464560"/>
                      <a:pt x="1781175" y="3451860"/>
                    </a:cubicBezTo>
                    <a:lnTo>
                      <a:pt x="1864995" y="3421380"/>
                    </a:lnTo>
                    <a:cubicBezTo>
                      <a:pt x="1891665" y="3411220"/>
                      <a:pt x="1903730" y="3409632"/>
                      <a:pt x="1941195" y="3390900"/>
                    </a:cubicBezTo>
                    <a:cubicBezTo>
                      <a:pt x="1978660" y="3372168"/>
                      <a:pt x="2048351" y="3332162"/>
                      <a:pt x="2089785" y="3308985"/>
                    </a:cubicBezTo>
                    <a:cubicBezTo>
                      <a:pt x="2131219" y="3285808"/>
                      <a:pt x="2148522" y="3277552"/>
                      <a:pt x="2189797" y="3251835"/>
                    </a:cubicBezTo>
                    <a:cubicBezTo>
                      <a:pt x="2231072" y="3226118"/>
                      <a:pt x="2292509" y="3195002"/>
                      <a:pt x="2337435" y="3154680"/>
                    </a:cubicBezTo>
                    <a:cubicBezTo>
                      <a:pt x="2382361" y="3114358"/>
                      <a:pt x="2427605" y="3048000"/>
                      <a:pt x="2459355" y="3009900"/>
                    </a:cubicBezTo>
                    <a:cubicBezTo>
                      <a:pt x="2491105" y="2971800"/>
                      <a:pt x="2501265" y="2959100"/>
                      <a:pt x="2527935" y="2926080"/>
                    </a:cubicBezTo>
                    <a:cubicBezTo>
                      <a:pt x="2554605" y="2893060"/>
                      <a:pt x="2596515" y="2844800"/>
                      <a:pt x="2619375" y="2811780"/>
                    </a:cubicBezTo>
                    <a:cubicBezTo>
                      <a:pt x="2642235" y="2778760"/>
                      <a:pt x="2652395" y="2752090"/>
                      <a:pt x="2665095" y="2727960"/>
                    </a:cubicBezTo>
                    <a:cubicBezTo>
                      <a:pt x="2677795" y="2703830"/>
                      <a:pt x="2676525" y="2707640"/>
                      <a:pt x="2695575" y="2667000"/>
                    </a:cubicBezTo>
                    <a:cubicBezTo>
                      <a:pt x="2714625" y="2626360"/>
                      <a:pt x="2761615" y="2527300"/>
                      <a:pt x="2779395" y="2484120"/>
                    </a:cubicBezTo>
                    <a:cubicBezTo>
                      <a:pt x="2797834" y="2391926"/>
                      <a:pt x="2780665" y="2480310"/>
                      <a:pt x="2802255" y="2407920"/>
                    </a:cubicBezTo>
                    <a:cubicBezTo>
                      <a:pt x="2823845" y="2335530"/>
                      <a:pt x="2888615" y="2143760"/>
                      <a:pt x="2908935" y="2049780"/>
                    </a:cubicBezTo>
                    <a:cubicBezTo>
                      <a:pt x="2929255" y="1955800"/>
                      <a:pt x="2901071" y="1936456"/>
                      <a:pt x="2924175" y="1844040"/>
                    </a:cubicBezTo>
                    <a:cubicBezTo>
                      <a:pt x="2919095" y="1719580"/>
                      <a:pt x="2915719" y="1595039"/>
                      <a:pt x="2908935" y="1470660"/>
                    </a:cubicBezTo>
                    <a:cubicBezTo>
                      <a:pt x="2907495" y="1444266"/>
                      <a:pt x="2896235" y="1404620"/>
                      <a:pt x="2886075" y="1371600"/>
                    </a:cubicBezTo>
                    <a:cubicBezTo>
                      <a:pt x="2875915" y="1338580"/>
                      <a:pt x="2855595" y="1295400"/>
                      <a:pt x="2847975" y="1272540"/>
                    </a:cubicBezTo>
                    <a:cubicBezTo>
                      <a:pt x="2840355" y="1249680"/>
                      <a:pt x="2855595" y="1264920"/>
                      <a:pt x="2840355" y="1234440"/>
                    </a:cubicBezTo>
                    <a:cubicBezTo>
                      <a:pt x="2825115" y="1203960"/>
                      <a:pt x="2775585" y="1121410"/>
                      <a:pt x="2756535" y="1089660"/>
                    </a:cubicBezTo>
                    <a:cubicBezTo>
                      <a:pt x="2737485" y="1057910"/>
                      <a:pt x="2731847" y="1061316"/>
                      <a:pt x="2726055" y="1043940"/>
                    </a:cubicBezTo>
                    <a:cubicBezTo>
                      <a:pt x="2723515" y="1036320"/>
                      <a:pt x="2722027" y="1028264"/>
                      <a:pt x="2718435" y="1021080"/>
                    </a:cubicBezTo>
                    <a:cubicBezTo>
                      <a:pt x="2680810" y="945830"/>
                      <a:pt x="2690495" y="974090"/>
                      <a:pt x="2672715" y="937260"/>
                    </a:cubicBezTo>
                    <a:cubicBezTo>
                      <a:pt x="2654935" y="900430"/>
                      <a:pt x="2649061" y="852646"/>
                      <a:pt x="2611755" y="800100"/>
                    </a:cubicBezTo>
                    <a:cubicBezTo>
                      <a:pt x="2574449" y="747554"/>
                      <a:pt x="2502218" y="678974"/>
                      <a:pt x="2448878" y="621983"/>
                    </a:cubicBezTo>
                    <a:cubicBezTo>
                      <a:pt x="2395538" y="564992"/>
                      <a:pt x="2328545" y="494030"/>
                      <a:pt x="2291715" y="458152"/>
                    </a:cubicBezTo>
                    <a:cubicBezTo>
                      <a:pt x="2254885" y="422274"/>
                      <a:pt x="2260918" y="431006"/>
                      <a:pt x="2227898" y="406717"/>
                    </a:cubicBezTo>
                    <a:cubicBezTo>
                      <a:pt x="2194878" y="382428"/>
                      <a:pt x="2126139" y="335756"/>
                      <a:pt x="2093595" y="312420"/>
                    </a:cubicBezTo>
                    <a:cubicBezTo>
                      <a:pt x="2061051" y="289084"/>
                      <a:pt x="2054267" y="280012"/>
                      <a:pt x="2032635" y="266700"/>
                    </a:cubicBezTo>
                    <a:cubicBezTo>
                      <a:pt x="2020986" y="259531"/>
                      <a:pt x="2006543" y="258010"/>
                      <a:pt x="1994535" y="251460"/>
                    </a:cubicBezTo>
                    <a:cubicBezTo>
                      <a:pt x="1970405" y="237490"/>
                      <a:pt x="1911985" y="198120"/>
                      <a:pt x="1887855" y="182880"/>
                    </a:cubicBezTo>
                    <a:close/>
                  </a:path>
                </a:pathLst>
              </a:custGeom>
              <a:solidFill>
                <a:srgbClr val="FBCCD0"/>
              </a:solidFill>
              <a:ln w="5406" cap="rnd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58" name="Freeform: Shape 53">
                <a:extLst>
                  <a:ext uri="{FF2B5EF4-FFF2-40B4-BE49-F238E27FC236}">
                    <a16:creationId xmlns:a16="http://schemas.microsoft.com/office/drawing/2014/main" id="{0E4ACE50-81FB-7DDA-4A32-AC25B9B712DB}"/>
                  </a:ext>
                </a:extLst>
              </p:cNvPr>
              <p:cNvSpPr/>
              <p:nvPr/>
            </p:nvSpPr>
            <p:spPr>
              <a:xfrm>
                <a:off x="3948704" y="5798370"/>
                <a:ext cx="2383532" cy="648150"/>
              </a:xfrm>
              <a:custGeom>
                <a:avLst/>
                <a:gdLst>
                  <a:gd name="connsiteX0" fmla="*/ 1028711 w 2392706"/>
                  <a:gd name="connsiteY0" fmla="*/ 30480 h 655320"/>
                  <a:gd name="connsiteX1" fmla="*/ 1074431 w 2392706"/>
                  <a:gd name="connsiteY1" fmla="*/ 15240 h 655320"/>
                  <a:gd name="connsiteX2" fmla="*/ 1219211 w 2392706"/>
                  <a:gd name="connsiteY2" fmla="*/ 0 h 655320"/>
                  <a:gd name="connsiteX3" fmla="*/ 1539251 w 2392706"/>
                  <a:gd name="connsiteY3" fmla="*/ 7620 h 655320"/>
                  <a:gd name="connsiteX4" fmla="*/ 1592591 w 2392706"/>
                  <a:gd name="connsiteY4" fmla="*/ 22860 h 655320"/>
                  <a:gd name="connsiteX5" fmla="*/ 1668791 w 2392706"/>
                  <a:gd name="connsiteY5" fmla="*/ 30480 h 655320"/>
                  <a:gd name="connsiteX6" fmla="*/ 1752611 w 2392706"/>
                  <a:gd name="connsiteY6" fmla="*/ 53340 h 655320"/>
                  <a:gd name="connsiteX7" fmla="*/ 1783091 w 2392706"/>
                  <a:gd name="connsiteY7" fmla="*/ 68580 h 655320"/>
                  <a:gd name="connsiteX8" fmla="*/ 1866911 w 2392706"/>
                  <a:gd name="connsiteY8" fmla="*/ 76200 h 655320"/>
                  <a:gd name="connsiteX9" fmla="*/ 2049791 w 2392706"/>
                  <a:gd name="connsiteY9" fmla="*/ 99060 h 655320"/>
                  <a:gd name="connsiteX10" fmla="*/ 2125991 w 2392706"/>
                  <a:gd name="connsiteY10" fmla="*/ 129540 h 655320"/>
                  <a:gd name="connsiteX11" fmla="*/ 2186951 w 2392706"/>
                  <a:gd name="connsiteY11" fmla="*/ 152400 h 655320"/>
                  <a:gd name="connsiteX12" fmla="*/ 2225051 w 2392706"/>
                  <a:gd name="connsiteY12" fmla="*/ 175260 h 655320"/>
                  <a:gd name="connsiteX13" fmla="*/ 2263151 w 2392706"/>
                  <a:gd name="connsiteY13" fmla="*/ 190500 h 655320"/>
                  <a:gd name="connsiteX14" fmla="*/ 2293631 w 2392706"/>
                  <a:gd name="connsiteY14" fmla="*/ 205740 h 655320"/>
                  <a:gd name="connsiteX15" fmla="*/ 2369831 w 2392706"/>
                  <a:gd name="connsiteY15" fmla="*/ 243840 h 655320"/>
                  <a:gd name="connsiteX16" fmla="*/ 2392691 w 2392706"/>
                  <a:gd name="connsiteY16" fmla="*/ 289560 h 655320"/>
                  <a:gd name="connsiteX17" fmla="*/ 2369831 w 2392706"/>
                  <a:gd name="connsiteY17" fmla="*/ 403860 h 655320"/>
                  <a:gd name="connsiteX18" fmla="*/ 2286011 w 2392706"/>
                  <a:gd name="connsiteY18" fmla="*/ 457200 h 655320"/>
                  <a:gd name="connsiteX19" fmla="*/ 2247911 w 2392706"/>
                  <a:gd name="connsiteY19" fmla="*/ 480060 h 655320"/>
                  <a:gd name="connsiteX20" fmla="*/ 2217431 w 2392706"/>
                  <a:gd name="connsiteY20" fmla="*/ 487680 h 655320"/>
                  <a:gd name="connsiteX21" fmla="*/ 2171711 w 2392706"/>
                  <a:gd name="connsiteY21" fmla="*/ 510540 h 655320"/>
                  <a:gd name="connsiteX22" fmla="*/ 2141231 w 2392706"/>
                  <a:gd name="connsiteY22" fmla="*/ 518160 h 655320"/>
                  <a:gd name="connsiteX23" fmla="*/ 2110751 w 2392706"/>
                  <a:gd name="connsiteY23" fmla="*/ 533400 h 655320"/>
                  <a:gd name="connsiteX24" fmla="*/ 2087891 w 2392706"/>
                  <a:gd name="connsiteY24" fmla="*/ 548640 h 655320"/>
                  <a:gd name="connsiteX25" fmla="*/ 2034551 w 2392706"/>
                  <a:gd name="connsiteY25" fmla="*/ 563880 h 655320"/>
                  <a:gd name="connsiteX26" fmla="*/ 2011691 w 2392706"/>
                  <a:gd name="connsiteY26" fmla="*/ 579120 h 655320"/>
                  <a:gd name="connsiteX27" fmla="*/ 1882151 w 2392706"/>
                  <a:gd name="connsiteY27" fmla="*/ 609600 h 655320"/>
                  <a:gd name="connsiteX28" fmla="*/ 1805951 w 2392706"/>
                  <a:gd name="connsiteY28" fmla="*/ 624840 h 655320"/>
                  <a:gd name="connsiteX29" fmla="*/ 1386851 w 2392706"/>
                  <a:gd name="connsiteY29" fmla="*/ 647700 h 655320"/>
                  <a:gd name="connsiteX30" fmla="*/ 1272551 w 2392706"/>
                  <a:gd name="connsiteY30" fmla="*/ 655320 h 655320"/>
                  <a:gd name="connsiteX31" fmla="*/ 937271 w 2392706"/>
                  <a:gd name="connsiteY31" fmla="*/ 640080 h 655320"/>
                  <a:gd name="connsiteX32" fmla="*/ 868691 w 2392706"/>
                  <a:gd name="connsiteY32" fmla="*/ 624840 h 655320"/>
                  <a:gd name="connsiteX33" fmla="*/ 845831 w 2392706"/>
                  <a:gd name="connsiteY33" fmla="*/ 617220 h 655320"/>
                  <a:gd name="connsiteX34" fmla="*/ 510551 w 2392706"/>
                  <a:gd name="connsiteY34" fmla="*/ 594360 h 655320"/>
                  <a:gd name="connsiteX35" fmla="*/ 373391 w 2392706"/>
                  <a:gd name="connsiteY35" fmla="*/ 571500 h 655320"/>
                  <a:gd name="connsiteX36" fmla="*/ 274331 w 2392706"/>
                  <a:gd name="connsiteY36" fmla="*/ 548640 h 655320"/>
                  <a:gd name="connsiteX37" fmla="*/ 213371 w 2392706"/>
                  <a:gd name="connsiteY37" fmla="*/ 525780 h 655320"/>
                  <a:gd name="connsiteX38" fmla="*/ 190511 w 2392706"/>
                  <a:gd name="connsiteY38" fmla="*/ 518160 h 655320"/>
                  <a:gd name="connsiteX39" fmla="*/ 167651 w 2392706"/>
                  <a:gd name="connsiteY39" fmla="*/ 502920 h 655320"/>
                  <a:gd name="connsiteX40" fmla="*/ 129551 w 2392706"/>
                  <a:gd name="connsiteY40" fmla="*/ 487680 h 655320"/>
                  <a:gd name="connsiteX41" fmla="*/ 106691 w 2392706"/>
                  <a:gd name="connsiteY41" fmla="*/ 480060 h 655320"/>
                  <a:gd name="connsiteX42" fmla="*/ 68591 w 2392706"/>
                  <a:gd name="connsiteY42" fmla="*/ 457200 h 655320"/>
                  <a:gd name="connsiteX43" fmla="*/ 15251 w 2392706"/>
                  <a:gd name="connsiteY43" fmla="*/ 403860 h 655320"/>
                  <a:gd name="connsiteX44" fmla="*/ 11 w 2392706"/>
                  <a:gd name="connsiteY44" fmla="*/ 327660 h 655320"/>
                  <a:gd name="connsiteX45" fmla="*/ 7631 w 2392706"/>
                  <a:gd name="connsiteY45" fmla="*/ 259080 h 655320"/>
                  <a:gd name="connsiteX46" fmla="*/ 60971 w 2392706"/>
                  <a:gd name="connsiteY46" fmla="*/ 213360 h 655320"/>
                  <a:gd name="connsiteX47" fmla="*/ 129551 w 2392706"/>
                  <a:gd name="connsiteY47" fmla="*/ 167640 h 655320"/>
                  <a:gd name="connsiteX48" fmla="*/ 152411 w 2392706"/>
                  <a:gd name="connsiteY48" fmla="*/ 160020 h 655320"/>
                  <a:gd name="connsiteX49" fmla="*/ 182891 w 2392706"/>
                  <a:gd name="connsiteY49" fmla="*/ 144780 h 655320"/>
                  <a:gd name="connsiteX50" fmla="*/ 220991 w 2392706"/>
                  <a:gd name="connsiteY50" fmla="*/ 129540 h 655320"/>
                  <a:gd name="connsiteX51" fmla="*/ 281951 w 2392706"/>
                  <a:gd name="connsiteY51" fmla="*/ 99060 h 655320"/>
                  <a:gd name="connsiteX52" fmla="*/ 358151 w 2392706"/>
                  <a:gd name="connsiteY52" fmla="*/ 68580 h 655320"/>
                  <a:gd name="connsiteX53" fmla="*/ 441971 w 2392706"/>
                  <a:gd name="connsiteY53" fmla="*/ 60960 h 655320"/>
                  <a:gd name="connsiteX54" fmla="*/ 487691 w 2392706"/>
                  <a:gd name="connsiteY54" fmla="*/ 53340 h 655320"/>
                  <a:gd name="connsiteX55" fmla="*/ 624851 w 2392706"/>
                  <a:gd name="connsiteY55" fmla="*/ 45720 h 655320"/>
                  <a:gd name="connsiteX56" fmla="*/ 708671 w 2392706"/>
                  <a:gd name="connsiteY56" fmla="*/ 30480 h 655320"/>
                  <a:gd name="connsiteX57" fmla="*/ 746771 w 2392706"/>
                  <a:gd name="connsiteY57" fmla="*/ 22860 h 655320"/>
                  <a:gd name="connsiteX58" fmla="*/ 1028711 w 2392706"/>
                  <a:gd name="connsiteY58" fmla="*/ 30480 h 655320"/>
                  <a:gd name="connsiteX0" fmla="*/ 1033145 w 2397140"/>
                  <a:gd name="connsiteY0" fmla="*/ 30480 h 655320"/>
                  <a:gd name="connsiteX1" fmla="*/ 1078865 w 2397140"/>
                  <a:gd name="connsiteY1" fmla="*/ 15240 h 655320"/>
                  <a:gd name="connsiteX2" fmla="*/ 1223645 w 2397140"/>
                  <a:gd name="connsiteY2" fmla="*/ 0 h 655320"/>
                  <a:gd name="connsiteX3" fmla="*/ 1543685 w 2397140"/>
                  <a:gd name="connsiteY3" fmla="*/ 7620 h 655320"/>
                  <a:gd name="connsiteX4" fmla="*/ 1597025 w 2397140"/>
                  <a:gd name="connsiteY4" fmla="*/ 22860 h 655320"/>
                  <a:gd name="connsiteX5" fmla="*/ 1673225 w 2397140"/>
                  <a:gd name="connsiteY5" fmla="*/ 30480 h 655320"/>
                  <a:gd name="connsiteX6" fmla="*/ 1757045 w 2397140"/>
                  <a:gd name="connsiteY6" fmla="*/ 53340 h 655320"/>
                  <a:gd name="connsiteX7" fmla="*/ 1787525 w 2397140"/>
                  <a:gd name="connsiteY7" fmla="*/ 68580 h 655320"/>
                  <a:gd name="connsiteX8" fmla="*/ 1871345 w 2397140"/>
                  <a:gd name="connsiteY8" fmla="*/ 76200 h 655320"/>
                  <a:gd name="connsiteX9" fmla="*/ 2054225 w 2397140"/>
                  <a:gd name="connsiteY9" fmla="*/ 99060 h 655320"/>
                  <a:gd name="connsiteX10" fmla="*/ 2130425 w 2397140"/>
                  <a:gd name="connsiteY10" fmla="*/ 129540 h 655320"/>
                  <a:gd name="connsiteX11" fmla="*/ 2191385 w 2397140"/>
                  <a:gd name="connsiteY11" fmla="*/ 152400 h 655320"/>
                  <a:gd name="connsiteX12" fmla="*/ 2229485 w 2397140"/>
                  <a:gd name="connsiteY12" fmla="*/ 175260 h 655320"/>
                  <a:gd name="connsiteX13" fmla="*/ 2267585 w 2397140"/>
                  <a:gd name="connsiteY13" fmla="*/ 190500 h 655320"/>
                  <a:gd name="connsiteX14" fmla="*/ 2298065 w 2397140"/>
                  <a:gd name="connsiteY14" fmla="*/ 205740 h 655320"/>
                  <a:gd name="connsiteX15" fmla="*/ 2374265 w 2397140"/>
                  <a:gd name="connsiteY15" fmla="*/ 243840 h 655320"/>
                  <a:gd name="connsiteX16" fmla="*/ 2397125 w 2397140"/>
                  <a:gd name="connsiteY16" fmla="*/ 289560 h 655320"/>
                  <a:gd name="connsiteX17" fmla="*/ 2374265 w 2397140"/>
                  <a:gd name="connsiteY17" fmla="*/ 403860 h 655320"/>
                  <a:gd name="connsiteX18" fmla="*/ 2290445 w 2397140"/>
                  <a:gd name="connsiteY18" fmla="*/ 457200 h 655320"/>
                  <a:gd name="connsiteX19" fmla="*/ 2252345 w 2397140"/>
                  <a:gd name="connsiteY19" fmla="*/ 480060 h 655320"/>
                  <a:gd name="connsiteX20" fmla="*/ 2221865 w 2397140"/>
                  <a:gd name="connsiteY20" fmla="*/ 487680 h 655320"/>
                  <a:gd name="connsiteX21" fmla="*/ 2176145 w 2397140"/>
                  <a:gd name="connsiteY21" fmla="*/ 510540 h 655320"/>
                  <a:gd name="connsiteX22" fmla="*/ 2145665 w 2397140"/>
                  <a:gd name="connsiteY22" fmla="*/ 518160 h 655320"/>
                  <a:gd name="connsiteX23" fmla="*/ 2115185 w 2397140"/>
                  <a:gd name="connsiteY23" fmla="*/ 533400 h 655320"/>
                  <a:gd name="connsiteX24" fmla="*/ 2092325 w 2397140"/>
                  <a:gd name="connsiteY24" fmla="*/ 548640 h 655320"/>
                  <a:gd name="connsiteX25" fmla="*/ 2038985 w 2397140"/>
                  <a:gd name="connsiteY25" fmla="*/ 563880 h 655320"/>
                  <a:gd name="connsiteX26" fmla="*/ 2016125 w 2397140"/>
                  <a:gd name="connsiteY26" fmla="*/ 579120 h 655320"/>
                  <a:gd name="connsiteX27" fmla="*/ 1886585 w 2397140"/>
                  <a:gd name="connsiteY27" fmla="*/ 609600 h 655320"/>
                  <a:gd name="connsiteX28" fmla="*/ 1810385 w 2397140"/>
                  <a:gd name="connsiteY28" fmla="*/ 624840 h 655320"/>
                  <a:gd name="connsiteX29" fmla="*/ 1391285 w 2397140"/>
                  <a:gd name="connsiteY29" fmla="*/ 647700 h 655320"/>
                  <a:gd name="connsiteX30" fmla="*/ 1276985 w 2397140"/>
                  <a:gd name="connsiteY30" fmla="*/ 655320 h 655320"/>
                  <a:gd name="connsiteX31" fmla="*/ 941705 w 2397140"/>
                  <a:gd name="connsiteY31" fmla="*/ 640080 h 655320"/>
                  <a:gd name="connsiteX32" fmla="*/ 873125 w 2397140"/>
                  <a:gd name="connsiteY32" fmla="*/ 624840 h 655320"/>
                  <a:gd name="connsiteX33" fmla="*/ 850265 w 2397140"/>
                  <a:gd name="connsiteY33" fmla="*/ 617220 h 655320"/>
                  <a:gd name="connsiteX34" fmla="*/ 514985 w 2397140"/>
                  <a:gd name="connsiteY34" fmla="*/ 594360 h 655320"/>
                  <a:gd name="connsiteX35" fmla="*/ 377825 w 2397140"/>
                  <a:gd name="connsiteY35" fmla="*/ 571500 h 655320"/>
                  <a:gd name="connsiteX36" fmla="*/ 278765 w 2397140"/>
                  <a:gd name="connsiteY36" fmla="*/ 548640 h 655320"/>
                  <a:gd name="connsiteX37" fmla="*/ 217805 w 2397140"/>
                  <a:gd name="connsiteY37" fmla="*/ 525780 h 655320"/>
                  <a:gd name="connsiteX38" fmla="*/ 194945 w 2397140"/>
                  <a:gd name="connsiteY38" fmla="*/ 518160 h 655320"/>
                  <a:gd name="connsiteX39" fmla="*/ 172085 w 2397140"/>
                  <a:gd name="connsiteY39" fmla="*/ 502920 h 655320"/>
                  <a:gd name="connsiteX40" fmla="*/ 133985 w 2397140"/>
                  <a:gd name="connsiteY40" fmla="*/ 487680 h 655320"/>
                  <a:gd name="connsiteX41" fmla="*/ 111125 w 2397140"/>
                  <a:gd name="connsiteY41" fmla="*/ 480060 h 655320"/>
                  <a:gd name="connsiteX42" fmla="*/ 73025 w 2397140"/>
                  <a:gd name="connsiteY42" fmla="*/ 457200 h 655320"/>
                  <a:gd name="connsiteX43" fmla="*/ 19685 w 2397140"/>
                  <a:gd name="connsiteY43" fmla="*/ 403860 h 655320"/>
                  <a:gd name="connsiteX44" fmla="*/ 4445 w 2397140"/>
                  <a:gd name="connsiteY44" fmla="*/ 327660 h 655320"/>
                  <a:gd name="connsiteX45" fmla="*/ 12065 w 2397140"/>
                  <a:gd name="connsiteY45" fmla="*/ 259080 h 655320"/>
                  <a:gd name="connsiteX46" fmla="*/ 133985 w 2397140"/>
                  <a:gd name="connsiteY46" fmla="*/ 167640 h 655320"/>
                  <a:gd name="connsiteX47" fmla="*/ 156845 w 2397140"/>
                  <a:gd name="connsiteY47" fmla="*/ 160020 h 655320"/>
                  <a:gd name="connsiteX48" fmla="*/ 187325 w 2397140"/>
                  <a:gd name="connsiteY48" fmla="*/ 144780 h 655320"/>
                  <a:gd name="connsiteX49" fmla="*/ 225425 w 2397140"/>
                  <a:gd name="connsiteY49" fmla="*/ 129540 h 655320"/>
                  <a:gd name="connsiteX50" fmla="*/ 286385 w 2397140"/>
                  <a:gd name="connsiteY50" fmla="*/ 99060 h 655320"/>
                  <a:gd name="connsiteX51" fmla="*/ 362585 w 2397140"/>
                  <a:gd name="connsiteY51" fmla="*/ 68580 h 655320"/>
                  <a:gd name="connsiteX52" fmla="*/ 446405 w 2397140"/>
                  <a:gd name="connsiteY52" fmla="*/ 60960 h 655320"/>
                  <a:gd name="connsiteX53" fmla="*/ 492125 w 2397140"/>
                  <a:gd name="connsiteY53" fmla="*/ 53340 h 655320"/>
                  <a:gd name="connsiteX54" fmla="*/ 629285 w 2397140"/>
                  <a:gd name="connsiteY54" fmla="*/ 45720 h 655320"/>
                  <a:gd name="connsiteX55" fmla="*/ 713105 w 2397140"/>
                  <a:gd name="connsiteY55" fmla="*/ 30480 h 655320"/>
                  <a:gd name="connsiteX56" fmla="*/ 751205 w 2397140"/>
                  <a:gd name="connsiteY56" fmla="*/ 22860 h 655320"/>
                  <a:gd name="connsiteX57" fmla="*/ 1033145 w 2397140"/>
                  <a:gd name="connsiteY57" fmla="*/ 30480 h 655320"/>
                  <a:gd name="connsiteX0" fmla="*/ 1029264 w 2393259"/>
                  <a:gd name="connsiteY0" fmla="*/ 30480 h 655320"/>
                  <a:gd name="connsiteX1" fmla="*/ 1074984 w 2393259"/>
                  <a:gd name="connsiteY1" fmla="*/ 15240 h 655320"/>
                  <a:gd name="connsiteX2" fmla="*/ 1219764 w 2393259"/>
                  <a:gd name="connsiteY2" fmla="*/ 0 h 655320"/>
                  <a:gd name="connsiteX3" fmla="*/ 1539804 w 2393259"/>
                  <a:gd name="connsiteY3" fmla="*/ 7620 h 655320"/>
                  <a:gd name="connsiteX4" fmla="*/ 1593144 w 2393259"/>
                  <a:gd name="connsiteY4" fmla="*/ 22860 h 655320"/>
                  <a:gd name="connsiteX5" fmla="*/ 1669344 w 2393259"/>
                  <a:gd name="connsiteY5" fmla="*/ 30480 h 655320"/>
                  <a:gd name="connsiteX6" fmla="*/ 1753164 w 2393259"/>
                  <a:gd name="connsiteY6" fmla="*/ 53340 h 655320"/>
                  <a:gd name="connsiteX7" fmla="*/ 1783644 w 2393259"/>
                  <a:gd name="connsiteY7" fmla="*/ 68580 h 655320"/>
                  <a:gd name="connsiteX8" fmla="*/ 1867464 w 2393259"/>
                  <a:gd name="connsiteY8" fmla="*/ 76200 h 655320"/>
                  <a:gd name="connsiteX9" fmla="*/ 2050344 w 2393259"/>
                  <a:gd name="connsiteY9" fmla="*/ 99060 h 655320"/>
                  <a:gd name="connsiteX10" fmla="*/ 2126544 w 2393259"/>
                  <a:gd name="connsiteY10" fmla="*/ 129540 h 655320"/>
                  <a:gd name="connsiteX11" fmla="*/ 2187504 w 2393259"/>
                  <a:gd name="connsiteY11" fmla="*/ 152400 h 655320"/>
                  <a:gd name="connsiteX12" fmla="*/ 2225604 w 2393259"/>
                  <a:gd name="connsiteY12" fmla="*/ 175260 h 655320"/>
                  <a:gd name="connsiteX13" fmla="*/ 2263704 w 2393259"/>
                  <a:gd name="connsiteY13" fmla="*/ 190500 h 655320"/>
                  <a:gd name="connsiteX14" fmla="*/ 2294184 w 2393259"/>
                  <a:gd name="connsiteY14" fmla="*/ 205740 h 655320"/>
                  <a:gd name="connsiteX15" fmla="*/ 2370384 w 2393259"/>
                  <a:gd name="connsiteY15" fmla="*/ 243840 h 655320"/>
                  <a:gd name="connsiteX16" fmla="*/ 2393244 w 2393259"/>
                  <a:gd name="connsiteY16" fmla="*/ 289560 h 655320"/>
                  <a:gd name="connsiteX17" fmla="*/ 2370384 w 2393259"/>
                  <a:gd name="connsiteY17" fmla="*/ 403860 h 655320"/>
                  <a:gd name="connsiteX18" fmla="*/ 2286564 w 2393259"/>
                  <a:gd name="connsiteY18" fmla="*/ 457200 h 655320"/>
                  <a:gd name="connsiteX19" fmla="*/ 2248464 w 2393259"/>
                  <a:gd name="connsiteY19" fmla="*/ 480060 h 655320"/>
                  <a:gd name="connsiteX20" fmla="*/ 2217984 w 2393259"/>
                  <a:gd name="connsiteY20" fmla="*/ 487680 h 655320"/>
                  <a:gd name="connsiteX21" fmla="*/ 2172264 w 2393259"/>
                  <a:gd name="connsiteY21" fmla="*/ 510540 h 655320"/>
                  <a:gd name="connsiteX22" fmla="*/ 2141784 w 2393259"/>
                  <a:gd name="connsiteY22" fmla="*/ 518160 h 655320"/>
                  <a:gd name="connsiteX23" fmla="*/ 2111304 w 2393259"/>
                  <a:gd name="connsiteY23" fmla="*/ 533400 h 655320"/>
                  <a:gd name="connsiteX24" fmla="*/ 2088444 w 2393259"/>
                  <a:gd name="connsiteY24" fmla="*/ 548640 h 655320"/>
                  <a:gd name="connsiteX25" fmla="*/ 2035104 w 2393259"/>
                  <a:gd name="connsiteY25" fmla="*/ 563880 h 655320"/>
                  <a:gd name="connsiteX26" fmla="*/ 2012244 w 2393259"/>
                  <a:gd name="connsiteY26" fmla="*/ 579120 h 655320"/>
                  <a:gd name="connsiteX27" fmla="*/ 1882704 w 2393259"/>
                  <a:gd name="connsiteY27" fmla="*/ 609600 h 655320"/>
                  <a:gd name="connsiteX28" fmla="*/ 1806504 w 2393259"/>
                  <a:gd name="connsiteY28" fmla="*/ 624840 h 655320"/>
                  <a:gd name="connsiteX29" fmla="*/ 1387404 w 2393259"/>
                  <a:gd name="connsiteY29" fmla="*/ 647700 h 655320"/>
                  <a:gd name="connsiteX30" fmla="*/ 1273104 w 2393259"/>
                  <a:gd name="connsiteY30" fmla="*/ 655320 h 655320"/>
                  <a:gd name="connsiteX31" fmla="*/ 937824 w 2393259"/>
                  <a:gd name="connsiteY31" fmla="*/ 640080 h 655320"/>
                  <a:gd name="connsiteX32" fmla="*/ 869244 w 2393259"/>
                  <a:gd name="connsiteY32" fmla="*/ 624840 h 655320"/>
                  <a:gd name="connsiteX33" fmla="*/ 846384 w 2393259"/>
                  <a:gd name="connsiteY33" fmla="*/ 617220 h 655320"/>
                  <a:gd name="connsiteX34" fmla="*/ 511104 w 2393259"/>
                  <a:gd name="connsiteY34" fmla="*/ 594360 h 655320"/>
                  <a:gd name="connsiteX35" fmla="*/ 373944 w 2393259"/>
                  <a:gd name="connsiteY35" fmla="*/ 571500 h 655320"/>
                  <a:gd name="connsiteX36" fmla="*/ 274884 w 2393259"/>
                  <a:gd name="connsiteY36" fmla="*/ 548640 h 655320"/>
                  <a:gd name="connsiteX37" fmla="*/ 213924 w 2393259"/>
                  <a:gd name="connsiteY37" fmla="*/ 525780 h 655320"/>
                  <a:gd name="connsiteX38" fmla="*/ 191064 w 2393259"/>
                  <a:gd name="connsiteY38" fmla="*/ 518160 h 655320"/>
                  <a:gd name="connsiteX39" fmla="*/ 168204 w 2393259"/>
                  <a:gd name="connsiteY39" fmla="*/ 502920 h 655320"/>
                  <a:gd name="connsiteX40" fmla="*/ 130104 w 2393259"/>
                  <a:gd name="connsiteY40" fmla="*/ 487680 h 655320"/>
                  <a:gd name="connsiteX41" fmla="*/ 107244 w 2393259"/>
                  <a:gd name="connsiteY41" fmla="*/ 480060 h 655320"/>
                  <a:gd name="connsiteX42" fmla="*/ 69144 w 2393259"/>
                  <a:gd name="connsiteY42" fmla="*/ 457200 h 655320"/>
                  <a:gd name="connsiteX43" fmla="*/ 15804 w 2393259"/>
                  <a:gd name="connsiteY43" fmla="*/ 403860 h 655320"/>
                  <a:gd name="connsiteX44" fmla="*/ 564 w 2393259"/>
                  <a:gd name="connsiteY44" fmla="*/ 327660 h 655320"/>
                  <a:gd name="connsiteX45" fmla="*/ 36759 w 2393259"/>
                  <a:gd name="connsiteY45" fmla="*/ 259080 h 655320"/>
                  <a:gd name="connsiteX46" fmla="*/ 130104 w 2393259"/>
                  <a:gd name="connsiteY46" fmla="*/ 167640 h 655320"/>
                  <a:gd name="connsiteX47" fmla="*/ 152964 w 2393259"/>
                  <a:gd name="connsiteY47" fmla="*/ 160020 h 655320"/>
                  <a:gd name="connsiteX48" fmla="*/ 183444 w 2393259"/>
                  <a:gd name="connsiteY48" fmla="*/ 144780 h 655320"/>
                  <a:gd name="connsiteX49" fmla="*/ 221544 w 2393259"/>
                  <a:gd name="connsiteY49" fmla="*/ 129540 h 655320"/>
                  <a:gd name="connsiteX50" fmla="*/ 282504 w 2393259"/>
                  <a:gd name="connsiteY50" fmla="*/ 99060 h 655320"/>
                  <a:gd name="connsiteX51" fmla="*/ 358704 w 2393259"/>
                  <a:gd name="connsiteY51" fmla="*/ 68580 h 655320"/>
                  <a:gd name="connsiteX52" fmla="*/ 442524 w 2393259"/>
                  <a:gd name="connsiteY52" fmla="*/ 60960 h 655320"/>
                  <a:gd name="connsiteX53" fmla="*/ 488244 w 2393259"/>
                  <a:gd name="connsiteY53" fmla="*/ 53340 h 655320"/>
                  <a:gd name="connsiteX54" fmla="*/ 625404 w 2393259"/>
                  <a:gd name="connsiteY54" fmla="*/ 45720 h 655320"/>
                  <a:gd name="connsiteX55" fmla="*/ 709224 w 2393259"/>
                  <a:gd name="connsiteY55" fmla="*/ 30480 h 655320"/>
                  <a:gd name="connsiteX56" fmla="*/ 747324 w 2393259"/>
                  <a:gd name="connsiteY56" fmla="*/ 22860 h 655320"/>
                  <a:gd name="connsiteX57" fmla="*/ 1029264 w 2393259"/>
                  <a:gd name="connsiteY57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181337 w 2383532"/>
                  <a:gd name="connsiteY38" fmla="*/ 518160 h 655320"/>
                  <a:gd name="connsiteX39" fmla="*/ 158477 w 2383532"/>
                  <a:gd name="connsiteY39" fmla="*/ 502920 h 655320"/>
                  <a:gd name="connsiteX40" fmla="*/ 120377 w 2383532"/>
                  <a:gd name="connsiteY40" fmla="*/ 487680 h 655320"/>
                  <a:gd name="connsiteX41" fmla="*/ 97517 w 2383532"/>
                  <a:gd name="connsiteY41" fmla="*/ 480060 h 655320"/>
                  <a:gd name="connsiteX42" fmla="*/ 59417 w 2383532"/>
                  <a:gd name="connsiteY42" fmla="*/ 457200 h 655320"/>
                  <a:gd name="connsiteX43" fmla="*/ 6077 w 2383532"/>
                  <a:gd name="connsiteY43" fmla="*/ 403860 h 655320"/>
                  <a:gd name="connsiteX44" fmla="*/ 3537 w 2383532"/>
                  <a:gd name="connsiteY44" fmla="*/ 353060 h 655320"/>
                  <a:gd name="connsiteX45" fmla="*/ 27032 w 2383532"/>
                  <a:gd name="connsiteY45" fmla="*/ 259080 h 655320"/>
                  <a:gd name="connsiteX46" fmla="*/ 120377 w 2383532"/>
                  <a:gd name="connsiteY46" fmla="*/ 167640 h 655320"/>
                  <a:gd name="connsiteX47" fmla="*/ 143237 w 2383532"/>
                  <a:gd name="connsiteY47" fmla="*/ 160020 h 655320"/>
                  <a:gd name="connsiteX48" fmla="*/ 173717 w 2383532"/>
                  <a:gd name="connsiteY48" fmla="*/ 144780 h 655320"/>
                  <a:gd name="connsiteX49" fmla="*/ 211817 w 2383532"/>
                  <a:gd name="connsiteY49" fmla="*/ 129540 h 655320"/>
                  <a:gd name="connsiteX50" fmla="*/ 272777 w 2383532"/>
                  <a:gd name="connsiteY50" fmla="*/ 99060 h 655320"/>
                  <a:gd name="connsiteX51" fmla="*/ 348977 w 2383532"/>
                  <a:gd name="connsiteY51" fmla="*/ 68580 h 655320"/>
                  <a:gd name="connsiteX52" fmla="*/ 432797 w 2383532"/>
                  <a:gd name="connsiteY52" fmla="*/ 60960 h 655320"/>
                  <a:gd name="connsiteX53" fmla="*/ 478517 w 2383532"/>
                  <a:gd name="connsiteY53" fmla="*/ 53340 h 655320"/>
                  <a:gd name="connsiteX54" fmla="*/ 615677 w 2383532"/>
                  <a:gd name="connsiteY54" fmla="*/ 45720 h 655320"/>
                  <a:gd name="connsiteX55" fmla="*/ 699497 w 2383532"/>
                  <a:gd name="connsiteY55" fmla="*/ 30480 h 655320"/>
                  <a:gd name="connsiteX56" fmla="*/ 737597 w 2383532"/>
                  <a:gd name="connsiteY56" fmla="*/ 22860 h 655320"/>
                  <a:gd name="connsiteX57" fmla="*/ 1019537 w 2383532"/>
                  <a:gd name="connsiteY57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181337 w 2383532"/>
                  <a:gd name="connsiteY38" fmla="*/ 518160 h 655320"/>
                  <a:gd name="connsiteX39" fmla="*/ 158477 w 2383532"/>
                  <a:gd name="connsiteY39" fmla="*/ 502920 h 655320"/>
                  <a:gd name="connsiteX40" fmla="*/ 97517 w 2383532"/>
                  <a:gd name="connsiteY40" fmla="*/ 480060 h 655320"/>
                  <a:gd name="connsiteX41" fmla="*/ 59417 w 2383532"/>
                  <a:gd name="connsiteY41" fmla="*/ 457200 h 655320"/>
                  <a:gd name="connsiteX42" fmla="*/ 6077 w 2383532"/>
                  <a:gd name="connsiteY42" fmla="*/ 403860 h 655320"/>
                  <a:gd name="connsiteX43" fmla="*/ 3537 w 2383532"/>
                  <a:gd name="connsiteY43" fmla="*/ 353060 h 655320"/>
                  <a:gd name="connsiteX44" fmla="*/ 27032 w 2383532"/>
                  <a:gd name="connsiteY44" fmla="*/ 259080 h 655320"/>
                  <a:gd name="connsiteX45" fmla="*/ 120377 w 2383532"/>
                  <a:gd name="connsiteY45" fmla="*/ 167640 h 655320"/>
                  <a:gd name="connsiteX46" fmla="*/ 143237 w 2383532"/>
                  <a:gd name="connsiteY46" fmla="*/ 160020 h 655320"/>
                  <a:gd name="connsiteX47" fmla="*/ 173717 w 2383532"/>
                  <a:gd name="connsiteY47" fmla="*/ 144780 h 655320"/>
                  <a:gd name="connsiteX48" fmla="*/ 211817 w 2383532"/>
                  <a:gd name="connsiteY48" fmla="*/ 129540 h 655320"/>
                  <a:gd name="connsiteX49" fmla="*/ 272777 w 2383532"/>
                  <a:gd name="connsiteY49" fmla="*/ 99060 h 655320"/>
                  <a:gd name="connsiteX50" fmla="*/ 348977 w 2383532"/>
                  <a:gd name="connsiteY50" fmla="*/ 68580 h 655320"/>
                  <a:gd name="connsiteX51" fmla="*/ 432797 w 2383532"/>
                  <a:gd name="connsiteY51" fmla="*/ 60960 h 655320"/>
                  <a:gd name="connsiteX52" fmla="*/ 478517 w 2383532"/>
                  <a:gd name="connsiteY52" fmla="*/ 53340 h 655320"/>
                  <a:gd name="connsiteX53" fmla="*/ 615677 w 2383532"/>
                  <a:gd name="connsiteY53" fmla="*/ 45720 h 655320"/>
                  <a:gd name="connsiteX54" fmla="*/ 699497 w 2383532"/>
                  <a:gd name="connsiteY54" fmla="*/ 30480 h 655320"/>
                  <a:gd name="connsiteX55" fmla="*/ 737597 w 2383532"/>
                  <a:gd name="connsiteY55" fmla="*/ 22860 h 655320"/>
                  <a:gd name="connsiteX56" fmla="*/ 1019537 w 2383532"/>
                  <a:gd name="connsiteY56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181337 w 2383532"/>
                  <a:gd name="connsiteY38" fmla="*/ 518160 h 655320"/>
                  <a:gd name="connsiteX39" fmla="*/ 97517 w 2383532"/>
                  <a:gd name="connsiteY39" fmla="*/ 480060 h 655320"/>
                  <a:gd name="connsiteX40" fmla="*/ 59417 w 2383532"/>
                  <a:gd name="connsiteY40" fmla="*/ 457200 h 655320"/>
                  <a:gd name="connsiteX41" fmla="*/ 6077 w 2383532"/>
                  <a:gd name="connsiteY41" fmla="*/ 403860 h 655320"/>
                  <a:gd name="connsiteX42" fmla="*/ 3537 w 2383532"/>
                  <a:gd name="connsiteY42" fmla="*/ 353060 h 655320"/>
                  <a:gd name="connsiteX43" fmla="*/ 27032 w 2383532"/>
                  <a:gd name="connsiteY43" fmla="*/ 259080 h 655320"/>
                  <a:gd name="connsiteX44" fmla="*/ 120377 w 2383532"/>
                  <a:gd name="connsiteY44" fmla="*/ 167640 h 655320"/>
                  <a:gd name="connsiteX45" fmla="*/ 143237 w 2383532"/>
                  <a:gd name="connsiteY45" fmla="*/ 160020 h 655320"/>
                  <a:gd name="connsiteX46" fmla="*/ 173717 w 2383532"/>
                  <a:gd name="connsiteY46" fmla="*/ 144780 h 655320"/>
                  <a:gd name="connsiteX47" fmla="*/ 211817 w 2383532"/>
                  <a:gd name="connsiteY47" fmla="*/ 129540 h 655320"/>
                  <a:gd name="connsiteX48" fmla="*/ 272777 w 2383532"/>
                  <a:gd name="connsiteY48" fmla="*/ 99060 h 655320"/>
                  <a:gd name="connsiteX49" fmla="*/ 348977 w 2383532"/>
                  <a:gd name="connsiteY49" fmla="*/ 68580 h 655320"/>
                  <a:gd name="connsiteX50" fmla="*/ 432797 w 2383532"/>
                  <a:gd name="connsiteY50" fmla="*/ 60960 h 655320"/>
                  <a:gd name="connsiteX51" fmla="*/ 478517 w 2383532"/>
                  <a:gd name="connsiteY51" fmla="*/ 53340 h 655320"/>
                  <a:gd name="connsiteX52" fmla="*/ 615677 w 2383532"/>
                  <a:gd name="connsiteY52" fmla="*/ 45720 h 655320"/>
                  <a:gd name="connsiteX53" fmla="*/ 699497 w 2383532"/>
                  <a:gd name="connsiteY53" fmla="*/ 30480 h 655320"/>
                  <a:gd name="connsiteX54" fmla="*/ 737597 w 2383532"/>
                  <a:gd name="connsiteY54" fmla="*/ 22860 h 655320"/>
                  <a:gd name="connsiteX55" fmla="*/ 1019537 w 2383532"/>
                  <a:gd name="connsiteY55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97517 w 2383532"/>
                  <a:gd name="connsiteY38" fmla="*/ 480060 h 655320"/>
                  <a:gd name="connsiteX39" fmla="*/ 59417 w 2383532"/>
                  <a:gd name="connsiteY39" fmla="*/ 457200 h 655320"/>
                  <a:gd name="connsiteX40" fmla="*/ 6077 w 2383532"/>
                  <a:gd name="connsiteY40" fmla="*/ 403860 h 655320"/>
                  <a:gd name="connsiteX41" fmla="*/ 3537 w 2383532"/>
                  <a:gd name="connsiteY41" fmla="*/ 353060 h 655320"/>
                  <a:gd name="connsiteX42" fmla="*/ 27032 w 2383532"/>
                  <a:gd name="connsiteY42" fmla="*/ 259080 h 655320"/>
                  <a:gd name="connsiteX43" fmla="*/ 120377 w 2383532"/>
                  <a:gd name="connsiteY43" fmla="*/ 167640 h 655320"/>
                  <a:gd name="connsiteX44" fmla="*/ 143237 w 2383532"/>
                  <a:gd name="connsiteY44" fmla="*/ 160020 h 655320"/>
                  <a:gd name="connsiteX45" fmla="*/ 173717 w 2383532"/>
                  <a:gd name="connsiteY45" fmla="*/ 144780 h 655320"/>
                  <a:gd name="connsiteX46" fmla="*/ 211817 w 2383532"/>
                  <a:gd name="connsiteY46" fmla="*/ 129540 h 655320"/>
                  <a:gd name="connsiteX47" fmla="*/ 272777 w 2383532"/>
                  <a:gd name="connsiteY47" fmla="*/ 99060 h 655320"/>
                  <a:gd name="connsiteX48" fmla="*/ 348977 w 2383532"/>
                  <a:gd name="connsiteY48" fmla="*/ 68580 h 655320"/>
                  <a:gd name="connsiteX49" fmla="*/ 432797 w 2383532"/>
                  <a:gd name="connsiteY49" fmla="*/ 60960 h 655320"/>
                  <a:gd name="connsiteX50" fmla="*/ 478517 w 2383532"/>
                  <a:gd name="connsiteY50" fmla="*/ 53340 h 655320"/>
                  <a:gd name="connsiteX51" fmla="*/ 615677 w 2383532"/>
                  <a:gd name="connsiteY51" fmla="*/ 45720 h 655320"/>
                  <a:gd name="connsiteX52" fmla="*/ 699497 w 2383532"/>
                  <a:gd name="connsiteY52" fmla="*/ 30480 h 655320"/>
                  <a:gd name="connsiteX53" fmla="*/ 737597 w 2383532"/>
                  <a:gd name="connsiteY53" fmla="*/ 22860 h 655320"/>
                  <a:gd name="connsiteX54" fmla="*/ 1019537 w 2383532"/>
                  <a:gd name="connsiteY54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501377 w 2383532"/>
                  <a:gd name="connsiteY33" fmla="*/ 594360 h 655320"/>
                  <a:gd name="connsiteX34" fmla="*/ 364217 w 2383532"/>
                  <a:gd name="connsiteY34" fmla="*/ 571500 h 655320"/>
                  <a:gd name="connsiteX35" fmla="*/ 265157 w 2383532"/>
                  <a:gd name="connsiteY35" fmla="*/ 548640 h 655320"/>
                  <a:gd name="connsiteX36" fmla="*/ 204197 w 2383532"/>
                  <a:gd name="connsiteY36" fmla="*/ 525780 h 655320"/>
                  <a:gd name="connsiteX37" fmla="*/ 97517 w 2383532"/>
                  <a:gd name="connsiteY37" fmla="*/ 480060 h 655320"/>
                  <a:gd name="connsiteX38" fmla="*/ 59417 w 2383532"/>
                  <a:gd name="connsiteY38" fmla="*/ 457200 h 655320"/>
                  <a:gd name="connsiteX39" fmla="*/ 6077 w 2383532"/>
                  <a:gd name="connsiteY39" fmla="*/ 403860 h 655320"/>
                  <a:gd name="connsiteX40" fmla="*/ 3537 w 2383532"/>
                  <a:gd name="connsiteY40" fmla="*/ 353060 h 655320"/>
                  <a:gd name="connsiteX41" fmla="*/ 27032 w 2383532"/>
                  <a:gd name="connsiteY41" fmla="*/ 259080 h 655320"/>
                  <a:gd name="connsiteX42" fmla="*/ 120377 w 2383532"/>
                  <a:gd name="connsiteY42" fmla="*/ 167640 h 655320"/>
                  <a:gd name="connsiteX43" fmla="*/ 143237 w 2383532"/>
                  <a:gd name="connsiteY43" fmla="*/ 160020 h 655320"/>
                  <a:gd name="connsiteX44" fmla="*/ 173717 w 2383532"/>
                  <a:gd name="connsiteY44" fmla="*/ 144780 h 655320"/>
                  <a:gd name="connsiteX45" fmla="*/ 211817 w 2383532"/>
                  <a:gd name="connsiteY45" fmla="*/ 129540 h 655320"/>
                  <a:gd name="connsiteX46" fmla="*/ 272777 w 2383532"/>
                  <a:gd name="connsiteY46" fmla="*/ 99060 h 655320"/>
                  <a:gd name="connsiteX47" fmla="*/ 348977 w 2383532"/>
                  <a:gd name="connsiteY47" fmla="*/ 68580 h 655320"/>
                  <a:gd name="connsiteX48" fmla="*/ 432797 w 2383532"/>
                  <a:gd name="connsiteY48" fmla="*/ 60960 h 655320"/>
                  <a:gd name="connsiteX49" fmla="*/ 478517 w 2383532"/>
                  <a:gd name="connsiteY49" fmla="*/ 53340 h 655320"/>
                  <a:gd name="connsiteX50" fmla="*/ 615677 w 2383532"/>
                  <a:gd name="connsiteY50" fmla="*/ 45720 h 655320"/>
                  <a:gd name="connsiteX51" fmla="*/ 699497 w 2383532"/>
                  <a:gd name="connsiteY51" fmla="*/ 30480 h 655320"/>
                  <a:gd name="connsiteX52" fmla="*/ 737597 w 2383532"/>
                  <a:gd name="connsiteY52" fmla="*/ 22860 h 655320"/>
                  <a:gd name="connsiteX53" fmla="*/ 1019537 w 2383532"/>
                  <a:gd name="connsiteY53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501377 w 2383532"/>
                  <a:gd name="connsiteY33" fmla="*/ 594360 h 655320"/>
                  <a:gd name="connsiteX34" fmla="*/ 265157 w 2383532"/>
                  <a:gd name="connsiteY34" fmla="*/ 548640 h 655320"/>
                  <a:gd name="connsiteX35" fmla="*/ 204197 w 2383532"/>
                  <a:gd name="connsiteY35" fmla="*/ 525780 h 655320"/>
                  <a:gd name="connsiteX36" fmla="*/ 97517 w 2383532"/>
                  <a:gd name="connsiteY36" fmla="*/ 480060 h 655320"/>
                  <a:gd name="connsiteX37" fmla="*/ 59417 w 2383532"/>
                  <a:gd name="connsiteY37" fmla="*/ 457200 h 655320"/>
                  <a:gd name="connsiteX38" fmla="*/ 6077 w 2383532"/>
                  <a:gd name="connsiteY38" fmla="*/ 403860 h 655320"/>
                  <a:gd name="connsiteX39" fmla="*/ 3537 w 2383532"/>
                  <a:gd name="connsiteY39" fmla="*/ 353060 h 655320"/>
                  <a:gd name="connsiteX40" fmla="*/ 27032 w 2383532"/>
                  <a:gd name="connsiteY40" fmla="*/ 259080 h 655320"/>
                  <a:gd name="connsiteX41" fmla="*/ 120377 w 2383532"/>
                  <a:gd name="connsiteY41" fmla="*/ 167640 h 655320"/>
                  <a:gd name="connsiteX42" fmla="*/ 143237 w 2383532"/>
                  <a:gd name="connsiteY42" fmla="*/ 160020 h 655320"/>
                  <a:gd name="connsiteX43" fmla="*/ 173717 w 2383532"/>
                  <a:gd name="connsiteY43" fmla="*/ 144780 h 655320"/>
                  <a:gd name="connsiteX44" fmla="*/ 211817 w 2383532"/>
                  <a:gd name="connsiteY44" fmla="*/ 129540 h 655320"/>
                  <a:gd name="connsiteX45" fmla="*/ 272777 w 2383532"/>
                  <a:gd name="connsiteY45" fmla="*/ 99060 h 655320"/>
                  <a:gd name="connsiteX46" fmla="*/ 348977 w 2383532"/>
                  <a:gd name="connsiteY46" fmla="*/ 68580 h 655320"/>
                  <a:gd name="connsiteX47" fmla="*/ 432797 w 2383532"/>
                  <a:gd name="connsiteY47" fmla="*/ 60960 h 655320"/>
                  <a:gd name="connsiteX48" fmla="*/ 478517 w 2383532"/>
                  <a:gd name="connsiteY48" fmla="*/ 53340 h 655320"/>
                  <a:gd name="connsiteX49" fmla="*/ 615677 w 2383532"/>
                  <a:gd name="connsiteY49" fmla="*/ 45720 h 655320"/>
                  <a:gd name="connsiteX50" fmla="*/ 699497 w 2383532"/>
                  <a:gd name="connsiteY50" fmla="*/ 30480 h 655320"/>
                  <a:gd name="connsiteX51" fmla="*/ 737597 w 2383532"/>
                  <a:gd name="connsiteY51" fmla="*/ 22860 h 655320"/>
                  <a:gd name="connsiteX52" fmla="*/ 1019537 w 2383532"/>
                  <a:gd name="connsiteY52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02517 w 2383532"/>
                  <a:gd name="connsiteY25" fmla="*/ 579120 h 655320"/>
                  <a:gd name="connsiteX26" fmla="*/ 1872977 w 2383532"/>
                  <a:gd name="connsiteY26" fmla="*/ 609600 h 655320"/>
                  <a:gd name="connsiteX27" fmla="*/ 1796777 w 2383532"/>
                  <a:gd name="connsiteY27" fmla="*/ 624840 h 655320"/>
                  <a:gd name="connsiteX28" fmla="*/ 1377677 w 2383532"/>
                  <a:gd name="connsiteY28" fmla="*/ 647700 h 655320"/>
                  <a:gd name="connsiteX29" fmla="*/ 1263377 w 2383532"/>
                  <a:gd name="connsiteY29" fmla="*/ 655320 h 655320"/>
                  <a:gd name="connsiteX30" fmla="*/ 928097 w 2383532"/>
                  <a:gd name="connsiteY30" fmla="*/ 640080 h 655320"/>
                  <a:gd name="connsiteX31" fmla="*/ 859517 w 2383532"/>
                  <a:gd name="connsiteY31" fmla="*/ 624840 h 655320"/>
                  <a:gd name="connsiteX32" fmla="*/ 501377 w 2383532"/>
                  <a:gd name="connsiteY32" fmla="*/ 594360 h 655320"/>
                  <a:gd name="connsiteX33" fmla="*/ 265157 w 2383532"/>
                  <a:gd name="connsiteY33" fmla="*/ 548640 h 655320"/>
                  <a:gd name="connsiteX34" fmla="*/ 204197 w 2383532"/>
                  <a:gd name="connsiteY34" fmla="*/ 525780 h 655320"/>
                  <a:gd name="connsiteX35" fmla="*/ 97517 w 2383532"/>
                  <a:gd name="connsiteY35" fmla="*/ 480060 h 655320"/>
                  <a:gd name="connsiteX36" fmla="*/ 59417 w 2383532"/>
                  <a:gd name="connsiteY36" fmla="*/ 457200 h 655320"/>
                  <a:gd name="connsiteX37" fmla="*/ 6077 w 2383532"/>
                  <a:gd name="connsiteY37" fmla="*/ 403860 h 655320"/>
                  <a:gd name="connsiteX38" fmla="*/ 3537 w 2383532"/>
                  <a:gd name="connsiteY38" fmla="*/ 353060 h 655320"/>
                  <a:gd name="connsiteX39" fmla="*/ 27032 w 2383532"/>
                  <a:gd name="connsiteY39" fmla="*/ 259080 h 655320"/>
                  <a:gd name="connsiteX40" fmla="*/ 120377 w 2383532"/>
                  <a:gd name="connsiteY40" fmla="*/ 167640 h 655320"/>
                  <a:gd name="connsiteX41" fmla="*/ 143237 w 2383532"/>
                  <a:gd name="connsiteY41" fmla="*/ 160020 h 655320"/>
                  <a:gd name="connsiteX42" fmla="*/ 173717 w 2383532"/>
                  <a:gd name="connsiteY42" fmla="*/ 144780 h 655320"/>
                  <a:gd name="connsiteX43" fmla="*/ 211817 w 2383532"/>
                  <a:gd name="connsiteY43" fmla="*/ 129540 h 655320"/>
                  <a:gd name="connsiteX44" fmla="*/ 272777 w 2383532"/>
                  <a:gd name="connsiteY44" fmla="*/ 99060 h 655320"/>
                  <a:gd name="connsiteX45" fmla="*/ 348977 w 2383532"/>
                  <a:gd name="connsiteY45" fmla="*/ 68580 h 655320"/>
                  <a:gd name="connsiteX46" fmla="*/ 432797 w 2383532"/>
                  <a:gd name="connsiteY46" fmla="*/ 60960 h 655320"/>
                  <a:gd name="connsiteX47" fmla="*/ 478517 w 2383532"/>
                  <a:gd name="connsiteY47" fmla="*/ 53340 h 655320"/>
                  <a:gd name="connsiteX48" fmla="*/ 615677 w 2383532"/>
                  <a:gd name="connsiteY48" fmla="*/ 45720 h 655320"/>
                  <a:gd name="connsiteX49" fmla="*/ 699497 w 2383532"/>
                  <a:gd name="connsiteY49" fmla="*/ 30480 h 655320"/>
                  <a:gd name="connsiteX50" fmla="*/ 737597 w 2383532"/>
                  <a:gd name="connsiteY50" fmla="*/ 22860 h 655320"/>
                  <a:gd name="connsiteX51" fmla="*/ 1019537 w 2383532"/>
                  <a:gd name="connsiteY51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078717 w 2383532"/>
                  <a:gd name="connsiteY23" fmla="*/ 548640 h 655320"/>
                  <a:gd name="connsiteX24" fmla="*/ 2002517 w 2383532"/>
                  <a:gd name="connsiteY24" fmla="*/ 579120 h 655320"/>
                  <a:gd name="connsiteX25" fmla="*/ 1872977 w 2383532"/>
                  <a:gd name="connsiteY25" fmla="*/ 609600 h 655320"/>
                  <a:gd name="connsiteX26" fmla="*/ 1796777 w 2383532"/>
                  <a:gd name="connsiteY26" fmla="*/ 624840 h 655320"/>
                  <a:gd name="connsiteX27" fmla="*/ 1377677 w 2383532"/>
                  <a:gd name="connsiteY27" fmla="*/ 647700 h 655320"/>
                  <a:gd name="connsiteX28" fmla="*/ 1263377 w 2383532"/>
                  <a:gd name="connsiteY28" fmla="*/ 655320 h 655320"/>
                  <a:gd name="connsiteX29" fmla="*/ 928097 w 2383532"/>
                  <a:gd name="connsiteY29" fmla="*/ 640080 h 655320"/>
                  <a:gd name="connsiteX30" fmla="*/ 859517 w 2383532"/>
                  <a:gd name="connsiteY30" fmla="*/ 624840 h 655320"/>
                  <a:gd name="connsiteX31" fmla="*/ 501377 w 2383532"/>
                  <a:gd name="connsiteY31" fmla="*/ 594360 h 655320"/>
                  <a:gd name="connsiteX32" fmla="*/ 265157 w 2383532"/>
                  <a:gd name="connsiteY32" fmla="*/ 548640 h 655320"/>
                  <a:gd name="connsiteX33" fmla="*/ 204197 w 2383532"/>
                  <a:gd name="connsiteY33" fmla="*/ 525780 h 655320"/>
                  <a:gd name="connsiteX34" fmla="*/ 97517 w 2383532"/>
                  <a:gd name="connsiteY34" fmla="*/ 480060 h 655320"/>
                  <a:gd name="connsiteX35" fmla="*/ 59417 w 2383532"/>
                  <a:gd name="connsiteY35" fmla="*/ 457200 h 655320"/>
                  <a:gd name="connsiteX36" fmla="*/ 6077 w 2383532"/>
                  <a:gd name="connsiteY36" fmla="*/ 403860 h 655320"/>
                  <a:gd name="connsiteX37" fmla="*/ 3537 w 2383532"/>
                  <a:gd name="connsiteY37" fmla="*/ 353060 h 655320"/>
                  <a:gd name="connsiteX38" fmla="*/ 27032 w 2383532"/>
                  <a:gd name="connsiteY38" fmla="*/ 259080 h 655320"/>
                  <a:gd name="connsiteX39" fmla="*/ 120377 w 2383532"/>
                  <a:gd name="connsiteY39" fmla="*/ 167640 h 655320"/>
                  <a:gd name="connsiteX40" fmla="*/ 143237 w 2383532"/>
                  <a:gd name="connsiteY40" fmla="*/ 160020 h 655320"/>
                  <a:gd name="connsiteX41" fmla="*/ 173717 w 2383532"/>
                  <a:gd name="connsiteY41" fmla="*/ 144780 h 655320"/>
                  <a:gd name="connsiteX42" fmla="*/ 211817 w 2383532"/>
                  <a:gd name="connsiteY42" fmla="*/ 129540 h 655320"/>
                  <a:gd name="connsiteX43" fmla="*/ 272777 w 2383532"/>
                  <a:gd name="connsiteY43" fmla="*/ 99060 h 655320"/>
                  <a:gd name="connsiteX44" fmla="*/ 348977 w 2383532"/>
                  <a:gd name="connsiteY44" fmla="*/ 68580 h 655320"/>
                  <a:gd name="connsiteX45" fmla="*/ 432797 w 2383532"/>
                  <a:gd name="connsiteY45" fmla="*/ 60960 h 655320"/>
                  <a:gd name="connsiteX46" fmla="*/ 478517 w 2383532"/>
                  <a:gd name="connsiteY46" fmla="*/ 53340 h 655320"/>
                  <a:gd name="connsiteX47" fmla="*/ 615677 w 2383532"/>
                  <a:gd name="connsiteY47" fmla="*/ 45720 h 655320"/>
                  <a:gd name="connsiteX48" fmla="*/ 699497 w 2383532"/>
                  <a:gd name="connsiteY48" fmla="*/ 30480 h 655320"/>
                  <a:gd name="connsiteX49" fmla="*/ 737597 w 2383532"/>
                  <a:gd name="connsiteY49" fmla="*/ 22860 h 655320"/>
                  <a:gd name="connsiteX50" fmla="*/ 1019537 w 2383532"/>
                  <a:gd name="connsiteY5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078717 w 2383532"/>
                  <a:gd name="connsiteY22" fmla="*/ 548640 h 655320"/>
                  <a:gd name="connsiteX23" fmla="*/ 2002517 w 2383532"/>
                  <a:gd name="connsiteY23" fmla="*/ 579120 h 655320"/>
                  <a:gd name="connsiteX24" fmla="*/ 1872977 w 2383532"/>
                  <a:gd name="connsiteY24" fmla="*/ 609600 h 655320"/>
                  <a:gd name="connsiteX25" fmla="*/ 1796777 w 2383532"/>
                  <a:gd name="connsiteY25" fmla="*/ 624840 h 655320"/>
                  <a:gd name="connsiteX26" fmla="*/ 1377677 w 2383532"/>
                  <a:gd name="connsiteY26" fmla="*/ 647700 h 655320"/>
                  <a:gd name="connsiteX27" fmla="*/ 1263377 w 2383532"/>
                  <a:gd name="connsiteY27" fmla="*/ 655320 h 655320"/>
                  <a:gd name="connsiteX28" fmla="*/ 928097 w 2383532"/>
                  <a:gd name="connsiteY28" fmla="*/ 640080 h 655320"/>
                  <a:gd name="connsiteX29" fmla="*/ 859517 w 2383532"/>
                  <a:gd name="connsiteY29" fmla="*/ 624840 h 655320"/>
                  <a:gd name="connsiteX30" fmla="*/ 501377 w 2383532"/>
                  <a:gd name="connsiteY30" fmla="*/ 594360 h 655320"/>
                  <a:gd name="connsiteX31" fmla="*/ 265157 w 2383532"/>
                  <a:gd name="connsiteY31" fmla="*/ 548640 h 655320"/>
                  <a:gd name="connsiteX32" fmla="*/ 204197 w 2383532"/>
                  <a:gd name="connsiteY32" fmla="*/ 525780 h 655320"/>
                  <a:gd name="connsiteX33" fmla="*/ 97517 w 2383532"/>
                  <a:gd name="connsiteY33" fmla="*/ 480060 h 655320"/>
                  <a:gd name="connsiteX34" fmla="*/ 59417 w 2383532"/>
                  <a:gd name="connsiteY34" fmla="*/ 457200 h 655320"/>
                  <a:gd name="connsiteX35" fmla="*/ 6077 w 2383532"/>
                  <a:gd name="connsiteY35" fmla="*/ 403860 h 655320"/>
                  <a:gd name="connsiteX36" fmla="*/ 3537 w 2383532"/>
                  <a:gd name="connsiteY36" fmla="*/ 353060 h 655320"/>
                  <a:gd name="connsiteX37" fmla="*/ 27032 w 2383532"/>
                  <a:gd name="connsiteY37" fmla="*/ 259080 h 655320"/>
                  <a:gd name="connsiteX38" fmla="*/ 120377 w 2383532"/>
                  <a:gd name="connsiteY38" fmla="*/ 167640 h 655320"/>
                  <a:gd name="connsiteX39" fmla="*/ 143237 w 2383532"/>
                  <a:gd name="connsiteY39" fmla="*/ 160020 h 655320"/>
                  <a:gd name="connsiteX40" fmla="*/ 173717 w 2383532"/>
                  <a:gd name="connsiteY40" fmla="*/ 144780 h 655320"/>
                  <a:gd name="connsiteX41" fmla="*/ 211817 w 2383532"/>
                  <a:gd name="connsiteY41" fmla="*/ 129540 h 655320"/>
                  <a:gd name="connsiteX42" fmla="*/ 272777 w 2383532"/>
                  <a:gd name="connsiteY42" fmla="*/ 99060 h 655320"/>
                  <a:gd name="connsiteX43" fmla="*/ 348977 w 2383532"/>
                  <a:gd name="connsiteY43" fmla="*/ 68580 h 655320"/>
                  <a:gd name="connsiteX44" fmla="*/ 432797 w 2383532"/>
                  <a:gd name="connsiteY44" fmla="*/ 60960 h 655320"/>
                  <a:gd name="connsiteX45" fmla="*/ 478517 w 2383532"/>
                  <a:gd name="connsiteY45" fmla="*/ 53340 h 655320"/>
                  <a:gd name="connsiteX46" fmla="*/ 615677 w 2383532"/>
                  <a:gd name="connsiteY46" fmla="*/ 45720 h 655320"/>
                  <a:gd name="connsiteX47" fmla="*/ 699497 w 2383532"/>
                  <a:gd name="connsiteY47" fmla="*/ 30480 h 655320"/>
                  <a:gd name="connsiteX48" fmla="*/ 737597 w 2383532"/>
                  <a:gd name="connsiteY48" fmla="*/ 22860 h 655320"/>
                  <a:gd name="connsiteX49" fmla="*/ 1019537 w 2383532"/>
                  <a:gd name="connsiteY4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162537 w 2383532"/>
                  <a:gd name="connsiteY20" fmla="*/ 510540 h 655320"/>
                  <a:gd name="connsiteX21" fmla="*/ 2078717 w 2383532"/>
                  <a:gd name="connsiteY21" fmla="*/ 548640 h 655320"/>
                  <a:gd name="connsiteX22" fmla="*/ 2002517 w 2383532"/>
                  <a:gd name="connsiteY22" fmla="*/ 579120 h 655320"/>
                  <a:gd name="connsiteX23" fmla="*/ 1872977 w 2383532"/>
                  <a:gd name="connsiteY23" fmla="*/ 609600 h 655320"/>
                  <a:gd name="connsiteX24" fmla="*/ 1796777 w 2383532"/>
                  <a:gd name="connsiteY24" fmla="*/ 624840 h 655320"/>
                  <a:gd name="connsiteX25" fmla="*/ 1377677 w 2383532"/>
                  <a:gd name="connsiteY25" fmla="*/ 647700 h 655320"/>
                  <a:gd name="connsiteX26" fmla="*/ 1263377 w 2383532"/>
                  <a:gd name="connsiteY26" fmla="*/ 655320 h 655320"/>
                  <a:gd name="connsiteX27" fmla="*/ 928097 w 2383532"/>
                  <a:gd name="connsiteY27" fmla="*/ 640080 h 655320"/>
                  <a:gd name="connsiteX28" fmla="*/ 859517 w 2383532"/>
                  <a:gd name="connsiteY28" fmla="*/ 624840 h 655320"/>
                  <a:gd name="connsiteX29" fmla="*/ 501377 w 2383532"/>
                  <a:gd name="connsiteY29" fmla="*/ 594360 h 655320"/>
                  <a:gd name="connsiteX30" fmla="*/ 265157 w 2383532"/>
                  <a:gd name="connsiteY30" fmla="*/ 548640 h 655320"/>
                  <a:gd name="connsiteX31" fmla="*/ 204197 w 2383532"/>
                  <a:gd name="connsiteY31" fmla="*/ 525780 h 655320"/>
                  <a:gd name="connsiteX32" fmla="*/ 97517 w 2383532"/>
                  <a:gd name="connsiteY32" fmla="*/ 480060 h 655320"/>
                  <a:gd name="connsiteX33" fmla="*/ 59417 w 2383532"/>
                  <a:gd name="connsiteY33" fmla="*/ 457200 h 655320"/>
                  <a:gd name="connsiteX34" fmla="*/ 6077 w 2383532"/>
                  <a:gd name="connsiteY34" fmla="*/ 403860 h 655320"/>
                  <a:gd name="connsiteX35" fmla="*/ 3537 w 2383532"/>
                  <a:gd name="connsiteY35" fmla="*/ 353060 h 655320"/>
                  <a:gd name="connsiteX36" fmla="*/ 27032 w 2383532"/>
                  <a:gd name="connsiteY36" fmla="*/ 259080 h 655320"/>
                  <a:gd name="connsiteX37" fmla="*/ 120377 w 2383532"/>
                  <a:gd name="connsiteY37" fmla="*/ 167640 h 655320"/>
                  <a:gd name="connsiteX38" fmla="*/ 143237 w 2383532"/>
                  <a:gd name="connsiteY38" fmla="*/ 160020 h 655320"/>
                  <a:gd name="connsiteX39" fmla="*/ 173717 w 2383532"/>
                  <a:gd name="connsiteY39" fmla="*/ 144780 h 655320"/>
                  <a:gd name="connsiteX40" fmla="*/ 211817 w 2383532"/>
                  <a:gd name="connsiteY40" fmla="*/ 129540 h 655320"/>
                  <a:gd name="connsiteX41" fmla="*/ 272777 w 2383532"/>
                  <a:gd name="connsiteY41" fmla="*/ 99060 h 655320"/>
                  <a:gd name="connsiteX42" fmla="*/ 348977 w 2383532"/>
                  <a:gd name="connsiteY42" fmla="*/ 68580 h 655320"/>
                  <a:gd name="connsiteX43" fmla="*/ 432797 w 2383532"/>
                  <a:gd name="connsiteY43" fmla="*/ 60960 h 655320"/>
                  <a:gd name="connsiteX44" fmla="*/ 478517 w 2383532"/>
                  <a:gd name="connsiteY44" fmla="*/ 53340 h 655320"/>
                  <a:gd name="connsiteX45" fmla="*/ 615677 w 2383532"/>
                  <a:gd name="connsiteY45" fmla="*/ 45720 h 655320"/>
                  <a:gd name="connsiteX46" fmla="*/ 699497 w 2383532"/>
                  <a:gd name="connsiteY46" fmla="*/ 30480 h 655320"/>
                  <a:gd name="connsiteX47" fmla="*/ 737597 w 2383532"/>
                  <a:gd name="connsiteY47" fmla="*/ 22860 h 655320"/>
                  <a:gd name="connsiteX48" fmla="*/ 1019537 w 2383532"/>
                  <a:gd name="connsiteY48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360657 w 2383532"/>
                  <a:gd name="connsiteY14" fmla="*/ 243840 h 655320"/>
                  <a:gd name="connsiteX15" fmla="*/ 2383517 w 2383532"/>
                  <a:gd name="connsiteY15" fmla="*/ 289560 h 655320"/>
                  <a:gd name="connsiteX16" fmla="*/ 2360657 w 2383532"/>
                  <a:gd name="connsiteY16" fmla="*/ 403860 h 655320"/>
                  <a:gd name="connsiteX17" fmla="*/ 2276837 w 2383532"/>
                  <a:gd name="connsiteY17" fmla="*/ 457200 h 655320"/>
                  <a:gd name="connsiteX18" fmla="*/ 2238737 w 2383532"/>
                  <a:gd name="connsiteY18" fmla="*/ 480060 h 655320"/>
                  <a:gd name="connsiteX19" fmla="*/ 2162537 w 2383532"/>
                  <a:gd name="connsiteY19" fmla="*/ 510540 h 655320"/>
                  <a:gd name="connsiteX20" fmla="*/ 2078717 w 2383532"/>
                  <a:gd name="connsiteY20" fmla="*/ 548640 h 655320"/>
                  <a:gd name="connsiteX21" fmla="*/ 2002517 w 2383532"/>
                  <a:gd name="connsiteY21" fmla="*/ 579120 h 655320"/>
                  <a:gd name="connsiteX22" fmla="*/ 1872977 w 2383532"/>
                  <a:gd name="connsiteY22" fmla="*/ 609600 h 655320"/>
                  <a:gd name="connsiteX23" fmla="*/ 1796777 w 2383532"/>
                  <a:gd name="connsiteY23" fmla="*/ 624840 h 655320"/>
                  <a:gd name="connsiteX24" fmla="*/ 1377677 w 2383532"/>
                  <a:gd name="connsiteY24" fmla="*/ 647700 h 655320"/>
                  <a:gd name="connsiteX25" fmla="*/ 1263377 w 2383532"/>
                  <a:gd name="connsiteY25" fmla="*/ 655320 h 655320"/>
                  <a:gd name="connsiteX26" fmla="*/ 928097 w 2383532"/>
                  <a:gd name="connsiteY26" fmla="*/ 640080 h 655320"/>
                  <a:gd name="connsiteX27" fmla="*/ 859517 w 2383532"/>
                  <a:gd name="connsiteY27" fmla="*/ 624840 h 655320"/>
                  <a:gd name="connsiteX28" fmla="*/ 501377 w 2383532"/>
                  <a:gd name="connsiteY28" fmla="*/ 594360 h 655320"/>
                  <a:gd name="connsiteX29" fmla="*/ 265157 w 2383532"/>
                  <a:gd name="connsiteY29" fmla="*/ 548640 h 655320"/>
                  <a:gd name="connsiteX30" fmla="*/ 204197 w 2383532"/>
                  <a:gd name="connsiteY30" fmla="*/ 525780 h 655320"/>
                  <a:gd name="connsiteX31" fmla="*/ 97517 w 2383532"/>
                  <a:gd name="connsiteY31" fmla="*/ 480060 h 655320"/>
                  <a:gd name="connsiteX32" fmla="*/ 59417 w 2383532"/>
                  <a:gd name="connsiteY32" fmla="*/ 457200 h 655320"/>
                  <a:gd name="connsiteX33" fmla="*/ 6077 w 2383532"/>
                  <a:gd name="connsiteY33" fmla="*/ 403860 h 655320"/>
                  <a:gd name="connsiteX34" fmla="*/ 3537 w 2383532"/>
                  <a:gd name="connsiteY34" fmla="*/ 353060 h 655320"/>
                  <a:gd name="connsiteX35" fmla="*/ 27032 w 2383532"/>
                  <a:gd name="connsiteY35" fmla="*/ 259080 h 655320"/>
                  <a:gd name="connsiteX36" fmla="*/ 120377 w 2383532"/>
                  <a:gd name="connsiteY36" fmla="*/ 167640 h 655320"/>
                  <a:gd name="connsiteX37" fmla="*/ 143237 w 2383532"/>
                  <a:gd name="connsiteY37" fmla="*/ 160020 h 655320"/>
                  <a:gd name="connsiteX38" fmla="*/ 173717 w 2383532"/>
                  <a:gd name="connsiteY38" fmla="*/ 144780 h 655320"/>
                  <a:gd name="connsiteX39" fmla="*/ 211817 w 2383532"/>
                  <a:gd name="connsiteY39" fmla="*/ 129540 h 655320"/>
                  <a:gd name="connsiteX40" fmla="*/ 272777 w 2383532"/>
                  <a:gd name="connsiteY40" fmla="*/ 99060 h 655320"/>
                  <a:gd name="connsiteX41" fmla="*/ 348977 w 2383532"/>
                  <a:gd name="connsiteY41" fmla="*/ 68580 h 655320"/>
                  <a:gd name="connsiteX42" fmla="*/ 432797 w 2383532"/>
                  <a:gd name="connsiteY42" fmla="*/ 60960 h 655320"/>
                  <a:gd name="connsiteX43" fmla="*/ 478517 w 2383532"/>
                  <a:gd name="connsiteY43" fmla="*/ 53340 h 655320"/>
                  <a:gd name="connsiteX44" fmla="*/ 615677 w 2383532"/>
                  <a:gd name="connsiteY44" fmla="*/ 45720 h 655320"/>
                  <a:gd name="connsiteX45" fmla="*/ 699497 w 2383532"/>
                  <a:gd name="connsiteY45" fmla="*/ 30480 h 655320"/>
                  <a:gd name="connsiteX46" fmla="*/ 737597 w 2383532"/>
                  <a:gd name="connsiteY46" fmla="*/ 22860 h 655320"/>
                  <a:gd name="connsiteX47" fmla="*/ 1019537 w 2383532"/>
                  <a:gd name="connsiteY47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53977 w 2383532"/>
                  <a:gd name="connsiteY12" fmla="*/ 190500 h 655320"/>
                  <a:gd name="connsiteX13" fmla="*/ 2360657 w 2383532"/>
                  <a:gd name="connsiteY13" fmla="*/ 243840 h 655320"/>
                  <a:gd name="connsiteX14" fmla="*/ 2383517 w 2383532"/>
                  <a:gd name="connsiteY14" fmla="*/ 289560 h 655320"/>
                  <a:gd name="connsiteX15" fmla="*/ 2360657 w 2383532"/>
                  <a:gd name="connsiteY15" fmla="*/ 403860 h 655320"/>
                  <a:gd name="connsiteX16" fmla="*/ 2276837 w 2383532"/>
                  <a:gd name="connsiteY16" fmla="*/ 457200 h 655320"/>
                  <a:gd name="connsiteX17" fmla="*/ 2238737 w 2383532"/>
                  <a:gd name="connsiteY17" fmla="*/ 480060 h 655320"/>
                  <a:gd name="connsiteX18" fmla="*/ 2162537 w 2383532"/>
                  <a:gd name="connsiteY18" fmla="*/ 510540 h 655320"/>
                  <a:gd name="connsiteX19" fmla="*/ 2078717 w 2383532"/>
                  <a:gd name="connsiteY19" fmla="*/ 548640 h 655320"/>
                  <a:gd name="connsiteX20" fmla="*/ 2002517 w 2383532"/>
                  <a:gd name="connsiteY20" fmla="*/ 579120 h 655320"/>
                  <a:gd name="connsiteX21" fmla="*/ 1872977 w 2383532"/>
                  <a:gd name="connsiteY21" fmla="*/ 609600 h 655320"/>
                  <a:gd name="connsiteX22" fmla="*/ 1796777 w 2383532"/>
                  <a:gd name="connsiteY22" fmla="*/ 624840 h 655320"/>
                  <a:gd name="connsiteX23" fmla="*/ 1377677 w 2383532"/>
                  <a:gd name="connsiteY23" fmla="*/ 647700 h 655320"/>
                  <a:gd name="connsiteX24" fmla="*/ 1263377 w 2383532"/>
                  <a:gd name="connsiteY24" fmla="*/ 655320 h 655320"/>
                  <a:gd name="connsiteX25" fmla="*/ 928097 w 2383532"/>
                  <a:gd name="connsiteY25" fmla="*/ 640080 h 655320"/>
                  <a:gd name="connsiteX26" fmla="*/ 859517 w 2383532"/>
                  <a:gd name="connsiteY26" fmla="*/ 624840 h 655320"/>
                  <a:gd name="connsiteX27" fmla="*/ 501377 w 2383532"/>
                  <a:gd name="connsiteY27" fmla="*/ 594360 h 655320"/>
                  <a:gd name="connsiteX28" fmla="*/ 265157 w 2383532"/>
                  <a:gd name="connsiteY28" fmla="*/ 548640 h 655320"/>
                  <a:gd name="connsiteX29" fmla="*/ 204197 w 2383532"/>
                  <a:gd name="connsiteY29" fmla="*/ 525780 h 655320"/>
                  <a:gd name="connsiteX30" fmla="*/ 97517 w 2383532"/>
                  <a:gd name="connsiteY30" fmla="*/ 480060 h 655320"/>
                  <a:gd name="connsiteX31" fmla="*/ 59417 w 2383532"/>
                  <a:gd name="connsiteY31" fmla="*/ 457200 h 655320"/>
                  <a:gd name="connsiteX32" fmla="*/ 6077 w 2383532"/>
                  <a:gd name="connsiteY32" fmla="*/ 403860 h 655320"/>
                  <a:gd name="connsiteX33" fmla="*/ 3537 w 2383532"/>
                  <a:gd name="connsiteY33" fmla="*/ 353060 h 655320"/>
                  <a:gd name="connsiteX34" fmla="*/ 27032 w 2383532"/>
                  <a:gd name="connsiteY34" fmla="*/ 259080 h 655320"/>
                  <a:gd name="connsiteX35" fmla="*/ 120377 w 2383532"/>
                  <a:gd name="connsiteY35" fmla="*/ 167640 h 655320"/>
                  <a:gd name="connsiteX36" fmla="*/ 143237 w 2383532"/>
                  <a:gd name="connsiteY36" fmla="*/ 160020 h 655320"/>
                  <a:gd name="connsiteX37" fmla="*/ 173717 w 2383532"/>
                  <a:gd name="connsiteY37" fmla="*/ 144780 h 655320"/>
                  <a:gd name="connsiteX38" fmla="*/ 211817 w 2383532"/>
                  <a:gd name="connsiteY38" fmla="*/ 129540 h 655320"/>
                  <a:gd name="connsiteX39" fmla="*/ 272777 w 2383532"/>
                  <a:gd name="connsiteY39" fmla="*/ 99060 h 655320"/>
                  <a:gd name="connsiteX40" fmla="*/ 348977 w 2383532"/>
                  <a:gd name="connsiteY40" fmla="*/ 68580 h 655320"/>
                  <a:gd name="connsiteX41" fmla="*/ 432797 w 2383532"/>
                  <a:gd name="connsiteY41" fmla="*/ 60960 h 655320"/>
                  <a:gd name="connsiteX42" fmla="*/ 478517 w 2383532"/>
                  <a:gd name="connsiteY42" fmla="*/ 53340 h 655320"/>
                  <a:gd name="connsiteX43" fmla="*/ 615677 w 2383532"/>
                  <a:gd name="connsiteY43" fmla="*/ 45720 h 655320"/>
                  <a:gd name="connsiteX44" fmla="*/ 699497 w 2383532"/>
                  <a:gd name="connsiteY44" fmla="*/ 30480 h 655320"/>
                  <a:gd name="connsiteX45" fmla="*/ 737597 w 2383532"/>
                  <a:gd name="connsiteY45" fmla="*/ 22860 h 655320"/>
                  <a:gd name="connsiteX46" fmla="*/ 1019537 w 2383532"/>
                  <a:gd name="connsiteY46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857737 w 2383532"/>
                  <a:gd name="connsiteY7" fmla="*/ 76200 h 655320"/>
                  <a:gd name="connsiteX8" fmla="*/ 2040617 w 2383532"/>
                  <a:gd name="connsiteY8" fmla="*/ 99060 h 655320"/>
                  <a:gd name="connsiteX9" fmla="*/ 2116817 w 2383532"/>
                  <a:gd name="connsiteY9" fmla="*/ 129540 h 655320"/>
                  <a:gd name="connsiteX10" fmla="*/ 2177777 w 2383532"/>
                  <a:gd name="connsiteY10" fmla="*/ 152400 h 655320"/>
                  <a:gd name="connsiteX11" fmla="*/ 2253977 w 2383532"/>
                  <a:gd name="connsiteY11" fmla="*/ 190500 h 655320"/>
                  <a:gd name="connsiteX12" fmla="*/ 2360657 w 2383532"/>
                  <a:gd name="connsiteY12" fmla="*/ 243840 h 655320"/>
                  <a:gd name="connsiteX13" fmla="*/ 2383517 w 2383532"/>
                  <a:gd name="connsiteY13" fmla="*/ 289560 h 655320"/>
                  <a:gd name="connsiteX14" fmla="*/ 2360657 w 2383532"/>
                  <a:gd name="connsiteY14" fmla="*/ 403860 h 655320"/>
                  <a:gd name="connsiteX15" fmla="*/ 2276837 w 2383532"/>
                  <a:gd name="connsiteY15" fmla="*/ 457200 h 655320"/>
                  <a:gd name="connsiteX16" fmla="*/ 2238737 w 2383532"/>
                  <a:gd name="connsiteY16" fmla="*/ 480060 h 655320"/>
                  <a:gd name="connsiteX17" fmla="*/ 2162537 w 2383532"/>
                  <a:gd name="connsiteY17" fmla="*/ 510540 h 655320"/>
                  <a:gd name="connsiteX18" fmla="*/ 2078717 w 2383532"/>
                  <a:gd name="connsiteY18" fmla="*/ 548640 h 655320"/>
                  <a:gd name="connsiteX19" fmla="*/ 2002517 w 2383532"/>
                  <a:gd name="connsiteY19" fmla="*/ 579120 h 655320"/>
                  <a:gd name="connsiteX20" fmla="*/ 1872977 w 2383532"/>
                  <a:gd name="connsiteY20" fmla="*/ 609600 h 655320"/>
                  <a:gd name="connsiteX21" fmla="*/ 1796777 w 2383532"/>
                  <a:gd name="connsiteY21" fmla="*/ 624840 h 655320"/>
                  <a:gd name="connsiteX22" fmla="*/ 1377677 w 2383532"/>
                  <a:gd name="connsiteY22" fmla="*/ 647700 h 655320"/>
                  <a:gd name="connsiteX23" fmla="*/ 1263377 w 2383532"/>
                  <a:gd name="connsiteY23" fmla="*/ 655320 h 655320"/>
                  <a:gd name="connsiteX24" fmla="*/ 928097 w 2383532"/>
                  <a:gd name="connsiteY24" fmla="*/ 640080 h 655320"/>
                  <a:gd name="connsiteX25" fmla="*/ 859517 w 2383532"/>
                  <a:gd name="connsiteY25" fmla="*/ 624840 h 655320"/>
                  <a:gd name="connsiteX26" fmla="*/ 501377 w 2383532"/>
                  <a:gd name="connsiteY26" fmla="*/ 594360 h 655320"/>
                  <a:gd name="connsiteX27" fmla="*/ 265157 w 2383532"/>
                  <a:gd name="connsiteY27" fmla="*/ 548640 h 655320"/>
                  <a:gd name="connsiteX28" fmla="*/ 204197 w 2383532"/>
                  <a:gd name="connsiteY28" fmla="*/ 525780 h 655320"/>
                  <a:gd name="connsiteX29" fmla="*/ 97517 w 2383532"/>
                  <a:gd name="connsiteY29" fmla="*/ 480060 h 655320"/>
                  <a:gd name="connsiteX30" fmla="*/ 59417 w 2383532"/>
                  <a:gd name="connsiteY30" fmla="*/ 457200 h 655320"/>
                  <a:gd name="connsiteX31" fmla="*/ 6077 w 2383532"/>
                  <a:gd name="connsiteY31" fmla="*/ 403860 h 655320"/>
                  <a:gd name="connsiteX32" fmla="*/ 3537 w 2383532"/>
                  <a:gd name="connsiteY32" fmla="*/ 353060 h 655320"/>
                  <a:gd name="connsiteX33" fmla="*/ 27032 w 2383532"/>
                  <a:gd name="connsiteY33" fmla="*/ 259080 h 655320"/>
                  <a:gd name="connsiteX34" fmla="*/ 120377 w 2383532"/>
                  <a:gd name="connsiteY34" fmla="*/ 167640 h 655320"/>
                  <a:gd name="connsiteX35" fmla="*/ 143237 w 2383532"/>
                  <a:gd name="connsiteY35" fmla="*/ 160020 h 655320"/>
                  <a:gd name="connsiteX36" fmla="*/ 173717 w 2383532"/>
                  <a:gd name="connsiteY36" fmla="*/ 144780 h 655320"/>
                  <a:gd name="connsiteX37" fmla="*/ 211817 w 2383532"/>
                  <a:gd name="connsiteY37" fmla="*/ 129540 h 655320"/>
                  <a:gd name="connsiteX38" fmla="*/ 272777 w 2383532"/>
                  <a:gd name="connsiteY38" fmla="*/ 99060 h 655320"/>
                  <a:gd name="connsiteX39" fmla="*/ 348977 w 2383532"/>
                  <a:gd name="connsiteY39" fmla="*/ 68580 h 655320"/>
                  <a:gd name="connsiteX40" fmla="*/ 432797 w 2383532"/>
                  <a:gd name="connsiteY40" fmla="*/ 60960 h 655320"/>
                  <a:gd name="connsiteX41" fmla="*/ 478517 w 2383532"/>
                  <a:gd name="connsiteY41" fmla="*/ 53340 h 655320"/>
                  <a:gd name="connsiteX42" fmla="*/ 615677 w 2383532"/>
                  <a:gd name="connsiteY42" fmla="*/ 45720 h 655320"/>
                  <a:gd name="connsiteX43" fmla="*/ 699497 w 2383532"/>
                  <a:gd name="connsiteY43" fmla="*/ 30480 h 655320"/>
                  <a:gd name="connsiteX44" fmla="*/ 737597 w 2383532"/>
                  <a:gd name="connsiteY44" fmla="*/ 22860 h 655320"/>
                  <a:gd name="connsiteX45" fmla="*/ 1019537 w 2383532"/>
                  <a:gd name="connsiteY45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272777 w 2383532"/>
                  <a:gd name="connsiteY37" fmla="*/ 99060 h 655320"/>
                  <a:gd name="connsiteX38" fmla="*/ 348977 w 2383532"/>
                  <a:gd name="connsiteY38" fmla="*/ 68580 h 655320"/>
                  <a:gd name="connsiteX39" fmla="*/ 432797 w 2383532"/>
                  <a:gd name="connsiteY39" fmla="*/ 60960 h 655320"/>
                  <a:gd name="connsiteX40" fmla="*/ 478517 w 2383532"/>
                  <a:gd name="connsiteY40" fmla="*/ 53340 h 655320"/>
                  <a:gd name="connsiteX41" fmla="*/ 615677 w 2383532"/>
                  <a:gd name="connsiteY41" fmla="*/ 45720 h 655320"/>
                  <a:gd name="connsiteX42" fmla="*/ 699497 w 2383532"/>
                  <a:gd name="connsiteY42" fmla="*/ 30480 h 655320"/>
                  <a:gd name="connsiteX43" fmla="*/ 737597 w 2383532"/>
                  <a:gd name="connsiteY43" fmla="*/ 22860 h 655320"/>
                  <a:gd name="connsiteX44" fmla="*/ 1019537 w 2383532"/>
                  <a:gd name="connsiteY44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272777 w 2383532"/>
                  <a:gd name="connsiteY37" fmla="*/ 99060 h 655320"/>
                  <a:gd name="connsiteX38" fmla="*/ 348977 w 2383532"/>
                  <a:gd name="connsiteY38" fmla="*/ 68580 h 655320"/>
                  <a:gd name="connsiteX39" fmla="*/ 432797 w 2383532"/>
                  <a:gd name="connsiteY39" fmla="*/ 60960 h 655320"/>
                  <a:gd name="connsiteX40" fmla="*/ 478517 w 2383532"/>
                  <a:gd name="connsiteY40" fmla="*/ 53340 h 655320"/>
                  <a:gd name="connsiteX41" fmla="*/ 615677 w 2383532"/>
                  <a:gd name="connsiteY41" fmla="*/ 45720 h 655320"/>
                  <a:gd name="connsiteX42" fmla="*/ 737597 w 2383532"/>
                  <a:gd name="connsiteY42" fmla="*/ 22860 h 655320"/>
                  <a:gd name="connsiteX43" fmla="*/ 1019537 w 2383532"/>
                  <a:gd name="connsiteY43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272777 w 2383532"/>
                  <a:gd name="connsiteY37" fmla="*/ 99060 h 655320"/>
                  <a:gd name="connsiteX38" fmla="*/ 432797 w 2383532"/>
                  <a:gd name="connsiteY38" fmla="*/ 60960 h 655320"/>
                  <a:gd name="connsiteX39" fmla="*/ 478517 w 2383532"/>
                  <a:gd name="connsiteY39" fmla="*/ 53340 h 655320"/>
                  <a:gd name="connsiteX40" fmla="*/ 615677 w 2383532"/>
                  <a:gd name="connsiteY40" fmla="*/ 45720 h 655320"/>
                  <a:gd name="connsiteX41" fmla="*/ 737597 w 2383532"/>
                  <a:gd name="connsiteY41" fmla="*/ 22860 h 655320"/>
                  <a:gd name="connsiteX42" fmla="*/ 1019537 w 2383532"/>
                  <a:gd name="connsiteY42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432797 w 2383532"/>
                  <a:gd name="connsiteY37" fmla="*/ 60960 h 655320"/>
                  <a:gd name="connsiteX38" fmla="*/ 478517 w 2383532"/>
                  <a:gd name="connsiteY38" fmla="*/ 53340 h 655320"/>
                  <a:gd name="connsiteX39" fmla="*/ 615677 w 2383532"/>
                  <a:gd name="connsiteY39" fmla="*/ 45720 h 655320"/>
                  <a:gd name="connsiteX40" fmla="*/ 737597 w 2383532"/>
                  <a:gd name="connsiteY40" fmla="*/ 22860 h 655320"/>
                  <a:gd name="connsiteX41" fmla="*/ 1019537 w 2383532"/>
                  <a:gd name="connsiteY41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432797 w 2383532"/>
                  <a:gd name="connsiteY36" fmla="*/ 609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79102 w 2383532"/>
                  <a:gd name="connsiteY33" fmla="*/ 19939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432797 w 2383532"/>
                  <a:gd name="connsiteY36" fmla="*/ 609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79102 w 2383532"/>
                  <a:gd name="connsiteY33" fmla="*/ 19939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394697 w 2383532"/>
                  <a:gd name="connsiteY36" fmla="*/ 736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92662 w 2383532"/>
                  <a:gd name="connsiteY6" fmla="*/ 5715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79102 w 2383532"/>
                  <a:gd name="connsiteY33" fmla="*/ 19939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394697 w 2383532"/>
                  <a:gd name="connsiteY36" fmla="*/ 736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53977 w 2383532"/>
                  <a:gd name="connsiteY9" fmla="*/ 190500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53977 w 2383532"/>
                  <a:gd name="connsiteY9" fmla="*/ 190500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53977 w 2383532"/>
                  <a:gd name="connsiteY9" fmla="*/ 190500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73027 w 2383532"/>
                  <a:gd name="connsiteY9" fmla="*/ 180975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478517 w 2383532"/>
                  <a:gd name="connsiteY35" fmla="*/ 53340 h 655320"/>
                  <a:gd name="connsiteX36" fmla="*/ 615677 w 2383532"/>
                  <a:gd name="connsiteY36" fmla="*/ 45720 h 655320"/>
                  <a:gd name="connsiteX37" fmla="*/ 737597 w 2383532"/>
                  <a:gd name="connsiteY37" fmla="*/ 22860 h 655320"/>
                  <a:gd name="connsiteX38" fmla="*/ 1019537 w 2383532"/>
                  <a:gd name="connsiteY38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9992 w 2383532"/>
                  <a:gd name="connsiteY7" fmla="*/ 1168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478517 w 2383532"/>
                  <a:gd name="connsiteY35" fmla="*/ 53340 h 655320"/>
                  <a:gd name="connsiteX36" fmla="*/ 615677 w 2383532"/>
                  <a:gd name="connsiteY36" fmla="*/ 45720 h 655320"/>
                  <a:gd name="connsiteX37" fmla="*/ 737597 w 2383532"/>
                  <a:gd name="connsiteY37" fmla="*/ 22860 h 655320"/>
                  <a:gd name="connsiteX38" fmla="*/ 1019537 w 2383532"/>
                  <a:gd name="connsiteY38" fmla="*/ 30480 h 655320"/>
                  <a:gd name="connsiteX0" fmla="*/ 1019537 w 2383532"/>
                  <a:gd name="connsiteY0" fmla="*/ 14605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9992 w 2383532"/>
                  <a:gd name="connsiteY7" fmla="*/ 1168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478517 w 2383532"/>
                  <a:gd name="connsiteY35" fmla="*/ 53340 h 655320"/>
                  <a:gd name="connsiteX36" fmla="*/ 615677 w 2383532"/>
                  <a:gd name="connsiteY36" fmla="*/ 45720 h 655320"/>
                  <a:gd name="connsiteX37" fmla="*/ 737597 w 2383532"/>
                  <a:gd name="connsiteY37" fmla="*/ 22860 h 655320"/>
                  <a:gd name="connsiteX38" fmla="*/ 1019537 w 2383532"/>
                  <a:gd name="connsiteY38" fmla="*/ 14605 h 655320"/>
                  <a:gd name="connsiteX0" fmla="*/ 1019537 w 2383532"/>
                  <a:gd name="connsiteY0" fmla="*/ 14605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9992 w 2383532"/>
                  <a:gd name="connsiteY7" fmla="*/ 1168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615677 w 2383532"/>
                  <a:gd name="connsiteY35" fmla="*/ 45720 h 655320"/>
                  <a:gd name="connsiteX36" fmla="*/ 737597 w 2383532"/>
                  <a:gd name="connsiteY36" fmla="*/ 22860 h 655320"/>
                  <a:gd name="connsiteX37" fmla="*/ 1019537 w 2383532"/>
                  <a:gd name="connsiteY37" fmla="*/ 14605 h 655320"/>
                  <a:gd name="connsiteX0" fmla="*/ 1019537 w 2383532"/>
                  <a:gd name="connsiteY0" fmla="*/ 7435 h 648150"/>
                  <a:gd name="connsiteX1" fmla="*/ 1065257 w 2383532"/>
                  <a:gd name="connsiteY1" fmla="*/ 8070 h 648150"/>
                  <a:gd name="connsiteX2" fmla="*/ 1530077 w 2383532"/>
                  <a:gd name="connsiteY2" fmla="*/ 450 h 648150"/>
                  <a:gd name="connsiteX3" fmla="*/ 1659617 w 2383532"/>
                  <a:gd name="connsiteY3" fmla="*/ 23310 h 648150"/>
                  <a:gd name="connsiteX4" fmla="*/ 1762487 w 2383532"/>
                  <a:gd name="connsiteY4" fmla="*/ 33470 h 648150"/>
                  <a:gd name="connsiteX5" fmla="*/ 2040617 w 2383532"/>
                  <a:gd name="connsiteY5" fmla="*/ 91890 h 648150"/>
                  <a:gd name="connsiteX6" fmla="*/ 2119992 w 2383532"/>
                  <a:gd name="connsiteY6" fmla="*/ 109670 h 648150"/>
                  <a:gd name="connsiteX7" fmla="*/ 2273027 w 2383532"/>
                  <a:gd name="connsiteY7" fmla="*/ 173805 h 648150"/>
                  <a:gd name="connsiteX8" fmla="*/ 2360657 w 2383532"/>
                  <a:gd name="connsiteY8" fmla="*/ 236670 h 648150"/>
                  <a:gd name="connsiteX9" fmla="*/ 2383517 w 2383532"/>
                  <a:gd name="connsiteY9" fmla="*/ 282390 h 648150"/>
                  <a:gd name="connsiteX10" fmla="*/ 2360657 w 2383532"/>
                  <a:gd name="connsiteY10" fmla="*/ 396690 h 648150"/>
                  <a:gd name="connsiteX11" fmla="*/ 2276837 w 2383532"/>
                  <a:gd name="connsiteY11" fmla="*/ 450030 h 648150"/>
                  <a:gd name="connsiteX12" fmla="*/ 2238737 w 2383532"/>
                  <a:gd name="connsiteY12" fmla="*/ 472890 h 648150"/>
                  <a:gd name="connsiteX13" fmla="*/ 2162537 w 2383532"/>
                  <a:gd name="connsiteY13" fmla="*/ 503370 h 648150"/>
                  <a:gd name="connsiteX14" fmla="*/ 2078717 w 2383532"/>
                  <a:gd name="connsiteY14" fmla="*/ 541470 h 648150"/>
                  <a:gd name="connsiteX15" fmla="*/ 2002517 w 2383532"/>
                  <a:gd name="connsiteY15" fmla="*/ 571950 h 648150"/>
                  <a:gd name="connsiteX16" fmla="*/ 1872977 w 2383532"/>
                  <a:gd name="connsiteY16" fmla="*/ 602430 h 648150"/>
                  <a:gd name="connsiteX17" fmla="*/ 1796777 w 2383532"/>
                  <a:gd name="connsiteY17" fmla="*/ 617670 h 648150"/>
                  <a:gd name="connsiteX18" fmla="*/ 1377677 w 2383532"/>
                  <a:gd name="connsiteY18" fmla="*/ 640530 h 648150"/>
                  <a:gd name="connsiteX19" fmla="*/ 1263377 w 2383532"/>
                  <a:gd name="connsiteY19" fmla="*/ 648150 h 648150"/>
                  <a:gd name="connsiteX20" fmla="*/ 928097 w 2383532"/>
                  <a:gd name="connsiteY20" fmla="*/ 632910 h 648150"/>
                  <a:gd name="connsiteX21" fmla="*/ 859517 w 2383532"/>
                  <a:gd name="connsiteY21" fmla="*/ 617670 h 648150"/>
                  <a:gd name="connsiteX22" fmla="*/ 501377 w 2383532"/>
                  <a:gd name="connsiteY22" fmla="*/ 587190 h 648150"/>
                  <a:gd name="connsiteX23" fmla="*/ 265157 w 2383532"/>
                  <a:gd name="connsiteY23" fmla="*/ 541470 h 648150"/>
                  <a:gd name="connsiteX24" fmla="*/ 204197 w 2383532"/>
                  <a:gd name="connsiteY24" fmla="*/ 518610 h 648150"/>
                  <a:gd name="connsiteX25" fmla="*/ 97517 w 2383532"/>
                  <a:gd name="connsiteY25" fmla="*/ 472890 h 648150"/>
                  <a:gd name="connsiteX26" fmla="*/ 59417 w 2383532"/>
                  <a:gd name="connsiteY26" fmla="*/ 450030 h 648150"/>
                  <a:gd name="connsiteX27" fmla="*/ 6077 w 2383532"/>
                  <a:gd name="connsiteY27" fmla="*/ 396690 h 648150"/>
                  <a:gd name="connsiteX28" fmla="*/ 3537 w 2383532"/>
                  <a:gd name="connsiteY28" fmla="*/ 345890 h 648150"/>
                  <a:gd name="connsiteX29" fmla="*/ 27032 w 2383532"/>
                  <a:gd name="connsiteY29" fmla="*/ 251910 h 648150"/>
                  <a:gd name="connsiteX30" fmla="*/ 79102 w 2383532"/>
                  <a:gd name="connsiteY30" fmla="*/ 192220 h 648150"/>
                  <a:gd name="connsiteX31" fmla="*/ 173717 w 2383532"/>
                  <a:gd name="connsiteY31" fmla="*/ 137610 h 648150"/>
                  <a:gd name="connsiteX32" fmla="*/ 211817 w 2383532"/>
                  <a:gd name="connsiteY32" fmla="*/ 122370 h 648150"/>
                  <a:gd name="connsiteX33" fmla="*/ 394697 w 2383532"/>
                  <a:gd name="connsiteY33" fmla="*/ 66490 h 648150"/>
                  <a:gd name="connsiteX34" fmla="*/ 615677 w 2383532"/>
                  <a:gd name="connsiteY34" fmla="*/ 38550 h 648150"/>
                  <a:gd name="connsiteX35" fmla="*/ 737597 w 2383532"/>
                  <a:gd name="connsiteY35" fmla="*/ 15690 h 648150"/>
                  <a:gd name="connsiteX36" fmla="*/ 1019537 w 2383532"/>
                  <a:gd name="connsiteY36" fmla="*/ 7435 h 64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383532" h="648150">
                    <a:moveTo>
                      <a:pt x="1019537" y="7435"/>
                    </a:moveTo>
                    <a:cubicBezTo>
                      <a:pt x="1074147" y="6165"/>
                      <a:pt x="980167" y="9234"/>
                      <a:pt x="1065257" y="8070"/>
                    </a:cubicBezTo>
                    <a:cubicBezTo>
                      <a:pt x="1150347" y="6906"/>
                      <a:pt x="1431017" y="-2090"/>
                      <a:pt x="1530077" y="450"/>
                    </a:cubicBezTo>
                    <a:cubicBezTo>
                      <a:pt x="1629137" y="2990"/>
                      <a:pt x="1624057" y="15690"/>
                      <a:pt x="1659617" y="23310"/>
                    </a:cubicBezTo>
                    <a:cubicBezTo>
                      <a:pt x="1695177" y="30930"/>
                      <a:pt x="1698987" y="22040"/>
                      <a:pt x="1762487" y="33470"/>
                    </a:cubicBezTo>
                    <a:cubicBezTo>
                      <a:pt x="1825987" y="44900"/>
                      <a:pt x="1962512" y="53790"/>
                      <a:pt x="2040617" y="91890"/>
                    </a:cubicBezTo>
                    <a:cubicBezTo>
                      <a:pt x="2066017" y="102050"/>
                      <a:pt x="2081257" y="96018"/>
                      <a:pt x="2119992" y="109670"/>
                    </a:cubicBezTo>
                    <a:cubicBezTo>
                      <a:pt x="2158727" y="123323"/>
                      <a:pt x="2232916" y="152638"/>
                      <a:pt x="2273027" y="173805"/>
                    </a:cubicBezTo>
                    <a:cubicBezTo>
                      <a:pt x="2313138" y="194972"/>
                      <a:pt x="2339067" y="220160"/>
                      <a:pt x="2360657" y="236670"/>
                    </a:cubicBezTo>
                    <a:cubicBezTo>
                      <a:pt x="2368362" y="248228"/>
                      <a:pt x="2383517" y="266616"/>
                      <a:pt x="2383517" y="282390"/>
                    </a:cubicBezTo>
                    <a:cubicBezTo>
                      <a:pt x="2383517" y="308815"/>
                      <a:pt x="2384942" y="368936"/>
                      <a:pt x="2360657" y="396690"/>
                    </a:cubicBezTo>
                    <a:cubicBezTo>
                      <a:pt x="2334377" y="426724"/>
                      <a:pt x="2310782" y="431515"/>
                      <a:pt x="2276837" y="450030"/>
                    </a:cubicBezTo>
                    <a:cubicBezTo>
                      <a:pt x="2263835" y="457122"/>
                      <a:pt x="2257787" y="464000"/>
                      <a:pt x="2238737" y="472890"/>
                    </a:cubicBezTo>
                    <a:cubicBezTo>
                      <a:pt x="2219687" y="481780"/>
                      <a:pt x="2189207" y="491940"/>
                      <a:pt x="2162537" y="503370"/>
                    </a:cubicBezTo>
                    <a:cubicBezTo>
                      <a:pt x="2135867" y="514800"/>
                      <a:pt x="2105387" y="530040"/>
                      <a:pt x="2078717" y="541470"/>
                    </a:cubicBezTo>
                    <a:cubicBezTo>
                      <a:pt x="2052047" y="552900"/>
                      <a:pt x="2036807" y="561790"/>
                      <a:pt x="2002517" y="571950"/>
                    </a:cubicBezTo>
                    <a:cubicBezTo>
                      <a:pt x="1968227" y="582110"/>
                      <a:pt x="1919803" y="593511"/>
                      <a:pt x="1872977" y="602430"/>
                    </a:cubicBezTo>
                    <a:cubicBezTo>
                      <a:pt x="1847531" y="607277"/>
                      <a:pt x="1822503" y="614643"/>
                      <a:pt x="1796777" y="617670"/>
                    </a:cubicBezTo>
                    <a:cubicBezTo>
                      <a:pt x="1640428" y="636064"/>
                      <a:pt x="1539759" y="635302"/>
                      <a:pt x="1377677" y="640530"/>
                    </a:cubicBezTo>
                    <a:cubicBezTo>
                      <a:pt x="1339577" y="643070"/>
                      <a:pt x="1301562" y="648150"/>
                      <a:pt x="1263377" y="648150"/>
                    </a:cubicBezTo>
                    <a:cubicBezTo>
                      <a:pt x="1154497" y="648150"/>
                      <a:pt x="1037979" y="639778"/>
                      <a:pt x="928097" y="632910"/>
                    </a:cubicBezTo>
                    <a:cubicBezTo>
                      <a:pt x="905237" y="627830"/>
                      <a:pt x="930637" y="625290"/>
                      <a:pt x="859517" y="617670"/>
                    </a:cubicBezTo>
                    <a:cubicBezTo>
                      <a:pt x="788397" y="610050"/>
                      <a:pt x="583927" y="596080"/>
                      <a:pt x="501377" y="587190"/>
                    </a:cubicBezTo>
                    <a:cubicBezTo>
                      <a:pt x="402317" y="574490"/>
                      <a:pt x="314687" y="552900"/>
                      <a:pt x="265157" y="541470"/>
                    </a:cubicBezTo>
                    <a:cubicBezTo>
                      <a:pt x="215627" y="530040"/>
                      <a:pt x="232137" y="530040"/>
                      <a:pt x="204197" y="518610"/>
                    </a:cubicBezTo>
                    <a:cubicBezTo>
                      <a:pt x="176257" y="507180"/>
                      <a:pt x="121647" y="484320"/>
                      <a:pt x="97517" y="472890"/>
                    </a:cubicBezTo>
                    <a:cubicBezTo>
                      <a:pt x="73387" y="461460"/>
                      <a:pt x="70795" y="459512"/>
                      <a:pt x="59417" y="450030"/>
                    </a:cubicBezTo>
                    <a:cubicBezTo>
                      <a:pt x="40100" y="433933"/>
                      <a:pt x="15390" y="414047"/>
                      <a:pt x="6077" y="396690"/>
                    </a:cubicBezTo>
                    <a:cubicBezTo>
                      <a:pt x="-3236" y="379333"/>
                      <a:pt x="44" y="370020"/>
                      <a:pt x="3537" y="345890"/>
                    </a:cubicBezTo>
                    <a:cubicBezTo>
                      <a:pt x="7030" y="321760"/>
                      <a:pt x="14438" y="277522"/>
                      <a:pt x="27032" y="251910"/>
                    </a:cubicBezTo>
                    <a:cubicBezTo>
                      <a:pt x="39626" y="226298"/>
                      <a:pt x="54655" y="211270"/>
                      <a:pt x="79102" y="192220"/>
                    </a:cubicBezTo>
                    <a:cubicBezTo>
                      <a:pt x="103550" y="173170"/>
                      <a:pt x="151598" y="149252"/>
                      <a:pt x="173717" y="137610"/>
                    </a:cubicBezTo>
                    <a:cubicBezTo>
                      <a:pt x="195836" y="125968"/>
                      <a:pt x="199117" y="127450"/>
                      <a:pt x="211817" y="122370"/>
                    </a:cubicBezTo>
                    <a:cubicBezTo>
                      <a:pt x="254997" y="108400"/>
                      <a:pt x="327387" y="80460"/>
                      <a:pt x="394697" y="66490"/>
                    </a:cubicBezTo>
                    <a:cubicBezTo>
                      <a:pt x="462007" y="52520"/>
                      <a:pt x="558527" y="47017"/>
                      <a:pt x="615677" y="38550"/>
                    </a:cubicBezTo>
                    <a:cubicBezTo>
                      <a:pt x="658857" y="33470"/>
                      <a:pt x="670287" y="18230"/>
                      <a:pt x="737597" y="15690"/>
                    </a:cubicBezTo>
                    <a:lnTo>
                      <a:pt x="1019537" y="7435"/>
                    </a:lnTo>
                    <a:close/>
                  </a:path>
                </a:pathLst>
              </a:custGeom>
              <a:solidFill>
                <a:srgbClr val="E1EBE5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59" name="Freeform: Shape 54">
                <a:extLst>
                  <a:ext uri="{FF2B5EF4-FFF2-40B4-BE49-F238E27FC236}">
                    <a16:creationId xmlns:a16="http://schemas.microsoft.com/office/drawing/2014/main" id="{2CC5BDAE-C1B3-249F-8AB2-1E1C278F5C7C}"/>
                  </a:ext>
                </a:extLst>
              </p:cNvPr>
              <p:cNvSpPr/>
              <p:nvPr/>
            </p:nvSpPr>
            <p:spPr>
              <a:xfrm>
                <a:off x="3913673" y="6116953"/>
                <a:ext cx="2481692" cy="433201"/>
              </a:xfrm>
              <a:custGeom>
                <a:avLst/>
                <a:gdLst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29540 w 2461364"/>
                  <a:gd name="connsiteY4" fmla="*/ 266700 h 419100"/>
                  <a:gd name="connsiteX5" fmla="*/ 152400 w 2461364"/>
                  <a:gd name="connsiteY5" fmla="*/ 274320 h 419100"/>
                  <a:gd name="connsiteX6" fmla="*/ 259080 w 2461364"/>
                  <a:gd name="connsiteY6" fmla="*/ 312420 h 419100"/>
                  <a:gd name="connsiteX7" fmla="*/ 365760 w 2461364"/>
                  <a:gd name="connsiteY7" fmla="*/ 327660 h 419100"/>
                  <a:gd name="connsiteX8" fmla="*/ 464820 w 2461364"/>
                  <a:gd name="connsiteY8" fmla="*/ 350520 h 419100"/>
                  <a:gd name="connsiteX9" fmla="*/ 495300 w 2461364"/>
                  <a:gd name="connsiteY9" fmla="*/ 358140 h 419100"/>
                  <a:gd name="connsiteX10" fmla="*/ 579120 w 2461364"/>
                  <a:gd name="connsiteY10" fmla="*/ 365760 h 419100"/>
                  <a:gd name="connsiteX11" fmla="*/ 601980 w 2461364"/>
                  <a:gd name="connsiteY11" fmla="*/ 373380 h 419100"/>
                  <a:gd name="connsiteX12" fmla="*/ 640080 w 2461364"/>
                  <a:gd name="connsiteY12" fmla="*/ 388620 h 419100"/>
                  <a:gd name="connsiteX13" fmla="*/ 723900 w 2461364"/>
                  <a:gd name="connsiteY13" fmla="*/ 403860 h 419100"/>
                  <a:gd name="connsiteX14" fmla="*/ 822960 w 2461364"/>
                  <a:gd name="connsiteY14" fmla="*/ 419100 h 419100"/>
                  <a:gd name="connsiteX15" fmla="*/ 1661160 w 2461364"/>
                  <a:gd name="connsiteY15" fmla="*/ 411480 h 419100"/>
                  <a:gd name="connsiteX16" fmla="*/ 1699260 w 2461364"/>
                  <a:gd name="connsiteY16" fmla="*/ 396240 h 419100"/>
                  <a:gd name="connsiteX17" fmla="*/ 1744980 w 2461364"/>
                  <a:gd name="connsiteY17" fmla="*/ 388620 h 419100"/>
                  <a:gd name="connsiteX18" fmla="*/ 1844040 w 2461364"/>
                  <a:gd name="connsiteY18" fmla="*/ 365760 h 419100"/>
                  <a:gd name="connsiteX19" fmla="*/ 1905000 w 2461364"/>
                  <a:gd name="connsiteY19" fmla="*/ 350520 h 419100"/>
                  <a:gd name="connsiteX20" fmla="*/ 2049780 w 2461364"/>
                  <a:gd name="connsiteY20" fmla="*/ 342900 h 419100"/>
                  <a:gd name="connsiteX21" fmla="*/ 2072640 w 2461364"/>
                  <a:gd name="connsiteY21" fmla="*/ 335280 h 419100"/>
                  <a:gd name="connsiteX22" fmla="*/ 2164080 w 2461364"/>
                  <a:gd name="connsiteY22" fmla="*/ 320040 h 419100"/>
                  <a:gd name="connsiteX23" fmla="*/ 2308860 w 2461364"/>
                  <a:gd name="connsiteY23" fmla="*/ 266700 h 419100"/>
                  <a:gd name="connsiteX24" fmla="*/ 2369820 w 2461364"/>
                  <a:gd name="connsiteY24" fmla="*/ 228600 h 419100"/>
                  <a:gd name="connsiteX25" fmla="*/ 2423160 w 2461364"/>
                  <a:gd name="connsiteY25" fmla="*/ 190500 h 419100"/>
                  <a:gd name="connsiteX26" fmla="*/ 2446020 w 2461364"/>
                  <a:gd name="connsiteY26" fmla="*/ 160020 h 419100"/>
                  <a:gd name="connsiteX27" fmla="*/ 2461260 w 2461364"/>
                  <a:gd name="connsiteY27" fmla="*/ 99060 h 419100"/>
                  <a:gd name="connsiteX28" fmla="*/ 2446020 w 2461364"/>
                  <a:gd name="connsiteY28" fmla="*/ 53340 h 419100"/>
                  <a:gd name="connsiteX29" fmla="*/ 2423160 w 2461364"/>
                  <a:gd name="connsiteY29" fmla="*/ 22860 h 419100"/>
                  <a:gd name="connsiteX30" fmla="*/ 2400300 w 2461364"/>
                  <a:gd name="connsiteY30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259080 w 2461364"/>
                  <a:gd name="connsiteY5" fmla="*/ 312420 h 419100"/>
                  <a:gd name="connsiteX6" fmla="*/ 365760 w 2461364"/>
                  <a:gd name="connsiteY6" fmla="*/ 327660 h 419100"/>
                  <a:gd name="connsiteX7" fmla="*/ 464820 w 2461364"/>
                  <a:gd name="connsiteY7" fmla="*/ 350520 h 419100"/>
                  <a:gd name="connsiteX8" fmla="*/ 495300 w 2461364"/>
                  <a:gd name="connsiteY8" fmla="*/ 358140 h 419100"/>
                  <a:gd name="connsiteX9" fmla="*/ 579120 w 2461364"/>
                  <a:gd name="connsiteY9" fmla="*/ 365760 h 419100"/>
                  <a:gd name="connsiteX10" fmla="*/ 601980 w 2461364"/>
                  <a:gd name="connsiteY10" fmla="*/ 373380 h 419100"/>
                  <a:gd name="connsiteX11" fmla="*/ 640080 w 2461364"/>
                  <a:gd name="connsiteY11" fmla="*/ 388620 h 419100"/>
                  <a:gd name="connsiteX12" fmla="*/ 723900 w 2461364"/>
                  <a:gd name="connsiteY12" fmla="*/ 403860 h 419100"/>
                  <a:gd name="connsiteX13" fmla="*/ 822960 w 2461364"/>
                  <a:gd name="connsiteY13" fmla="*/ 419100 h 419100"/>
                  <a:gd name="connsiteX14" fmla="*/ 1661160 w 2461364"/>
                  <a:gd name="connsiteY14" fmla="*/ 411480 h 419100"/>
                  <a:gd name="connsiteX15" fmla="*/ 1699260 w 2461364"/>
                  <a:gd name="connsiteY15" fmla="*/ 396240 h 419100"/>
                  <a:gd name="connsiteX16" fmla="*/ 1744980 w 2461364"/>
                  <a:gd name="connsiteY16" fmla="*/ 388620 h 419100"/>
                  <a:gd name="connsiteX17" fmla="*/ 1844040 w 2461364"/>
                  <a:gd name="connsiteY17" fmla="*/ 365760 h 419100"/>
                  <a:gd name="connsiteX18" fmla="*/ 1905000 w 2461364"/>
                  <a:gd name="connsiteY18" fmla="*/ 350520 h 419100"/>
                  <a:gd name="connsiteX19" fmla="*/ 2049780 w 2461364"/>
                  <a:gd name="connsiteY19" fmla="*/ 342900 h 419100"/>
                  <a:gd name="connsiteX20" fmla="*/ 2072640 w 2461364"/>
                  <a:gd name="connsiteY20" fmla="*/ 335280 h 419100"/>
                  <a:gd name="connsiteX21" fmla="*/ 2164080 w 2461364"/>
                  <a:gd name="connsiteY21" fmla="*/ 320040 h 419100"/>
                  <a:gd name="connsiteX22" fmla="*/ 2308860 w 2461364"/>
                  <a:gd name="connsiteY22" fmla="*/ 266700 h 419100"/>
                  <a:gd name="connsiteX23" fmla="*/ 2369820 w 2461364"/>
                  <a:gd name="connsiteY23" fmla="*/ 228600 h 419100"/>
                  <a:gd name="connsiteX24" fmla="*/ 2423160 w 2461364"/>
                  <a:gd name="connsiteY24" fmla="*/ 190500 h 419100"/>
                  <a:gd name="connsiteX25" fmla="*/ 2446020 w 2461364"/>
                  <a:gd name="connsiteY25" fmla="*/ 160020 h 419100"/>
                  <a:gd name="connsiteX26" fmla="*/ 2461260 w 2461364"/>
                  <a:gd name="connsiteY26" fmla="*/ 99060 h 419100"/>
                  <a:gd name="connsiteX27" fmla="*/ 2446020 w 2461364"/>
                  <a:gd name="connsiteY27" fmla="*/ 53340 h 419100"/>
                  <a:gd name="connsiteX28" fmla="*/ 2423160 w 2461364"/>
                  <a:gd name="connsiteY28" fmla="*/ 22860 h 419100"/>
                  <a:gd name="connsiteX29" fmla="*/ 2400300 w 2461364"/>
                  <a:gd name="connsiteY29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495300 w 2461364"/>
                  <a:gd name="connsiteY7" fmla="*/ 358140 h 419100"/>
                  <a:gd name="connsiteX8" fmla="*/ 579120 w 2461364"/>
                  <a:gd name="connsiteY8" fmla="*/ 365760 h 419100"/>
                  <a:gd name="connsiteX9" fmla="*/ 601980 w 2461364"/>
                  <a:gd name="connsiteY9" fmla="*/ 373380 h 419100"/>
                  <a:gd name="connsiteX10" fmla="*/ 640080 w 2461364"/>
                  <a:gd name="connsiteY10" fmla="*/ 388620 h 419100"/>
                  <a:gd name="connsiteX11" fmla="*/ 723900 w 2461364"/>
                  <a:gd name="connsiteY11" fmla="*/ 403860 h 419100"/>
                  <a:gd name="connsiteX12" fmla="*/ 822960 w 2461364"/>
                  <a:gd name="connsiteY12" fmla="*/ 419100 h 419100"/>
                  <a:gd name="connsiteX13" fmla="*/ 1661160 w 2461364"/>
                  <a:gd name="connsiteY13" fmla="*/ 411480 h 419100"/>
                  <a:gd name="connsiteX14" fmla="*/ 1699260 w 2461364"/>
                  <a:gd name="connsiteY14" fmla="*/ 396240 h 419100"/>
                  <a:gd name="connsiteX15" fmla="*/ 1744980 w 2461364"/>
                  <a:gd name="connsiteY15" fmla="*/ 388620 h 419100"/>
                  <a:gd name="connsiteX16" fmla="*/ 1844040 w 2461364"/>
                  <a:gd name="connsiteY16" fmla="*/ 365760 h 419100"/>
                  <a:gd name="connsiteX17" fmla="*/ 1905000 w 2461364"/>
                  <a:gd name="connsiteY17" fmla="*/ 350520 h 419100"/>
                  <a:gd name="connsiteX18" fmla="*/ 2049780 w 2461364"/>
                  <a:gd name="connsiteY18" fmla="*/ 342900 h 419100"/>
                  <a:gd name="connsiteX19" fmla="*/ 2072640 w 2461364"/>
                  <a:gd name="connsiteY19" fmla="*/ 335280 h 419100"/>
                  <a:gd name="connsiteX20" fmla="*/ 2164080 w 2461364"/>
                  <a:gd name="connsiteY20" fmla="*/ 320040 h 419100"/>
                  <a:gd name="connsiteX21" fmla="*/ 2308860 w 2461364"/>
                  <a:gd name="connsiteY21" fmla="*/ 266700 h 419100"/>
                  <a:gd name="connsiteX22" fmla="*/ 2369820 w 2461364"/>
                  <a:gd name="connsiteY22" fmla="*/ 228600 h 419100"/>
                  <a:gd name="connsiteX23" fmla="*/ 2423160 w 2461364"/>
                  <a:gd name="connsiteY23" fmla="*/ 190500 h 419100"/>
                  <a:gd name="connsiteX24" fmla="*/ 2446020 w 2461364"/>
                  <a:gd name="connsiteY24" fmla="*/ 160020 h 419100"/>
                  <a:gd name="connsiteX25" fmla="*/ 2461260 w 2461364"/>
                  <a:gd name="connsiteY25" fmla="*/ 99060 h 419100"/>
                  <a:gd name="connsiteX26" fmla="*/ 2446020 w 2461364"/>
                  <a:gd name="connsiteY26" fmla="*/ 53340 h 419100"/>
                  <a:gd name="connsiteX27" fmla="*/ 2423160 w 2461364"/>
                  <a:gd name="connsiteY27" fmla="*/ 22860 h 419100"/>
                  <a:gd name="connsiteX28" fmla="*/ 2400300 w 2461364"/>
                  <a:gd name="connsiteY28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579120 w 2461364"/>
                  <a:gd name="connsiteY7" fmla="*/ 365760 h 419100"/>
                  <a:gd name="connsiteX8" fmla="*/ 601980 w 2461364"/>
                  <a:gd name="connsiteY8" fmla="*/ 373380 h 419100"/>
                  <a:gd name="connsiteX9" fmla="*/ 640080 w 2461364"/>
                  <a:gd name="connsiteY9" fmla="*/ 388620 h 419100"/>
                  <a:gd name="connsiteX10" fmla="*/ 723900 w 2461364"/>
                  <a:gd name="connsiteY10" fmla="*/ 403860 h 419100"/>
                  <a:gd name="connsiteX11" fmla="*/ 822960 w 2461364"/>
                  <a:gd name="connsiteY11" fmla="*/ 419100 h 419100"/>
                  <a:gd name="connsiteX12" fmla="*/ 1661160 w 2461364"/>
                  <a:gd name="connsiteY12" fmla="*/ 411480 h 419100"/>
                  <a:gd name="connsiteX13" fmla="*/ 1699260 w 2461364"/>
                  <a:gd name="connsiteY13" fmla="*/ 396240 h 419100"/>
                  <a:gd name="connsiteX14" fmla="*/ 1744980 w 2461364"/>
                  <a:gd name="connsiteY14" fmla="*/ 388620 h 419100"/>
                  <a:gd name="connsiteX15" fmla="*/ 1844040 w 2461364"/>
                  <a:gd name="connsiteY15" fmla="*/ 365760 h 419100"/>
                  <a:gd name="connsiteX16" fmla="*/ 1905000 w 2461364"/>
                  <a:gd name="connsiteY16" fmla="*/ 350520 h 419100"/>
                  <a:gd name="connsiteX17" fmla="*/ 2049780 w 2461364"/>
                  <a:gd name="connsiteY17" fmla="*/ 342900 h 419100"/>
                  <a:gd name="connsiteX18" fmla="*/ 2072640 w 2461364"/>
                  <a:gd name="connsiteY18" fmla="*/ 335280 h 419100"/>
                  <a:gd name="connsiteX19" fmla="*/ 2164080 w 2461364"/>
                  <a:gd name="connsiteY19" fmla="*/ 320040 h 419100"/>
                  <a:gd name="connsiteX20" fmla="*/ 2308860 w 2461364"/>
                  <a:gd name="connsiteY20" fmla="*/ 266700 h 419100"/>
                  <a:gd name="connsiteX21" fmla="*/ 2369820 w 2461364"/>
                  <a:gd name="connsiteY21" fmla="*/ 228600 h 419100"/>
                  <a:gd name="connsiteX22" fmla="*/ 2423160 w 2461364"/>
                  <a:gd name="connsiteY22" fmla="*/ 190500 h 419100"/>
                  <a:gd name="connsiteX23" fmla="*/ 2446020 w 2461364"/>
                  <a:gd name="connsiteY23" fmla="*/ 160020 h 419100"/>
                  <a:gd name="connsiteX24" fmla="*/ 2461260 w 2461364"/>
                  <a:gd name="connsiteY24" fmla="*/ 99060 h 419100"/>
                  <a:gd name="connsiteX25" fmla="*/ 2446020 w 2461364"/>
                  <a:gd name="connsiteY25" fmla="*/ 53340 h 419100"/>
                  <a:gd name="connsiteX26" fmla="*/ 2423160 w 2461364"/>
                  <a:gd name="connsiteY26" fmla="*/ 22860 h 419100"/>
                  <a:gd name="connsiteX27" fmla="*/ 2400300 w 2461364"/>
                  <a:gd name="connsiteY27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579120 w 2461364"/>
                  <a:gd name="connsiteY7" fmla="*/ 365760 h 419100"/>
                  <a:gd name="connsiteX8" fmla="*/ 601980 w 2461364"/>
                  <a:gd name="connsiteY8" fmla="*/ 373380 h 419100"/>
                  <a:gd name="connsiteX9" fmla="*/ 723900 w 2461364"/>
                  <a:gd name="connsiteY9" fmla="*/ 403860 h 419100"/>
                  <a:gd name="connsiteX10" fmla="*/ 822960 w 2461364"/>
                  <a:gd name="connsiteY10" fmla="*/ 419100 h 419100"/>
                  <a:gd name="connsiteX11" fmla="*/ 1661160 w 2461364"/>
                  <a:gd name="connsiteY11" fmla="*/ 411480 h 419100"/>
                  <a:gd name="connsiteX12" fmla="*/ 1699260 w 2461364"/>
                  <a:gd name="connsiteY12" fmla="*/ 396240 h 419100"/>
                  <a:gd name="connsiteX13" fmla="*/ 1744980 w 2461364"/>
                  <a:gd name="connsiteY13" fmla="*/ 388620 h 419100"/>
                  <a:gd name="connsiteX14" fmla="*/ 1844040 w 2461364"/>
                  <a:gd name="connsiteY14" fmla="*/ 365760 h 419100"/>
                  <a:gd name="connsiteX15" fmla="*/ 1905000 w 2461364"/>
                  <a:gd name="connsiteY15" fmla="*/ 350520 h 419100"/>
                  <a:gd name="connsiteX16" fmla="*/ 2049780 w 2461364"/>
                  <a:gd name="connsiteY16" fmla="*/ 342900 h 419100"/>
                  <a:gd name="connsiteX17" fmla="*/ 2072640 w 2461364"/>
                  <a:gd name="connsiteY17" fmla="*/ 335280 h 419100"/>
                  <a:gd name="connsiteX18" fmla="*/ 2164080 w 2461364"/>
                  <a:gd name="connsiteY18" fmla="*/ 320040 h 419100"/>
                  <a:gd name="connsiteX19" fmla="*/ 2308860 w 2461364"/>
                  <a:gd name="connsiteY19" fmla="*/ 266700 h 419100"/>
                  <a:gd name="connsiteX20" fmla="*/ 2369820 w 2461364"/>
                  <a:gd name="connsiteY20" fmla="*/ 228600 h 419100"/>
                  <a:gd name="connsiteX21" fmla="*/ 2423160 w 2461364"/>
                  <a:gd name="connsiteY21" fmla="*/ 190500 h 419100"/>
                  <a:gd name="connsiteX22" fmla="*/ 2446020 w 2461364"/>
                  <a:gd name="connsiteY22" fmla="*/ 160020 h 419100"/>
                  <a:gd name="connsiteX23" fmla="*/ 2461260 w 2461364"/>
                  <a:gd name="connsiteY23" fmla="*/ 99060 h 419100"/>
                  <a:gd name="connsiteX24" fmla="*/ 2446020 w 2461364"/>
                  <a:gd name="connsiteY24" fmla="*/ 53340 h 419100"/>
                  <a:gd name="connsiteX25" fmla="*/ 2423160 w 2461364"/>
                  <a:gd name="connsiteY25" fmla="*/ 22860 h 419100"/>
                  <a:gd name="connsiteX26" fmla="*/ 2400300 w 2461364"/>
                  <a:gd name="connsiteY26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579120 w 2461364"/>
                  <a:gd name="connsiteY7" fmla="*/ 365760 h 419100"/>
                  <a:gd name="connsiteX8" fmla="*/ 723900 w 2461364"/>
                  <a:gd name="connsiteY8" fmla="*/ 403860 h 419100"/>
                  <a:gd name="connsiteX9" fmla="*/ 822960 w 2461364"/>
                  <a:gd name="connsiteY9" fmla="*/ 419100 h 419100"/>
                  <a:gd name="connsiteX10" fmla="*/ 1661160 w 2461364"/>
                  <a:gd name="connsiteY10" fmla="*/ 411480 h 419100"/>
                  <a:gd name="connsiteX11" fmla="*/ 1699260 w 2461364"/>
                  <a:gd name="connsiteY11" fmla="*/ 396240 h 419100"/>
                  <a:gd name="connsiteX12" fmla="*/ 1744980 w 2461364"/>
                  <a:gd name="connsiteY12" fmla="*/ 388620 h 419100"/>
                  <a:gd name="connsiteX13" fmla="*/ 1844040 w 2461364"/>
                  <a:gd name="connsiteY13" fmla="*/ 365760 h 419100"/>
                  <a:gd name="connsiteX14" fmla="*/ 1905000 w 2461364"/>
                  <a:gd name="connsiteY14" fmla="*/ 350520 h 419100"/>
                  <a:gd name="connsiteX15" fmla="*/ 2049780 w 2461364"/>
                  <a:gd name="connsiteY15" fmla="*/ 342900 h 419100"/>
                  <a:gd name="connsiteX16" fmla="*/ 2072640 w 2461364"/>
                  <a:gd name="connsiteY16" fmla="*/ 335280 h 419100"/>
                  <a:gd name="connsiteX17" fmla="*/ 2164080 w 2461364"/>
                  <a:gd name="connsiteY17" fmla="*/ 320040 h 419100"/>
                  <a:gd name="connsiteX18" fmla="*/ 2308860 w 2461364"/>
                  <a:gd name="connsiteY18" fmla="*/ 266700 h 419100"/>
                  <a:gd name="connsiteX19" fmla="*/ 2369820 w 2461364"/>
                  <a:gd name="connsiteY19" fmla="*/ 228600 h 419100"/>
                  <a:gd name="connsiteX20" fmla="*/ 2423160 w 2461364"/>
                  <a:gd name="connsiteY20" fmla="*/ 190500 h 419100"/>
                  <a:gd name="connsiteX21" fmla="*/ 2446020 w 2461364"/>
                  <a:gd name="connsiteY21" fmla="*/ 160020 h 419100"/>
                  <a:gd name="connsiteX22" fmla="*/ 2461260 w 2461364"/>
                  <a:gd name="connsiteY22" fmla="*/ 99060 h 419100"/>
                  <a:gd name="connsiteX23" fmla="*/ 2446020 w 2461364"/>
                  <a:gd name="connsiteY23" fmla="*/ 53340 h 419100"/>
                  <a:gd name="connsiteX24" fmla="*/ 2423160 w 2461364"/>
                  <a:gd name="connsiteY24" fmla="*/ 22860 h 419100"/>
                  <a:gd name="connsiteX25" fmla="*/ 2400300 w 2461364"/>
                  <a:gd name="connsiteY25" fmla="*/ 0 h 419100"/>
                  <a:gd name="connsiteX0" fmla="*/ 0 w 2461364"/>
                  <a:gd name="connsiteY0" fmla="*/ 7620 h 411909"/>
                  <a:gd name="connsiteX1" fmla="*/ 7620 w 2461364"/>
                  <a:gd name="connsiteY1" fmla="*/ 45720 h 411909"/>
                  <a:gd name="connsiteX2" fmla="*/ 15240 w 2461364"/>
                  <a:gd name="connsiteY2" fmla="*/ 152400 h 411909"/>
                  <a:gd name="connsiteX3" fmla="*/ 60960 w 2461364"/>
                  <a:gd name="connsiteY3" fmla="*/ 205740 h 411909"/>
                  <a:gd name="connsiteX4" fmla="*/ 152400 w 2461364"/>
                  <a:gd name="connsiteY4" fmla="*/ 274320 h 411909"/>
                  <a:gd name="connsiteX5" fmla="*/ 365760 w 2461364"/>
                  <a:gd name="connsiteY5" fmla="*/ 327660 h 411909"/>
                  <a:gd name="connsiteX6" fmla="*/ 464820 w 2461364"/>
                  <a:gd name="connsiteY6" fmla="*/ 350520 h 411909"/>
                  <a:gd name="connsiteX7" fmla="*/ 579120 w 2461364"/>
                  <a:gd name="connsiteY7" fmla="*/ 365760 h 411909"/>
                  <a:gd name="connsiteX8" fmla="*/ 723900 w 2461364"/>
                  <a:gd name="connsiteY8" fmla="*/ 403860 h 411909"/>
                  <a:gd name="connsiteX9" fmla="*/ 1661160 w 2461364"/>
                  <a:gd name="connsiteY9" fmla="*/ 411480 h 411909"/>
                  <a:gd name="connsiteX10" fmla="*/ 1699260 w 2461364"/>
                  <a:gd name="connsiteY10" fmla="*/ 396240 h 411909"/>
                  <a:gd name="connsiteX11" fmla="*/ 1744980 w 2461364"/>
                  <a:gd name="connsiteY11" fmla="*/ 388620 h 411909"/>
                  <a:gd name="connsiteX12" fmla="*/ 1844040 w 2461364"/>
                  <a:gd name="connsiteY12" fmla="*/ 365760 h 411909"/>
                  <a:gd name="connsiteX13" fmla="*/ 1905000 w 2461364"/>
                  <a:gd name="connsiteY13" fmla="*/ 350520 h 411909"/>
                  <a:gd name="connsiteX14" fmla="*/ 2049780 w 2461364"/>
                  <a:gd name="connsiteY14" fmla="*/ 342900 h 411909"/>
                  <a:gd name="connsiteX15" fmla="*/ 2072640 w 2461364"/>
                  <a:gd name="connsiteY15" fmla="*/ 335280 h 411909"/>
                  <a:gd name="connsiteX16" fmla="*/ 2164080 w 2461364"/>
                  <a:gd name="connsiteY16" fmla="*/ 320040 h 411909"/>
                  <a:gd name="connsiteX17" fmla="*/ 2308860 w 2461364"/>
                  <a:gd name="connsiteY17" fmla="*/ 266700 h 411909"/>
                  <a:gd name="connsiteX18" fmla="*/ 2369820 w 2461364"/>
                  <a:gd name="connsiteY18" fmla="*/ 228600 h 411909"/>
                  <a:gd name="connsiteX19" fmla="*/ 2423160 w 2461364"/>
                  <a:gd name="connsiteY19" fmla="*/ 190500 h 411909"/>
                  <a:gd name="connsiteX20" fmla="*/ 2446020 w 2461364"/>
                  <a:gd name="connsiteY20" fmla="*/ 160020 h 411909"/>
                  <a:gd name="connsiteX21" fmla="*/ 2461260 w 2461364"/>
                  <a:gd name="connsiteY21" fmla="*/ 99060 h 411909"/>
                  <a:gd name="connsiteX22" fmla="*/ 2446020 w 2461364"/>
                  <a:gd name="connsiteY22" fmla="*/ 53340 h 411909"/>
                  <a:gd name="connsiteX23" fmla="*/ 2423160 w 2461364"/>
                  <a:gd name="connsiteY23" fmla="*/ 22860 h 411909"/>
                  <a:gd name="connsiteX24" fmla="*/ 2400300 w 2461364"/>
                  <a:gd name="connsiteY24" fmla="*/ 0 h 411909"/>
                  <a:gd name="connsiteX0" fmla="*/ 0 w 2461364"/>
                  <a:gd name="connsiteY0" fmla="*/ 7620 h 411582"/>
                  <a:gd name="connsiteX1" fmla="*/ 7620 w 2461364"/>
                  <a:gd name="connsiteY1" fmla="*/ 45720 h 411582"/>
                  <a:gd name="connsiteX2" fmla="*/ 15240 w 2461364"/>
                  <a:gd name="connsiteY2" fmla="*/ 152400 h 411582"/>
                  <a:gd name="connsiteX3" fmla="*/ 60960 w 2461364"/>
                  <a:gd name="connsiteY3" fmla="*/ 205740 h 411582"/>
                  <a:gd name="connsiteX4" fmla="*/ 152400 w 2461364"/>
                  <a:gd name="connsiteY4" fmla="*/ 274320 h 411582"/>
                  <a:gd name="connsiteX5" fmla="*/ 365760 w 2461364"/>
                  <a:gd name="connsiteY5" fmla="*/ 327660 h 411582"/>
                  <a:gd name="connsiteX6" fmla="*/ 464820 w 2461364"/>
                  <a:gd name="connsiteY6" fmla="*/ 350520 h 411582"/>
                  <a:gd name="connsiteX7" fmla="*/ 579120 w 2461364"/>
                  <a:gd name="connsiteY7" fmla="*/ 365760 h 411582"/>
                  <a:gd name="connsiteX8" fmla="*/ 850900 w 2461364"/>
                  <a:gd name="connsiteY8" fmla="*/ 394335 h 411582"/>
                  <a:gd name="connsiteX9" fmla="*/ 1661160 w 2461364"/>
                  <a:gd name="connsiteY9" fmla="*/ 411480 h 411582"/>
                  <a:gd name="connsiteX10" fmla="*/ 1699260 w 2461364"/>
                  <a:gd name="connsiteY10" fmla="*/ 396240 h 411582"/>
                  <a:gd name="connsiteX11" fmla="*/ 1744980 w 2461364"/>
                  <a:gd name="connsiteY11" fmla="*/ 388620 h 411582"/>
                  <a:gd name="connsiteX12" fmla="*/ 1844040 w 2461364"/>
                  <a:gd name="connsiteY12" fmla="*/ 365760 h 411582"/>
                  <a:gd name="connsiteX13" fmla="*/ 1905000 w 2461364"/>
                  <a:gd name="connsiteY13" fmla="*/ 350520 h 411582"/>
                  <a:gd name="connsiteX14" fmla="*/ 2049780 w 2461364"/>
                  <a:gd name="connsiteY14" fmla="*/ 342900 h 411582"/>
                  <a:gd name="connsiteX15" fmla="*/ 2072640 w 2461364"/>
                  <a:gd name="connsiteY15" fmla="*/ 335280 h 411582"/>
                  <a:gd name="connsiteX16" fmla="*/ 2164080 w 2461364"/>
                  <a:gd name="connsiteY16" fmla="*/ 320040 h 411582"/>
                  <a:gd name="connsiteX17" fmla="*/ 2308860 w 2461364"/>
                  <a:gd name="connsiteY17" fmla="*/ 266700 h 411582"/>
                  <a:gd name="connsiteX18" fmla="*/ 2369820 w 2461364"/>
                  <a:gd name="connsiteY18" fmla="*/ 228600 h 411582"/>
                  <a:gd name="connsiteX19" fmla="*/ 2423160 w 2461364"/>
                  <a:gd name="connsiteY19" fmla="*/ 190500 h 411582"/>
                  <a:gd name="connsiteX20" fmla="*/ 2446020 w 2461364"/>
                  <a:gd name="connsiteY20" fmla="*/ 160020 h 411582"/>
                  <a:gd name="connsiteX21" fmla="*/ 2461260 w 2461364"/>
                  <a:gd name="connsiteY21" fmla="*/ 99060 h 411582"/>
                  <a:gd name="connsiteX22" fmla="*/ 2446020 w 2461364"/>
                  <a:gd name="connsiteY22" fmla="*/ 53340 h 411582"/>
                  <a:gd name="connsiteX23" fmla="*/ 2423160 w 2461364"/>
                  <a:gd name="connsiteY23" fmla="*/ 22860 h 411582"/>
                  <a:gd name="connsiteX24" fmla="*/ 2400300 w 2461364"/>
                  <a:gd name="connsiteY24" fmla="*/ 0 h 411582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99260 w 2461364"/>
                  <a:gd name="connsiteY10" fmla="*/ 396240 h 408436"/>
                  <a:gd name="connsiteX11" fmla="*/ 1744980 w 2461364"/>
                  <a:gd name="connsiteY11" fmla="*/ 388620 h 408436"/>
                  <a:gd name="connsiteX12" fmla="*/ 1844040 w 2461364"/>
                  <a:gd name="connsiteY12" fmla="*/ 365760 h 408436"/>
                  <a:gd name="connsiteX13" fmla="*/ 1905000 w 2461364"/>
                  <a:gd name="connsiteY13" fmla="*/ 350520 h 408436"/>
                  <a:gd name="connsiteX14" fmla="*/ 2049780 w 2461364"/>
                  <a:gd name="connsiteY14" fmla="*/ 342900 h 408436"/>
                  <a:gd name="connsiteX15" fmla="*/ 2072640 w 2461364"/>
                  <a:gd name="connsiteY15" fmla="*/ 335280 h 408436"/>
                  <a:gd name="connsiteX16" fmla="*/ 2164080 w 2461364"/>
                  <a:gd name="connsiteY16" fmla="*/ 320040 h 408436"/>
                  <a:gd name="connsiteX17" fmla="*/ 2308860 w 2461364"/>
                  <a:gd name="connsiteY17" fmla="*/ 266700 h 408436"/>
                  <a:gd name="connsiteX18" fmla="*/ 2369820 w 2461364"/>
                  <a:gd name="connsiteY18" fmla="*/ 228600 h 408436"/>
                  <a:gd name="connsiteX19" fmla="*/ 2423160 w 2461364"/>
                  <a:gd name="connsiteY19" fmla="*/ 190500 h 408436"/>
                  <a:gd name="connsiteX20" fmla="*/ 2446020 w 2461364"/>
                  <a:gd name="connsiteY20" fmla="*/ 160020 h 408436"/>
                  <a:gd name="connsiteX21" fmla="*/ 2461260 w 2461364"/>
                  <a:gd name="connsiteY21" fmla="*/ 99060 h 408436"/>
                  <a:gd name="connsiteX22" fmla="*/ 2446020 w 2461364"/>
                  <a:gd name="connsiteY22" fmla="*/ 53340 h 408436"/>
                  <a:gd name="connsiteX23" fmla="*/ 2423160 w 2461364"/>
                  <a:gd name="connsiteY23" fmla="*/ 22860 h 408436"/>
                  <a:gd name="connsiteX24" fmla="*/ 2400300 w 2461364"/>
                  <a:gd name="connsiteY24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744980 w 2461364"/>
                  <a:gd name="connsiteY11" fmla="*/ 388620 h 408436"/>
                  <a:gd name="connsiteX12" fmla="*/ 1844040 w 2461364"/>
                  <a:gd name="connsiteY12" fmla="*/ 365760 h 408436"/>
                  <a:gd name="connsiteX13" fmla="*/ 1905000 w 2461364"/>
                  <a:gd name="connsiteY13" fmla="*/ 350520 h 408436"/>
                  <a:gd name="connsiteX14" fmla="*/ 2049780 w 2461364"/>
                  <a:gd name="connsiteY14" fmla="*/ 342900 h 408436"/>
                  <a:gd name="connsiteX15" fmla="*/ 2072640 w 2461364"/>
                  <a:gd name="connsiteY15" fmla="*/ 335280 h 408436"/>
                  <a:gd name="connsiteX16" fmla="*/ 2164080 w 2461364"/>
                  <a:gd name="connsiteY16" fmla="*/ 320040 h 408436"/>
                  <a:gd name="connsiteX17" fmla="*/ 2308860 w 2461364"/>
                  <a:gd name="connsiteY17" fmla="*/ 266700 h 408436"/>
                  <a:gd name="connsiteX18" fmla="*/ 2369820 w 2461364"/>
                  <a:gd name="connsiteY18" fmla="*/ 228600 h 408436"/>
                  <a:gd name="connsiteX19" fmla="*/ 2423160 w 2461364"/>
                  <a:gd name="connsiteY19" fmla="*/ 190500 h 408436"/>
                  <a:gd name="connsiteX20" fmla="*/ 2446020 w 2461364"/>
                  <a:gd name="connsiteY20" fmla="*/ 160020 h 408436"/>
                  <a:gd name="connsiteX21" fmla="*/ 2461260 w 2461364"/>
                  <a:gd name="connsiteY21" fmla="*/ 99060 h 408436"/>
                  <a:gd name="connsiteX22" fmla="*/ 2446020 w 2461364"/>
                  <a:gd name="connsiteY22" fmla="*/ 53340 h 408436"/>
                  <a:gd name="connsiteX23" fmla="*/ 2423160 w 2461364"/>
                  <a:gd name="connsiteY23" fmla="*/ 22860 h 408436"/>
                  <a:gd name="connsiteX24" fmla="*/ 2400300 w 2461364"/>
                  <a:gd name="connsiteY24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744980 w 2461364"/>
                  <a:gd name="connsiteY11" fmla="*/ 388620 h 408436"/>
                  <a:gd name="connsiteX12" fmla="*/ 1905000 w 2461364"/>
                  <a:gd name="connsiteY12" fmla="*/ 350520 h 408436"/>
                  <a:gd name="connsiteX13" fmla="*/ 2049780 w 2461364"/>
                  <a:gd name="connsiteY13" fmla="*/ 342900 h 408436"/>
                  <a:gd name="connsiteX14" fmla="*/ 2072640 w 2461364"/>
                  <a:gd name="connsiteY14" fmla="*/ 335280 h 408436"/>
                  <a:gd name="connsiteX15" fmla="*/ 2164080 w 2461364"/>
                  <a:gd name="connsiteY15" fmla="*/ 320040 h 408436"/>
                  <a:gd name="connsiteX16" fmla="*/ 2308860 w 2461364"/>
                  <a:gd name="connsiteY16" fmla="*/ 266700 h 408436"/>
                  <a:gd name="connsiteX17" fmla="*/ 2369820 w 2461364"/>
                  <a:gd name="connsiteY17" fmla="*/ 228600 h 408436"/>
                  <a:gd name="connsiteX18" fmla="*/ 2423160 w 2461364"/>
                  <a:gd name="connsiteY18" fmla="*/ 190500 h 408436"/>
                  <a:gd name="connsiteX19" fmla="*/ 2446020 w 2461364"/>
                  <a:gd name="connsiteY19" fmla="*/ 160020 h 408436"/>
                  <a:gd name="connsiteX20" fmla="*/ 2461260 w 2461364"/>
                  <a:gd name="connsiteY20" fmla="*/ 99060 h 408436"/>
                  <a:gd name="connsiteX21" fmla="*/ 2446020 w 2461364"/>
                  <a:gd name="connsiteY21" fmla="*/ 53340 h 408436"/>
                  <a:gd name="connsiteX22" fmla="*/ 2423160 w 2461364"/>
                  <a:gd name="connsiteY22" fmla="*/ 22860 h 408436"/>
                  <a:gd name="connsiteX23" fmla="*/ 2400300 w 2461364"/>
                  <a:gd name="connsiteY23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05000 w 2461364"/>
                  <a:gd name="connsiteY12" fmla="*/ 350520 h 408436"/>
                  <a:gd name="connsiteX13" fmla="*/ 2049780 w 2461364"/>
                  <a:gd name="connsiteY13" fmla="*/ 342900 h 408436"/>
                  <a:gd name="connsiteX14" fmla="*/ 2072640 w 2461364"/>
                  <a:gd name="connsiteY14" fmla="*/ 335280 h 408436"/>
                  <a:gd name="connsiteX15" fmla="*/ 2164080 w 2461364"/>
                  <a:gd name="connsiteY15" fmla="*/ 320040 h 408436"/>
                  <a:gd name="connsiteX16" fmla="*/ 2308860 w 2461364"/>
                  <a:gd name="connsiteY16" fmla="*/ 266700 h 408436"/>
                  <a:gd name="connsiteX17" fmla="*/ 2369820 w 2461364"/>
                  <a:gd name="connsiteY17" fmla="*/ 228600 h 408436"/>
                  <a:gd name="connsiteX18" fmla="*/ 2423160 w 2461364"/>
                  <a:gd name="connsiteY18" fmla="*/ 190500 h 408436"/>
                  <a:gd name="connsiteX19" fmla="*/ 2446020 w 2461364"/>
                  <a:gd name="connsiteY19" fmla="*/ 160020 h 408436"/>
                  <a:gd name="connsiteX20" fmla="*/ 2461260 w 2461364"/>
                  <a:gd name="connsiteY20" fmla="*/ 99060 h 408436"/>
                  <a:gd name="connsiteX21" fmla="*/ 2446020 w 2461364"/>
                  <a:gd name="connsiteY21" fmla="*/ 53340 h 408436"/>
                  <a:gd name="connsiteX22" fmla="*/ 2423160 w 2461364"/>
                  <a:gd name="connsiteY22" fmla="*/ 22860 h 408436"/>
                  <a:gd name="connsiteX23" fmla="*/ 2400300 w 2461364"/>
                  <a:gd name="connsiteY23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05000 w 2461364"/>
                  <a:gd name="connsiteY12" fmla="*/ 350520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20040 h 408436"/>
                  <a:gd name="connsiteX15" fmla="*/ 2308860 w 2461364"/>
                  <a:gd name="connsiteY15" fmla="*/ 26670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20040 h 408436"/>
                  <a:gd name="connsiteX15" fmla="*/ 2308860 w 2461364"/>
                  <a:gd name="connsiteY15" fmla="*/ 26670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6670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4765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47650 h 408436"/>
                  <a:gd name="connsiteX16" fmla="*/ 2423160 w 2461364"/>
                  <a:gd name="connsiteY16" fmla="*/ 190500 h 408436"/>
                  <a:gd name="connsiteX17" fmla="*/ 2446020 w 2461364"/>
                  <a:gd name="connsiteY17" fmla="*/ 160020 h 408436"/>
                  <a:gd name="connsiteX18" fmla="*/ 2461260 w 2461364"/>
                  <a:gd name="connsiteY18" fmla="*/ 99060 h 408436"/>
                  <a:gd name="connsiteX19" fmla="*/ 2446020 w 2461364"/>
                  <a:gd name="connsiteY19" fmla="*/ 53340 h 408436"/>
                  <a:gd name="connsiteX20" fmla="*/ 2423160 w 2461364"/>
                  <a:gd name="connsiteY20" fmla="*/ 22860 h 408436"/>
                  <a:gd name="connsiteX21" fmla="*/ 2400300 w 2461364"/>
                  <a:gd name="connsiteY21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47650 h 408436"/>
                  <a:gd name="connsiteX16" fmla="*/ 2410460 w 2461364"/>
                  <a:gd name="connsiteY16" fmla="*/ 187325 h 408436"/>
                  <a:gd name="connsiteX17" fmla="*/ 2446020 w 2461364"/>
                  <a:gd name="connsiteY17" fmla="*/ 160020 h 408436"/>
                  <a:gd name="connsiteX18" fmla="*/ 2461260 w 2461364"/>
                  <a:gd name="connsiteY18" fmla="*/ 99060 h 408436"/>
                  <a:gd name="connsiteX19" fmla="*/ 2446020 w 2461364"/>
                  <a:gd name="connsiteY19" fmla="*/ 53340 h 408436"/>
                  <a:gd name="connsiteX20" fmla="*/ 2423160 w 2461364"/>
                  <a:gd name="connsiteY20" fmla="*/ 22860 h 408436"/>
                  <a:gd name="connsiteX21" fmla="*/ 2400300 w 2461364"/>
                  <a:gd name="connsiteY21" fmla="*/ 0 h 408436"/>
                  <a:gd name="connsiteX0" fmla="*/ 0 w 2462688"/>
                  <a:gd name="connsiteY0" fmla="*/ 7620 h 408436"/>
                  <a:gd name="connsiteX1" fmla="*/ 7620 w 2462688"/>
                  <a:gd name="connsiteY1" fmla="*/ 45720 h 408436"/>
                  <a:gd name="connsiteX2" fmla="*/ 15240 w 2462688"/>
                  <a:gd name="connsiteY2" fmla="*/ 152400 h 408436"/>
                  <a:gd name="connsiteX3" fmla="*/ 60960 w 2462688"/>
                  <a:gd name="connsiteY3" fmla="*/ 205740 h 408436"/>
                  <a:gd name="connsiteX4" fmla="*/ 152400 w 2462688"/>
                  <a:gd name="connsiteY4" fmla="*/ 274320 h 408436"/>
                  <a:gd name="connsiteX5" fmla="*/ 365760 w 2462688"/>
                  <a:gd name="connsiteY5" fmla="*/ 327660 h 408436"/>
                  <a:gd name="connsiteX6" fmla="*/ 464820 w 2462688"/>
                  <a:gd name="connsiteY6" fmla="*/ 350520 h 408436"/>
                  <a:gd name="connsiteX7" fmla="*/ 579120 w 2462688"/>
                  <a:gd name="connsiteY7" fmla="*/ 365760 h 408436"/>
                  <a:gd name="connsiteX8" fmla="*/ 850900 w 2462688"/>
                  <a:gd name="connsiteY8" fmla="*/ 394335 h 408436"/>
                  <a:gd name="connsiteX9" fmla="*/ 1565910 w 2462688"/>
                  <a:gd name="connsiteY9" fmla="*/ 408305 h 408436"/>
                  <a:gd name="connsiteX10" fmla="*/ 1667510 w 2462688"/>
                  <a:gd name="connsiteY10" fmla="*/ 399415 h 408436"/>
                  <a:gd name="connsiteX11" fmla="*/ 1811655 w 2462688"/>
                  <a:gd name="connsiteY11" fmla="*/ 375920 h 408436"/>
                  <a:gd name="connsiteX12" fmla="*/ 1927225 w 2462688"/>
                  <a:gd name="connsiteY12" fmla="*/ 360045 h 408436"/>
                  <a:gd name="connsiteX13" fmla="*/ 2072640 w 2462688"/>
                  <a:gd name="connsiteY13" fmla="*/ 335280 h 408436"/>
                  <a:gd name="connsiteX14" fmla="*/ 2164080 w 2462688"/>
                  <a:gd name="connsiteY14" fmla="*/ 310515 h 408436"/>
                  <a:gd name="connsiteX15" fmla="*/ 2308860 w 2462688"/>
                  <a:gd name="connsiteY15" fmla="*/ 247650 h 408436"/>
                  <a:gd name="connsiteX16" fmla="*/ 2410460 w 2462688"/>
                  <a:gd name="connsiteY16" fmla="*/ 187325 h 408436"/>
                  <a:gd name="connsiteX17" fmla="*/ 2461260 w 2462688"/>
                  <a:gd name="connsiteY17" fmla="*/ 99060 h 408436"/>
                  <a:gd name="connsiteX18" fmla="*/ 2446020 w 2462688"/>
                  <a:gd name="connsiteY18" fmla="*/ 53340 h 408436"/>
                  <a:gd name="connsiteX19" fmla="*/ 2423160 w 2462688"/>
                  <a:gd name="connsiteY19" fmla="*/ 22860 h 408436"/>
                  <a:gd name="connsiteX20" fmla="*/ 2400300 w 2462688"/>
                  <a:gd name="connsiteY20" fmla="*/ 0 h 408436"/>
                  <a:gd name="connsiteX0" fmla="*/ 0 w 2462688"/>
                  <a:gd name="connsiteY0" fmla="*/ 0 h 400816"/>
                  <a:gd name="connsiteX1" fmla="*/ 7620 w 2462688"/>
                  <a:gd name="connsiteY1" fmla="*/ 38100 h 400816"/>
                  <a:gd name="connsiteX2" fmla="*/ 15240 w 2462688"/>
                  <a:gd name="connsiteY2" fmla="*/ 144780 h 400816"/>
                  <a:gd name="connsiteX3" fmla="*/ 60960 w 2462688"/>
                  <a:gd name="connsiteY3" fmla="*/ 198120 h 400816"/>
                  <a:gd name="connsiteX4" fmla="*/ 152400 w 2462688"/>
                  <a:gd name="connsiteY4" fmla="*/ 266700 h 400816"/>
                  <a:gd name="connsiteX5" fmla="*/ 365760 w 2462688"/>
                  <a:gd name="connsiteY5" fmla="*/ 320040 h 400816"/>
                  <a:gd name="connsiteX6" fmla="*/ 464820 w 2462688"/>
                  <a:gd name="connsiteY6" fmla="*/ 342900 h 400816"/>
                  <a:gd name="connsiteX7" fmla="*/ 579120 w 2462688"/>
                  <a:gd name="connsiteY7" fmla="*/ 358140 h 400816"/>
                  <a:gd name="connsiteX8" fmla="*/ 850900 w 2462688"/>
                  <a:gd name="connsiteY8" fmla="*/ 386715 h 400816"/>
                  <a:gd name="connsiteX9" fmla="*/ 1565910 w 2462688"/>
                  <a:gd name="connsiteY9" fmla="*/ 400685 h 400816"/>
                  <a:gd name="connsiteX10" fmla="*/ 1667510 w 2462688"/>
                  <a:gd name="connsiteY10" fmla="*/ 391795 h 400816"/>
                  <a:gd name="connsiteX11" fmla="*/ 1811655 w 2462688"/>
                  <a:gd name="connsiteY11" fmla="*/ 368300 h 400816"/>
                  <a:gd name="connsiteX12" fmla="*/ 1927225 w 2462688"/>
                  <a:gd name="connsiteY12" fmla="*/ 352425 h 400816"/>
                  <a:gd name="connsiteX13" fmla="*/ 2072640 w 2462688"/>
                  <a:gd name="connsiteY13" fmla="*/ 327660 h 400816"/>
                  <a:gd name="connsiteX14" fmla="*/ 2164080 w 2462688"/>
                  <a:gd name="connsiteY14" fmla="*/ 302895 h 400816"/>
                  <a:gd name="connsiteX15" fmla="*/ 2308860 w 2462688"/>
                  <a:gd name="connsiteY15" fmla="*/ 240030 h 400816"/>
                  <a:gd name="connsiteX16" fmla="*/ 2410460 w 2462688"/>
                  <a:gd name="connsiteY16" fmla="*/ 179705 h 400816"/>
                  <a:gd name="connsiteX17" fmla="*/ 2461260 w 2462688"/>
                  <a:gd name="connsiteY17" fmla="*/ 91440 h 400816"/>
                  <a:gd name="connsiteX18" fmla="*/ 2446020 w 2462688"/>
                  <a:gd name="connsiteY18" fmla="*/ 45720 h 400816"/>
                  <a:gd name="connsiteX19" fmla="*/ 2423160 w 2462688"/>
                  <a:gd name="connsiteY19" fmla="*/ 15240 h 400816"/>
                  <a:gd name="connsiteX0" fmla="*/ 0 w 2462742"/>
                  <a:gd name="connsiteY0" fmla="*/ 13335 h 414151"/>
                  <a:gd name="connsiteX1" fmla="*/ 7620 w 2462742"/>
                  <a:gd name="connsiteY1" fmla="*/ 51435 h 414151"/>
                  <a:gd name="connsiteX2" fmla="*/ 15240 w 2462742"/>
                  <a:gd name="connsiteY2" fmla="*/ 158115 h 414151"/>
                  <a:gd name="connsiteX3" fmla="*/ 60960 w 2462742"/>
                  <a:gd name="connsiteY3" fmla="*/ 211455 h 414151"/>
                  <a:gd name="connsiteX4" fmla="*/ 152400 w 2462742"/>
                  <a:gd name="connsiteY4" fmla="*/ 280035 h 414151"/>
                  <a:gd name="connsiteX5" fmla="*/ 365760 w 2462742"/>
                  <a:gd name="connsiteY5" fmla="*/ 333375 h 414151"/>
                  <a:gd name="connsiteX6" fmla="*/ 464820 w 2462742"/>
                  <a:gd name="connsiteY6" fmla="*/ 356235 h 414151"/>
                  <a:gd name="connsiteX7" fmla="*/ 579120 w 2462742"/>
                  <a:gd name="connsiteY7" fmla="*/ 371475 h 414151"/>
                  <a:gd name="connsiteX8" fmla="*/ 850900 w 2462742"/>
                  <a:gd name="connsiteY8" fmla="*/ 400050 h 414151"/>
                  <a:gd name="connsiteX9" fmla="*/ 1565910 w 2462742"/>
                  <a:gd name="connsiteY9" fmla="*/ 414020 h 414151"/>
                  <a:gd name="connsiteX10" fmla="*/ 1667510 w 2462742"/>
                  <a:gd name="connsiteY10" fmla="*/ 405130 h 414151"/>
                  <a:gd name="connsiteX11" fmla="*/ 1811655 w 2462742"/>
                  <a:gd name="connsiteY11" fmla="*/ 381635 h 414151"/>
                  <a:gd name="connsiteX12" fmla="*/ 1927225 w 2462742"/>
                  <a:gd name="connsiteY12" fmla="*/ 365760 h 414151"/>
                  <a:gd name="connsiteX13" fmla="*/ 2072640 w 2462742"/>
                  <a:gd name="connsiteY13" fmla="*/ 340995 h 414151"/>
                  <a:gd name="connsiteX14" fmla="*/ 2164080 w 2462742"/>
                  <a:gd name="connsiteY14" fmla="*/ 316230 h 414151"/>
                  <a:gd name="connsiteX15" fmla="*/ 2308860 w 2462742"/>
                  <a:gd name="connsiteY15" fmla="*/ 253365 h 414151"/>
                  <a:gd name="connsiteX16" fmla="*/ 2410460 w 2462742"/>
                  <a:gd name="connsiteY16" fmla="*/ 193040 h 414151"/>
                  <a:gd name="connsiteX17" fmla="*/ 2461260 w 2462742"/>
                  <a:gd name="connsiteY17" fmla="*/ 104775 h 414151"/>
                  <a:gd name="connsiteX18" fmla="*/ 2446020 w 2462742"/>
                  <a:gd name="connsiteY18" fmla="*/ 59055 h 414151"/>
                  <a:gd name="connsiteX19" fmla="*/ 2413635 w 2462742"/>
                  <a:gd name="connsiteY19" fmla="*/ 0 h 414151"/>
                  <a:gd name="connsiteX0" fmla="*/ 0 w 2463256"/>
                  <a:gd name="connsiteY0" fmla="*/ 13335 h 414151"/>
                  <a:gd name="connsiteX1" fmla="*/ 7620 w 2463256"/>
                  <a:gd name="connsiteY1" fmla="*/ 51435 h 414151"/>
                  <a:gd name="connsiteX2" fmla="*/ 15240 w 2463256"/>
                  <a:gd name="connsiteY2" fmla="*/ 158115 h 414151"/>
                  <a:gd name="connsiteX3" fmla="*/ 60960 w 2463256"/>
                  <a:gd name="connsiteY3" fmla="*/ 211455 h 414151"/>
                  <a:gd name="connsiteX4" fmla="*/ 152400 w 2463256"/>
                  <a:gd name="connsiteY4" fmla="*/ 280035 h 414151"/>
                  <a:gd name="connsiteX5" fmla="*/ 365760 w 2463256"/>
                  <a:gd name="connsiteY5" fmla="*/ 333375 h 414151"/>
                  <a:gd name="connsiteX6" fmla="*/ 464820 w 2463256"/>
                  <a:gd name="connsiteY6" fmla="*/ 356235 h 414151"/>
                  <a:gd name="connsiteX7" fmla="*/ 579120 w 2463256"/>
                  <a:gd name="connsiteY7" fmla="*/ 371475 h 414151"/>
                  <a:gd name="connsiteX8" fmla="*/ 850900 w 2463256"/>
                  <a:gd name="connsiteY8" fmla="*/ 400050 h 414151"/>
                  <a:gd name="connsiteX9" fmla="*/ 1565910 w 2463256"/>
                  <a:gd name="connsiteY9" fmla="*/ 414020 h 414151"/>
                  <a:gd name="connsiteX10" fmla="*/ 1667510 w 2463256"/>
                  <a:gd name="connsiteY10" fmla="*/ 405130 h 414151"/>
                  <a:gd name="connsiteX11" fmla="*/ 1811655 w 2463256"/>
                  <a:gd name="connsiteY11" fmla="*/ 381635 h 414151"/>
                  <a:gd name="connsiteX12" fmla="*/ 1927225 w 2463256"/>
                  <a:gd name="connsiteY12" fmla="*/ 365760 h 414151"/>
                  <a:gd name="connsiteX13" fmla="*/ 2072640 w 2463256"/>
                  <a:gd name="connsiteY13" fmla="*/ 340995 h 414151"/>
                  <a:gd name="connsiteX14" fmla="*/ 2164080 w 2463256"/>
                  <a:gd name="connsiteY14" fmla="*/ 316230 h 414151"/>
                  <a:gd name="connsiteX15" fmla="*/ 2308860 w 2463256"/>
                  <a:gd name="connsiteY15" fmla="*/ 253365 h 414151"/>
                  <a:gd name="connsiteX16" fmla="*/ 2410460 w 2463256"/>
                  <a:gd name="connsiteY16" fmla="*/ 193040 h 414151"/>
                  <a:gd name="connsiteX17" fmla="*/ 2461260 w 2463256"/>
                  <a:gd name="connsiteY17" fmla="*/ 104775 h 414151"/>
                  <a:gd name="connsiteX18" fmla="*/ 2449195 w 2463256"/>
                  <a:gd name="connsiteY18" fmla="*/ 46355 h 414151"/>
                  <a:gd name="connsiteX19" fmla="*/ 2413635 w 2463256"/>
                  <a:gd name="connsiteY19" fmla="*/ 0 h 414151"/>
                  <a:gd name="connsiteX0" fmla="*/ 0 w 2463256"/>
                  <a:gd name="connsiteY0" fmla="*/ 13335 h 414151"/>
                  <a:gd name="connsiteX1" fmla="*/ 7620 w 2463256"/>
                  <a:gd name="connsiteY1" fmla="*/ 51435 h 414151"/>
                  <a:gd name="connsiteX2" fmla="*/ 15240 w 2463256"/>
                  <a:gd name="connsiteY2" fmla="*/ 158115 h 414151"/>
                  <a:gd name="connsiteX3" fmla="*/ 60960 w 2463256"/>
                  <a:gd name="connsiteY3" fmla="*/ 211455 h 414151"/>
                  <a:gd name="connsiteX4" fmla="*/ 152400 w 2463256"/>
                  <a:gd name="connsiteY4" fmla="*/ 280035 h 414151"/>
                  <a:gd name="connsiteX5" fmla="*/ 365760 w 2463256"/>
                  <a:gd name="connsiteY5" fmla="*/ 333375 h 414151"/>
                  <a:gd name="connsiteX6" fmla="*/ 464820 w 2463256"/>
                  <a:gd name="connsiteY6" fmla="*/ 356235 h 414151"/>
                  <a:gd name="connsiteX7" fmla="*/ 579120 w 2463256"/>
                  <a:gd name="connsiteY7" fmla="*/ 371475 h 414151"/>
                  <a:gd name="connsiteX8" fmla="*/ 850900 w 2463256"/>
                  <a:gd name="connsiteY8" fmla="*/ 400050 h 414151"/>
                  <a:gd name="connsiteX9" fmla="*/ 1565910 w 2463256"/>
                  <a:gd name="connsiteY9" fmla="*/ 414020 h 414151"/>
                  <a:gd name="connsiteX10" fmla="*/ 1667510 w 2463256"/>
                  <a:gd name="connsiteY10" fmla="*/ 405130 h 414151"/>
                  <a:gd name="connsiteX11" fmla="*/ 1811655 w 2463256"/>
                  <a:gd name="connsiteY11" fmla="*/ 381635 h 414151"/>
                  <a:gd name="connsiteX12" fmla="*/ 1927225 w 2463256"/>
                  <a:gd name="connsiteY12" fmla="*/ 365760 h 414151"/>
                  <a:gd name="connsiteX13" fmla="*/ 2072640 w 2463256"/>
                  <a:gd name="connsiteY13" fmla="*/ 340995 h 414151"/>
                  <a:gd name="connsiteX14" fmla="*/ 2164080 w 2463256"/>
                  <a:gd name="connsiteY14" fmla="*/ 316230 h 414151"/>
                  <a:gd name="connsiteX15" fmla="*/ 2308860 w 2463256"/>
                  <a:gd name="connsiteY15" fmla="*/ 253365 h 414151"/>
                  <a:gd name="connsiteX16" fmla="*/ 2410460 w 2463256"/>
                  <a:gd name="connsiteY16" fmla="*/ 183515 h 414151"/>
                  <a:gd name="connsiteX17" fmla="*/ 2461260 w 2463256"/>
                  <a:gd name="connsiteY17" fmla="*/ 104775 h 414151"/>
                  <a:gd name="connsiteX18" fmla="*/ 2449195 w 2463256"/>
                  <a:gd name="connsiteY18" fmla="*/ 46355 h 414151"/>
                  <a:gd name="connsiteX19" fmla="*/ 2413635 w 2463256"/>
                  <a:gd name="connsiteY19" fmla="*/ 0 h 414151"/>
                  <a:gd name="connsiteX0" fmla="*/ 11515 w 2474771"/>
                  <a:gd name="connsiteY0" fmla="*/ 13335 h 414151"/>
                  <a:gd name="connsiteX1" fmla="*/ 85 w 2474771"/>
                  <a:gd name="connsiteY1" fmla="*/ 48260 h 414151"/>
                  <a:gd name="connsiteX2" fmla="*/ 26755 w 2474771"/>
                  <a:gd name="connsiteY2" fmla="*/ 158115 h 414151"/>
                  <a:gd name="connsiteX3" fmla="*/ 72475 w 2474771"/>
                  <a:gd name="connsiteY3" fmla="*/ 211455 h 414151"/>
                  <a:gd name="connsiteX4" fmla="*/ 163915 w 2474771"/>
                  <a:gd name="connsiteY4" fmla="*/ 280035 h 414151"/>
                  <a:gd name="connsiteX5" fmla="*/ 377275 w 2474771"/>
                  <a:gd name="connsiteY5" fmla="*/ 333375 h 414151"/>
                  <a:gd name="connsiteX6" fmla="*/ 476335 w 2474771"/>
                  <a:gd name="connsiteY6" fmla="*/ 356235 h 414151"/>
                  <a:gd name="connsiteX7" fmla="*/ 590635 w 2474771"/>
                  <a:gd name="connsiteY7" fmla="*/ 371475 h 414151"/>
                  <a:gd name="connsiteX8" fmla="*/ 862415 w 2474771"/>
                  <a:gd name="connsiteY8" fmla="*/ 400050 h 414151"/>
                  <a:gd name="connsiteX9" fmla="*/ 1577425 w 2474771"/>
                  <a:gd name="connsiteY9" fmla="*/ 414020 h 414151"/>
                  <a:gd name="connsiteX10" fmla="*/ 1679025 w 2474771"/>
                  <a:gd name="connsiteY10" fmla="*/ 405130 h 414151"/>
                  <a:gd name="connsiteX11" fmla="*/ 1823170 w 2474771"/>
                  <a:gd name="connsiteY11" fmla="*/ 381635 h 414151"/>
                  <a:gd name="connsiteX12" fmla="*/ 1938740 w 2474771"/>
                  <a:gd name="connsiteY12" fmla="*/ 365760 h 414151"/>
                  <a:gd name="connsiteX13" fmla="*/ 2084155 w 2474771"/>
                  <a:gd name="connsiteY13" fmla="*/ 340995 h 414151"/>
                  <a:gd name="connsiteX14" fmla="*/ 2175595 w 2474771"/>
                  <a:gd name="connsiteY14" fmla="*/ 316230 h 414151"/>
                  <a:gd name="connsiteX15" fmla="*/ 2320375 w 2474771"/>
                  <a:gd name="connsiteY15" fmla="*/ 253365 h 414151"/>
                  <a:gd name="connsiteX16" fmla="*/ 2421975 w 2474771"/>
                  <a:gd name="connsiteY16" fmla="*/ 183515 h 414151"/>
                  <a:gd name="connsiteX17" fmla="*/ 2472775 w 2474771"/>
                  <a:gd name="connsiteY17" fmla="*/ 104775 h 414151"/>
                  <a:gd name="connsiteX18" fmla="*/ 2460710 w 2474771"/>
                  <a:gd name="connsiteY18" fmla="*/ 46355 h 414151"/>
                  <a:gd name="connsiteX19" fmla="*/ 2425150 w 2474771"/>
                  <a:gd name="connsiteY19" fmla="*/ 0 h 414151"/>
                  <a:gd name="connsiteX0" fmla="*/ 11515 w 2474771"/>
                  <a:gd name="connsiteY0" fmla="*/ 13335 h 414151"/>
                  <a:gd name="connsiteX1" fmla="*/ 85 w 2474771"/>
                  <a:gd name="connsiteY1" fmla="*/ 48260 h 414151"/>
                  <a:gd name="connsiteX2" fmla="*/ 26755 w 2474771"/>
                  <a:gd name="connsiteY2" fmla="*/ 158115 h 414151"/>
                  <a:gd name="connsiteX3" fmla="*/ 72475 w 2474771"/>
                  <a:gd name="connsiteY3" fmla="*/ 211455 h 414151"/>
                  <a:gd name="connsiteX4" fmla="*/ 182965 w 2474771"/>
                  <a:gd name="connsiteY4" fmla="*/ 270510 h 414151"/>
                  <a:gd name="connsiteX5" fmla="*/ 377275 w 2474771"/>
                  <a:gd name="connsiteY5" fmla="*/ 333375 h 414151"/>
                  <a:gd name="connsiteX6" fmla="*/ 476335 w 2474771"/>
                  <a:gd name="connsiteY6" fmla="*/ 356235 h 414151"/>
                  <a:gd name="connsiteX7" fmla="*/ 590635 w 2474771"/>
                  <a:gd name="connsiteY7" fmla="*/ 371475 h 414151"/>
                  <a:gd name="connsiteX8" fmla="*/ 862415 w 2474771"/>
                  <a:gd name="connsiteY8" fmla="*/ 400050 h 414151"/>
                  <a:gd name="connsiteX9" fmla="*/ 1577425 w 2474771"/>
                  <a:gd name="connsiteY9" fmla="*/ 414020 h 414151"/>
                  <a:gd name="connsiteX10" fmla="*/ 1679025 w 2474771"/>
                  <a:gd name="connsiteY10" fmla="*/ 405130 h 414151"/>
                  <a:gd name="connsiteX11" fmla="*/ 1823170 w 2474771"/>
                  <a:gd name="connsiteY11" fmla="*/ 381635 h 414151"/>
                  <a:gd name="connsiteX12" fmla="*/ 1938740 w 2474771"/>
                  <a:gd name="connsiteY12" fmla="*/ 365760 h 414151"/>
                  <a:gd name="connsiteX13" fmla="*/ 2084155 w 2474771"/>
                  <a:gd name="connsiteY13" fmla="*/ 340995 h 414151"/>
                  <a:gd name="connsiteX14" fmla="*/ 2175595 w 2474771"/>
                  <a:gd name="connsiteY14" fmla="*/ 316230 h 414151"/>
                  <a:gd name="connsiteX15" fmla="*/ 2320375 w 2474771"/>
                  <a:gd name="connsiteY15" fmla="*/ 253365 h 414151"/>
                  <a:gd name="connsiteX16" fmla="*/ 2421975 w 2474771"/>
                  <a:gd name="connsiteY16" fmla="*/ 183515 h 414151"/>
                  <a:gd name="connsiteX17" fmla="*/ 2472775 w 2474771"/>
                  <a:gd name="connsiteY17" fmla="*/ 104775 h 414151"/>
                  <a:gd name="connsiteX18" fmla="*/ 2460710 w 2474771"/>
                  <a:gd name="connsiteY18" fmla="*/ 46355 h 414151"/>
                  <a:gd name="connsiteX19" fmla="*/ 2425150 w 2474771"/>
                  <a:gd name="connsiteY19" fmla="*/ 0 h 414151"/>
                  <a:gd name="connsiteX0" fmla="*/ 11515 w 2474960"/>
                  <a:gd name="connsiteY0" fmla="*/ 32385 h 433201"/>
                  <a:gd name="connsiteX1" fmla="*/ 85 w 2474960"/>
                  <a:gd name="connsiteY1" fmla="*/ 67310 h 433201"/>
                  <a:gd name="connsiteX2" fmla="*/ 26755 w 2474960"/>
                  <a:gd name="connsiteY2" fmla="*/ 177165 h 433201"/>
                  <a:gd name="connsiteX3" fmla="*/ 72475 w 2474960"/>
                  <a:gd name="connsiteY3" fmla="*/ 230505 h 433201"/>
                  <a:gd name="connsiteX4" fmla="*/ 182965 w 2474960"/>
                  <a:gd name="connsiteY4" fmla="*/ 289560 h 433201"/>
                  <a:gd name="connsiteX5" fmla="*/ 377275 w 2474960"/>
                  <a:gd name="connsiteY5" fmla="*/ 352425 h 433201"/>
                  <a:gd name="connsiteX6" fmla="*/ 476335 w 2474960"/>
                  <a:gd name="connsiteY6" fmla="*/ 375285 h 433201"/>
                  <a:gd name="connsiteX7" fmla="*/ 590635 w 2474960"/>
                  <a:gd name="connsiteY7" fmla="*/ 390525 h 433201"/>
                  <a:gd name="connsiteX8" fmla="*/ 862415 w 2474960"/>
                  <a:gd name="connsiteY8" fmla="*/ 419100 h 433201"/>
                  <a:gd name="connsiteX9" fmla="*/ 1577425 w 2474960"/>
                  <a:gd name="connsiteY9" fmla="*/ 433070 h 433201"/>
                  <a:gd name="connsiteX10" fmla="*/ 1679025 w 2474960"/>
                  <a:gd name="connsiteY10" fmla="*/ 424180 h 433201"/>
                  <a:gd name="connsiteX11" fmla="*/ 1823170 w 2474960"/>
                  <a:gd name="connsiteY11" fmla="*/ 400685 h 433201"/>
                  <a:gd name="connsiteX12" fmla="*/ 1938740 w 2474960"/>
                  <a:gd name="connsiteY12" fmla="*/ 384810 h 433201"/>
                  <a:gd name="connsiteX13" fmla="*/ 2084155 w 2474960"/>
                  <a:gd name="connsiteY13" fmla="*/ 360045 h 433201"/>
                  <a:gd name="connsiteX14" fmla="*/ 2175595 w 2474960"/>
                  <a:gd name="connsiteY14" fmla="*/ 335280 h 433201"/>
                  <a:gd name="connsiteX15" fmla="*/ 2320375 w 2474960"/>
                  <a:gd name="connsiteY15" fmla="*/ 272415 h 433201"/>
                  <a:gd name="connsiteX16" fmla="*/ 2421975 w 2474960"/>
                  <a:gd name="connsiteY16" fmla="*/ 202565 h 433201"/>
                  <a:gd name="connsiteX17" fmla="*/ 2472775 w 2474960"/>
                  <a:gd name="connsiteY17" fmla="*/ 123825 h 433201"/>
                  <a:gd name="connsiteX18" fmla="*/ 2460710 w 2474960"/>
                  <a:gd name="connsiteY18" fmla="*/ 65405 h 433201"/>
                  <a:gd name="connsiteX19" fmla="*/ 2415625 w 2474960"/>
                  <a:gd name="connsiteY19" fmla="*/ 0 h 433201"/>
                  <a:gd name="connsiteX0" fmla="*/ 24135 w 2474880"/>
                  <a:gd name="connsiteY0" fmla="*/ 16510 h 433201"/>
                  <a:gd name="connsiteX1" fmla="*/ 5 w 2474880"/>
                  <a:gd name="connsiteY1" fmla="*/ 67310 h 433201"/>
                  <a:gd name="connsiteX2" fmla="*/ 26675 w 2474880"/>
                  <a:gd name="connsiteY2" fmla="*/ 177165 h 433201"/>
                  <a:gd name="connsiteX3" fmla="*/ 72395 w 2474880"/>
                  <a:gd name="connsiteY3" fmla="*/ 230505 h 433201"/>
                  <a:gd name="connsiteX4" fmla="*/ 182885 w 2474880"/>
                  <a:gd name="connsiteY4" fmla="*/ 289560 h 433201"/>
                  <a:gd name="connsiteX5" fmla="*/ 377195 w 2474880"/>
                  <a:gd name="connsiteY5" fmla="*/ 352425 h 433201"/>
                  <a:gd name="connsiteX6" fmla="*/ 476255 w 2474880"/>
                  <a:gd name="connsiteY6" fmla="*/ 375285 h 433201"/>
                  <a:gd name="connsiteX7" fmla="*/ 590555 w 2474880"/>
                  <a:gd name="connsiteY7" fmla="*/ 390525 h 433201"/>
                  <a:gd name="connsiteX8" fmla="*/ 862335 w 2474880"/>
                  <a:gd name="connsiteY8" fmla="*/ 419100 h 433201"/>
                  <a:gd name="connsiteX9" fmla="*/ 1577345 w 2474880"/>
                  <a:gd name="connsiteY9" fmla="*/ 433070 h 433201"/>
                  <a:gd name="connsiteX10" fmla="*/ 1678945 w 2474880"/>
                  <a:gd name="connsiteY10" fmla="*/ 424180 h 433201"/>
                  <a:gd name="connsiteX11" fmla="*/ 1823090 w 2474880"/>
                  <a:gd name="connsiteY11" fmla="*/ 400685 h 433201"/>
                  <a:gd name="connsiteX12" fmla="*/ 1938660 w 2474880"/>
                  <a:gd name="connsiteY12" fmla="*/ 384810 h 433201"/>
                  <a:gd name="connsiteX13" fmla="*/ 2084075 w 2474880"/>
                  <a:gd name="connsiteY13" fmla="*/ 360045 h 433201"/>
                  <a:gd name="connsiteX14" fmla="*/ 2175515 w 2474880"/>
                  <a:gd name="connsiteY14" fmla="*/ 335280 h 433201"/>
                  <a:gd name="connsiteX15" fmla="*/ 2320295 w 2474880"/>
                  <a:gd name="connsiteY15" fmla="*/ 272415 h 433201"/>
                  <a:gd name="connsiteX16" fmla="*/ 2421895 w 2474880"/>
                  <a:gd name="connsiteY16" fmla="*/ 202565 h 433201"/>
                  <a:gd name="connsiteX17" fmla="*/ 2472695 w 2474880"/>
                  <a:gd name="connsiteY17" fmla="*/ 123825 h 433201"/>
                  <a:gd name="connsiteX18" fmla="*/ 2460630 w 2474880"/>
                  <a:gd name="connsiteY18" fmla="*/ 65405 h 433201"/>
                  <a:gd name="connsiteX19" fmla="*/ 2415545 w 2474880"/>
                  <a:gd name="connsiteY19" fmla="*/ 0 h 433201"/>
                  <a:gd name="connsiteX0" fmla="*/ 30947 w 2481692"/>
                  <a:gd name="connsiteY0" fmla="*/ 16510 h 433201"/>
                  <a:gd name="connsiteX1" fmla="*/ 6817 w 2481692"/>
                  <a:gd name="connsiteY1" fmla="*/ 67310 h 433201"/>
                  <a:gd name="connsiteX2" fmla="*/ 33487 w 2481692"/>
                  <a:gd name="connsiteY2" fmla="*/ 177165 h 433201"/>
                  <a:gd name="connsiteX3" fmla="*/ 79207 w 2481692"/>
                  <a:gd name="connsiteY3" fmla="*/ 230505 h 433201"/>
                  <a:gd name="connsiteX4" fmla="*/ 189697 w 2481692"/>
                  <a:gd name="connsiteY4" fmla="*/ 289560 h 433201"/>
                  <a:gd name="connsiteX5" fmla="*/ 384007 w 2481692"/>
                  <a:gd name="connsiteY5" fmla="*/ 352425 h 433201"/>
                  <a:gd name="connsiteX6" fmla="*/ 483067 w 2481692"/>
                  <a:gd name="connsiteY6" fmla="*/ 375285 h 433201"/>
                  <a:gd name="connsiteX7" fmla="*/ 597367 w 2481692"/>
                  <a:gd name="connsiteY7" fmla="*/ 390525 h 433201"/>
                  <a:gd name="connsiteX8" fmla="*/ 869147 w 2481692"/>
                  <a:gd name="connsiteY8" fmla="*/ 419100 h 433201"/>
                  <a:gd name="connsiteX9" fmla="*/ 1584157 w 2481692"/>
                  <a:gd name="connsiteY9" fmla="*/ 433070 h 433201"/>
                  <a:gd name="connsiteX10" fmla="*/ 1685757 w 2481692"/>
                  <a:gd name="connsiteY10" fmla="*/ 424180 h 433201"/>
                  <a:gd name="connsiteX11" fmla="*/ 1829902 w 2481692"/>
                  <a:gd name="connsiteY11" fmla="*/ 400685 h 433201"/>
                  <a:gd name="connsiteX12" fmla="*/ 1945472 w 2481692"/>
                  <a:gd name="connsiteY12" fmla="*/ 384810 h 433201"/>
                  <a:gd name="connsiteX13" fmla="*/ 2090887 w 2481692"/>
                  <a:gd name="connsiteY13" fmla="*/ 360045 h 433201"/>
                  <a:gd name="connsiteX14" fmla="*/ 2182327 w 2481692"/>
                  <a:gd name="connsiteY14" fmla="*/ 335280 h 433201"/>
                  <a:gd name="connsiteX15" fmla="*/ 2327107 w 2481692"/>
                  <a:gd name="connsiteY15" fmla="*/ 272415 h 433201"/>
                  <a:gd name="connsiteX16" fmla="*/ 2428707 w 2481692"/>
                  <a:gd name="connsiteY16" fmla="*/ 202565 h 433201"/>
                  <a:gd name="connsiteX17" fmla="*/ 2479507 w 2481692"/>
                  <a:gd name="connsiteY17" fmla="*/ 123825 h 433201"/>
                  <a:gd name="connsiteX18" fmla="*/ 2467442 w 2481692"/>
                  <a:gd name="connsiteY18" fmla="*/ 65405 h 433201"/>
                  <a:gd name="connsiteX19" fmla="*/ 2422357 w 2481692"/>
                  <a:gd name="connsiteY19" fmla="*/ 0 h 433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81692" h="433201">
                    <a:moveTo>
                      <a:pt x="30947" y="16510"/>
                    </a:moveTo>
                    <a:cubicBezTo>
                      <a:pt x="33487" y="29210"/>
                      <a:pt x="14987" y="41808"/>
                      <a:pt x="6817" y="67310"/>
                    </a:cubicBezTo>
                    <a:cubicBezTo>
                      <a:pt x="-14985" y="135361"/>
                      <a:pt x="21422" y="149966"/>
                      <a:pt x="33487" y="177165"/>
                    </a:cubicBezTo>
                    <a:cubicBezTo>
                      <a:pt x="45552" y="204364"/>
                      <a:pt x="53172" y="211773"/>
                      <a:pt x="79207" y="230505"/>
                    </a:cubicBezTo>
                    <a:cubicBezTo>
                      <a:pt x="105242" y="249237"/>
                      <a:pt x="138897" y="269240"/>
                      <a:pt x="189697" y="289560"/>
                    </a:cubicBezTo>
                    <a:cubicBezTo>
                      <a:pt x="240497" y="309880"/>
                      <a:pt x="335112" y="338138"/>
                      <a:pt x="384007" y="352425"/>
                    </a:cubicBezTo>
                    <a:cubicBezTo>
                      <a:pt x="432902" y="366713"/>
                      <a:pt x="447507" y="368935"/>
                      <a:pt x="483067" y="375285"/>
                    </a:cubicBezTo>
                    <a:cubicBezTo>
                      <a:pt x="518627" y="381635"/>
                      <a:pt x="574507" y="386715"/>
                      <a:pt x="597367" y="390525"/>
                    </a:cubicBezTo>
                    <a:cubicBezTo>
                      <a:pt x="640547" y="399415"/>
                      <a:pt x="704682" y="412009"/>
                      <a:pt x="869147" y="419100"/>
                    </a:cubicBezTo>
                    <a:cubicBezTo>
                      <a:pt x="1033612" y="426191"/>
                      <a:pt x="1421597" y="434340"/>
                      <a:pt x="1584157" y="433070"/>
                    </a:cubicBezTo>
                    <a:cubicBezTo>
                      <a:pt x="1597831" y="432713"/>
                      <a:pt x="1644800" y="429577"/>
                      <a:pt x="1685757" y="424180"/>
                    </a:cubicBezTo>
                    <a:cubicBezTo>
                      <a:pt x="1726714" y="418783"/>
                      <a:pt x="1814662" y="403225"/>
                      <a:pt x="1829902" y="400685"/>
                    </a:cubicBezTo>
                    <a:cubicBezTo>
                      <a:pt x="1869484" y="392536"/>
                      <a:pt x="1901975" y="391583"/>
                      <a:pt x="1945472" y="384810"/>
                    </a:cubicBezTo>
                    <a:cubicBezTo>
                      <a:pt x="1988970" y="378037"/>
                      <a:pt x="2051411" y="368300"/>
                      <a:pt x="2090887" y="360045"/>
                    </a:cubicBezTo>
                    <a:cubicBezTo>
                      <a:pt x="2130363" y="351790"/>
                      <a:pt x="2152220" y="339581"/>
                      <a:pt x="2182327" y="335280"/>
                    </a:cubicBezTo>
                    <a:cubicBezTo>
                      <a:pt x="2209880" y="326096"/>
                      <a:pt x="2286044" y="294534"/>
                      <a:pt x="2327107" y="272415"/>
                    </a:cubicBezTo>
                    <a:cubicBezTo>
                      <a:pt x="2368170" y="250296"/>
                      <a:pt x="2403307" y="227330"/>
                      <a:pt x="2428707" y="202565"/>
                    </a:cubicBezTo>
                    <a:cubicBezTo>
                      <a:pt x="2454107" y="177800"/>
                      <a:pt x="2473051" y="146685"/>
                      <a:pt x="2479507" y="123825"/>
                    </a:cubicBezTo>
                    <a:cubicBezTo>
                      <a:pt x="2485963" y="100965"/>
                      <a:pt x="2476967" y="86042"/>
                      <a:pt x="2467442" y="65405"/>
                    </a:cubicBezTo>
                    <a:cubicBezTo>
                      <a:pt x="2457917" y="44768"/>
                      <a:pt x="2430622" y="9643"/>
                      <a:pt x="2422357" y="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60" name="Freeform: Shape 55">
                <a:extLst>
                  <a:ext uri="{FF2B5EF4-FFF2-40B4-BE49-F238E27FC236}">
                    <a16:creationId xmlns:a16="http://schemas.microsoft.com/office/drawing/2014/main" id="{9844F960-08B3-3735-25EE-B29DABF41EDE}"/>
                  </a:ext>
                </a:extLst>
              </p:cNvPr>
              <p:cNvSpPr/>
              <p:nvPr/>
            </p:nvSpPr>
            <p:spPr>
              <a:xfrm>
                <a:off x="3771600" y="3990677"/>
                <a:ext cx="2262487" cy="970709"/>
              </a:xfrm>
              <a:custGeom>
                <a:avLst/>
                <a:gdLst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52413 w 2262188"/>
                  <a:gd name="connsiteY7" fmla="*/ 319088 h 982971"/>
                  <a:gd name="connsiteX8" fmla="*/ 271463 w 2262188"/>
                  <a:gd name="connsiteY8" fmla="*/ 347663 h 982971"/>
                  <a:gd name="connsiteX9" fmla="*/ 290513 w 2262188"/>
                  <a:gd name="connsiteY9" fmla="*/ 366713 h 982971"/>
                  <a:gd name="connsiteX10" fmla="*/ 338138 w 2262188"/>
                  <a:gd name="connsiteY10" fmla="*/ 419100 h 982971"/>
                  <a:gd name="connsiteX11" fmla="*/ 371475 w 2262188"/>
                  <a:gd name="connsiteY11" fmla="*/ 438150 h 982971"/>
                  <a:gd name="connsiteX12" fmla="*/ 395288 w 2262188"/>
                  <a:gd name="connsiteY12" fmla="*/ 457200 h 982971"/>
                  <a:gd name="connsiteX13" fmla="*/ 433388 w 2262188"/>
                  <a:gd name="connsiteY13" fmla="*/ 476250 h 982971"/>
                  <a:gd name="connsiteX14" fmla="*/ 476250 w 2262188"/>
                  <a:gd name="connsiteY14" fmla="*/ 509588 h 982971"/>
                  <a:gd name="connsiteX15" fmla="*/ 542925 w 2262188"/>
                  <a:gd name="connsiteY15" fmla="*/ 557213 h 982971"/>
                  <a:gd name="connsiteX16" fmla="*/ 600075 w 2262188"/>
                  <a:gd name="connsiteY16" fmla="*/ 614363 h 982971"/>
                  <a:gd name="connsiteX17" fmla="*/ 633413 w 2262188"/>
                  <a:gd name="connsiteY17" fmla="*/ 633413 h 982971"/>
                  <a:gd name="connsiteX18" fmla="*/ 690563 w 2262188"/>
                  <a:gd name="connsiteY18" fmla="*/ 676275 h 982971"/>
                  <a:gd name="connsiteX19" fmla="*/ 757238 w 2262188"/>
                  <a:gd name="connsiteY19" fmla="*/ 714375 h 982971"/>
                  <a:gd name="connsiteX20" fmla="*/ 776288 w 2262188"/>
                  <a:gd name="connsiteY20" fmla="*/ 728663 h 982971"/>
                  <a:gd name="connsiteX21" fmla="*/ 828675 w 2262188"/>
                  <a:gd name="connsiteY21" fmla="*/ 752475 h 982971"/>
                  <a:gd name="connsiteX22" fmla="*/ 847725 w 2262188"/>
                  <a:gd name="connsiteY22" fmla="*/ 766763 h 982971"/>
                  <a:gd name="connsiteX23" fmla="*/ 914400 w 2262188"/>
                  <a:gd name="connsiteY23" fmla="*/ 790575 h 982971"/>
                  <a:gd name="connsiteX24" fmla="*/ 947738 w 2262188"/>
                  <a:gd name="connsiteY24" fmla="*/ 809625 h 982971"/>
                  <a:gd name="connsiteX25" fmla="*/ 966788 w 2262188"/>
                  <a:gd name="connsiteY25" fmla="*/ 823913 h 982971"/>
                  <a:gd name="connsiteX26" fmla="*/ 981075 w 2262188"/>
                  <a:gd name="connsiteY26" fmla="*/ 828675 h 982971"/>
                  <a:gd name="connsiteX27" fmla="*/ 1000125 w 2262188"/>
                  <a:gd name="connsiteY27" fmla="*/ 838200 h 982971"/>
                  <a:gd name="connsiteX28" fmla="*/ 1033463 w 2262188"/>
                  <a:gd name="connsiteY28" fmla="*/ 852488 h 982971"/>
                  <a:gd name="connsiteX29" fmla="*/ 1100138 w 2262188"/>
                  <a:gd name="connsiteY29" fmla="*/ 881063 h 982971"/>
                  <a:gd name="connsiteX30" fmla="*/ 1128713 w 2262188"/>
                  <a:gd name="connsiteY30" fmla="*/ 885825 h 982971"/>
                  <a:gd name="connsiteX31" fmla="*/ 1204913 w 2262188"/>
                  <a:gd name="connsiteY31" fmla="*/ 909638 h 982971"/>
                  <a:gd name="connsiteX32" fmla="*/ 1233488 w 2262188"/>
                  <a:gd name="connsiteY32" fmla="*/ 914400 h 982971"/>
                  <a:gd name="connsiteX33" fmla="*/ 1281113 w 2262188"/>
                  <a:gd name="connsiteY33" fmla="*/ 928688 h 982971"/>
                  <a:gd name="connsiteX34" fmla="*/ 1343025 w 2262188"/>
                  <a:gd name="connsiteY34" fmla="*/ 933450 h 982971"/>
                  <a:gd name="connsiteX35" fmla="*/ 1409700 w 2262188"/>
                  <a:gd name="connsiteY35" fmla="*/ 942975 h 982971"/>
                  <a:gd name="connsiteX36" fmla="*/ 1485900 w 2262188"/>
                  <a:gd name="connsiteY36" fmla="*/ 952500 h 982971"/>
                  <a:gd name="connsiteX37" fmla="*/ 1538288 w 2262188"/>
                  <a:gd name="connsiteY37" fmla="*/ 962025 h 982971"/>
                  <a:gd name="connsiteX38" fmla="*/ 1919288 w 2262188"/>
                  <a:gd name="connsiteY38" fmla="*/ 966788 h 982971"/>
                  <a:gd name="connsiteX39" fmla="*/ 2262188 w 2262188"/>
                  <a:gd name="connsiteY39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52413 w 2262188"/>
                  <a:gd name="connsiteY7" fmla="*/ 319088 h 982971"/>
                  <a:gd name="connsiteX8" fmla="*/ 271463 w 2262188"/>
                  <a:gd name="connsiteY8" fmla="*/ 347663 h 982971"/>
                  <a:gd name="connsiteX9" fmla="*/ 290513 w 2262188"/>
                  <a:gd name="connsiteY9" fmla="*/ 366713 h 982971"/>
                  <a:gd name="connsiteX10" fmla="*/ 338138 w 2262188"/>
                  <a:gd name="connsiteY10" fmla="*/ 419100 h 982971"/>
                  <a:gd name="connsiteX11" fmla="*/ 371475 w 2262188"/>
                  <a:gd name="connsiteY11" fmla="*/ 438150 h 982971"/>
                  <a:gd name="connsiteX12" fmla="*/ 395288 w 2262188"/>
                  <a:gd name="connsiteY12" fmla="*/ 457200 h 982971"/>
                  <a:gd name="connsiteX13" fmla="*/ 433388 w 2262188"/>
                  <a:gd name="connsiteY13" fmla="*/ 476250 h 982971"/>
                  <a:gd name="connsiteX14" fmla="*/ 542925 w 2262188"/>
                  <a:gd name="connsiteY14" fmla="*/ 557213 h 982971"/>
                  <a:gd name="connsiteX15" fmla="*/ 600075 w 2262188"/>
                  <a:gd name="connsiteY15" fmla="*/ 614363 h 982971"/>
                  <a:gd name="connsiteX16" fmla="*/ 633413 w 2262188"/>
                  <a:gd name="connsiteY16" fmla="*/ 633413 h 982971"/>
                  <a:gd name="connsiteX17" fmla="*/ 690563 w 2262188"/>
                  <a:gd name="connsiteY17" fmla="*/ 676275 h 982971"/>
                  <a:gd name="connsiteX18" fmla="*/ 757238 w 2262188"/>
                  <a:gd name="connsiteY18" fmla="*/ 714375 h 982971"/>
                  <a:gd name="connsiteX19" fmla="*/ 776288 w 2262188"/>
                  <a:gd name="connsiteY19" fmla="*/ 728663 h 982971"/>
                  <a:gd name="connsiteX20" fmla="*/ 828675 w 2262188"/>
                  <a:gd name="connsiteY20" fmla="*/ 752475 h 982971"/>
                  <a:gd name="connsiteX21" fmla="*/ 847725 w 2262188"/>
                  <a:gd name="connsiteY21" fmla="*/ 766763 h 982971"/>
                  <a:gd name="connsiteX22" fmla="*/ 914400 w 2262188"/>
                  <a:gd name="connsiteY22" fmla="*/ 790575 h 982971"/>
                  <a:gd name="connsiteX23" fmla="*/ 947738 w 2262188"/>
                  <a:gd name="connsiteY23" fmla="*/ 809625 h 982971"/>
                  <a:gd name="connsiteX24" fmla="*/ 966788 w 2262188"/>
                  <a:gd name="connsiteY24" fmla="*/ 823913 h 982971"/>
                  <a:gd name="connsiteX25" fmla="*/ 981075 w 2262188"/>
                  <a:gd name="connsiteY25" fmla="*/ 828675 h 982971"/>
                  <a:gd name="connsiteX26" fmla="*/ 1000125 w 2262188"/>
                  <a:gd name="connsiteY26" fmla="*/ 838200 h 982971"/>
                  <a:gd name="connsiteX27" fmla="*/ 1033463 w 2262188"/>
                  <a:gd name="connsiteY27" fmla="*/ 852488 h 982971"/>
                  <a:gd name="connsiteX28" fmla="*/ 1100138 w 2262188"/>
                  <a:gd name="connsiteY28" fmla="*/ 881063 h 982971"/>
                  <a:gd name="connsiteX29" fmla="*/ 1128713 w 2262188"/>
                  <a:gd name="connsiteY29" fmla="*/ 885825 h 982971"/>
                  <a:gd name="connsiteX30" fmla="*/ 1204913 w 2262188"/>
                  <a:gd name="connsiteY30" fmla="*/ 909638 h 982971"/>
                  <a:gd name="connsiteX31" fmla="*/ 1233488 w 2262188"/>
                  <a:gd name="connsiteY31" fmla="*/ 914400 h 982971"/>
                  <a:gd name="connsiteX32" fmla="*/ 1281113 w 2262188"/>
                  <a:gd name="connsiteY32" fmla="*/ 928688 h 982971"/>
                  <a:gd name="connsiteX33" fmla="*/ 1343025 w 2262188"/>
                  <a:gd name="connsiteY33" fmla="*/ 933450 h 982971"/>
                  <a:gd name="connsiteX34" fmla="*/ 1409700 w 2262188"/>
                  <a:gd name="connsiteY34" fmla="*/ 942975 h 982971"/>
                  <a:gd name="connsiteX35" fmla="*/ 1485900 w 2262188"/>
                  <a:gd name="connsiteY35" fmla="*/ 952500 h 982971"/>
                  <a:gd name="connsiteX36" fmla="*/ 1538288 w 2262188"/>
                  <a:gd name="connsiteY36" fmla="*/ 962025 h 982971"/>
                  <a:gd name="connsiteX37" fmla="*/ 1919288 w 2262188"/>
                  <a:gd name="connsiteY37" fmla="*/ 966788 h 982971"/>
                  <a:gd name="connsiteX38" fmla="*/ 2262188 w 2262188"/>
                  <a:gd name="connsiteY38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52413 w 2262188"/>
                  <a:gd name="connsiteY7" fmla="*/ 319088 h 982971"/>
                  <a:gd name="connsiteX8" fmla="*/ 271463 w 2262188"/>
                  <a:gd name="connsiteY8" fmla="*/ 347663 h 982971"/>
                  <a:gd name="connsiteX9" fmla="*/ 290513 w 2262188"/>
                  <a:gd name="connsiteY9" fmla="*/ 366713 h 982971"/>
                  <a:gd name="connsiteX10" fmla="*/ 338138 w 2262188"/>
                  <a:gd name="connsiteY10" fmla="*/ 419100 h 982971"/>
                  <a:gd name="connsiteX11" fmla="*/ 371475 w 2262188"/>
                  <a:gd name="connsiteY11" fmla="*/ 438150 h 982971"/>
                  <a:gd name="connsiteX12" fmla="*/ 395288 w 2262188"/>
                  <a:gd name="connsiteY12" fmla="*/ 457200 h 982971"/>
                  <a:gd name="connsiteX13" fmla="*/ 542925 w 2262188"/>
                  <a:gd name="connsiteY13" fmla="*/ 557213 h 982971"/>
                  <a:gd name="connsiteX14" fmla="*/ 600075 w 2262188"/>
                  <a:gd name="connsiteY14" fmla="*/ 614363 h 982971"/>
                  <a:gd name="connsiteX15" fmla="*/ 633413 w 2262188"/>
                  <a:gd name="connsiteY15" fmla="*/ 633413 h 982971"/>
                  <a:gd name="connsiteX16" fmla="*/ 690563 w 2262188"/>
                  <a:gd name="connsiteY16" fmla="*/ 676275 h 982971"/>
                  <a:gd name="connsiteX17" fmla="*/ 757238 w 2262188"/>
                  <a:gd name="connsiteY17" fmla="*/ 714375 h 982971"/>
                  <a:gd name="connsiteX18" fmla="*/ 776288 w 2262188"/>
                  <a:gd name="connsiteY18" fmla="*/ 728663 h 982971"/>
                  <a:gd name="connsiteX19" fmla="*/ 828675 w 2262188"/>
                  <a:gd name="connsiteY19" fmla="*/ 752475 h 982971"/>
                  <a:gd name="connsiteX20" fmla="*/ 847725 w 2262188"/>
                  <a:gd name="connsiteY20" fmla="*/ 766763 h 982971"/>
                  <a:gd name="connsiteX21" fmla="*/ 914400 w 2262188"/>
                  <a:gd name="connsiteY21" fmla="*/ 790575 h 982971"/>
                  <a:gd name="connsiteX22" fmla="*/ 947738 w 2262188"/>
                  <a:gd name="connsiteY22" fmla="*/ 809625 h 982971"/>
                  <a:gd name="connsiteX23" fmla="*/ 966788 w 2262188"/>
                  <a:gd name="connsiteY23" fmla="*/ 823913 h 982971"/>
                  <a:gd name="connsiteX24" fmla="*/ 981075 w 2262188"/>
                  <a:gd name="connsiteY24" fmla="*/ 828675 h 982971"/>
                  <a:gd name="connsiteX25" fmla="*/ 1000125 w 2262188"/>
                  <a:gd name="connsiteY25" fmla="*/ 838200 h 982971"/>
                  <a:gd name="connsiteX26" fmla="*/ 1033463 w 2262188"/>
                  <a:gd name="connsiteY26" fmla="*/ 852488 h 982971"/>
                  <a:gd name="connsiteX27" fmla="*/ 1100138 w 2262188"/>
                  <a:gd name="connsiteY27" fmla="*/ 881063 h 982971"/>
                  <a:gd name="connsiteX28" fmla="*/ 1128713 w 2262188"/>
                  <a:gd name="connsiteY28" fmla="*/ 885825 h 982971"/>
                  <a:gd name="connsiteX29" fmla="*/ 1204913 w 2262188"/>
                  <a:gd name="connsiteY29" fmla="*/ 909638 h 982971"/>
                  <a:gd name="connsiteX30" fmla="*/ 1233488 w 2262188"/>
                  <a:gd name="connsiteY30" fmla="*/ 914400 h 982971"/>
                  <a:gd name="connsiteX31" fmla="*/ 1281113 w 2262188"/>
                  <a:gd name="connsiteY31" fmla="*/ 928688 h 982971"/>
                  <a:gd name="connsiteX32" fmla="*/ 1343025 w 2262188"/>
                  <a:gd name="connsiteY32" fmla="*/ 933450 h 982971"/>
                  <a:gd name="connsiteX33" fmla="*/ 1409700 w 2262188"/>
                  <a:gd name="connsiteY33" fmla="*/ 942975 h 982971"/>
                  <a:gd name="connsiteX34" fmla="*/ 1485900 w 2262188"/>
                  <a:gd name="connsiteY34" fmla="*/ 952500 h 982971"/>
                  <a:gd name="connsiteX35" fmla="*/ 1538288 w 2262188"/>
                  <a:gd name="connsiteY35" fmla="*/ 962025 h 982971"/>
                  <a:gd name="connsiteX36" fmla="*/ 1919288 w 2262188"/>
                  <a:gd name="connsiteY36" fmla="*/ 966788 h 982971"/>
                  <a:gd name="connsiteX37" fmla="*/ 2262188 w 2262188"/>
                  <a:gd name="connsiteY37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71463 w 2262188"/>
                  <a:gd name="connsiteY7" fmla="*/ 347663 h 982971"/>
                  <a:gd name="connsiteX8" fmla="*/ 290513 w 2262188"/>
                  <a:gd name="connsiteY8" fmla="*/ 366713 h 982971"/>
                  <a:gd name="connsiteX9" fmla="*/ 338138 w 2262188"/>
                  <a:gd name="connsiteY9" fmla="*/ 419100 h 982971"/>
                  <a:gd name="connsiteX10" fmla="*/ 371475 w 2262188"/>
                  <a:gd name="connsiteY10" fmla="*/ 438150 h 982971"/>
                  <a:gd name="connsiteX11" fmla="*/ 395288 w 2262188"/>
                  <a:gd name="connsiteY11" fmla="*/ 457200 h 982971"/>
                  <a:gd name="connsiteX12" fmla="*/ 542925 w 2262188"/>
                  <a:gd name="connsiteY12" fmla="*/ 557213 h 982971"/>
                  <a:gd name="connsiteX13" fmla="*/ 600075 w 2262188"/>
                  <a:gd name="connsiteY13" fmla="*/ 614363 h 982971"/>
                  <a:gd name="connsiteX14" fmla="*/ 633413 w 2262188"/>
                  <a:gd name="connsiteY14" fmla="*/ 633413 h 982971"/>
                  <a:gd name="connsiteX15" fmla="*/ 690563 w 2262188"/>
                  <a:gd name="connsiteY15" fmla="*/ 676275 h 982971"/>
                  <a:gd name="connsiteX16" fmla="*/ 757238 w 2262188"/>
                  <a:gd name="connsiteY16" fmla="*/ 714375 h 982971"/>
                  <a:gd name="connsiteX17" fmla="*/ 776288 w 2262188"/>
                  <a:gd name="connsiteY17" fmla="*/ 728663 h 982971"/>
                  <a:gd name="connsiteX18" fmla="*/ 828675 w 2262188"/>
                  <a:gd name="connsiteY18" fmla="*/ 752475 h 982971"/>
                  <a:gd name="connsiteX19" fmla="*/ 847725 w 2262188"/>
                  <a:gd name="connsiteY19" fmla="*/ 766763 h 982971"/>
                  <a:gd name="connsiteX20" fmla="*/ 914400 w 2262188"/>
                  <a:gd name="connsiteY20" fmla="*/ 790575 h 982971"/>
                  <a:gd name="connsiteX21" fmla="*/ 947738 w 2262188"/>
                  <a:gd name="connsiteY21" fmla="*/ 809625 h 982971"/>
                  <a:gd name="connsiteX22" fmla="*/ 966788 w 2262188"/>
                  <a:gd name="connsiteY22" fmla="*/ 823913 h 982971"/>
                  <a:gd name="connsiteX23" fmla="*/ 981075 w 2262188"/>
                  <a:gd name="connsiteY23" fmla="*/ 828675 h 982971"/>
                  <a:gd name="connsiteX24" fmla="*/ 1000125 w 2262188"/>
                  <a:gd name="connsiteY24" fmla="*/ 838200 h 982971"/>
                  <a:gd name="connsiteX25" fmla="*/ 1033463 w 2262188"/>
                  <a:gd name="connsiteY25" fmla="*/ 852488 h 982971"/>
                  <a:gd name="connsiteX26" fmla="*/ 1100138 w 2262188"/>
                  <a:gd name="connsiteY26" fmla="*/ 881063 h 982971"/>
                  <a:gd name="connsiteX27" fmla="*/ 1128713 w 2262188"/>
                  <a:gd name="connsiteY27" fmla="*/ 885825 h 982971"/>
                  <a:gd name="connsiteX28" fmla="*/ 1204913 w 2262188"/>
                  <a:gd name="connsiteY28" fmla="*/ 909638 h 982971"/>
                  <a:gd name="connsiteX29" fmla="*/ 1233488 w 2262188"/>
                  <a:gd name="connsiteY29" fmla="*/ 914400 h 982971"/>
                  <a:gd name="connsiteX30" fmla="*/ 1281113 w 2262188"/>
                  <a:gd name="connsiteY30" fmla="*/ 928688 h 982971"/>
                  <a:gd name="connsiteX31" fmla="*/ 1343025 w 2262188"/>
                  <a:gd name="connsiteY31" fmla="*/ 933450 h 982971"/>
                  <a:gd name="connsiteX32" fmla="*/ 1409700 w 2262188"/>
                  <a:gd name="connsiteY32" fmla="*/ 942975 h 982971"/>
                  <a:gd name="connsiteX33" fmla="*/ 1485900 w 2262188"/>
                  <a:gd name="connsiteY33" fmla="*/ 952500 h 982971"/>
                  <a:gd name="connsiteX34" fmla="*/ 1538288 w 2262188"/>
                  <a:gd name="connsiteY34" fmla="*/ 962025 h 982971"/>
                  <a:gd name="connsiteX35" fmla="*/ 1919288 w 2262188"/>
                  <a:gd name="connsiteY35" fmla="*/ 966788 h 982971"/>
                  <a:gd name="connsiteX36" fmla="*/ 2262188 w 2262188"/>
                  <a:gd name="connsiteY36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23838 w 2262188"/>
                  <a:gd name="connsiteY5" fmla="*/ 285750 h 982971"/>
                  <a:gd name="connsiteX6" fmla="*/ 271463 w 2262188"/>
                  <a:gd name="connsiteY6" fmla="*/ 347663 h 982971"/>
                  <a:gd name="connsiteX7" fmla="*/ 290513 w 2262188"/>
                  <a:gd name="connsiteY7" fmla="*/ 366713 h 982971"/>
                  <a:gd name="connsiteX8" fmla="*/ 338138 w 2262188"/>
                  <a:gd name="connsiteY8" fmla="*/ 419100 h 982971"/>
                  <a:gd name="connsiteX9" fmla="*/ 371475 w 2262188"/>
                  <a:gd name="connsiteY9" fmla="*/ 438150 h 982971"/>
                  <a:gd name="connsiteX10" fmla="*/ 395288 w 2262188"/>
                  <a:gd name="connsiteY10" fmla="*/ 457200 h 982971"/>
                  <a:gd name="connsiteX11" fmla="*/ 542925 w 2262188"/>
                  <a:gd name="connsiteY11" fmla="*/ 557213 h 982971"/>
                  <a:gd name="connsiteX12" fmla="*/ 600075 w 2262188"/>
                  <a:gd name="connsiteY12" fmla="*/ 614363 h 982971"/>
                  <a:gd name="connsiteX13" fmla="*/ 633413 w 2262188"/>
                  <a:gd name="connsiteY13" fmla="*/ 633413 h 982971"/>
                  <a:gd name="connsiteX14" fmla="*/ 690563 w 2262188"/>
                  <a:gd name="connsiteY14" fmla="*/ 676275 h 982971"/>
                  <a:gd name="connsiteX15" fmla="*/ 757238 w 2262188"/>
                  <a:gd name="connsiteY15" fmla="*/ 714375 h 982971"/>
                  <a:gd name="connsiteX16" fmla="*/ 776288 w 2262188"/>
                  <a:gd name="connsiteY16" fmla="*/ 728663 h 982971"/>
                  <a:gd name="connsiteX17" fmla="*/ 828675 w 2262188"/>
                  <a:gd name="connsiteY17" fmla="*/ 752475 h 982971"/>
                  <a:gd name="connsiteX18" fmla="*/ 847725 w 2262188"/>
                  <a:gd name="connsiteY18" fmla="*/ 766763 h 982971"/>
                  <a:gd name="connsiteX19" fmla="*/ 914400 w 2262188"/>
                  <a:gd name="connsiteY19" fmla="*/ 790575 h 982971"/>
                  <a:gd name="connsiteX20" fmla="*/ 947738 w 2262188"/>
                  <a:gd name="connsiteY20" fmla="*/ 809625 h 982971"/>
                  <a:gd name="connsiteX21" fmla="*/ 966788 w 2262188"/>
                  <a:gd name="connsiteY21" fmla="*/ 823913 h 982971"/>
                  <a:gd name="connsiteX22" fmla="*/ 981075 w 2262188"/>
                  <a:gd name="connsiteY22" fmla="*/ 828675 h 982971"/>
                  <a:gd name="connsiteX23" fmla="*/ 1000125 w 2262188"/>
                  <a:gd name="connsiteY23" fmla="*/ 838200 h 982971"/>
                  <a:gd name="connsiteX24" fmla="*/ 1033463 w 2262188"/>
                  <a:gd name="connsiteY24" fmla="*/ 852488 h 982971"/>
                  <a:gd name="connsiteX25" fmla="*/ 1100138 w 2262188"/>
                  <a:gd name="connsiteY25" fmla="*/ 881063 h 982971"/>
                  <a:gd name="connsiteX26" fmla="*/ 1128713 w 2262188"/>
                  <a:gd name="connsiteY26" fmla="*/ 885825 h 982971"/>
                  <a:gd name="connsiteX27" fmla="*/ 1204913 w 2262188"/>
                  <a:gd name="connsiteY27" fmla="*/ 909638 h 982971"/>
                  <a:gd name="connsiteX28" fmla="*/ 1233488 w 2262188"/>
                  <a:gd name="connsiteY28" fmla="*/ 914400 h 982971"/>
                  <a:gd name="connsiteX29" fmla="*/ 1281113 w 2262188"/>
                  <a:gd name="connsiteY29" fmla="*/ 928688 h 982971"/>
                  <a:gd name="connsiteX30" fmla="*/ 1343025 w 2262188"/>
                  <a:gd name="connsiteY30" fmla="*/ 933450 h 982971"/>
                  <a:gd name="connsiteX31" fmla="*/ 1409700 w 2262188"/>
                  <a:gd name="connsiteY31" fmla="*/ 942975 h 982971"/>
                  <a:gd name="connsiteX32" fmla="*/ 1485900 w 2262188"/>
                  <a:gd name="connsiteY32" fmla="*/ 952500 h 982971"/>
                  <a:gd name="connsiteX33" fmla="*/ 1538288 w 2262188"/>
                  <a:gd name="connsiteY33" fmla="*/ 962025 h 982971"/>
                  <a:gd name="connsiteX34" fmla="*/ 1919288 w 2262188"/>
                  <a:gd name="connsiteY34" fmla="*/ 966788 h 982971"/>
                  <a:gd name="connsiteX35" fmla="*/ 2262188 w 2262188"/>
                  <a:gd name="connsiteY35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23838 w 2262188"/>
                  <a:gd name="connsiteY5" fmla="*/ 285750 h 982971"/>
                  <a:gd name="connsiteX6" fmla="*/ 271463 w 2262188"/>
                  <a:gd name="connsiteY6" fmla="*/ 347663 h 982971"/>
                  <a:gd name="connsiteX7" fmla="*/ 338138 w 2262188"/>
                  <a:gd name="connsiteY7" fmla="*/ 419100 h 982971"/>
                  <a:gd name="connsiteX8" fmla="*/ 371475 w 2262188"/>
                  <a:gd name="connsiteY8" fmla="*/ 438150 h 982971"/>
                  <a:gd name="connsiteX9" fmla="*/ 395288 w 2262188"/>
                  <a:gd name="connsiteY9" fmla="*/ 457200 h 982971"/>
                  <a:gd name="connsiteX10" fmla="*/ 542925 w 2262188"/>
                  <a:gd name="connsiteY10" fmla="*/ 557213 h 982971"/>
                  <a:gd name="connsiteX11" fmla="*/ 600075 w 2262188"/>
                  <a:gd name="connsiteY11" fmla="*/ 614363 h 982971"/>
                  <a:gd name="connsiteX12" fmla="*/ 633413 w 2262188"/>
                  <a:gd name="connsiteY12" fmla="*/ 633413 h 982971"/>
                  <a:gd name="connsiteX13" fmla="*/ 690563 w 2262188"/>
                  <a:gd name="connsiteY13" fmla="*/ 676275 h 982971"/>
                  <a:gd name="connsiteX14" fmla="*/ 757238 w 2262188"/>
                  <a:gd name="connsiteY14" fmla="*/ 714375 h 982971"/>
                  <a:gd name="connsiteX15" fmla="*/ 776288 w 2262188"/>
                  <a:gd name="connsiteY15" fmla="*/ 728663 h 982971"/>
                  <a:gd name="connsiteX16" fmla="*/ 828675 w 2262188"/>
                  <a:gd name="connsiteY16" fmla="*/ 752475 h 982971"/>
                  <a:gd name="connsiteX17" fmla="*/ 847725 w 2262188"/>
                  <a:gd name="connsiteY17" fmla="*/ 766763 h 982971"/>
                  <a:gd name="connsiteX18" fmla="*/ 914400 w 2262188"/>
                  <a:gd name="connsiteY18" fmla="*/ 790575 h 982971"/>
                  <a:gd name="connsiteX19" fmla="*/ 947738 w 2262188"/>
                  <a:gd name="connsiteY19" fmla="*/ 809625 h 982971"/>
                  <a:gd name="connsiteX20" fmla="*/ 966788 w 2262188"/>
                  <a:gd name="connsiteY20" fmla="*/ 823913 h 982971"/>
                  <a:gd name="connsiteX21" fmla="*/ 981075 w 2262188"/>
                  <a:gd name="connsiteY21" fmla="*/ 828675 h 982971"/>
                  <a:gd name="connsiteX22" fmla="*/ 1000125 w 2262188"/>
                  <a:gd name="connsiteY22" fmla="*/ 838200 h 982971"/>
                  <a:gd name="connsiteX23" fmla="*/ 1033463 w 2262188"/>
                  <a:gd name="connsiteY23" fmla="*/ 852488 h 982971"/>
                  <a:gd name="connsiteX24" fmla="*/ 1100138 w 2262188"/>
                  <a:gd name="connsiteY24" fmla="*/ 881063 h 982971"/>
                  <a:gd name="connsiteX25" fmla="*/ 1128713 w 2262188"/>
                  <a:gd name="connsiteY25" fmla="*/ 885825 h 982971"/>
                  <a:gd name="connsiteX26" fmla="*/ 1204913 w 2262188"/>
                  <a:gd name="connsiteY26" fmla="*/ 909638 h 982971"/>
                  <a:gd name="connsiteX27" fmla="*/ 1233488 w 2262188"/>
                  <a:gd name="connsiteY27" fmla="*/ 914400 h 982971"/>
                  <a:gd name="connsiteX28" fmla="*/ 1281113 w 2262188"/>
                  <a:gd name="connsiteY28" fmla="*/ 928688 h 982971"/>
                  <a:gd name="connsiteX29" fmla="*/ 1343025 w 2262188"/>
                  <a:gd name="connsiteY29" fmla="*/ 933450 h 982971"/>
                  <a:gd name="connsiteX30" fmla="*/ 1409700 w 2262188"/>
                  <a:gd name="connsiteY30" fmla="*/ 942975 h 982971"/>
                  <a:gd name="connsiteX31" fmla="*/ 1485900 w 2262188"/>
                  <a:gd name="connsiteY31" fmla="*/ 952500 h 982971"/>
                  <a:gd name="connsiteX32" fmla="*/ 1538288 w 2262188"/>
                  <a:gd name="connsiteY32" fmla="*/ 962025 h 982971"/>
                  <a:gd name="connsiteX33" fmla="*/ 1919288 w 2262188"/>
                  <a:gd name="connsiteY33" fmla="*/ 966788 h 982971"/>
                  <a:gd name="connsiteX34" fmla="*/ 2262188 w 2262188"/>
                  <a:gd name="connsiteY34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542925 w 2262188"/>
                  <a:gd name="connsiteY9" fmla="*/ 557213 h 982971"/>
                  <a:gd name="connsiteX10" fmla="*/ 600075 w 2262188"/>
                  <a:gd name="connsiteY10" fmla="*/ 614363 h 982971"/>
                  <a:gd name="connsiteX11" fmla="*/ 633413 w 2262188"/>
                  <a:gd name="connsiteY11" fmla="*/ 633413 h 982971"/>
                  <a:gd name="connsiteX12" fmla="*/ 690563 w 2262188"/>
                  <a:gd name="connsiteY12" fmla="*/ 676275 h 982971"/>
                  <a:gd name="connsiteX13" fmla="*/ 757238 w 2262188"/>
                  <a:gd name="connsiteY13" fmla="*/ 714375 h 982971"/>
                  <a:gd name="connsiteX14" fmla="*/ 776288 w 2262188"/>
                  <a:gd name="connsiteY14" fmla="*/ 728663 h 982971"/>
                  <a:gd name="connsiteX15" fmla="*/ 828675 w 2262188"/>
                  <a:gd name="connsiteY15" fmla="*/ 752475 h 982971"/>
                  <a:gd name="connsiteX16" fmla="*/ 847725 w 2262188"/>
                  <a:gd name="connsiteY16" fmla="*/ 766763 h 982971"/>
                  <a:gd name="connsiteX17" fmla="*/ 914400 w 2262188"/>
                  <a:gd name="connsiteY17" fmla="*/ 790575 h 982971"/>
                  <a:gd name="connsiteX18" fmla="*/ 947738 w 2262188"/>
                  <a:gd name="connsiteY18" fmla="*/ 809625 h 982971"/>
                  <a:gd name="connsiteX19" fmla="*/ 966788 w 2262188"/>
                  <a:gd name="connsiteY19" fmla="*/ 823913 h 982971"/>
                  <a:gd name="connsiteX20" fmla="*/ 981075 w 2262188"/>
                  <a:gd name="connsiteY20" fmla="*/ 828675 h 982971"/>
                  <a:gd name="connsiteX21" fmla="*/ 1000125 w 2262188"/>
                  <a:gd name="connsiteY21" fmla="*/ 838200 h 982971"/>
                  <a:gd name="connsiteX22" fmla="*/ 1033463 w 2262188"/>
                  <a:gd name="connsiteY22" fmla="*/ 852488 h 982971"/>
                  <a:gd name="connsiteX23" fmla="*/ 1100138 w 2262188"/>
                  <a:gd name="connsiteY23" fmla="*/ 881063 h 982971"/>
                  <a:gd name="connsiteX24" fmla="*/ 1128713 w 2262188"/>
                  <a:gd name="connsiteY24" fmla="*/ 885825 h 982971"/>
                  <a:gd name="connsiteX25" fmla="*/ 1204913 w 2262188"/>
                  <a:gd name="connsiteY25" fmla="*/ 909638 h 982971"/>
                  <a:gd name="connsiteX26" fmla="*/ 1233488 w 2262188"/>
                  <a:gd name="connsiteY26" fmla="*/ 914400 h 982971"/>
                  <a:gd name="connsiteX27" fmla="*/ 1281113 w 2262188"/>
                  <a:gd name="connsiteY27" fmla="*/ 928688 h 982971"/>
                  <a:gd name="connsiteX28" fmla="*/ 1343025 w 2262188"/>
                  <a:gd name="connsiteY28" fmla="*/ 933450 h 982971"/>
                  <a:gd name="connsiteX29" fmla="*/ 1409700 w 2262188"/>
                  <a:gd name="connsiteY29" fmla="*/ 942975 h 982971"/>
                  <a:gd name="connsiteX30" fmla="*/ 1485900 w 2262188"/>
                  <a:gd name="connsiteY30" fmla="*/ 952500 h 982971"/>
                  <a:gd name="connsiteX31" fmla="*/ 1538288 w 2262188"/>
                  <a:gd name="connsiteY31" fmla="*/ 962025 h 982971"/>
                  <a:gd name="connsiteX32" fmla="*/ 1919288 w 2262188"/>
                  <a:gd name="connsiteY32" fmla="*/ 966788 h 982971"/>
                  <a:gd name="connsiteX33" fmla="*/ 2262188 w 2262188"/>
                  <a:gd name="connsiteY33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542925 w 2262188"/>
                  <a:gd name="connsiteY9" fmla="*/ 557213 h 982971"/>
                  <a:gd name="connsiteX10" fmla="*/ 600075 w 2262188"/>
                  <a:gd name="connsiteY10" fmla="*/ 614363 h 982971"/>
                  <a:gd name="connsiteX11" fmla="*/ 633413 w 2262188"/>
                  <a:gd name="connsiteY11" fmla="*/ 633413 h 982971"/>
                  <a:gd name="connsiteX12" fmla="*/ 690563 w 2262188"/>
                  <a:gd name="connsiteY12" fmla="*/ 676275 h 982971"/>
                  <a:gd name="connsiteX13" fmla="*/ 757238 w 2262188"/>
                  <a:gd name="connsiteY13" fmla="*/ 714375 h 982971"/>
                  <a:gd name="connsiteX14" fmla="*/ 776288 w 2262188"/>
                  <a:gd name="connsiteY14" fmla="*/ 728663 h 982971"/>
                  <a:gd name="connsiteX15" fmla="*/ 828675 w 2262188"/>
                  <a:gd name="connsiteY15" fmla="*/ 752475 h 982971"/>
                  <a:gd name="connsiteX16" fmla="*/ 847725 w 2262188"/>
                  <a:gd name="connsiteY16" fmla="*/ 766763 h 982971"/>
                  <a:gd name="connsiteX17" fmla="*/ 914400 w 2262188"/>
                  <a:gd name="connsiteY17" fmla="*/ 790575 h 982971"/>
                  <a:gd name="connsiteX18" fmla="*/ 947738 w 2262188"/>
                  <a:gd name="connsiteY18" fmla="*/ 809625 h 982971"/>
                  <a:gd name="connsiteX19" fmla="*/ 966788 w 2262188"/>
                  <a:gd name="connsiteY19" fmla="*/ 823913 h 982971"/>
                  <a:gd name="connsiteX20" fmla="*/ 981075 w 2262188"/>
                  <a:gd name="connsiteY20" fmla="*/ 828675 h 982971"/>
                  <a:gd name="connsiteX21" fmla="*/ 1000125 w 2262188"/>
                  <a:gd name="connsiteY21" fmla="*/ 838200 h 982971"/>
                  <a:gd name="connsiteX22" fmla="*/ 1033463 w 2262188"/>
                  <a:gd name="connsiteY22" fmla="*/ 852488 h 982971"/>
                  <a:gd name="connsiteX23" fmla="*/ 1100138 w 2262188"/>
                  <a:gd name="connsiteY23" fmla="*/ 881063 h 982971"/>
                  <a:gd name="connsiteX24" fmla="*/ 1204913 w 2262188"/>
                  <a:gd name="connsiteY24" fmla="*/ 909638 h 982971"/>
                  <a:gd name="connsiteX25" fmla="*/ 1233488 w 2262188"/>
                  <a:gd name="connsiteY25" fmla="*/ 914400 h 982971"/>
                  <a:gd name="connsiteX26" fmla="*/ 1281113 w 2262188"/>
                  <a:gd name="connsiteY26" fmla="*/ 928688 h 982971"/>
                  <a:gd name="connsiteX27" fmla="*/ 1343025 w 2262188"/>
                  <a:gd name="connsiteY27" fmla="*/ 933450 h 982971"/>
                  <a:gd name="connsiteX28" fmla="*/ 1409700 w 2262188"/>
                  <a:gd name="connsiteY28" fmla="*/ 942975 h 982971"/>
                  <a:gd name="connsiteX29" fmla="*/ 1485900 w 2262188"/>
                  <a:gd name="connsiteY29" fmla="*/ 952500 h 982971"/>
                  <a:gd name="connsiteX30" fmla="*/ 1538288 w 2262188"/>
                  <a:gd name="connsiteY30" fmla="*/ 962025 h 982971"/>
                  <a:gd name="connsiteX31" fmla="*/ 1919288 w 2262188"/>
                  <a:gd name="connsiteY31" fmla="*/ 966788 h 982971"/>
                  <a:gd name="connsiteX32" fmla="*/ 2262188 w 2262188"/>
                  <a:gd name="connsiteY32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542925 w 2262188"/>
                  <a:gd name="connsiteY9" fmla="*/ 557213 h 982971"/>
                  <a:gd name="connsiteX10" fmla="*/ 600075 w 2262188"/>
                  <a:gd name="connsiteY10" fmla="*/ 614363 h 982971"/>
                  <a:gd name="connsiteX11" fmla="*/ 633413 w 2262188"/>
                  <a:gd name="connsiteY11" fmla="*/ 633413 h 982971"/>
                  <a:gd name="connsiteX12" fmla="*/ 690563 w 2262188"/>
                  <a:gd name="connsiteY12" fmla="*/ 676275 h 982971"/>
                  <a:gd name="connsiteX13" fmla="*/ 757238 w 2262188"/>
                  <a:gd name="connsiteY13" fmla="*/ 714375 h 982971"/>
                  <a:gd name="connsiteX14" fmla="*/ 776288 w 2262188"/>
                  <a:gd name="connsiteY14" fmla="*/ 728663 h 982971"/>
                  <a:gd name="connsiteX15" fmla="*/ 828675 w 2262188"/>
                  <a:gd name="connsiteY15" fmla="*/ 752475 h 982971"/>
                  <a:gd name="connsiteX16" fmla="*/ 847725 w 2262188"/>
                  <a:gd name="connsiteY16" fmla="*/ 766763 h 982971"/>
                  <a:gd name="connsiteX17" fmla="*/ 914400 w 2262188"/>
                  <a:gd name="connsiteY17" fmla="*/ 790575 h 982971"/>
                  <a:gd name="connsiteX18" fmla="*/ 947738 w 2262188"/>
                  <a:gd name="connsiteY18" fmla="*/ 809625 h 982971"/>
                  <a:gd name="connsiteX19" fmla="*/ 966788 w 2262188"/>
                  <a:gd name="connsiteY19" fmla="*/ 823913 h 982971"/>
                  <a:gd name="connsiteX20" fmla="*/ 981075 w 2262188"/>
                  <a:gd name="connsiteY20" fmla="*/ 828675 h 982971"/>
                  <a:gd name="connsiteX21" fmla="*/ 1000125 w 2262188"/>
                  <a:gd name="connsiteY21" fmla="*/ 838200 h 982971"/>
                  <a:gd name="connsiteX22" fmla="*/ 1033463 w 2262188"/>
                  <a:gd name="connsiteY22" fmla="*/ 852488 h 982971"/>
                  <a:gd name="connsiteX23" fmla="*/ 1204913 w 2262188"/>
                  <a:gd name="connsiteY23" fmla="*/ 909638 h 982971"/>
                  <a:gd name="connsiteX24" fmla="*/ 1233488 w 2262188"/>
                  <a:gd name="connsiteY24" fmla="*/ 914400 h 982971"/>
                  <a:gd name="connsiteX25" fmla="*/ 1281113 w 2262188"/>
                  <a:gd name="connsiteY25" fmla="*/ 928688 h 982971"/>
                  <a:gd name="connsiteX26" fmla="*/ 1343025 w 2262188"/>
                  <a:gd name="connsiteY26" fmla="*/ 933450 h 982971"/>
                  <a:gd name="connsiteX27" fmla="*/ 1409700 w 2262188"/>
                  <a:gd name="connsiteY27" fmla="*/ 942975 h 982971"/>
                  <a:gd name="connsiteX28" fmla="*/ 1485900 w 2262188"/>
                  <a:gd name="connsiteY28" fmla="*/ 952500 h 982971"/>
                  <a:gd name="connsiteX29" fmla="*/ 1538288 w 2262188"/>
                  <a:gd name="connsiteY29" fmla="*/ 962025 h 982971"/>
                  <a:gd name="connsiteX30" fmla="*/ 1919288 w 2262188"/>
                  <a:gd name="connsiteY30" fmla="*/ 966788 h 982971"/>
                  <a:gd name="connsiteX31" fmla="*/ 2262188 w 2262188"/>
                  <a:gd name="connsiteY31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0075 w 2262188"/>
                  <a:gd name="connsiteY9" fmla="*/ 614363 h 982971"/>
                  <a:gd name="connsiteX10" fmla="*/ 633413 w 2262188"/>
                  <a:gd name="connsiteY10" fmla="*/ 633413 h 982971"/>
                  <a:gd name="connsiteX11" fmla="*/ 690563 w 2262188"/>
                  <a:gd name="connsiteY11" fmla="*/ 676275 h 982971"/>
                  <a:gd name="connsiteX12" fmla="*/ 757238 w 2262188"/>
                  <a:gd name="connsiteY12" fmla="*/ 714375 h 982971"/>
                  <a:gd name="connsiteX13" fmla="*/ 776288 w 2262188"/>
                  <a:gd name="connsiteY13" fmla="*/ 728663 h 982971"/>
                  <a:gd name="connsiteX14" fmla="*/ 828675 w 2262188"/>
                  <a:gd name="connsiteY14" fmla="*/ 752475 h 982971"/>
                  <a:gd name="connsiteX15" fmla="*/ 847725 w 2262188"/>
                  <a:gd name="connsiteY15" fmla="*/ 766763 h 982971"/>
                  <a:gd name="connsiteX16" fmla="*/ 914400 w 2262188"/>
                  <a:gd name="connsiteY16" fmla="*/ 790575 h 982971"/>
                  <a:gd name="connsiteX17" fmla="*/ 947738 w 2262188"/>
                  <a:gd name="connsiteY17" fmla="*/ 809625 h 982971"/>
                  <a:gd name="connsiteX18" fmla="*/ 966788 w 2262188"/>
                  <a:gd name="connsiteY18" fmla="*/ 823913 h 982971"/>
                  <a:gd name="connsiteX19" fmla="*/ 981075 w 2262188"/>
                  <a:gd name="connsiteY19" fmla="*/ 828675 h 982971"/>
                  <a:gd name="connsiteX20" fmla="*/ 1000125 w 2262188"/>
                  <a:gd name="connsiteY20" fmla="*/ 838200 h 982971"/>
                  <a:gd name="connsiteX21" fmla="*/ 1033463 w 2262188"/>
                  <a:gd name="connsiteY21" fmla="*/ 852488 h 982971"/>
                  <a:gd name="connsiteX22" fmla="*/ 1204913 w 2262188"/>
                  <a:gd name="connsiteY22" fmla="*/ 909638 h 982971"/>
                  <a:gd name="connsiteX23" fmla="*/ 1233488 w 2262188"/>
                  <a:gd name="connsiteY23" fmla="*/ 914400 h 982971"/>
                  <a:gd name="connsiteX24" fmla="*/ 1281113 w 2262188"/>
                  <a:gd name="connsiteY24" fmla="*/ 928688 h 982971"/>
                  <a:gd name="connsiteX25" fmla="*/ 1343025 w 2262188"/>
                  <a:gd name="connsiteY25" fmla="*/ 933450 h 982971"/>
                  <a:gd name="connsiteX26" fmla="*/ 1409700 w 2262188"/>
                  <a:gd name="connsiteY26" fmla="*/ 942975 h 982971"/>
                  <a:gd name="connsiteX27" fmla="*/ 1485900 w 2262188"/>
                  <a:gd name="connsiteY27" fmla="*/ 952500 h 982971"/>
                  <a:gd name="connsiteX28" fmla="*/ 1538288 w 2262188"/>
                  <a:gd name="connsiteY28" fmla="*/ 962025 h 982971"/>
                  <a:gd name="connsiteX29" fmla="*/ 1919288 w 2262188"/>
                  <a:gd name="connsiteY29" fmla="*/ 966788 h 982971"/>
                  <a:gd name="connsiteX30" fmla="*/ 2262188 w 2262188"/>
                  <a:gd name="connsiteY30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33413 w 2262188"/>
                  <a:gd name="connsiteY9" fmla="*/ 633413 h 982971"/>
                  <a:gd name="connsiteX10" fmla="*/ 690563 w 2262188"/>
                  <a:gd name="connsiteY10" fmla="*/ 676275 h 982971"/>
                  <a:gd name="connsiteX11" fmla="*/ 757238 w 2262188"/>
                  <a:gd name="connsiteY11" fmla="*/ 714375 h 982971"/>
                  <a:gd name="connsiteX12" fmla="*/ 776288 w 2262188"/>
                  <a:gd name="connsiteY12" fmla="*/ 728663 h 982971"/>
                  <a:gd name="connsiteX13" fmla="*/ 828675 w 2262188"/>
                  <a:gd name="connsiteY13" fmla="*/ 752475 h 982971"/>
                  <a:gd name="connsiteX14" fmla="*/ 847725 w 2262188"/>
                  <a:gd name="connsiteY14" fmla="*/ 766763 h 982971"/>
                  <a:gd name="connsiteX15" fmla="*/ 914400 w 2262188"/>
                  <a:gd name="connsiteY15" fmla="*/ 790575 h 982971"/>
                  <a:gd name="connsiteX16" fmla="*/ 947738 w 2262188"/>
                  <a:gd name="connsiteY16" fmla="*/ 809625 h 982971"/>
                  <a:gd name="connsiteX17" fmla="*/ 966788 w 2262188"/>
                  <a:gd name="connsiteY17" fmla="*/ 823913 h 982971"/>
                  <a:gd name="connsiteX18" fmla="*/ 981075 w 2262188"/>
                  <a:gd name="connsiteY18" fmla="*/ 828675 h 982971"/>
                  <a:gd name="connsiteX19" fmla="*/ 1000125 w 2262188"/>
                  <a:gd name="connsiteY19" fmla="*/ 838200 h 982971"/>
                  <a:gd name="connsiteX20" fmla="*/ 1033463 w 2262188"/>
                  <a:gd name="connsiteY20" fmla="*/ 852488 h 982971"/>
                  <a:gd name="connsiteX21" fmla="*/ 1204913 w 2262188"/>
                  <a:gd name="connsiteY21" fmla="*/ 909638 h 982971"/>
                  <a:gd name="connsiteX22" fmla="*/ 1233488 w 2262188"/>
                  <a:gd name="connsiteY22" fmla="*/ 914400 h 982971"/>
                  <a:gd name="connsiteX23" fmla="*/ 1281113 w 2262188"/>
                  <a:gd name="connsiteY23" fmla="*/ 928688 h 982971"/>
                  <a:gd name="connsiteX24" fmla="*/ 1343025 w 2262188"/>
                  <a:gd name="connsiteY24" fmla="*/ 933450 h 982971"/>
                  <a:gd name="connsiteX25" fmla="*/ 1409700 w 2262188"/>
                  <a:gd name="connsiteY25" fmla="*/ 942975 h 982971"/>
                  <a:gd name="connsiteX26" fmla="*/ 1485900 w 2262188"/>
                  <a:gd name="connsiteY26" fmla="*/ 952500 h 982971"/>
                  <a:gd name="connsiteX27" fmla="*/ 1538288 w 2262188"/>
                  <a:gd name="connsiteY27" fmla="*/ 962025 h 982971"/>
                  <a:gd name="connsiteX28" fmla="*/ 1919288 w 2262188"/>
                  <a:gd name="connsiteY28" fmla="*/ 966788 h 982971"/>
                  <a:gd name="connsiteX29" fmla="*/ 2262188 w 2262188"/>
                  <a:gd name="connsiteY29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33413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47738 w 2262188"/>
                  <a:gd name="connsiteY15" fmla="*/ 809625 h 982971"/>
                  <a:gd name="connsiteX16" fmla="*/ 966788 w 2262188"/>
                  <a:gd name="connsiteY16" fmla="*/ 823913 h 982971"/>
                  <a:gd name="connsiteX17" fmla="*/ 981075 w 2262188"/>
                  <a:gd name="connsiteY17" fmla="*/ 828675 h 982971"/>
                  <a:gd name="connsiteX18" fmla="*/ 1000125 w 2262188"/>
                  <a:gd name="connsiteY18" fmla="*/ 838200 h 982971"/>
                  <a:gd name="connsiteX19" fmla="*/ 1033463 w 2262188"/>
                  <a:gd name="connsiteY19" fmla="*/ 852488 h 982971"/>
                  <a:gd name="connsiteX20" fmla="*/ 1204913 w 2262188"/>
                  <a:gd name="connsiteY20" fmla="*/ 909638 h 982971"/>
                  <a:gd name="connsiteX21" fmla="*/ 1233488 w 2262188"/>
                  <a:gd name="connsiteY21" fmla="*/ 914400 h 982971"/>
                  <a:gd name="connsiteX22" fmla="*/ 1281113 w 2262188"/>
                  <a:gd name="connsiteY22" fmla="*/ 928688 h 982971"/>
                  <a:gd name="connsiteX23" fmla="*/ 1343025 w 2262188"/>
                  <a:gd name="connsiteY23" fmla="*/ 933450 h 982971"/>
                  <a:gd name="connsiteX24" fmla="*/ 1409700 w 2262188"/>
                  <a:gd name="connsiteY24" fmla="*/ 942975 h 982971"/>
                  <a:gd name="connsiteX25" fmla="*/ 1485900 w 2262188"/>
                  <a:gd name="connsiteY25" fmla="*/ 952500 h 982971"/>
                  <a:gd name="connsiteX26" fmla="*/ 1538288 w 2262188"/>
                  <a:gd name="connsiteY26" fmla="*/ 962025 h 982971"/>
                  <a:gd name="connsiteX27" fmla="*/ 1919288 w 2262188"/>
                  <a:gd name="connsiteY27" fmla="*/ 966788 h 982971"/>
                  <a:gd name="connsiteX28" fmla="*/ 2262188 w 2262188"/>
                  <a:gd name="connsiteY28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47738 w 2262188"/>
                  <a:gd name="connsiteY15" fmla="*/ 809625 h 982971"/>
                  <a:gd name="connsiteX16" fmla="*/ 966788 w 2262188"/>
                  <a:gd name="connsiteY16" fmla="*/ 823913 h 982971"/>
                  <a:gd name="connsiteX17" fmla="*/ 981075 w 2262188"/>
                  <a:gd name="connsiteY17" fmla="*/ 828675 h 982971"/>
                  <a:gd name="connsiteX18" fmla="*/ 1000125 w 2262188"/>
                  <a:gd name="connsiteY18" fmla="*/ 838200 h 982971"/>
                  <a:gd name="connsiteX19" fmla="*/ 1033463 w 2262188"/>
                  <a:gd name="connsiteY19" fmla="*/ 852488 h 982971"/>
                  <a:gd name="connsiteX20" fmla="*/ 1204913 w 2262188"/>
                  <a:gd name="connsiteY20" fmla="*/ 909638 h 982971"/>
                  <a:gd name="connsiteX21" fmla="*/ 1233488 w 2262188"/>
                  <a:gd name="connsiteY21" fmla="*/ 914400 h 982971"/>
                  <a:gd name="connsiteX22" fmla="*/ 1281113 w 2262188"/>
                  <a:gd name="connsiteY22" fmla="*/ 928688 h 982971"/>
                  <a:gd name="connsiteX23" fmla="*/ 1343025 w 2262188"/>
                  <a:gd name="connsiteY23" fmla="*/ 933450 h 982971"/>
                  <a:gd name="connsiteX24" fmla="*/ 1409700 w 2262188"/>
                  <a:gd name="connsiteY24" fmla="*/ 942975 h 982971"/>
                  <a:gd name="connsiteX25" fmla="*/ 1485900 w 2262188"/>
                  <a:gd name="connsiteY25" fmla="*/ 952500 h 982971"/>
                  <a:gd name="connsiteX26" fmla="*/ 1538288 w 2262188"/>
                  <a:gd name="connsiteY26" fmla="*/ 962025 h 982971"/>
                  <a:gd name="connsiteX27" fmla="*/ 1919288 w 2262188"/>
                  <a:gd name="connsiteY27" fmla="*/ 966788 h 982971"/>
                  <a:gd name="connsiteX28" fmla="*/ 2262188 w 2262188"/>
                  <a:gd name="connsiteY28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66788 w 2262188"/>
                  <a:gd name="connsiteY15" fmla="*/ 823913 h 982971"/>
                  <a:gd name="connsiteX16" fmla="*/ 981075 w 2262188"/>
                  <a:gd name="connsiteY16" fmla="*/ 828675 h 982971"/>
                  <a:gd name="connsiteX17" fmla="*/ 1000125 w 2262188"/>
                  <a:gd name="connsiteY17" fmla="*/ 838200 h 982971"/>
                  <a:gd name="connsiteX18" fmla="*/ 1033463 w 2262188"/>
                  <a:gd name="connsiteY18" fmla="*/ 852488 h 982971"/>
                  <a:gd name="connsiteX19" fmla="*/ 1204913 w 2262188"/>
                  <a:gd name="connsiteY19" fmla="*/ 909638 h 982971"/>
                  <a:gd name="connsiteX20" fmla="*/ 1233488 w 2262188"/>
                  <a:gd name="connsiteY20" fmla="*/ 914400 h 982971"/>
                  <a:gd name="connsiteX21" fmla="*/ 1281113 w 2262188"/>
                  <a:gd name="connsiteY21" fmla="*/ 928688 h 982971"/>
                  <a:gd name="connsiteX22" fmla="*/ 1343025 w 2262188"/>
                  <a:gd name="connsiteY22" fmla="*/ 933450 h 982971"/>
                  <a:gd name="connsiteX23" fmla="*/ 1409700 w 2262188"/>
                  <a:gd name="connsiteY23" fmla="*/ 942975 h 982971"/>
                  <a:gd name="connsiteX24" fmla="*/ 1485900 w 2262188"/>
                  <a:gd name="connsiteY24" fmla="*/ 952500 h 982971"/>
                  <a:gd name="connsiteX25" fmla="*/ 1538288 w 2262188"/>
                  <a:gd name="connsiteY25" fmla="*/ 962025 h 982971"/>
                  <a:gd name="connsiteX26" fmla="*/ 1919288 w 2262188"/>
                  <a:gd name="connsiteY26" fmla="*/ 966788 h 982971"/>
                  <a:gd name="connsiteX27" fmla="*/ 2262188 w 2262188"/>
                  <a:gd name="connsiteY27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66788 w 2262188"/>
                  <a:gd name="connsiteY15" fmla="*/ 823913 h 982971"/>
                  <a:gd name="connsiteX16" fmla="*/ 981075 w 2262188"/>
                  <a:gd name="connsiteY16" fmla="*/ 828675 h 982971"/>
                  <a:gd name="connsiteX17" fmla="*/ 1000125 w 2262188"/>
                  <a:gd name="connsiteY17" fmla="*/ 838200 h 982971"/>
                  <a:gd name="connsiteX18" fmla="*/ 1204913 w 2262188"/>
                  <a:gd name="connsiteY18" fmla="*/ 909638 h 982971"/>
                  <a:gd name="connsiteX19" fmla="*/ 1233488 w 2262188"/>
                  <a:gd name="connsiteY19" fmla="*/ 914400 h 982971"/>
                  <a:gd name="connsiteX20" fmla="*/ 1281113 w 2262188"/>
                  <a:gd name="connsiteY20" fmla="*/ 928688 h 982971"/>
                  <a:gd name="connsiteX21" fmla="*/ 1343025 w 2262188"/>
                  <a:gd name="connsiteY21" fmla="*/ 933450 h 982971"/>
                  <a:gd name="connsiteX22" fmla="*/ 1409700 w 2262188"/>
                  <a:gd name="connsiteY22" fmla="*/ 942975 h 982971"/>
                  <a:gd name="connsiteX23" fmla="*/ 1485900 w 2262188"/>
                  <a:gd name="connsiteY23" fmla="*/ 952500 h 982971"/>
                  <a:gd name="connsiteX24" fmla="*/ 1538288 w 2262188"/>
                  <a:gd name="connsiteY24" fmla="*/ 962025 h 982971"/>
                  <a:gd name="connsiteX25" fmla="*/ 1919288 w 2262188"/>
                  <a:gd name="connsiteY25" fmla="*/ 966788 h 982971"/>
                  <a:gd name="connsiteX26" fmla="*/ 2262188 w 2262188"/>
                  <a:gd name="connsiteY26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66788 w 2262188"/>
                  <a:gd name="connsiteY15" fmla="*/ 823913 h 982971"/>
                  <a:gd name="connsiteX16" fmla="*/ 1000125 w 2262188"/>
                  <a:gd name="connsiteY16" fmla="*/ 838200 h 982971"/>
                  <a:gd name="connsiteX17" fmla="*/ 1204913 w 2262188"/>
                  <a:gd name="connsiteY17" fmla="*/ 909638 h 982971"/>
                  <a:gd name="connsiteX18" fmla="*/ 1233488 w 2262188"/>
                  <a:gd name="connsiteY18" fmla="*/ 914400 h 982971"/>
                  <a:gd name="connsiteX19" fmla="*/ 1281113 w 2262188"/>
                  <a:gd name="connsiteY19" fmla="*/ 928688 h 982971"/>
                  <a:gd name="connsiteX20" fmla="*/ 1343025 w 2262188"/>
                  <a:gd name="connsiteY20" fmla="*/ 933450 h 982971"/>
                  <a:gd name="connsiteX21" fmla="*/ 1409700 w 2262188"/>
                  <a:gd name="connsiteY21" fmla="*/ 942975 h 982971"/>
                  <a:gd name="connsiteX22" fmla="*/ 1485900 w 2262188"/>
                  <a:gd name="connsiteY22" fmla="*/ 952500 h 982971"/>
                  <a:gd name="connsiteX23" fmla="*/ 1538288 w 2262188"/>
                  <a:gd name="connsiteY23" fmla="*/ 962025 h 982971"/>
                  <a:gd name="connsiteX24" fmla="*/ 1919288 w 2262188"/>
                  <a:gd name="connsiteY24" fmla="*/ 966788 h 982971"/>
                  <a:gd name="connsiteX25" fmla="*/ 2262188 w 2262188"/>
                  <a:gd name="connsiteY25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66788 w 2262188"/>
                  <a:gd name="connsiteY14" fmla="*/ 823913 h 982971"/>
                  <a:gd name="connsiteX15" fmla="*/ 1000125 w 2262188"/>
                  <a:gd name="connsiteY15" fmla="*/ 838200 h 982971"/>
                  <a:gd name="connsiteX16" fmla="*/ 1204913 w 2262188"/>
                  <a:gd name="connsiteY16" fmla="*/ 909638 h 982971"/>
                  <a:gd name="connsiteX17" fmla="*/ 1233488 w 2262188"/>
                  <a:gd name="connsiteY17" fmla="*/ 914400 h 982971"/>
                  <a:gd name="connsiteX18" fmla="*/ 1281113 w 2262188"/>
                  <a:gd name="connsiteY18" fmla="*/ 928688 h 982971"/>
                  <a:gd name="connsiteX19" fmla="*/ 1343025 w 2262188"/>
                  <a:gd name="connsiteY19" fmla="*/ 933450 h 982971"/>
                  <a:gd name="connsiteX20" fmla="*/ 1409700 w 2262188"/>
                  <a:gd name="connsiteY20" fmla="*/ 942975 h 982971"/>
                  <a:gd name="connsiteX21" fmla="*/ 1485900 w 2262188"/>
                  <a:gd name="connsiteY21" fmla="*/ 952500 h 982971"/>
                  <a:gd name="connsiteX22" fmla="*/ 1538288 w 2262188"/>
                  <a:gd name="connsiteY22" fmla="*/ 962025 h 982971"/>
                  <a:gd name="connsiteX23" fmla="*/ 1919288 w 2262188"/>
                  <a:gd name="connsiteY23" fmla="*/ 966788 h 982971"/>
                  <a:gd name="connsiteX24" fmla="*/ 2262188 w 2262188"/>
                  <a:gd name="connsiteY24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343025 w 2262188"/>
                  <a:gd name="connsiteY18" fmla="*/ 933450 h 982971"/>
                  <a:gd name="connsiteX19" fmla="*/ 1409700 w 2262188"/>
                  <a:gd name="connsiteY19" fmla="*/ 942975 h 982971"/>
                  <a:gd name="connsiteX20" fmla="*/ 1485900 w 2262188"/>
                  <a:gd name="connsiteY20" fmla="*/ 952500 h 982971"/>
                  <a:gd name="connsiteX21" fmla="*/ 1538288 w 2262188"/>
                  <a:gd name="connsiteY21" fmla="*/ 962025 h 982971"/>
                  <a:gd name="connsiteX22" fmla="*/ 1919288 w 2262188"/>
                  <a:gd name="connsiteY22" fmla="*/ 966788 h 982971"/>
                  <a:gd name="connsiteX23" fmla="*/ 2262188 w 2262188"/>
                  <a:gd name="connsiteY23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409700 w 2262188"/>
                  <a:gd name="connsiteY18" fmla="*/ 942975 h 982971"/>
                  <a:gd name="connsiteX19" fmla="*/ 1485900 w 2262188"/>
                  <a:gd name="connsiteY19" fmla="*/ 952500 h 982971"/>
                  <a:gd name="connsiteX20" fmla="*/ 1538288 w 2262188"/>
                  <a:gd name="connsiteY20" fmla="*/ 962025 h 982971"/>
                  <a:gd name="connsiteX21" fmla="*/ 1919288 w 2262188"/>
                  <a:gd name="connsiteY21" fmla="*/ 966788 h 982971"/>
                  <a:gd name="connsiteX22" fmla="*/ 2262188 w 2262188"/>
                  <a:gd name="connsiteY22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485900 w 2262188"/>
                  <a:gd name="connsiteY18" fmla="*/ 952500 h 982971"/>
                  <a:gd name="connsiteX19" fmla="*/ 1538288 w 2262188"/>
                  <a:gd name="connsiteY19" fmla="*/ 962025 h 982971"/>
                  <a:gd name="connsiteX20" fmla="*/ 1919288 w 2262188"/>
                  <a:gd name="connsiteY20" fmla="*/ 966788 h 982971"/>
                  <a:gd name="connsiteX21" fmla="*/ 2262188 w 2262188"/>
                  <a:gd name="connsiteY21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538288 w 2262188"/>
                  <a:gd name="connsiteY18" fmla="*/ 962025 h 982971"/>
                  <a:gd name="connsiteX19" fmla="*/ 1919288 w 2262188"/>
                  <a:gd name="connsiteY19" fmla="*/ 966788 h 982971"/>
                  <a:gd name="connsiteX20" fmla="*/ 2262188 w 2262188"/>
                  <a:gd name="connsiteY20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81113 w 2262188"/>
                  <a:gd name="connsiteY16" fmla="*/ 928688 h 982971"/>
                  <a:gd name="connsiteX17" fmla="*/ 1538288 w 2262188"/>
                  <a:gd name="connsiteY17" fmla="*/ 962025 h 982971"/>
                  <a:gd name="connsiteX18" fmla="*/ 1919288 w 2262188"/>
                  <a:gd name="connsiteY18" fmla="*/ 966788 h 982971"/>
                  <a:gd name="connsiteX19" fmla="*/ 2262188 w 2262188"/>
                  <a:gd name="connsiteY19" fmla="*/ 957263 h 982971"/>
                  <a:gd name="connsiteX0" fmla="*/ 0 w 2262188"/>
                  <a:gd name="connsiteY0" fmla="*/ 0 h 970411"/>
                  <a:gd name="connsiteX1" fmla="*/ 19050 w 2262188"/>
                  <a:gd name="connsiteY1" fmla="*/ 23813 h 970411"/>
                  <a:gd name="connsiteX2" fmla="*/ 138113 w 2262188"/>
                  <a:gd name="connsiteY2" fmla="*/ 185738 h 970411"/>
                  <a:gd name="connsiteX3" fmla="*/ 157163 w 2262188"/>
                  <a:gd name="connsiteY3" fmla="*/ 195263 h 970411"/>
                  <a:gd name="connsiteX4" fmla="*/ 195263 w 2262188"/>
                  <a:gd name="connsiteY4" fmla="*/ 242888 h 970411"/>
                  <a:gd name="connsiteX5" fmla="*/ 271463 w 2262188"/>
                  <a:gd name="connsiteY5" fmla="*/ 347663 h 970411"/>
                  <a:gd name="connsiteX6" fmla="*/ 338138 w 2262188"/>
                  <a:gd name="connsiteY6" fmla="*/ 419100 h 970411"/>
                  <a:gd name="connsiteX7" fmla="*/ 371475 w 2262188"/>
                  <a:gd name="connsiteY7" fmla="*/ 438150 h 970411"/>
                  <a:gd name="connsiteX8" fmla="*/ 395288 w 2262188"/>
                  <a:gd name="connsiteY8" fmla="*/ 457200 h 970411"/>
                  <a:gd name="connsiteX9" fmla="*/ 604838 w 2262188"/>
                  <a:gd name="connsiteY9" fmla="*/ 633413 h 970411"/>
                  <a:gd name="connsiteX10" fmla="*/ 757238 w 2262188"/>
                  <a:gd name="connsiteY10" fmla="*/ 714375 h 970411"/>
                  <a:gd name="connsiteX11" fmla="*/ 776288 w 2262188"/>
                  <a:gd name="connsiteY11" fmla="*/ 728663 h 970411"/>
                  <a:gd name="connsiteX12" fmla="*/ 828675 w 2262188"/>
                  <a:gd name="connsiteY12" fmla="*/ 752475 h 970411"/>
                  <a:gd name="connsiteX13" fmla="*/ 966788 w 2262188"/>
                  <a:gd name="connsiteY13" fmla="*/ 823913 h 970411"/>
                  <a:gd name="connsiteX14" fmla="*/ 1000125 w 2262188"/>
                  <a:gd name="connsiteY14" fmla="*/ 838200 h 970411"/>
                  <a:gd name="connsiteX15" fmla="*/ 1204913 w 2262188"/>
                  <a:gd name="connsiteY15" fmla="*/ 909638 h 970411"/>
                  <a:gd name="connsiteX16" fmla="*/ 1281113 w 2262188"/>
                  <a:gd name="connsiteY16" fmla="*/ 928688 h 970411"/>
                  <a:gd name="connsiteX17" fmla="*/ 1538288 w 2262188"/>
                  <a:gd name="connsiteY17" fmla="*/ 962025 h 970411"/>
                  <a:gd name="connsiteX18" fmla="*/ 1919288 w 2262188"/>
                  <a:gd name="connsiteY18" fmla="*/ 966788 h 970411"/>
                  <a:gd name="connsiteX19" fmla="*/ 2262188 w 2262188"/>
                  <a:gd name="connsiteY19" fmla="*/ 957263 h 970411"/>
                  <a:gd name="connsiteX0" fmla="*/ 0 w 2262188"/>
                  <a:gd name="connsiteY0" fmla="*/ 0 h 970411"/>
                  <a:gd name="connsiteX1" fmla="*/ 19050 w 2262188"/>
                  <a:gd name="connsiteY1" fmla="*/ 23813 h 970411"/>
                  <a:gd name="connsiteX2" fmla="*/ 138113 w 2262188"/>
                  <a:gd name="connsiteY2" fmla="*/ 185738 h 970411"/>
                  <a:gd name="connsiteX3" fmla="*/ 195263 w 2262188"/>
                  <a:gd name="connsiteY3" fmla="*/ 242888 h 970411"/>
                  <a:gd name="connsiteX4" fmla="*/ 271463 w 2262188"/>
                  <a:gd name="connsiteY4" fmla="*/ 347663 h 970411"/>
                  <a:gd name="connsiteX5" fmla="*/ 338138 w 2262188"/>
                  <a:gd name="connsiteY5" fmla="*/ 419100 h 970411"/>
                  <a:gd name="connsiteX6" fmla="*/ 371475 w 2262188"/>
                  <a:gd name="connsiteY6" fmla="*/ 438150 h 970411"/>
                  <a:gd name="connsiteX7" fmla="*/ 395288 w 2262188"/>
                  <a:gd name="connsiteY7" fmla="*/ 457200 h 970411"/>
                  <a:gd name="connsiteX8" fmla="*/ 604838 w 2262188"/>
                  <a:gd name="connsiteY8" fmla="*/ 633413 h 970411"/>
                  <a:gd name="connsiteX9" fmla="*/ 757238 w 2262188"/>
                  <a:gd name="connsiteY9" fmla="*/ 714375 h 970411"/>
                  <a:gd name="connsiteX10" fmla="*/ 776288 w 2262188"/>
                  <a:gd name="connsiteY10" fmla="*/ 728663 h 970411"/>
                  <a:gd name="connsiteX11" fmla="*/ 828675 w 2262188"/>
                  <a:gd name="connsiteY11" fmla="*/ 752475 h 970411"/>
                  <a:gd name="connsiteX12" fmla="*/ 966788 w 2262188"/>
                  <a:gd name="connsiteY12" fmla="*/ 823913 h 970411"/>
                  <a:gd name="connsiteX13" fmla="*/ 1000125 w 2262188"/>
                  <a:gd name="connsiteY13" fmla="*/ 838200 h 970411"/>
                  <a:gd name="connsiteX14" fmla="*/ 1204913 w 2262188"/>
                  <a:gd name="connsiteY14" fmla="*/ 909638 h 970411"/>
                  <a:gd name="connsiteX15" fmla="*/ 1281113 w 2262188"/>
                  <a:gd name="connsiteY15" fmla="*/ 928688 h 970411"/>
                  <a:gd name="connsiteX16" fmla="*/ 1538288 w 2262188"/>
                  <a:gd name="connsiteY16" fmla="*/ 962025 h 970411"/>
                  <a:gd name="connsiteX17" fmla="*/ 1919288 w 2262188"/>
                  <a:gd name="connsiteY17" fmla="*/ 966788 h 970411"/>
                  <a:gd name="connsiteX18" fmla="*/ 2262188 w 2262188"/>
                  <a:gd name="connsiteY18" fmla="*/ 957263 h 970411"/>
                  <a:gd name="connsiteX0" fmla="*/ 299 w 2262487"/>
                  <a:gd name="connsiteY0" fmla="*/ 298 h 970709"/>
                  <a:gd name="connsiteX1" fmla="*/ 19349 w 2262487"/>
                  <a:gd name="connsiteY1" fmla="*/ 24111 h 970709"/>
                  <a:gd name="connsiteX2" fmla="*/ 195562 w 2262487"/>
                  <a:gd name="connsiteY2" fmla="*/ 243186 h 970709"/>
                  <a:gd name="connsiteX3" fmla="*/ 271762 w 2262487"/>
                  <a:gd name="connsiteY3" fmla="*/ 347961 h 970709"/>
                  <a:gd name="connsiteX4" fmla="*/ 338437 w 2262487"/>
                  <a:gd name="connsiteY4" fmla="*/ 419398 h 970709"/>
                  <a:gd name="connsiteX5" fmla="*/ 371774 w 2262487"/>
                  <a:gd name="connsiteY5" fmla="*/ 438448 h 970709"/>
                  <a:gd name="connsiteX6" fmla="*/ 395587 w 2262487"/>
                  <a:gd name="connsiteY6" fmla="*/ 457498 h 970709"/>
                  <a:gd name="connsiteX7" fmla="*/ 605137 w 2262487"/>
                  <a:gd name="connsiteY7" fmla="*/ 633711 h 970709"/>
                  <a:gd name="connsiteX8" fmla="*/ 757537 w 2262487"/>
                  <a:gd name="connsiteY8" fmla="*/ 714673 h 970709"/>
                  <a:gd name="connsiteX9" fmla="*/ 776587 w 2262487"/>
                  <a:gd name="connsiteY9" fmla="*/ 728961 h 970709"/>
                  <a:gd name="connsiteX10" fmla="*/ 828974 w 2262487"/>
                  <a:gd name="connsiteY10" fmla="*/ 752773 h 970709"/>
                  <a:gd name="connsiteX11" fmla="*/ 967087 w 2262487"/>
                  <a:gd name="connsiteY11" fmla="*/ 824211 h 970709"/>
                  <a:gd name="connsiteX12" fmla="*/ 1000424 w 2262487"/>
                  <a:gd name="connsiteY12" fmla="*/ 838498 h 970709"/>
                  <a:gd name="connsiteX13" fmla="*/ 1205212 w 2262487"/>
                  <a:gd name="connsiteY13" fmla="*/ 909936 h 970709"/>
                  <a:gd name="connsiteX14" fmla="*/ 1281412 w 2262487"/>
                  <a:gd name="connsiteY14" fmla="*/ 928986 h 970709"/>
                  <a:gd name="connsiteX15" fmla="*/ 1538587 w 2262487"/>
                  <a:gd name="connsiteY15" fmla="*/ 962323 h 970709"/>
                  <a:gd name="connsiteX16" fmla="*/ 1919587 w 2262487"/>
                  <a:gd name="connsiteY16" fmla="*/ 967086 h 970709"/>
                  <a:gd name="connsiteX17" fmla="*/ 2262487 w 2262487"/>
                  <a:gd name="connsiteY17" fmla="*/ 957561 h 970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62487" h="970709">
                    <a:moveTo>
                      <a:pt x="299" y="298"/>
                    </a:moveTo>
                    <a:cubicBezTo>
                      <a:pt x="6649" y="8236"/>
                      <a:pt x="-13195" y="-16370"/>
                      <a:pt x="19349" y="24111"/>
                    </a:cubicBezTo>
                    <a:cubicBezTo>
                      <a:pt x="51893" y="64592"/>
                      <a:pt x="153493" y="189211"/>
                      <a:pt x="195562" y="243186"/>
                    </a:cubicBezTo>
                    <a:cubicBezTo>
                      <a:pt x="237631" y="297161"/>
                      <a:pt x="247950" y="318592"/>
                      <a:pt x="271762" y="347961"/>
                    </a:cubicBezTo>
                    <a:cubicBezTo>
                      <a:pt x="295574" y="377330"/>
                      <a:pt x="321768" y="404317"/>
                      <a:pt x="338437" y="419398"/>
                    </a:cubicBezTo>
                    <a:cubicBezTo>
                      <a:pt x="355106" y="434479"/>
                      <a:pt x="361125" y="431349"/>
                      <a:pt x="371774" y="438448"/>
                    </a:cubicBezTo>
                    <a:cubicBezTo>
                      <a:pt x="380232" y="444087"/>
                      <a:pt x="356693" y="424954"/>
                      <a:pt x="395587" y="457498"/>
                    </a:cubicBezTo>
                    <a:cubicBezTo>
                      <a:pt x="434481" y="490042"/>
                      <a:pt x="544812" y="590849"/>
                      <a:pt x="605137" y="633711"/>
                    </a:cubicBezTo>
                    <a:cubicBezTo>
                      <a:pt x="665462" y="676573"/>
                      <a:pt x="728962" y="698798"/>
                      <a:pt x="757537" y="714673"/>
                    </a:cubicBezTo>
                    <a:cubicBezTo>
                      <a:pt x="786112" y="730548"/>
                      <a:pt x="769781" y="724877"/>
                      <a:pt x="776587" y="728961"/>
                    </a:cubicBezTo>
                    <a:cubicBezTo>
                      <a:pt x="878260" y="789965"/>
                      <a:pt x="797224" y="736898"/>
                      <a:pt x="828974" y="752773"/>
                    </a:cubicBezTo>
                    <a:cubicBezTo>
                      <a:pt x="860724" y="768648"/>
                      <a:pt x="938512" y="809924"/>
                      <a:pt x="967087" y="824211"/>
                    </a:cubicBezTo>
                    <a:cubicBezTo>
                      <a:pt x="995662" y="838498"/>
                      <a:pt x="960737" y="824211"/>
                      <a:pt x="1000424" y="838498"/>
                    </a:cubicBezTo>
                    <a:cubicBezTo>
                      <a:pt x="1040111" y="852785"/>
                      <a:pt x="1158381" y="894855"/>
                      <a:pt x="1205212" y="909936"/>
                    </a:cubicBezTo>
                    <a:cubicBezTo>
                      <a:pt x="1252043" y="925017"/>
                      <a:pt x="1225850" y="920255"/>
                      <a:pt x="1281412" y="928986"/>
                    </a:cubicBezTo>
                    <a:cubicBezTo>
                      <a:pt x="1336975" y="937717"/>
                      <a:pt x="1432225" y="955973"/>
                      <a:pt x="1538587" y="962323"/>
                    </a:cubicBezTo>
                    <a:cubicBezTo>
                      <a:pt x="1644949" y="968673"/>
                      <a:pt x="1792587" y="965498"/>
                      <a:pt x="1919587" y="967086"/>
                    </a:cubicBezTo>
                    <a:cubicBezTo>
                      <a:pt x="2256511" y="962272"/>
                      <a:pt x="2158319" y="983446"/>
                      <a:pt x="2262487" y="957561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62" name="Freeform: Shape 90">
                <a:extLst>
                  <a:ext uri="{FF2B5EF4-FFF2-40B4-BE49-F238E27FC236}">
                    <a16:creationId xmlns:a16="http://schemas.microsoft.com/office/drawing/2014/main" id="{9F5DACB6-89C7-88B7-2B04-E823462D843C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77440 w 3025140"/>
                  <a:gd name="connsiteY170" fmla="*/ 464820 h 3680460"/>
                  <a:gd name="connsiteX171" fmla="*/ 2301240 w 3025140"/>
                  <a:gd name="connsiteY171" fmla="*/ 434340 h 3680460"/>
                  <a:gd name="connsiteX172" fmla="*/ 2270760 w 3025140"/>
                  <a:gd name="connsiteY172" fmla="*/ 411480 h 3680460"/>
                  <a:gd name="connsiteX173" fmla="*/ 2103120 w 3025140"/>
                  <a:gd name="connsiteY173" fmla="*/ 312420 h 3680460"/>
                  <a:gd name="connsiteX174" fmla="*/ 2042160 w 3025140"/>
                  <a:gd name="connsiteY174" fmla="*/ 266700 h 3680460"/>
                  <a:gd name="connsiteX175" fmla="*/ 2004060 w 3025140"/>
                  <a:gd name="connsiteY175" fmla="*/ 251460 h 3680460"/>
                  <a:gd name="connsiteX176" fmla="*/ 1958340 w 3025140"/>
                  <a:gd name="connsiteY176" fmla="*/ 220980 h 3680460"/>
                  <a:gd name="connsiteX177" fmla="*/ 1897380 w 3025140"/>
                  <a:gd name="connsiteY17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01240 w 3025140"/>
                  <a:gd name="connsiteY170" fmla="*/ 434340 h 3680460"/>
                  <a:gd name="connsiteX171" fmla="*/ 2270760 w 3025140"/>
                  <a:gd name="connsiteY171" fmla="*/ 411480 h 3680460"/>
                  <a:gd name="connsiteX172" fmla="*/ 2103120 w 3025140"/>
                  <a:gd name="connsiteY172" fmla="*/ 312420 h 3680460"/>
                  <a:gd name="connsiteX173" fmla="*/ 2042160 w 3025140"/>
                  <a:gd name="connsiteY173" fmla="*/ 266700 h 3680460"/>
                  <a:gd name="connsiteX174" fmla="*/ 2004060 w 3025140"/>
                  <a:gd name="connsiteY174" fmla="*/ 251460 h 3680460"/>
                  <a:gd name="connsiteX175" fmla="*/ 1958340 w 3025140"/>
                  <a:gd name="connsiteY175" fmla="*/ 220980 h 3680460"/>
                  <a:gd name="connsiteX176" fmla="*/ 1897380 w 3025140"/>
                  <a:gd name="connsiteY17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301240 w 3025140"/>
                  <a:gd name="connsiteY169" fmla="*/ 434340 h 3680460"/>
                  <a:gd name="connsiteX170" fmla="*/ 2270760 w 3025140"/>
                  <a:gd name="connsiteY170" fmla="*/ 411480 h 3680460"/>
                  <a:gd name="connsiteX171" fmla="*/ 2103120 w 3025140"/>
                  <a:gd name="connsiteY171" fmla="*/ 312420 h 3680460"/>
                  <a:gd name="connsiteX172" fmla="*/ 2042160 w 3025140"/>
                  <a:gd name="connsiteY172" fmla="*/ 266700 h 3680460"/>
                  <a:gd name="connsiteX173" fmla="*/ 2004060 w 3025140"/>
                  <a:gd name="connsiteY173" fmla="*/ 251460 h 3680460"/>
                  <a:gd name="connsiteX174" fmla="*/ 1958340 w 3025140"/>
                  <a:gd name="connsiteY174" fmla="*/ 220980 h 3680460"/>
                  <a:gd name="connsiteX175" fmla="*/ 1897380 w 3025140"/>
                  <a:gd name="connsiteY17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301240 w 3025140"/>
                  <a:gd name="connsiteY168" fmla="*/ 434340 h 3680460"/>
                  <a:gd name="connsiteX169" fmla="*/ 2270760 w 3025140"/>
                  <a:gd name="connsiteY169" fmla="*/ 411480 h 3680460"/>
                  <a:gd name="connsiteX170" fmla="*/ 2103120 w 3025140"/>
                  <a:gd name="connsiteY170" fmla="*/ 312420 h 3680460"/>
                  <a:gd name="connsiteX171" fmla="*/ 2042160 w 3025140"/>
                  <a:gd name="connsiteY171" fmla="*/ 266700 h 3680460"/>
                  <a:gd name="connsiteX172" fmla="*/ 2004060 w 3025140"/>
                  <a:gd name="connsiteY172" fmla="*/ 251460 h 3680460"/>
                  <a:gd name="connsiteX173" fmla="*/ 1958340 w 3025140"/>
                  <a:gd name="connsiteY173" fmla="*/ 220980 h 3680460"/>
                  <a:gd name="connsiteX174" fmla="*/ 1897380 w 3025140"/>
                  <a:gd name="connsiteY17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37423 w 3025140"/>
                  <a:gd name="connsiteY168" fmla="*/ 406717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12620 w 3025140"/>
                  <a:gd name="connsiteY8" fmla="*/ 7620 h 3680460"/>
                  <a:gd name="connsiteX9" fmla="*/ 1981200 w 3025140"/>
                  <a:gd name="connsiteY9" fmla="*/ 0 h 3680460"/>
                  <a:gd name="connsiteX10" fmla="*/ 2026920 w 3025140"/>
                  <a:gd name="connsiteY10" fmla="*/ 30480 h 3680460"/>
                  <a:gd name="connsiteX11" fmla="*/ 2065020 w 3025140"/>
                  <a:gd name="connsiteY11" fmla="*/ 76200 h 3680460"/>
                  <a:gd name="connsiteX12" fmla="*/ 2171700 w 3025140"/>
                  <a:gd name="connsiteY12" fmla="*/ 114300 h 3680460"/>
                  <a:gd name="connsiteX13" fmla="*/ 2225040 w 3025140"/>
                  <a:gd name="connsiteY13" fmla="*/ 160020 h 3680460"/>
                  <a:gd name="connsiteX14" fmla="*/ 2286000 w 3025140"/>
                  <a:gd name="connsiteY14" fmla="*/ 190500 h 3680460"/>
                  <a:gd name="connsiteX15" fmla="*/ 2331720 w 3025140"/>
                  <a:gd name="connsiteY15" fmla="*/ 220980 h 3680460"/>
                  <a:gd name="connsiteX16" fmla="*/ 2385060 w 3025140"/>
                  <a:gd name="connsiteY16" fmla="*/ 266700 h 3680460"/>
                  <a:gd name="connsiteX17" fmla="*/ 2415540 w 3025140"/>
                  <a:gd name="connsiteY17" fmla="*/ 289560 h 3680460"/>
                  <a:gd name="connsiteX18" fmla="*/ 2461260 w 3025140"/>
                  <a:gd name="connsiteY18" fmla="*/ 320040 h 3680460"/>
                  <a:gd name="connsiteX19" fmla="*/ 2537460 w 3025140"/>
                  <a:gd name="connsiteY19" fmla="*/ 426720 h 3680460"/>
                  <a:gd name="connsiteX20" fmla="*/ 2552700 w 3025140"/>
                  <a:gd name="connsiteY20" fmla="*/ 449580 h 3680460"/>
                  <a:gd name="connsiteX21" fmla="*/ 2575560 w 3025140"/>
                  <a:gd name="connsiteY21" fmla="*/ 487680 h 3680460"/>
                  <a:gd name="connsiteX22" fmla="*/ 2621280 w 3025140"/>
                  <a:gd name="connsiteY22" fmla="*/ 548640 h 3680460"/>
                  <a:gd name="connsiteX23" fmla="*/ 2674620 w 3025140"/>
                  <a:gd name="connsiteY23" fmla="*/ 609600 h 3680460"/>
                  <a:gd name="connsiteX24" fmla="*/ 2727960 w 3025140"/>
                  <a:gd name="connsiteY24" fmla="*/ 678180 h 3680460"/>
                  <a:gd name="connsiteX25" fmla="*/ 2727960 w 3025140"/>
                  <a:gd name="connsiteY25" fmla="*/ 678180 h 3680460"/>
                  <a:gd name="connsiteX26" fmla="*/ 2766060 w 3025140"/>
                  <a:gd name="connsiteY26" fmla="*/ 754380 h 3680460"/>
                  <a:gd name="connsiteX27" fmla="*/ 2819400 w 3025140"/>
                  <a:gd name="connsiteY27" fmla="*/ 830580 h 3680460"/>
                  <a:gd name="connsiteX28" fmla="*/ 2834640 w 3025140"/>
                  <a:gd name="connsiteY28" fmla="*/ 853440 h 3680460"/>
                  <a:gd name="connsiteX29" fmla="*/ 2849880 w 3025140"/>
                  <a:gd name="connsiteY29" fmla="*/ 883920 h 3680460"/>
                  <a:gd name="connsiteX30" fmla="*/ 2880360 w 3025140"/>
                  <a:gd name="connsiteY30" fmla="*/ 922020 h 3680460"/>
                  <a:gd name="connsiteX31" fmla="*/ 2887980 w 3025140"/>
                  <a:gd name="connsiteY31" fmla="*/ 944880 h 3680460"/>
                  <a:gd name="connsiteX32" fmla="*/ 2903220 w 3025140"/>
                  <a:gd name="connsiteY32" fmla="*/ 967740 h 3680460"/>
                  <a:gd name="connsiteX33" fmla="*/ 2918460 w 3025140"/>
                  <a:gd name="connsiteY33" fmla="*/ 1036320 h 3680460"/>
                  <a:gd name="connsiteX34" fmla="*/ 2933700 w 3025140"/>
                  <a:gd name="connsiteY34" fmla="*/ 1074420 h 3680460"/>
                  <a:gd name="connsiteX35" fmla="*/ 2948940 w 3025140"/>
                  <a:gd name="connsiteY35" fmla="*/ 1120140 h 3680460"/>
                  <a:gd name="connsiteX36" fmla="*/ 2964180 w 3025140"/>
                  <a:gd name="connsiteY36" fmla="*/ 1203960 h 3680460"/>
                  <a:gd name="connsiteX37" fmla="*/ 2979420 w 3025140"/>
                  <a:gd name="connsiteY37" fmla="*/ 1264920 h 3680460"/>
                  <a:gd name="connsiteX38" fmla="*/ 2987040 w 3025140"/>
                  <a:gd name="connsiteY38" fmla="*/ 1318260 h 3680460"/>
                  <a:gd name="connsiteX39" fmla="*/ 2994660 w 3025140"/>
                  <a:gd name="connsiteY39" fmla="*/ 1348740 h 3680460"/>
                  <a:gd name="connsiteX40" fmla="*/ 3009900 w 3025140"/>
                  <a:gd name="connsiteY40" fmla="*/ 1432560 h 3680460"/>
                  <a:gd name="connsiteX41" fmla="*/ 3017520 w 3025140"/>
                  <a:gd name="connsiteY41" fmla="*/ 1684020 h 3680460"/>
                  <a:gd name="connsiteX42" fmla="*/ 3025140 w 3025140"/>
                  <a:gd name="connsiteY42" fmla="*/ 1744980 h 3680460"/>
                  <a:gd name="connsiteX43" fmla="*/ 3017520 w 3025140"/>
                  <a:gd name="connsiteY43" fmla="*/ 2095500 h 3680460"/>
                  <a:gd name="connsiteX44" fmla="*/ 3009900 w 3025140"/>
                  <a:gd name="connsiteY44" fmla="*/ 2125980 h 3680460"/>
                  <a:gd name="connsiteX45" fmla="*/ 2979420 w 3025140"/>
                  <a:gd name="connsiteY45" fmla="*/ 2194560 h 3680460"/>
                  <a:gd name="connsiteX46" fmla="*/ 2956560 w 3025140"/>
                  <a:gd name="connsiteY46" fmla="*/ 2247900 h 3680460"/>
                  <a:gd name="connsiteX47" fmla="*/ 2941320 w 3025140"/>
                  <a:gd name="connsiteY47" fmla="*/ 2324100 h 3680460"/>
                  <a:gd name="connsiteX48" fmla="*/ 2926080 w 3025140"/>
                  <a:gd name="connsiteY48" fmla="*/ 2392680 h 3680460"/>
                  <a:gd name="connsiteX49" fmla="*/ 2918460 w 3025140"/>
                  <a:gd name="connsiteY49" fmla="*/ 2415540 h 3680460"/>
                  <a:gd name="connsiteX50" fmla="*/ 2895600 w 3025140"/>
                  <a:gd name="connsiteY50" fmla="*/ 2484120 h 3680460"/>
                  <a:gd name="connsiteX51" fmla="*/ 2872740 w 3025140"/>
                  <a:gd name="connsiteY51" fmla="*/ 2583180 h 3680460"/>
                  <a:gd name="connsiteX52" fmla="*/ 2857500 w 3025140"/>
                  <a:gd name="connsiteY52" fmla="*/ 2606040 h 3680460"/>
                  <a:gd name="connsiteX53" fmla="*/ 2834640 w 3025140"/>
                  <a:gd name="connsiteY53" fmla="*/ 2689860 h 3680460"/>
                  <a:gd name="connsiteX54" fmla="*/ 2811780 w 3025140"/>
                  <a:gd name="connsiteY54" fmla="*/ 2750820 h 3680460"/>
                  <a:gd name="connsiteX55" fmla="*/ 2788920 w 3025140"/>
                  <a:gd name="connsiteY55" fmla="*/ 2781300 h 3680460"/>
                  <a:gd name="connsiteX56" fmla="*/ 2781300 w 3025140"/>
                  <a:gd name="connsiteY56" fmla="*/ 2804160 h 3680460"/>
                  <a:gd name="connsiteX57" fmla="*/ 2743200 w 3025140"/>
                  <a:gd name="connsiteY57" fmla="*/ 2865120 h 3680460"/>
                  <a:gd name="connsiteX58" fmla="*/ 2712720 w 3025140"/>
                  <a:gd name="connsiteY58" fmla="*/ 2903220 h 3680460"/>
                  <a:gd name="connsiteX59" fmla="*/ 2697480 w 3025140"/>
                  <a:gd name="connsiteY59" fmla="*/ 2933700 h 3680460"/>
                  <a:gd name="connsiteX60" fmla="*/ 2674620 w 3025140"/>
                  <a:gd name="connsiteY60" fmla="*/ 2964180 h 3680460"/>
                  <a:gd name="connsiteX61" fmla="*/ 2644140 w 3025140"/>
                  <a:gd name="connsiteY61" fmla="*/ 3009900 h 3680460"/>
                  <a:gd name="connsiteX62" fmla="*/ 2598420 w 3025140"/>
                  <a:gd name="connsiteY62" fmla="*/ 3055620 h 3680460"/>
                  <a:gd name="connsiteX63" fmla="*/ 2575560 w 3025140"/>
                  <a:gd name="connsiteY63" fmla="*/ 3078480 h 3680460"/>
                  <a:gd name="connsiteX64" fmla="*/ 2476500 w 3025140"/>
                  <a:gd name="connsiteY64" fmla="*/ 3169920 h 3680460"/>
                  <a:gd name="connsiteX65" fmla="*/ 2377440 w 3025140"/>
                  <a:gd name="connsiteY65" fmla="*/ 3223260 h 3680460"/>
                  <a:gd name="connsiteX66" fmla="*/ 2293620 w 3025140"/>
                  <a:gd name="connsiteY66" fmla="*/ 3284220 h 3680460"/>
                  <a:gd name="connsiteX67" fmla="*/ 2240280 w 3025140"/>
                  <a:gd name="connsiteY67" fmla="*/ 3314700 h 3680460"/>
                  <a:gd name="connsiteX68" fmla="*/ 2225040 w 3025140"/>
                  <a:gd name="connsiteY68" fmla="*/ 3337560 h 3680460"/>
                  <a:gd name="connsiteX69" fmla="*/ 2141220 w 3025140"/>
                  <a:gd name="connsiteY69" fmla="*/ 3390900 h 3680460"/>
                  <a:gd name="connsiteX70" fmla="*/ 2110740 w 3025140"/>
                  <a:gd name="connsiteY70" fmla="*/ 3413760 h 3680460"/>
                  <a:gd name="connsiteX71" fmla="*/ 2072640 w 3025140"/>
                  <a:gd name="connsiteY71" fmla="*/ 3451860 h 3680460"/>
                  <a:gd name="connsiteX72" fmla="*/ 2019300 w 3025140"/>
                  <a:gd name="connsiteY72" fmla="*/ 3467100 h 3680460"/>
                  <a:gd name="connsiteX73" fmla="*/ 1874520 w 3025140"/>
                  <a:gd name="connsiteY73" fmla="*/ 3512820 h 3680460"/>
                  <a:gd name="connsiteX74" fmla="*/ 1828800 w 3025140"/>
                  <a:gd name="connsiteY74" fmla="*/ 3520440 h 3680460"/>
                  <a:gd name="connsiteX75" fmla="*/ 1722120 w 3025140"/>
                  <a:gd name="connsiteY75" fmla="*/ 3550920 h 3680460"/>
                  <a:gd name="connsiteX76" fmla="*/ 1600200 w 3025140"/>
                  <a:gd name="connsiteY76" fmla="*/ 3589020 h 3680460"/>
                  <a:gd name="connsiteX77" fmla="*/ 1569720 w 3025140"/>
                  <a:gd name="connsiteY77" fmla="*/ 3596640 h 3680460"/>
                  <a:gd name="connsiteX78" fmla="*/ 1546860 w 3025140"/>
                  <a:gd name="connsiteY78" fmla="*/ 3611880 h 3680460"/>
                  <a:gd name="connsiteX79" fmla="*/ 1463040 w 3025140"/>
                  <a:gd name="connsiteY79" fmla="*/ 3627120 h 3680460"/>
                  <a:gd name="connsiteX80" fmla="*/ 1333500 w 3025140"/>
                  <a:gd name="connsiteY80" fmla="*/ 3657600 h 3680460"/>
                  <a:gd name="connsiteX81" fmla="*/ 1203960 w 3025140"/>
                  <a:gd name="connsiteY81" fmla="*/ 3672840 h 3680460"/>
                  <a:gd name="connsiteX82" fmla="*/ 1165860 w 3025140"/>
                  <a:gd name="connsiteY82" fmla="*/ 3680460 h 3680460"/>
                  <a:gd name="connsiteX83" fmla="*/ 449580 w 3025140"/>
                  <a:gd name="connsiteY83" fmla="*/ 3672840 h 3680460"/>
                  <a:gd name="connsiteX84" fmla="*/ 426720 w 3025140"/>
                  <a:gd name="connsiteY84" fmla="*/ 3665220 h 3680460"/>
                  <a:gd name="connsiteX85" fmla="*/ 388620 w 3025140"/>
                  <a:gd name="connsiteY85" fmla="*/ 3657600 h 3680460"/>
                  <a:gd name="connsiteX86" fmla="*/ 335280 w 3025140"/>
                  <a:gd name="connsiteY86" fmla="*/ 3627120 h 3680460"/>
                  <a:gd name="connsiteX87" fmla="*/ 266700 w 3025140"/>
                  <a:gd name="connsiteY87" fmla="*/ 3604260 h 3680460"/>
                  <a:gd name="connsiteX88" fmla="*/ 243840 w 3025140"/>
                  <a:gd name="connsiteY88" fmla="*/ 3589020 h 3680460"/>
                  <a:gd name="connsiteX89" fmla="*/ 160020 w 3025140"/>
                  <a:gd name="connsiteY89" fmla="*/ 3558540 h 3680460"/>
                  <a:gd name="connsiteX90" fmla="*/ 137160 w 3025140"/>
                  <a:gd name="connsiteY90" fmla="*/ 3535680 h 3680460"/>
                  <a:gd name="connsiteX91" fmla="*/ 99060 w 3025140"/>
                  <a:gd name="connsiteY91" fmla="*/ 3520440 h 3680460"/>
                  <a:gd name="connsiteX92" fmla="*/ 83820 w 3025140"/>
                  <a:gd name="connsiteY92" fmla="*/ 3489960 h 3680460"/>
                  <a:gd name="connsiteX93" fmla="*/ 45720 w 3025140"/>
                  <a:gd name="connsiteY93" fmla="*/ 3436620 h 3680460"/>
                  <a:gd name="connsiteX94" fmla="*/ 0 w 3025140"/>
                  <a:gd name="connsiteY94" fmla="*/ 3352800 h 3680460"/>
                  <a:gd name="connsiteX95" fmla="*/ 30480 w 3025140"/>
                  <a:gd name="connsiteY95" fmla="*/ 3345180 h 3680460"/>
                  <a:gd name="connsiteX96" fmla="*/ 137160 w 3025140"/>
                  <a:gd name="connsiteY96" fmla="*/ 3360420 h 3680460"/>
                  <a:gd name="connsiteX97" fmla="*/ 167640 w 3025140"/>
                  <a:gd name="connsiteY97" fmla="*/ 3390900 h 3680460"/>
                  <a:gd name="connsiteX98" fmla="*/ 198120 w 3025140"/>
                  <a:gd name="connsiteY98" fmla="*/ 3406140 h 3680460"/>
                  <a:gd name="connsiteX99" fmla="*/ 350520 w 3025140"/>
                  <a:gd name="connsiteY99" fmla="*/ 3436620 h 3680460"/>
                  <a:gd name="connsiteX100" fmla="*/ 381000 w 3025140"/>
                  <a:gd name="connsiteY100" fmla="*/ 3451860 h 3680460"/>
                  <a:gd name="connsiteX101" fmla="*/ 449580 w 3025140"/>
                  <a:gd name="connsiteY101" fmla="*/ 3489960 h 3680460"/>
                  <a:gd name="connsiteX102" fmla="*/ 495300 w 3025140"/>
                  <a:gd name="connsiteY102" fmla="*/ 3520440 h 3680460"/>
                  <a:gd name="connsiteX103" fmla="*/ 525780 w 3025140"/>
                  <a:gd name="connsiteY103" fmla="*/ 3535680 h 3680460"/>
                  <a:gd name="connsiteX104" fmla="*/ 731520 w 3025140"/>
                  <a:gd name="connsiteY104" fmla="*/ 3558540 h 3680460"/>
                  <a:gd name="connsiteX105" fmla="*/ 1341120 w 3025140"/>
                  <a:gd name="connsiteY105" fmla="*/ 3550920 h 3680460"/>
                  <a:gd name="connsiteX106" fmla="*/ 1440180 w 3025140"/>
                  <a:gd name="connsiteY106" fmla="*/ 3528060 h 3680460"/>
                  <a:gd name="connsiteX107" fmla="*/ 1539240 w 3025140"/>
                  <a:gd name="connsiteY107" fmla="*/ 3520440 h 3680460"/>
                  <a:gd name="connsiteX108" fmla="*/ 1562100 w 3025140"/>
                  <a:gd name="connsiteY108" fmla="*/ 3512820 h 3680460"/>
                  <a:gd name="connsiteX109" fmla="*/ 1630680 w 3025140"/>
                  <a:gd name="connsiteY109" fmla="*/ 3497580 h 3680460"/>
                  <a:gd name="connsiteX110" fmla="*/ 1699260 w 3025140"/>
                  <a:gd name="connsiteY110" fmla="*/ 3474720 h 3680460"/>
                  <a:gd name="connsiteX111" fmla="*/ 1790700 w 3025140"/>
                  <a:gd name="connsiteY111" fmla="*/ 3451860 h 3680460"/>
                  <a:gd name="connsiteX112" fmla="*/ 1821180 w 3025140"/>
                  <a:gd name="connsiteY112" fmla="*/ 3444240 h 3680460"/>
                  <a:gd name="connsiteX113" fmla="*/ 1844040 w 3025140"/>
                  <a:gd name="connsiteY113" fmla="*/ 3429000 h 3680460"/>
                  <a:gd name="connsiteX114" fmla="*/ 1874520 w 3025140"/>
                  <a:gd name="connsiteY114" fmla="*/ 3421380 h 3680460"/>
                  <a:gd name="connsiteX115" fmla="*/ 1927860 w 3025140"/>
                  <a:gd name="connsiteY115" fmla="*/ 3398520 h 3680460"/>
                  <a:gd name="connsiteX116" fmla="*/ 1950720 w 3025140"/>
                  <a:gd name="connsiteY116" fmla="*/ 3390900 h 3680460"/>
                  <a:gd name="connsiteX117" fmla="*/ 2004060 w 3025140"/>
                  <a:gd name="connsiteY117" fmla="*/ 3360420 h 3680460"/>
                  <a:gd name="connsiteX118" fmla="*/ 2042160 w 3025140"/>
                  <a:gd name="connsiteY118" fmla="*/ 3352800 h 3680460"/>
                  <a:gd name="connsiteX119" fmla="*/ 2080260 w 3025140"/>
                  <a:gd name="connsiteY119" fmla="*/ 3337560 h 3680460"/>
                  <a:gd name="connsiteX120" fmla="*/ 2156460 w 3025140"/>
                  <a:gd name="connsiteY120" fmla="*/ 3299460 h 3680460"/>
                  <a:gd name="connsiteX121" fmla="*/ 2179320 w 3025140"/>
                  <a:gd name="connsiteY121" fmla="*/ 3284220 h 3680460"/>
                  <a:gd name="connsiteX122" fmla="*/ 2209800 w 3025140"/>
                  <a:gd name="connsiteY122" fmla="*/ 3276600 h 3680460"/>
                  <a:gd name="connsiteX123" fmla="*/ 2263140 w 3025140"/>
                  <a:gd name="connsiteY123" fmla="*/ 3230880 h 3680460"/>
                  <a:gd name="connsiteX124" fmla="*/ 2346960 w 3025140"/>
                  <a:gd name="connsiteY124" fmla="*/ 3154680 h 3680460"/>
                  <a:gd name="connsiteX125" fmla="*/ 2400300 w 3025140"/>
                  <a:gd name="connsiteY125" fmla="*/ 3070860 h 3680460"/>
                  <a:gd name="connsiteX126" fmla="*/ 2415540 w 3025140"/>
                  <a:gd name="connsiteY126" fmla="*/ 3048000 h 3680460"/>
                  <a:gd name="connsiteX127" fmla="*/ 2446020 w 3025140"/>
                  <a:gd name="connsiteY127" fmla="*/ 3032760 h 3680460"/>
                  <a:gd name="connsiteX128" fmla="*/ 2468880 w 3025140"/>
                  <a:gd name="connsiteY128" fmla="*/ 3009900 h 3680460"/>
                  <a:gd name="connsiteX129" fmla="*/ 2537460 w 3025140"/>
                  <a:gd name="connsiteY129" fmla="*/ 2926080 h 3680460"/>
                  <a:gd name="connsiteX130" fmla="*/ 2575560 w 3025140"/>
                  <a:gd name="connsiteY130" fmla="*/ 2880360 h 3680460"/>
                  <a:gd name="connsiteX131" fmla="*/ 2628900 w 3025140"/>
                  <a:gd name="connsiteY131" fmla="*/ 2811780 h 3680460"/>
                  <a:gd name="connsiteX132" fmla="*/ 2644140 w 3025140"/>
                  <a:gd name="connsiteY132" fmla="*/ 2773680 h 3680460"/>
                  <a:gd name="connsiteX133" fmla="*/ 2674620 w 3025140"/>
                  <a:gd name="connsiteY133" fmla="*/ 2727960 h 3680460"/>
                  <a:gd name="connsiteX134" fmla="*/ 2689860 w 3025140"/>
                  <a:gd name="connsiteY134" fmla="*/ 2705100 h 3680460"/>
                  <a:gd name="connsiteX135" fmla="*/ 2705100 w 3025140"/>
                  <a:gd name="connsiteY135" fmla="*/ 2667000 h 3680460"/>
                  <a:gd name="connsiteX136" fmla="*/ 2727960 w 3025140"/>
                  <a:gd name="connsiteY136" fmla="*/ 2621280 h 3680460"/>
                  <a:gd name="connsiteX137" fmla="*/ 2735580 w 3025140"/>
                  <a:gd name="connsiteY137" fmla="*/ 2590800 h 3680460"/>
                  <a:gd name="connsiteX138" fmla="*/ 2758440 w 3025140"/>
                  <a:gd name="connsiteY138" fmla="*/ 2545080 h 3680460"/>
                  <a:gd name="connsiteX139" fmla="*/ 2788920 w 3025140"/>
                  <a:gd name="connsiteY139" fmla="*/ 2484120 h 3680460"/>
                  <a:gd name="connsiteX140" fmla="*/ 2811780 w 3025140"/>
                  <a:gd name="connsiteY140" fmla="*/ 2407920 h 3680460"/>
                  <a:gd name="connsiteX141" fmla="*/ 2842260 w 3025140"/>
                  <a:gd name="connsiteY141" fmla="*/ 2324100 h 3680460"/>
                  <a:gd name="connsiteX142" fmla="*/ 2857500 w 3025140"/>
                  <a:gd name="connsiteY142" fmla="*/ 2247900 h 3680460"/>
                  <a:gd name="connsiteX143" fmla="*/ 2872740 w 3025140"/>
                  <a:gd name="connsiteY143" fmla="*/ 2194560 h 3680460"/>
                  <a:gd name="connsiteX144" fmla="*/ 2887980 w 3025140"/>
                  <a:gd name="connsiteY144" fmla="*/ 2148840 h 3680460"/>
                  <a:gd name="connsiteX145" fmla="*/ 2910840 w 3025140"/>
                  <a:gd name="connsiteY145" fmla="*/ 2087880 h 3680460"/>
                  <a:gd name="connsiteX146" fmla="*/ 2918460 w 3025140"/>
                  <a:gd name="connsiteY146" fmla="*/ 2049780 h 3680460"/>
                  <a:gd name="connsiteX147" fmla="*/ 2933700 w 3025140"/>
                  <a:gd name="connsiteY147" fmla="*/ 1844040 h 3680460"/>
                  <a:gd name="connsiteX148" fmla="*/ 2918460 w 3025140"/>
                  <a:gd name="connsiteY148" fmla="*/ 1470660 h 3680460"/>
                  <a:gd name="connsiteX149" fmla="*/ 2895600 w 3025140"/>
                  <a:gd name="connsiteY149" fmla="*/ 1371600 h 3680460"/>
                  <a:gd name="connsiteX150" fmla="*/ 2880360 w 3025140"/>
                  <a:gd name="connsiteY150" fmla="*/ 1341120 h 3680460"/>
                  <a:gd name="connsiteX151" fmla="*/ 2857500 w 3025140"/>
                  <a:gd name="connsiteY151" fmla="*/ 1272540 h 3680460"/>
                  <a:gd name="connsiteX152" fmla="*/ 2849880 w 3025140"/>
                  <a:gd name="connsiteY152" fmla="*/ 1234440 h 3680460"/>
                  <a:gd name="connsiteX153" fmla="*/ 2827020 w 3025140"/>
                  <a:gd name="connsiteY153" fmla="*/ 1196340 h 3680460"/>
                  <a:gd name="connsiteX154" fmla="*/ 2811780 w 3025140"/>
                  <a:gd name="connsiteY154" fmla="*/ 1165860 h 3680460"/>
                  <a:gd name="connsiteX155" fmla="*/ 2781300 w 3025140"/>
                  <a:gd name="connsiteY155" fmla="*/ 1127760 h 3680460"/>
                  <a:gd name="connsiteX156" fmla="*/ 2766060 w 3025140"/>
                  <a:gd name="connsiteY156" fmla="*/ 1089660 h 3680460"/>
                  <a:gd name="connsiteX157" fmla="*/ 2735580 w 3025140"/>
                  <a:gd name="connsiteY157" fmla="*/ 1043940 h 3680460"/>
                  <a:gd name="connsiteX158" fmla="*/ 2727960 w 3025140"/>
                  <a:gd name="connsiteY158" fmla="*/ 1021080 h 3680460"/>
                  <a:gd name="connsiteX159" fmla="*/ 2682240 w 3025140"/>
                  <a:gd name="connsiteY159" fmla="*/ 937260 h 3680460"/>
                  <a:gd name="connsiteX160" fmla="*/ 2659380 w 3025140"/>
                  <a:gd name="connsiteY160" fmla="*/ 876300 h 3680460"/>
                  <a:gd name="connsiteX161" fmla="*/ 2644140 w 3025140"/>
                  <a:gd name="connsiteY161" fmla="*/ 845820 h 3680460"/>
                  <a:gd name="connsiteX162" fmla="*/ 2636520 w 3025140"/>
                  <a:gd name="connsiteY162" fmla="*/ 822960 h 3680460"/>
                  <a:gd name="connsiteX163" fmla="*/ 2621280 w 3025140"/>
                  <a:gd name="connsiteY163" fmla="*/ 800100 h 3680460"/>
                  <a:gd name="connsiteX164" fmla="*/ 2598420 w 3025140"/>
                  <a:gd name="connsiteY164" fmla="*/ 739140 h 3680460"/>
                  <a:gd name="connsiteX165" fmla="*/ 2458403 w 3025140"/>
                  <a:gd name="connsiteY165" fmla="*/ 621983 h 3680460"/>
                  <a:gd name="connsiteX166" fmla="*/ 2301240 w 3025140"/>
                  <a:gd name="connsiteY166" fmla="*/ 458152 h 3680460"/>
                  <a:gd name="connsiteX167" fmla="*/ 2237423 w 3025140"/>
                  <a:gd name="connsiteY167" fmla="*/ 406717 h 3680460"/>
                  <a:gd name="connsiteX168" fmla="*/ 2103120 w 3025140"/>
                  <a:gd name="connsiteY168" fmla="*/ 312420 h 3680460"/>
                  <a:gd name="connsiteX169" fmla="*/ 2042160 w 3025140"/>
                  <a:gd name="connsiteY169" fmla="*/ 266700 h 3680460"/>
                  <a:gd name="connsiteX170" fmla="*/ 2004060 w 3025140"/>
                  <a:gd name="connsiteY170" fmla="*/ 251460 h 3680460"/>
                  <a:gd name="connsiteX171" fmla="*/ 1958340 w 3025140"/>
                  <a:gd name="connsiteY171" fmla="*/ 220980 h 3680460"/>
                  <a:gd name="connsiteX172" fmla="*/ 1897380 w 3025140"/>
                  <a:gd name="connsiteY17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171700 w 3025140"/>
                  <a:gd name="connsiteY10" fmla="*/ 114300 h 3680460"/>
                  <a:gd name="connsiteX11" fmla="*/ 2225040 w 3025140"/>
                  <a:gd name="connsiteY11" fmla="*/ 160020 h 3680460"/>
                  <a:gd name="connsiteX12" fmla="*/ 2286000 w 3025140"/>
                  <a:gd name="connsiteY12" fmla="*/ 190500 h 3680460"/>
                  <a:gd name="connsiteX13" fmla="*/ 2331720 w 3025140"/>
                  <a:gd name="connsiteY13" fmla="*/ 220980 h 3680460"/>
                  <a:gd name="connsiteX14" fmla="*/ 2385060 w 3025140"/>
                  <a:gd name="connsiteY14" fmla="*/ 266700 h 3680460"/>
                  <a:gd name="connsiteX15" fmla="*/ 2415540 w 3025140"/>
                  <a:gd name="connsiteY15" fmla="*/ 289560 h 3680460"/>
                  <a:gd name="connsiteX16" fmla="*/ 2461260 w 3025140"/>
                  <a:gd name="connsiteY16" fmla="*/ 320040 h 3680460"/>
                  <a:gd name="connsiteX17" fmla="*/ 2537460 w 3025140"/>
                  <a:gd name="connsiteY17" fmla="*/ 426720 h 3680460"/>
                  <a:gd name="connsiteX18" fmla="*/ 2552700 w 3025140"/>
                  <a:gd name="connsiteY18" fmla="*/ 449580 h 3680460"/>
                  <a:gd name="connsiteX19" fmla="*/ 2575560 w 3025140"/>
                  <a:gd name="connsiteY19" fmla="*/ 487680 h 3680460"/>
                  <a:gd name="connsiteX20" fmla="*/ 2621280 w 3025140"/>
                  <a:gd name="connsiteY20" fmla="*/ 548640 h 3680460"/>
                  <a:gd name="connsiteX21" fmla="*/ 2674620 w 3025140"/>
                  <a:gd name="connsiteY21" fmla="*/ 609600 h 3680460"/>
                  <a:gd name="connsiteX22" fmla="*/ 2727960 w 3025140"/>
                  <a:gd name="connsiteY22" fmla="*/ 678180 h 3680460"/>
                  <a:gd name="connsiteX23" fmla="*/ 2727960 w 3025140"/>
                  <a:gd name="connsiteY23" fmla="*/ 678180 h 3680460"/>
                  <a:gd name="connsiteX24" fmla="*/ 2766060 w 3025140"/>
                  <a:gd name="connsiteY24" fmla="*/ 754380 h 3680460"/>
                  <a:gd name="connsiteX25" fmla="*/ 2819400 w 3025140"/>
                  <a:gd name="connsiteY25" fmla="*/ 830580 h 3680460"/>
                  <a:gd name="connsiteX26" fmla="*/ 2834640 w 3025140"/>
                  <a:gd name="connsiteY26" fmla="*/ 853440 h 3680460"/>
                  <a:gd name="connsiteX27" fmla="*/ 2849880 w 3025140"/>
                  <a:gd name="connsiteY27" fmla="*/ 883920 h 3680460"/>
                  <a:gd name="connsiteX28" fmla="*/ 2880360 w 3025140"/>
                  <a:gd name="connsiteY28" fmla="*/ 922020 h 3680460"/>
                  <a:gd name="connsiteX29" fmla="*/ 2887980 w 3025140"/>
                  <a:gd name="connsiteY29" fmla="*/ 944880 h 3680460"/>
                  <a:gd name="connsiteX30" fmla="*/ 2903220 w 3025140"/>
                  <a:gd name="connsiteY30" fmla="*/ 967740 h 3680460"/>
                  <a:gd name="connsiteX31" fmla="*/ 2918460 w 3025140"/>
                  <a:gd name="connsiteY31" fmla="*/ 1036320 h 3680460"/>
                  <a:gd name="connsiteX32" fmla="*/ 2933700 w 3025140"/>
                  <a:gd name="connsiteY32" fmla="*/ 1074420 h 3680460"/>
                  <a:gd name="connsiteX33" fmla="*/ 2948940 w 3025140"/>
                  <a:gd name="connsiteY33" fmla="*/ 1120140 h 3680460"/>
                  <a:gd name="connsiteX34" fmla="*/ 2964180 w 3025140"/>
                  <a:gd name="connsiteY34" fmla="*/ 1203960 h 3680460"/>
                  <a:gd name="connsiteX35" fmla="*/ 2979420 w 3025140"/>
                  <a:gd name="connsiteY35" fmla="*/ 1264920 h 3680460"/>
                  <a:gd name="connsiteX36" fmla="*/ 2987040 w 3025140"/>
                  <a:gd name="connsiteY36" fmla="*/ 1318260 h 3680460"/>
                  <a:gd name="connsiteX37" fmla="*/ 2994660 w 3025140"/>
                  <a:gd name="connsiteY37" fmla="*/ 1348740 h 3680460"/>
                  <a:gd name="connsiteX38" fmla="*/ 3009900 w 3025140"/>
                  <a:gd name="connsiteY38" fmla="*/ 1432560 h 3680460"/>
                  <a:gd name="connsiteX39" fmla="*/ 3017520 w 3025140"/>
                  <a:gd name="connsiteY39" fmla="*/ 1684020 h 3680460"/>
                  <a:gd name="connsiteX40" fmla="*/ 3025140 w 3025140"/>
                  <a:gd name="connsiteY40" fmla="*/ 1744980 h 3680460"/>
                  <a:gd name="connsiteX41" fmla="*/ 3017520 w 3025140"/>
                  <a:gd name="connsiteY41" fmla="*/ 2095500 h 3680460"/>
                  <a:gd name="connsiteX42" fmla="*/ 3009900 w 3025140"/>
                  <a:gd name="connsiteY42" fmla="*/ 2125980 h 3680460"/>
                  <a:gd name="connsiteX43" fmla="*/ 2979420 w 3025140"/>
                  <a:gd name="connsiteY43" fmla="*/ 2194560 h 3680460"/>
                  <a:gd name="connsiteX44" fmla="*/ 2956560 w 3025140"/>
                  <a:gd name="connsiteY44" fmla="*/ 2247900 h 3680460"/>
                  <a:gd name="connsiteX45" fmla="*/ 2941320 w 3025140"/>
                  <a:gd name="connsiteY45" fmla="*/ 2324100 h 3680460"/>
                  <a:gd name="connsiteX46" fmla="*/ 2926080 w 3025140"/>
                  <a:gd name="connsiteY46" fmla="*/ 2392680 h 3680460"/>
                  <a:gd name="connsiteX47" fmla="*/ 2918460 w 3025140"/>
                  <a:gd name="connsiteY47" fmla="*/ 2415540 h 3680460"/>
                  <a:gd name="connsiteX48" fmla="*/ 2895600 w 3025140"/>
                  <a:gd name="connsiteY48" fmla="*/ 2484120 h 3680460"/>
                  <a:gd name="connsiteX49" fmla="*/ 2872740 w 3025140"/>
                  <a:gd name="connsiteY49" fmla="*/ 2583180 h 3680460"/>
                  <a:gd name="connsiteX50" fmla="*/ 2857500 w 3025140"/>
                  <a:gd name="connsiteY50" fmla="*/ 2606040 h 3680460"/>
                  <a:gd name="connsiteX51" fmla="*/ 2834640 w 3025140"/>
                  <a:gd name="connsiteY51" fmla="*/ 2689860 h 3680460"/>
                  <a:gd name="connsiteX52" fmla="*/ 2811780 w 3025140"/>
                  <a:gd name="connsiteY52" fmla="*/ 2750820 h 3680460"/>
                  <a:gd name="connsiteX53" fmla="*/ 2788920 w 3025140"/>
                  <a:gd name="connsiteY53" fmla="*/ 2781300 h 3680460"/>
                  <a:gd name="connsiteX54" fmla="*/ 2781300 w 3025140"/>
                  <a:gd name="connsiteY54" fmla="*/ 2804160 h 3680460"/>
                  <a:gd name="connsiteX55" fmla="*/ 2743200 w 3025140"/>
                  <a:gd name="connsiteY55" fmla="*/ 2865120 h 3680460"/>
                  <a:gd name="connsiteX56" fmla="*/ 2712720 w 3025140"/>
                  <a:gd name="connsiteY56" fmla="*/ 2903220 h 3680460"/>
                  <a:gd name="connsiteX57" fmla="*/ 2697480 w 3025140"/>
                  <a:gd name="connsiteY57" fmla="*/ 2933700 h 3680460"/>
                  <a:gd name="connsiteX58" fmla="*/ 2674620 w 3025140"/>
                  <a:gd name="connsiteY58" fmla="*/ 2964180 h 3680460"/>
                  <a:gd name="connsiteX59" fmla="*/ 2644140 w 3025140"/>
                  <a:gd name="connsiteY59" fmla="*/ 3009900 h 3680460"/>
                  <a:gd name="connsiteX60" fmla="*/ 2598420 w 3025140"/>
                  <a:gd name="connsiteY60" fmla="*/ 3055620 h 3680460"/>
                  <a:gd name="connsiteX61" fmla="*/ 2575560 w 3025140"/>
                  <a:gd name="connsiteY61" fmla="*/ 3078480 h 3680460"/>
                  <a:gd name="connsiteX62" fmla="*/ 2476500 w 3025140"/>
                  <a:gd name="connsiteY62" fmla="*/ 3169920 h 3680460"/>
                  <a:gd name="connsiteX63" fmla="*/ 2377440 w 3025140"/>
                  <a:gd name="connsiteY63" fmla="*/ 3223260 h 3680460"/>
                  <a:gd name="connsiteX64" fmla="*/ 2293620 w 3025140"/>
                  <a:gd name="connsiteY64" fmla="*/ 3284220 h 3680460"/>
                  <a:gd name="connsiteX65" fmla="*/ 2240280 w 3025140"/>
                  <a:gd name="connsiteY65" fmla="*/ 3314700 h 3680460"/>
                  <a:gd name="connsiteX66" fmla="*/ 2225040 w 3025140"/>
                  <a:gd name="connsiteY66" fmla="*/ 3337560 h 3680460"/>
                  <a:gd name="connsiteX67" fmla="*/ 2141220 w 3025140"/>
                  <a:gd name="connsiteY67" fmla="*/ 3390900 h 3680460"/>
                  <a:gd name="connsiteX68" fmla="*/ 2110740 w 3025140"/>
                  <a:gd name="connsiteY68" fmla="*/ 3413760 h 3680460"/>
                  <a:gd name="connsiteX69" fmla="*/ 2072640 w 3025140"/>
                  <a:gd name="connsiteY69" fmla="*/ 3451860 h 3680460"/>
                  <a:gd name="connsiteX70" fmla="*/ 2019300 w 3025140"/>
                  <a:gd name="connsiteY70" fmla="*/ 3467100 h 3680460"/>
                  <a:gd name="connsiteX71" fmla="*/ 1874520 w 3025140"/>
                  <a:gd name="connsiteY71" fmla="*/ 3512820 h 3680460"/>
                  <a:gd name="connsiteX72" fmla="*/ 1828800 w 3025140"/>
                  <a:gd name="connsiteY72" fmla="*/ 3520440 h 3680460"/>
                  <a:gd name="connsiteX73" fmla="*/ 1722120 w 3025140"/>
                  <a:gd name="connsiteY73" fmla="*/ 3550920 h 3680460"/>
                  <a:gd name="connsiteX74" fmla="*/ 1600200 w 3025140"/>
                  <a:gd name="connsiteY74" fmla="*/ 3589020 h 3680460"/>
                  <a:gd name="connsiteX75" fmla="*/ 1569720 w 3025140"/>
                  <a:gd name="connsiteY75" fmla="*/ 3596640 h 3680460"/>
                  <a:gd name="connsiteX76" fmla="*/ 1546860 w 3025140"/>
                  <a:gd name="connsiteY76" fmla="*/ 3611880 h 3680460"/>
                  <a:gd name="connsiteX77" fmla="*/ 1463040 w 3025140"/>
                  <a:gd name="connsiteY77" fmla="*/ 3627120 h 3680460"/>
                  <a:gd name="connsiteX78" fmla="*/ 1333500 w 3025140"/>
                  <a:gd name="connsiteY78" fmla="*/ 3657600 h 3680460"/>
                  <a:gd name="connsiteX79" fmla="*/ 1203960 w 3025140"/>
                  <a:gd name="connsiteY79" fmla="*/ 3672840 h 3680460"/>
                  <a:gd name="connsiteX80" fmla="*/ 1165860 w 3025140"/>
                  <a:gd name="connsiteY80" fmla="*/ 3680460 h 3680460"/>
                  <a:gd name="connsiteX81" fmla="*/ 449580 w 3025140"/>
                  <a:gd name="connsiteY81" fmla="*/ 3672840 h 3680460"/>
                  <a:gd name="connsiteX82" fmla="*/ 426720 w 3025140"/>
                  <a:gd name="connsiteY82" fmla="*/ 3665220 h 3680460"/>
                  <a:gd name="connsiteX83" fmla="*/ 388620 w 3025140"/>
                  <a:gd name="connsiteY83" fmla="*/ 3657600 h 3680460"/>
                  <a:gd name="connsiteX84" fmla="*/ 335280 w 3025140"/>
                  <a:gd name="connsiteY84" fmla="*/ 3627120 h 3680460"/>
                  <a:gd name="connsiteX85" fmla="*/ 266700 w 3025140"/>
                  <a:gd name="connsiteY85" fmla="*/ 3604260 h 3680460"/>
                  <a:gd name="connsiteX86" fmla="*/ 243840 w 3025140"/>
                  <a:gd name="connsiteY86" fmla="*/ 3589020 h 3680460"/>
                  <a:gd name="connsiteX87" fmla="*/ 160020 w 3025140"/>
                  <a:gd name="connsiteY87" fmla="*/ 3558540 h 3680460"/>
                  <a:gd name="connsiteX88" fmla="*/ 137160 w 3025140"/>
                  <a:gd name="connsiteY88" fmla="*/ 3535680 h 3680460"/>
                  <a:gd name="connsiteX89" fmla="*/ 99060 w 3025140"/>
                  <a:gd name="connsiteY89" fmla="*/ 3520440 h 3680460"/>
                  <a:gd name="connsiteX90" fmla="*/ 83820 w 3025140"/>
                  <a:gd name="connsiteY90" fmla="*/ 3489960 h 3680460"/>
                  <a:gd name="connsiteX91" fmla="*/ 45720 w 3025140"/>
                  <a:gd name="connsiteY91" fmla="*/ 3436620 h 3680460"/>
                  <a:gd name="connsiteX92" fmla="*/ 0 w 3025140"/>
                  <a:gd name="connsiteY92" fmla="*/ 3352800 h 3680460"/>
                  <a:gd name="connsiteX93" fmla="*/ 30480 w 3025140"/>
                  <a:gd name="connsiteY93" fmla="*/ 3345180 h 3680460"/>
                  <a:gd name="connsiteX94" fmla="*/ 137160 w 3025140"/>
                  <a:gd name="connsiteY94" fmla="*/ 3360420 h 3680460"/>
                  <a:gd name="connsiteX95" fmla="*/ 167640 w 3025140"/>
                  <a:gd name="connsiteY95" fmla="*/ 3390900 h 3680460"/>
                  <a:gd name="connsiteX96" fmla="*/ 198120 w 3025140"/>
                  <a:gd name="connsiteY96" fmla="*/ 3406140 h 3680460"/>
                  <a:gd name="connsiteX97" fmla="*/ 350520 w 3025140"/>
                  <a:gd name="connsiteY97" fmla="*/ 3436620 h 3680460"/>
                  <a:gd name="connsiteX98" fmla="*/ 381000 w 3025140"/>
                  <a:gd name="connsiteY98" fmla="*/ 3451860 h 3680460"/>
                  <a:gd name="connsiteX99" fmla="*/ 449580 w 3025140"/>
                  <a:gd name="connsiteY99" fmla="*/ 3489960 h 3680460"/>
                  <a:gd name="connsiteX100" fmla="*/ 495300 w 3025140"/>
                  <a:gd name="connsiteY100" fmla="*/ 3520440 h 3680460"/>
                  <a:gd name="connsiteX101" fmla="*/ 525780 w 3025140"/>
                  <a:gd name="connsiteY101" fmla="*/ 3535680 h 3680460"/>
                  <a:gd name="connsiteX102" fmla="*/ 731520 w 3025140"/>
                  <a:gd name="connsiteY102" fmla="*/ 3558540 h 3680460"/>
                  <a:gd name="connsiteX103" fmla="*/ 1341120 w 3025140"/>
                  <a:gd name="connsiteY103" fmla="*/ 3550920 h 3680460"/>
                  <a:gd name="connsiteX104" fmla="*/ 1440180 w 3025140"/>
                  <a:gd name="connsiteY104" fmla="*/ 3528060 h 3680460"/>
                  <a:gd name="connsiteX105" fmla="*/ 1539240 w 3025140"/>
                  <a:gd name="connsiteY105" fmla="*/ 3520440 h 3680460"/>
                  <a:gd name="connsiteX106" fmla="*/ 1562100 w 3025140"/>
                  <a:gd name="connsiteY106" fmla="*/ 3512820 h 3680460"/>
                  <a:gd name="connsiteX107" fmla="*/ 1630680 w 3025140"/>
                  <a:gd name="connsiteY107" fmla="*/ 3497580 h 3680460"/>
                  <a:gd name="connsiteX108" fmla="*/ 1699260 w 3025140"/>
                  <a:gd name="connsiteY108" fmla="*/ 3474720 h 3680460"/>
                  <a:gd name="connsiteX109" fmla="*/ 1790700 w 3025140"/>
                  <a:gd name="connsiteY109" fmla="*/ 3451860 h 3680460"/>
                  <a:gd name="connsiteX110" fmla="*/ 1821180 w 3025140"/>
                  <a:gd name="connsiteY110" fmla="*/ 3444240 h 3680460"/>
                  <a:gd name="connsiteX111" fmla="*/ 1844040 w 3025140"/>
                  <a:gd name="connsiteY111" fmla="*/ 3429000 h 3680460"/>
                  <a:gd name="connsiteX112" fmla="*/ 1874520 w 3025140"/>
                  <a:gd name="connsiteY112" fmla="*/ 3421380 h 3680460"/>
                  <a:gd name="connsiteX113" fmla="*/ 1927860 w 3025140"/>
                  <a:gd name="connsiteY113" fmla="*/ 3398520 h 3680460"/>
                  <a:gd name="connsiteX114" fmla="*/ 1950720 w 3025140"/>
                  <a:gd name="connsiteY114" fmla="*/ 3390900 h 3680460"/>
                  <a:gd name="connsiteX115" fmla="*/ 2004060 w 3025140"/>
                  <a:gd name="connsiteY115" fmla="*/ 3360420 h 3680460"/>
                  <a:gd name="connsiteX116" fmla="*/ 2042160 w 3025140"/>
                  <a:gd name="connsiteY116" fmla="*/ 3352800 h 3680460"/>
                  <a:gd name="connsiteX117" fmla="*/ 2080260 w 3025140"/>
                  <a:gd name="connsiteY117" fmla="*/ 3337560 h 3680460"/>
                  <a:gd name="connsiteX118" fmla="*/ 2156460 w 3025140"/>
                  <a:gd name="connsiteY118" fmla="*/ 3299460 h 3680460"/>
                  <a:gd name="connsiteX119" fmla="*/ 2179320 w 3025140"/>
                  <a:gd name="connsiteY119" fmla="*/ 3284220 h 3680460"/>
                  <a:gd name="connsiteX120" fmla="*/ 2209800 w 3025140"/>
                  <a:gd name="connsiteY120" fmla="*/ 3276600 h 3680460"/>
                  <a:gd name="connsiteX121" fmla="*/ 2263140 w 3025140"/>
                  <a:gd name="connsiteY121" fmla="*/ 3230880 h 3680460"/>
                  <a:gd name="connsiteX122" fmla="*/ 2346960 w 3025140"/>
                  <a:gd name="connsiteY122" fmla="*/ 3154680 h 3680460"/>
                  <a:gd name="connsiteX123" fmla="*/ 2400300 w 3025140"/>
                  <a:gd name="connsiteY123" fmla="*/ 3070860 h 3680460"/>
                  <a:gd name="connsiteX124" fmla="*/ 2415540 w 3025140"/>
                  <a:gd name="connsiteY124" fmla="*/ 3048000 h 3680460"/>
                  <a:gd name="connsiteX125" fmla="*/ 2446020 w 3025140"/>
                  <a:gd name="connsiteY125" fmla="*/ 3032760 h 3680460"/>
                  <a:gd name="connsiteX126" fmla="*/ 2468880 w 3025140"/>
                  <a:gd name="connsiteY126" fmla="*/ 3009900 h 3680460"/>
                  <a:gd name="connsiteX127" fmla="*/ 2537460 w 3025140"/>
                  <a:gd name="connsiteY127" fmla="*/ 2926080 h 3680460"/>
                  <a:gd name="connsiteX128" fmla="*/ 2575560 w 3025140"/>
                  <a:gd name="connsiteY128" fmla="*/ 2880360 h 3680460"/>
                  <a:gd name="connsiteX129" fmla="*/ 2628900 w 3025140"/>
                  <a:gd name="connsiteY129" fmla="*/ 2811780 h 3680460"/>
                  <a:gd name="connsiteX130" fmla="*/ 2644140 w 3025140"/>
                  <a:gd name="connsiteY130" fmla="*/ 2773680 h 3680460"/>
                  <a:gd name="connsiteX131" fmla="*/ 2674620 w 3025140"/>
                  <a:gd name="connsiteY131" fmla="*/ 2727960 h 3680460"/>
                  <a:gd name="connsiteX132" fmla="*/ 2689860 w 3025140"/>
                  <a:gd name="connsiteY132" fmla="*/ 2705100 h 3680460"/>
                  <a:gd name="connsiteX133" fmla="*/ 2705100 w 3025140"/>
                  <a:gd name="connsiteY133" fmla="*/ 2667000 h 3680460"/>
                  <a:gd name="connsiteX134" fmla="*/ 2727960 w 3025140"/>
                  <a:gd name="connsiteY134" fmla="*/ 2621280 h 3680460"/>
                  <a:gd name="connsiteX135" fmla="*/ 2735580 w 3025140"/>
                  <a:gd name="connsiteY135" fmla="*/ 2590800 h 3680460"/>
                  <a:gd name="connsiteX136" fmla="*/ 2758440 w 3025140"/>
                  <a:gd name="connsiteY136" fmla="*/ 2545080 h 3680460"/>
                  <a:gd name="connsiteX137" fmla="*/ 2788920 w 3025140"/>
                  <a:gd name="connsiteY137" fmla="*/ 2484120 h 3680460"/>
                  <a:gd name="connsiteX138" fmla="*/ 2811780 w 3025140"/>
                  <a:gd name="connsiteY138" fmla="*/ 2407920 h 3680460"/>
                  <a:gd name="connsiteX139" fmla="*/ 2842260 w 3025140"/>
                  <a:gd name="connsiteY139" fmla="*/ 2324100 h 3680460"/>
                  <a:gd name="connsiteX140" fmla="*/ 2857500 w 3025140"/>
                  <a:gd name="connsiteY140" fmla="*/ 2247900 h 3680460"/>
                  <a:gd name="connsiteX141" fmla="*/ 2872740 w 3025140"/>
                  <a:gd name="connsiteY141" fmla="*/ 2194560 h 3680460"/>
                  <a:gd name="connsiteX142" fmla="*/ 2887980 w 3025140"/>
                  <a:gd name="connsiteY142" fmla="*/ 2148840 h 3680460"/>
                  <a:gd name="connsiteX143" fmla="*/ 2910840 w 3025140"/>
                  <a:gd name="connsiteY143" fmla="*/ 2087880 h 3680460"/>
                  <a:gd name="connsiteX144" fmla="*/ 2918460 w 3025140"/>
                  <a:gd name="connsiteY144" fmla="*/ 2049780 h 3680460"/>
                  <a:gd name="connsiteX145" fmla="*/ 2933700 w 3025140"/>
                  <a:gd name="connsiteY145" fmla="*/ 1844040 h 3680460"/>
                  <a:gd name="connsiteX146" fmla="*/ 2918460 w 3025140"/>
                  <a:gd name="connsiteY146" fmla="*/ 1470660 h 3680460"/>
                  <a:gd name="connsiteX147" fmla="*/ 2895600 w 3025140"/>
                  <a:gd name="connsiteY147" fmla="*/ 1371600 h 3680460"/>
                  <a:gd name="connsiteX148" fmla="*/ 2880360 w 3025140"/>
                  <a:gd name="connsiteY148" fmla="*/ 1341120 h 3680460"/>
                  <a:gd name="connsiteX149" fmla="*/ 2857500 w 3025140"/>
                  <a:gd name="connsiteY149" fmla="*/ 1272540 h 3680460"/>
                  <a:gd name="connsiteX150" fmla="*/ 2849880 w 3025140"/>
                  <a:gd name="connsiteY150" fmla="*/ 1234440 h 3680460"/>
                  <a:gd name="connsiteX151" fmla="*/ 2827020 w 3025140"/>
                  <a:gd name="connsiteY151" fmla="*/ 1196340 h 3680460"/>
                  <a:gd name="connsiteX152" fmla="*/ 2811780 w 3025140"/>
                  <a:gd name="connsiteY152" fmla="*/ 1165860 h 3680460"/>
                  <a:gd name="connsiteX153" fmla="*/ 2781300 w 3025140"/>
                  <a:gd name="connsiteY153" fmla="*/ 1127760 h 3680460"/>
                  <a:gd name="connsiteX154" fmla="*/ 2766060 w 3025140"/>
                  <a:gd name="connsiteY154" fmla="*/ 1089660 h 3680460"/>
                  <a:gd name="connsiteX155" fmla="*/ 2735580 w 3025140"/>
                  <a:gd name="connsiteY155" fmla="*/ 1043940 h 3680460"/>
                  <a:gd name="connsiteX156" fmla="*/ 2727960 w 3025140"/>
                  <a:gd name="connsiteY156" fmla="*/ 1021080 h 3680460"/>
                  <a:gd name="connsiteX157" fmla="*/ 2682240 w 3025140"/>
                  <a:gd name="connsiteY157" fmla="*/ 937260 h 3680460"/>
                  <a:gd name="connsiteX158" fmla="*/ 2659380 w 3025140"/>
                  <a:gd name="connsiteY158" fmla="*/ 876300 h 3680460"/>
                  <a:gd name="connsiteX159" fmla="*/ 2644140 w 3025140"/>
                  <a:gd name="connsiteY159" fmla="*/ 845820 h 3680460"/>
                  <a:gd name="connsiteX160" fmla="*/ 2636520 w 3025140"/>
                  <a:gd name="connsiteY160" fmla="*/ 822960 h 3680460"/>
                  <a:gd name="connsiteX161" fmla="*/ 2621280 w 3025140"/>
                  <a:gd name="connsiteY161" fmla="*/ 800100 h 3680460"/>
                  <a:gd name="connsiteX162" fmla="*/ 2598420 w 3025140"/>
                  <a:gd name="connsiteY162" fmla="*/ 739140 h 3680460"/>
                  <a:gd name="connsiteX163" fmla="*/ 2458403 w 3025140"/>
                  <a:gd name="connsiteY163" fmla="*/ 621983 h 3680460"/>
                  <a:gd name="connsiteX164" fmla="*/ 2301240 w 3025140"/>
                  <a:gd name="connsiteY164" fmla="*/ 458152 h 3680460"/>
                  <a:gd name="connsiteX165" fmla="*/ 2237423 w 3025140"/>
                  <a:gd name="connsiteY165" fmla="*/ 406717 h 3680460"/>
                  <a:gd name="connsiteX166" fmla="*/ 2103120 w 3025140"/>
                  <a:gd name="connsiteY166" fmla="*/ 312420 h 3680460"/>
                  <a:gd name="connsiteX167" fmla="*/ 2042160 w 3025140"/>
                  <a:gd name="connsiteY167" fmla="*/ 266700 h 3680460"/>
                  <a:gd name="connsiteX168" fmla="*/ 2004060 w 3025140"/>
                  <a:gd name="connsiteY168" fmla="*/ 251460 h 3680460"/>
                  <a:gd name="connsiteX169" fmla="*/ 1958340 w 3025140"/>
                  <a:gd name="connsiteY169" fmla="*/ 220980 h 3680460"/>
                  <a:gd name="connsiteX170" fmla="*/ 1897380 w 3025140"/>
                  <a:gd name="connsiteY17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25040 w 3025140"/>
                  <a:gd name="connsiteY10" fmla="*/ 160020 h 3680460"/>
                  <a:gd name="connsiteX11" fmla="*/ 2286000 w 3025140"/>
                  <a:gd name="connsiteY11" fmla="*/ 190500 h 3680460"/>
                  <a:gd name="connsiteX12" fmla="*/ 2331720 w 3025140"/>
                  <a:gd name="connsiteY12" fmla="*/ 220980 h 3680460"/>
                  <a:gd name="connsiteX13" fmla="*/ 2385060 w 3025140"/>
                  <a:gd name="connsiteY13" fmla="*/ 266700 h 3680460"/>
                  <a:gd name="connsiteX14" fmla="*/ 2415540 w 3025140"/>
                  <a:gd name="connsiteY14" fmla="*/ 289560 h 3680460"/>
                  <a:gd name="connsiteX15" fmla="*/ 2461260 w 3025140"/>
                  <a:gd name="connsiteY15" fmla="*/ 320040 h 3680460"/>
                  <a:gd name="connsiteX16" fmla="*/ 2537460 w 3025140"/>
                  <a:gd name="connsiteY16" fmla="*/ 426720 h 3680460"/>
                  <a:gd name="connsiteX17" fmla="*/ 2552700 w 3025140"/>
                  <a:gd name="connsiteY17" fmla="*/ 449580 h 3680460"/>
                  <a:gd name="connsiteX18" fmla="*/ 2575560 w 3025140"/>
                  <a:gd name="connsiteY18" fmla="*/ 487680 h 3680460"/>
                  <a:gd name="connsiteX19" fmla="*/ 2621280 w 3025140"/>
                  <a:gd name="connsiteY19" fmla="*/ 548640 h 3680460"/>
                  <a:gd name="connsiteX20" fmla="*/ 2674620 w 3025140"/>
                  <a:gd name="connsiteY20" fmla="*/ 609600 h 3680460"/>
                  <a:gd name="connsiteX21" fmla="*/ 2727960 w 3025140"/>
                  <a:gd name="connsiteY21" fmla="*/ 678180 h 3680460"/>
                  <a:gd name="connsiteX22" fmla="*/ 2727960 w 3025140"/>
                  <a:gd name="connsiteY22" fmla="*/ 678180 h 3680460"/>
                  <a:gd name="connsiteX23" fmla="*/ 2766060 w 3025140"/>
                  <a:gd name="connsiteY23" fmla="*/ 754380 h 3680460"/>
                  <a:gd name="connsiteX24" fmla="*/ 2819400 w 3025140"/>
                  <a:gd name="connsiteY24" fmla="*/ 830580 h 3680460"/>
                  <a:gd name="connsiteX25" fmla="*/ 2834640 w 3025140"/>
                  <a:gd name="connsiteY25" fmla="*/ 853440 h 3680460"/>
                  <a:gd name="connsiteX26" fmla="*/ 2849880 w 3025140"/>
                  <a:gd name="connsiteY26" fmla="*/ 883920 h 3680460"/>
                  <a:gd name="connsiteX27" fmla="*/ 2880360 w 3025140"/>
                  <a:gd name="connsiteY27" fmla="*/ 922020 h 3680460"/>
                  <a:gd name="connsiteX28" fmla="*/ 2887980 w 3025140"/>
                  <a:gd name="connsiteY28" fmla="*/ 944880 h 3680460"/>
                  <a:gd name="connsiteX29" fmla="*/ 2903220 w 3025140"/>
                  <a:gd name="connsiteY29" fmla="*/ 967740 h 3680460"/>
                  <a:gd name="connsiteX30" fmla="*/ 2918460 w 3025140"/>
                  <a:gd name="connsiteY30" fmla="*/ 1036320 h 3680460"/>
                  <a:gd name="connsiteX31" fmla="*/ 2933700 w 3025140"/>
                  <a:gd name="connsiteY31" fmla="*/ 1074420 h 3680460"/>
                  <a:gd name="connsiteX32" fmla="*/ 2948940 w 3025140"/>
                  <a:gd name="connsiteY32" fmla="*/ 1120140 h 3680460"/>
                  <a:gd name="connsiteX33" fmla="*/ 2964180 w 3025140"/>
                  <a:gd name="connsiteY33" fmla="*/ 1203960 h 3680460"/>
                  <a:gd name="connsiteX34" fmla="*/ 2979420 w 3025140"/>
                  <a:gd name="connsiteY34" fmla="*/ 1264920 h 3680460"/>
                  <a:gd name="connsiteX35" fmla="*/ 2987040 w 3025140"/>
                  <a:gd name="connsiteY35" fmla="*/ 1318260 h 3680460"/>
                  <a:gd name="connsiteX36" fmla="*/ 2994660 w 3025140"/>
                  <a:gd name="connsiteY36" fmla="*/ 1348740 h 3680460"/>
                  <a:gd name="connsiteX37" fmla="*/ 3009900 w 3025140"/>
                  <a:gd name="connsiteY37" fmla="*/ 1432560 h 3680460"/>
                  <a:gd name="connsiteX38" fmla="*/ 3017520 w 3025140"/>
                  <a:gd name="connsiteY38" fmla="*/ 1684020 h 3680460"/>
                  <a:gd name="connsiteX39" fmla="*/ 3025140 w 3025140"/>
                  <a:gd name="connsiteY39" fmla="*/ 1744980 h 3680460"/>
                  <a:gd name="connsiteX40" fmla="*/ 3017520 w 3025140"/>
                  <a:gd name="connsiteY40" fmla="*/ 2095500 h 3680460"/>
                  <a:gd name="connsiteX41" fmla="*/ 3009900 w 3025140"/>
                  <a:gd name="connsiteY41" fmla="*/ 2125980 h 3680460"/>
                  <a:gd name="connsiteX42" fmla="*/ 2979420 w 3025140"/>
                  <a:gd name="connsiteY42" fmla="*/ 2194560 h 3680460"/>
                  <a:gd name="connsiteX43" fmla="*/ 2956560 w 3025140"/>
                  <a:gd name="connsiteY43" fmla="*/ 2247900 h 3680460"/>
                  <a:gd name="connsiteX44" fmla="*/ 2941320 w 3025140"/>
                  <a:gd name="connsiteY44" fmla="*/ 2324100 h 3680460"/>
                  <a:gd name="connsiteX45" fmla="*/ 2926080 w 3025140"/>
                  <a:gd name="connsiteY45" fmla="*/ 2392680 h 3680460"/>
                  <a:gd name="connsiteX46" fmla="*/ 2918460 w 3025140"/>
                  <a:gd name="connsiteY46" fmla="*/ 2415540 h 3680460"/>
                  <a:gd name="connsiteX47" fmla="*/ 2895600 w 3025140"/>
                  <a:gd name="connsiteY47" fmla="*/ 2484120 h 3680460"/>
                  <a:gd name="connsiteX48" fmla="*/ 2872740 w 3025140"/>
                  <a:gd name="connsiteY48" fmla="*/ 2583180 h 3680460"/>
                  <a:gd name="connsiteX49" fmla="*/ 2857500 w 3025140"/>
                  <a:gd name="connsiteY49" fmla="*/ 2606040 h 3680460"/>
                  <a:gd name="connsiteX50" fmla="*/ 2834640 w 3025140"/>
                  <a:gd name="connsiteY50" fmla="*/ 2689860 h 3680460"/>
                  <a:gd name="connsiteX51" fmla="*/ 2811780 w 3025140"/>
                  <a:gd name="connsiteY51" fmla="*/ 2750820 h 3680460"/>
                  <a:gd name="connsiteX52" fmla="*/ 2788920 w 3025140"/>
                  <a:gd name="connsiteY52" fmla="*/ 2781300 h 3680460"/>
                  <a:gd name="connsiteX53" fmla="*/ 2781300 w 3025140"/>
                  <a:gd name="connsiteY53" fmla="*/ 2804160 h 3680460"/>
                  <a:gd name="connsiteX54" fmla="*/ 2743200 w 3025140"/>
                  <a:gd name="connsiteY54" fmla="*/ 2865120 h 3680460"/>
                  <a:gd name="connsiteX55" fmla="*/ 2712720 w 3025140"/>
                  <a:gd name="connsiteY55" fmla="*/ 2903220 h 3680460"/>
                  <a:gd name="connsiteX56" fmla="*/ 2697480 w 3025140"/>
                  <a:gd name="connsiteY56" fmla="*/ 2933700 h 3680460"/>
                  <a:gd name="connsiteX57" fmla="*/ 2674620 w 3025140"/>
                  <a:gd name="connsiteY57" fmla="*/ 2964180 h 3680460"/>
                  <a:gd name="connsiteX58" fmla="*/ 2644140 w 3025140"/>
                  <a:gd name="connsiteY58" fmla="*/ 3009900 h 3680460"/>
                  <a:gd name="connsiteX59" fmla="*/ 2598420 w 3025140"/>
                  <a:gd name="connsiteY59" fmla="*/ 3055620 h 3680460"/>
                  <a:gd name="connsiteX60" fmla="*/ 2575560 w 3025140"/>
                  <a:gd name="connsiteY60" fmla="*/ 3078480 h 3680460"/>
                  <a:gd name="connsiteX61" fmla="*/ 2476500 w 3025140"/>
                  <a:gd name="connsiteY61" fmla="*/ 3169920 h 3680460"/>
                  <a:gd name="connsiteX62" fmla="*/ 2377440 w 3025140"/>
                  <a:gd name="connsiteY62" fmla="*/ 3223260 h 3680460"/>
                  <a:gd name="connsiteX63" fmla="*/ 2293620 w 3025140"/>
                  <a:gd name="connsiteY63" fmla="*/ 3284220 h 3680460"/>
                  <a:gd name="connsiteX64" fmla="*/ 2240280 w 3025140"/>
                  <a:gd name="connsiteY64" fmla="*/ 3314700 h 3680460"/>
                  <a:gd name="connsiteX65" fmla="*/ 2225040 w 3025140"/>
                  <a:gd name="connsiteY65" fmla="*/ 3337560 h 3680460"/>
                  <a:gd name="connsiteX66" fmla="*/ 2141220 w 3025140"/>
                  <a:gd name="connsiteY66" fmla="*/ 3390900 h 3680460"/>
                  <a:gd name="connsiteX67" fmla="*/ 2110740 w 3025140"/>
                  <a:gd name="connsiteY67" fmla="*/ 3413760 h 3680460"/>
                  <a:gd name="connsiteX68" fmla="*/ 2072640 w 3025140"/>
                  <a:gd name="connsiteY68" fmla="*/ 3451860 h 3680460"/>
                  <a:gd name="connsiteX69" fmla="*/ 2019300 w 3025140"/>
                  <a:gd name="connsiteY69" fmla="*/ 3467100 h 3680460"/>
                  <a:gd name="connsiteX70" fmla="*/ 1874520 w 3025140"/>
                  <a:gd name="connsiteY70" fmla="*/ 3512820 h 3680460"/>
                  <a:gd name="connsiteX71" fmla="*/ 1828800 w 3025140"/>
                  <a:gd name="connsiteY71" fmla="*/ 3520440 h 3680460"/>
                  <a:gd name="connsiteX72" fmla="*/ 1722120 w 3025140"/>
                  <a:gd name="connsiteY72" fmla="*/ 3550920 h 3680460"/>
                  <a:gd name="connsiteX73" fmla="*/ 1600200 w 3025140"/>
                  <a:gd name="connsiteY73" fmla="*/ 3589020 h 3680460"/>
                  <a:gd name="connsiteX74" fmla="*/ 1569720 w 3025140"/>
                  <a:gd name="connsiteY74" fmla="*/ 3596640 h 3680460"/>
                  <a:gd name="connsiteX75" fmla="*/ 1546860 w 3025140"/>
                  <a:gd name="connsiteY75" fmla="*/ 3611880 h 3680460"/>
                  <a:gd name="connsiteX76" fmla="*/ 1463040 w 3025140"/>
                  <a:gd name="connsiteY76" fmla="*/ 3627120 h 3680460"/>
                  <a:gd name="connsiteX77" fmla="*/ 1333500 w 3025140"/>
                  <a:gd name="connsiteY77" fmla="*/ 3657600 h 3680460"/>
                  <a:gd name="connsiteX78" fmla="*/ 1203960 w 3025140"/>
                  <a:gd name="connsiteY78" fmla="*/ 3672840 h 3680460"/>
                  <a:gd name="connsiteX79" fmla="*/ 1165860 w 3025140"/>
                  <a:gd name="connsiteY79" fmla="*/ 3680460 h 3680460"/>
                  <a:gd name="connsiteX80" fmla="*/ 449580 w 3025140"/>
                  <a:gd name="connsiteY80" fmla="*/ 3672840 h 3680460"/>
                  <a:gd name="connsiteX81" fmla="*/ 426720 w 3025140"/>
                  <a:gd name="connsiteY81" fmla="*/ 3665220 h 3680460"/>
                  <a:gd name="connsiteX82" fmla="*/ 388620 w 3025140"/>
                  <a:gd name="connsiteY82" fmla="*/ 3657600 h 3680460"/>
                  <a:gd name="connsiteX83" fmla="*/ 335280 w 3025140"/>
                  <a:gd name="connsiteY83" fmla="*/ 3627120 h 3680460"/>
                  <a:gd name="connsiteX84" fmla="*/ 266700 w 3025140"/>
                  <a:gd name="connsiteY84" fmla="*/ 3604260 h 3680460"/>
                  <a:gd name="connsiteX85" fmla="*/ 243840 w 3025140"/>
                  <a:gd name="connsiteY85" fmla="*/ 3589020 h 3680460"/>
                  <a:gd name="connsiteX86" fmla="*/ 160020 w 3025140"/>
                  <a:gd name="connsiteY86" fmla="*/ 3558540 h 3680460"/>
                  <a:gd name="connsiteX87" fmla="*/ 137160 w 3025140"/>
                  <a:gd name="connsiteY87" fmla="*/ 3535680 h 3680460"/>
                  <a:gd name="connsiteX88" fmla="*/ 99060 w 3025140"/>
                  <a:gd name="connsiteY88" fmla="*/ 3520440 h 3680460"/>
                  <a:gd name="connsiteX89" fmla="*/ 83820 w 3025140"/>
                  <a:gd name="connsiteY89" fmla="*/ 3489960 h 3680460"/>
                  <a:gd name="connsiteX90" fmla="*/ 45720 w 3025140"/>
                  <a:gd name="connsiteY90" fmla="*/ 3436620 h 3680460"/>
                  <a:gd name="connsiteX91" fmla="*/ 0 w 3025140"/>
                  <a:gd name="connsiteY91" fmla="*/ 3352800 h 3680460"/>
                  <a:gd name="connsiteX92" fmla="*/ 30480 w 3025140"/>
                  <a:gd name="connsiteY92" fmla="*/ 3345180 h 3680460"/>
                  <a:gd name="connsiteX93" fmla="*/ 137160 w 3025140"/>
                  <a:gd name="connsiteY93" fmla="*/ 3360420 h 3680460"/>
                  <a:gd name="connsiteX94" fmla="*/ 167640 w 3025140"/>
                  <a:gd name="connsiteY94" fmla="*/ 3390900 h 3680460"/>
                  <a:gd name="connsiteX95" fmla="*/ 198120 w 3025140"/>
                  <a:gd name="connsiteY95" fmla="*/ 3406140 h 3680460"/>
                  <a:gd name="connsiteX96" fmla="*/ 350520 w 3025140"/>
                  <a:gd name="connsiteY96" fmla="*/ 3436620 h 3680460"/>
                  <a:gd name="connsiteX97" fmla="*/ 381000 w 3025140"/>
                  <a:gd name="connsiteY97" fmla="*/ 3451860 h 3680460"/>
                  <a:gd name="connsiteX98" fmla="*/ 449580 w 3025140"/>
                  <a:gd name="connsiteY98" fmla="*/ 3489960 h 3680460"/>
                  <a:gd name="connsiteX99" fmla="*/ 495300 w 3025140"/>
                  <a:gd name="connsiteY99" fmla="*/ 3520440 h 3680460"/>
                  <a:gd name="connsiteX100" fmla="*/ 525780 w 3025140"/>
                  <a:gd name="connsiteY100" fmla="*/ 3535680 h 3680460"/>
                  <a:gd name="connsiteX101" fmla="*/ 731520 w 3025140"/>
                  <a:gd name="connsiteY101" fmla="*/ 3558540 h 3680460"/>
                  <a:gd name="connsiteX102" fmla="*/ 1341120 w 3025140"/>
                  <a:gd name="connsiteY102" fmla="*/ 3550920 h 3680460"/>
                  <a:gd name="connsiteX103" fmla="*/ 1440180 w 3025140"/>
                  <a:gd name="connsiteY103" fmla="*/ 3528060 h 3680460"/>
                  <a:gd name="connsiteX104" fmla="*/ 1539240 w 3025140"/>
                  <a:gd name="connsiteY104" fmla="*/ 3520440 h 3680460"/>
                  <a:gd name="connsiteX105" fmla="*/ 1562100 w 3025140"/>
                  <a:gd name="connsiteY105" fmla="*/ 3512820 h 3680460"/>
                  <a:gd name="connsiteX106" fmla="*/ 1630680 w 3025140"/>
                  <a:gd name="connsiteY106" fmla="*/ 3497580 h 3680460"/>
                  <a:gd name="connsiteX107" fmla="*/ 1699260 w 3025140"/>
                  <a:gd name="connsiteY107" fmla="*/ 3474720 h 3680460"/>
                  <a:gd name="connsiteX108" fmla="*/ 1790700 w 3025140"/>
                  <a:gd name="connsiteY108" fmla="*/ 3451860 h 3680460"/>
                  <a:gd name="connsiteX109" fmla="*/ 1821180 w 3025140"/>
                  <a:gd name="connsiteY109" fmla="*/ 3444240 h 3680460"/>
                  <a:gd name="connsiteX110" fmla="*/ 1844040 w 3025140"/>
                  <a:gd name="connsiteY110" fmla="*/ 3429000 h 3680460"/>
                  <a:gd name="connsiteX111" fmla="*/ 1874520 w 3025140"/>
                  <a:gd name="connsiteY111" fmla="*/ 3421380 h 3680460"/>
                  <a:gd name="connsiteX112" fmla="*/ 1927860 w 3025140"/>
                  <a:gd name="connsiteY112" fmla="*/ 3398520 h 3680460"/>
                  <a:gd name="connsiteX113" fmla="*/ 1950720 w 3025140"/>
                  <a:gd name="connsiteY113" fmla="*/ 3390900 h 3680460"/>
                  <a:gd name="connsiteX114" fmla="*/ 2004060 w 3025140"/>
                  <a:gd name="connsiteY114" fmla="*/ 3360420 h 3680460"/>
                  <a:gd name="connsiteX115" fmla="*/ 2042160 w 3025140"/>
                  <a:gd name="connsiteY115" fmla="*/ 3352800 h 3680460"/>
                  <a:gd name="connsiteX116" fmla="*/ 2080260 w 3025140"/>
                  <a:gd name="connsiteY116" fmla="*/ 3337560 h 3680460"/>
                  <a:gd name="connsiteX117" fmla="*/ 2156460 w 3025140"/>
                  <a:gd name="connsiteY117" fmla="*/ 3299460 h 3680460"/>
                  <a:gd name="connsiteX118" fmla="*/ 2179320 w 3025140"/>
                  <a:gd name="connsiteY118" fmla="*/ 3284220 h 3680460"/>
                  <a:gd name="connsiteX119" fmla="*/ 2209800 w 3025140"/>
                  <a:gd name="connsiteY119" fmla="*/ 3276600 h 3680460"/>
                  <a:gd name="connsiteX120" fmla="*/ 2263140 w 3025140"/>
                  <a:gd name="connsiteY120" fmla="*/ 3230880 h 3680460"/>
                  <a:gd name="connsiteX121" fmla="*/ 2346960 w 3025140"/>
                  <a:gd name="connsiteY121" fmla="*/ 3154680 h 3680460"/>
                  <a:gd name="connsiteX122" fmla="*/ 2400300 w 3025140"/>
                  <a:gd name="connsiteY122" fmla="*/ 3070860 h 3680460"/>
                  <a:gd name="connsiteX123" fmla="*/ 2415540 w 3025140"/>
                  <a:gd name="connsiteY123" fmla="*/ 3048000 h 3680460"/>
                  <a:gd name="connsiteX124" fmla="*/ 2446020 w 3025140"/>
                  <a:gd name="connsiteY124" fmla="*/ 3032760 h 3680460"/>
                  <a:gd name="connsiteX125" fmla="*/ 2468880 w 3025140"/>
                  <a:gd name="connsiteY125" fmla="*/ 3009900 h 3680460"/>
                  <a:gd name="connsiteX126" fmla="*/ 2537460 w 3025140"/>
                  <a:gd name="connsiteY126" fmla="*/ 2926080 h 3680460"/>
                  <a:gd name="connsiteX127" fmla="*/ 2575560 w 3025140"/>
                  <a:gd name="connsiteY127" fmla="*/ 2880360 h 3680460"/>
                  <a:gd name="connsiteX128" fmla="*/ 2628900 w 3025140"/>
                  <a:gd name="connsiteY128" fmla="*/ 2811780 h 3680460"/>
                  <a:gd name="connsiteX129" fmla="*/ 2644140 w 3025140"/>
                  <a:gd name="connsiteY129" fmla="*/ 2773680 h 3680460"/>
                  <a:gd name="connsiteX130" fmla="*/ 2674620 w 3025140"/>
                  <a:gd name="connsiteY130" fmla="*/ 2727960 h 3680460"/>
                  <a:gd name="connsiteX131" fmla="*/ 2689860 w 3025140"/>
                  <a:gd name="connsiteY131" fmla="*/ 2705100 h 3680460"/>
                  <a:gd name="connsiteX132" fmla="*/ 2705100 w 3025140"/>
                  <a:gd name="connsiteY132" fmla="*/ 2667000 h 3680460"/>
                  <a:gd name="connsiteX133" fmla="*/ 2727960 w 3025140"/>
                  <a:gd name="connsiteY133" fmla="*/ 2621280 h 3680460"/>
                  <a:gd name="connsiteX134" fmla="*/ 2735580 w 3025140"/>
                  <a:gd name="connsiteY134" fmla="*/ 2590800 h 3680460"/>
                  <a:gd name="connsiteX135" fmla="*/ 2758440 w 3025140"/>
                  <a:gd name="connsiteY135" fmla="*/ 2545080 h 3680460"/>
                  <a:gd name="connsiteX136" fmla="*/ 2788920 w 3025140"/>
                  <a:gd name="connsiteY136" fmla="*/ 2484120 h 3680460"/>
                  <a:gd name="connsiteX137" fmla="*/ 2811780 w 3025140"/>
                  <a:gd name="connsiteY137" fmla="*/ 2407920 h 3680460"/>
                  <a:gd name="connsiteX138" fmla="*/ 2842260 w 3025140"/>
                  <a:gd name="connsiteY138" fmla="*/ 2324100 h 3680460"/>
                  <a:gd name="connsiteX139" fmla="*/ 2857500 w 3025140"/>
                  <a:gd name="connsiteY139" fmla="*/ 2247900 h 3680460"/>
                  <a:gd name="connsiteX140" fmla="*/ 2872740 w 3025140"/>
                  <a:gd name="connsiteY140" fmla="*/ 2194560 h 3680460"/>
                  <a:gd name="connsiteX141" fmla="*/ 2887980 w 3025140"/>
                  <a:gd name="connsiteY141" fmla="*/ 2148840 h 3680460"/>
                  <a:gd name="connsiteX142" fmla="*/ 2910840 w 3025140"/>
                  <a:gd name="connsiteY142" fmla="*/ 2087880 h 3680460"/>
                  <a:gd name="connsiteX143" fmla="*/ 2918460 w 3025140"/>
                  <a:gd name="connsiteY143" fmla="*/ 2049780 h 3680460"/>
                  <a:gd name="connsiteX144" fmla="*/ 2933700 w 3025140"/>
                  <a:gd name="connsiteY144" fmla="*/ 1844040 h 3680460"/>
                  <a:gd name="connsiteX145" fmla="*/ 2918460 w 3025140"/>
                  <a:gd name="connsiteY145" fmla="*/ 1470660 h 3680460"/>
                  <a:gd name="connsiteX146" fmla="*/ 2895600 w 3025140"/>
                  <a:gd name="connsiteY146" fmla="*/ 1371600 h 3680460"/>
                  <a:gd name="connsiteX147" fmla="*/ 2880360 w 3025140"/>
                  <a:gd name="connsiteY147" fmla="*/ 1341120 h 3680460"/>
                  <a:gd name="connsiteX148" fmla="*/ 2857500 w 3025140"/>
                  <a:gd name="connsiteY148" fmla="*/ 1272540 h 3680460"/>
                  <a:gd name="connsiteX149" fmla="*/ 2849880 w 3025140"/>
                  <a:gd name="connsiteY149" fmla="*/ 1234440 h 3680460"/>
                  <a:gd name="connsiteX150" fmla="*/ 2827020 w 3025140"/>
                  <a:gd name="connsiteY150" fmla="*/ 1196340 h 3680460"/>
                  <a:gd name="connsiteX151" fmla="*/ 2811780 w 3025140"/>
                  <a:gd name="connsiteY151" fmla="*/ 1165860 h 3680460"/>
                  <a:gd name="connsiteX152" fmla="*/ 2781300 w 3025140"/>
                  <a:gd name="connsiteY152" fmla="*/ 1127760 h 3680460"/>
                  <a:gd name="connsiteX153" fmla="*/ 2766060 w 3025140"/>
                  <a:gd name="connsiteY153" fmla="*/ 1089660 h 3680460"/>
                  <a:gd name="connsiteX154" fmla="*/ 2735580 w 3025140"/>
                  <a:gd name="connsiteY154" fmla="*/ 1043940 h 3680460"/>
                  <a:gd name="connsiteX155" fmla="*/ 2727960 w 3025140"/>
                  <a:gd name="connsiteY155" fmla="*/ 1021080 h 3680460"/>
                  <a:gd name="connsiteX156" fmla="*/ 2682240 w 3025140"/>
                  <a:gd name="connsiteY156" fmla="*/ 937260 h 3680460"/>
                  <a:gd name="connsiteX157" fmla="*/ 2659380 w 3025140"/>
                  <a:gd name="connsiteY157" fmla="*/ 876300 h 3680460"/>
                  <a:gd name="connsiteX158" fmla="*/ 2644140 w 3025140"/>
                  <a:gd name="connsiteY158" fmla="*/ 845820 h 3680460"/>
                  <a:gd name="connsiteX159" fmla="*/ 2636520 w 3025140"/>
                  <a:gd name="connsiteY159" fmla="*/ 822960 h 3680460"/>
                  <a:gd name="connsiteX160" fmla="*/ 2621280 w 3025140"/>
                  <a:gd name="connsiteY160" fmla="*/ 800100 h 3680460"/>
                  <a:gd name="connsiteX161" fmla="*/ 2598420 w 3025140"/>
                  <a:gd name="connsiteY161" fmla="*/ 739140 h 3680460"/>
                  <a:gd name="connsiteX162" fmla="*/ 2458403 w 3025140"/>
                  <a:gd name="connsiteY162" fmla="*/ 621983 h 3680460"/>
                  <a:gd name="connsiteX163" fmla="*/ 2301240 w 3025140"/>
                  <a:gd name="connsiteY163" fmla="*/ 458152 h 3680460"/>
                  <a:gd name="connsiteX164" fmla="*/ 2237423 w 3025140"/>
                  <a:gd name="connsiteY164" fmla="*/ 406717 h 3680460"/>
                  <a:gd name="connsiteX165" fmla="*/ 2103120 w 3025140"/>
                  <a:gd name="connsiteY165" fmla="*/ 312420 h 3680460"/>
                  <a:gd name="connsiteX166" fmla="*/ 2042160 w 3025140"/>
                  <a:gd name="connsiteY166" fmla="*/ 266700 h 3680460"/>
                  <a:gd name="connsiteX167" fmla="*/ 2004060 w 3025140"/>
                  <a:gd name="connsiteY167" fmla="*/ 251460 h 3680460"/>
                  <a:gd name="connsiteX168" fmla="*/ 1958340 w 3025140"/>
                  <a:gd name="connsiteY168" fmla="*/ 220980 h 3680460"/>
                  <a:gd name="connsiteX169" fmla="*/ 1897380 w 3025140"/>
                  <a:gd name="connsiteY169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15540 w 3025140"/>
                  <a:gd name="connsiteY13" fmla="*/ 289560 h 3680460"/>
                  <a:gd name="connsiteX14" fmla="*/ 2461260 w 3025140"/>
                  <a:gd name="connsiteY14" fmla="*/ 320040 h 3680460"/>
                  <a:gd name="connsiteX15" fmla="*/ 2537460 w 3025140"/>
                  <a:gd name="connsiteY15" fmla="*/ 426720 h 3680460"/>
                  <a:gd name="connsiteX16" fmla="*/ 2552700 w 3025140"/>
                  <a:gd name="connsiteY16" fmla="*/ 449580 h 3680460"/>
                  <a:gd name="connsiteX17" fmla="*/ 2575560 w 3025140"/>
                  <a:gd name="connsiteY17" fmla="*/ 487680 h 3680460"/>
                  <a:gd name="connsiteX18" fmla="*/ 2621280 w 3025140"/>
                  <a:gd name="connsiteY18" fmla="*/ 548640 h 3680460"/>
                  <a:gd name="connsiteX19" fmla="*/ 2674620 w 3025140"/>
                  <a:gd name="connsiteY19" fmla="*/ 609600 h 3680460"/>
                  <a:gd name="connsiteX20" fmla="*/ 2727960 w 3025140"/>
                  <a:gd name="connsiteY20" fmla="*/ 678180 h 3680460"/>
                  <a:gd name="connsiteX21" fmla="*/ 2727960 w 3025140"/>
                  <a:gd name="connsiteY21" fmla="*/ 678180 h 3680460"/>
                  <a:gd name="connsiteX22" fmla="*/ 2766060 w 3025140"/>
                  <a:gd name="connsiteY22" fmla="*/ 754380 h 3680460"/>
                  <a:gd name="connsiteX23" fmla="*/ 2819400 w 3025140"/>
                  <a:gd name="connsiteY23" fmla="*/ 830580 h 3680460"/>
                  <a:gd name="connsiteX24" fmla="*/ 2834640 w 3025140"/>
                  <a:gd name="connsiteY24" fmla="*/ 853440 h 3680460"/>
                  <a:gd name="connsiteX25" fmla="*/ 2849880 w 3025140"/>
                  <a:gd name="connsiteY25" fmla="*/ 883920 h 3680460"/>
                  <a:gd name="connsiteX26" fmla="*/ 2880360 w 3025140"/>
                  <a:gd name="connsiteY26" fmla="*/ 922020 h 3680460"/>
                  <a:gd name="connsiteX27" fmla="*/ 2887980 w 3025140"/>
                  <a:gd name="connsiteY27" fmla="*/ 944880 h 3680460"/>
                  <a:gd name="connsiteX28" fmla="*/ 2903220 w 3025140"/>
                  <a:gd name="connsiteY28" fmla="*/ 967740 h 3680460"/>
                  <a:gd name="connsiteX29" fmla="*/ 2918460 w 3025140"/>
                  <a:gd name="connsiteY29" fmla="*/ 1036320 h 3680460"/>
                  <a:gd name="connsiteX30" fmla="*/ 2933700 w 3025140"/>
                  <a:gd name="connsiteY30" fmla="*/ 1074420 h 3680460"/>
                  <a:gd name="connsiteX31" fmla="*/ 2948940 w 3025140"/>
                  <a:gd name="connsiteY31" fmla="*/ 1120140 h 3680460"/>
                  <a:gd name="connsiteX32" fmla="*/ 2964180 w 3025140"/>
                  <a:gd name="connsiteY32" fmla="*/ 1203960 h 3680460"/>
                  <a:gd name="connsiteX33" fmla="*/ 2979420 w 3025140"/>
                  <a:gd name="connsiteY33" fmla="*/ 1264920 h 3680460"/>
                  <a:gd name="connsiteX34" fmla="*/ 2987040 w 3025140"/>
                  <a:gd name="connsiteY34" fmla="*/ 1318260 h 3680460"/>
                  <a:gd name="connsiteX35" fmla="*/ 2994660 w 3025140"/>
                  <a:gd name="connsiteY35" fmla="*/ 1348740 h 3680460"/>
                  <a:gd name="connsiteX36" fmla="*/ 3009900 w 3025140"/>
                  <a:gd name="connsiteY36" fmla="*/ 1432560 h 3680460"/>
                  <a:gd name="connsiteX37" fmla="*/ 3017520 w 3025140"/>
                  <a:gd name="connsiteY37" fmla="*/ 1684020 h 3680460"/>
                  <a:gd name="connsiteX38" fmla="*/ 3025140 w 3025140"/>
                  <a:gd name="connsiteY38" fmla="*/ 1744980 h 3680460"/>
                  <a:gd name="connsiteX39" fmla="*/ 3017520 w 3025140"/>
                  <a:gd name="connsiteY39" fmla="*/ 2095500 h 3680460"/>
                  <a:gd name="connsiteX40" fmla="*/ 3009900 w 3025140"/>
                  <a:gd name="connsiteY40" fmla="*/ 2125980 h 3680460"/>
                  <a:gd name="connsiteX41" fmla="*/ 2979420 w 3025140"/>
                  <a:gd name="connsiteY41" fmla="*/ 2194560 h 3680460"/>
                  <a:gd name="connsiteX42" fmla="*/ 2956560 w 3025140"/>
                  <a:gd name="connsiteY42" fmla="*/ 2247900 h 3680460"/>
                  <a:gd name="connsiteX43" fmla="*/ 2941320 w 3025140"/>
                  <a:gd name="connsiteY43" fmla="*/ 2324100 h 3680460"/>
                  <a:gd name="connsiteX44" fmla="*/ 2926080 w 3025140"/>
                  <a:gd name="connsiteY44" fmla="*/ 2392680 h 3680460"/>
                  <a:gd name="connsiteX45" fmla="*/ 2918460 w 3025140"/>
                  <a:gd name="connsiteY45" fmla="*/ 2415540 h 3680460"/>
                  <a:gd name="connsiteX46" fmla="*/ 2895600 w 3025140"/>
                  <a:gd name="connsiteY46" fmla="*/ 2484120 h 3680460"/>
                  <a:gd name="connsiteX47" fmla="*/ 2872740 w 3025140"/>
                  <a:gd name="connsiteY47" fmla="*/ 2583180 h 3680460"/>
                  <a:gd name="connsiteX48" fmla="*/ 2857500 w 3025140"/>
                  <a:gd name="connsiteY48" fmla="*/ 2606040 h 3680460"/>
                  <a:gd name="connsiteX49" fmla="*/ 2834640 w 3025140"/>
                  <a:gd name="connsiteY49" fmla="*/ 2689860 h 3680460"/>
                  <a:gd name="connsiteX50" fmla="*/ 2811780 w 3025140"/>
                  <a:gd name="connsiteY50" fmla="*/ 2750820 h 3680460"/>
                  <a:gd name="connsiteX51" fmla="*/ 2788920 w 3025140"/>
                  <a:gd name="connsiteY51" fmla="*/ 2781300 h 3680460"/>
                  <a:gd name="connsiteX52" fmla="*/ 2781300 w 3025140"/>
                  <a:gd name="connsiteY52" fmla="*/ 2804160 h 3680460"/>
                  <a:gd name="connsiteX53" fmla="*/ 2743200 w 3025140"/>
                  <a:gd name="connsiteY53" fmla="*/ 2865120 h 3680460"/>
                  <a:gd name="connsiteX54" fmla="*/ 2712720 w 3025140"/>
                  <a:gd name="connsiteY54" fmla="*/ 2903220 h 3680460"/>
                  <a:gd name="connsiteX55" fmla="*/ 2697480 w 3025140"/>
                  <a:gd name="connsiteY55" fmla="*/ 2933700 h 3680460"/>
                  <a:gd name="connsiteX56" fmla="*/ 2674620 w 3025140"/>
                  <a:gd name="connsiteY56" fmla="*/ 2964180 h 3680460"/>
                  <a:gd name="connsiteX57" fmla="*/ 2644140 w 3025140"/>
                  <a:gd name="connsiteY57" fmla="*/ 3009900 h 3680460"/>
                  <a:gd name="connsiteX58" fmla="*/ 2598420 w 3025140"/>
                  <a:gd name="connsiteY58" fmla="*/ 3055620 h 3680460"/>
                  <a:gd name="connsiteX59" fmla="*/ 2575560 w 3025140"/>
                  <a:gd name="connsiteY59" fmla="*/ 3078480 h 3680460"/>
                  <a:gd name="connsiteX60" fmla="*/ 2476500 w 3025140"/>
                  <a:gd name="connsiteY60" fmla="*/ 3169920 h 3680460"/>
                  <a:gd name="connsiteX61" fmla="*/ 2377440 w 3025140"/>
                  <a:gd name="connsiteY61" fmla="*/ 3223260 h 3680460"/>
                  <a:gd name="connsiteX62" fmla="*/ 2293620 w 3025140"/>
                  <a:gd name="connsiteY62" fmla="*/ 3284220 h 3680460"/>
                  <a:gd name="connsiteX63" fmla="*/ 2240280 w 3025140"/>
                  <a:gd name="connsiteY63" fmla="*/ 3314700 h 3680460"/>
                  <a:gd name="connsiteX64" fmla="*/ 2225040 w 3025140"/>
                  <a:gd name="connsiteY64" fmla="*/ 3337560 h 3680460"/>
                  <a:gd name="connsiteX65" fmla="*/ 2141220 w 3025140"/>
                  <a:gd name="connsiteY65" fmla="*/ 3390900 h 3680460"/>
                  <a:gd name="connsiteX66" fmla="*/ 2110740 w 3025140"/>
                  <a:gd name="connsiteY66" fmla="*/ 3413760 h 3680460"/>
                  <a:gd name="connsiteX67" fmla="*/ 2072640 w 3025140"/>
                  <a:gd name="connsiteY67" fmla="*/ 3451860 h 3680460"/>
                  <a:gd name="connsiteX68" fmla="*/ 2019300 w 3025140"/>
                  <a:gd name="connsiteY68" fmla="*/ 3467100 h 3680460"/>
                  <a:gd name="connsiteX69" fmla="*/ 1874520 w 3025140"/>
                  <a:gd name="connsiteY69" fmla="*/ 3512820 h 3680460"/>
                  <a:gd name="connsiteX70" fmla="*/ 1828800 w 3025140"/>
                  <a:gd name="connsiteY70" fmla="*/ 3520440 h 3680460"/>
                  <a:gd name="connsiteX71" fmla="*/ 1722120 w 3025140"/>
                  <a:gd name="connsiteY71" fmla="*/ 3550920 h 3680460"/>
                  <a:gd name="connsiteX72" fmla="*/ 1600200 w 3025140"/>
                  <a:gd name="connsiteY72" fmla="*/ 3589020 h 3680460"/>
                  <a:gd name="connsiteX73" fmla="*/ 1569720 w 3025140"/>
                  <a:gd name="connsiteY73" fmla="*/ 3596640 h 3680460"/>
                  <a:gd name="connsiteX74" fmla="*/ 1546860 w 3025140"/>
                  <a:gd name="connsiteY74" fmla="*/ 3611880 h 3680460"/>
                  <a:gd name="connsiteX75" fmla="*/ 1463040 w 3025140"/>
                  <a:gd name="connsiteY75" fmla="*/ 3627120 h 3680460"/>
                  <a:gd name="connsiteX76" fmla="*/ 1333500 w 3025140"/>
                  <a:gd name="connsiteY76" fmla="*/ 3657600 h 3680460"/>
                  <a:gd name="connsiteX77" fmla="*/ 1203960 w 3025140"/>
                  <a:gd name="connsiteY77" fmla="*/ 3672840 h 3680460"/>
                  <a:gd name="connsiteX78" fmla="*/ 1165860 w 3025140"/>
                  <a:gd name="connsiteY78" fmla="*/ 3680460 h 3680460"/>
                  <a:gd name="connsiteX79" fmla="*/ 449580 w 3025140"/>
                  <a:gd name="connsiteY79" fmla="*/ 3672840 h 3680460"/>
                  <a:gd name="connsiteX80" fmla="*/ 426720 w 3025140"/>
                  <a:gd name="connsiteY80" fmla="*/ 3665220 h 3680460"/>
                  <a:gd name="connsiteX81" fmla="*/ 388620 w 3025140"/>
                  <a:gd name="connsiteY81" fmla="*/ 3657600 h 3680460"/>
                  <a:gd name="connsiteX82" fmla="*/ 335280 w 3025140"/>
                  <a:gd name="connsiteY82" fmla="*/ 3627120 h 3680460"/>
                  <a:gd name="connsiteX83" fmla="*/ 266700 w 3025140"/>
                  <a:gd name="connsiteY83" fmla="*/ 3604260 h 3680460"/>
                  <a:gd name="connsiteX84" fmla="*/ 243840 w 3025140"/>
                  <a:gd name="connsiteY84" fmla="*/ 3589020 h 3680460"/>
                  <a:gd name="connsiteX85" fmla="*/ 160020 w 3025140"/>
                  <a:gd name="connsiteY85" fmla="*/ 3558540 h 3680460"/>
                  <a:gd name="connsiteX86" fmla="*/ 137160 w 3025140"/>
                  <a:gd name="connsiteY86" fmla="*/ 3535680 h 3680460"/>
                  <a:gd name="connsiteX87" fmla="*/ 99060 w 3025140"/>
                  <a:gd name="connsiteY87" fmla="*/ 3520440 h 3680460"/>
                  <a:gd name="connsiteX88" fmla="*/ 83820 w 3025140"/>
                  <a:gd name="connsiteY88" fmla="*/ 3489960 h 3680460"/>
                  <a:gd name="connsiteX89" fmla="*/ 45720 w 3025140"/>
                  <a:gd name="connsiteY89" fmla="*/ 3436620 h 3680460"/>
                  <a:gd name="connsiteX90" fmla="*/ 0 w 3025140"/>
                  <a:gd name="connsiteY90" fmla="*/ 3352800 h 3680460"/>
                  <a:gd name="connsiteX91" fmla="*/ 30480 w 3025140"/>
                  <a:gd name="connsiteY91" fmla="*/ 3345180 h 3680460"/>
                  <a:gd name="connsiteX92" fmla="*/ 137160 w 3025140"/>
                  <a:gd name="connsiteY92" fmla="*/ 3360420 h 3680460"/>
                  <a:gd name="connsiteX93" fmla="*/ 167640 w 3025140"/>
                  <a:gd name="connsiteY93" fmla="*/ 3390900 h 3680460"/>
                  <a:gd name="connsiteX94" fmla="*/ 198120 w 3025140"/>
                  <a:gd name="connsiteY94" fmla="*/ 3406140 h 3680460"/>
                  <a:gd name="connsiteX95" fmla="*/ 350520 w 3025140"/>
                  <a:gd name="connsiteY95" fmla="*/ 3436620 h 3680460"/>
                  <a:gd name="connsiteX96" fmla="*/ 381000 w 3025140"/>
                  <a:gd name="connsiteY96" fmla="*/ 3451860 h 3680460"/>
                  <a:gd name="connsiteX97" fmla="*/ 449580 w 3025140"/>
                  <a:gd name="connsiteY97" fmla="*/ 3489960 h 3680460"/>
                  <a:gd name="connsiteX98" fmla="*/ 495300 w 3025140"/>
                  <a:gd name="connsiteY98" fmla="*/ 3520440 h 3680460"/>
                  <a:gd name="connsiteX99" fmla="*/ 525780 w 3025140"/>
                  <a:gd name="connsiteY99" fmla="*/ 3535680 h 3680460"/>
                  <a:gd name="connsiteX100" fmla="*/ 731520 w 3025140"/>
                  <a:gd name="connsiteY100" fmla="*/ 3558540 h 3680460"/>
                  <a:gd name="connsiteX101" fmla="*/ 1341120 w 3025140"/>
                  <a:gd name="connsiteY101" fmla="*/ 3550920 h 3680460"/>
                  <a:gd name="connsiteX102" fmla="*/ 1440180 w 3025140"/>
                  <a:gd name="connsiteY102" fmla="*/ 3528060 h 3680460"/>
                  <a:gd name="connsiteX103" fmla="*/ 1539240 w 3025140"/>
                  <a:gd name="connsiteY103" fmla="*/ 3520440 h 3680460"/>
                  <a:gd name="connsiteX104" fmla="*/ 1562100 w 3025140"/>
                  <a:gd name="connsiteY104" fmla="*/ 3512820 h 3680460"/>
                  <a:gd name="connsiteX105" fmla="*/ 1630680 w 3025140"/>
                  <a:gd name="connsiteY105" fmla="*/ 3497580 h 3680460"/>
                  <a:gd name="connsiteX106" fmla="*/ 1699260 w 3025140"/>
                  <a:gd name="connsiteY106" fmla="*/ 3474720 h 3680460"/>
                  <a:gd name="connsiteX107" fmla="*/ 1790700 w 3025140"/>
                  <a:gd name="connsiteY107" fmla="*/ 3451860 h 3680460"/>
                  <a:gd name="connsiteX108" fmla="*/ 1821180 w 3025140"/>
                  <a:gd name="connsiteY108" fmla="*/ 3444240 h 3680460"/>
                  <a:gd name="connsiteX109" fmla="*/ 1844040 w 3025140"/>
                  <a:gd name="connsiteY109" fmla="*/ 3429000 h 3680460"/>
                  <a:gd name="connsiteX110" fmla="*/ 1874520 w 3025140"/>
                  <a:gd name="connsiteY110" fmla="*/ 3421380 h 3680460"/>
                  <a:gd name="connsiteX111" fmla="*/ 1927860 w 3025140"/>
                  <a:gd name="connsiteY111" fmla="*/ 3398520 h 3680460"/>
                  <a:gd name="connsiteX112" fmla="*/ 1950720 w 3025140"/>
                  <a:gd name="connsiteY112" fmla="*/ 3390900 h 3680460"/>
                  <a:gd name="connsiteX113" fmla="*/ 2004060 w 3025140"/>
                  <a:gd name="connsiteY113" fmla="*/ 3360420 h 3680460"/>
                  <a:gd name="connsiteX114" fmla="*/ 2042160 w 3025140"/>
                  <a:gd name="connsiteY114" fmla="*/ 3352800 h 3680460"/>
                  <a:gd name="connsiteX115" fmla="*/ 2080260 w 3025140"/>
                  <a:gd name="connsiteY115" fmla="*/ 3337560 h 3680460"/>
                  <a:gd name="connsiteX116" fmla="*/ 2156460 w 3025140"/>
                  <a:gd name="connsiteY116" fmla="*/ 3299460 h 3680460"/>
                  <a:gd name="connsiteX117" fmla="*/ 2179320 w 3025140"/>
                  <a:gd name="connsiteY117" fmla="*/ 3284220 h 3680460"/>
                  <a:gd name="connsiteX118" fmla="*/ 2209800 w 3025140"/>
                  <a:gd name="connsiteY118" fmla="*/ 3276600 h 3680460"/>
                  <a:gd name="connsiteX119" fmla="*/ 2263140 w 3025140"/>
                  <a:gd name="connsiteY119" fmla="*/ 3230880 h 3680460"/>
                  <a:gd name="connsiteX120" fmla="*/ 2346960 w 3025140"/>
                  <a:gd name="connsiteY120" fmla="*/ 3154680 h 3680460"/>
                  <a:gd name="connsiteX121" fmla="*/ 2400300 w 3025140"/>
                  <a:gd name="connsiteY121" fmla="*/ 3070860 h 3680460"/>
                  <a:gd name="connsiteX122" fmla="*/ 2415540 w 3025140"/>
                  <a:gd name="connsiteY122" fmla="*/ 3048000 h 3680460"/>
                  <a:gd name="connsiteX123" fmla="*/ 2446020 w 3025140"/>
                  <a:gd name="connsiteY123" fmla="*/ 3032760 h 3680460"/>
                  <a:gd name="connsiteX124" fmla="*/ 2468880 w 3025140"/>
                  <a:gd name="connsiteY124" fmla="*/ 3009900 h 3680460"/>
                  <a:gd name="connsiteX125" fmla="*/ 2537460 w 3025140"/>
                  <a:gd name="connsiteY125" fmla="*/ 2926080 h 3680460"/>
                  <a:gd name="connsiteX126" fmla="*/ 2575560 w 3025140"/>
                  <a:gd name="connsiteY126" fmla="*/ 2880360 h 3680460"/>
                  <a:gd name="connsiteX127" fmla="*/ 2628900 w 3025140"/>
                  <a:gd name="connsiteY127" fmla="*/ 2811780 h 3680460"/>
                  <a:gd name="connsiteX128" fmla="*/ 2644140 w 3025140"/>
                  <a:gd name="connsiteY128" fmla="*/ 2773680 h 3680460"/>
                  <a:gd name="connsiteX129" fmla="*/ 2674620 w 3025140"/>
                  <a:gd name="connsiteY129" fmla="*/ 2727960 h 3680460"/>
                  <a:gd name="connsiteX130" fmla="*/ 2689860 w 3025140"/>
                  <a:gd name="connsiteY130" fmla="*/ 2705100 h 3680460"/>
                  <a:gd name="connsiteX131" fmla="*/ 2705100 w 3025140"/>
                  <a:gd name="connsiteY131" fmla="*/ 2667000 h 3680460"/>
                  <a:gd name="connsiteX132" fmla="*/ 2727960 w 3025140"/>
                  <a:gd name="connsiteY132" fmla="*/ 2621280 h 3680460"/>
                  <a:gd name="connsiteX133" fmla="*/ 2735580 w 3025140"/>
                  <a:gd name="connsiteY133" fmla="*/ 2590800 h 3680460"/>
                  <a:gd name="connsiteX134" fmla="*/ 2758440 w 3025140"/>
                  <a:gd name="connsiteY134" fmla="*/ 2545080 h 3680460"/>
                  <a:gd name="connsiteX135" fmla="*/ 2788920 w 3025140"/>
                  <a:gd name="connsiteY135" fmla="*/ 2484120 h 3680460"/>
                  <a:gd name="connsiteX136" fmla="*/ 2811780 w 3025140"/>
                  <a:gd name="connsiteY136" fmla="*/ 2407920 h 3680460"/>
                  <a:gd name="connsiteX137" fmla="*/ 2842260 w 3025140"/>
                  <a:gd name="connsiteY137" fmla="*/ 2324100 h 3680460"/>
                  <a:gd name="connsiteX138" fmla="*/ 2857500 w 3025140"/>
                  <a:gd name="connsiteY138" fmla="*/ 2247900 h 3680460"/>
                  <a:gd name="connsiteX139" fmla="*/ 2872740 w 3025140"/>
                  <a:gd name="connsiteY139" fmla="*/ 2194560 h 3680460"/>
                  <a:gd name="connsiteX140" fmla="*/ 2887980 w 3025140"/>
                  <a:gd name="connsiteY140" fmla="*/ 2148840 h 3680460"/>
                  <a:gd name="connsiteX141" fmla="*/ 2910840 w 3025140"/>
                  <a:gd name="connsiteY141" fmla="*/ 2087880 h 3680460"/>
                  <a:gd name="connsiteX142" fmla="*/ 2918460 w 3025140"/>
                  <a:gd name="connsiteY142" fmla="*/ 2049780 h 3680460"/>
                  <a:gd name="connsiteX143" fmla="*/ 2933700 w 3025140"/>
                  <a:gd name="connsiteY143" fmla="*/ 1844040 h 3680460"/>
                  <a:gd name="connsiteX144" fmla="*/ 2918460 w 3025140"/>
                  <a:gd name="connsiteY144" fmla="*/ 1470660 h 3680460"/>
                  <a:gd name="connsiteX145" fmla="*/ 2895600 w 3025140"/>
                  <a:gd name="connsiteY145" fmla="*/ 1371600 h 3680460"/>
                  <a:gd name="connsiteX146" fmla="*/ 2880360 w 3025140"/>
                  <a:gd name="connsiteY146" fmla="*/ 1341120 h 3680460"/>
                  <a:gd name="connsiteX147" fmla="*/ 2857500 w 3025140"/>
                  <a:gd name="connsiteY147" fmla="*/ 1272540 h 3680460"/>
                  <a:gd name="connsiteX148" fmla="*/ 2849880 w 3025140"/>
                  <a:gd name="connsiteY148" fmla="*/ 1234440 h 3680460"/>
                  <a:gd name="connsiteX149" fmla="*/ 2827020 w 3025140"/>
                  <a:gd name="connsiteY149" fmla="*/ 1196340 h 3680460"/>
                  <a:gd name="connsiteX150" fmla="*/ 2811780 w 3025140"/>
                  <a:gd name="connsiteY150" fmla="*/ 1165860 h 3680460"/>
                  <a:gd name="connsiteX151" fmla="*/ 2781300 w 3025140"/>
                  <a:gd name="connsiteY151" fmla="*/ 1127760 h 3680460"/>
                  <a:gd name="connsiteX152" fmla="*/ 2766060 w 3025140"/>
                  <a:gd name="connsiteY152" fmla="*/ 1089660 h 3680460"/>
                  <a:gd name="connsiteX153" fmla="*/ 2735580 w 3025140"/>
                  <a:gd name="connsiteY153" fmla="*/ 1043940 h 3680460"/>
                  <a:gd name="connsiteX154" fmla="*/ 2727960 w 3025140"/>
                  <a:gd name="connsiteY154" fmla="*/ 1021080 h 3680460"/>
                  <a:gd name="connsiteX155" fmla="*/ 2682240 w 3025140"/>
                  <a:gd name="connsiteY155" fmla="*/ 937260 h 3680460"/>
                  <a:gd name="connsiteX156" fmla="*/ 2659380 w 3025140"/>
                  <a:gd name="connsiteY156" fmla="*/ 876300 h 3680460"/>
                  <a:gd name="connsiteX157" fmla="*/ 2644140 w 3025140"/>
                  <a:gd name="connsiteY157" fmla="*/ 845820 h 3680460"/>
                  <a:gd name="connsiteX158" fmla="*/ 2636520 w 3025140"/>
                  <a:gd name="connsiteY158" fmla="*/ 822960 h 3680460"/>
                  <a:gd name="connsiteX159" fmla="*/ 2621280 w 3025140"/>
                  <a:gd name="connsiteY159" fmla="*/ 800100 h 3680460"/>
                  <a:gd name="connsiteX160" fmla="*/ 2598420 w 3025140"/>
                  <a:gd name="connsiteY160" fmla="*/ 739140 h 3680460"/>
                  <a:gd name="connsiteX161" fmla="*/ 2458403 w 3025140"/>
                  <a:gd name="connsiteY161" fmla="*/ 621983 h 3680460"/>
                  <a:gd name="connsiteX162" fmla="*/ 2301240 w 3025140"/>
                  <a:gd name="connsiteY162" fmla="*/ 458152 h 3680460"/>
                  <a:gd name="connsiteX163" fmla="*/ 2237423 w 3025140"/>
                  <a:gd name="connsiteY163" fmla="*/ 406717 h 3680460"/>
                  <a:gd name="connsiteX164" fmla="*/ 2103120 w 3025140"/>
                  <a:gd name="connsiteY164" fmla="*/ 312420 h 3680460"/>
                  <a:gd name="connsiteX165" fmla="*/ 2042160 w 3025140"/>
                  <a:gd name="connsiteY165" fmla="*/ 266700 h 3680460"/>
                  <a:gd name="connsiteX166" fmla="*/ 2004060 w 3025140"/>
                  <a:gd name="connsiteY166" fmla="*/ 251460 h 3680460"/>
                  <a:gd name="connsiteX167" fmla="*/ 1958340 w 3025140"/>
                  <a:gd name="connsiteY167" fmla="*/ 220980 h 3680460"/>
                  <a:gd name="connsiteX168" fmla="*/ 1897380 w 3025140"/>
                  <a:gd name="connsiteY168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61260 w 3025140"/>
                  <a:gd name="connsiteY13" fmla="*/ 320040 h 3680460"/>
                  <a:gd name="connsiteX14" fmla="*/ 2537460 w 3025140"/>
                  <a:gd name="connsiteY14" fmla="*/ 426720 h 3680460"/>
                  <a:gd name="connsiteX15" fmla="*/ 2552700 w 3025140"/>
                  <a:gd name="connsiteY15" fmla="*/ 449580 h 3680460"/>
                  <a:gd name="connsiteX16" fmla="*/ 2575560 w 3025140"/>
                  <a:gd name="connsiteY16" fmla="*/ 487680 h 3680460"/>
                  <a:gd name="connsiteX17" fmla="*/ 2621280 w 3025140"/>
                  <a:gd name="connsiteY17" fmla="*/ 548640 h 3680460"/>
                  <a:gd name="connsiteX18" fmla="*/ 2674620 w 3025140"/>
                  <a:gd name="connsiteY18" fmla="*/ 609600 h 3680460"/>
                  <a:gd name="connsiteX19" fmla="*/ 2727960 w 3025140"/>
                  <a:gd name="connsiteY19" fmla="*/ 678180 h 3680460"/>
                  <a:gd name="connsiteX20" fmla="*/ 2727960 w 3025140"/>
                  <a:gd name="connsiteY20" fmla="*/ 678180 h 3680460"/>
                  <a:gd name="connsiteX21" fmla="*/ 2766060 w 3025140"/>
                  <a:gd name="connsiteY21" fmla="*/ 754380 h 3680460"/>
                  <a:gd name="connsiteX22" fmla="*/ 2819400 w 3025140"/>
                  <a:gd name="connsiteY22" fmla="*/ 830580 h 3680460"/>
                  <a:gd name="connsiteX23" fmla="*/ 2834640 w 3025140"/>
                  <a:gd name="connsiteY23" fmla="*/ 853440 h 3680460"/>
                  <a:gd name="connsiteX24" fmla="*/ 2849880 w 3025140"/>
                  <a:gd name="connsiteY24" fmla="*/ 883920 h 3680460"/>
                  <a:gd name="connsiteX25" fmla="*/ 2880360 w 3025140"/>
                  <a:gd name="connsiteY25" fmla="*/ 922020 h 3680460"/>
                  <a:gd name="connsiteX26" fmla="*/ 2887980 w 3025140"/>
                  <a:gd name="connsiteY26" fmla="*/ 944880 h 3680460"/>
                  <a:gd name="connsiteX27" fmla="*/ 2903220 w 3025140"/>
                  <a:gd name="connsiteY27" fmla="*/ 967740 h 3680460"/>
                  <a:gd name="connsiteX28" fmla="*/ 2918460 w 3025140"/>
                  <a:gd name="connsiteY28" fmla="*/ 1036320 h 3680460"/>
                  <a:gd name="connsiteX29" fmla="*/ 2933700 w 3025140"/>
                  <a:gd name="connsiteY29" fmla="*/ 1074420 h 3680460"/>
                  <a:gd name="connsiteX30" fmla="*/ 2948940 w 3025140"/>
                  <a:gd name="connsiteY30" fmla="*/ 1120140 h 3680460"/>
                  <a:gd name="connsiteX31" fmla="*/ 2964180 w 3025140"/>
                  <a:gd name="connsiteY31" fmla="*/ 1203960 h 3680460"/>
                  <a:gd name="connsiteX32" fmla="*/ 2979420 w 3025140"/>
                  <a:gd name="connsiteY32" fmla="*/ 1264920 h 3680460"/>
                  <a:gd name="connsiteX33" fmla="*/ 2987040 w 3025140"/>
                  <a:gd name="connsiteY33" fmla="*/ 1318260 h 3680460"/>
                  <a:gd name="connsiteX34" fmla="*/ 2994660 w 3025140"/>
                  <a:gd name="connsiteY34" fmla="*/ 1348740 h 3680460"/>
                  <a:gd name="connsiteX35" fmla="*/ 3009900 w 3025140"/>
                  <a:gd name="connsiteY35" fmla="*/ 1432560 h 3680460"/>
                  <a:gd name="connsiteX36" fmla="*/ 3017520 w 3025140"/>
                  <a:gd name="connsiteY36" fmla="*/ 1684020 h 3680460"/>
                  <a:gd name="connsiteX37" fmla="*/ 3025140 w 3025140"/>
                  <a:gd name="connsiteY37" fmla="*/ 1744980 h 3680460"/>
                  <a:gd name="connsiteX38" fmla="*/ 3017520 w 3025140"/>
                  <a:gd name="connsiteY38" fmla="*/ 2095500 h 3680460"/>
                  <a:gd name="connsiteX39" fmla="*/ 3009900 w 3025140"/>
                  <a:gd name="connsiteY39" fmla="*/ 2125980 h 3680460"/>
                  <a:gd name="connsiteX40" fmla="*/ 2979420 w 3025140"/>
                  <a:gd name="connsiteY40" fmla="*/ 2194560 h 3680460"/>
                  <a:gd name="connsiteX41" fmla="*/ 2956560 w 3025140"/>
                  <a:gd name="connsiteY41" fmla="*/ 2247900 h 3680460"/>
                  <a:gd name="connsiteX42" fmla="*/ 2941320 w 3025140"/>
                  <a:gd name="connsiteY42" fmla="*/ 2324100 h 3680460"/>
                  <a:gd name="connsiteX43" fmla="*/ 2926080 w 3025140"/>
                  <a:gd name="connsiteY43" fmla="*/ 2392680 h 3680460"/>
                  <a:gd name="connsiteX44" fmla="*/ 2918460 w 3025140"/>
                  <a:gd name="connsiteY44" fmla="*/ 2415540 h 3680460"/>
                  <a:gd name="connsiteX45" fmla="*/ 2895600 w 3025140"/>
                  <a:gd name="connsiteY45" fmla="*/ 2484120 h 3680460"/>
                  <a:gd name="connsiteX46" fmla="*/ 2872740 w 3025140"/>
                  <a:gd name="connsiteY46" fmla="*/ 2583180 h 3680460"/>
                  <a:gd name="connsiteX47" fmla="*/ 2857500 w 3025140"/>
                  <a:gd name="connsiteY47" fmla="*/ 2606040 h 3680460"/>
                  <a:gd name="connsiteX48" fmla="*/ 2834640 w 3025140"/>
                  <a:gd name="connsiteY48" fmla="*/ 2689860 h 3680460"/>
                  <a:gd name="connsiteX49" fmla="*/ 2811780 w 3025140"/>
                  <a:gd name="connsiteY49" fmla="*/ 2750820 h 3680460"/>
                  <a:gd name="connsiteX50" fmla="*/ 2788920 w 3025140"/>
                  <a:gd name="connsiteY50" fmla="*/ 2781300 h 3680460"/>
                  <a:gd name="connsiteX51" fmla="*/ 2781300 w 3025140"/>
                  <a:gd name="connsiteY51" fmla="*/ 2804160 h 3680460"/>
                  <a:gd name="connsiteX52" fmla="*/ 2743200 w 3025140"/>
                  <a:gd name="connsiteY52" fmla="*/ 2865120 h 3680460"/>
                  <a:gd name="connsiteX53" fmla="*/ 2712720 w 3025140"/>
                  <a:gd name="connsiteY53" fmla="*/ 2903220 h 3680460"/>
                  <a:gd name="connsiteX54" fmla="*/ 2697480 w 3025140"/>
                  <a:gd name="connsiteY54" fmla="*/ 2933700 h 3680460"/>
                  <a:gd name="connsiteX55" fmla="*/ 2674620 w 3025140"/>
                  <a:gd name="connsiteY55" fmla="*/ 2964180 h 3680460"/>
                  <a:gd name="connsiteX56" fmla="*/ 2644140 w 3025140"/>
                  <a:gd name="connsiteY56" fmla="*/ 3009900 h 3680460"/>
                  <a:gd name="connsiteX57" fmla="*/ 2598420 w 3025140"/>
                  <a:gd name="connsiteY57" fmla="*/ 3055620 h 3680460"/>
                  <a:gd name="connsiteX58" fmla="*/ 2575560 w 3025140"/>
                  <a:gd name="connsiteY58" fmla="*/ 3078480 h 3680460"/>
                  <a:gd name="connsiteX59" fmla="*/ 2476500 w 3025140"/>
                  <a:gd name="connsiteY59" fmla="*/ 3169920 h 3680460"/>
                  <a:gd name="connsiteX60" fmla="*/ 2377440 w 3025140"/>
                  <a:gd name="connsiteY60" fmla="*/ 3223260 h 3680460"/>
                  <a:gd name="connsiteX61" fmla="*/ 2293620 w 3025140"/>
                  <a:gd name="connsiteY61" fmla="*/ 3284220 h 3680460"/>
                  <a:gd name="connsiteX62" fmla="*/ 2240280 w 3025140"/>
                  <a:gd name="connsiteY62" fmla="*/ 3314700 h 3680460"/>
                  <a:gd name="connsiteX63" fmla="*/ 2225040 w 3025140"/>
                  <a:gd name="connsiteY63" fmla="*/ 3337560 h 3680460"/>
                  <a:gd name="connsiteX64" fmla="*/ 2141220 w 3025140"/>
                  <a:gd name="connsiteY64" fmla="*/ 3390900 h 3680460"/>
                  <a:gd name="connsiteX65" fmla="*/ 2110740 w 3025140"/>
                  <a:gd name="connsiteY65" fmla="*/ 3413760 h 3680460"/>
                  <a:gd name="connsiteX66" fmla="*/ 2072640 w 3025140"/>
                  <a:gd name="connsiteY66" fmla="*/ 3451860 h 3680460"/>
                  <a:gd name="connsiteX67" fmla="*/ 2019300 w 3025140"/>
                  <a:gd name="connsiteY67" fmla="*/ 3467100 h 3680460"/>
                  <a:gd name="connsiteX68" fmla="*/ 1874520 w 3025140"/>
                  <a:gd name="connsiteY68" fmla="*/ 3512820 h 3680460"/>
                  <a:gd name="connsiteX69" fmla="*/ 1828800 w 3025140"/>
                  <a:gd name="connsiteY69" fmla="*/ 3520440 h 3680460"/>
                  <a:gd name="connsiteX70" fmla="*/ 1722120 w 3025140"/>
                  <a:gd name="connsiteY70" fmla="*/ 3550920 h 3680460"/>
                  <a:gd name="connsiteX71" fmla="*/ 1600200 w 3025140"/>
                  <a:gd name="connsiteY71" fmla="*/ 3589020 h 3680460"/>
                  <a:gd name="connsiteX72" fmla="*/ 1569720 w 3025140"/>
                  <a:gd name="connsiteY72" fmla="*/ 3596640 h 3680460"/>
                  <a:gd name="connsiteX73" fmla="*/ 1546860 w 3025140"/>
                  <a:gd name="connsiteY73" fmla="*/ 3611880 h 3680460"/>
                  <a:gd name="connsiteX74" fmla="*/ 1463040 w 3025140"/>
                  <a:gd name="connsiteY74" fmla="*/ 3627120 h 3680460"/>
                  <a:gd name="connsiteX75" fmla="*/ 1333500 w 3025140"/>
                  <a:gd name="connsiteY75" fmla="*/ 3657600 h 3680460"/>
                  <a:gd name="connsiteX76" fmla="*/ 1203960 w 3025140"/>
                  <a:gd name="connsiteY76" fmla="*/ 3672840 h 3680460"/>
                  <a:gd name="connsiteX77" fmla="*/ 1165860 w 3025140"/>
                  <a:gd name="connsiteY77" fmla="*/ 3680460 h 3680460"/>
                  <a:gd name="connsiteX78" fmla="*/ 449580 w 3025140"/>
                  <a:gd name="connsiteY78" fmla="*/ 3672840 h 3680460"/>
                  <a:gd name="connsiteX79" fmla="*/ 426720 w 3025140"/>
                  <a:gd name="connsiteY79" fmla="*/ 3665220 h 3680460"/>
                  <a:gd name="connsiteX80" fmla="*/ 388620 w 3025140"/>
                  <a:gd name="connsiteY80" fmla="*/ 3657600 h 3680460"/>
                  <a:gd name="connsiteX81" fmla="*/ 335280 w 3025140"/>
                  <a:gd name="connsiteY81" fmla="*/ 3627120 h 3680460"/>
                  <a:gd name="connsiteX82" fmla="*/ 266700 w 3025140"/>
                  <a:gd name="connsiteY82" fmla="*/ 3604260 h 3680460"/>
                  <a:gd name="connsiteX83" fmla="*/ 243840 w 3025140"/>
                  <a:gd name="connsiteY83" fmla="*/ 3589020 h 3680460"/>
                  <a:gd name="connsiteX84" fmla="*/ 160020 w 3025140"/>
                  <a:gd name="connsiteY84" fmla="*/ 3558540 h 3680460"/>
                  <a:gd name="connsiteX85" fmla="*/ 137160 w 3025140"/>
                  <a:gd name="connsiteY85" fmla="*/ 3535680 h 3680460"/>
                  <a:gd name="connsiteX86" fmla="*/ 99060 w 3025140"/>
                  <a:gd name="connsiteY86" fmla="*/ 3520440 h 3680460"/>
                  <a:gd name="connsiteX87" fmla="*/ 83820 w 3025140"/>
                  <a:gd name="connsiteY87" fmla="*/ 3489960 h 3680460"/>
                  <a:gd name="connsiteX88" fmla="*/ 45720 w 3025140"/>
                  <a:gd name="connsiteY88" fmla="*/ 3436620 h 3680460"/>
                  <a:gd name="connsiteX89" fmla="*/ 0 w 3025140"/>
                  <a:gd name="connsiteY89" fmla="*/ 3352800 h 3680460"/>
                  <a:gd name="connsiteX90" fmla="*/ 30480 w 3025140"/>
                  <a:gd name="connsiteY90" fmla="*/ 3345180 h 3680460"/>
                  <a:gd name="connsiteX91" fmla="*/ 137160 w 3025140"/>
                  <a:gd name="connsiteY91" fmla="*/ 3360420 h 3680460"/>
                  <a:gd name="connsiteX92" fmla="*/ 167640 w 3025140"/>
                  <a:gd name="connsiteY92" fmla="*/ 3390900 h 3680460"/>
                  <a:gd name="connsiteX93" fmla="*/ 198120 w 3025140"/>
                  <a:gd name="connsiteY93" fmla="*/ 3406140 h 3680460"/>
                  <a:gd name="connsiteX94" fmla="*/ 350520 w 3025140"/>
                  <a:gd name="connsiteY94" fmla="*/ 3436620 h 3680460"/>
                  <a:gd name="connsiteX95" fmla="*/ 381000 w 3025140"/>
                  <a:gd name="connsiteY95" fmla="*/ 3451860 h 3680460"/>
                  <a:gd name="connsiteX96" fmla="*/ 449580 w 3025140"/>
                  <a:gd name="connsiteY96" fmla="*/ 3489960 h 3680460"/>
                  <a:gd name="connsiteX97" fmla="*/ 495300 w 3025140"/>
                  <a:gd name="connsiteY97" fmla="*/ 3520440 h 3680460"/>
                  <a:gd name="connsiteX98" fmla="*/ 525780 w 3025140"/>
                  <a:gd name="connsiteY98" fmla="*/ 3535680 h 3680460"/>
                  <a:gd name="connsiteX99" fmla="*/ 731520 w 3025140"/>
                  <a:gd name="connsiteY99" fmla="*/ 3558540 h 3680460"/>
                  <a:gd name="connsiteX100" fmla="*/ 1341120 w 3025140"/>
                  <a:gd name="connsiteY100" fmla="*/ 3550920 h 3680460"/>
                  <a:gd name="connsiteX101" fmla="*/ 1440180 w 3025140"/>
                  <a:gd name="connsiteY101" fmla="*/ 3528060 h 3680460"/>
                  <a:gd name="connsiteX102" fmla="*/ 1539240 w 3025140"/>
                  <a:gd name="connsiteY102" fmla="*/ 3520440 h 3680460"/>
                  <a:gd name="connsiteX103" fmla="*/ 1562100 w 3025140"/>
                  <a:gd name="connsiteY103" fmla="*/ 3512820 h 3680460"/>
                  <a:gd name="connsiteX104" fmla="*/ 1630680 w 3025140"/>
                  <a:gd name="connsiteY104" fmla="*/ 3497580 h 3680460"/>
                  <a:gd name="connsiteX105" fmla="*/ 1699260 w 3025140"/>
                  <a:gd name="connsiteY105" fmla="*/ 3474720 h 3680460"/>
                  <a:gd name="connsiteX106" fmla="*/ 1790700 w 3025140"/>
                  <a:gd name="connsiteY106" fmla="*/ 3451860 h 3680460"/>
                  <a:gd name="connsiteX107" fmla="*/ 1821180 w 3025140"/>
                  <a:gd name="connsiteY107" fmla="*/ 3444240 h 3680460"/>
                  <a:gd name="connsiteX108" fmla="*/ 1844040 w 3025140"/>
                  <a:gd name="connsiteY108" fmla="*/ 3429000 h 3680460"/>
                  <a:gd name="connsiteX109" fmla="*/ 1874520 w 3025140"/>
                  <a:gd name="connsiteY109" fmla="*/ 3421380 h 3680460"/>
                  <a:gd name="connsiteX110" fmla="*/ 1927860 w 3025140"/>
                  <a:gd name="connsiteY110" fmla="*/ 3398520 h 3680460"/>
                  <a:gd name="connsiteX111" fmla="*/ 1950720 w 3025140"/>
                  <a:gd name="connsiteY111" fmla="*/ 3390900 h 3680460"/>
                  <a:gd name="connsiteX112" fmla="*/ 2004060 w 3025140"/>
                  <a:gd name="connsiteY112" fmla="*/ 3360420 h 3680460"/>
                  <a:gd name="connsiteX113" fmla="*/ 2042160 w 3025140"/>
                  <a:gd name="connsiteY113" fmla="*/ 3352800 h 3680460"/>
                  <a:gd name="connsiteX114" fmla="*/ 2080260 w 3025140"/>
                  <a:gd name="connsiteY114" fmla="*/ 3337560 h 3680460"/>
                  <a:gd name="connsiteX115" fmla="*/ 2156460 w 3025140"/>
                  <a:gd name="connsiteY115" fmla="*/ 3299460 h 3680460"/>
                  <a:gd name="connsiteX116" fmla="*/ 2179320 w 3025140"/>
                  <a:gd name="connsiteY116" fmla="*/ 3284220 h 3680460"/>
                  <a:gd name="connsiteX117" fmla="*/ 2209800 w 3025140"/>
                  <a:gd name="connsiteY117" fmla="*/ 3276600 h 3680460"/>
                  <a:gd name="connsiteX118" fmla="*/ 2263140 w 3025140"/>
                  <a:gd name="connsiteY118" fmla="*/ 3230880 h 3680460"/>
                  <a:gd name="connsiteX119" fmla="*/ 2346960 w 3025140"/>
                  <a:gd name="connsiteY119" fmla="*/ 3154680 h 3680460"/>
                  <a:gd name="connsiteX120" fmla="*/ 2400300 w 3025140"/>
                  <a:gd name="connsiteY120" fmla="*/ 3070860 h 3680460"/>
                  <a:gd name="connsiteX121" fmla="*/ 2415540 w 3025140"/>
                  <a:gd name="connsiteY121" fmla="*/ 3048000 h 3680460"/>
                  <a:gd name="connsiteX122" fmla="*/ 2446020 w 3025140"/>
                  <a:gd name="connsiteY122" fmla="*/ 3032760 h 3680460"/>
                  <a:gd name="connsiteX123" fmla="*/ 2468880 w 3025140"/>
                  <a:gd name="connsiteY123" fmla="*/ 3009900 h 3680460"/>
                  <a:gd name="connsiteX124" fmla="*/ 2537460 w 3025140"/>
                  <a:gd name="connsiteY124" fmla="*/ 2926080 h 3680460"/>
                  <a:gd name="connsiteX125" fmla="*/ 2575560 w 3025140"/>
                  <a:gd name="connsiteY125" fmla="*/ 2880360 h 3680460"/>
                  <a:gd name="connsiteX126" fmla="*/ 2628900 w 3025140"/>
                  <a:gd name="connsiteY126" fmla="*/ 2811780 h 3680460"/>
                  <a:gd name="connsiteX127" fmla="*/ 2644140 w 3025140"/>
                  <a:gd name="connsiteY127" fmla="*/ 2773680 h 3680460"/>
                  <a:gd name="connsiteX128" fmla="*/ 2674620 w 3025140"/>
                  <a:gd name="connsiteY128" fmla="*/ 2727960 h 3680460"/>
                  <a:gd name="connsiteX129" fmla="*/ 2689860 w 3025140"/>
                  <a:gd name="connsiteY129" fmla="*/ 2705100 h 3680460"/>
                  <a:gd name="connsiteX130" fmla="*/ 2705100 w 3025140"/>
                  <a:gd name="connsiteY130" fmla="*/ 2667000 h 3680460"/>
                  <a:gd name="connsiteX131" fmla="*/ 2727960 w 3025140"/>
                  <a:gd name="connsiteY131" fmla="*/ 2621280 h 3680460"/>
                  <a:gd name="connsiteX132" fmla="*/ 2735580 w 3025140"/>
                  <a:gd name="connsiteY132" fmla="*/ 2590800 h 3680460"/>
                  <a:gd name="connsiteX133" fmla="*/ 2758440 w 3025140"/>
                  <a:gd name="connsiteY133" fmla="*/ 2545080 h 3680460"/>
                  <a:gd name="connsiteX134" fmla="*/ 2788920 w 3025140"/>
                  <a:gd name="connsiteY134" fmla="*/ 2484120 h 3680460"/>
                  <a:gd name="connsiteX135" fmla="*/ 2811780 w 3025140"/>
                  <a:gd name="connsiteY135" fmla="*/ 2407920 h 3680460"/>
                  <a:gd name="connsiteX136" fmla="*/ 2842260 w 3025140"/>
                  <a:gd name="connsiteY136" fmla="*/ 2324100 h 3680460"/>
                  <a:gd name="connsiteX137" fmla="*/ 2857500 w 3025140"/>
                  <a:gd name="connsiteY137" fmla="*/ 2247900 h 3680460"/>
                  <a:gd name="connsiteX138" fmla="*/ 2872740 w 3025140"/>
                  <a:gd name="connsiteY138" fmla="*/ 2194560 h 3680460"/>
                  <a:gd name="connsiteX139" fmla="*/ 2887980 w 3025140"/>
                  <a:gd name="connsiteY139" fmla="*/ 2148840 h 3680460"/>
                  <a:gd name="connsiteX140" fmla="*/ 2910840 w 3025140"/>
                  <a:gd name="connsiteY140" fmla="*/ 2087880 h 3680460"/>
                  <a:gd name="connsiteX141" fmla="*/ 2918460 w 3025140"/>
                  <a:gd name="connsiteY141" fmla="*/ 2049780 h 3680460"/>
                  <a:gd name="connsiteX142" fmla="*/ 2933700 w 3025140"/>
                  <a:gd name="connsiteY142" fmla="*/ 1844040 h 3680460"/>
                  <a:gd name="connsiteX143" fmla="*/ 2918460 w 3025140"/>
                  <a:gd name="connsiteY143" fmla="*/ 1470660 h 3680460"/>
                  <a:gd name="connsiteX144" fmla="*/ 2895600 w 3025140"/>
                  <a:gd name="connsiteY144" fmla="*/ 1371600 h 3680460"/>
                  <a:gd name="connsiteX145" fmla="*/ 2880360 w 3025140"/>
                  <a:gd name="connsiteY145" fmla="*/ 1341120 h 3680460"/>
                  <a:gd name="connsiteX146" fmla="*/ 2857500 w 3025140"/>
                  <a:gd name="connsiteY146" fmla="*/ 1272540 h 3680460"/>
                  <a:gd name="connsiteX147" fmla="*/ 2849880 w 3025140"/>
                  <a:gd name="connsiteY147" fmla="*/ 1234440 h 3680460"/>
                  <a:gd name="connsiteX148" fmla="*/ 2827020 w 3025140"/>
                  <a:gd name="connsiteY148" fmla="*/ 1196340 h 3680460"/>
                  <a:gd name="connsiteX149" fmla="*/ 2811780 w 3025140"/>
                  <a:gd name="connsiteY149" fmla="*/ 1165860 h 3680460"/>
                  <a:gd name="connsiteX150" fmla="*/ 2781300 w 3025140"/>
                  <a:gd name="connsiteY150" fmla="*/ 1127760 h 3680460"/>
                  <a:gd name="connsiteX151" fmla="*/ 2766060 w 3025140"/>
                  <a:gd name="connsiteY151" fmla="*/ 1089660 h 3680460"/>
                  <a:gd name="connsiteX152" fmla="*/ 2735580 w 3025140"/>
                  <a:gd name="connsiteY152" fmla="*/ 1043940 h 3680460"/>
                  <a:gd name="connsiteX153" fmla="*/ 2727960 w 3025140"/>
                  <a:gd name="connsiteY153" fmla="*/ 1021080 h 3680460"/>
                  <a:gd name="connsiteX154" fmla="*/ 2682240 w 3025140"/>
                  <a:gd name="connsiteY154" fmla="*/ 937260 h 3680460"/>
                  <a:gd name="connsiteX155" fmla="*/ 2659380 w 3025140"/>
                  <a:gd name="connsiteY155" fmla="*/ 876300 h 3680460"/>
                  <a:gd name="connsiteX156" fmla="*/ 2644140 w 3025140"/>
                  <a:gd name="connsiteY156" fmla="*/ 845820 h 3680460"/>
                  <a:gd name="connsiteX157" fmla="*/ 2636520 w 3025140"/>
                  <a:gd name="connsiteY157" fmla="*/ 822960 h 3680460"/>
                  <a:gd name="connsiteX158" fmla="*/ 2621280 w 3025140"/>
                  <a:gd name="connsiteY158" fmla="*/ 800100 h 3680460"/>
                  <a:gd name="connsiteX159" fmla="*/ 2598420 w 3025140"/>
                  <a:gd name="connsiteY159" fmla="*/ 739140 h 3680460"/>
                  <a:gd name="connsiteX160" fmla="*/ 2458403 w 3025140"/>
                  <a:gd name="connsiteY160" fmla="*/ 621983 h 3680460"/>
                  <a:gd name="connsiteX161" fmla="*/ 2301240 w 3025140"/>
                  <a:gd name="connsiteY161" fmla="*/ 458152 h 3680460"/>
                  <a:gd name="connsiteX162" fmla="*/ 2237423 w 3025140"/>
                  <a:gd name="connsiteY162" fmla="*/ 406717 h 3680460"/>
                  <a:gd name="connsiteX163" fmla="*/ 2103120 w 3025140"/>
                  <a:gd name="connsiteY163" fmla="*/ 312420 h 3680460"/>
                  <a:gd name="connsiteX164" fmla="*/ 2042160 w 3025140"/>
                  <a:gd name="connsiteY164" fmla="*/ 266700 h 3680460"/>
                  <a:gd name="connsiteX165" fmla="*/ 2004060 w 3025140"/>
                  <a:gd name="connsiteY165" fmla="*/ 251460 h 3680460"/>
                  <a:gd name="connsiteX166" fmla="*/ 1958340 w 3025140"/>
                  <a:gd name="connsiteY166" fmla="*/ 220980 h 3680460"/>
                  <a:gd name="connsiteX167" fmla="*/ 1897380 w 3025140"/>
                  <a:gd name="connsiteY16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49880 w 3025140"/>
                  <a:gd name="connsiteY23" fmla="*/ 883920 h 3680460"/>
                  <a:gd name="connsiteX24" fmla="*/ 2880360 w 3025140"/>
                  <a:gd name="connsiteY24" fmla="*/ 922020 h 3680460"/>
                  <a:gd name="connsiteX25" fmla="*/ 2887980 w 3025140"/>
                  <a:gd name="connsiteY25" fmla="*/ 944880 h 3680460"/>
                  <a:gd name="connsiteX26" fmla="*/ 2903220 w 3025140"/>
                  <a:gd name="connsiteY26" fmla="*/ 967740 h 3680460"/>
                  <a:gd name="connsiteX27" fmla="*/ 2918460 w 3025140"/>
                  <a:gd name="connsiteY27" fmla="*/ 1036320 h 3680460"/>
                  <a:gd name="connsiteX28" fmla="*/ 2933700 w 3025140"/>
                  <a:gd name="connsiteY28" fmla="*/ 1074420 h 3680460"/>
                  <a:gd name="connsiteX29" fmla="*/ 2948940 w 3025140"/>
                  <a:gd name="connsiteY29" fmla="*/ 1120140 h 3680460"/>
                  <a:gd name="connsiteX30" fmla="*/ 2964180 w 3025140"/>
                  <a:gd name="connsiteY30" fmla="*/ 1203960 h 3680460"/>
                  <a:gd name="connsiteX31" fmla="*/ 2979420 w 3025140"/>
                  <a:gd name="connsiteY31" fmla="*/ 1264920 h 3680460"/>
                  <a:gd name="connsiteX32" fmla="*/ 2987040 w 3025140"/>
                  <a:gd name="connsiteY32" fmla="*/ 1318260 h 3680460"/>
                  <a:gd name="connsiteX33" fmla="*/ 2994660 w 3025140"/>
                  <a:gd name="connsiteY33" fmla="*/ 1348740 h 3680460"/>
                  <a:gd name="connsiteX34" fmla="*/ 3009900 w 3025140"/>
                  <a:gd name="connsiteY34" fmla="*/ 1432560 h 3680460"/>
                  <a:gd name="connsiteX35" fmla="*/ 3017520 w 3025140"/>
                  <a:gd name="connsiteY35" fmla="*/ 1684020 h 3680460"/>
                  <a:gd name="connsiteX36" fmla="*/ 3025140 w 3025140"/>
                  <a:gd name="connsiteY36" fmla="*/ 1744980 h 3680460"/>
                  <a:gd name="connsiteX37" fmla="*/ 3017520 w 3025140"/>
                  <a:gd name="connsiteY37" fmla="*/ 2095500 h 3680460"/>
                  <a:gd name="connsiteX38" fmla="*/ 3009900 w 3025140"/>
                  <a:gd name="connsiteY38" fmla="*/ 2125980 h 3680460"/>
                  <a:gd name="connsiteX39" fmla="*/ 2979420 w 3025140"/>
                  <a:gd name="connsiteY39" fmla="*/ 2194560 h 3680460"/>
                  <a:gd name="connsiteX40" fmla="*/ 2956560 w 3025140"/>
                  <a:gd name="connsiteY40" fmla="*/ 2247900 h 3680460"/>
                  <a:gd name="connsiteX41" fmla="*/ 2941320 w 3025140"/>
                  <a:gd name="connsiteY41" fmla="*/ 2324100 h 3680460"/>
                  <a:gd name="connsiteX42" fmla="*/ 2926080 w 3025140"/>
                  <a:gd name="connsiteY42" fmla="*/ 2392680 h 3680460"/>
                  <a:gd name="connsiteX43" fmla="*/ 2918460 w 3025140"/>
                  <a:gd name="connsiteY43" fmla="*/ 2415540 h 3680460"/>
                  <a:gd name="connsiteX44" fmla="*/ 2895600 w 3025140"/>
                  <a:gd name="connsiteY44" fmla="*/ 2484120 h 3680460"/>
                  <a:gd name="connsiteX45" fmla="*/ 2872740 w 3025140"/>
                  <a:gd name="connsiteY45" fmla="*/ 2583180 h 3680460"/>
                  <a:gd name="connsiteX46" fmla="*/ 2857500 w 3025140"/>
                  <a:gd name="connsiteY46" fmla="*/ 2606040 h 3680460"/>
                  <a:gd name="connsiteX47" fmla="*/ 2834640 w 3025140"/>
                  <a:gd name="connsiteY47" fmla="*/ 2689860 h 3680460"/>
                  <a:gd name="connsiteX48" fmla="*/ 2811780 w 3025140"/>
                  <a:gd name="connsiteY48" fmla="*/ 2750820 h 3680460"/>
                  <a:gd name="connsiteX49" fmla="*/ 2788920 w 3025140"/>
                  <a:gd name="connsiteY49" fmla="*/ 2781300 h 3680460"/>
                  <a:gd name="connsiteX50" fmla="*/ 2781300 w 3025140"/>
                  <a:gd name="connsiteY50" fmla="*/ 2804160 h 3680460"/>
                  <a:gd name="connsiteX51" fmla="*/ 2743200 w 3025140"/>
                  <a:gd name="connsiteY51" fmla="*/ 2865120 h 3680460"/>
                  <a:gd name="connsiteX52" fmla="*/ 2712720 w 3025140"/>
                  <a:gd name="connsiteY52" fmla="*/ 2903220 h 3680460"/>
                  <a:gd name="connsiteX53" fmla="*/ 2697480 w 3025140"/>
                  <a:gd name="connsiteY53" fmla="*/ 2933700 h 3680460"/>
                  <a:gd name="connsiteX54" fmla="*/ 2674620 w 3025140"/>
                  <a:gd name="connsiteY54" fmla="*/ 2964180 h 3680460"/>
                  <a:gd name="connsiteX55" fmla="*/ 2644140 w 3025140"/>
                  <a:gd name="connsiteY55" fmla="*/ 3009900 h 3680460"/>
                  <a:gd name="connsiteX56" fmla="*/ 2598420 w 3025140"/>
                  <a:gd name="connsiteY56" fmla="*/ 3055620 h 3680460"/>
                  <a:gd name="connsiteX57" fmla="*/ 2575560 w 3025140"/>
                  <a:gd name="connsiteY57" fmla="*/ 3078480 h 3680460"/>
                  <a:gd name="connsiteX58" fmla="*/ 2476500 w 3025140"/>
                  <a:gd name="connsiteY58" fmla="*/ 3169920 h 3680460"/>
                  <a:gd name="connsiteX59" fmla="*/ 2377440 w 3025140"/>
                  <a:gd name="connsiteY59" fmla="*/ 3223260 h 3680460"/>
                  <a:gd name="connsiteX60" fmla="*/ 2293620 w 3025140"/>
                  <a:gd name="connsiteY60" fmla="*/ 3284220 h 3680460"/>
                  <a:gd name="connsiteX61" fmla="*/ 2240280 w 3025140"/>
                  <a:gd name="connsiteY61" fmla="*/ 3314700 h 3680460"/>
                  <a:gd name="connsiteX62" fmla="*/ 2225040 w 3025140"/>
                  <a:gd name="connsiteY62" fmla="*/ 3337560 h 3680460"/>
                  <a:gd name="connsiteX63" fmla="*/ 2141220 w 3025140"/>
                  <a:gd name="connsiteY63" fmla="*/ 3390900 h 3680460"/>
                  <a:gd name="connsiteX64" fmla="*/ 2110740 w 3025140"/>
                  <a:gd name="connsiteY64" fmla="*/ 3413760 h 3680460"/>
                  <a:gd name="connsiteX65" fmla="*/ 2072640 w 3025140"/>
                  <a:gd name="connsiteY65" fmla="*/ 3451860 h 3680460"/>
                  <a:gd name="connsiteX66" fmla="*/ 2019300 w 3025140"/>
                  <a:gd name="connsiteY66" fmla="*/ 3467100 h 3680460"/>
                  <a:gd name="connsiteX67" fmla="*/ 1874520 w 3025140"/>
                  <a:gd name="connsiteY67" fmla="*/ 3512820 h 3680460"/>
                  <a:gd name="connsiteX68" fmla="*/ 1828800 w 3025140"/>
                  <a:gd name="connsiteY68" fmla="*/ 3520440 h 3680460"/>
                  <a:gd name="connsiteX69" fmla="*/ 1722120 w 3025140"/>
                  <a:gd name="connsiteY69" fmla="*/ 3550920 h 3680460"/>
                  <a:gd name="connsiteX70" fmla="*/ 1600200 w 3025140"/>
                  <a:gd name="connsiteY70" fmla="*/ 3589020 h 3680460"/>
                  <a:gd name="connsiteX71" fmla="*/ 1569720 w 3025140"/>
                  <a:gd name="connsiteY71" fmla="*/ 3596640 h 3680460"/>
                  <a:gd name="connsiteX72" fmla="*/ 1546860 w 3025140"/>
                  <a:gd name="connsiteY72" fmla="*/ 3611880 h 3680460"/>
                  <a:gd name="connsiteX73" fmla="*/ 1463040 w 3025140"/>
                  <a:gd name="connsiteY73" fmla="*/ 3627120 h 3680460"/>
                  <a:gd name="connsiteX74" fmla="*/ 1333500 w 3025140"/>
                  <a:gd name="connsiteY74" fmla="*/ 3657600 h 3680460"/>
                  <a:gd name="connsiteX75" fmla="*/ 1203960 w 3025140"/>
                  <a:gd name="connsiteY75" fmla="*/ 3672840 h 3680460"/>
                  <a:gd name="connsiteX76" fmla="*/ 1165860 w 3025140"/>
                  <a:gd name="connsiteY76" fmla="*/ 3680460 h 3680460"/>
                  <a:gd name="connsiteX77" fmla="*/ 449580 w 3025140"/>
                  <a:gd name="connsiteY77" fmla="*/ 3672840 h 3680460"/>
                  <a:gd name="connsiteX78" fmla="*/ 426720 w 3025140"/>
                  <a:gd name="connsiteY78" fmla="*/ 3665220 h 3680460"/>
                  <a:gd name="connsiteX79" fmla="*/ 388620 w 3025140"/>
                  <a:gd name="connsiteY79" fmla="*/ 3657600 h 3680460"/>
                  <a:gd name="connsiteX80" fmla="*/ 335280 w 3025140"/>
                  <a:gd name="connsiteY80" fmla="*/ 3627120 h 3680460"/>
                  <a:gd name="connsiteX81" fmla="*/ 266700 w 3025140"/>
                  <a:gd name="connsiteY81" fmla="*/ 3604260 h 3680460"/>
                  <a:gd name="connsiteX82" fmla="*/ 243840 w 3025140"/>
                  <a:gd name="connsiteY82" fmla="*/ 3589020 h 3680460"/>
                  <a:gd name="connsiteX83" fmla="*/ 160020 w 3025140"/>
                  <a:gd name="connsiteY83" fmla="*/ 3558540 h 3680460"/>
                  <a:gd name="connsiteX84" fmla="*/ 137160 w 3025140"/>
                  <a:gd name="connsiteY84" fmla="*/ 3535680 h 3680460"/>
                  <a:gd name="connsiteX85" fmla="*/ 99060 w 3025140"/>
                  <a:gd name="connsiteY85" fmla="*/ 3520440 h 3680460"/>
                  <a:gd name="connsiteX86" fmla="*/ 83820 w 3025140"/>
                  <a:gd name="connsiteY86" fmla="*/ 3489960 h 3680460"/>
                  <a:gd name="connsiteX87" fmla="*/ 45720 w 3025140"/>
                  <a:gd name="connsiteY87" fmla="*/ 3436620 h 3680460"/>
                  <a:gd name="connsiteX88" fmla="*/ 0 w 3025140"/>
                  <a:gd name="connsiteY88" fmla="*/ 3352800 h 3680460"/>
                  <a:gd name="connsiteX89" fmla="*/ 30480 w 3025140"/>
                  <a:gd name="connsiteY89" fmla="*/ 3345180 h 3680460"/>
                  <a:gd name="connsiteX90" fmla="*/ 137160 w 3025140"/>
                  <a:gd name="connsiteY90" fmla="*/ 3360420 h 3680460"/>
                  <a:gd name="connsiteX91" fmla="*/ 167640 w 3025140"/>
                  <a:gd name="connsiteY91" fmla="*/ 3390900 h 3680460"/>
                  <a:gd name="connsiteX92" fmla="*/ 198120 w 3025140"/>
                  <a:gd name="connsiteY92" fmla="*/ 3406140 h 3680460"/>
                  <a:gd name="connsiteX93" fmla="*/ 350520 w 3025140"/>
                  <a:gd name="connsiteY93" fmla="*/ 3436620 h 3680460"/>
                  <a:gd name="connsiteX94" fmla="*/ 381000 w 3025140"/>
                  <a:gd name="connsiteY94" fmla="*/ 3451860 h 3680460"/>
                  <a:gd name="connsiteX95" fmla="*/ 449580 w 3025140"/>
                  <a:gd name="connsiteY95" fmla="*/ 3489960 h 3680460"/>
                  <a:gd name="connsiteX96" fmla="*/ 495300 w 3025140"/>
                  <a:gd name="connsiteY96" fmla="*/ 3520440 h 3680460"/>
                  <a:gd name="connsiteX97" fmla="*/ 525780 w 3025140"/>
                  <a:gd name="connsiteY97" fmla="*/ 3535680 h 3680460"/>
                  <a:gd name="connsiteX98" fmla="*/ 731520 w 3025140"/>
                  <a:gd name="connsiteY98" fmla="*/ 3558540 h 3680460"/>
                  <a:gd name="connsiteX99" fmla="*/ 1341120 w 3025140"/>
                  <a:gd name="connsiteY99" fmla="*/ 3550920 h 3680460"/>
                  <a:gd name="connsiteX100" fmla="*/ 1440180 w 3025140"/>
                  <a:gd name="connsiteY100" fmla="*/ 3528060 h 3680460"/>
                  <a:gd name="connsiteX101" fmla="*/ 1539240 w 3025140"/>
                  <a:gd name="connsiteY101" fmla="*/ 3520440 h 3680460"/>
                  <a:gd name="connsiteX102" fmla="*/ 1562100 w 3025140"/>
                  <a:gd name="connsiteY102" fmla="*/ 3512820 h 3680460"/>
                  <a:gd name="connsiteX103" fmla="*/ 1630680 w 3025140"/>
                  <a:gd name="connsiteY103" fmla="*/ 3497580 h 3680460"/>
                  <a:gd name="connsiteX104" fmla="*/ 1699260 w 3025140"/>
                  <a:gd name="connsiteY104" fmla="*/ 3474720 h 3680460"/>
                  <a:gd name="connsiteX105" fmla="*/ 1790700 w 3025140"/>
                  <a:gd name="connsiteY105" fmla="*/ 3451860 h 3680460"/>
                  <a:gd name="connsiteX106" fmla="*/ 1821180 w 3025140"/>
                  <a:gd name="connsiteY106" fmla="*/ 3444240 h 3680460"/>
                  <a:gd name="connsiteX107" fmla="*/ 1844040 w 3025140"/>
                  <a:gd name="connsiteY107" fmla="*/ 3429000 h 3680460"/>
                  <a:gd name="connsiteX108" fmla="*/ 1874520 w 3025140"/>
                  <a:gd name="connsiteY108" fmla="*/ 3421380 h 3680460"/>
                  <a:gd name="connsiteX109" fmla="*/ 1927860 w 3025140"/>
                  <a:gd name="connsiteY109" fmla="*/ 3398520 h 3680460"/>
                  <a:gd name="connsiteX110" fmla="*/ 1950720 w 3025140"/>
                  <a:gd name="connsiteY110" fmla="*/ 3390900 h 3680460"/>
                  <a:gd name="connsiteX111" fmla="*/ 2004060 w 3025140"/>
                  <a:gd name="connsiteY111" fmla="*/ 3360420 h 3680460"/>
                  <a:gd name="connsiteX112" fmla="*/ 2042160 w 3025140"/>
                  <a:gd name="connsiteY112" fmla="*/ 3352800 h 3680460"/>
                  <a:gd name="connsiteX113" fmla="*/ 2080260 w 3025140"/>
                  <a:gd name="connsiteY113" fmla="*/ 3337560 h 3680460"/>
                  <a:gd name="connsiteX114" fmla="*/ 2156460 w 3025140"/>
                  <a:gd name="connsiteY114" fmla="*/ 3299460 h 3680460"/>
                  <a:gd name="connsiteX115" fmla="*/ 2179320 w 3025140"/>
                  <a:gd name="connsiteY115" fmla="*/ 3284220 h 3680460"/>
                  <a:gd name="connsiteX116" fmla="*/ 2209800 w 3025140"/>
                  <a:gd name="connsiteY116" fmla="*/ 3276600 h 3680460"/>
                  <a:gd name="connsiteX117" fmla="*/ 2263140 w 3025140"/>
                  <a:gd name="connsiteY117" fmla="*/ 3230880 h 3680460"/>
                  <a:gd name="connsiteX118" fmla="*/ 2346960 w 3025140"/>
                  <a:gd name="connsiteY118" fmla="*/ 3154680 h 3680460"/>
                  <a:gd name="connsiteX119" fmla="*/ 2400300 w 3025140"/>
                  <a:gd name="connsiteY119" fmla="*/ 3070860 h 3680460"/>
                  <a:gd name="connsiteX120" fmla="*/ 2415540 w 3025140"/>
                  <a:gd name="connsiteY120" fmla="*/ 3048000 h 3680460"/>
                  <a:gd name="connsiteX121" fmla="*/ 2446020 w 3025140"/>
                  <a:gd name="connsiteY121" fmla="*/ 3032760 h 3680460"/>
                  <a:gd name="connsiteX122" fmla="*/ 2468880 w 3025140"/>
                  <a:gd name="connsiteY122" fmla="*/ 3009900 h 3680460"/>
                  <a:gd name="connsiteX123" fmla="*/ 2537460 w 3025140"/>
                  <a:gd name="connsiteY123" fmla="*/ 2926080 h 3680460"/>
                  <a:gd name="connsiteX124" fmla="*/ 2575560 w 3025140"/>
                  <a:gd name="connsiteY124" fmla="*/ 2880360 h 3680460"/>
                  <a:gd name="connsiteX125" fmla="*/ 2628900 w 3025140"/>
                  <a:gd name="connsiteY125" fmla="*/ 2811780 h 3680460"/>
                  <a:gd name="connsiteX126" fmla="*/ 2644140 w 3025140"/>
                  <a:gd name="connsiteY126" fmla="*/ 2773680 h 3680460"/>
                  <a:gd name="connsiteX127" fmla="*/ 2674620 w 3025140"/>
                  <a:gd name="connsiteY127" fmla="*/ 2727960 h 3680460"/>
                  <a:gd name="connsiteX128" fmla="*/ 2689860 w 3025140"/>
                  <a:gd name="connsiteY128" fmla="*/ 2705100 h 3680460"/>
                  <a:gd name="connsiteX129" fmla="*/ 2705100 w 3025140"/>
                  <a:gd name="connsiteY129" fmla="*/ 2667000 h 3680460"/>
                  <a:gd name="connsiteX130" fmla="*/ 2727960 w 3025140"/>
                  <a:gd name="connsiteY130" fmla="*/ 2621280 h 3680460"/>
                  <a:gd name="connsiteX131" fmla="*/ 2735580 w 3025140"/>
                  <a:gd name="connsiteY131" fmla="*/ 2590800 h 3680460"/>
                  <a:gd name="connsiteX132" fmla="*/ 2758440 w 3025140"/>
                  <a:gd name="connsiteY132" fmla="*/ 2545080 h 3680460"/>
                  <a:gd name="connsiteX133" fmla="*/ 2788920 w 3025140"/>
                  <a:gd name="connsiteY133" fmla="*/ 2484120 h 3680460"/>
                  <a:gd name="connsiteX134" fmla="*/ 2811780 w 3025140"/>
                  <a:gd name="connsiteY134" fmla="*/ 2407920 h 3680460"/>
                  <a:gd name="connsiteX135" fmla="*/ 2842260 w 3025140"/>
                  <a:gd name="connsiteY135" fmla="*/ 2324100 h 3680460"/>
                  <a:gd name="connsiteX136" fmla="*/ 2857500 w 3025140"/>
                  <a:gd name="connsiteY136" fmla="*/ 2247900 h 3680460"/>
                  <a:gd name="connsiteX137" fmla="*/ 2872740 w 3025140"/>
                  <a:gd name="connsiteY137" fmla="*/ 2194560 h 3680460"/>
                  <a:gd name="connsiteX138" fmla="*/ 2887980 w 3025140"/>
                  <a:gd name="connsiteY138" fmla="*/ 2148840 h 3680460"/>
                  <a:gd name="connsiteX139" fmla="*/ 2910840 w 3025140"/>
                  <a:gd name="connsiteY139" fmla="*/ 2087880 h 3680460"/>
                  <a:gd name="connsiteX140" fmla="*/ 2918460 w 3025140"/>
                  <a:gd name="connsiteY140" fmla="*/ 2049780 h 3680460"/>
                  <a:gd name="connsiteX141" fmla="*/ 2933700 w 3025140"/>
                  <a:gd name="connsiteY141" fmla="*/ 1844040 h 3680460"/>
                  <a:gd name="connsiteX142" fmla="*/ 2918460 w 3025140"/>
                  <a:gd name="connsiteY142" fmla="*/ 1470660 h 3680460"/>
                  <a:gd name="connsiteX143" fmla="*/ 2895600 w 3025140"/>
                  <a:gd name="connsiteY143" fmla="*/ 1371600 h 3680460"/>
                  <a:gd name="connsiteX144" fmla="*/ 2880360 w 3025140"/>
                  <a:gd name="connsiteY144" fmla="*/ 1341120 h 3680460"/>
                  <a:gd name="connsiteX145" fmla="*/ 2857500 w 3025140"/>
                  <a:gd name="connsiteY145" fmla="*/ 1272540 h 3680460"/>
                  <a:gd name="connsiteX146" fmla="*/ 2849880 w 3025140"/>
                  <a:gd name="connsiteY146" fmla="*/ 1234440 h 3680460"/>
                  <a:gd name="connsiteX147" fmla="*/ 2827020 w 3025140"/>
                  <a:gd name="connsiteY147" fmla="*/ 1196340 h 3680460"/>
                  <a:gd name="connsiteX148" fmla="*/ 2811780 w 3025140"/>
                  <a:gd name="connsiteY148" fmla="*/ 1165860 h 3680460"/>
                  <a:gd name="connsiteX149" fmla="*/ 2781300 w 3025140"/>
                  <a:gd name="connsiteY149" fmla="*/ 1127760 h 3680460"/>
                  <a:gd name="connsiteX150" fmla="*/ 2766060 w 3025140"/>
                  <a:gd name="connsiteY150" fmla="*/ 1089660 h 3680460"/>
                  <a:gd name="connsiteX151" fmla="*/ 2735580 w 3025140"/>
                  <a:gd name="connsiteY151" fmla="*/ 1043940 h 3680460"/>
                  <a:gd name="connsiteX152" fmla="*/ 2727960 w 3025140"/>
                  <a:gd name="connsiteY152" fmla="*/ 1021080 h 3680460"/>
                  <a:gd name="connsiteX153" fmla="*/ 2682240 w 3025140"/>
                  <a:gd name="connsiteY153" fmla="*/ 937260 h 3680460"/>
                  <a:gd name="connsiteX154" fmla="*/ 2659380 w 3025140"/>
                  <a:gd name="connsiteY154" fmla="*/ 876300 h 3680460"/>
                  <a:gd name="connsiteX155" fmla="*/ 2644140 w 3025140"/>
                  <a:gd name="connsiteY155" fmla="*/ 845820 h 3680460"/>
                  <a:gd name="connsiteX156" fmla="*/ 2636520 w 3025140"/>
                  <a:gd name="connsiteY156" fmla="*/ 822960 h 3680460"/>
                  <a:gd name="connsiteX157" fmla="*/ 2621280 w 3025140"/>
                  <a:gd name="connsiteY157" fmla="*/ 800100 h 3680460"/>
                  <a:gd name="connsiteX158" fmla="*/ 2598420 w 3025140"/>
                  <a:gd name="connsiteY158" fmla="*/ 739140 h 3680460"/>
                  <a:gd name="connsiteX159" fmla="*/ 2458403 w 3025140"/>
                  <a:gd name="connsiteY159" fmla="*/ 621983 h 3680460"/>
                  <a:gd name="connsiteX160" fmla="*/ 2301240 w 3025140"/>
                  <a:gd name="connsiteY160" fmla="*/ 458152 h 3680460"/>
                  <a:gd name="connsiteX161" fmla="*/ 2237423 w 3025140"/>
                  <a:gd name="connsiteY161" fmla="*/ 406717 h 3680460"/>
                  <a:gd name="connsiteX162" fmla="*/ 2103120 w 3025140"/>
                  <a:gd name="connsiteY162" fmla="*/ 312420 h 3680460"/>
                  <a:gd name="connsiteX163" fmla="*/ 2042160 w 3025140"/>
                  <a:gd name="connsiteY163" fmla="*/ 266700 h 3680460"/>
                  <a:gd name="connsiteX164" fmla="*/ 2004060 w 3025140"/>
                  <a:gd name="connsiteY164" fmla="*/ 251460 h 3680460"/>
                  <a:gd name="connsiteX165" fmla="*/ 1958340 w 3025140"/>
                  <a:gd name="connsiteY165" fmla="*/ 220980 h 3680460"/>
                  <a:gd name="connsiteX166" fmla="*/ 1897380 w 3025140"/>
                  <a:gd name="connsiteY16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80360 w 3025140"/>
                  <a:gd name="connsiteY23" fmla="*/ 922020 h 3680460"/>
                  <a:gd name="connsiteX24" fmla="*/ 2887980 w 3025140"/>
                  <a:gd name="connsiteY24" fmla="*/ 944880 h 3680460"/>
                  <a:gd name="connsiteX25" fmla="*/ 2903220 w 3025140"/>
                  <a:gd name="connsiteY25" fmla="*/ 967740 h 3680460"/>
                  <a:gd name="connsiteX26" fmla="*/ 2918460 w 3025140"/>
                  <a:gd name="connsiteY26" fmla="*/ 1036320 h 3680460"/>
                  <a:gd name="connsiteX27" fmla="*/ 2933700 w 3025140"/>
                  <a:gd name="connsiteY27" fmla="*/ 1074420 h 3680460"/>
                  <a:gd name="connsiteX28" fmla="*/ 2948940 w 3025140"/>
                  <a:gd name="connsiteY28" fmla="*/ 1120140 h 3680460"/>
                  <a:gd name="connsiteX29" fmla="*/ 2964180 w 3025140"/>
                  <a:gd name="connsiteY29" fmla="*/ 1203960 h 3680460"/>
                  <a:gd name="connsiteX30" fmla="*/ 2979420 w 3025140"/>
                  <a:gd name="connsiteY30" fmla="*/ 1264920 h 3680460"/>
                  <a:gd name="connsiteX31" fmla="*/ 2987040 w 3025140"/>
                  <a:gd name="connsiteY31" fmla="*/ 1318260 h 3680460"/>
                  <a:gd name="connsiteX32" fmla="*/ 2994660 w 3025140"/>
                  <a:gd name="connsiteY32" fmla="*/ 1348740 h 3680460"/>
                  <a:gd name="connsiteX33" fmla="*/ 3009900 w 3025140"/>
                  <a:gd name="connsiteY33" fmla="*/ 1432560 h 3680460"/>
                  <a:gd name="connsiteX34" fmla="*/ 3017520 w 3025140"/>
                  <a:gd name="connsiteY34" fmla="*/ 1684020 h 3680460"/>
                  <a:gd name="connsiteX35" fmla="*/ 3025140 w 3025140"/>
                  <a:gd name="connsiteY35" fmla="*/ 1744980 h 3680460"/>
                  <a:gd name="connsiteX36" fmla="*/ 3017520 w 3025140"/>
                  <a:gd name="connsiteY36" fmla="*/ 2095500 h 3680460"/>
                  <a:gd name="connsiteX37" fmla="*/ 3009900 w 3025140"/>
                  <a:gd name="connsiteY37" fmla="*/ 2125980 h 3680460"/>
                  <a:gd name="connsiteX38" fmla="*/ 2979420 w 3025140"/>
                  <a:gd name="connsiteY38" fmla="*/ 2194560 h 3680460"/>
                  <a:gd name="connsiteX39" fmla="*/ 2956560 w 3025140"/>
                  <a:gd name="connsiteY39" fmla="*/ 2247900 h 3680460"/>
                  <a:gd name="connsiteX40" fmla="*/ 2941320 w 3025140"/>
                  <a:gd name="connsiteY40" fmla="*/ 2324100 h 3680460"/>
                  <a:gd name="connsiteX41" fmla="*/ 2926080 w 3025140"/>
                  <a:gd name="connsiteY41" fmla="*/ 2392680 h 3680460"/>
                  <a:gd name="connsiteX42" fmla="*/ 2918460 w 3025140"/>
                  <a:gd name="connsiteY42" fmla="*/ 2415540 h 3680460"/>
                  <a:gd name="connsiteX43" fmla="*/ 2895600 w 3025140"/>
                  <a:gd name="connsiteY43" fmla="*/ 2484120 h 3680460"/>
                  <a:gd name="connsiteX44" fmla="*/ 2872740 w 3025140"/>
                  <a:gd name="connsiteY44" fmla="*/ 2583180 h 3680460"/>
                  <a:gd name="connsiteX45" fmla="*/ 2857500 w 3025140"/>
                  <a:gd name="connsiteY45" fmla="*/ 2606040 h 3680460"/>
                  <a:gd name="connsiteX46" fmla="*/ 2834640 w 3025140"/>
                  <a:gd name="connsiteY46" fmla="*/ 2689860 h 3680460"/>
                  <a:gd name="connsiteX47" fmla="*/ 2811780 w 3025140"/>
                  <a:gd name="connsiteY47" fmla="*/ 2750820 h 3680460"/>
                  <a:gd name="connsiteX48" fmla="*/ 2788920 w 3025140"/>
                  <a:gd name="connsiteY48" fmla="*/ 2781300 h 3680460"/>
                  <a:gd name="connsiteX49" fmla="*/ 2781300 w 3025140"/>
                  <a:gd name="connsiteY49" fmla="*/ 2804160 h 3680460"/>
                  <a:gd name="connsiteX50" fmla="*/ 2743200 w 3025140"/>
                  <a:gd name="connsiteY50" fmla="*/ 2865120 h 3680460"/>
                  <a:gd name="connsiteX51" fmla="*/ 2712720 w 3025140"/>
                  <a:gd name="connsiteY51" fmla="*/ 2903220 h 3680460"/>
                  <a:gd name="connsiteX52" fmla="*/ 2697480 w 3025140"/>
                  <a:gd name="connsiteY52" fmla="*/ 2933700 h 3680460"/>
                  <a:gd name="connsiteX53" fmla="*/ 2674620 w 3025140"/>
                  <a:gd name="connsiteY53" fmla="*/ 2964180 h 3680460"/>
                  <a:gd name="connsiteX54" fmla="*/ 2644140 w 3025140"/>
                  <a:gd name="connsiteY54" fmla="*/ 3009900 h 3680460"/>
                  <a:gd name="connsiteX55" fmla="*/ 2598420 w 3025140"/>
                  <a:gd name="connsiteY55" fmla="*/ 3055620 h 3680460"/>
                  <a:gd name="connsiteX56" fmla="*/ 2575560 w 3025140"/>
                  <a:gd name="connsiteY56" fmla="*/ 3078480 h 3680460"/>
                  <a:gd name="connsiteX57" fmla="*/ 2476500 w 3025140"/>
                  <a:gd name="connsiteY57" fmla="*/ 3169920 h 3680460"/>
                  <a:gd name="connsiteX58" fmla="*/ 2377440 w 3025140"/>
                  <a:gd name="connsiteY58" fmla="*/ 3223260 h 3680460"/>
                  <a:gd name="connsiteX59" fmla="*/ 2293620 w 3025140"/>
                  <a:gd name="connsiteY59" fmla="*/ 3284220 h 3680460"/>
                  <a:gd name="connsiteX60" fmla="*/ 2240280 w 3025140"/>
                  <a:gd name="connsiteY60" fmla="*/ 3314700 h 3680460"/>
                  <a:gd name="connsiteX61" fmla="*/ 2225040 w 3025140"/>
                  <a:gd name="connsiteY61" fmla="*/ 3337560 h 3680460"/>
                  <a:gd name="connsiteX62" fmla="*/ 2141220 w 3025140"/>
                  <a:gd name="connsiteY62" fmla="*/ 3390900 h 3680460"/>
                  <a:gd name="connsiteX63" fmla="*/ 2110740 w 3025140"/>
                  <a:gd name="connsiteY63" fmla="*/ 3413760 h 3680460"/>
                  <a:gd name="connsiteX64" fmla="*/ 2072640 w 3025140"/>
                  <a:gd name="connsiteY64" fmla="*/ 3451860 h 3680460"/>
                  <a:gd name="connsiteX65" fmla="*/ 2019300 w 3025140"/>
                  <a:gd name="connsiteY65" fmla="*/ 3467100 h 3680460"/>
                  <a:gd name="connsiteX66" fmla="*/ 1874520 w 3025140"/>
                  <a:gd name="connsiteY66" fmla="*/ 3512820 h 3680460"/>
                  <a:gd name="connsiteX67" fmla="*/ 1828800 w 3025140"/>
                  <a:gd name="connsiteY67" fmla="*/ 3520440 h 3680460"/>
                  <a:gd name="connsiteX68" fmla="*/ 1722120 w 3025140"/>
                  <a:gd name="connsiteY68" fmla="*/ 3550920 h 3680460"/>
                  <a:gd name="connsiteX69" fmla="*/ 1600200 w 3025140"/>
                  <a:gd name="connsiteY69" fmla="*/ 3589020 h 3680460"/>
                  <a:gd name="connsiteX70" fmla="*/ 1569720 w 3025140"/>
                  <a:gd name="connsiteY70" fmla="*/ 3596640 h 3680460"/>
                  <a:gd name="connsiteX71" fmla="*/ 1546860 w 3025140"/>
                  <a:gd name="connsiteY71" fmla="*/ 3611880 h 3680460"/>
                  <a:gd name="connsiteX72" fmla="*/ 1463040 w 3025140"/>
                  <a:gd name="connsiteY72" fmla="*/ 3627120 h 3680460"/>
                  <a:gd name="connsiteX73" fmla="*/ 1333500 w 3025140"/>
                  <a:gd name="connsiteY73" fmla="*/ 3657600 h 3680460"/>
                  <a:gd name="connsiteX74" fmla="*/ 1203960 w 3025140"/>
                  <a:gd name="connsiteY74" fmla="*/ 3672840 h 3680460"/>
                  <a:gd name="connsiteX75" fmla="*/ 1165860 w 3025140"/>
                  <a:gd name="connsiteY75" fmla="*/ 3680460 h 3680460"/>
                  <a:gd name="connsiteX76" fmla="*/ 449580 w 3025140"/>
                  <a:gd name="connsiteY76" fmla="*/ 3672840 h 3680460"/>
                  <a:gd name="connsiteX77" fmla="*/ 426720 w 3025140"/>
                  <a:gd name="connsiteY77" fmla="*/ 3665220 h 3680460"/>
                  <a:gd name="connsiteX78" fmla="*/ 388620 w 3025140"/>
                  <a:gd name="connsiteY78" fmla="*/ 3657600 h 3680460"/>
                  <a:gd name="connsiteX79" fmla="*/ 335280 w 3025140"/>
                  <a:gd name="connsiteY79" fmla="*/ 3627120 h 3680460"/>
                  <a:gd name="connsiteX80" fmla="*/ 266700 w 3025140"/>
                  <a:gd name="connsiteY80" fmla="*/ 3604260 h 3680460"/>
                  <a:gd name="connsiteX81" fmla="*/ 243840 w 3025140"/>
                  <a:gd name="connsiteY81" fmla="*/ 3589020 h 3680460"/>
                  <a:gd name="connsiteX82" fmla="*/ 160020 w 3025140"/>
                  <a:gd name="connsiteY82" fmla="*/ 3558540 h 3680460"/>
                  <a:gd name="connsiteX83" fmla="*/ 137160 w 3025140"/>
                  <a:gd name="connsiteY83" fmla="*/ 3535680 h 3680460"/>
                  <a:gd name="connsiteX84" fmla="*/ 99060 w 3025140"/>
                  <a:gd name="connsiteY84" fmla="*/ 3520440 h 3680460"/>
                  <a:gd name="connsiteX85" fmla="*/ 83820 w 3025140"/>
                  <a:gd name="connsiteY85" fmla="*/ 3489960 h 3680460"/>
                  <a:gd name="connsiteX86" fmla="*/ 45720 w 3025140"/>
                  <a:gd name="connsiteY86" fmla="*/ 3436620 h 3680460"/>
                  <a:gd name="connsiteX87" fmla="*/ 0 w 3025140"/>
                  <a:gd name="connsiteY87" fmla="*/ 3352800 h 3680460"/>
                  <a:gd name="connsiteX88" fmla="*/ 30480 w 3025140"/>
                  <a:gd name="connsiteY88" fmla="*/ 3345180 h 3680460"/>
                  <a:gd name="connsiteX89" fmla="*/ 137160 w 3025140"/>
                  <a:gd name="connsiteY89" fmla="*/ 3360420 h 3680460"/>
                  <a:gd name="connsiteX90" fmla="*/ 167640 w 3025140"/>
                  <a:gd name="connsiteY90" fmla="*/ 3390900 h 3680460"/>
                  <a:gd name="connsiteX91" fmla="*/ 198120 w 3025140"/>
                  <a:gd name="connsiteY91" fmla="*/ 3406140 h 3680460"/>
                  <a:gd name="connsiteX92" fmla="*/ 350520 w 3025140"/>
                  <a:gd name="connsiteY92" fmla="*/ 3436620 h 3680460"/>
                  <a:gd name="connsiteX93" fmla="*/ 381000 w 3025140"/>
                  <a:gd name="connsiteY93" fmla="*/ 3451860 h 3680460"/>
                  <a:gd name="connsiteX94" fmla="*/ 449580 w 3025140"/>
                  <a:gd name="connsiteY94" fmla="*/ 3489960 h 3680460"/>
                  <a:gd name="connsiteX95" fmla="*/ 495300 w 3025140"/>
                  <a:gd name="connsiteY95" fmla="*/ 3520440 h 3680460"/>
                  <a:gd name="connsiteX96" fmla="*/ 525780 w 3025140"/>
                  <a:gd name="connsiteY96" fmla="*/ 3535680 h 3680460"/>
                  <a:gd name="connsiteX97" fmla="*/ 731520 w 3025140"/>
                  <a:gd name="connsiteY97" fmla="*/ 3558540 h 3680460"/>
                  <a:gd name="connsiteX98" fmla="*/ 1341120 w 3025140"/>
                  <a:gd name="connsiteY98" fmla="*/ 3550920 h 3680460"/>
                  <a:gd name="connsiteX99" fmla="*/ 1440180 w 3025140"/>
                  <a:gd name="connsiteY99" fmla="*/ 3528060 h 3680460"/>
                  <a:gd name="connsiteX100" fmla="*/ 1539240 w 3025140"/>
                  <a:gd name="connsiteY100" fmla="*/ 3520440 h 3680460"/>
                  <a:gd name="connsiteX101" fmla="*/ 1562100 w 3025140"/>
                  <a:gd name="connsiteY101" fmla="*/ 3512820 h 3680460"/>
                  <a:gd name="connsiteX102" fmla="*/ 1630680 w 3025140"/>
                  <a:gd name="connsiteY102" fmla="*/ 3497580 h 3680460"/>
                  <a:gd name="connsiteX103" fmla="*/ 1699260 w 3025140"/>
                  <a:gd name="connsiteY103" fmla="*/ 3474720 h 3680460"/>
                  <a:gd name="connsiteX104" fmla="*/ 1790700 w 3025140"/>
                  <a:gd name="connsiteY104" fmla="*/ 3451860 h 3680460"/>
                  <a:gd name="connsiteX105" fmla="*/ 1821180 w 3025140"/>
                  <a:gd name="connsiteY105" fmla="*/ 3444240 h 3680460"/>
                  <a:gd name="connsiteX106" fmla="*/ 1844040 w 3025140"/>
                  <a:gd name="connsiteY106" fmla="*/ 3429000 h 3680460"/>
                  <a:gd name="connsiteX107" fmla="*/ 1874520 w 3025140"/>
                  <a:gd name="connsiteY107" fmla="*/ 3421380 h 3680460"/>
                  <a:gd name="connsiteX108" fmla="*/ 1927860 w 3025140"/>
                  <a:gd name="connsiteY108" fmla="*/ 3398520 h 3680460"/>
                  <a:gd name="connsiteX109" fmla="*/ 1950720 w 3025140"/>
                  <a:gd name="connsiteY109" fmla="*/ 3390900 h 3680460"/>
                  <a:gd name="connsiteX110" fmla="*/ 2004060 w 3025140"/>
                  <a:gd name="connsiteY110" fmla="*/ 3360420 h 3680460"/>
                  <a:gd name="connsiteX111" fmla="*/ 2042160 w 3025140"/>
                  <a:gd name="connsiteY111" fmla="*/ 3352800 h 3680460"/>
                  <a:gd name="connsiteX112" fmla="*/ 2080260 w 3025140"/>
                  <a:gd name="connsiteY112" fmla="*/ 3337560 h 3680460"/>
                  <a:gd name="connsiteX113" fmla="*/ 2156460 w 3025140"/>
                  <a:gd name="connsiteY113" fmla="*/ 3299460 h 3680460"/>
                  <a:gd name="connsiteX114" fmla="*/ 2179320 w 3025140"/>
                  <a:gd name="connsiteY114" fmla="*/ 3284220 h 3680460"/>
                  <a:gd name="connsiteX115" fmla="*/ 2209800 w 3025140"/>
                  <a:gd name="connsiteY115" fmla="*/ 3276600 h 3680460"/>
                  <a:gd name="connsiteX116" fmla="*/ 2263140 w 3025140"/>
                  <a:gd name="connsiteY116" fmla="*/ 3230880 h 3680460"/>
                  <a:gd name="connsiteX117" fmla="*/ 2346960 w 3025140"/>
                  <a:gd name="connsiteY117" fmla="*/ 3154680 h 3680460"/>
                  <a:gd name="connsiteX118" fmla="*/ 2400300 w 3025140"/>
                  <a:gd name="connsiteY118" fmla="*/ 3070860 h 3680460"/>
                  <a:gd name="connsiteX119" fmla="*/ 2415540 w 3025140"/>
                  <a:gd name="connsiteY119" fmla="*/ 3048000 h 3680460"/>
                  <a:gd name="connsiteX120" fmla="*/ 2446020 w 3025140"/>
                  <a:gd name="connsiteY120" fmla="*/ 3032760 h 3680460"/>
                  <a:gd name="connsiteX121" fmla="*/ 2468880 w 3025140"/>
                  <a:gd name="connsiteY121" fmla="*/ 3009900 h 3680460"/>
                  <a:gd name="connsiteX122" fmla="*/ 2537460 w 3025140"/>
                  <a:gd name="connsiteY122" fmla="*/ 2926080 h 3680460"/>
                  <a:gd name="connsiteX123" fmla="*/ 2575560 w 3025140"/>
                  <a:gd name="connsiteY123" fmla="*/ 2880360 h 3680460"/>
                  <a:gd name="connsiteX124" fmla="*/ 2628900 w 3025140"/>
                  <a:gd name="connsiteY124" fmla="*/ 2811780 h 3680460"/>
                  <a:gd name="connsiteX125" fmla="*/ 2644140 w 3025140"/>
                  <a:gd name="connsiteY125" fmla="*/ 2773680 h 3680460"/>
                  <a:gd name="connsiteX126" fmla="*/ 2674620 w 3025140"/>
                  <a:gd name="connsiteY126" fmla="*/ 2727960 h 3680460"/>
                  <a:gd name="connsiteX127" fmla="*/ 2689860 w 3025140"/>
                  <a:gd name="connsiteY127" fmla="*/ 2705100 h 3680460"/>
                  <a:gd name="connsiteX128" fmla="*/ 2705100 w 3025140"/>
                  <a:gd name="connsiteY128" fmla="*/ 2667000 h 3680460"/>
                  <a:gd name="connsiteX129" fmla="*/ 2727960 w 3025140"/>
                  <a:gd name="connsiteY129" fmla="*/ 2621280 h 3680460"/>
                  <a:gd name="connsiteX130" fmla="*/ 2735580 w 3025140"/>
                  <a:gd name="connsiteY130" fmla="*/ 2590800 h 3680460"/>
                  <a:gd name="connsiteX131" fmla="*/ 2758440 w 3025140"/>
                  <a:gd name="connsiteY131" fmla="*/ 2545080 h 3680460"/>
                  <a:gd name="connsiteX132" fmla="*/ 2788920 w 3025140"/>
                  <a:gd name="connsiteY132" fmla="*/ 2484120 h 3680460"/>
                  <a:gd name="connsiteX133" fmla="*/ 2811780 w 3025140"/>
                  <a:gd name="connsiteY133" fmla="*/ 2407920 h 3680460"/>
                  <a:gd name="connsiteX134" fmla="*/ 2842260 w 3025140"/>
                  <a:gd name="connsiteY134" fmla="*/ 2324100 h 3680460"/>
                  <a:gd name="connsiteX135" fmla="*/ 2857500 w 3025140"/>
                  <a:gd name="connsiteY135" fmla="*/ 2247900 h 3680460"/>
                  <a:gd name="connsiteX136" fmla="*/ 2872740 w 3025140"/>
                  <a:gd name="connsiteY136" fmla="*/ 2194560 h 3680460"/>
                  <a:gd name="connsiteX137" fmla="*/ 2887980 w 3025140"/>
                  <a:gd name="connsiteY137" fmla="*/ 2148840 h 3680460"/>
                  <a:gd name="connsiteX138" fmla="*/ 2910840 w 3025140"/>
                  <a:gd name="connsiteY138" fmla="*/ 2087880 h 3680460"/>
                  <a:gd name="connsiteX139" fmla="*/ 2918460 w 3025140"/>
                  <a:gd name="connsiteY139" fmla="*/ 2049780 h 3680460"/>
                  <a:gd name="connsiteX140" fmla="*/ 2933700 w 3025140"/>
                  <a:gd name="connsiteY140" fmla="*/ 1844040 h 3680460"/>
                  <a:gd name="connsiteX141" fmla="*/ 2918460 w 3025140"/>
                  <a:gd name="connsiteY141" fmla="*/ 1470660 h 3680460"/>
                  <a:gd name="connsiteX142" fmla="*/ 2895600 w 3025140"/>
                  <a:gd name="connsiteY142" fmla="*/ 1371600 h 3680460"/>
                  <a:gd name="connsiteX143" fmla="*/ 2880360 w 3025140"/>
                  <a:gd name="connsiteY143" fmla="*/ 1341120 h 3680460"/>
                  <a:gd name="connsiteX144" fmla="*/ 2857500 w 3025140"/>
                  <a:gd name="connsiteY144" fmla="*/ 1272540 h 3680460"/>
                  <a:gd name="connsiteX145" fmla="*/ 2849880 w 3025140"/>
                  <a:gd name="connsiteY145" fmla="*/ 1234440 h 3680460"/>
                  <a:gd name="connsiteX146" fmla="*/ 2827020 w 3025140"/>
                  <a:gd name="connsiteY146" fmla="*/ 1196340 h 3680460"/>
                  <a:gd name="connsiteX147" fmla="*/ 2811780 w 3025140"/>
                  <a:gd name="connsiteY147" fmla="*/ 1165860 h 3680460"/>
                  <a:gd name="connsiteX148" fmla="*/ 2781300 w 3025140"/>
                  <a:gd name="connsiteY148" fmla="*/ 1127760 h 3680460"/>
                  <a:gd name="connsiteX149" fmla="*/ 2766060 w 3025140"/>
                  <a:gd name="connsiteY149" fmla="*/ 1089660 h 3680460"/>
                  <a:gd name="connsiteX150" fmla="*/ 2735580 w 3025140"/>
                  <a:gd name="connsiteY150" fmla="*/ 1043940 h 3680460"/>
                  <a:gd name="connsiteX151" fmla="*/ 2727960 w 3025140"/>
                  <a:gd name="connsiteY151" fmla="*/ 1021080 h 3680460"/>
                  <a:gd name="connsiteX152" fmla="*/ 2682240 w 3025140"/>
                  <a:gd name="connsiteY152" fmla="*/ 937260 h 3680460"/>
                  <a:gd name="connsiteX153" fmla="*/ 2659380 w 3025140"/>
                  <a:gd name="connsiteY153" fmla="*/ 876300 h 3680460"/>
                  <a:gd name="connsiteX154" fmla="*/ 2644140 w 3025140"/>
                  <a:gd name="connsiteY154" fmla="*/ 845820 h 3680460"/>
                  <a:gd name="connsiteX155" fmla="*/ 2636520 w 3025140"/>
                  <a:gd name="connsiteY155" fmla="*/ 822960 h 3680460"/>
                  <a:gd name="connsiteX156" fmla="*/ 2621280 w 3025140"/>
                  <a:gd name="connsiteY156" fmla="*/ 800100 h 3680460"/>
                  <a:gd name="connsiteX157" fmla="*/ 2598420 w 3025140"/>
                  <a:gd name="connsiteY157" fmla="*/ 739140 h 3680460"/>
                  <a:gd name="connsiteX158" fmla="*/ 2458403 w 3025140"/>
                  <a:gd name="connsiteY158" fmla="*/ 621983 h 3680460"/>
                  <a:gd name="connsiteX159" fmla="*/ 2301240 w 3025140"/>
                  <a:gd name="connsiteY159" fmla="*/ 458152 h 3680460"/>
                  <a:gd name="connsiteX160" fmla="*/ 2237423 w 3025140"/>
                  <a:gd name="connsiteY160" fmla="*/ 406717 h 3680460"/>
                  <a:gd name="connsiteX161" fmla="*/ 2103120 w 3025140"/>
                  <a:gd name="connsiteY161" fmla="*/ 312420 h 3680460"/>
                  <a:gd name="connsiteX162" fmla="*/ 2042160 w 3025140"/>
                  <a:gd name="connsiteY162" fmla="*/ 266700 h 3680460"/>
                  <a:gd name="connsiteX163" fmla="*/ 2004060 w 3025140"/>
                  <a:gd name="connsiteY163" fmla="*/ 251460 h 3680460"/>
                  <a:gd name="connsiteX164" fmla="*/ 1958340 w 3025140"/>
                  <a:gd name="connsiteY164" fmla="*/ 220980 h 3680460"/>
                  <a:gd name="connsiteX165" fmla="*/ 1897380 w 3025140"/>
                  <a:gd name="connsiteY16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03220 w 3025140"/>
                  <a:gd name="connsiteY24" fmla="*/ 967740 h 3680460"/>
                  <a:gd name="connsiteX25" fmla="*/ 2918460 w 3025140"/>
                  <a:gd name="connsiteY25" fmla="*/ 1036320 h 3680460"/>
                  <a:gd name="connsiteX26" fmla="*/ 2933700 w 3025140"/>
                  <a:gd name="connsiteY26" fmla="*/ 1074420 h 3680460"/>
                  <a:gd name="connsiteX27" fmla="*/ 2948940 w 3025140"/>
                  <a:gd name="connsiteY27" fmla="*/ 1120140 h 3680460"/>
                  <a:gd name="connsiteX28" fmla="*/ 2964180 w 3025140"/>
                  <a:gd name="connsiteY28" fmla="*/ 1203960 h 3680460"/>
                  <a:gd name="connsiteX29" fmla="*/ 2979420 w 3025140"/>
                  <a:gd name="connsiteY29" fmla="*/ 1264920 h 3680460"/>
                  <a:gd name="connsiteX30" fmla="*/ 2987040 w 3025140"/>
                  <a:gd name="connsiteY30" fmla="*/ 1318260 h 3680460"/>
                  <a:gd name="connsiteX31" fmla="*/ 2994660 w 3025140"/>
                  <a:gd name="connsiteY31" fmla="*/ 1348740 h 3680460"/>
                  <a:gd name="connsiteX32" fmla="*/ 3009900 w 3025140"/>
                  <a:gd name="connsiteY32" fmla="*/ 1432560 h 3680460"/>
                  <a:gd name="connsiteX33" fmla="*/ 3017520 w 3025140"/>
                  <a:gd name="connsiteY33" fmla="*/ 1684020 h 3680460"/>
                  <a:gd name="connsiteX34" fmla="*/ 3025140 w 3025140"/>
                  <a:gd name="connsiteY34" fmla="*/ 1744980 h 3680460"/>
                  <a:gd name="connsiteX35" fmla="*/ 3017520 w 3025140"/>
                  <a:gd name="connsiteY35" fmla="*/ 2095500 h 3680460"/>
                  <a:gd name="connsiteX36" fmla="*/ 3009900 w 3025140"/>
                  <a:gd name="connsiteY36" fmla="*/ 2125980 h 3680460"/>
                  <a:gd name="connsiteX37" fmla="*/ 2979420 w 3025140"/>
                  <a:gd name="connsiteY37" fmla="*/ 2194560 h 3680460"/>
                  <a:gd name="connsiteX38" fmla="*/ 2956560 w 3025140"/>
                  <a:gd name="connsiteY38" fmla="*/ 2247900 h 3680460"/>
                  <a:gd name="connsiteX39" fmla="*/ 2941320 w 3025140"/>
                  <a:gd name="connsiteY39" fmla="*/ 2324100 h 3680460"/>
                  <a:gd name="connsiteX40" fmla="*/ 2926080 w 3025140"/>
                  <a:gd name="connsiteY40" fmla="*/ 2392680 h 3680460"/>
                  <a:gd name="connsiteX41" fmla="*/ 2918460 w 3025140"/>
                  <a:gd name="connsiteY41" fmla="*/ 2415540 h 3680460"/>
                  <a:gd name="connsiteX42" fmla="*/ 2895600 w 3025140"/>
                  <a:gd name="connsiteY42" fmla="*/ 2484120 h 3680460"/>
                  <a:gd name="connsiteX43" fmla="*/ 2872740 w 3025140"/>
                  <a:gd name="connsiteY43" fmla="*/ 2583180 h 3680460"/>
                  <a:gd name="connsiteX44" fmla="*/ 2857500 w 3025140"/>
                  <a:gd name="connsiteY44" fmla="*/ 2606040 h 3680460"/>
                  <a:gd name="connsiteX45" fmla="*/ 2834640 w 3025140"/>
                  <a:gd name="connsiteY45" fmla="*/ 2689860 h 3680460"/>
                  <a:gd name="connsiteX46" fmla="*/ 2811780 w 3025140"/>
                  <a:gd name="connsiteY46" fmla="*/ 2750820 h 3680460"/>
                  <a:gd name="connsiteX47" fmla="*/ 2788920 w 3025140"/>
                  <a:gd name="connsiteY47" fmla="*/ 2781300 h 3680460"/>
                  <a:gd name="connsiteX48" fmla="*/ 2781300 w 3025140"/>
                  <a:gd name="connsiteY48" fmla="*/ 2804160 h 3680460"/>
                  <a:gd name="connsiteX49" fmla="*/ 2743200 w 3025140"/>
                  <a:gd name="connsiteY49" fmla="*/ 2865120 h 3680460"/>
                  <a:gd name="connsiteX50" fmla="*/ 2712720 w 3025140"/>
                  <a:gd name="connsiteY50" fmla="*/ 2903220 h 3680460"/>
                  <a:gd name="connsiteX51" fmla="*/ 2697480 w 3025140"/>
                  <a:gd name="connsiteY51" fmla="*/ 2933700 h 3680460"/>
                  <a:gd name="connsiteX52" fmla="*/ 2674620 w 3025140"/>
                  <a:gd name="connsiteY52" fmla="*/ 2964180 h 3680460"/>
                  <a:gd name="connsiteX53" fmla="*/ 2644140 w 3025140"/>
                  <a:gd name="connsiteY53" fmla="*/ 3009900 h 3680460"/>
                  <a:gd name="connsiteX54" fmla="*/ 2598420 w 3025140"/>
                  <a:gd name="connsiteY54" fmla="*/ 3055620 h 3680460"/>
                  <a:gd name="connsiteX55" fmla="*/ 2575560 w 3025140"/>
                  <a:gd name="connsiteY55" fmla="*/ 3078480 h 3680460"/>
                  <a:gd name="connsiteX56" fmla="*/ 2476500 w 3025140"/>
                  <a:gd name="connsiteY56" fmla="*/ 3169920 h 3680460"/>
                  <a:gd name="connsiteX57" fmla="*/ 2377440 w 3025140"/>
                  <a:gd name="connsiteY57" fmla="*/ 3223260 h 3680460"/>
                  <a:gd name="connsiteX58" fmla="*/ 2293620 w 3025140"/>
                  <a:gd name="connsiteY58" fmla="*/ 3284220 h 3680460"/>
                  <a:gd name="connsiteX59" fmla="*/ 2240280 w 3025140"/>
                  <a:gd name="connsiteY59" fmla="*/ 3314700 h 3680460"/>
                  <a:gd name="connsiteX60" fmla="*/ 2225040 w 3025140"/>
                  <a:gd name="connsiteY60" fmla="*/ 3337560 h 3680460"/>
                  <a:gd name="connsiteX61" fmla="*/ 2141220 w 3025140"/>
                  <a:gd name="connsiteY61" fmla="*/ 3390900 h 3680460"/>
                  <a:gd name="connsiteX62" fmla="*/ 2110740 w 3025140"/>
                  <a:gd name="connsiteY62" fmla="*/ 3413760 h 3680460"/>
                  <a:gd name="connsiteX63" fmla="*/ 2072640 w 3025140"/>
                  <a:gd name="connsiteY63" fmla="*/ 3451860 h 3680460"/>
                  <a:gd name="connsiteX64" fmla="*/ 2019300 w 3025140"/>
                  <a:gd name="connsiteY64" fmla="*/ 3467100 h 3680460"/>
                  <a:gd name="connsiteX65" fmla="*/ 1874520 w 3025140"/>
                  <a:gd name="connsiteY65" fmla="*/ 3512820 h 3680460"/>
                  <a:gd name="connsiteX66" fmla="*/ 1828800 w 3025140"/>
                  <a:gd name="connsiteY66" fmla="*/ 3520440 h 3680460"/>
                  <a:gd name="connsiteX67" fmla="*/ 1722120 w 3025140"/>
                  <a:gd name="connsiteY67" fmla="*/ 3550920 h 3680460"/>
                  <a:gd name="connsiteX68" fmla="*/ 1600200 w 3025140"/>
                  <a:gd name="connsiteY68" fmla="*/ 3589020 h 3680460"/>
                  <a:gd name="connsiteX69" fmla="*/ 1569720 w 3025140"/>
                  <a:gd name="connsiteY69" fmla="*/ 3596640 h 3680460"/>
                  <a:gd name="connsiteX70" fmla="*/ 1546860 w 3025140"/>
                  <a:gd name="connsiteY70" fmla="*/ 3611880 h 3680460"/>
                  <a:gd name="connsiteX71" fmla="*/ 1463040 w 3025140"/>
                  <a:gd name="connsiteY71" fmla="*/ 3627120 h 3680460"/>
                  <a:gd name="connsiteX72" fmla="*/ 1333500 w 3025140"/>
                  <a:gd name="connsiteY72" fmla="*/ 3657600 h 3680460"/>
                  <a:gd name="connsiteX73" fmla="*/ 1203960 w 3025140"/>
                  <a:gd name="connsiteY73" fmla="*/ 3672840 h 3680460"/>
                  <a:gd name="connsiteX74" fmla="*/ 1165860 w 3025140"/>
                  <a:gd name="connsiteY74" fmla="*/ 3680460 h 3680460"/>
                  <a:gd name="connsiteX75" fmla="*/ 449580 w 3025140"/>
                  <a:gd name="connsiteY75" fmla="*/ 3672840 h 3680460"/>
                  <a:gd name="connsiteX76" fmla="*/ 426720 w 3025140"/>
                  <a:gd name="connsiteY76" fmla="*/ 3665220 h 3680460"/>
                  <a:gd name="connsiteX77" fmla="*/ 388620 w 3025140"/>
                  <a:gd name="connsiteY77" fmla="*/ 3657600 h 3680460"/>
                  <a:gd name="connsiteX78" fmla="*/ 335280 w 3025140"/>
                  <a:gd name="connsiteY78" fmla="*/ 3627120 h 3680460"/>
                  <a:gd name="connsiteX79" fmla="*/ 266700 w 3025140"/>
                  <a:gd name="connsiteY79" fmla="*/ 3604260 h 3680460"/>
                  <a:gd name="connsiteX80" fmla="*/ 243840 w 3025140"/>
                  <a:gd name="connsiteY80" fmla="*/ 3589020 h 3680460"/>
                  <a:gd name="connsiteX81" fmla="*/ 160020 w 3025140"/>
                  <a:gd name="connsiteY81" fmla="*/ 3558540 h 3680460"/>
                  <a:gd name="connsiteX82" fmla="*/ 137160 w 3025140"/>
                  <a:gd name="connsiteY82" fmla="*/ 3535680 h 3680460"/>
                  <a:gd name="connsiteX83" fmla="*/ 99060 w 3025140"/>
                  <a:gd name="connsiteY83" fmla="*/ 3520440 h 3680460"/>
                  <a:gd name="connsiteX84" fmla="*/ 83820 w 3025140"/>
                  <a:gd name="connsiteY84" fmla="*/ 3489960 h 3680460"/>
                  <a:gd name="connsiteX85" fmla="*/ 45720 w 3025140"/>
                  <a:gd name="connsiteY85" fmla="*/ 3436620 h 3680460"/>
                  <a:gd name="connsiteX86" fmla="*/ 0 w 3025140"/>
                  <a:gd name="connsiteY86" fmla="*/ 3352800 h 3680460"/>
                  <a:gd name="connsiteX87" fmla="*/ 30480 w 3025140"/>
                  <a:gd name="connsiteY87" fmla="*/ 3345180 h 3680460"/>
                  <a:gd name="connsiteX88" fmla="*/ 137160 w 3025140"/>
                  <a:gd name="connsiteY88" fmla="*/ 3360420 h 3680460"/>
                  <a:gd name="connsiteX89" fmla="*/ 167640 w 3025140"/>
                  <a:gd name="connsiteY89" fmla="*/ 3390900 h 3680460"/>
                  <a:gd name="connsiteX90" fmla="*/ 198120 w 3025140"/>
                  <a:gd name="connsiteY90" fmla="*/ 3406140 h 3680460"/>
                  <a:gd name="connsiteX91" fmla="*/ 350520 w 3025140"/>
                  <a:gd name="connsiteY91" fmla="*/ 3436620 h 3680460"/>
                  <a:gd name="connsiteX92" fmla="*/ 381000 w 3025140"/>
                  <a:gd name="connsiteY92" fmla="*/ 3451860 h 3680460"/>
                  <a:gd name="connsiteX93" fmla="*/ 449580 w 3025140"/>
                  <a:gd name="connsiteY93" fmla="*/ 3489960 h 3680460"/>
                  <a:gd name="connsiteX94" fmla="*/ 495300 w 3025140"/>
                  <a:gd name="connsiteY94" fmla="*/ 3520440 h 3680460"/>
                  <a:gd name="connsiteX95" fmla="*/ 525780 w 3025140"/>
                  <a:gd name="connsiteY95" fmla="*/ 3535680 h 3680460"/>
                  <a:gd name="connsiteX96" fmla="*/ 731520 w 3025140"/>
                  <a:gd name="connsiteY96" fmla="*/ 3558540 h 3680460"/>
                  <a:gd name="connsiteX97" fmla="*/ 1341120 w 3025140"/>
                  <a:gd name="connsiteY97" fmla="*/ 3550920 h 3680460"/>
                  <a:gd name="connsiteX98" fmla="*/ 1440180 w 3025140"/>
                  <a:gd name="connsiteY98" fmla="*/ 3528060 h 3680460"/>
                  <a:gd name="connsiteX99" fmla="*/ 1539240 w 3025140"/>
                  <a:gd name="connsiteY99" fmla="*/ 3520440 h 3680460"/>
                  <a:gd name="connsiteX100" fmla="*/ 1562100 w 3025140"/>
                  <a:gd name="connsiteY100" fmla="*/ 3512820 h 3680460"/>
                  <a:gd name="connsiteX101" fmla="*/ 1630680 w 3025140"/>
                  <a:gd name="connsiteY101" fmla="*/ 3497580 h 3680460"/>
                  <a:gd name="connsiteX102" fmla="*/ 1699260 w 3025140"/>
                  <a:gd name="connsiteY102" fmla="*/ 3474720 h 3680460"/>
                  <a:gd name="connsiteX103" fmla="*/ 1790700 w 3025140"/>
                  <a:gd name="connsiteY103" fmla="*/ 3451860 h 3680460"/>
                  <a:gd name="connsiteX104" fmla="*/ 1821180 w 3025140"/>
                  <a:gd name="connsiteY104" fmla="*/ 3444240 h 3680460"/>
                  <a:gd name="connsiteX105" fmla="*/ 1844040 w 3025140"/>
                  <a:gd name="connsiteY105" fmla="*/ 3429000 h 3680460"/>
                  <a:gd name="connsiteX106" fmla="*/ 1874520 w 3025140"/>
                  <a:gd name="connsiteY106" fmla="*/ 3421380 h 3680460"/>
                  <a:gd name="connsiteX107" fmla="*/ 1927860 w 3025140"/>
                  <a:gd name="connsiteY107" fmla="*/ 3398520 h 3680460"/>
                  <a:gd name="connsiteX108" fmla="*/ 1950720 w 3025140"/>
                  <a:gd name="connsiteY108" fmla="*/ 3390900 h 3680460"/>
                  <a:gd name="connsiteX109" fmla="*/ 2004060 w 3025140"/>
                  <a:gd name="connsiteY109" fmla="*/ 3360420 h 3680460"/>
                  <a:gd name="connsiteX110" fmla="*/ 2042160 w 3025140"/>
                  <a:gd name="connsiteY110" fmla="*/ 3352800 h 3680460"/>
                  <a:gd name="connsiteX111" fmla="*/ 2080260 w 3025140"/>
                  <a:gd name="connsiteY111" fmla="*/ 3337560 h 3680460"/>
                  <a:gd name="connsiteX112" fmla="*/ 2156460 w 3025140"/>
                  <a:gd name="connsiteY112" fmla="*/ 3299460 h 3680460"/>
                  <a:gd name="connsiteX113" fmla="*/ 2179320 w 3025140"/>
                  <a:gd name="connsiteY113" fmla="*/ 3284220 h 3680460"/>
                  <a:gd name="connsiteX114" fmla="*/ 2209800 w 3025140"/>
                  <a:gd name="connsiteY114" fmla="*/ 3276600 h 3680460"/>
                  <a:gd name="connsiteX115" fmla="*/ 2263140 w 3025140"/>
                  <a:gd name="connsiteY115" fmla="*/ 3230880 h 3680460"/>
                  <a:gd name="connsiteX116" fmla="*/ 2346960 w 3025140"/>
                  <a:gd name="connsiteY116" fmla="*/ 3154680 h 3680460"/>
                  <a:gd name="connsiteX117" fmla="*/ 2400300 w 3025140"/>
                  <a:gd name="connsiteY117" fmla="*/ 3070860 h 3680460"/>
                  <a:gd name="connsiteX118" fmla="*/ 2415540 w 3025140"/>
                  <a:gd name="connsiteY118" fmla="*/ 3048000 h 3680460"/>
                  <a:gd name="connsiteX119" fmla="*/ 2446020 w 3025140"/>
                  <a:gd name="connsiteY119" fmla="*/ 3032760 h 3680460"/>
                  <a:gd name="connsiteX120" fmla="*/ 2468880 w 3025140"/>
                  <a:gd name="connsiteY120" fmla="*/ 3009900 h 3680460"/>
                  <a:gd name="connsiteX121" fmla="*/ 2537460 w 3025140"/>
                  <a:gd name="connsiteY121" fmla="*/ 2926080 h 3680460"/>
                  <a:gd name="connsiteX122" fmla="*/ 2575560 w 3025140"/>
                  <a:gd name="connsiteY122" fmla="*/ 2880360 h 3680460"/>
                  <a:gd name="connsiteX123" fmla="*/ 2628900 w 3025140"/>
                  <a:gd name="connsiteY123" fmla="*/ 2811780 h 3680460"/>
                  <a:gd name="connsiteX124" fmla="*/ 2644140 w 3025140"/>
                  <a:gd name="connsiteY124" fmla="*/ 2773680 h 3680460"/>
                  <a:gd name="connsiteX125" fmla="*/ 2674620 w 3025140"/>
                  <a:gd name="connsiteY125" fmla="*/ 2727960 h 3680460"/>
                  <a:gd name="connsiteX126" fmla="*/ 2689860 w 3025140"/>
                  <a:gd name="connsiteY126" fmla="*/ 2705100 h 3680460"/>
                  <a:gd name="connsiteX127" fmla="*/ 2705100 w 3025140"/>
                  <a:gd name="connsiteY127" fmla="*/ 2667000 h 3680460"/>
                  <a:gd name="connsiteX128" fmla="*/ 2727960 w 3025140"/>
                  <a:gd name="connsiteY128" fmla="*/ 2621280 h 3680460"/>
                  <a:gd name="connsiteX129" fmla="*/ 2735580 w 3025140"/>
                  <a:gd name="connsiteY129" fmla="*/ 2590800 h 3680460"/>
                  <a:gd name="connsiteX130" fmla="*/ 2758440 w 3025140"/>
                  <a:gd name="connsiteY130" fmla="*/ 2545080 h 3680460"/>
                  <a:gd name="connsiteX131" fmla="*/ 2788920 w 3025140"/>
                  <a:gd name="connsiteY131" fmla="*/ 2484120 h 3680460"/>
                  <a:gd name="connsiteX132" fmla="*/ 2811780 w 3025140"/>
                  <a:gd name="connsiteY132" fmla="*/ 2407920 h 3680460"/>
                  <a:gd name="connsiteX133" fmla="*/ 2842260 w 3025140"/>
                  <a:gd name="connsiteY133" fmla="*/ 2324100 h 3680460"/>
                  <a:gd name="connsiteX134" fmla="*/ 2857500 w 3025140"/>
                  <a:gd name="connsiteY134" fmla="*/ 2247900 h 3680460"/>
                  <a:gd name="connsiteX135" fmla="*/ 2872740 w 3025140"/>
                  <a:gd name="connsiteY135" fmla="*/ 2194560 h 3680460"/>
                  <a:gd name="connsiteX136" fmla="*/ 2887980 w 3025140"/>
                  <a:gd name="connsiteY136" fmla="*/ 2148840 h 3680460"/>
                  <a:gd name="connsiteX137" fmla="*/ 2910840 w 3025140"/>
                  <a:gd name="connsiteY137" fmla="*/ 2087880 h 3680460"/>
                  <a:gd name="connsiteX138" fmla="*/ 2918460 w 3025140"/>
                  <a:gd name="connsiteY138" fmla="*/ 2049780 h 3680460"/>
                  <a:gd name="connsiteX139" fmla="*/ 2933700 w 3025140"/>
                  <a:gd name="connsiteY139" fmla="*/ 1844040 h 3680460"/>
                  <a:gd name="connsiteX140" fmla="*/ 2918460 w 3025140"/>
                  <a:gd name="connsiteY140" fmla="*/ 1470660 h 3680460"/>
                  <a:gd name="connsiteX141" fmla="*/ 2895600 w 3025140"/>
                  <a:gd name="connsiteY141" fmla="*/ 1371600 h 3680460"/>
                  <a:gd name="connsiteX142" fmla="*/ 2880360 w 3025140"/>
                  <a:gd name="connsiteY142" fmla="*/ 1341120 h 3680460"/>
                  <a:gd name="connsiteX143" fmla="*/ 2857500 w 3025140"/>
                  <a:gd name="connsiteY143" fmla="*/ 1272540 h 3680460"/>
                  <a:gd name="connsiteX144" fmla="*/ 2849880 w 3025140"/>
                  <a:gd name="connsiteY144" fmla="*/ 1234440 h 3680460"/>
                  <a:gd name="connsiteX145" fmla="*/ 2827020 w 3025140"/>
                  <a:gd name="connsiteY145" fmla="*/ 1196340 h 3680460"/>
                  <a:gd name="connsiteX146" fmla="*/ 2811780 w 3025140"/>
                  <a:gd name="connsiteY146" fmla="*/ 1165860 h 3680460"/>
                  <a:gd name="connsiteX147" fmla="*/ 2781300 w 3025140"/>
                  <a:gd name="connsiteY147" fmla="*/ 1127760 h 3680460"/>
                  <a:gd name="connsiteX148" fmla="*/ 2766060 w 3025140"/>
                  <a:gd name="connsiteY148" fmla="*/ 1089660 h 3680460"/>
                  <a:gd name="connsiteX149" fmla="*/ 2735580 w 3025140"/>
                  <a:gd name="connsiteY149" fmla="*/ 1043940 h 3680460"/>
                  <a:gd name="connsiteX150" fmla="*/ 2727960 w 3025140"/>
                  <a:gd name="connsiteY150" fmla="*/ 1021080 h 3680460"/>
                  <a:gd name="connsiteX151" fmla="*/ 2682240 w 3025140"/>
                  <a:gd name="connsiteY151" fmla="*/ 937260 h 3680460"/>
                  <a:gd name="connsiteX152" fmla="*/ 2659380 w 3025140"/>
                  <a:gd name="connsiteY152" fmla="*/ 876300 h 3680460"/>
                  <a:gd name="connsiteX153" fmla="*/ 2644140 w 3025140"/>
                  <a:gd name="connsiteY153" fmla="*/ 845820 h 3680460"/>
                  <a:gd name="connsiteX154" fmla="*/ 2636520 w 3025140"/>
                  <a:gd name="connsiteY154" fmla="*/ 822960 h 3680460"/>
                  <a:gd name="connsiteX155" fmla="*/ 2621280 w 3025140"/>
                  <a:gd name="connsiteY155" fmla="*/ 800100 h 3680460"/>
                  <a:gd name="connsiteX156" fmla="*/ 2598420 w 3025140"/>
                  <a:gd name="connsiteY156" fmla="*/ 739140 h 3680460"/>
                  <a:gd name="connsiteX157" fmla="*/ 2458403 w 3025140"/>
                  <a:gd name="connsiteY157" fmla="*/ 621983 h 3680460"/>
                  <a:gd name="connsiteX158" fmla="*/ 2301240 w 3025140"/>
                  <a:gd name="connsiteY158" fmla="*/ 458152 h 3680460"/>
                  <a:gd name="connsiteX159" fmla="*/ 2237423 w 3025140"/>
                  <a:gd name="connsiteY159" fmla="*/ 406717 h 3680460"/>
                  <a:gd name="connsiteX160" fmla="*/ 2103120 w 3025140"/>
                  <a:gd name="connsiteY160" fmla="*/ 312420 h 3680460"/>
                  <a:gd name="connsiteX161" fmla="*/ 2042160 w 3025140"/>
                  <a:gd name="connsiteY161" fmla="*/ 266700 h 3680460"/>
                  <a:gd name="connsiteX162" fmla="*/ 2004060 w 3025140"/>
                  <a:gd name="connsiteY162" fmla="*/ 251460 h 3680460"/>
                  <a:gd name="connsiteX163" fmla="*/ 1958340 w 3025140"/>
                  <a:gd name="connsiteY163" fmla="*/ 220980 h 3680460"/>
                  <a:gd name="connsiteX164" fmla="*/ 1897380 w 3025140"/>
                  <a:gd name="connsiteY16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18460 w 3025140"/>
                  <a:gd name="connsiteY24" fmla="*/ 1036320 h 3680460"/>
                  <a:gd name="connsiteX25" fmla="*/ 2933700 w 3025140"/>
                  <a:gd name="connsiteY25" fmla="*/ 1074420 h 3680460"/>
                  <a:gd name="connsiteX26" fmla="*/ 2948940 w 3025140"/>
                  <a:gd name="connsiteY26" fmla="*/ 1120140 h 3680460"/>
                  <a:gd name="connsiteX27" fmla="*/ 2964180 w 3025140"/>
                  <a:gd name="connsiteY27" fmla="*/ 1203960 h 3680460"/>
                  <a:gd name="connsiteX28" fmla="*/ 2979420 w 3025140"/>
                  <a:gd name="connsiteY28" fmla="*/ 1264920 h 3680460"/>
                  <a:gd name="connsiteX29" fmla="*/ 2987040 w 3025140"/>
                  <a:gd name="connsiteY29" fmla="*/ 1318260 h 3680460"/>
                  <a:gd name="connsiteX30" fmla="*/ 2994660 w 3025140"/>
                  <a:gd name="connsiteY30" fmla="*/ 1348740 h 3680460"/>
                  <a:gd name="connsiteX31" fmla="*/ 3009900 w 3025140"/>
                  <a:gd name="connsiteY31" fmla="*/ 1432560 h 3680460"/>
                  <a:gd name="connsiteX32" fmla="*/ 3017520 w 3025140"/>
                  <a:gd name="connsiteY32" fmla="*/ 1684020 h 3680460"/>
                  <a:gd name="connsiteX33" fmla="*/ 3025140 w 3025140"/>
                  <a:gd name="connsiteY33" fmla="*/ 1744980 h 3680460"/>
                  <a:gd name="connsiteX34" fmla="*/ 3017520 w 3025140"/>
                  <a:gd name="connsiteY34" fmla="*/ 2095500 h 3680460"/>
                  <a:gd name="connsiteX35" fmla="*/ 3009900 w 3025140"/>
                  <a:gd name="connsiteY35" fmla="*/ 2125980 h 3680460"/>
                  <a:gd name="connsiteX36" fmla="*/ 2979420 w 3025140"/>
                  <a:gd name="connsiteY36" fmla="*/ 2194560 h 3680460"/>
                  <a:gd name="connsiteX37" fmla="*/ 2956560 w 3025140"/>
                  <a:gd name="connsiteY37" fmla="*/ 2247900 h 3680460"/>
                  <a:gd name="connsiteX38" fmla="*/ 2941320 w 3025140"/>
                  <a:gd name="connsiteY38" fmla="*/ 2324100 h 3680460"/>
                  <a:gd name="connsiteX39" fmla="*/ 2926080 w 3025140"/>
                  <a:gd name="connsiteY39" fmla="*/ 2392680 h 3680460"/>
                  <a:gd name="connsiteX40" fmla="*/ 2918460 w 3025140"/>
                  <a:gd name="connsiteY40" fmla="*/ 2415540 h 3680460"/>
                  <a:gd name="connsiteX41" fmla="*/ 2895600 w 3025140"/>
                  <a:gd name="connsiteY41" fmla="*/ 2484120 h 3680460"/>
                  <a:gd name="connsiteX42" fmla="*/ 2872740 w 3025140"/>
                  <a:gd name="connsiteY42" fmla="*/ 2583180 h 3680460"/>
                  <a:gd name="connsiteX43" fmla="*/ 2857500 w 3025140"/>
                  <a:gd name="connsiteY43" fmla="*/ 2606040 h 3680460"/>
                  <a:gd name="connsiteX44" fmla="*/ 2834640 w 3025140"/>
                  <a:gd name="connsiteY44" fmla="*/ 2689860 h 3680460"/>
                  <a:gd name="connsiteX45" fmla="*/ 2811780 w 3025140"/>
                  <a:gd name="connsiteY45" fmla="*/ 2750820 h 3680460"/>
                  <a:gd name="connsiteX46" fmla="*/ 2788920 w 3025140"/>
                  <a:gd name="connsiteY46" fmla="*/ 2781300 h 3680460"/>
                  <a:gd name="connsiteX47" fmla="*/ 2781300 w 3025140"/>
                  <a:gd name="connsiteY47" fmla="*/ 2804160 h 3680460"/>
                  <a:gd name="connsiteX48" fmla="*/ 2743200 w 3025140"/>
                  <a:gd name="connsiteY48" fmla="*/ 2865120 h 3680460"/>
                  <a:gd name="connsiteX49" fmla="*/ 2712720 w 3025140"/>
                  <a:gd name="connsiteY49" fmla="*/ 2903220 h 3680460"/>
                  <a:gd name="connsiteX50" fmla="*/ 2697480 w 3025140"/>
                  <a:gd name="connsiteY50" fmla="*/ 2933700 h 3680460"/>
                  <a:gd name="connsiteX51" fmla="*/ 2674620 w 3025140"/>
                  <a:gd name="connsiteY51" fmla="*/ 2964180 h 3680460"/>
                  <a:gd name="connsiteX52" fmla="*/ 2644140 w 3025140"/>
                  <a:gd name="connsiteY52" fmla="*/ 3009900 h 3680460"/>
                  <a:gd name="connsiteX53" fmla="*/ 2598420 w 3025140"/>
                  <a:gd name="connsiteY53" fmla="*/ 3055620 h 3680460"/>
                  <a:gd name="connsiteX54" fmla="*/ 2575560 w 3025140"/>
                  <a:gd name="connsiteY54" fmla="*/ 3078480 h 3680460"/>
                  <a:gd name="connsiteX55" fmla="*/ 2476500 w 3025140"/>
                  <a:gd name="connsiteY55" fmla="*/ 3169920 h 3680460"/>
                  <a:gd name="connsiteX56" fmla="*/ 2377440 w 3025140"/>
                  <a:gd name="connsiteY56" fmla="*/ 3223260 h 3680460"/>
                  <a:gd name="connsiteX57" fmla="*/ 2293620 w 3025140"/>
                  <a:gd name="connsiteY57" fmla="*/ 3284220 h 3680460"/>
                  <a:gd name="connsiteX58" fmla="*/ 2240280 w 3025140"/>
                  <a:gd name="connsiteY58" fmla="*/ 3314700 h 3680460"/>
                  <a:gd name="connsiteX59" fmla="*/ 2225040 w 3025140"/>
                  <a:gd name="connsiteY59" fmla="*/ 3337560 h 3680460"/>
                  <a:gd name="connsiteX60" fmla="*/ 2141220 w 3025140"/>
                  <a:gd name="connsiteY60" fmla="*/ 3390900 h 3680460"/>
                  <a:gd name="connsiteX61" fmla="*/ 2110740 w 3025140"/>
                  <a:gd name="connsiteY61" fmla="*/ 3413760 h 3680460"/>
                  <a:gd name="connsiteX62" fmla="*/ 2072640 w 3025140"/>
                  <a:gd name="connsiteY62" fmla="*/ 3451860 h 3680460"/>
                  <a:gd name="connsiteX63" fmla="*/ 2019300 w 3025140"/>
                  <a:gd name="connsiteY63" fmla="*/ 3467100 h 3680460"/>
                  <a:gd name="connsiteX64" fmla="*/ 1874520 w 3025140"/>
                  <a:gd name="connsiteY64" fmla="*/ 3512820 h 3680460"/>
                  <a:gd name="connsiteX65" fmla="*/ 1828800 w 3025140"/>
                  <a:gd name="connsiteY65" fmla="*/ 3520440 h 3680460"/>
                  <a:gd name="connsiteX66" fmla="*/ 1722120 w 3025140"/>
                  <a:gd name="connsiteY66" fmla="*/ 3550920 h 3680460"/>
                  <a:gd name="connsiteX67" fmla="*/ 1600200 w 3025140"/>
                  <a:gd name="connsiteY67" fmla="*/ 3589020 h 3680460"/>
                  <a:gd name="connsiteX68" fmla="*/ 1569720 w 3025140"/>
                  <a:gd name="connsiteY68" fmla="*/ 3596640 h 3680460"/>
                  <a:gd name="connsiteX69" fmla="*/ 1546860 w 3025140"/>
                  <a:gd name="connsiteY69" fmla="*/ 3611880 h 3680460"/>
                  <a:gd name="connsiteX70" fmla="*/ 1463040 w 3025140"/>
                  <a:gd name="connsiteY70" fmla="*/ 3627120 h 3680460"/>
                  <a:gd name="connsiteX71" fmla="*/ 1333500 w 3025140"/>
                  <a:gd name="connsiteY71" fmla="*/ 3657600 h 3680460"/>
                  <a:gd name="connsiteX72" fmla="*/ 1203960 w 3025140"/>
                  <a:gd name="connsiteY72" fmla="*/ 3672840 h 3680460"/>
                  <a:gd name="connsiteX73" fmla="*/ 1165860 w 3025140"/>
                  <a:gd name="connsiteY73" fmla="*/ 3680460 h 3680460"/>
                  <a:gd name="connsiteX74" fmla="*/ 449580 w 3025140"/>
                  <a:gd name="connsiteY74" fmla="*/ 3672840 h 3680460"/>
                  <a:gd name="connsiteX75" fmla="*/ 426720 w 3025140"/>
                  <a:gd name="connsiteY75" fmla="*/ 3665220 h 3680460"/>
                  <a:gd name="connsiteX76" fmla="*/ 388620 w 3025140"/>
                  <a:gd name="connsiteY76" fmla="*/ 3657600 h 3680460"/>
                  <a:gd name="connsiteX77" fmla="*/ 335280 w 3025140"/>
                  <a:gd name="connsiteY77" fmla="*/ 3627120 h 3680460"/>
                  <a:gd name="connsiteX78" fmla="*/ 266700 w 3025140"/>
                  <a:gd name="connsiteY78" fmla="*/ 3604260 h 3680460"/>
                  <a:gd name="connsiteX79" fmla="*/ 243840 w 3025140"/>
                  <a:gd name="connsiteY79" fmla="*/ 3589020 h 3680460"/>
                  <a:gd name="connsiteX80" fmla="*/ 160020 w 3025140"/>
                  <a:gd name="connsiteY80" fmla="*/ 3558540 h 3680460"/>
                  <a:gd name="connsiteX81" fmla="*/ 137160 w 3025140"/>
                  <a:gd name="connsiteY81" fmla="*/ 3535680 h 3680460"/>
                  <a:gd name="connsiteX82" fmla="*/ 99060 w 3025140"/>
                  <a:gd name="connsiteY82" fmla="*/ 3520440 h 3680460"/>
                  <a:gd name="connsiteX83" fmla="*/ 83820 w 3025140"/>
                  <a:gd name="connsiteY83" fmla="*/ 3489960 h 3680460"/>
                  <a:gd name="connsiteX84" fmla="*/ 45720 w 3025140"/>
                  <a:gd name="connsiteY84" fmla="*/ 3436620 h 3680460"/>
                  <a:gd name="connsiteX85" fmla="*/ 0 w 3025140"/>
                  <a:gd name="connsiteY85" fmla="*/ 3352800 h 3680460"/>
                  <a:gd name="connsiteX86" fmla="*/ 30480 w 3025140"/>
                  <a:gd name="connsiteY86" fmla="*/ 3345180 h 3680460"/>
                  <a:gd name="connsiteX87" fmla="*/ 137160 w 3025140"/>
                  <a:gd name="connsiteY87" fmla="*/ 3360420 h 3680460"/>
                  <a:gd name="connsiteX88" fmla="*/ 167640 w 3025140"/>
                  <a:gd name="connsiteY88" fmla="*/ 3390900 h 3680460"/>
                  <a:gd name="connsiteX89" fmla="*/ 198120 w 3025140"/>
                  <a:gd name="connsiteY89" fmla="*/ 3406140 h 3680460"/>
                  <a:gd name="connsiteX90" fmla="*/ 350520 w 3025140"/>
                  <a:gd name="connsiteY90" fmla="*/ 3436620 h 3680460"/>
                  <a:gd name="connsiteX91" fmla="*/ 381000 w 3025140"/>
                  <a:gd name="connsiteY91" fmla="*/ 3451860 h 3680460"/>
                  <a:gd name="connsiteX92" fmla="*/ 449580 w 3025140"/>
                  <a:gd name="connsiteY92" fmla="*/ 3489960 h 3680460"/>
                  <a:gd name="connsiteX93" fmla="*/ 495300 w 3025140"/>
                  <a:gd name="connsiteY93" fmla="*/ 3520440 h 3680460"/>
                  <a:gd name="connsiteX94" fmla="*/ 525780 w 3025140"/>
                  <a:gd name="connsiteY94" fmla="*/ 3535680 h 3680460"/>
                  <a:gd name="connsiteX95" fmla="*/ 731520 w 3025140"/>
                  <a:gd name="connsiteY95" fmla="*/ 3558540 h 3680460"/>
                  <a:gd name="connsiteX96" fmla="*/ 1341120 w 3025140"/>
                  <a:gd name="connsiteY96" fmla="*/ 3550920 h 3680460"/>
                  <a:gd name="connsiteX97" fmla="*/ 1440180 w 3025140"/>
                  <a:gd name="connsiteY97" fmla="*/ 3528060 h 3680460"/>
                  <a:gd name="connsiteX98" fmla="*/ 1539240 w 3025140"/>
                  <a:gd name="connsiteY98" fmla="*/ 3520440 h 3680460"/>
                  <a:gd name="connsiteX99" fmla="*/ 1562100 w 3025140"/>
                  <a:gd name="connsiteY99" fmla="*/ 3512820 h 3680460"/>
                  <a:gd name="connsiteX100" fmla="*/ 1630680 w 3025140"/>
                  <a:gd name="connsiteY100" fmla="*/ 3497580 h 3680460"/>
                  <a:gd name="connsiteX101" fmla="*/ 1699260 w 3025140"/>
                  <a:gd name="connsiteY101" fmla="*/ 3474720 h 3680460"/>
                  <a:gd name="connsiteX102" fmla="*/ 1790700 w 3025140"/>
                  <a:gd name="connsiteY102" fmla="*/ 3451860 h 3680460"/>
                  <a:gd name="connsiteX103" fmla="*/ 1821180 w 3025140"/>
                  <a:gd name="connsiteY103" fmla="*/ 3444240 h 3680460"/>
                  <a:gd name="connsiteX104" fmla="*/ 1844040 w 3025140"/>
                  <a:gd name="connsiteY104" fmla="*/ 3429000 h 3680460"/>
                  <a:gd name="connsiteX105" fmla="*/ 1874520 w 3025140"/>
                  <a:gd name="connsiteY105" fmla="*/ 3421380 h 3680460"/>
                  <a:gd name="connsiteX106" fmla="*/ 1927860 w 3025140"/>
                  <a:gd name="connsiteY106" fmla="*/ 3398520 h 3680460"/>
                  <a:gd name="connsiteX107" fmla="*/ 1950720 w 3025140"/>
                  <a:gd name="connsiteY107" fmla="*/ 3390900 h 3680460"/>
                  <a:gd name="connsiteX108" fmla="*/ 2004060 w 3025140"/>
                  <a:gd name="connsiteY108" fmla="*/ 3360420 h 3680460"/>
                  <a:gd name="connsiteX109" fmla="*/ 2042160 w 3025140"/>
                  <a:gd name="connsiteY109" fmla="*/ 3352800 h 3680460"/>
                  <a:gd name="connsiteX110" fmla="*/ 2080260 w 3025140"/>
                  <a:gd name="connsiteY110" fmla="*/ 3337560 h 3680460"/>
                  <a:gd name="connsiteX111" fmla="*/ 2156460 w 3025140"/>
                  <a:gd name="connsiteY111" fmla="*/ 3299460 h 3680460"/>
                  <a:gd name="connsiteX112" fmla="*/ 2179320 w 3025140"/>
                  <a:gd name="connsiteY112" fmla="*/ 3284220 h 3680460"/>
                  <a:gd name="connsiteX113" fmla="*/ 2209800 w 3025140"/>
                  <a:gd name="connsiteY113" fmla="*/ 3276600 h 3680460"/>
                  <a:gd name="connsiteX114" fmla="*/ 2263140 w 3025140"/>
                  <a:gd name="connsiteY114" fmla="*/ 3230880 h 3680460"/>
                  <a:gd name="connsiteX115" fmla="*/ 2346960 w 3025140"/>
                  <a:gd name="connsiteY115" fmla="*/ 3154680 h 3680460"/>
                  <a:gd name="connsiteX116" fmla="*/ 2400300 w 3025140"/>
                  <a:gd name="connsiteY116" fmla="*/ 3070860 h 3680460"/>
                  <a:gd name="connsiteX117" fmla="*/ 2415540 w 3025140"/>
                  <a:gd name="connsiteY117" fmla="*/ 3048000 h 3680460"/>
                  <a:gd name="connsiteX118" fmla="*/ 2446020 w 3025140"/>
                  <a:gd name="connsiteY118" fmla="*/ 3032760 h 3680460"/>
                  <a:gd name="connsiteX119" fmla="*/ 2468880 w 3025140"/>
                  <a:gd name="connsiteY119" fmla="*/ 3009900 h 3680460"/>
                  <a:gd name="connsiteX120" fmla="*/ 2537460 w 3025140"/>
                  <a:gd name="connsiteY120" fmla="*/ 2926080 h 3680460"/>
                  <a:gd name="connsiteX121" fmla="*/ 2575560 w 3025140"/>
                  <a:gd name="connsiteY121" fmla="*/ 2880360 h 3680460"/>
                  <a:gd name="connsiteX122" fmla="*/ 2628900 w 3025140"/>
                  <a:gd name="connsiteY122" fmla="*/ 2811780 h 3680460"/>
                  <a:gd name="connsiteX123" fmla="*/ 2644140 w 3025140"/>
                  <a:gd name="connsiteY123" fmla="*/ 2773680 h 3680460"/>
                  <a:gd name="connsiteX124" fmla="*/ 2674620 w 3025140"/>
                  <a:gd name="connsiteY124" fmla="*/ 2727960 h 3680460"/>
                  <a:gd name="connsiteX125" fmla="*/ 2689860 w 3025140"/>
                  <a:gd name="connsiteY125" fmla="*/ 2705100 h 3680460"/>
                  <a:gd name="connsiteX126" fmla="*/ 2705100 w 3025140"/>
                  <a:gd name="connsiteY126" fmla="*/ 2667000 h 3680460"/>
                  <a:gd name="connsiteX127" fmla="*/ 2727960 w 3025140"/>
                  <a:gd name="connsiteY127" fmla="*/ 2621280 h 3680460"/>
                  <a:gd name="connsiteX128" fmla="*/ 2735580 w 3025140"/>
                  <a:gd name="connsiteY128" fmla="*/ 2590800 h 3680460"/>
                  <a:gd name="connsiteX129" fmla="*/ 2758440 w 3025140"/>
                  <a:gd name="connsiteY129" fmla="*/ 2545080 h 3680460"/>
                  <a:gd name="connsiteX130" fmla="*/ 2788920 w 3025140"/>
                  <a:gd name="connsiteY130" fmla="*/ 2484120 h 3680460"/>
                  <a:gd name="connsiteX131" fmla="*/ 2811780 w 3025140"/>
                  <a:gd name="connsiteY131" fmla="*/ 2407920 h 3680460"/>
                  <a:gd name="connsiteX132" fmla="*/ 2842260 w 3025140"/>
                  <a:gd name="connsiteY132" fmla="*/ 2324100 h 3680460"/>
                  <a:gd name="connsiteX133" fmla="*/ 2857500 w 3025140"/>
                  <a:gd name="connsiteY133" fmla="*/ 2247900 h 3680460"/>
                  <a:gd name="connsiteX134" fmla="*/ 2872740 w 3025140"/>
                  <a:gd name="connsiteY134" fmla="*/ 2194560 h 3680460"/>
                  <a:gd name="connsiteX135" fmla="*/ 2887980 w 3025140"/>
                  <a:gd name="connsiteY135" fmla="*/ 2148840 h 3680460"/>
                  <a:gd name="connsiteX136" fmla="*/ 2910840 w 3025140"/>
                  <a:gd name="connsiteY136" fmla="*/ 2087880 h 3680460"/>
                  <a:gd name="connsiteX137" fmla="*/ 2918460 w 3025140"/>
                  <a:gd name="connsiteY137" fmla="*/ 2049780 h 3680460"/>
                  <a:gd name="connsiteX138" fmla="*/ 2933700 w 3025140"/>
                  <a:gd name="connsiteY138" fmla="*/ 1844040 h 3680460"/>
                  <a:gd name="connsiteX139" fmla="*/ 2918460 w 3025140"/>
                  <a:gd name="connsiteY139" fmla="*/ 1470660 h 3680460"/>
                  <a:gd name="connsiteX140" fmla="*/ 2895600 w 3025140"/>
                  <a:gd name="connsiteY140" fmla="*/ 1371600 h 3680460"/>
                  <a:gd name="connsiteX141" fmla="*/ 2880360 w 3025140"/>
                  <a:gd name="connsiteY141" fmla="*/ 1341120 h 3680460"/>
                  <a:gd name="connsiteX142" fmla="*/ 2857500 w 3025140"/>
                  <a:gd name="connsiteY142" fmla="*/ 1272540 h 3680460"/>
                  <a:gd name="connsiteX143" fmla="*/ 2849880 w 3025140"/>
                  <a:gd name="connsiteY143" fmla="*/ 1234440 h 3680460"/>
                  <a:gd name="connsiteX144" fmla="*/ 2827020 w 3025140"/>
                  <a:gd name="connsiteY144" fmla="*/ 1196340 h 3680460"/>
                  <a:gd name="connsiteX145" fmla="*/ 2811780 w 3025140"/>
                  <a:gd name="connsiteY145" fmla="*/ 1165860 h 3680460"/>
                  <a:gd name="connsiteX146" fmla="*/ 2781300 w 3025140"/>
                  <a:gd name="connsiteY146" fmla="*/ 1127760 h 3680460"/>
                  <a:gd name="connsiteX147" fmla="*/ 2766060 w 3025140"/>
                  <a:gd name="connsiteY147" fmla="*/ 1089660 h 3680460"/>
                  <a:gd name="connsiteX148" fmla="*/ 2735580 w 3025140"/>
                  <a:gd name="connsiteY148" fmla="*/ 1043940 h 3680460"/>
                  <a:gd name="connsiteX149" fmla="*/ 2727960 w 3025140"/>
                  <a:gd name="connsiteY149" fmla="*/ 1021080 h 3680460"/>
                  <a:gd name="connsiteX150" fmla="*/ 2682240 w 3025140"/>
                  <a:gd name="connsiteY150" fmla="*/ 937260 h 3680460"/>
                  <a:gd name="connsiteX151" fmla="*/ 2659380 w 3025140"/>
                  <a:gd name="connsiteY151" fmla="*/ 876300 h 3680460"/>
                  <a:gd name="connsiteX152" fmla="*/ 2644140 w 3025140"/>
                  <a:gd name="connsiteY152" fmla="*/ 845820 h 3680460"/>
                  <a:gd name="connsiteX153" fmla="*/ 2636520 w 3025140"/>
                  <a:gd name="connsiteY153" fmla="*/ 822960 h 3680460"/>
                  <a:gd name="connsiteX154" fmla="*/ 2621280 w 3025140"/>
                  <a:gd name="connsiteY154" fmla="*/ 800100 h 3680460"/>
                  <a:gd name="connsiteX155" fmla="*/ 2598420 w 3025140"/>
                  <a:gd name="connsiteY155" fmla="*/ 739140 h 3680460"/>
                  <a:gd name="connsiteX156" fmla="*/ 2458403 w 3025140"/>
                  <a:gd name="connsiteY156" fmla="*/ 621983 h 3680460"/>
                  <a:gd name="connsiteX157" fmla="*/ 2301240 w 3025140"/>
                  <a:gd name="connsiteY157" fmla="*/ 458152 h 3680460"/>
                  <a:gd name="connsiteX158" fmla="*/ 2237423 w 3025140"/>
                  <a:gd name="connsiteY158" fmla="*/ 406717 h 3680460"/>
                  <a:gd name="connsiteX159" fmla="*/ 2103120 w 3025140"/>
                  <a:gd name="connsiteY159" fmla="*/ 312420 h 3680460"/>
                  <a:gd name="connsiteX160" fmla="*/ 2042160 w 3025140"/>
                  <a:gd name="connsiteY160" fmla="*/ 266700 h 3680460"/>
                  <a:gd name="connsiteX161" fmla="*/ 2004060 w 3025140"/>
                  <a:gd name="connsiteY161" fmla="*/ 251460 h 3680460"/>
                  <a:gd name="connsiteX162" fmla="*/ 1958340 w 3025140"/>
                  <a:gd name="connsiteY162" fmla="*/ 220980 h 3680460"/>
                  <a:gd name="connsiteX163" fmla="*/ 1897380 w 3025140"/>
                  <a:gd name="connsiteY16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918460 w 3025140"/>
                  <a:gd name="connsiteY23" fmla="*/ 1036320 h 3680460"/>
                  <a:gd name="connsiteX24" fmla="*/ 2933700 w 3025140"/>
                  <a:gd name="connsiteY24" fmla="*/ 1074420 h 3680460"/>
                  <a:gd name="connsiteX25" fmla="*/ 2948940 w 3025140"/>
                  <a:gd name="connsiteY25" fmla="*/ 1120140 h 3680460"/>
                  <a:gd name="connsiteX26" fmla="*/ 2964180 w 3025140"/>
                  <a:gd name="connsiteY26" fmla="*/ 1203960 h 3680460"/>
                  <a:gd name="connsiteX27" fmla="*/ 2979420 w 3025140"/>
                  <a:gd name="connsiteY27" fmla="*/ 1264920 h 3680460"/>
                  <a:gd name="connsiteX28" fmla="*/ 2987040 w 3025140"/>
                  <a:gd name="connsiteY28" fmla="*/ 1318260 h 3680460"/>
                  <a:gd name="connsiteX29" fmla="*/ 2994660 w 3025140"/>
                  <a:gd name="connsiteY29" fmla="*/ 1348740 h 3680460"/>
                  <a:gd name="connsiteX30" fmla="*/ 3009900 w 3025140"/>
                  <a:gd name="connsiteY30" fmla="*/ 1432560 h 3680460"/>
                  <a:gd name="connsiteX31" fmla="*/ 3017520 w 3025140"/>
                  <a:gd name="connsiteY31" fmla="*/ 1684020 h 3680460"/>
                  <a:gd name="connsiteX32" fmla="*/ 3025140 w 3025140"/>
                  <a:gd name="connsiteY32" fmla="*/ 1744980 h 3680460"/>
                  <a:gd name="connsiteX33" fmla="*/ 3017520 w 3025140"/>
                  <a:gd name="connsiteY33" fmla="*/ 2095500 h 3680460"/>
                  <a:gd name="connsiteX34" fmla="*/ 3009900 w 3025140"/>
                  <a:gd name="connsiteY34" fmla="*/ 2125980 h 3680460"/>
                  <a:gd name="connsiteX35" fmla="*/ 2979420 w 3025140"/>
                  <a:gd name="connsiteY35" fmla="*/ 2194560 h 3680460"/>
                  <a:gd name="connsiteX36" fmla="*/ 2956560 w 3025140"/>
                  <a:gd name="connsiteY36" fmla="*/ 2247900 h 3680460"/>
                  <a:gd name="connsiteX37" fmla="*/ 2941320 w 3025140"/>
                  <a:gd name="connsiteY37" fmla="*/ 2324100 h 3680460"/>
                  <a:gd name="connsiteX38" fmla="*/ 2926080 w 3025140"/>
                  <a:gd name="connsiteY38" fmla="*/ 2392680 h 3680460"/>
                  <a:gd name="connsiteX39" fmla="*/ 2918460 w 3025140"/>
                  <a:gd name="connsiteY39" fmla="*/ 2415540 h 3680460"/>
                  <a:gd name="connsiteX40" fmla="*/ 2895600 w 3025140"/>
                  <a:gd name="connsiteY40" fmla="*/ 2484120 h 3680460"/>
                  <a:gd name="connsiteX41" fmla="*/ 2872740 w 3025140"/>
                  <a:gd name="connsiteY41" fmla="*/ 2583180 h 3680460"/>
                  <a:gd name="connsiteX42" fmla="*/ 2857500 w 3025140"/>
                  <a:gd name="connsiteY42" fmla="*/ 2606040 h 3680460"/>
                  <a:gd name="connsiteX43" fmla="*/ 2834640 w 3025140"/>
                  <a:gd name="connsiteY43" fmla="*/ 2689860 h 3680460"/>
                  <a:gd name="connsiteX44" fmla="*/ 2811780 w 3025140"/>
                  <a:gd name="connsiteY44" fmla="*/ 2750820 h 3680460"/>
                  <a:gd name="connsiteX45" fmla="*/ 2788920 w 3025140"/>
                  <a:gd name="connsiteY45" fmla="*/ 2781300 h 3680460"/>
                  <a:gd name="connsiteX46" fmla="*/ 2781300 w 3025140"/>
                  <a:gd name="connsiteY46" fmla="*/ 2804160 h 3680460"/>
                  <a:gd name="connsiteX47" fmla="*/ 2743200 w 3025140"/>
                  <a:gd name="connsiteY47" fmla="*/ 2865120 h 3680460"/>
                  <a:gd name="connsiteX48" fmla="*/ 2712720 w 3025140"/>
                  <a:gd name="connsiteY48" fmla="*/ 2903220 h 3680460"/>
                  <a:gd name="connsiteX49" fmla="*/ 2697480 w 3025140"/>
                  <a:gd name="connsiteY49" fmla="*/ 2933700 h 3680460"/>
                  <a:gd name="connsiteX50" fmla="*/ 2674620 w 3025140"/>
                  <a:gd name="connsiteY50" fmla="*/ 2964180 h 3680460"/>
                  <a:gd name="connsiteX51" fmla="*/ 2644140 w 3025140"/>
                  <a:gd name="connsiteY51" fmla="*/ 3009900 h 3680460"/>
                  <a:gd name="connsiteX52" fmla="*/ 2598420 w 3025140"/>
                  <a:gd name="connsiteY52" fmla="*/ 3055620 h 3680460"/>
                  <a:gd name="connsiteX53" fmla="*/ 2575560 w 3025140"/>
                  <a:gd name="connsiteY53" fmla="*/ 3078480 h 3680460"/>
                  <a:gd name="connsiteX54" fmla="*/ 2476500 w 3025140"/>
                  <a:gd name="connsiteY54" fmla="*/ 3169920 h 3680460"/>
                  <a:gd name="connsiteX55" fmla="*/ 2377440 w 3025140"/>
                  <a:gd name="connsiteY55" fmla="*/ 3223260 h 3680460"/>
                  <a:gd name="connsiteX56" fmla="*/ 2293620 w 3025140"/>
                  <a:gd name="connsiteY56" fmla="*/ 3284220 h 3680460"/>
                  <a:gd name="connsiteX57" fmla="*/ 2240280 w 3025140"/>
                  <a:gd name="connsiteY57" fmla="*/ 3314700 h 3680460"/>
                  <a:gd name="connsiteX58" fmla="*/ 2225040 w 3025140"/>
                  <a:gd name="connsiteY58" fmla="*/ 3337560 h 3680460"/>
                  <a:gd name="connsiteX59" fmla="*/ 2141220 w 3025140"/>
                  <a:gd name="connsiteY59" fmla="*/ 3390900 h 3680460"/>
                  <a:gd name="connsiteX60" fmla="*/ 2110740 w 3025140"/>
                  <a:gd name="connsiteY60" fmla="*/ 3413760 h 3680460"/>
                  <a:gd name="connsiteX61" fmla="*/ 2072640 w 3025140"/>
                  <a:gd name="connsiteY61" fmla="*/ 3451860 h 3680460"/>
                  <a:gd name="connsiteX62" fmla="*/ 2019300 w 3025140"/>
                  <a:gd name="connsiteY62" fmla="*/ 3467100 h 3680460"/>
                  <a:gd name="connsiteX63" fmla="*/ 1874520 w 3025140"/>
                  <a:gd name="connsiteY63" fmla="*/ 3512820 h 3680460"/>
                  <a:gd name="connsiteX64" fmla="*/ 1828800 w 3025140"/>
                  <a:gd name="connsiteY64" fmla="*/ 3520440 h 3680460"/>
                  <a:gd name="connsiteX65" fmla="*/ 1722120 w 3025140"/>
                  <a:gd name="connsiteY65" fmla="*/ 3550920 h 3680460"/>
                  <a:gd name="connsiteX66" fmla="*/ 1600200 w 3025140"/>
                  <a:gd name="connsiteY66" fmla="*/ 3589020 h 3680460"/>
                  <a:gd name="connsiteX67" fmla="*/ 1569720 w 3025140"/>
                  <a:gd name="connsiteY67" fmla="*/ 3596640 h 3680460"/>
                  <a:gd name="connsiteX68" fmla="*/ 1546860 w 3025140"/>
                  <a:gd name="connsiteY68" fmla="*/ 3611880 h 3680460"/>
                  <a:gd name="connsiteX69" fmla="*/ 1463040 w 3025140"/>
                  <a:gd name="connsiteY69" fmla="*/ 3627120 h 3680460"/>
                  <a:gd name="connsiteX70" fmla="*/ 1333500 w 3025140"/>
                  <a:gd name="connsiteY70" fmla="*/ 3657600 h 3680460"/>
                  <a:gd name="connsiteX71" fmla="*/ 1203960 w 3025140"/>
                  <a:gd name="connsiteY71" fmla="*/ 3672840 h 3680460"/>
                  <a:gd name="connsiteX72" fmla="*/ 1165860 w 3025140"/>
                  <a:gd name="connsiteY72" fmla="*/ 3680460 h 3680460"/>
                  <a:gd name="connsiteX73" fmla="*/ 449580 w 3025140"/>
                  <a:gd name="connsiteY73" fmla="*/ 3672840 h 3680460"/>
                  <a:gd name="connsiteX74" fmla="*/ 426720 w 3025140"/>
                  <a:gd name="connsiteY74" fmla="*/ 3665220 h 3680460"/>
                  <a:gd name="connsiteX75" fmla="*/ 388620 w 3025140"/>
                  <a:gd name="connsiteY75" fmla="*/ 3657600 h 3680460"/>
                  <a:gd name="connsiteX76" fmla="*/ 335280 w 3025140"/>
                  <a:gd name="connsiteY76" fmla="*/ 3627120 h 3680460"/>
                  <a:gd name="connsiteX77" fmla="*/ 266700 w 3025140"/>
                  <a:gd name="connsiteY77" fmla="*/ 3604260 h 3680460"/>
                  <a:gd name="connsiteX78" fmla="*/ 243840 w 3025140"/>
                  <a:gd name="connsiteY78" fmla="*/ 3589020 h 3680460"/>
                  <a:gd name="connsiteX79" fmla="*/ 160020 w 3025140"/>
                  <a:gd name="connsiteY79" fmla="*/ 3558540 h 3680460"/>
                  <a:gd name="connsiteX80" fmla="*/ 137160 w 3025140"/>
                  <a:gd name="connsiteY80" fmla="*/ 3535680 h 3680460"/>
                  <a:gd name="connsiteX81" fmla="*/ 99060 w 3025140"/>
                  <a:gd name="connsiteY81" fmla="*/ 3520440 h 3680460"/>
                  <a:gd name="connsiteX82" fmla="*/ 83820 w 3025140"/>
                  <a:gd name="connsiteY82" fmla="*/ 3489960 h 3680460"/>
                  <a:gd name="connsiteX83" fmla="*/ 45720 w 3025140"/>
                  <a:gd name="connsiteY83" fmla="*/ 3436620 h 3680460"/>
                  <a:gd name="connsiteX84" fmla="*/ 0 w 3025140"/>
                  <a:gd name="connsiteY84" fmla="*/ 3352800 h 3680460"/>
                  <a:gd name="connsiteX85" fmla="*/ 30480 w 3025140"/>
                  <a:gd name="connsiteY85" fmla="*/ 3345180 h 3680460"/>
                  <a:gd name="connsiteX86" fmla="*/ 137160 w 3025140"/>
                  <a:gd name="connsiteY86" fmla="*/ 3360420 h 3680460"/>
                  <a:gd name="connsiteX87" fmla="*/ 167640 w 3025140"/>
                  <a:gd name="connsiteY87" fmla="*/ 3390900 h 3680460"/>
                  <a:gd name="connsiteX88" fmla="*/ 198120 w 3025140"/>
                  <a:gd name="connsiteY88" fmla="*/ 3406140 h 3680460"/>
                  <a:gd name="connsiteX89" fmla="*/ 350520 w 3025140"/>
                  <a:gd name="connsiteY89" fmla="*/ 3436620 h 3680460"/>
                  <a:gd name="connsiteX90" fmla="*/ 381000 w 3025140"/>
                  <a:gd name="connsiteY90" fmla="*/ 3451860 h 3680460"/>
                  <a:gd name="connsiteX91" fmla="*/ 449580 w 3025140"/>
                  <a:gd name="connsiteY91" fmla="*/ 3489960 h 3680460"/>
                  <a:gd name="connsiteX92" fmla="*/ 495300 w 3025140"/>
                  <a:gd name="connsiteY92" fmla="*/ 3520440 h 3680460"/>
                  <a:gd name="connsiteX93" fmla="*/ 525780 w 3025140"/>
                  <a:gd name="connsiteY93" fmla="*/ 3535680 h 3680460"/>
                  <a:gd name="connsiteX94" fmla="*/ 731520 w 3025140"/>
                  <a:gd name="connsiteY94" fmla="*/ 3558540 h 3680460"/>
                  <a:gd name="connsiteX95" fmla="*/ 1341120 w 3025140"/>
                  <a:gd name="connsiteY95" fmla="*/ 3550920 h 3680460"/>
                  <a:gd name="connsiteX96" fmla="*/ 1440180 w 3025140"/>
                  <a:gd name="connsiteY96" fmla="*/ 3528060 h 3680460"/>
                  <a:gd name="connsiteX97" fmla="*/ 1539240 w 3025140"/>
                  <a:gd name="connsiteY97" fmla="*/ 3520440 h 3680460"/>
                  <a:gd name="connsiteX98" fmla="*/ 1562100 w 3025140"/>
                  <a:gd name="connsiteY98" fmla="*/ 3512820 h 3680460"/>
                  <a:gd name="connsiteX99" fmla="*/ 1630680 w 3025140"/>
                  <a:gd name="connsiteY99" fmla="*/ 3497580 h 3680460"/>
                  <a:gd name="connsiteX100" fmla="*/ 1699260 w 3025140"/>
                  <a:gd name="connsiteY100" fmla="*/ 3474720 h 3680460"/>
                  <a:gd name="connsiteX101" fmla="*/ 1790700 w 3025140"/>
                  <a:gd name="connsiteY101" fmla="*/ 3451860 h 3680460"/>
                  <a:gd name="connsiteX102" fmla="*/ 1821180 w 3025140"/>
                  <a:gd name="connsiteY102" fmla="*/ 3444240 h 3680460"/>
                  <a:gd name="connsiteX103" fmla="*/ 1844040 w 3025140"/>
                  <a:gd name="connsiteY103" fmla="*/ 3429000 h 3680460"/>
                  <a:gd name="connsiteX104" fmla="*/ 1874520 w 3025140"/>
                  <a:gd name="connsiteY104" fmla="*/ 3421380 h 3680460"/>
                  <a:gd name="connsiteX105" fmla="*/ 1927860 w 3025140"/>
                  <a:gd name="connsiteY105" fmla="*/ 3398520 h 3680460"/>
                  <a:gd name="connsiteX106" fmla="*/ 1950720 w 3025140"/>
                  <a:gd name="connsiteY106" fmla="*/ 3390900 h 3680460"/>
                  <a:gd name="connsiteX107" fmla="*/ 2004060 w 3025140"/>
                  <a:gd name="connsiteY107" fmla="*/ 3360420 h 3680460"/>
                  <a:gd name="connsiteX108" fmla="*/ 2042160 w 3025140"/>
                  <a:gd name="connsiteY108" fmla="*/ 3352800 h 3680460"/>
                  <a:gd name="connsiteX109" fmla="*/ 2080260 w 3025140"/>
                  <a:gd name="connsiteY109" fmla="*/ 3337560 h 3680460"/>
                  <a:gd name="connsiteX110" fmla="*/ 2156460 w 3025140"/>
                  <a:gd name="connsiteY110" fmla="*/ 3299460 h 3680460"/>
                  <a:gd name="connsiteX111" fmla="*/ 2179320 w 3025140"/>
                  <a:gd name="connsiteY111" fmla="*/ 3284220 h 3680460"/>
                  <a:gd name="connsiteX112" fmla="*/ 2209800 w 3025140"/>
                  <a:gd name="connsiteY112" fmla="*/ 3276600 h 3680460"/>
                  <a:gd name="connsiteX113" fmla="*/ 2263140 w 3025140"/>
                  <a:gd name="connsiteY113" fmla="*/ 3230880 h 3680460"/>
                  <a:gd name="connsiteX114" fmla="*/ 2346960 w 3025140"/>
                  <a:gd name="connsiteY114" fmla="*/ 3154680 h 3680460"/>
                  <a:gd name="connsiteX115" fmla="*/ 2400300 w 3025140"/>
                  <a:gd name="connsiteY115" fmla="*/ 3070860 h 3680460"/>
                  <a:gd name="connsiteX116" fmla="*/ 2415540 w 3025140"/>
                  <a:gd name="connsiteY116" fmla="*/ 3048000 h 3680460"/>
                  <a:gd name="connsiteX117" fmla="*/ 2446020 w 3025140"/>
                  <a:gd name="connsiteY117" fmla="*/ 3032760 h 3680460"/>
                  <a:gd name="connsiteX118" fmla="*/ 2468880 w 3025140"/>
                  <a:gd name="connsiteY118" fmla="*/ 3009900 h 3680460"/>
                  <a:gd name="connsiteX119" fmla="*/ 2537460 w 3025140"/>
                  <a:gd name="connsiteY119" fmla="*/ 2926080 h 3680460"/>
                  <a:gd name="connsiteX120" fmla="*/ 2575560 w 3025140"/>
                  <a:gd name="connsiteY120" fmla="*/ 2880360 h 3680460"/>
                  <a:gd name="connsiteX121" fmla="*/ 2628900 w 3025140"/>
                  <a:gd name="connsiteY121" fmla="*/ 2811780 h 3680460"/>
                  <a:gd name="connsiteX122" fmla="*/ 2644140 w 3025140"/>
                  <a:gd name="connsiteY122" fmla="*/ 2773680 h 3680460"/>
                  <a:gd name="connsiteX123" fmla="*/ 2674620 w 3025140"/>
                  <a:gd name="connsiteY123" fmla="*/ 2727960 h 3680460"/>
                  <a:gd name="connsiteX124" fmla="*/ 2689860 w 3025140"/>
                  <a:gd name="connsiteY124" fmla="*/ 2705100 h 3680460"/>
                  <a:gd name="connsiteX125" fmla="*/ 2705100 w 3025140"/>
                  <a:gd name="connsiteY125" fmla="*/ 2667000 h 3680460"/>
                  <a:gd name="connsiteX126" fmla="*/ 2727960 w 3025140"/>
                  <a:gd name="connsiteY126" fmla="*/ 2621280 h 3680460"/>
                  <a:gd name="connsiteX127" fmla="*/ 2735580 w 3025140"/>
                  <a:gd name="connsiteY127" fmla="*/ 2590800 h 3680460"/>
                  <a:gd name="connsiteX128" fmla="*/ 2758440 w 3025140"/>
                  <a:gd name="connsiteY128" fmla="*/ 2545080 h 3680460"/>
                  <a:gd name="connsiteX129" fmla="*/ 2788920 w 3025140"/>
                  <a:gd name="connsiteY129" fmla="*/ 2484120 h 3680460"/>
                  <a:gd name="connsiteX130" fmla="*/ 2811780 w 3025140"/>
                  <a:gd name="connsiteY130" fmla="*/ 2407920 h 3680460"/>
                  <a:gd name="connsiteX131" fmla="*/ 2842260 w 3025140"/>
                  <a:gd name="connsiteY131" fmla="*/ 2324100 h 3680460"/>
                  <a:gd name="connsiteX132" fmla="*/ 2857500 w 3025140"/>
                  <a:gd name="connsiteY132" fmla="*/ 2247900 h 3680460"/>
                  <a:gd name="connsiteX133" fmla="*/ 2872740 w 3025140"/>
                  <a:gd name="connsiteY133" fmla="*/ 2194560 h 3680460"/>
                  <a:gd name="connsiteX134" fmla="*/ 2887980 w 3025140"/>
                  <a:gd name="connsiteY134" fmla="*/ 2148840 h 3680460"/>
                  <a:gd name="connsiteX135" fmla="*/ 2910840 w 3025140"/>
                  <a:gd name="connsiteY135" fmla="*/ 2087880 h 3680460"/>
                  <a:gd name="connsiteX136" fmla="*/ 2918460 w 3025140"/>
                  <a:gd name="connsiteY136" fmla="*/ 2049780 h 3680460"/>
                  <a:gd name="connsiteX137" fmla="*/ 2933700 w 3025140"/>
                  <a:gd name="connsiteY137" fmla="*/ 1844040 h 3680460"/>
                  <a:gd name="connsiteX138" fmla="*/ 2918460 w 3025140"/>
                  <a:gd name="connsiteY138" fmla="*/ 1470660 h 3680460"/>
                  <a:gd name="connsiteX139" fmla="*/ 2895600 w 3025140"/>
                  <a:gd name="connsiteY139" fmla="*/ 1371600 h 3680460"/>
                  <a:gd name="connsiteX140" fmla="*/ 2880360 w 3025140"/>
                  <a:gd name="connsiteY140" fmla="*/ 1341120 h 3680460"/>
                  <a:gd name="connsiteX141" fmla="*/ 2857500 w 3025140"/>
                  <a:gd name="connsiteY141" fmla="*/ 1272540 h 3680460"/>
                  <a:gd name="connsiteX142" fmla="*/ 2849880 w 3025140"/>
                  <a:gd name="connsiteY142" fmla="*/ 1234440 h 3680460"/>
                  <a:gd name="connsiteX143" fmla="*/ 2827020 w 3025140"/>
                  <a:gd name="connsiteY143" fmla="*/ 1196340 h 3680460"/>
                  <a:gd name="connsiteX144" fmla="*/ 2811780 w 3025140"/>
                  <a:gd name="connsiteY144" fmla="*/ 1165860 h 3680460"/>
                  <a:gd name="connsiteX145" fmla="*/ 2781300 w 3025140"/>
                  <a:gd name="connsiteY145" fmla="*/ 1127760 h 3680460"/>
                  <a:gd name="connsiteX146" fmla="*/ 2766060 w 3025140"/>
                  <a:gd name="connsiteY146" fmla="*/ 1089660 h 3680460"/>
                  <a:gd name="connsiteX147" fmla="*/ 2735580 w 3025140"/>
                  <a:gd name="connsiteY147" fmla="*/ 1043940 h 3680460"/>
                  <a:gd name="connsiteX148" fmla="*/ 2727960 w 3025140"/>
                  <a:gd name="connsiteY148" fmla="*/ 1021080 h 3680460"/>
                  <a:gd name="connsiteX149" fmla="*/ 2682240 w 3025140"/>
                  <a:gd name="connsiteY149" fmla="*/ 937260 h 3680460"/>
                  <a:gd name="connsiteX150" fmla="*/ 2659380 w 3025140"/>
                  <a:gd name="connsiteY150" fmla="*/ 876300 h 3680460"/>
                  <a:gd name="connsiteX151" fmla="*/ 2644140 w 3025140"/>
                  <a:gd name="connsiteY151" fmla="*/ 845820 h 3680460"/>
                  <a:gd name="connsiteX152" fmla="*/ 2636520 w 3025140"/>
                  <a:gd name="connsiteY152" fmla="*/ 822960 h 3680460"/>
                  <a:gd name="connsiteX153" fmla="*/ 2621280 w 3025140"/>
                  <a:gd name="connsiteY153" fmla="*/ 800100 h 3680460"/>
                  <a:gd name="connsiteX154" fmla="*/ 2598420 w 3025140"/>
                  <a:gd name="connsiteY154" fmla="*/ 739140 h 3680460"/>
                  <a:gd name="connsiteX155" fmla="*/ 2458403 w 3025140"/>
                  <a:gd name="connsiteY155" fmla="*/ 621983 h 3680460"/>
                  <a:gd name="connsiteX156" fmla="*/ 2301240 w 3025140"/>
                  <a:gd name="connsiteY156" fmla="*/ 458152 h 3680460"/>
                  <a:gd name="connsiteX157" fmla="*/ 2237423 w 3025140"/>
                  <a:gd name="connsiteY157" fmla="*/ 406717 h 3680460"/>
                  <a:gd name="connsiteX158" fmla="*/ 2103120 w 3025140"/>
                  <a:gd name="connsiteY158" fmla="*/ 312420 h 3680460"/>
                  <a:gd name="connsiteX159" fmla="*/ 2042160 w 3025140"/>
                  <a:gd name="connsiteY159" fmla="*/ 266700 h 3680460"/>
                  <a:gd name="connsiteX160" fmla="*/ 2004060 w 3025140"/>
                  <a:gd name="connsiteY160" fmla="*/ 251460 h 3680460"/>
                  <a:gd name="connsiteX161" fmla="*/ 1958340 w 3025140"/>
                  <a:gd name="connsiteY161" fmla="*/ 220980 h 3680460"/>
                  <a:gd name="connsiteX162" fmla="*/ 1897380 w 3025140"/>
                  <a:gd name="connsiteY16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48940 w 3025140"/>
                  <a:gd name="connsiteY24" fmla="*/ 1120140 h 3680460"/>
                  <a:gd name="connsiteX25" fmla="*/ 2964180 w 3025140"/>
                  <a:gd name="connsiteY25" fmla="*/ 1203960 h 3680460"/>
                  <a:gd name="connsiteX26" fmla="*/ 2979420 w 3025140"/>
                  <a:gd name="connsiteY26" fmla="*/ 1264920 h 3680460"/>
                  <a:gd name="connsiteX27" fmla="*/ 2987040 w 3025140"/>
                  <a:gd name="connsiteY27" fmla="*/ 1318260 h 3680460"/>
                  <a:gd name="connsiteX28" fmla="*/ 2994660 w 3025140"/>
                  <a:gd name="connsiteY28" fmla="*/ 1348740 h 3680460"/>
                  <a:gd name="connsiteX29" fmla="*/ 3009900 w 3025140"/>
                  <a:gd name="connsiteY29" fmla="*/ 1432560 h 3680460"/>
                  <a:gd name="connsiteX30" fmla="*/ 3017520 w 3025140"/>
                  <a:gd name="connsiteY30" fmla="*/ 1684020 h 3680460"/>
                  <a:gd name="connsiteX31" fmla="*/ 3025140 w 3025140"/>
                  <a:gd name="connsiteY31" fmla="*/ 1744980 h 3680460"/>
                  <a:gd name="connsiteX32" fmla="*/ 3017520 w 3025140"/>
                  <a:gd name="connsiteY32" fmla="*/ 2095500 h 3680460"/>
                  <a:gd name="connsiteX33" fmla="*/ 3009900 w 3025140"/>
                  <a:gd name="connsiteY33" fmla="*/ 2125980 h 3680460"/>
                  <a:gd name="connsiteX34" fmla="*/ 2979420 w 3025140"/>
                  <a:gd name="connsiteY34" fmla="*/ 2194560 h 3680460"/>
                  <a:gd name="connsiteX35" fmla="*/ 2956560 w 3025140"/>
                  <a:gd name="connsiteY35" fmla="*/ 2247900 h 3680460"/>
                  <a:gd name="connsiteX36" fmla="*/ 2941320 w 3025140"/>
                  <a:gd name="connsiteY36" fmla="*/ 2324100 h 3680460"/>
                  <a:gd name="connsiteX37" fmla="*/ 2926080 w 3025140"/>
                  <a:gd name="connsiteY37" fmla="*/ 2392680 h 3680460"/>
                  <a:gd name="connsiteX38" fmla="*/ 2918460 w 3025140"/>
                  <a:gd name="connsiteY38" fmla="*/ 2415540 h 3680460"/>
                  <a:gd name="connsiteX39" fmla="*/ 2895600 w 3025140"/>
                  <a:gd name="connsiteY39" fmla="*/ 2484120 h 3680460"/>
                  <a:gd name="connsiteX40" fmla="*/ 2872740 w 3025140"/>
                  <a:gd name="connsiteY40" fmla="*/ 2583180 h 3680460"/>
                  <a:gd name="connsiteX41" fmla="*/ 2857500 w 3025140"/>
                  <a:gd name="connsiteY41" fmla="*/ 2606040 h 3680460"/>
                  <a:gd name="connsiteX42" fmla="*/ 2834640 w 3025140"/>
                  <a:gd name="connsiteY42" fmla="*/ 2689860 h 3680460"/>
                  <a:gd name="connsiteX43" fmla="*/ 2811780 w 3025140"/>
                  <a:gd name="connsiteY43" fmla="*/ 2750820 h 3680460"/>
                  <a:gd name="connsiteX44" fmla="*/ 2788920 w 3025140"/>
                  <a:gd name="connsiteY44" fmla="*/ 2781300 h 3680460"/>
                  <a:gd name="connsiteX45" fmla="*/ 2781300 w 3025140"/>
                  <a:gd name="connsiteY45" fmla="*/ 2804160 h 3680460"/>
                  <a:gd name="connsiteX46" fmla="*/ 2743200 w 3025140"/>
                  <a:gd name="connsiteY46" fmla="*/ 2865120 h 3680460"/>
                  <a:gd name="connsiteX47" fmla="*/ 2712720 w 3025140"/>
                  <a:gd name="connsiteY47" fmla="*/ 2903220 h 3680460"/>
                  <a:gd name="connsiteX48" fmla="*/ 2697480 w 3025140"/>
                  <a:gd name="connsiteY48" fmla="*/ 2933700 h 3680460"/>
                  <a:gd name="connsiteX49" fmla="*/ 2674620 w 3025140"/>
                  <a:gd name="connsiteY49" fmla="*/ 2964180 h 3680460"/>
                  <a:gd name="connsiteX50" fmla="*/ 2644140 w 3025140"/>
                  <a:gd name="connsiteY50" fmla="*/ 3009900 h 3680460"/>
                  <a:gd name="connsiteX51" fmla="*/ 2598420 w 3025140"/>
                  <a:gd name="connsiteY51" fmla="*/ 3055620 h 3680460"/>
                  <a:gd name="connsiteX52" fmla="*/ 2575560 w 3025140"/>
                  <a:gd name="connsiteY52" fmla="*/ 3078480 h 3680460"/>
                  <a:gd name="connsiteX53" fmla="*/ 2476500 w 3025140"/>
                  <a:gd name="connsiteY53" fmla="*/ 3169920 h 3680460"/>
                  <a:gd name="connsiteX54" fmla="*/ 2377440 w 3025140"/>
                  <a:gd name="connsiteY54" fmla="*/ 3223260 h 3680460"/>
                  <a:gd name="connsiteX55" fmla="*/ 2293620 w 3025140"/>
                  <a:gd name="connsiteY55" fmla="*/ 3284220 h 3680460"/>
                  <a:gd name="connsiteX56" fmla="*/ 2240280 w 3025140"/>
                  <a:gd name="connsiteY56" fmla="*/ 3314700 h 3680460"/>
                  <a:gd name="connsiteX57" fmla="*/ 2225040 w 3025140"/>
                  <a:gd name="connsiteY57" fmla="*/ 3337560 h 3680460"/>
                  <a:gd name="connsiteX58" fmla="*/ 2141220 w 3025140"/>
                  <a:gd name="connsiteY58" fmla="*/ 3390900 h 3680460"/>
                  <a:gd name="connsiteX59" fmla="*/ 2110740 w 3025140"/>
                  <a:gd name="connsiteY59" fmla="*/ 3413760 h 3680460"/>
                  <a:gd name="connsiteX60" fmla="*/ 2072640 w 3025140"/>
                  <a:gd name="connsiteY60" fmla="*/ 3451860 h 3680460"/>
                  <a:gd name="connsiteX61" fmla="*/ 2019300 w 3025140"/>
                  <a:gd name="connsiteY61" fmla="*/ 3467100 h 3680460"/>
                  <a:gd name="connsiteX62" fmla="*/ 1874520 w 3025140"/>
                  <a:gd name="connsiteY62" fmla="*/ 3512820 h 3680460"/>
                  <a:gd name="connsiteX63" fmla="*/ 1828800 w 3025140"/>
                  <a:gd name="connsiteY63" fmla="*/ 3520440 h 3680460"/>
                  <a:gd name="connsiteX64" fmla="*/ 1722120 w 3025140"/>
                  <a:gd name="connsiteY64" fmla="*/ 3550920 h 3680460"/>
                  <a:gd name="connsiteX65" fmla="*/ 1600200 w 3025140"/>
                  <a:gd name="connsiteY65" fmla="*/ 3589020 h 3680460"/>
                  <a:gd name="connsiteX66" fmla="*/ 1569720 w 3025140"/>
                  <a:gd name="connsiteY66" fmla="*/ 3596640 h 3680460"/>
                  <a:gd name="connsiteX67" fmla="*/ 1546860 w 3025140"/>
                  <a:gd name="connsiteY67" fmla="*/ 3611880 h 3680460"/>
                  <a:gd name="connsiteX68" fmla="*/ 1463040 w 3025140"/>
                  <a:gd name="connsiteY68" fmla="*/ 3627120 h 3680460"/>
                  <a:gd name="connsiteX69" fmla="*/ 1333500 w 3025140"/>
                  <a:gd name="connsiteY69" fmla="*/ 3657600 h 3680460"/>
                  <a:gd name="connsiteX70" fmla="*/ 1203960 w 3025140"/>
                  <a:gd name="connsiteY70" fmla="*/ 3672840 h 3680460"/>
                  <a:gd name="connsiteX71" fmla="*/ 1165860 w 3025140"/>
                  <a:gd name="connsiteY71" fmla="*/ 3680460 h 3680460"/>
                  <a:gd name="connsiteX72" fmla="*/ 449580 w 3025140"/>
                  <a:gd name="connsiteY72" fmla="*/ 3672840 h 3680460"/>
                  <a:gd name="connsiteX73" fmla="*/ 426720 w 3025140"/>
                  <a:gd name="connsiteY73" fmla="*/ 3665220 h 3680460"/>
                  <a:gd name="connsiteX74" fmla="*/ 388620 w 3025140"/>
                  <a:gd name="connsiteY74" fmla="*/ 3657600 h 3680460"/>
                  <a:gd name="connsiteX75" fmla="*/ 335280 w 3025140"/>
                  <a:gd name="connsiteY75" fmla="*/ 3627120 h 3680460"/>
                  <a:gd name="connsiteX76" fmla="*/ 266700 w 3025140"/>
                  <a:gd name="connsiteY76" fmla="*/ 3604260 h 3680460"/>
                  <a:gd name="connsiteX77" fmla="*/ 243840 w 3025140"/>
                  <a:gd name="connsiteY77" fmla="*/ 3589020 h 3680460"/>
                  <a:gd name="connsiteX78" fmla="*/ 160020 w 3025140"/>
                  <a:gd name="connsiteY78" fmla="*/ 3558540 h 3680460"/>
                  <a:gd name="connsiteX79" fmla="*/ 137160 w 3025140"/>
                  <a:gd name="connsiteY79" fmla="*/ 3535680 h 3680460"/>
                  <a:gd name="connsiteX80" fmla="*/ 99060 w 3025140"/>
                  <a:gd name="connsiteY80" fmla="*/ 3520440 h 3680460"/>
                  <a:gd name="connsiteX81" fmla="*/ 83820 w 3025140"/>
                  <a:gd name="connsiteY81" fmla="*/ 3489960 h 3680460"/>
                  <a:gd name="connsiteX82" fmla="*/ 45720 w 3025140"/>
                  <a:gd name="connsiteY82" fmla="*/ 3436620 h 3680460"/>
                  <a:gd name="connsiteX83" fmla="*/ 0 w 3025140"/>
                  <a:gd name="connsiteY83" fmla="*/ 3352800 h 3680460"/>
                  <a:gd name="connsiteX84" fmla="*/ 30480 w 3025140"/>
                  <a:gd name="connsiteY84" fmla="*/ 3345180 h 3680460"/>
                  <a:gd name="connsiteX85" fmla="*/ 137160 w 3025140"/>
                  <a:gd name="connsiteY85" fmla="*/ 3360420 h 3680460"/>
                  <a:gd name="connsiteX86" fmla="*/ 167640 w 3025140"/>
                  <a:gd name="connsiteY86" fmla="*/ 3390900 h 3680460"/>
                  <a:gd name="connsiteX87" fmla="*/ 198120 w 3025140"/>
                  <a:gd name="connsiteY87" fmla="*/ 3406140 h 3680460"/>
                  <a:gd name="connsiteX88" fmla="*/ 350520 w 3025140"/>
                  <a:gd name="connsiteY88" fmla="*/ 3436620 h 3680460"/>
                  <a:gd name="connsiteX89" fmla="*/ 381000 w 3025140"/>
                  <a:gd name="connsiteY89" fmla="*/ 3451860 h 3680460"/>
                  <a:gd name="connsiteX90" fmla="*/ 449580 w 3025140"/>
                  <a:gd name="connsiteY90" fmla="*/ 3489960 h 3680460"/>
                  <a:gd name="connsiteX91" fmla="*/ 495300 w 3025140"/>
                  <a:gd name="connsiteY91" fmla="*/ 3520440 h 3680460"/>
                  <a:gd name="connsiteX92" fmla="*/ 525780 w 3025140"/>
                  <a:gd name="connsiteY92" fmla="*/ 3535680 h 3680460"/>
                  <a:gd name="connsiteX93" fmla="*/ 731520 w 3025140"/>
                  <a:gd name="connsiteY93" fmla="*/ 3558540 h 3680460"/>
                  <a:gd name="connsiteX94" fmla="*/ 1341120 w 3025140"/>
                  <a:gd name="connsiteY94" fmla="*/ 3550920 h 3680460"/>
                  <a:gd name="connsiteX95" fmla="*/ 1440180 w 3025140"/>
                  <a:gd name="connsiteY95" fmla="*/ 3528060 h 3680460"/>
                  <a:gd name="connsiteX96" fmla="*/ 1539240 w 3025140"/>
                  <a:gd name="connsiteY96" fmla="*/ 3520440 h 3680460"/>
                  <a:gd name="connsiteX97" fmla="*/ 1562100 w 3025140"/>
                  <a:gd name="connsiteY97" fmla="*/ 3512820 h 3680460"/>
                  <a:gd name="connsiteX98" fmla="*/ 1630680 w 3025140"/>
                  <a:gd name="connsiteY98" fmla="*/ 3497580 h 3680460"/>
                  <a:gd name="connsiteX99" fmla="*/ 1699260 w 3025140"/>
                  <a:gd name="connsiteY99" fmla="*/ 3474720 h 3680460"/>
                  <a:gd name="connsiteX100" fmla="*/ 1790700 w 3025140"/>
                  <a:gd name="connsiteY100" fmla="*/ 3451860 h 3680460"/>
                  <a:gd name="connsiteX101" fmla="*/ 1821180 w 3025140"/>
                  <a:gd name="connsiteY101" fmla="*/ 3444240 h 3680460"/>
                  <a:gd name="connsiteX102" fmla="*/ 1844040 w 3025140"/>
                  <a:gd name="connsiteY102" fmla="*/ 3429000 h 3680460"/>
                  <a:gd name="connsiteX103" fmla="*/ 1874520 w 3025140"/>
                  <a:gd name="connsiteY103" fmla="*/ 3421380 h 3680460"/>
                  <a:gd name="connsiteX104" fmla="*/ 1927860 w 3025140"/>
                  <a:gd name="connsiteY104" fmla="*/ 3398520 h 3680460"/>
                  <a:gd name="connsiteX105" fmla="*/ 1950720 w 3025140"/>
                  <a:gd name="connsiteY105" fmla="*/ 3390900 h 3680460"/>
                  <a:gd name="connsiteX106" fmla="*/ 2004060 w 3025140"/>
                  <a:gd name="connsiteY106" fmla="*/ 3360420 h 3680460"/>
                  <a:gd name="connsiteX107" fmla="*/ 2042160 w 3025140"/>
                  <a:gd name="connsiteY107" fmla="*/ 3352800 h 3680460"/>
                  <a:gd name="connsiteX108" fmla="*/ 2080260 w 3025140"/>
                  <a:gd name="connsiteY108" fmla="*/ 3337560 h 3680460"/>
                  <a:gd name="connsiteX109" fmla="*/ 2156460 w 3025140"/>
                  <a:gd name="connsiteY109" fmla="*/ 3299460 h 3680460"/>
                  <a:gd name="connsiteX110" fmla="*/ 2179320 w 3025140"/>
                  <a:gd name="connsiteY110" fmla="*/ 3284220 h 3680460"/>
                  <a:gd name="connsiteX111" fmla="*/ 2209800 w 3025140"/>
                  <a:gd name="connsiteY111" fmla="*/ 3276600 h 3680460"/>
                  <a:gd name="connsiteX112" fmla="*/ 2263140 w 3025140"/>
                  <a:gd name="connsiteY112" fmla="*/ 3230880 h 3680460"/>
                  <a:gd name="connsiteX113" fmla="*/ 2346960 w 3025140"/>
                  <a:gd name="connsiteY113" fmla="*/ 3154680 h 3680460"/>
                  <a:gd name="connsiteX114" fmla="*/ 2400300 w 3025140"/>
                  <a:gd name="connsiteY114" fmla="*/ 3070860 h 3680460"/>
                  <a:gd name="connsiteX115" fmla="*/ 2415540 w 3025140"/>
                  <a:gd name="connsiteY115" fmla="*/ 3048000 h 3680460"/>
                  <a:gd name="connsiteX116" fmla="*/ 2446020 w 3025140"/>
                  <a:gd name="connsiteY116" fmla="*/ 3032760 h 3680460"/>
                  <a:gd name="connsiteX117" fmla="*/ 2468880 w 3025140"/>
                  <a:gd name="connsiteY117" fmla="*/ 3009900 h 3680460"/>
                  <a:gd name="connsiteX118" fmla="*/ 2537460 w 3025140"/>
                  <a:gd name="connsiteY118" fmla="*/ 2926080 h 3680460"/>
                  <a:gd name="connsiteX119" fmla="*/ 2575560 w 3025140"/>
                  <a:gd name="connsiteY119" fmla="*/ 2880360 h 3680460"/>
                  <a:gd name="connsiteX120" fmla="*/ 2628900 w 3025140"/>
                  <a:gd name="connsiteY120" fmla="*/ 2811780 h 3680460"/>
                  <a:gd name="connsiteX121" fmla="*/ 2644140 w 3025140"/>
                  <a:gd name="connsiteY121" fmla="*/ 2773680 h 3680460"/>
                  <a:gd name="connsiteX122" fmla="*/ 2674620 w 3025140"/>
                  <a:gd name="connsiteY122" fmla="*/ 2727960 h 3680460"/>
                  <a:gd name="connsiteX123" fmla="*/ 2689860 w 3025140"/>
                  <a:gd name="connsiteY123" fmla="*/ 2705100 h 3680460"/>
                  <a:gd name="connsiteX124" fmla="*/ 2705100 w 3025140"/>
                  <a:gd name="connsiteY124" fmla="*/ 2667000 h 3680460"/>
                  <a:gd name="connsiteX125" fmla="*/ 2727960 w 3025140"/>
                  <a:gd name="connsiteY125" fmla="*/ 2621280 h 3680460"/>
                  <a:gd name="connsiteX126" fmla="*/ 2735580 w 3025140"/>
                  <a:gd name="connsiteY126" fmla="*/ 2590800 h 3680460"/>
                  <a:gd name="connsiteX127" fmla="*/ 2758440 w 3025140"/>
                  <a:gd name="connsiteY127" fmla="*/ 2545080 h 3680460"/>
                  <a:gd name="connsiteX128" fmla="*/ 2788920 w 3025140"/>
                  <a:gd name="connsiteY128" fmla="*/ 2484120 h 3680460"/>
                  <a:gd name="connsiteX129" fmla="*/ 2811780 w 3025140"/>
                  <a:gd name="connsiteY129" fmla="*/ 2407920 h 3680460"/>
                  <a:gd name="connsiteX130" fmla="*/ 2842260 w 3025140"/>
                  <a:gd name="connsiteY130" fmla="*/ 2324100 h 3680460"/>
                  <a:gd name="connsiteX131" fmla="*/ 2857500 w 3025140"/>
                  <a:gd name="connsiteY131" fmla="*/ 2247900 h 3680460"/>
                  <a:gd name="connsiteX132" fmla="*/ 2872740 w 3025140"/>
                  <a:gd name="connsiteY132" fmla="*/ 2194560 h 3680460"/>
                  <a:gd name="connsiteX133" fmla="*/ 2887980 w 3025140"/>
                  <a:gd name="connsiteY133" fmla="*/ 2148840 h 3680460"/>
                  <a:gd name="connsiteX134" fmla="*/ 2910840 w 3025140"/>
                  <a:gd name="connsiteY134" fmla="*/ 2087880 h 3680460"/>
                  <a:gd name="connsiteX135" fmla="*/ 2918460 w 3025140"/>
                  <a:gd name="connsiteY135" fmla="*/ 2049780 h 3680460"/>
                  <a:gd name="connsiteX136" fmla="*/ 2933700 w 3025140"/>
                  <a:gd name="connsiteY136" fmla="*/ 1844040 h 3680460"/>
                  <a:gd name="connsiteX137" fmla="*/ 2918460 w 3025140"/>
                  <a:gd name="connsiteY137" fmla="*/ 1470660 h 3680460"/>
                  <a:gd name="connsiteX138" fmla="*/ 2895600 w 3025140"/>
                  <a:gd name="connsiteY138" fmla="*/ 1371600 h 3680460"/>
                  <a:gd name="connsiteX139" fmla="*/ 2880360 w 3025140"/>
                  <a:gd name="connsiteY139" fmla="*/ 1341120 h 3680460"/>
                  <a:gd name="connsiteX140" fmla="*/ 2857500 w 3025140"/>
                  <a:gd name="connsiteY140" fmla="*/ 1272540 h 3680460"/>
                  <a:gd name="connsiteX141" fmla="*/ 2849880 w 3025140"/>
                  <a:gd name="connsiteY141" fmla="*/ 1234440 h 3680460"/>
                  <a:gd name="connsiteX142" fmla="*/ 2827020 w 3025140"/>
                  <a:gd name="connsiteY142" fmla="*/ 1196340 h 3680460"/>
                  <a:gd name="connsiteX143" fmla="*/ 2811780 w 3025140"/>
                  <a:gd name="connsiteY143" fmla="*/ 1165860 h 3680460"/>
                  <a:gd name="connsiteX144" fmla="*/ 2781300 w 3025140"/>
                  <a:gd name="connsiteY144" fmla="*/ 1127760 h 3680460"/>
                  <a:gd name="connsiteX145" fmla="*/ 2766060 w 3025140"/>
                  <a:gd name="connsiteY145" fmla="*/ 1089660 h 3680460"/>
                  <a:gd name="connsiteX146" fmla="*/ 2735580 w 3025140"/>
                  <a:gd name="connsiteY146" fmla="*/ 1043940 h 3680460"/>
                  <a:gd name="connsiteX147" fmla="*/ 2727960 w 3025140"/>
                  <a:gd name="connsiteY147" fmla="*/ 1021080 h 3680460"/>
                  <a:gd name="connsiteX148" fmla="*/ 2682240 w 3025140"/>
                  <a:gd name="connsiteY148" fmla="*/ 937260 h 3680460"/>
                  <a:gd name="connsiteX149" fmla="*/ 2659380 w 3025140"/>
                  <a:gd name="connsiteY149" fmla="*/ 876300 h 3680460"/>
                  <a:gd name="connsiteX150" fmla="*/ 2644140 w 3025140"/>
                  <a:gd name="connsiteY150" fmla="*/ 845820 h 3680460"/>
                  <a:gd name="connsiteX151" fmla="*/ 2636520 w 3025140"/>
                  <a:gd name="connsiteY151" fmla="*/ 822960 h 3680460"/>
                  <a:gd name="connsiteX152" fmla="*/ 2621280 w 3025140"/>
                  <a:gd name="connsiteY152" fmla="*/ 800100 h 3680460"/>
                  <a:gd name="connsiteX153" fmla="*/ 2598420 w 3025140"/>
                  <a:gd name="connsiteY153" fmla="*/ 739140 h 3680460"/>
                  <a:gd name="connsiteX154" fmla="*/ 2458403 w 3025140"/>
                  <a:gd name="connsiteY154" fmla="*/ 621983 h 3680460"/>
                  <a:gd name="connsiteX155" fmla="*/ 2301240 w 3025140"/>
                  <a:gd name="connsiteY155" fmla="*/ 458152 h 3680460"/>
                  <a:gd name="connsiteX156" fmla="*/ 2237423 w 3025140"/>
                  <a:gd name="connsiteY156" fmla="*/ 406717 h 3680460"/>
                  <a:gd name="connsiteX157" fmla="*/ 2103120 w 3025140"/>
                  <a:gd name="connsiteY157" fmla="*/ 312420 h 3680460"/>
                  <a:gd name="connsiteX158" fmla="*/ 2042160 w 3025140"/>
                  <a:gd name="connsiteY158" fmla="*/ 266700 h 3680460"/>
                  <a:gd name="connsiteX159" fmla="*/ 2004060 w 3025140"/>
                  <a:gd name="connsiteY159" fmla="*/ 251460 h 3680460"/>
                  <a:gd name="connsiteX160" fmla="*/ 1958340 w 3025140"/>
                  <a:gd name="connsiteY160" fmla="*/ 220980 h 3680460"/>
                  <a:gd name="connsiteX161" fmla="*/ 1897380 w 3025140"/>
                  <a:gd name="connsiteY16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87040 w 3025140"/>
                  <a:gd name="connsiteY26" fmla="*/ 1318260 h 3680460"/>
                  <a:gd name="connsiteX27" fmla="*/ 2994660 w 3025140"/>
                  <a:gd name="connsiteY27" fmla="*/ 1348740 h 3680460"/>
                  <a:gd name="connsiteX28" fmla="*/ 3009900 w 3025140"/>
                  <a:gd name="connsiteY28" fmla="*/ 1432560 h 3680460"/>
                  <a:gd name="connsiteX29" fmla="*/ 3017520 w 3025140"/>
                  <a:gd name="connsiteY29" fmla="*/ 1684020 h 3680460"/>
                  <a:gd name="connsiteX30" fmla="*/ 3025140 w 3025140"/>
                  <a:gd name="connsiteY30" fmla="*/ 1744980 h 3680460"/>
                  <a:gd name="connsiteX31" fmla="*/ 3017520 w 3025140"/>
                  <a:gd name="connsiteY31" fmla="*/ 2095500 h 3680460"/>
                  <a:gd name="connsiteX32" fmla="*/ 3009900 w 3025140"/>
                  <a:gd name="connsiteY32" fmla="*/ 2125980 h 3680460"/>
                  <a:gd name="connsiteX33" fmla="*/ 2979420 w 3025140"/>
                  <a:gd name="connsiteY33" fmla="*/ 2194560 h 3680460"/>
                  <a:gd name="connsiteX34" fmla="*/ 2956560 w 3025140"/>
                  <a:gd name="connsiteY34" fmla="*/ 2247900 h 3680460"/>
                  <a:gd name="connsiteX35" fmla="*/ 2941320 w 3025140"/>
                  <a:gd name="connsiteY35" fmla="*/ 2324100 h 3680460"/>
                  <a:gd name="connsiteX36" fmla="*/ 2926080 w 3025140"/>
                  <a:gd name="connsiteY36" fmla="*/ 2392680 h 3680460"/>
                  <a:gd name="connsiteX37" fmla="*/ 2918460 w 3025140"/>
                  <a:gd name="connsiteY37" fmla="*/ 2415540 h 3680460"/>
                  <a:gd name="connsiteX38" fmla="*/ 2895600 w 3025140"/>
                  <a:gd name="connsiteY38" fmla="*/ 2484120 h 3680460"/>
                  <a:gd name="connsiteX39" fmla="*/ 2872740 w 3025140"/>
                  <a:gd name="connsiteY39" fmla="*/ 2583180 h 3680460"/>
                  <a:gd name="connsiteX40" fmla="*/ 2857500 w 3025140"/>
                  <a:gd name="connsiteY40" fmla="*/ 2606040 h 3680460"/>
                  <a:gd name="connsiteX41" fmla="*/ 2834640 w 3025140"/>
                  <a:gd name="connsiteY41" fmla="*/ 2689860 h 3680460"/>
                  <a:gd name="connsiteX42" fmla="*/ 2811780 w 3025140"/>
                  <a:gd name="connsiteY42" fmla="*/ 2750820 h 3680460"/>
                  <a:gd name="connsiteX43" fmla="*/ 2788920 w 3025140"/>
                  <a:gd name="connsiteY43" fmla="*/ 2781300 h 3680460"/>
                  <a:gd name="connsiteX44" fmla="*/ 2781300 w 3025140"/>
                  <a:gd name="connsiteY44" fmla="*/ 2804160 h 3680460"/>
                  <a:gd name="connsiteX45" fmla="*/ 2743200 w 3025140"/>
                  <a:gd name="connsiteY45" fmla="*/ 2865120 h 3680460"/>
                  <a:gd name="connsiteX46" fmla="*/ 2712720 w 3025140"/>
                  <a:gd name="connsiteY46" fmla="*/ 2903220 h 3680460"/>
                  <a:gd name="connsiteX47" fmla="*/ 2697480 w 3025140"/>
                  <a:gd name="connsiteY47" fmla="*/ 2933700 h 3680460"/>
                  <a:gd name="connsiteX48" fmla="*/ 2674620 w 3025140"/>
                  <a:gd name="connsiteY48" fmla="*/ 2964180 h 3680460"/>
                  <a:gd name="connsiteX49" fmla="*/ 2644140 w 3025140"/>
                  <a:gd name="connsiteY49" fmla="*/ 3009900 h 3680460"/>
                  <a:gd name="connsiteX50" fmla="*/ 2598420 w 3025140"/>
                  <a:gd name="connsiteY50" fmla="*/ 3055620 h 3680460"/>
                  <a:gd name="connsiteX51" fmla="*/ 2575560 w 3025140"/>
                  <a:gd name="connsiteY51" fmla="*/ 3078480 h 3680460"/>
                  <a:gd name="connsiteX52" fmla="*/ 2476500 w 3025140"/>
                  <a:gd name="connsiteY52" fmla="*/ 3169920 h 3680460"/>
                  <a:gd name="connsiteX53" fmla="*/ 2377440 w 3025140"/>
                  <a:gd name="connsiteY53" fmla="*/ 3223260 h 3680460"/>
                  <a:gd name="connsiteX54" fmla="*/ 2293620 w 3025140"/>
                  <a:gd name="connsiteY54" fmla="*/ 3284220 h 3680460"/>
                  <a:gd name="connsiteX55" fmla="*/ 2240280 w 3025140"/>
                  <a:gd name="connsiteY55" fmla="*/ 3314700 h 3680460"/>
                  <a:gd name="connsiteX56" fmla="*/ 2225040 w 3025140"/>
                  <a:gd name="connsiteY56" fmla="*/ 3337560 h 3680460"/>
                  <a:gd name="connsiteX57" fmla="*/ 2141220 w 3025140"/>
                  <a:gd name="connsiteY57" fmla="*/ 3390900 h 3680460"/>
                  <a:gd name="connsiteX58" fmla="*/ 2110740 w 3025140"/>
                  <a:gd name="connsiteY58" fmla="*/ 3413760 h 3680460"/>
                  <a:gd name="connsiteX59" fmla="*/ 2072640 w 3025140"/>
                  <a:gd name="connsiteY59" fmla="*/ 3451860 h 3680460"/>
                  <a:gd name="connsiteX60" fmla="*/ 2019300 w 3025140"/>
                  <a:gd name="connsiteY60" fmla="*/ 3467100 h 3680460"/>
                  <a:gd name="connsiteX61" fmla="*/ 1874520 w 3025140"/>
                  <a:gd name="connsiteY61" fmla="*/ 3512820 h 3680460"/>
                  <a:gd name="connsiteX62" fmla="*/ 1828800 w 3025140"/>
                  <a:gd name="connsiteY62" fmla="*/ 3520440 h 3680460"/>
                  <a:gd name="connsiteX63" fmla="*/ 1722120 w 3025140"/>
                  <a:gd name="connsiteY63" fmla="*/ 3550920 h 3680460"/>
                  <a:gd name="connsiteX64" fmla="*/ 1600200 w 3025140"/>
                  <a:gd name="connsiteY64" fmla="*/ 3589020 h 3680460"/>
                  <a:gd name="connsiteX65" fmla="*/ 1569720 w 3025140"/>
                  <a:gd name="connsiteY65" fmla="*/ 3596640 h 3680460"/>
                  <a:gd name="connsiteX66" fmla="*/ 1546860 w 3025140"/>
                  <a:gd name="connsiteY66" fmla="*/ 3611880 h 3680460"/>
                  <a:gd name="connsiteX67" fmla="*/ 1463040 w 3025140"/>
                  <a:gd name="connsiteY67" fmla="*/ 3627120 h 3680460"/>
                  <a:gd name="connsiteX68" fmla="*/ 1333500 w 3025140"/>
                  <a:gd name="connsiteY68" fmla="*/ 3657600 h 3680460"/>
                  <a:gd name="connsiteX69" fmla="*/ 1203960 w 3025140"/>
                  <a:gd name="connsiteY69" fmla="*/ 3672840 h 3680460"/>
                  <a:gd name="connsiteX70" fmla="*/ 1165860 w 3025140"/>
                  <a:gd name="connsiteY70" fmla="*/ 3680460 h 3680460"/>
                  <a:gd name="connsiteX71" fmla="*/ 449580 w 3025140"/>
                  <a:gd name="connsiteY71" fmla="*/ 3672840 h 3680460"/>
                  <a:gd name="connsiteX72" fmla="*/ 426720 w 3025140"/>
                  <a:gd name="connsiteY72" fmla="*/ 3665220 h 3680460"/>
                  <a:gd name="connsiteX73" fmla="*/ 388620 w 3025140"/>
                  <a:gd name="connsiteY73" fmla="*/ 3657600 h 3680460"/>
                  <a:gd name="connsiteX74" fmla="*/ 335280 w 3025140"/>
                  <a:gd name="connsiteY74" fmla="*/ 3627120 h 3680460"/>
                  <a:gd name="connsiteX75" fmla="*/ 266700 w 3025140"/>
                  <a:gd name="connsiteY75" fmla="*/ 3604260 h 3680460"/>
                  <a:gd name="connsiteX76" fmla="*/ 243840 w 3025140"/>
                  <a:gd name="connsiteY76" fmla="*/ 3589020 h 3680460"/>
                  <a:gd name="connsiteX77" fmla="*/ 160020 w 3025140"/>
                  <a:gd name="connsiteY77" fmla="*/ 3558540 h 3680460"/>
                  <a:gd name="connsiteX78" fmla="*/ 137160 w 3025140"/>
                  <a:gd name="connsiteY78" fmla="*/ 3535680 h 3680460"/>
                  <a:gd name="connsiteX79" fmla="*/ 99060 w 3025140"/>
                  <a:gd name="connsiteY79" fmla="*/ 3520440 h 3680460"/>
                  <a:gd name="connsiteX80" fmla="*/ 83820 w 3025140"/>
                  <a:gd name="connsiteY80" fmla="*/ 3489960 h 3680460"/>
                  <a:gd name="connsiteX81" fmla="*/ 45720 w 3025140"/>
                  <a:gd name="connsiteY81" fmla="*/ 3436620 h 3680460"/>
                  <a:gd name="connsiteX82" fmla="*/ 0 w 3025140"/>
                  <a:gd name="connsiteY82" fmla="*/ 3352800 h 3680460"/>
                  <a:gd name="connsiteX83" fmla="*/ 30480 w 3025140"/>
                  <a:gd name="connsiteY83" fmla="*/ 3345180 h 3680460"/>
                  <a:gd name="connsiteX84" fmla="*/ 137160 w 3025140"/>
                  <a:gd name="connsiteY84" fmla="*/ 3360420 h 3680460"/>
                  <a:gd name="connsiteX85" fmla="*/ 167640 w 3025140"/>
                  <a:gd name="connsiteY85" fmla="*/ 3390900 h 3680460"/>
                  <a:gd name="connsiteX86" fmla="*/ 198120 w 3025140"/>
                  <a:gd name="connsiteY86" fmla="*/ 3406140 h 3680460"/>
                  <a:gd name="connsiteX87" fmla="*/ 350520 w 3025140"/>
                  <a:gd name="connsiteY87" fmla="*/ 3436620 h 3680460"/>
                  <a:gd name="connsiteX88" fmla="*/ 381000 w 3025140"/>
                  <a:gd name="connsiteY88" fmla="*/ 3451860 h 3680460"/>
                  <a:gd name="connsiteX89" fmla="*/ 449580 w 3025140"/>
                  <a:gd name="connsiteY89" fmla="*/ 3489960 h 3680460"/>
                  <a:gd name="connsiteX90" fmla="*/ 495300 w 3025140"/>
                  <a:gd name="connsiteY90" fmla="*/ 3520440 h 3680460"/>
                  <a:gd name="connsiteX91" fmla="*/ 525780 w 3025140"/>
                  <a:gd name="connsiteY91" fmla="*/ 3535680 h 3680460"/>
                  <a:gd name="connsiteX92" fmla="*/ 731520 w 3025140"/>
                  <a:gd name="connsiteY92" fmla="*/ 3558540 h 3680460"/>
                  <a:gd name="connsiteX93" fmla="*/ 1341120 w 3025140"/>
                  <a:gd name="connsiteY93" fmla="*/ 3550920 h 3680460"/>
                  <a:gd name="connsiteX94" fmla="*/ 1440180 w 3025140"/>
                  <a:gd name="connsiteY94" fmla="*/ 3528060 h 3680460"/>
                  <a:gd name="connsiteX95" fmla="*/ 1539240 w 3025140"/>
                  <a:gd name="connsiteY95" fmla="*/ 3520440 h 3680460"/>
                  <a:gd name="connsiteX96" fmla="*/ 1562100 w 3025140"/>
                  <a:gd name="connsiteY96" fmla="*/ 3512820 h 3680460"/>
                  <a:gd name="connsiteX97" fmla="*/ 1630680 w 3025140"/>
                  <a:gd name="connsiteY97" fmla="*/ 3497580 h 3680460"/>
                  <a:gd name="connsiteX98" fmla="*/ 1699260 w 3025140"/>
                  <a:gd name="connsiteY98" fmla="*/ 3474720 h 3680460"/>
                  <a:gd name="connsiteX99" fmla="*/ 1790700 w 3025140"/>
                  <a:gd name="connsiteY99" fmla="*/ 3451860 h 3680460"/>
                  <a:gd name="connsiteX100" fmla="*/ 1821180 w 3025140"/>
                  <a:gd name="connsiteY100" fmla="*/ 3444240 h 3680460"/>
                  <a:gd name="connsiteX101" fmla="*/ 1844040 w 3025140"/>
                  <a:gd name="connsiteY101" fmla="*/ 3429000 h 3680460"/>
                  <a:gd name="connsiteX102" fmla="*/ 1874520 w 3025140"/>
                  <a:gd name="connsiteY102" fmla="*/ 3421380 h 3680460"/>
                  <a:gd name="connsiteX103" fmla="*/ 1927860 w 3025140"/>
                  <a:gd name="connsiteY103" fmla="*/ 3398520 h 3680460"/>
                  <a:gd name="connsiteX104" fmla="*/ 1950720 w 3025140"/>
                  <a:gd name="connsiteY104" fmla="*/ 3390900 h 3680460"/>
                  <a:gd name="connsiteX105" fmla="*/ 2004060 w 3025140"/>
                  <a:gd name="connsiteY105" fmla="*/ 3360420 h 3680460"/>
                  <a:gd name="connsiteX106" fmla="*/ 2042160 w 3025140"/>
                  <a:gd name="connsiteY106" fmla="*/ 3352800 h 3680460"/>
                  <a:gd name="connsiteX107" fmla="*/ 2080260 w 3025140"/>
                  <a:gd name="connsiteY107" fmla="*/ 3337560 h 3680460"/>
                  <a:gd name="connsiteX108" fmla="*/ 2156460 w 3025140"/>
                  <a:gd name="connsiteY108" fmla="*/ 3299460 h 3680460"/>
                  <a:gd name="connsiteX109" fmla="*/ 2179320 w 3025140"/>
                  <a:gd name="connsiteY109" fmla="*/ 3284220 h 3680460"/>
                  <a:gd name="connsiteX110" fmla="*/ 2209800 w 3025140"/>
                  <a:gd name="connsiteY110" fmla="*/ 3276600 h 3680460"/>
                  <a:gd name="connsiteX111" fmla="*/ 2263140 w 3025140"/>
                  <a:gd name="connsiteY111" fmla="*/ 3230880 h 3680460"/>
                  <a:gd name="connsiteX112" fmla="*/ 2346960 w 3025140"/>
                  <a:gd name="connsiteY112" fmla="*/ 3154680 h 3680460"/>
                  <a:gd name="connsiteX113" fmla="*/ 2400300 w 3025140"/>
                  <a:gd name="connsiteY113" fmla="*/ 3070860 h 3680460"/>
                  <a:gd name="connsiteX114" fmla="*/ 2415540 w 3025140"/>
                  <a:gd name="connsiteY114" fmla="*/ 3048000 h 3680460"/>
                  <a:gd name="connsiteX115" fmla="*/ 2446020 w 3025140"/>
                  <a:gd name="connsiteY115" fmla="*/ 3032760 h 3680460"/>
                  <a:gd name="connsiteX116" fmla="*/ 2468880 w 3025140"/>
                  <a:gd name="connsiteY116" fmla="*/ 3009900 h 3680460"/>
                  <a:gd name="connsiteX117" fmla="*/ 2537460 w 3025140"/>
                  <a:gd name="connsiteY117" fmla="*/ 2926080 h 3680460"/>
                  <a:gd name="connsiteX118" fmla="*/ 2575560 w 3025140"/>
                  <a:gd name="connsiteY118" fmla="*/ 2880360 h 3680460"/>
                  <a:gd name="connsiteX119" fmla="*/ 2628900 w 3025140"/>
                  <a:gd name="connsiteY119" fmla="*/ 2811780 h 3680460"/>
                  <a:gd name="connsiteX120" fmla="*/ 2644140 w 3025140"/>
                  <a:gd name="connsiteY120" fmla="*/ 2773680 h 3680460"/>
                  <a:gd name="connsiteX121" fmla="*/ 2674620 w 3025140"/>
                  <a:gd name="connsiteY121" fmla="*/ 2727960 h 3680460"/>
                  <a:gd name="connsiteX122" fmla="*/ 2689860 w 3025140"/>
                  <a:gd name="connsiteY122" fmla="*/ 2705100 h 3680460"/>
                  <a:gd name="connsiteX123" fmla="*/ 2705100 w 3025140"/>
                  <a:gd name="connsiteY123" fmla="*/ 2667000 h 3680460"/>
                  <a:gd name="connsiteX124" fmla="*/ 2727960 w 3025140"/>
                  <a:gd name="connsiteY124" fmla="*/ 2621280 h 3680460"/>
                  <a:gd name="connsiteX125" fmla="*/ 2735580 w 3025140"/>
                  <a:gd name="connsiteY125" fmla="*/ 2590800 h 3680460"/>
                  <a:gd name="connsiteX126" fmla="*/ 2758440 w 3025140"/>
                  <a:gd name="connsiteY126" fmla="*/ 2545080 h 3680460"/>
                  <a:gd name="connsiteX127" fmla="*/ 2788920 w 3025140"/>
                  <a:gd name="connsiteY127" fmla="*/ 2484120 h 3680460"/>
                  <a:gd name="connsiteX128" fmla="*/ 2811780 w 3025140"/>
                  <a:gd name="connsiteY128" fmla="*/ 2407920 h 3680460"/>
                  <a:gd name="connsiteX129" fmla="*/ 2842260 w 3025140"/>
                  <a:gd name="connsiteY129" fmla="*/ 2324100 h 3680460"/>
                  <a:gd name="connsiteX130" fmla="*/ 2857500 w 3025140"/>
                  <a:gd name="connsiteY130" fmla="*/ 2247900 h 3680460"/>
                  <a:gd name="connsiteX131" fmla="*/ 2872740 w 3025140"/>
                  <a:gd name="connsiteY131" fmla="*/ 2194560 h 3680460"/>
                  <a:gd name="connsiteX132" fmla="*/ 2887980 w 3025140"/>
                  <a:gd name="connsiteY132" fmla="*/ 2148840 h 3680460"/>
                  <a:gd name="connsiteX133" fmla="*/ 2910840 w 3025140"/>
                  <a:gd name="connsiteY133" fmla="*/ 2087880 h 3680460"/>
                  <a:gd name="connsiteX134" fmla="*/ 2918460 w 3025140"/>
                  <a:gd name="connsiteY134" fmla="*/ 2049780 h 3680460"/>
                  <a:gd name="connsiteX135" fmla="*/ 2933700 w 3025140"/>
                  <a:gd name="connsiteY135" fmla="*/ 1844040 h 3680460"/>
                  <a:gd name="connsiteX136" fmla="*/ 2918460 w 3025140"/>
                  <a:gd name="connsiteY136" fmla="*/ 1470660 h 3680460"/>
                  <a:gd name="connsiteX137" fmla="*/ 2895600 w 3025140"/>
                  <a:gd name="connsiteY137" fmla="*/ 1371600 h 3680460"/>
                  <a:gd name="connsiteX138" fmla="*/ 2880360 w 3025140"/>
                  <a:gd name="connsiteY138" fmla="*/ 1341120 h 3680460"/>
                  <a:gd name="connsiteX139" fmla="*/ 2857500 w 3025140"/>
                  <a:gd name="connsiteY139" fmla="*/ 1272540 h 3680460"/>
                  <a:gd name="connsiteX140" fmla="*/ 2849880 w 3025140"/>
                  <a:gd name="connsiteY140" fmla="*/ 1234440 h 3680460"/>
                  <a:gd name="connsiteX141" fmla="*/ 2827020 w 3025140"/>
                  <a:gd name="connsiteY141" fmla="*/ 1196340 h 3680460"/>
                  <a:gd name="connsiteX142" fmla="*/ 2811780 w 3025140"/>
                  <a:gd name="connsiteY142" fmla="*/ 1165860 h 3680460"/>
                  <a:gd name="connsiteX143" fmla="*/ 2781300 w 3025140"/>
                  <a:gd name="connsiteY143" fmla="*/ 1127760 h 3680460"/>
                  <a:gd name="connsiteX144" fmla="*/ 2766060 w 3025140"/>
                  <a:gd name="connsiteY144" fmla="*/ 1089660 h 3680460"/>
                  <a:gd name="connsiteX145" fmla="*/ 2735580 w 3025140"/>
                  <a:gd name="connsiteY145" fmla="*/ 1043940 h 3680460"/>
                  <a:gd name="connsiteX146" fmla="*/ 2727960 w 3025140"/>
                  <a:gd name="connsiteY146" fmla="*/ 1021080 h 3680460"/>
                  <a:gd name="connsiteX147" fmla="*/ 2682240 w 3025140"/>
                  <a:gd name="connsiteY147" fmla="*/ 937260 h 3680460"/>
                  <a:gd name="connsiteX148" fmla="*/ 2659380 w 3025140"/>
                  <a:gd name="connsiteY148" fmla="*/ 876300 h 3680460"/>
                  <a:gd name="connsiteX149" fmla="*/ 2644140 w 3025140"/>
                  <a:gd name="connsiteY149" fmla="*/ 845820 h 3680460"/>
                  <a:gd name="connsiteX150" fmla="*/ 2636520 w 3025140"/>
                  <a:gd name="connsiteY150" fmla="*/ 822960 h 3680460"/>
                  <a:gd name="connsiteX151" fmla="*/ 2621280 w 3025140"/>
                  <a:gd name="connsiteY151" fmla="*/ 800100 h 3680460"/>
                  <a:gd name="connsiteX152" fmla="*/ 2598420 w 3025140"/>
                  <a:gd name="connsiteY152" fmla="*/ 739140 h 3680460"/>
                  <a:gd name="connsiteX153" fmla="*/ 2458403 w 3025140"/>
                  <a:gd name="connsiteY153" fmla="*/ 621983 h 3680460"/>
                  <a:gd name="connsiteX154" fmla="*/ 2301240 w 3025140"/>
                  <a:gd name="connsiteY154" fmla="*/ 458152 h 3680460"/>
                  <a:gd name="connsiteX155" fmla="*/ 2237423 w 3025140"/>
                  <a:gd name="connsiteY155" fmla="*/ 406717 h 3680460"/>
                  <a:gd name="connsiteX156" fmla="*/ 2103120 w 3025140"/>
                  <a:gd name="connsiteY156" fmla="*/ 312420 h 3680460"/>
                  <a:gd name="connsiteX157" fmla="*/ 2042160 w 3025140"/>
                  <a:gd name="connsiteY157" fmla="*/ 266700 h 3680460"/>
                  <a:gd name="connsiteX158" fmla="*/ 2004060 w 3025140"/>
                  <a:gd name="connsiteY158" fmla="*/ 251460 h 3680460"/>
                  <a:gd name="connsiteX159" fmla="*/ 1958340 w 3025140"/>
                  <a:gd name="connsiteY159" fmla="*/ 220980 h 3680460"/>
                  <a:gd name="connsiteX160" fmla="*/ 1897380 w 3025140"/>
                  <a:gd name="connsiteY16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94660 w 3025140"/>
                  <a:gd name="connsiteY26" fmla="*/ 1348740 h 3680460"/>
                  <a:gd name="connsiteX27" fmla="*/ 3009900 w 3025140"/>
                  <a:gd name="connsiteY27" fmla="*/ 1432560 h 3680460"/>
                  <a:gd name="connsiteX28" fmla="*/ 3017520 w 3025140"/>
                  <a:gd name="connsiteY28" fmla="*/ 1684020 h 3680460"/>
                  <a:gd name="connsiteX29" fmla="*/ 3025140 w 3025140"/>
                  <a:gd name="connsiteY29" fmla="*/ 1744980 h 3680460"/>
                  <a:gd name="connsiteX30" fmla="*/ 3017520 w 3025140"/>
                  <a:gd name="connsiteY30" fmla="*/ 2095500 h 3680460"/>
                  <a:gd name="connsiteX31" fmla="*/ 3009900 w 3025140"/>
                  <a:gd name="connsiteY31" fmla="*/ 2125980 h 3680460"/>
                  <a:gd name="connsiteX32" fmla="*/ 2979420 w 3025140"/>
                  <a:gd name="connsiteY32" fmla="*/ 2194560 h 3680460"/>
                  <a:gd name="connsiteX33" fmla="*/ 2956560 w 3025140"/>
                  <a:gd name="connsiteY33" fmla="*/ 2247900 h 3680460"/>
                  <a:gd name="connsiteX34" fmla="*/ 2941320 w 3025140"/>
                  <a:gd name="connsiteY34" fmla="*/ 2324100 h 3680460"/>
                  <a:gd name="connsiteX35" fmla="*/ 2926080 w 3025140"/>
                  <a:gd name="connsiteY35" fmla="*/ 2392680 h 3680460"/>
                  <a:gd name="connsiteX36" fmla="*/ 2918460 w 3025140"/>
                  <a:gd name="connsiteY36" fmla="*/ 2415540 h 3680460"/>
                  <a:gd name="connsiteX37" fmla="*/ 2895600 w 3025140"/>
                  <a:gd name="connsiteY37" fmla="*/ 2484120 h 3680460"/>
                  <a:gd name="connsiteX38" fmla="*/ 2872740 w 3025140"/>
                  <a:gd name="connsiteY38" fmla="*/ 2583180 h 3680460"/>
                  <a:gd name="connsiteX39" fmla="*/ 2857500 w 3025140"/>
                  <a:gd name="connsiteY39" fmla="*/ 2606040 h 3680460"/>
                  <a:gd name="connsiteX40" fmla="*/ 2834640 w 3025140"/>
                  <a:gd name="connsiteY40" fmla="*/ 2689860 h 3680460"/>
                  <a:gd name="connsiteX41" fmla="*/ 2811780 w 3025140"/>
                  <a:gd name="connsiteY41" fmla="*/ 2750820 h 3680460"/>
                  <a:gd name="connsiteX42" fmla="*/ 2788920 w 3025140"/>
                  <a:gd name="connsiteY42" fmla="*/ 2781300 h 3680460"/>
                  <a:gd name="connsiteX43" fmla="*/ 2781300 w 3025140"/>
                  <a:gd name="connsiteY43" fmla="*/ 2804160 h 3680460"/>
                  <a:gd name="connsiteX44" fmla="*/ 2743200 w 3025140"/>
                  <a:gd name="connsiteY44" fmla="*/ 2865120 h 3680460"/>
                  <a:gd name="connsiteX45" fmla="*/ 2712720 w 3025140"/>
                  <a:gd name="connsiteY45" fmla="*/ 2903220 h 3680460"/>
                  <a:gd name="connsiteX46" fmla="*/ 2697480 w 3025140"/>
                  <a:gd name="connsiteY46" fmla="*/ 2933700 h 3680460"/>
                  <a:gd name="connsiteX47" fmla="*/ 2674620 w 3025140"/>
                  <a:gd name="connsiteY47" fmla="*/ 2964180 h 3680460"/>
                  <a:gd name="connsiteX48" fmla="*/ 2644140 w 3025140"/>
                  <a:gd name="connsiteY48" fmla="*/ 3009900 h 3680460"/>
                  <a:gd name="connsiteX49" fmla="*/ 2598420 w 3025140"/>
                  <a:gd name="connsiteY49" fmla="*/ 3055620 h 3680460"/>
                  <a:gd name="connsiteX50" fmla="*/ 2575560 w 3025140"/>
                  <a:gd name="connsiteY50" fmla="*/ 3078480 h 3680460"/>
                  <a:gd name="connsiteX51" fmla="*/ 2476500 w 3025140"/>
                  <a:gd name="connsiteY51" fmla="*/ 3169920 h 3680460"/>
                  <a:gd name="connsiteX52" fmla="*/ 2377440 w 3025140"/>
                  <a:gd name="connsiteY52" fmla="*/ 3223260 h 3680460"/>
                  <a:gd name="connsiteX53" fmla="*/ 2293620 w 3025140"/>
                  <a:gd name="connsiteY53" fmla="*/ 3284220 h 3680460"/>
                  <a:gd name="connsiteX54" fmla="*/ 2240280 w 3025140"/>
                  <a:gd name="connsiteY54" fmla="*/ 3314700 h 3680460"/>
                  <a:gd name="connsiteX55" fmla="*/ 2225040 w 3025140"/>
                  <a:gd name="connsiteY55" fmla="*/ 3337560 h 3680460"/>
                  <a:gd name="connsiteX56" fmla="*/ 2141220 w 3025140"/>
                  <a:gd name="connsiteY56" fmla="*/ 3390900 h 3680460"/>
                  <a:gd name="connsiteX57" fmla="*/ 2110740 w 3025140"/>
                  <a:gd name="connsiteY57" fmla="*/ 3413760 h 3680460"/>
                  <a:gd name="connsiteX58" fmla="*/ 2072640 w 3025140"/>
                  <a:gd name="connsiteY58" fmla="*/ 3451860 h 3680460"/>
                  <a:gd name="connsiteX59" fmla="*/ 2019300 w 3025140"/>
                  <a:gd name="connsiteY59" fmla="*/ 3467100 h 3680460"/>
                  <a:gd name="connsiteX60" fmla="*/ 1874520 w 3025140"/>
                  <a:gd name="connsiteY60" fmla="*/ 3512820 h 3680460"/>
                  <a:gd name="connsiteX61" fmla="*/ 1828800 w 3025140"/>
                  <a:gd name="connsiteY61" fmla="*/ 3520440 h 3680460"/>
                  <a:gd name="connsiteX62" fmla="*/ 1722120 w 3025140"/>
                  <a:gd name="connsiteY62" fmla="*/ 3550920 h 3680460"/>
                  <a:gd name="connsiteX63" fmla="*/ 1600200 w 3025140"/>
                  <a:gd name="connsiteY63" fmla="*/ 3589020 h 3680460"/>
                  <a:gd name="connsiteX64" fmla="*/ 1569720 w 3025140"/>
                  <a:gd name="connsiteY64" fmla="*/ 3596640 h 3680460"/>
                  <a:gd name="connsiteX65" fmla="*/ 1546860 w 3025140"/>
                  <a:gd name="connsiteY65" fmla="*/ 3611880 h 3680460"/>
                  <a:gd name="connsiteX66" fmla="*/ 1463040 w 3025140"/>
                  <a:gd name="connsiteY66" fmla="*/ 3627120 h 3680460"/>
                  <a:gd name="connsiteX67" fmla="*/ 1333500 w 3025140"/>
                  <a:gd name="connsiteY67" fmla="*/ 3657600 h 3680460"/>
                  <a:gd name="connsiteX68" fmla="*/ 1203960 w 3025140"/>
                  <a:gd name="connsiteY68" fmla="*/ 3672840 h 3680460"/>
                  <a:gd name="connsiteX69" fmla="*/ 1165860 w 3025140"/>
                  <a:gd name="connsiteY69" fmla="*/ 3680460 h 3680460"/>
                  <a:gd name="connsiteX70" fmla="*/ 449580 w 3025140"/>
                  <a:gd name="connsiteY70" fmla="*/ 3672840 h 3680460"/>
                  <a:gd name="connsiteX71" fmla="*/ 426720 w 3025140"/>
                  <a:gd name="connsiteY71" fmla="*/ 3665220 h 3680460"/>
                  <a:gd name="connsiteX72" fmla="*/ 388620 w 3025140"/>
                  <a:gd name="connsiteY72" fmla="*/ 3657600 h 3680460"/>
                  <a:gd name="connsiteX73" fmla="*/ 335280 w 3025140"/>
                  <a:gd name="connsiteY73" fmla="*/ 3627120 h 3680460"/>
                  <a:gd name="connsiteX74" fmla="*/ 266700 w 3025140"/>
                  <a:gd name="connsiteY74" fmla="*/ 3604260 h 3680460"/>
                  <a:gd name="connsiteX75" fmla="*/ 243840 w 3025140"/>
                  <a:gd name="connsiteY75" fmla="*/ 3589020 h 3680460"/>
                  <a:gd name="connsiteX76" fmla="*/ 160020 w 3025140"/>
                  <a:gd name="connsiteY76" fmla="*/ 3558540 h 3680460"/>
                  <a:gd name="connsiteX77" fmla="*/ 137160 w 3025140"/>
                  <a:gd name="connsiteY77" fmla="*/ 3535680 h 3680460"/>
                  <a:gd name="connsiteX78" fmla="*/ 99060 w 3025140"/>
                  <a:gd name="connsiteY78" fmla="*/ 3520440 h 3680460"/>
                  <a:gd name="connsiteX79" fmla="*/ 83820 w 3025140"/>
                  <a:gd name="connsiteY79" fmla="*/ 3489960 h 3680460"/>
                  <a:gd name="connsiteX80" fmla="*/ 45720 w 3025140"/>
                  <a:gd name="connsiteY80" fmla="*/ 3436620 h 3680460"/>
                  <a:gd name="connsiteX81" fmla="*/ 0 w 3025140"/>
                  <a:gd name="connsiteY81" fmla="*/ 3352800 h 3680460"/>
                  <a:gd name="connsiteX82" fmla="*/ 30480 w 3025140"/>
                  <a:gd name="connsiteY82" fmla="*/ 3345180 h 3680460"/>
                  <a:gd name="connsiteX83" fmla="*/ 137160 w 3025140"/>
                  <a:gd name="connsiteY83" fmla="*/ 3360420 h 3680460"/>
                  <a:gd name="connsiteX84" fmla="*/ 167640 w 3025140"/>
                  <a:gd name="connsiteY84" fmla="*/ 3390900 h 3680460"/>
                  <a:gd name="connsiteX85" fmla="*/ 198120 w 3025140"/>
                  <a:gd name="connsiteY85" fmla="*/ 3406140 h 3680460"/>
                  <a:gd name="connsiteX86" fmla="*/ 350520 w 3025140"/>
                  <a:gd name="connsiteY86" fmla="*/ 3436620 h 3680460"/>
                  <a:gd name="connsiteX87" fmla="*/ 381000 w 3025140"/>
                  <a:gd name="connsiteY87" fmla="*/ 3451860 h 3680460"/>
                  <a:gd name="connsiteX88" fmla="*/ 449580 w 3025140"/>
                  <a:gd name="connsiteY88" fmla="*/ 3489960 h 3680460"/>
                  <a:gd name="connsiteX89" fmla="*/ 495300 w 3025140"/>
                  <a:gd name="connsiteY89" fmla="*/ 3520440 h 3680460"/>
                  <a:gd name="connsiteX90" fmla="*/ 525780 w 3025140"/>
                  <a:gd name="connsiteY90" fmla="*/ 3535680 h 3680460"/>
                  <a:gd name="connsiteX91" fmla="*/ 731520 w 3025140"/>
                  <a:gd name="connsiteY91" fmla="*/ 3558540 h 3680460"/>
                  <a:gd name="connsiteX92" fmla="*/ 1341120 w 3025140"/>
                  <a:gd name="connsiteY92" fmla="*/ 3550920 h 3680460"/>
                  <a:gd name="connsiteX93" fmla="*/ 1440180 w 3025140"/>
                  <a:gd name="connsiteY93" fmla="*/ 3528060 h 3680460"/>
                  <a:gd name="connsiteX94" fmla="*/ 1539240 w 3025140"/>
                  <a:gd name="connsiteY94" fmla="*/ 3520440 h 3680460"/>
                  <a:gd name="connsiteX95" fmla="*/ 1562100 w 3025140"/>
                  <a:gd name="connsiteY95" fmla="*/ 3512820 h 3680460"/>
                  <a:gd name="connsiteX96" fmla="*/ 1630680 w 3025140"/>
                  <a:gd name="connsiteY96" fmla="*/ 3497580 h 3680460"/>
                  <a:gd name="connsiteX97" fmla="*/ 1699260 w 3025140"/>
                  <a:gd name="connsiteY97" fmla="*/ 3474720 h 3680460"/>
                  <a:gd name="connsiteX98" fmla="*/ 1790700 w 3025140"/>
                  <a:gd name="connsiteY98" fmla="*/ 3451860 h 3680460"/>
                  <a:gd name="connsiteX99" fmla="*/ 1821180 w 3025140"/>
                  <a:gd name="connsiteY99" fmla="*/ 3444240 h 3680460"/>
                  <a:gd name="connsiteX100" fmla="*/ 1844040 w 3025140"/>
                  <a:gd name="connsiteY100" fmla="*/ 3429000 h 3680460"/>
                  <a:gd name="connsiteX101" fmla="*/ 1874520 w 3025140"/>
                  <a:gd name="connsiteY101" fmla="*/ 3421380 h 3680460"/>
                  <a:gd name="connsiteX102" fmla="*/ 1927860 w 3025140"/>
                  <a:gd name="connsiteY102" fmla="*/ 3398520 h 3680460"/>
                  <a:gd name="connsiteX103" fmla="*/ 1950720 w 3025140"/>
                  <a:gd name="connsiteY103" fmla="*/ 3390900 h 3680460"/>
                  <a:gd name="connsiteX104" fmla="*/ 2004060 w 3025140"/>
                  <a:gd name="connsiteY104" fmla="*/ 3360420 h 3680460"/>
                  <a:gd name="connsiteX105" fmla="*/ 2042160 w 3025140"/>
                  <a:gd name="connsiteY105" fmla="*/ 3352800 h 3680460"/>
                  <a:gd name="connsiteX106" fmla="*/ 2080260 w 3025140"/>
                  <a:gd name="connsiteY106" fmla="*/ 3337560 h 3680460"/>
                  <a:gd name="connsiteX107" fmla="*/ 2156460 w 3025140"/>
                  <a:gd name="connsiteY107" fmla="*/ 3299460 h 3680460"/>
                  <a:gd name="connsiteX108" fmla="*/ 2179320 w 3025140"/>
                  <a:gd name="connsiteY108" fmla="*/ 3284220 h 3680460"/>
                  <a:gd name="connsiteX109" fmla="*/ 2209800 w 3025140"/>
                  <a:gd name="connsiteY109" fmla="*/ 3276600 h 3680460"/>
                  <a:gd name="connsiteX110" fmla="*/ 2263140 w 3025140"/>
                  <a:gd name="connsiteY110" fmla="*/ 3230880 h 3680460"/>
                  <a:gd name="connsiteX111" fmla="*/ 2346960 w 3025140"/>
                  <a:gd name="connsiteY111" fmla="*/ 3154680 h 3680460"/>
                  <a:gd name="connsiteX112" fmla="*/ 2400300 w 3025140"/>
                  <a:gd name="connsiteY112" fmla="*/ 3070860 h 3680460"/>
                  <a:gd name="connsiteX113" fmla="*/ 2415540 w 3025140"/>
                  <a:gd name="connsiteY113" fmla="*/ 3048000 h 3680460"/>
                  <a:gd name="connsiteX114" fmla="*/ 2446020 w 3025140"/>
                  <a:gd name="connsiteY114" fmla="*/ 3032760 h 3680460"/>
                  <a:gd name="connsiteX115" fmla="*/ 2468880 w 3025140"/>
                  <a:gd name="connsiteY115" fmla="*/ 3009900 h 3680460"/>
                  <a:gd name="connsiteX116" fmla="*/ 2537460 w 3025140"/>
                  <a:gd name="connsiteY116" fmla="*/ 2926080 h 3680460"/>
                  <a:gd name="connsiteX117" fmla="*/ 2575560 w 3025140"/>
                  <a:gd name="connsiteY117" fmla="*/ 2880360 h 3680460"/>
                  <a:gd name="connsiteX118" fmla="*/ 2628900 w 3025140"/>
                  <a:gd name="connsiteY118" fmla="*/ 2811780 h 3680460"/>
                  <a:gd name="connsiteX119" fmla="*/ 2644140 w 3025140"/>
                  <a:gd name="connsiteY119" fmla="*/ 2773680 h 3680460"/>
                  <a:gd name="connsiteX120" fmla="*/ 2674620 w 3025140"/>
                  <a:gd name="connsiteY120" fmla="*/ 2727960 h 3680460"/>
                  <a:gd name="connsiteX121" fmla="*/ 2689860 w 3025140"/>
                  <a:gd name="connsiteY121" fmla="*/ 2705100 h 3680460"/>
                  <a:gd name="connsiteX122" fmla="*/ 2705100 w 3025140"/>
                  <a:gd name="connsiteY122" fmla="*/ 2667000 h 3680460"/>
                  <a:gd name="connsiteX123" fmla="*/ 2727960 w 3025140"/>
                  <a:gd name="connsiteY123" fmla="*/ 2621280 h 3680460"/>
                  <a:gd name="connsiteX124" fmla="*/ 2735580 w 3025140"/>
                  <a:gd name="connsiteY124" fmla="*/ 2590800 h 3680460"/>
                  <a:gd name="connsiteX125" fmla="*/ 2758440 w 3025140"/>
                  <a:gd name="connsiteY125" fmla="*/ 2545080 h 3680460"/>
                  <a:gd name="connsiteX126" fmla="*/ 2788920 w 3025140"/>
                  <a:gd name="connsiteY126" fmla="*/ 2484120 h 3680460"/>
                  <a:gd name="connsiteX127" fmla="*/ 2811780 w 3025140"/>
                  <a:gd name="connsiteY127" fmla="*/ 2407920 h 3680460"/>
                  <a:gd name="connsiteX128" fmla="*/ 2842260 w 3025140"/>
                  <a:gd name="connsiteY128" fmla="*/ 2324100 h 3680460"/>
                  <a:gd name="connsiteX129" fmla="*/ 2857500 w 3025140"/>
                  <a:gd name="connsiteY129" fmla="*/ 2247900 h 3680460"/>
                  <a:gd name="connsiteX130" fmla="*/ 2872740 w 3025140"/>
                  <a:gd name="connsiteY130" fmla="*/ 2194560 h 3680460"/>
                  <a:gd name="connsiteX131" fmla="*/ 2887980 w 3025140"/>
                  <a:gd name="connsiteY131" fmla="*/ 2148840 h 3680460"/>
                  <a:gd name="connsiteX132" fmla="*/ 2910840 w 3025140"/>
                  <a:gd name="connsiteY132" fmla="*/ 2087880 h 3680460"/>
                  <a:gd name="connsiteX133" fmla="*/ 2918460 w 3025140"/>
                  <a:gd name="connsiteY133" fmla="*/ 2049780 h 3680460"/>
                  <a:gd name="connsiteX134" fmla="*/ 2933700 w 3025140"/>
                  <a:gd name="connsiteY134" fmla="*/ 1844040 h 3680460"/>
                  <a:gd name="connsiteX135" fmla="*/ 2918460 w 3025140"/>
                  <a:gd name="connsiteY135" fmla="*/ 1470660 h 3680460"/>
                  <a:gd name="connsiteX136" fmla="*/ 2895600 w 3025140"/>
                  <a:gd name="connsiteY136" fmla="*/ 1371600 h 3680460"/>
                  <a:gd name="connsiteX137" fmla="*/ 2880360 w 3025140"/>
                  <a:gd name="connsiteY137" fmla="*/ 1341120 h 3680460"/>
                  <a:gd name="connsiteX138" fmla="*/ 2857500 w 3025140"/>
                  <a:gd name="connsiteY138" fmla="*/ 1272540 h 3680460"/>
                  <a:gd name="connsiteX139" fmla="*/ 2849880 w 3025140"/>
                  <a:gd name="connsiteY139" fmla="*/ 1234440 h 3680460"/>
                  <a:gd name="connsiteX140" fmla="*/ 2827020 w 3025140"/>
                  <a:gd name="connsiteY140" fmla="*/ 1196340 h 3680460"/>
                  <a:gd name="connsiteX141" fmla="*/ 2811780 w 3025140"/>
                  <a:gd name="connsiteY141" fmla="*/ 1165860 h 3680460"/>
                  <a:gd name="connsiteX142" fmla="*/ 2781300 w 3025140"/>
                  <a:gd name="connsiteY142" fmla="*/ 1127760 h 3680460"/>
                  <a:gd name="connsiteX143" fmla="*/ 2766060 w 3025140"/>
                  <a:gd name="connsiteY143" fmla="*/ 1089660 h 3680460"/>
                  <a:gd name="connsiteX144" fmla="*/ 2735580 w 3025140"/>
                  <a:gd name="connsiteY144" fmla="*/ 1043940 h 3680460"/>
                  <a:gd name="connsiteX145" fmla="*/ 2727960 w 3025140"/>
                  <a:gd name="connsiteY145" fmla="*/ 1021080 h 3680460"/>
                  <a:gd name="connsiteX146" fmla="*/ 2682240 w 3025140"/>
                  <a:gd name="connsiteY146" fmla="*/ 937260 h 3680460"/>
                  <a:gd name="connsiteX147" fmla="*/ 2659380 w 3025140"/>
                  <a:gd name="connsiteY147" fmla="*/ 876300 h 3680460"/>
                  <a:gd name="connsiteX148" fmla="*/ 2644140 w 3025140"/>
                  <a:gd name="connsiteY148" fmla="*/ 845820 h 3680460"/>
                  <a:gd name="connsiteX149" fmla="*/ 2636520 w 3025140"/>
                  <a:gd name="connsiteY149" fmla="*/ 822960 h 3680460"/>
                  <a:gd name="connsiteX150" fmla="*/ 2621280 w 3025140"/>
                  <a:gd name="connsiteY150" fmla="*/ 800100 h 3680460"/>
                  <a:gd name="connsiteX151" fmla="*/ 2598420 w 3025140"/>
                  <a:gd name="connsiteY151" fmla="*/ 739140 h 3680460"/>
                  <a:gd name="connsiteX152" fmla="*/ 2458403 w 3025140"/>
                  <a:gd name="connsiteY152" fmla="*/ 621983 h 3680460"/>
                  <a:gd name="connsiteX153" fmla="*/ 2301240 w 3025140"/>
                  <a:gd name="connsiteY153" fmla="*/ 458152 h 3680460"/>
                  <a:gd name="connsiteX154" fmla="*/ 2237423 w 3025140"/>
                  <a:gd name="connsiteY154" fmla="*/ 406717 h 3680460"/>
                  <a:gd name="connsiteX155" fmla="*/ 2103120 w 3025140"/>
                  <a:gd name="connsiteY155" fmla="*/ 312420 h 3680460"/>
                  <a:gd name="connsiteX156" fmla="*/ 2042160 w 3025140"/>
                  <a:gd name="connsiteY156" fmla="*/ 266700 h 3680460"/>
                  <a:gd name="connsiteX157" fmla="*/ 2004060 w 3025140"/>
                  <a:gd name="connsiteY157" fmla="*/ 251460 h 3680460"/>
                  <a:gd name="connsiteX158" fmla="*/ 1958340 w 3025140"/>
                  <a:gd name="connsiteY158" fmla="*/ 220980 h 3680460"/>
                  <a:gd name="connsiteX159" fmla="*/ 1897380 w 3025140"/>
                  <a:gd name="connsiteY15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3009900 w 3018472"/>
                  <a:gd name="connsiteY30" fmla="*/ 2125980 h 3680460"/>
                  <a:gd name="connsiteX31" fmla="*/ 2979420 w 3018472"/>
                  <a:gd name="connsiteY31" fmla="*/ 2194560 h 3680460"/>
                  <a:gd name="connsiteX32" fmla="*/ 2956560 w 3018472"/>
                  <a:gd name="connsiteY32" fmla="*/ 2247900 h 3680460"/>
                  <a:gd name="connsiteX33" fmla="*/ 2941320 w 3018472"/>
                  <a:gd name="connsiteY33" fmla="*/ 2324100 h 3680460"/>
                  <a:gd name="connsiteX34" fmla="*/ 2926080 w 3018472"/>
                  <a:gd name="connsiteY34" fmla="*/ 2392680 h 3680460"/>
                  <a:gd name="connsiteX35" fmla="*/ 2918460 w 3018472"/>
                  <a:gd name="connsiteY35" fmla="*/ 2415540 h 3680460"/>
                  <a:gd name="connsiteX36" fmla="*/ 2895600 w 3018472"/>
                  <a:gd name="connsiteY36" fmla="*/ 2484120 h 3680460"/>
                  <a:gd name="connsiteX37" fmla="*/ 2872740 w 3018472"/>
                  <a:gd name="connsiteY37" fmla="*/ 2583180 h 3680460"/>
                  <a:gd name="connsiteX38" fmla="*/ 2857500 w 3018472"/>
                  <a:gd name="connsiteY38" fmla="*/ 2606040 h 3680460"/>
                  <a:gd name="connsiteX39" fmla="*/ 2834640 w 3018472"/>
                  <a:gd name="connsiteY39" fmla="*/ 2689860 h 3680460"/>
                  <a:gd name="connsiteX40" fmla="*/ 2811780 w 3018472"/>
                  <a:gd name="connsiteY40" fmla="*/ 2750820 h 3680460"/>
                  <a:gd name="connsiteX41" fmla="*/ 2788920 w 3018472"/>
                  <a:gd name="connsiteY41" fmla="*/ 2781300 h 3680460"/>
                  <a:gd name="connsiteX42" fmla="*/ 2781300 w 3018472"/>
                  <a:gd name="connsiteY42" fmla="*/ 2804160 h 3680460"/>
                  <a:gd name="connsiteX43" fmla="*/ 2743200 w 3018472"/>
                  <a:gd name="connsiteY43" fmla="*/ 2865120 h 3680460"/>
                  <a:gd name="connsiteX44" fmla="*/ 2712720 w 3018472"/>
                  <a:gd name="connsiteY44" fmla="*/ 2903220 h 3680460"/>
                  <a:gd name="connsiteX45" fmla="*/ 2697480 w 3018472"/>
                  <a:gd name="connsiteY45" fmla="*/ 2933700 h 3680460"/>
                  <a:gd name="connsiteX46" fmla="*/ 2674620 w 3018472"/>
                  <a:gd name="connsiteY46" fmla="*/ 2964180 h 3680460"/>
                  <a:gd name="connsiteX47" fmla="*/ 2644140 w 3018472"/>
                  <a:gd name="connsiteY47" fmla="*/ 3009900 h 3680460"/>
                  <a:gd name="connsiteX48" fmla="*/ 2598420 w 3018472"/>
                  <a:gd name="connsiteY48" fmla="*/ 3055620 h 3680460"/>
                  <a:gd name="connsiteX49" fmla="*/ 2575560 w 3018472"/>
                  <a:gd name="connsiteY49" fmla="*/ 3078480 h 3680460"/>
                  <a:gd name="connsiteX50" fmla="*/ 2476500 w 3018472"/>
                  <a:gd name="connsiteY50" fmla="*/ 3169920 h 3680460"/>
                  <a:gd name="connsiteX51" fmla="*/ 2377440 w 3018472"/>
                  <a:gd name="connsiteY51" fmla="*/ 3223260 h 3680460"/>
                  <a:gd name="connsiteX52" fmla="*/ 2293620 w 3018472"/>
                  <a:gd name="connsiteY52" fmla="*/ 3284220 h 3680460"/>
                  <a:gd name="connsiteX53" fmla="*/ 2240280 w 3018472"/>
                  <a:gd name="connsiteY53" fmla="*/ 3314700 h 3680460"/>
                  <a:gd name="connsiteX54" fmla="*/ 2225040 w 3018472"/>
                  <a:gd name="connsiteY54" fmla="*/ 3337560 h 3680460"/>
                  <a:gd name="connsiteX55" fmla="*/ 2141220 w 3018472"/>
                  <a:gd name="connsiteY55" fmla="*/ 3390900 h 3680460"/>
                  <a:gd name="connsiteX56" fmla="*/ 2110740 w 3018472"/>
                  <a:gd name="connsiteY56" fmla="*/ 3413760 h 3680460"/>
                  <a:gd name="connsiteX57" fmla="*/ 2072640 w 3018472"/>
                  <a:gd name="connsiteY57" fmla="*/ 3451860 h 3680460"/>
                  <a:gd name="connsiteX58" fmla="*/ 2019300 w 3018472"/>
                  <a:gd name="connsiteY58" fmla="*/ 3467100 h 3680460"/>
                  <a:gd name="connsiteX59" fmla="*/ 1874520 w 3018472"/>
                  <a:gd name="connsiteY59" fmla="*/ 3512820 h 3680460"/>
                  <a:gd name="connsiteX60" fmla="*/ 1828800 w 3018472"/>
                  <a:gd name="connsiteY60" fmla="*/ 3520440 h 3680460"/>
                  <a:gd name="connsiteX61" fmla="*/ 1722120 w 3018472"/>
                  <a:gd name="connsiteY61" fmla="*/ 3550920 h 3680460"/>
                  <a:gd name="connsiteX62" fmla="*/ 1600200 w 3018472"/>
                  <a:gd name="connsiteY62" fmla="*/ 3589020 h 3680460"/>
                  <a:gd name="connsiteX63" fmla="*/ 1569720 w 3018472"/>
                  <a:gd name="connsiteY63" fmla="*/ 3596640 h 3680460"/>
                  <a:gd name="connsiteX64" fmla="*/ 1546860 w 3018472"/>
                  <a:gd name="connsiteY64" fmla="*/ 3611880 h 3680460"/>
                  <a:gd name="connsiteX65" fmla="*/ 1463040 w 3018472"/>
                  <a:gd name="connsiteY65" fmla="*/ 3627120 h 3680460"/>
                  <a:gd name="connsiteX66" fmla="*/ 1333500 w 3018472"/>
                  <a:gd name="connsiteY66" fmla="*/ 3657600 h 3680460"/>
                  <a:gd name="connsiteX67" fmla="*/ 1203960 w 3018472"/>
                  <a:gd name="connsiteY67" fmla="*/ 3672840 h 3680460"/>
                  <a:gd name="connsiteX68" fmla="*/ 1165860 w 3018472"/>
                  <a:gd name="connsiteY68" fmla="*/ 3680460 h 3680460"/>
                  <a:gd name="connsiteX69" fmla="*/ 449580 w 3018472"/>
                  <a:gd name="connsiteY69" fmla="*/ 3672840 h 3680460"/>
                  <a:gd name="connsiteX70" fmla="*/ 426720 w 3018472"/>
                  <a:gd name="connsiteY70" fmla="*/ 3665220 h 3680460"/>
                  <a:gd name="connsiteX71" fmla="*/ 388620 w 3018472"/>
                  <a:gd name="connsiteY71" fmla="*/ 3657600 h 3680460"/>
                  <a:gd name="connsiteX72" fmla="*/ 335280 w 3018472"/>
                  <a:gd name="connsiteY72" fmla="*/ 3627120 h 3680460"/>
                  <a:gd name="connsiteX73" fmla="*/ 266700 w 3018472"/>
                  <a:gd name="connsiteY73" fmla="*/ 3604260 h 3680460"/>
                  <a:gd name="connsiteX74" fmla="*/ 243840 w 3018472"/>
                  <a:gd name="connsiteY74" fmla="*/ 3589020 h 3680460"/>
                  <a:gd name="connsiteX75" fmla="*/ 160020 w 3018472"/>
                  <a:gd name="connsiteY75" fmla="*/ 3558540 h 3680460"/>
                  <a:gd name="connsiteX76" fmla="*/ 137160 w 3018472"/>
                  <a:gd name="connsiteY76" fmla="*/ 3535680 h 3680460"/>
                  <a:gd name="connsiteX77" fmla="*/ 99060 w 3018472"/>
                  <a:gd name="connsiteY77" fmla="*/ 3520440 h 3680460"/>
                  <a:gd name="connsiteX78" fmla="*/ 83820 w 3018472"/>
                  <a:gd name="connsiteY78" fmla="*/ 3489960 h 3680460"/>
                  <a:gd name="connsiteX79" fmla="*/ 45720 w 3018472"/>
                  <a:gd name="connsiteY79" fmla="*/ 3436620 h 3680460"/>
                  <a:gd name="connsiteX80" fmla="*/ 0 w 3018472"/>
                  <a:gd name="connsiteY80" fmla="*/ 3352800 h 3680460"/>
                  <a:gd name="connsiteX81" fmla="*/ 30480 w 3018472"/>
                  <a:gd name="connsiteY81" fmla="*/ 3345180 h 3680460"/>
                  <a:gd name="connsiteX82" fmla="*/ 137160 w 3018472"/>
                  <a:gd name="connsiteY82" fmla="*/ 3360420 h 3680460"/>
                  <a:gd name="connsiteX83" fmla="*/ 167640 w 3018472"/>
                  <a:gd name="connsiteY83" fmla="*/ 3390900 h 3680460"/>
                  <a:gd name="connsiteX84" fmla="*/ 198120 w 3018472"/>
                  <a:gd name="connsiteY84" fmla="*/ 3406140 h 3680460"/>
                  <a:gd name="connsiteX85" fmla="*/ 350520 w 3018472"/>
                  <a:gd name="connsiteY85" fmla="*/ 3436620 h 3680460"/>
                  <a:gd name="connsiteX86" fmla="*/ 381000 w 3018472"/>
                  <a:gd name="connsiteY86" fmla="*/ 3451860 h 3680460"/>
                  <a:gd name="connsiteX87" fmla="*/ 449580 w 3018472"/>
                  <a:gd name="connsiteY87" fmla="*/ 3489960 h 3680460"/>
                  <a:gd name="connsiteX88" fmla="*/ 495300 w 3018472"/>
                  <a:gd name="connsiteY88" fmla="*/ 3520440 h 3680460"/>
                  <a:gd name="connsiteX89" fmla="*/ 525780 w 3018472"/>
                  <a:gd name="connsiteY89" fmla="*/ 3535680 h 3680460"/>
                  <a:gd name="connsiteX90" fmla="*/ 731520 w 3018472"/>
                  <a:gd name="connsiteY90" fmla="*/ 3558540 h 3680460"/>
                  <a:gd name="connsiteX91" fmla="*/ 1341120 w 3018472"/>
                  <a:gd name="connsiteY91" fmla="*/ 3550920 h 3680460"/>
                  <a:gd name="connsiteX92" fmla="*/ 1440180 w 3018472"/>
                  <a:gd name="connsiteY92" fmla="*/ 3528060 h 3680460"/>
                  <a:gd name="connsiteX93" fmla="*/ 1539240 w 3018472"/>
                  <a:gd name="connsiteY93" fmla="*/ 3520440 h 3680460"/>
                  <a:gd name="connsiteX94" fmla="*/ 1562100 w 3018472"/>
                  <a:gd name="connsiteY94" fmla="*/ 3512820 h 3680460"/>
                  <a:gd name="connsiteX95" fmla="*/ 1630680 w 3018472"/>
                  <a:gd name="connsiteY95" fmla="*/ 3497580 h 3680460"/>
                  <a:gd name="connsiteX96" fmla="*/ 1699260 w 3018472"/>
                  <a:gd name="connsiteY96" fmla="*/ 3474720 h 3680460"/>
                  <a:gd name="connsiteX97" fmla="*/ 1790700 w 3018472"/>
                  <a:gd name="connsiteY97" fmla="*/ 3451860 h 3680460"/>
                  <a:gd name="connsiteX98" fmla="*/ 1821180 w 3018472"/>
                  <a:gd name="connsiteY98" fmla="*/ 3444240 h 3680460"/>
                  <a:gd name="connsiteX99" fmla="*/ 1844040 w 3018472"/>
                  <a:gd name="connsiteY99" fmla="*/ 3429000 h 3680460"/>
                  <a:gd name="connsiteX100" fmla="*/ 1874520 w 3018472"/>
                  <a:gd name="connsiteY100" fmla="*/ 3421380 h 3680460"/>
                  <a:gd name="connsiteX101" fmla="*/ 1927860 w 3018472"/>
                  <a:gd name="connsiteY101" fmla="*/ 3398520 h 3680460"/>
                  <a:gd name="connsiteX102" fmla="*/ 1950720 w 3018472"/>
                  <a:gd name="connsiteY102" fmla="*/ 3390900 h 3680460"/>
                  <a:gd name="connsiteX103" fmla="*/ 2004060 w 3018472"/>
                  <a:gd name="connsiteY103" fmla="*/ 3360420 h 3680460"/>
                  <a:gd name="connsiteX104" fmla="*/ 2042160 w 3018472"/>
                  <a:gd name="connsiteY104" fmla="*/ 3352800 h 3680460"/>
                  <a:gd name="connsiteX105" fmla="*/ 2080260 w 3018472"/>
                  <a:gd name="connsiteY105" fmla="*/ 3337560 h 3680460"/>
                  <a:gd name="connsiteX106" fmla="*/ 2156460 w 3018472"/>
                  <a:gd name="connsiteY106" fmla="*/ 3299460 h 3680460"/>
                  <a:gd name="connsiteX107" fmla="*/ 2179320 w 3018472"/>
                  <a:gd name="connsiteY107" fmla="*/ 3284220 h 3680460"/>
                  <a:gd name="connsiteX108" fmla="*/ 2209800 w 3018472"/>
                  <a:gd name="connsiteY108" fmla="*/ 3276600 h 3680460"/>
                  <a:gd name="connsiteX109" fmla="*/ 2263140 w 3018472"/>
                  <a:gd name="connsiteY109" fmla="*/ 3230880 h 3680460"/>
                  <a:gd name="connsiteX110" fmla="*/ 2346960 w 3018472"/>
                  <a:gd name="connsiteY110" fmla="*/ 3154680 h 3680460"/>
                  <a:gd name="connsiteX111" fmla="*/ 2400300 w 3018472"/>
                  <a:gd name="connsiteY111" fmla="*/ 3070860 h 3680460"/>
                  <a:gd name="connsiteX112" fmla="*/ 2415540 w 3018472"/>
                  <a:gd name="connsiteY112" fmla="*/ 3048000 h 3680460"/>
                  <a:gd name="connsiteX113" fmla="*/ 2446020 w 3018472"/>
                  <a:gd name="connsiteY113" fmla="*/ 3032760 h 3680460"/>
                  <a:gd name="connsiteX114" fmla="*/ 2468880 w 3018472"/>
                  <a:gd name="connsiteY114" fmla="*/ 3009900 h 3680460"/>
                  <a:gd name="connsiteX115" fmla="*/ 2537460 w 3018472"/>
                  <a:gd name="connsiteY115" fmla="*/ 2926080 h 3680460"/>
                  <a:gd name="connsiteX116" fmla="*/ 2575560 w 3018472"/>
                  <a:gd name="connsiteY116" fmla="*/ 2880360 h 3680460"/>
                  <a:gd name="connsiteX117" fmla="*/ 2628900 w 3018472"/>
                  <a:gd name="connsiteY117" fmla="*/ 2811780 h 3680460"/>
                  <a:gd name="connsiteX118" fmla="*/ 2644140 w 3018472"/>
                  <a:gd name="connsiteY118" fmla="*/ 2773680 h 3680460"/>
                  <a:gd name="connsiteX119" fmla="*/ 2674620 w 3018472"/>
                  <a:gd name="connsiteY119" fmla="*/ 2727960 h 3680460"/>
                  <a:gd name="connsiteX120" fmla="*/ 2689860 w 3018472"/>
                  <a:gd name="connsiteY120" fmla="*/ 2705100 h 3680460"/>
                  <a:gd name="connsiteX121" fmla="*/ 2705100 w 3018472"/>
                  <a:gd name="connsiteY121" fmla="*/ 2667000 h 3680460"/>
                  <a:gd name="connsiteX122" fmla="*/ 2727960 w 3018472"/>
                  <a:gd name="connsiteY122" fmla="*/ 2621280 h 3680460"/>
                  <a:gd name="connsiteX123" fmla="*/ 2735580 w 3018472"/>
                  <a:gd name="connsiteY123" fmla="*/ 2590800 h 3680460"/>
                  <a:gd name="connsiteX124" fmla="*/ 2758440 w 3018472"/>
                  <a:gd name="connsiteY124" fmla="*/ 2545080 h 3680460"/>
                  <a:gd name="connsiteX125" fmla="*/ 2788920 w 3018472"/>
                  <a:gd name="connsiteY125" fmla="*/ 2484120 h 3680460"/>
                  <a:gd name="connsiteX126" fmla="*/ 2811780 w 3018472"/>
                  <a:gd name="connsiteY126" fmla="*/ 2407920 h 3680460"/>
                  <a:gd name="connsiteX127" fmla="*/ 2842260 w 3018472"/>
                  <a:gd name="connsiteY127" fmla="*/ 2324100 h 3680460"/>
                  <a:gd name="connsiteX128" fmla="*/ 2857500 w 3018472"/>
                  <a:gd name="connsiteY128" fmla="*/ 2247900 h 3680460"/>
                  <a:gd name="connsiteX129" fmla="*/ 2872740 w 3018472"/>
                  <a:gd name="connsiteY129" fmla="*/ 2194560 h 3680460"/>
                  <a:gd name="connsiteX130" fmla="*/ 2887980 w 3018472"/>
                  <a:gd name="connsiteY130" fmla="*/ 2148840 h 3680460"/>
                  <a:gd name="connsiteX131" fmla="*/ 2910840 w 3018472"/>
                  <a:gd name="connsiteY131" fmla="*/ 2087880 h 3680460"/>
                  <a:gd name="connsiteX132" fmla="*/ 2918460 w 3018472"/>
                  <a:gd name="connsiteY132" fmla="*/ 2049780 h 3680460"/>
                  <a:gd name="connsiteX133" fmla="*/ 2933700 w 3018472"/>
                  <a:gd name="connsiteY133" fmla="*/ 1844040 h 3680460"/>
                  <a:gd name="connsiteX134" fmla="*/ 2918460 w 3018472"/>
                  <a:gd name="connsiteY134" fmla="*/ 1470660 h 3680460"/>
                  <a:gd name="connsiteX135" fmla="*/ 2895600 w 3018472"/>
                  <a:gd name="connsiteY135" fmla="*/ 1371600 h 3680460"/>
                  <a:gd name="connsiteX136" fmla="*/ 2880360 w 3018472"/>
                  <a:gd name="connsiteY136" fmla="*/ 1341120 h 3680460"/>
                  <a:gd name="connsiteX137" fmla="*/ 2857500 w 3018472"/>
                  <a:gd name="connsiteY137" fmla="*/ 1272540 h 3680460"/>
                  <a:gd name="connsiteX138" fmla="*/ 2849880 w 3018472"/>
                  <a:gd name="connsiteY138" fmla="*/ 1234440 h 3680460"/>
                  <a:gd name="connsiteX139" fmla="*/ 2827020 w 3018472"/>
                  <a:gd name="connsiteY139" fmla="*/ 1196340 h 3680460"/>
                  <a:gd name="connsiteX140" fmla="*/ 2811780 w 3018472"/>
                  <a:gd name="connsiteY140" fmla="*/ 1165860 h 3680460"/>
                  <a:gd name="connsiteX141" fmla="*/ 2781300 w 3018472"/>
                  <a:gd name="connsiteY141" fmla="*/ 1127760 h 3680460"/>
                  <a:gd name="connsiteX142" fmla="*/ 2766060 w 3018472"/>
                  <a:gd name="connsiteY142" fmla="*/ 1089660 h 3680460"/>
                  <a:gd name="connsiteX143" fmla="*/ 2735580 w 3018472"/>
                  <a:gd name="connsiteY143" fmla="*/ 1043940 h 3680460"/>
                  <a:gd name="connsiteX144" fmla="*/ 2727960 w 3018472"/>
                  <a:gd name="connsiteY144" fmla="*/ 1021080 h 3680460"/>
                  <a:gd name="connsiteX145" fmla="*/ 2682240 w 3018472"/>
                  <a:gd name="connsiteY145" fmla="*/ 937260 h 3680460"/>
                  <a:gd name="connsiteX146" fmla="*/ 2659380 w 3018472"/>
                  <a:gd name="connsiteY146" fmla="*/ 876300 h 3680460"/>
                  <a:gd name="connsiteX147" fmla="*/ 2644140 w 3018472"/>
                  <a:gd name="connsiteY147" fmla="*/ 845820 h 3680460"/>
                  <a:gd name="connsiteX148" fmla="*/ 2636520 w 3018472"/>
                  <a:gd name="connsiteY148" fmla="*/ 822960 h 3680460"/>
                  <a:gd name="connsiteX149" fmla="*/ 2621280 w 3018472"/>
                  <a:gd name="connsiteY149" fmla="*/ 800100 h 3680460"/>
                  <a:gd name="connsiteX150" fmla="*/ 2598420 w 3018472"/>
                  <a:gd name="connsiteY150" fmla="*/ 739140 h 3680460"/>
                  <a:gd name="connsiteX151" fmla="*/ 2458403 w 3018472"/>
                  <a:gd name="connsiteY151" fmla="*/ 621983 h 3680460"/>
                  <a:gd name="connsiteX152" fmla="*/ 2301240 w 3018472"/>
                  <a:gd name="connsiteY152" fmla="*/ 458152 h 3680460"/>
                  <a:gd name="connsiteX153" fmla="*/ 2237423 w 3018472"/>
                  <a:gd name="connsiteY153" fmla="*/ 406717 h 3680460"/>
                  <a:gd name="connsiteX154" fmla="*/ 2103120 w 3018472"/>
                  <a:gd name="connsiteY154" fmla="*/ 312420 h 3680460"/>
                  <a:gd name="connsiteX155" fmla="*/ 2042160 w 3018472"/>
                  <a:gd name="connsiteY155" fmla="*/ 266700 h 3680460"/>
                  <a:gd name="connsiteX156" fmla="*/ 2004060 w 3018472"/>
                  <a:gd name="connsiteY156" fmla="*/ 251460 h 3680460"/>
                  <a:gd name="connsiteX157" fmla="*/ 1958340 w 3018472"/>
                  <a:gd name="connsiteY157" fmla="*/ 220980 h 3680460"/>
                  <a:gd name="connsiteX158" fmla="*/ 1897380 w 3018472"/>
                  <a:gd name="connsiteY15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56560 w 3018472"/>
                  <a:gd name="connsiteY31" fmla="*/ 2247900 h 3680460"/>
                  <a:gd name="connsiteX32" fmla="*/ 2941320 w 3018472"/>
                  <a:gd name="connsiteY32" fmla="*/ 2324100 h 3680460"/>
                  <a:gd name="connsiteX33" fmla="*/ 2926080 w 3018472"/>
                  <a:gd name="connsiteY33" fmla="*/ 2392680 h 3680460"/>
                  <a:gd name="connsiteX34" fmla="*/ 2918460 w 3018472"/>
                  <a:gd name="connsiteY34" fmla="*/ 2415540 h 3680460"/>
                  <a:gd name="connsiteX35" fmla="*/ 2895600 w 3018472"/>
                  <a:gd name="connsiteY35" fmla="*/ 2484120 h 3680460"/>
                  <a:gd name="connsiteX36" fmla="*/ 2872740 w 3018472"/>
                  <a:gd name="connsiteY36" fmla="*/ 2583180 h 3680460"/>
                  <a:gd name="connsiteX37" fmla="*/ 2857500 w 3018472"/>
                  <a:gd name="connsiteY37" fmla="*/ 2606040 h 3680460"/>
                  <a:gd name="connsiteX38" fmla="*/ 2834640 w 3018472"/>
                  <a:gd name="connsiteY38" fmla="*/ 2689860 h 3680460"/>
                  <a:gd name="connsiteX39" fmla="*/ 2811780 w 3018472"/>
                  <a:gd name="connsiteY39" fmla="*/ 2750820 h 3680460"/>
                  <a:gd name="connsiteX40" fmla="*/ 2788920 w 3018472"/>
                  <a:gd name="connsiteY40" fmla="*/ 2781300 h 3680460"/>
                  <a:gd name="connsiteX41" fmla="*/ 2781300 w 3018472"/>
                  <a:gd name="connsiteY41" fmla="*/ 2804160 h 3680460"/>
                  <a:gd name="connsiteX42" fmla="*/ 2743200 w 3018472"/>
                  <a:gd name="connsiteY42" fmla="*/ 2865120 h 3680460"/>
                  <a:gd name="connsiteX43" fmla="*/ 2712720 w 3018472"/>
                  <a:gd name="connsiteY43" fmla="*/ 2903220 h 3680460"/>
                  <a:gd name="connsiteX44" fmla="*/ 2697480 w 3018472"/>
                  <a:gd name="connsiteY44" fmla="*/ 2933700 h 3680460"/>
                  <a:gd name="connsiteX45" fmla="*/ 2674620 w 3018472"/>
                  <a:gd name="connsiteY45" fmla="*/ 2964180 h 3680460"/>
                  <a:gd name="connsiteX46" fmla="*/ 2644140 w 3018472"/>
                  <a:gd name="connsiteY46" fmla="*/ 3009900 h 3680460"/>
                  <a:gd name="connsiteX47" fmla="*/ 2598420 w 3018472"/>
                  <a:gd name="connsiteY47" fmla="*/ 3055620 h 3680460"/>
                  <a:gd name="connsiteX48" fmla="*/ 2575560 w 3018472"/>
                  <a:gd name="connsiteY48" fmla="*/ 3078480 h 3680460"/>
                  <a:gd name="connsiteX49" fmla="*/ 2476500 w 3018472"/>
                  <a:gd name="connsiteY49" fmla="*/ 3169920 h 3680460"/>
                  <a:gd name="connsiteX50" fmla="*/ 2377440 w 3018472"/>
                  <a:gd name="connsiteY50" fmla="*/ 3223260 h 3680460"/>
                  <a:gd name="connsiteX51" fmla="*/ 2293620 w 3018472"/>
                  <a:gd name="connsiteY51" fmla="*/ 3284220 h 3680460"/>
                  <a:gd name="connsiteX52" fmla="*/ 2240280 w 3018472"/>
                  <a:gd name="connsiteY52" fmla="*/ 3314700 h 3680460"/>
                  <a:gd name="connsiteX53" fmla="*/ 2225040 w 3018472"/>
                  <a:gd name="connsiteY53" fmla="*/ 3337560 h 3680460"/>
                  <a:gd name="connsiteX54" fmla="*/ 2141220 w 3018472"/>
                  <a:gd name="connsiteY54" fmla="*/ 3390900 h 3680460"/>
                  <a:gd name="connsiteX55" fmla="*/ 2110740 w 3018472"/>
                  <a:gd name="connsiteY55" fmla="*/ 3413760 h 3680460"/>
                  <a:gd name="connsiteX56" fmla="*/ 2072640 w 3018472"/>
                  <a:gd name="connsiteY56" fmla="*/ 3451860 h 3680460"/>
                  <a:gd name="connsiteX57" fmla="*/ 2019300 w 3018472"/>
                  <a:gd name="connsiteY57" fmla="*/ 3467100 h 3680460"/>
                  <a:gd name="connsiteX58" fmla="*/ 1874520 w 3018472"/>
                  <a:gd name="connsiteY58" fmla="*/ 3512820 h 3680460"/>
                  <a:gd name="connsiteX59" fmla="*/ 1828800 w 3018472"/>
                  <a:gd name="connsiteY59" fmla="*/ 3520440 h 3680460"/>
                  <a:gd name="connsiteX60" fmla="*/ 1722120 w 3018472"/>
                  <a:gd name="connsiteY60" fmla="*/ 3550920 h 3680460"/>
                  <a:gd name="connsiteX61" fmla="*/ 1600200 w 3018472"/>
                  <a:gd name="connsiteY61" fmla="*/ 3589020 h 3680460"/>
                  <a:gd name="connsiteX62" fmla="*/ 1569720 w 3018472"/>
                  <a:gd name="connsiteY62" fmla="*/ 3596640 h 3680460"/>
                  <a:gd name="connsiteX63" fmla="*/ 1546860 w 3018472"/>
                  <a:gd name="connsiteY63" fmla="*/ 3611880 h 3680460"/>
                  <a:gd name="connsiteX64" fmla="*/ 1463040 w 3018472"/>
                  <a:gd name="connsiteY64" fmla="*/ 3627120 h 3680460"/>
                  <a:gd name="connsiteX65" fmla="*/ 1333500 w 3018472"/>
                  <a:gd name="connsiteY65" fmla="*/ 3657600 h 3680460"/>
                  <a:gd name="connsiteX66" fmla="*/ 1203960 w 3018472"/>
                  <a:gd name="connsiteY66" fmla="*/ 3672840 h 3680460"/>
                  <a:gd name="connsiteX67" fmla="*/ 1165860 w 3018472"/>
                  <a:gd name="connsiteY67" fmla="*/ 3680460 h 3680460"/>
                  <a:gd name="connsiteX68" fmla="*/ 449580 w 3018472"/>
                  <a:gd name="connsiteY68" fmla="*/ 3672840 h 3680460"/>
                  <a:gd name="connsiteX69" fmla="*/ 426720 w 3018472"/>
                  <a:gd name="connsiteY69" fmla="*/ 3665220 h 3680460"/>
                  <a:gd name="connsiteX70" fmla="*/ 388620 w 3018472"/>
                  <a:gd name="connsiteY70" fmla="*/ 3657600 h 3680460"/>
                  <a:gd name="connsiteX71" fmla="*/ 335280 w 3018472"/>
                  <a:gd name="connsiteY71" fmla="*/ 3627120 h 3680460"/>
                  <a:gd name="connsiteX72" fmla="*/ 266700 w 3018472"/>
                  <a:gd name="connsiteY72" fmla="*/ 3604260 h 3680460"/>
                  <a:gd name="connsiteX73" fmla="*/ 243840 w 3018472"/>
                  <a:gd name="connsiteY73" fmla="*/ 3589020 h 3680460"/>
                  <a:gd name="connsiteX74" fmla="*/ 160020 w 3018472"/>
                  <a:gd name="connsiteY74" fmla="*/ 3558540 h 3680460"/>
                  <a:gd name="connsiteX75" fmla="*/ 137160 w 3018472"/>
                  <a:gd name="connsiteY75" fmla="*/ 3535680 h 3680460"/>
                  <a:gd name="connsiteX76" fmla="*/ 99060 w 3018472"/>
                  <a:gd name="connsiteY76" fmla="*/ 3520440 h 3680460"/>
                  <a:gd name="connsiteX77" fmla="*/ 83820 w 3018472"/>
                  <a:gd name="connsiteY77" fmla="*/ 3489960 h 3680460"/>
                  <a:gd name="connsiteX78" fmla="*/ 45720 w 3018472"/>
                  <a:gd name="connsiteY78" fmla="*/ 3436620 h 3680460"/>
                  <a:gd name="connsiteX79" fmla="*/ 0 w 3018472"/>
                  <a:gd name="connsiteY79" fmla="*/ 3352800 h 3680460"/>
                  <a:gd name="connsiteX80" fmla="*/ 30480 w 3018472"/>
                  <a:gd name="connsiteY80" fmla="*/ 3345180 h 3680460"/>
                  <a:gd name="connsiteX81" fmla="*/ 137160 w 3018472"/>
                  <a:gd name="connsiteY81" fmla="*/ 3360420 h 3680460"/>
                  <a:gd name="connsiteX82" fmla="*/ 167640 w 3018472"/>
                  <a:gd name="connsiteY82" fmla="*/ 3390900 h 3680460"/>
                  <a:gd name="connsiteX83" fmla="*/ 198120 w 3018472"/>
                  <a:gd name="connsiteY83" fmla="*/ 3406140 h 3680460"/>
                  <a:gd name="connsiteX84" fmla="*/ 350520 w 3018472"/>
                  <a:gd name="connsiteY84" fmla="*/ 3436620 h 3680460"/>
                  <a:gd name="connsiteX85" fmla="*/ 381000 w 3018472"/>
                  <a:gd name="connsiteY85" fmla="*/ 3451860 h 3680460"/>
                  <a:gd name="connsiteX86" fmla="*/ 449580 w 3018472"/>
                  <a:gd name="connsiteY86" fmla="*/ 3489960 h 3680460"/>
                  <a:gd name="connsiteX87" fmla="*/ 495300 w 3018472"/>
                  <a:gd name="connsiteY87" fmla="*/ 3520440 h 3680460"/>
                  <a:gd name="connsiteX88" fmla="*/ 525780 w 3018472"/>
                  <a:gd name="connsiteY88" fmla="*/ 3535680 h 3680460"/>
                  <a:gd name="connsiteX89" fmla="*/ 731520 w 3018472"/>
                  <a:gd name="connsiteY89" fmla="*/ 3558540 h 3680460"/>
                  <a:gd name="connsiteX90" fmla="*/ 1341120 w 3018472"/>
                  <a:gd name="connsiteY90" fmla="*/ 3550920 h 3680460"/>
                  <a:gd name="connsiteX91" fmla="*/ 1440180 w 3018472"/>
                  <a:gd name="connsiteY91" fmla="*/ 3528060 h 3680460"/>
                  <a:gd name="connsiteX92" fmla="*/ 1539240 w 3018472"/>
                  <a:gd name="connsiteY92" fmla="*/ 3520440 h 3680460"/>
                  <a:gd name="connsiteX93" fmla="*/ 1562100 w 3018472"/>
                  <a:gd name="connsiteY93" fmla="*/ 3512820 h 3680460"/>
                  <a:gd name="connsiteX94" fmla="*/ 1630680 w 3018472"/>
                  <a:gd name="connsiteY94" fmla="*/ 3497580 h 3680460"/>
                  <a:gd name="connsiteX95" fmla="*/ 1699260 w 3018472"/>
                  <a:gd name="connsiteY95" fmla="*/ 3474720 h 3680460"/>
                  <a:gd name="connsiteX96" fmla="*/ 1790700 w 3018472"/>
                  <a:gd name="connsiteY96" fmla="*/ 3451860 h 3680460"/>
                  <a:gd name="connsiteX97" fmla="*/ 1821180 w 3018472"/>
                  <a:gd name="connsiteY97" fmla="*/ 3444240 h 3680460"/>
                  <a:gd name="connsiteX98" fmla="*/ 1844040 w 3018472"/>
                  <a:gd name="connsiteY98" fmla="*/ 3429000 h 3680460"/>
                  <a:gd name="connsiteX99" fmla="*/ 1874520 w 3018472"/>
                  <a:gd name="connsiteY99" fmla="*/ 3421380 h 3680460"/>
                  <a:gd name="connsiteX100" fmla="*/ 1927860 w 3018472"/>
                  <a:gd name="connsiteY100" fmla="*/ 3398520 h 3680460"/>
                  <a:gd name="connsiteX101" fmla="*/ 1950720 w 3018472"/>
                  <a:gd name="connsiteY101" fmla="*/ 3390900 h 3680460"/>
                  <a:gd name="connsiteX102" fmla="*/ 2004060 w 3018472"/>
                  <a:gd name="connsiteY102" fmla="*/ 3360420 h 3680460"/>
                  <a:gd name="connsiteX103" fmla="*/ 2042160 w 3018472"/>
                  <a:gd name="connsiteY103" fmla="*/ 3352800 h 3680460"/>
                  <a:gd name="connsiteX104" fmla="*/ 2080260 w 3018472"/>
                  <a:gd name="connsiteY104" fmla="*/ 3337560 h 3680460"/>
                  <a:gd name="connsiteX105" fmla="*/ 2156460 w 3018472"/>
                  <a:gd name="connsiteY105" fmla="*/ 3299460 h 3680460"/>
                  <a:gd name="connsiteX106" fmla="*/ 2179320 w 3018472"/>
                  <a:gd name="connsiteY106" fmla="*/ 3284220 h 3680460"/>
                  <a:gd name="connsiteX107" fmla="*/ 2209800 w 3018472"/>
                  <a:gd name="connsiteY107" fmla="*/ 3276600 h 3680460"/>
                  <a:gd name="connsiteX108" fmla="*/ 2263140 w 3018472"/>
                  <a:gd name="connsiteY108" fmla="*/ 3230880 h 3680460"/>
                  <a:gd name="connsiteX109" fmla="*/ 2346960 w 3018472"/>
                  <a:gd name="connsiteY109" fmla="*/ 3154680 h 3680460"/>
                  <a:gd name="connsiteX110" fmla="*/ 2400300 w 3018472"/>
                  <a:gd name="connsiteY110" fmla="*/ 3070860 h 3680460"/>
                  <a:gd name="connsiteX111" fmla="*/ 2415540 w 3018472"/>
                  <a:gd name="connsiteY111" fmla="*/ 3048000 h 3680460"/>
                  <a:gd name="connsiteX112" fmla="*/ 2446020 w 3018472"/>
                  <a:gd name="connsiteY112" fmla="*/ 3032760 h 3680460"/>
                  <a:gd name="connsiteX113" fmla="*/ 2468880 w 3018472"/>
                  <a:gd name="connsiteY113" fmla="*/ 3009900 h 3680460"/>
                  <a:gd name="connsiteX114" fmla="*/ 2537460 w 3018472"/>
                  <a:gd name="connsiteY114" fmla="*/ 2926080 h 3680460"/>
                  <a:gd name="connsiteX115" fmla="*/ 2575560 w 3018472"/>
                  <a:gd name="connsiteY115" fmla="*/ 2880360 h 3680460"/>
                  <a:gd name="connsiteX116" fmla="*/ 2628900 w 3018472"/>
                  <a:gd name="connsiteY116" fmla="*/ 2811780 h 3680460"/>
                  <a:gd name="connsiteX117" fmla="*/ 2644140 w 3018472"/>
                  <a:gd name="connsiteY117" fmla="*/ 2773680 h 3680460"/>
                  <a:gd name="connsiteX118" fmla="*/ 2674620 w 3018472"/>
                  <a:gd name="connsiteY118" fmla="*/ 2727960 h 3680460"/>
                  <a:gd name="connsiteX119" fmla="*/ 2689860 w 3018472"/>
                  <a:gd name="connsiteY119" fmla="*/ 2705100 h 3680460"/>
                  <a:gd name="connsiteX120" fmla="*/ 2705100 w 3018472"/>
                  <a:gd name="connsiteY120" fmla="*/ 2667000 h 3680460"/>
                  <a:gd name="connsiteX121" fmla="*/ 2727960 w 3018472"/>
                  <a:gd name="connsiteY121" fmla="*/ 2621280 h 3680460"/>
                  <a:gd name="connsiteX122" fmla="*/ 2735580 w 3018472"/>
                  <a:gd name="connsiteY122" fmla="*/ 2590800 h 3680460"/>
                  <a:gd name="connsiteX123" fmla="*/ 2758440 w 3018472"/>
                  <a:gd name="connsiteY123" fmla="*/ 2545080 h 3680460"/>
                  <a:gd name="connsiteX124" fmla="*/ 2788920 w 3018472"/>
                  <a:gd name="connsiteY124" fmla="*/ 2484120 h 3680460"/>
                  <a:gd name="connsiteX125" fmla="*/ 2811780 w 3018472"/>
                  <a:gd name="connsiteY125" fmla="*/ 2407920 h 3680460"/>
                  <a:gd name="connsiteX126" fmla="*/ 2842260 w 3018472"/>
                  <a:gd name="connsiteY126" fmla="*/ 2324100 h 3680460"/>
                  <a:gd name="connsiteX127" fmla="*/ 2857500 w 3018472"/>
                  <a:gd name="connsiteY127" fmla="*/ 2247900 h 3680460"/>
                  <a:gd name="connsiteX128" fmla="*/ 2872740 w 3018472"/>
                  <a:gd name="connsiteY128" fmla="*/ 2194560 h 3680460"/>
                  <a:gd name="connsiteX129" fmla="*/ 2887980 w 3018472"/>
                  <a:gd name="connsiteY129" fmla="*/ 2148840 h 3680460"/>
                  <a:gd name="connsiteX130" fmla="*/ 2910840 w 3018472"/>
                  <a:gd name="connsiteY130" fmla="*/ 2087880 h 3680460"/>
                  <a:gd name="connsiteX131" fmla="*/ 2918460 w 3018472"/>
                  <a:gd name="connsiteY131" fmla="*/ 2049780 h 3680460"/>
                  <a:gd name="connsiteX132" fmla="*/ 2933700 w 3018472"/>
                  <a:gd name="connsiteY132" fmla="*/ 1844040 h 3680460"/>
                  <a:gd name="connsiteX133" fmla="*/ 2918460 w 3018472"/>
                  <a:gd name="connsiteY133" fmla="*/ 1470660 h 3680460"/>
                  <a:gd name="connsiteX134" fmla="*/ 2895600 w 3018472"/>
                  <a:gd name="connsiteY134" fmla="*/ 1371600 h 3680460"/>
                  <a:gd name="connsiteX135" fmla="*/ 2880360 w 3018472"/>
                  <a:gd name="connsiteY135" fmla="*/ 1341120 h 3680460"/>
                  <a:gd name="connsiteX136" fmla="*/ 2857500 w 3018472"/>
                  <a:gd name="connsiteY136" fmla="*/ 1272540 h 3680460"/>
                  <a:gd name="connsiteX137" fmla="*/ 2849880 w 3018472"/>
                  <a:gd name="connsiteY137" fmla="*/ 1234440 h 3680460"/>
                  <a:gd name="connsiteX138" fmla="*/ 2827020 w 3018472"/>
                  <a:gd name="connsiteY138" fmla="*/ 1196340 h 3680460"/>
                  <a:gd name="connsiteX139" fmla="*/ 2811780 w 3018472"/>
                  <a:gd name="connsiteY139" fmla="*/ 1165860 h 3680460"/>
                  <a:gd name="connsiteX140" fmla="*/ 2781300 w 3018472"/>
                  <a:gd name="connsiteY140" fmla="*/ 1127760 h 3680460"/>
                  <a:gd name="connsiteX141" fmla="*/ 2766060 w 3018472"/>
                  <a:gd name="connsiteY141" fmla="*/ 1089660 h 3680460"/>
                  <a:gd name="connsiteX142" fmla="*/ 2735580 w 3018472"/>
                  <a:gd name="connsiteY142" fmla="*/ 1043940 h 3680460"/>
                  <a:gd name="connsiteX143" fmla="*/ 2727960 w 3018472"/>
                  <a:gd name="connsiteY143" fmla="*/ 1021080 h 3680460"/>
                  <a:gd name="connsiteX144" fmla="*/ 2682240 w 3018472"/>
                  <a:gd name="connsiteY144" fmla="*/ 937260 h 3680460"/>
                  <a:gd name="connsiteX145" fmla="*/ 2659380 w 3018472"/>
                  <a:gd name="connsiteY145" fmla="*/ 876300 h 3680460"/>
                  <a:gd name="connsiteX146" fmla="*/ 2644140 w 3018472"/>
                  <a:gd name="connsiteY146" fmla="*/ 845820 h 3680460"/>
                  <a:gd name="connsiteX147" fmla="*/ 2636520 w 3018472"/>
                  <a:gd name="connsiteY147" fmla="*/ 822960 h 3680460"/>
                  <a:gd name="connsiteX148" fmla="*/ 2621280 w 3018472"/>
                  <a:gd name="connsiteY148" fmla="*/ 800100 h 3680460"/>
                  <a:gd name="connsiteX149" fmla="*/ 2598420 w 3018472"/>
                  <a:gd name="connsiteY149" fmla="*/ 739140 h 3680460"/>
                  <a:gd name="connsiteX150" fmla="*/ 2458403 w 3018472"/>
                  <a:gd name="connsiteY150" fmla="*/ 621983 h 3680460"/>
                  <a:gd name="connsiteX151" fmla="*/ 2301240 w 3018472"/>
                  <a:gd name="connsiteY151" fmla="*/ 458152 h 3680460"/>
                  <a:gd name="connsiteX152" fmla="*/ 2237423 w 3018472"/>
                  <a:gd name="connsiteY152" fmla="*/ 406717 h 3680460"/>
                  <a:gd name="connsiteX153" fmla="*/ 2103120 w 3018472"/>
                  <a:gd name="connsiteY153" fmla="*/ 312420 h 3680460"/>
                  <a:gd name="connsiteX154" fmla="*/ 2042160 w 3018472"/>
                  <a:gd name="connsiteY154" fmla="*/ 266700 h 3680460"/>
                  <a:gd name="connsiteX155" fmla="*/ 2004060 w 3018472"/>
                  <a:gd name="connsiteY155" fmla="*/ 251460 h 3680460"/>
                  <a:gd name="connsiteX156" fmla="*/ 1958340 w 3018472"/>
                  <a:gd name="connsiteY156" fmla="*/ 220980 h 3680460"/>
                  <a:gd name="connsiteX157" fmla="*/ 1897380 w 3018472"/>
                  <a:gd name="connsiteY15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95600 w 3018472"/>
                  <a:gd name="connsiteY34" fmla="*/ 2484120 h 3680460"/>
                  <a:gd name="connsiteX35" fmla="*/ 2872740 w 3018472"/>
                  <a:gd name="connsiteY35" fmla="*/ 2583180 h 3680460"/>
                  <a:gd name="connsiteX36" fmla="*/ 2857500 w 3018472"/>
                  <a:gd name="connsiteY36" fmla="*/ 2606040 h 3680460"/>
                  <a:gd name="connsiteX37" fmla="*/ 2834640 w 3018472"/>
                  <a:gd name="connsiteY37" fmla="*/ 2689860 h 3680460"/>
                  <a:gd name="connsiteX38" fmla="*/ 2811780 w 3018472"/>
                  <a:gd name="connsiteY38" fmla="*/ 2750820 h 3680460"/>
                  <a:gd name="connsiteX39" fmla="*/ 2788920 w 3018472"/>
                  <a:gd name="connsiteY39" fmla="*/ 2781300 h 3680460"/>
                  <a:gd name="connsiteX40" fmla="*/ 2781300 w 3018472"/>
                  <a:gd name="connsiteY40" fmla="*/ 2804160 h 3680460"/>
                  <a:gd name="connsiteX41" fmla="*/ 2743200 w 3018472"/>
                  <a:gd name="connsiteY41" fmla="*/ 2865120 h 3680460"/>
                  <a:gd name="connsiteX42" fmla="*/ 2712720 w 3018472"/>
                  <a:gd name="connsiteY42" fmla="*/ 2903220 h 3680460"/>
                  <a:gd name="connsiteX43" fmla="*/ 2697480 w 3018472"/>
                  <a:gd name="connsiteY43" fmla="*/ 2933700 h 3680460"/>
                  <a:gd name="connsiteX44" fmla="*/ 2674620 w 3018472"/>
                  <a:gd name="connsiteY44" fmla="*/ 2964180 h 3680460"/>
                  <a:gd name="connsiteX45" fmla="*/ 2644140 w 3018472"/>
                  <a:gd name="connsiteY45" fmla="*/ 3009900 h 3680460"/>
                  <a:gd name="connsiteX46" fmla="*/ 2598420 w 3018472"/>
                  <a:gd name="connsiteY46" fmla="*/ 3055620 h 3680460"/>
                  <a:gd name="connsiteX47" fmla="*/ 2575560 w 3018472"/>
                  <a:gd name="connsiteY47" fmla="*/ 3078480 h 3680460"/>
                  <a:gd name="connsiteX48" fmla="*/ 2476500 w 3018472"/>
                  <a:gd name="connsiteY48" fmla="*/ 3169920 h 3680460"/>
                  <a:gd name="connsiteX49" fmla="*/ 2377440 w 3018472"/>
                  <a:gd name="connsiteY49" fmla="*/ 3223260 h 3680460"/>
                  <a:gd name="connsiteX50" fmla="*/ 2293620 w 3018472"/>
                  <a:gd name="connsiteY50" fmla="*/ 3284220 h 3680460"/>
                  <a:gd name="connsiteX51" fmla="*/ 2240280 w 3018472"/>
                  <a:gd name="connsiteY51" fmla="*/ 3314700 h 3680460"/>
                  <a:gd name="connsiteX52" fmla="*/ 2225040 w 3018472"/>
                  <a:gd name="connsiteY52" fmla="*/ 3337560 h 3680460"/>
                  <a:gd name="connsiteX53" fmla="*/ 2141220 w 3018472"/>
                  <a:gd name="connsiteY53" fmla="*/ 3390900 h 3680460"/>
                  <a:gd name="connsiteX54" fmla="*/ 2110740 w 3018472"/>
                  <a:gd name="connsiteY54" fmla="*/ 3413760 h 3680460"/>
                  <a:gd name="connsiteX55" fmla="*/ 2072640 w 3018472"/>
                  <a:gd name="connsiteY55" fmla="*/ 3451860 h 3680460"/>
                  <a:gd name="connsiteX56" fmla="*/ 2019300 w 3018472"/>
                  <a:gd name="connsiteY56" fmla="*/ 3467100 h 3680460"/>
                  <a:gd name="connsiteX57" fmla="*/ 1874520 w 3018472"/>
                  <a:gd name="connsiteY57" fmla="*/ 3512820 h 3680460"/>
                  <a:gd name="connsiteX58" fmla="*/ 1828800 w 3018472"/>
                  <a:gd name="connsiteY58" fmla="*/ 3520440 h 3680460"/>
                  <a:gd name="connsiteX59" fmla="*/ 1722120 w 3018472"/>
                  <a:gd name="connsiteY59" fmla="*/ 3550920 h 3680460"/>
                  <a:gd name="connsiteX60" fmla="*/ 1600200 w 3018472"/>
                  <a:gd name="connsiteY60" fmla="*/ 3589020 h 3680460"/>
                  <a:gd name="connsiteX61" fmla="*/ 1569720 w 3018472"/>
                  <a:gd name="connsiteY61" fmla="*/ 3596640 h 3680460"/>
                  <a:gd name="connsiteX62" fmla="*/ 1546860 w 3018472"/>
                  <a:gd name="connsiteY62" fmla="*/ 3611880 h 3680460"/>
                  <a:gd name="connsiteX63" fmla="*/ 1463040 w 3018472"/>
                  <a:gd name="connsiteY63" fmla="*/ 3627120 h 3680460"/>
                  <a:gd name="connsiteX64" fmla="*/ 1333500 w 3018472"/>
                  <a:gd name="connsiteY64" fmla="*/ 3657600 h 3680460"/>
                  <a:gd name="connsiteX65" fmla="*/ 1203960 w 3018472"/>
                  <a:gd name="connsiteY65" fmla="*/ 3672840 h 3680460"/>
                  <a:gd name="connsiteX66" fmla="*/ 1165860 w 3018472"/>
                  <a:gd name="connsiteY66" fmla="*/ 3680460 h 3680460"/>
                  <a:gd name="connsiteX67" fmla="*/ 449580 w 3018472"/>
                  <a:gd name="connsiteY67" fmla="*/ 3672840 h 3680460"/>
                  <a:gd name="connsiteX68" fmla="*/ 426720 w 3018472"/>
                  <a:gd name="connsiteY68" fmla="*/ 3665220 h 3680460"/>
                  <a:gd name="connsiteX69" fmla="*/ 388620 w 3018472"/>
                  <a:gd name="connsiteY69" fmla="*/ 3657600 h 3680460"/>
                  <a:gd name="connsiteX70" fmla="*/ 335280 w 3018472"/>
                  <a:gd name="connsiteY70" fmla="*/ 3627120 h 3680460"/>
                  <a:gd name="connsiteX71" fmla="*/ 266700 w 3018472"/>
                  <a:gd name="connsiteY71" fmla="*/ 3604260 h 3680460"/>
                  <a:gd name="connsiteX72" fmla="*/ 243840 w 3018472"/>
                  <a:gd name="connsiteY72" fmla="*/ 3589020 h 3680460"/>
                  <a:gd name="connsiteX73" fmla="*/ 160020 w 3018472"/>
                  <a:gd name="connsiteY73" fmla="*/ 3558540 h 3680460"/>
                  <a:gd name="connsiteX74" fmla="*/ 137160 w 3018472"/>
                  <a:gd name="connsiteY74" fmla="*/ 3535680 h 3680460"/>
                  <a:gd name="connsiteX75" fmla="*/ 99060 w 3018472"/>
                  <a:gd name="connsiteY75" fmla="*/ 3520440 h 3680460"/>
                  <a:gd name="connsiteX76" fmla="*/ 83820 w 3018472"/>
                  <a:gd name="connsiteY76" fmla="*/ 3489960 h 3680460"/>
                  <a:gd name="connsiteX77" fmla="*/ 45720 w 3018472"/>
                  <a:gd name="connsiteY77" fmla="*/ 3436620 h 3680460"/>
                  <a:gd name="connsiteX78" fmla="*/ 0 w 3018472"/>
                  <a:gd name="connsiteY78" fmla="*/ 3352800 h 3680460"/>
                  <a:gd name="connsiteX79" fmla="*/ 30480 w 3018472"/>
                  <a:gd name="connsiteY79" fmla="*/ 3345180 h 3680460"/>
                  <a:gd name="connsiteX80" fmla="*/ 137160 w 3018472"/>
                  <a:gd name="connsiteY80" fmla="*/ 3360420 h 3680460"/>
                  <a:gd name="connsiteX81" fmla="*/ 167640 w 3018472"/>
                  <a:gd name="connsiteY81" fmla="*/ 3390900 h 3680460"/>
                  <a:gd name="connsiteX82" fmla="*/ 198120 w 3018472"/>
                  <a:gd name="connsiteY82" fmla="*/ 3406140 h 3680460"/>
                  <a:gd name="connsiteX83" fmla="*/ 350520 w 3018472"/>
                  <a:gd name="connsiteY83" fmla="*/ 3436620 h 3680460"/>
                  <a:gd name="connsiteX84" fmla="*/ 381000 w 3018472"/>
                  <a:gd name="connsiteY84" fmla="*/ 3451860 h 3680460"/>
                  <a:gd name="connsiteX85" fmla="*/ 449580 w 3018472"/>
                  <a:gd name="connsiteY85" fmla="*/ 3489960 h 3680460"/>
                  <a:gd name="connsiteX86" fmla="*/ 495300 w 3018472"/>
                  <a:gd name="connsiteY86" fmla="*/ 3520440 h 3680460"/>
                  <a:gd name="connsiteX87" fmla="*/ 525780 w 3018472"/>
                  <a:gd name="connsiteY87" fmla="*/ 3535680 h 3680460"/>
                  <a:gd name="connsiteX88" fmla="*/ 731520 w 3018472"/>
                  <a:gd name="connsiteY88" fmla="*/ 3558540 h 3680460"/>
                  <a:gd name="connsiteX89" fmla="*/ 1341120 w 3018472"/>
                  <a:gd name="connsiteY89" fmla="*/ 3550920 h 3680460"/>
                  <a:gd name="connsiteX90" fmla="*/ 1440180 w 3018472"/>
                  <a:gd name="connsiteY90" fmla="*/ 3528060 h 3680460"/>
                  <a:gd name="connsiteX91" fmla="*/ 1539240 w 3018472"/>
                  <a:gd name="connsiteY91" fmla="*/ 3520440 h 3680460"/>
                  <a:gd name="connsiteX92" fmla="*/ 1562100 w 3018472"/>
                  <a:gd name="connsiteY92" fmla="*/ 3512820 h 3680460"/>
                  <a:gd name="connsiteX93" fmla="*/ 1630680 w 3018472"/>
                  <a:gd name="connsiteY93" fmla="*/ 3497580 h 3680460"/>
                  <a:gd name="connsiteX94" fmla="*/ 1699260 w 3018472"/>
                  <a:gd name="connsiteY94" fmla="*/ 3474720 h 3680460"/>
                  <a:gd name="connsiteX95" fmla="*/ 1790700 w 3018472"/>
                  <a:gd name="connsiteY95" fmla="*/ 3451860 h 3680460"/>
                  <a:gd name="connsiteX96" fmla="*/ 1821180 w 3018472"/>
                  <a:gd name="connsiteY96" fmla="*/ 3444240 h 3680460"/>
                  <a:gd name="connsiteX97" fmla="*/ 1844040 w 3018472"/>
                  <a:gd name="connsiteY97" fmla="*/ 3429000 h 3680460"/>
                  <a:gd name="connsiteX98" fmla="*/ 1874520 w 3018472"/>
                  <a:gd name="connsiteY98" fmla="*/ 3421380 h 3680460"/>
                  <a:gd name="connsiteX99" fmla="*/ 1927860 w 3018472"/>
                  <a:gd name="connsiteY99" fmla="*/ 3398520 h 3680460"/>
                  <a:gd name="connsiteX100" fmla="*/ 1950720 w 3018472"/>
                  <a:gd name="connsiteY100" fmla="*/ 3390900 h 3680460"/>
                  <a:gd name="connsiteX101" fmla="*/ 2004060 w 3018472"/>
                  <a:gd name="connsiteY101" fmla="*/ 3360420 h 3680460"/>
                  <a:gd name="connsiteX102" fmla="*/ 2042160 w 3018472"/>
                  <a:gd name="connsiteY102" fmla="*/ 3352800 h 3680460"/>
                  <a:gd name="connsiteX103" fmla="*/ 2080260 w 3018472"/>
                  <a:gd name="connsiteY103" fmla="*/ 3337560 h 3680460"/>
                  <a:gd name="connsiteX104" fmla="*/ 2156460 w 3018472"/>
                  <a:gd name="connsiteY104" fmla="*/ 3299460 h 3680460"/>
                  <a:gd name="connsiteX105" fmla="*/ 2179320 w 3018472"/>
                  <a:gd name="connsiteY105" fmla="*/ 3284220 h 3680460"/>
                  <a:gd name="connsiteX106" fmla="*/ 2209800 w 3018472"/>
                  <a:gd name="connsiteY106" fmla="*/ 3276600 h 3680460"/>
                  <a:gd name="connsiteX107" fmla="*/ 2263140 w 3018472"/>
                  <a:gd name="connsiteY107" fmla="*/ 3230880 h 3680460"/>
                  <a:gd name="connsiteX108" fmla="*/ 2346960 w 3018472"/>
                  <a:gd name="connsiteY108" fmla="*/ 3154680 h 3680460"/>
                  <a:gd name="connsiteX109" fmla="*/ 2400300 w 3018472"/>
                  <a:gd name="connsiteY109" fmla="*/ 3070860 h 3680460"/>
                  <a:gd name="connsiteX110" fmla="*/ 2415540 w 3018472"/>
                  <a:gd name="connsiteY110" fmla="*/ 3048000 h 3680460"/>
                  <a:gd name="connsiteX111" fmla="*/ 2446020 w 3018472"/>
                  <a:gd name="connsiteY111" fmla="*/ 3032760 h 3680460"/>
                  <a:gd name="connsiteX112" fmla="*/ 2468880 w 3018472"/>
                  <a:gd name="connsiteY112" fmla="*/ 3009900 h 3680460"/>
                  <a:gd name="connsiteX113" fmla="*/ 2537460 w 3018472"/>
                  <a:gd name="connsiteY113" fmla="*/ 2926080 h 3680460"/>
                  <a:gd name="connsiteX114" fmla="*/ 2575560 w 3018472"/>
                  <a:gd name="connsiteY114" fmla="*/ 2880360 h 3680460"/>
                  <a:gd name="connsiteX115" fmla="*/ 2628900 w 3018472"/>
                  <a:gd name="connsiteY115" fmla="*/ 2811780 h 3680460"/>
                  <a:gd name="connsiteX116" fmla="*/ 2644140 w 3018472"/>
                  <a:gd name="connsiteY116" fmla="*/ 2773680 h 3680460"/>
                  <a:gd name="connsiteX117" fmla="*/ 2674620 w 3018472"/>
                  <a:gd name="connsiteY117" fmla="*/ 2727960 h 3680460"/>
                  <a:gd name="connsiteX118" fmla="*/ 2689860 w 3018472"/>
                  <a:gd name="connsiteY118" fmla="*/ 2705100 h 3680460"/>
                  <a:gd name="connsiteX119" fmla="*/ 2705100 w 3018472"/>
                  <a:gd name="connsiteY119" fmla="*/ 2667000 h 3680460"/>
                  <a:gd name="connsiteX120" fmla="*/ 2727960 w 3018472"/>
                  <a:gd name="connsiteY120" fmla="*/ 2621280 h 3680460"/>
                  <a:gd name="connsiteX121" fmla="*/ 2735580 w 3018472"/>
                  <a:gd name="connsiteY121" fmla="*/ 2590800 h 3680460"/>
                  <a:gd name="connsiteX122" fmla="*/ 2758440 w 3018472"/>
                  <a:gd name="connsiteY122" fmla="*/ 2545080 h 3680460"/>
                  <a:gd name="connsiteX123" fmla="*/ 2788920 w 3018472"/>
                  <a:gd name="connsiteY123" fmla="*/ 2484120 h 3680460"/>
                  <a:gd name="connsiteX124" fmla="*/ 2811780 w 3018472"/>
                  <a:gd name="connsiteY124" fmla="*/ 2407920 h 3680460"/>
                  <a:gd name="connsiteX125" fmla="*/ 2842260 w 3018472"/>
                  <a:gd name="connsiteY125" fmla="*/ 2324100 h 3680460"/>
                  <a:gd name="connsiteX126" fmla="*/ 2857500 w 3018472"/>
                  <a:gd name="connsiteY126" fmla="*/ 2247900 h 3680460"/>
                  <a:gd name="connsiteX127" fmla="*/ 2872740 w 3018472"/>
                  <a:gd name="connsiteY127" fmla="*/ 2194560 h 3680460"/>
                  <a:gd name="connsiteX128" fmla="*/ 2887980 w 3018472"/>
                  <a:gd name="connsiteY128" fmla="*/ 2148840 h 3680460"/>
                  <a:gd name="connsiteX129" fmla="*/ 2910840 w 3018472"/>
                  <a:gd name="connsiteY129" fmla="*/ 2087880 h 3680460"/>
                  <a:gd name="connsiteX130" fmla="*/ 2918460 w 3018472"/>
                  <a:gd name="connsiteY130" fmla="*/ 2049780 h 3680460"/>
                  <a:gd name="connsiteX131" fmla="*/ 2933700 w 3018472"/>
                  <a:gd name="connsiteY131" fmla="*/ 1844040 h 3680460"/>
                  <a:gd name="connsiteX132" fmla="*/ 2918460 w 3018472"/>
                  <a:gd name="connsiteY132" fmla="*/ 1470660 h 3680460"/>
                  <a:gd name="connsiteX133" fmla="*/ 2895600 w 3018472"/>
                  <a:gd name="connsiteY133" fmla="*/ 1371600 h 3680460"/>
                  <a:gd name="connsiteX134" fmla="*/ 2880360 w 3018472"/>
                  <a:gd name="connsiteY134" fmla="*/ 1341120 h 3680460"/>
                  <a:gd name="connsiteX135" fmla="*/ 2857500 w 3018472"/>
                  <a:gd name="connsiteY135" fmla="*/ 1272540 h 3680460"/>
                  <a:gd name="connsiteX136" fmla="*/ 2849880 w 3018472"/>
                  <a:gd name="connsiteY136" fmla="*/ 1234440 h 3680460"/>
                  <a:gd name="connsiteX137" fmla="*/ 2827020 w 3018472"/>
                  <a:gd name="connsiteY137" fmla="*/ 1196340 h 3680460"/>
                  <a:gd name="connsiteX138" fmla="*/ 2811780 w 3018472"/>
                  <a:gd name="connsiteY138" fmla="*/ 1165860 h 3680460"/>
                  <a:gd name="connsiteX139" fmla="*/ 2781300 w 3018472"/>
                  <a:gd name="connsiteY139" fmla="*/ 1127760 h 3680460"/>
                  <a:gd name="connsiteX140" fmla="*/ 2766060 w 3018472"/>
                  <a:gd name="connsiteY140" fmla="*/ 1089660 h 3680460"/>
                  <a:gd name="connsiteX141" fmla="*/ 2735580 w 3018472"/>
                  <a:gd name="connsiteY141" fmla="*/ 1043940 h 3680460"/>
                  <a:gd name="connsiteX142" fmla="*/ 2727960 w 3018472"/>
                  <a:gd name="connsiteY142" fmla="*/ 1021080 h 3680460"/>
                  <a:gd name="connsiteX143" fmla="*/ 2682240 w 3018472"/>
                  <a:gd name="connsiteY143" fmla="*/ 937260 h 3680460"/>
                  <a:gd name="connsiteX144" fmla="*/ 2659380 w 3018472"/>
                  <a:gd name="connsiteY144" fmla="*/ 876300 h 3680460"/>
                  <a:gd name="connsiteX145" fmla="*/ 2644140 w 3018472"/>
                  <a:gd name="connsiteY145" fmla="*/ 845820 h 3680460"/>
                  <a:gd name="connsiteX146" fmla="*/ 2636520 w 3018472"/>
                  <a:gd name="connsiteY146" fmla="*/ 822960 h 3680460"/>
                  <a:gd name="connsiteX147" fmla="*/ 2621280 w 3018472"/>
                  <a:gd name="connsiteY147" fmla="*/ 800100 h 3680460"/>
                  <a:gd name="connsiteX148" fmla="*/ 2598420 w 3018472"/>
                  <a:gd name="connsiteY148" fmla="*/ 739140 h 3680460"/>
                  <a:gd name="connsiteX149" fmla="*/ 2458403 w 3018472"/>
                  <a:gd name="connsiteY149" fmla="*/ 621983 h 3680460"/>
                  <a:gd name="connsiteX150" fmla="*/ 2301240 w 3018472"/>
                  <a:gd name="connsiteY150" fmla="*/ 458152 h 3680460"/>
                  <a:gd name="connsiteX151" fmla="*/ 2237423 w 3018472"/>
                  <a:gd name="connsiteY151" fmla="*/ 406717 h 3680460"/>
                  <a:gd name="connsiteX152" fmla="*/ 2103120 w 3018472"/>
                  <a:gd name="connsiteY152" fmla="*/ 312420 h 3680460"/>
                  <a:gd name="connsiteX153" fmla="*/ 2042160 w 3018472"/>
                  <a:gd name="connsiteY153" fmla="*/ 266700 h 3680460"/>
                  <a:gd name="connsiteX154" fmla="*/ 2004060 w 3018472"/>
                  <a:gd name="connsiteY154" fmla="*/ 251460 h 3680460"/>
                  <a:gd name="connsiteX155" fmla="*/ 1958340 w 3018472"/>
                  <a:gd name="connsiteY155" fmla="*/ 220980 h 3680460"/>
                  <a:gd name="connsiteX156" fmla="*/ 1897380 w 3018472"/>
                  <a:gd name="connsiteY15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43200 w 3018472"/>
                  <a:gd name="connsiteY40" fmla="*/ 2865120 h 3680460"/>
                  <a:gd name="connsiteX41" fmla="*/ 2712720 w 3018472"/>
                  <a:gd name="connsiteY41" fmla="*/ 2903220 h 3680460"/>
                  <a:gd name="connsiteX42" fmla="*/ 2697480 w 3018472"/>
                  <a:gd name="connsiteY42" fmla="*/ 2933700 h 3680460"/>
                  <a:gd name="connsiteX43" fmla="*/ 2674620 w 3018472"/>
                  <a:gd name="connsiteY43" fmla="*/ 2964180 h 3680460"/>
                  <a:gd name="connsiteX44" fmla="*/ 2644140 w 3018472"/>
                  <a:gd name="connsiteY44" fmla="*/ 3009900 h 3680460"/>
                  <a:gd name="connsiteX45" fmla="*/ 2598420 w 3018472"/>
                  <a:gd name="connsiteY45" fmla="*/ 3055620 h 3680460"/>
                  <a:gd name="connsiteX46" fmla="*/ 2575560 w 3018472"/>
                  <a:gd name="connsiteY46" fmla="*/ 3078480 h 3680460"/>
                  <a:gd name="connsiteX47" fmla="*/ 2476500 w 3018472"/>
                  <a:gd name="connsiteY47" fmla="*/ 3169920 h 3680460"/>
                  <a:gd name="connsiteX48" fmla="*/ 2377440 w 3018472"/>
                  <a:gd name="connsiteY48" fmla="*/ 3223260 h 3680460"/>
                  <a:gd name="connsiteX49" fmla="*/ 2293620 w 3018472"/>
                  <a:gd name="connsiteY49" fmla="*/ 3284220 h 3680460"/>
                  <a:gd name="connsiteX50" fmla="*/ 2240280 w 3018472"/>
                  <a:gd name="connsiteY50" fmla="*/ 3314700 h 3680460"/>
                  <a:gd name="connsiteX51" fmla="*/ 2225040 w 3018472"/>
                  <a:gd name="connsiteY51" fmla="*/ 3337560 h 3680460"/>
                  <a:gd name="connsiteX52" fmla="*/ 2141220 w 3018472"/>
                  <a:gd name="connsiteY52" fmla="*/ 3390900 h 3680460"/>
                  <a:gd name="connsiteX53" fmla="*/ 2110740 w 3018472"/>
                  <a:gd name="connsiteY53" fmla="*/ 3413760 h 3680460"/>
                  <a:gd name="connsiteX54" fmla="*/ 2072640 w 3018472"/>
                  <a:gd name="connsiteY54" fmla="*/ 3451860 h 3680460"/>
                  <a:gd name="connsiteX55" fmla="*/ 2019300 w 3018472"/>
                  <a:gd name="connsiteY55" fmla="*/ 3467100 h 3680460"/>
                  <a:gd name="connsiteX56" fmla="*/ 1874520 w 3018472"/>
                  <a:gd name="connsiteY56" fmla="*/ 3512820 h 3680460"/>
                  <a:gd name="connsiteX57" fmla="*/ 1828800 w 3018472"/>
                  <a:gd name="connsiteY57" fmla="*/ 3520440 h 3680460"/>
                  <a:gd name="connsiteX58" fmla="*/ 1722120 w 3018472"/>
                  <a:gd name="connsiteY58" fmla="*/ 3550920 h 3680460"/>
                  <a:gd name="connsiteX59" fmla="*/ 1600200 w 3018472"/>
                  <a:gd name="connsiteY59" fmla="*/ 3589020 h 3680460"/>
                  <a:gd name="connsiteX60" fmla="*/ 1569720 w 3018472"/>
                  <a:gd name="connsiteY60" fmla="*/ 3596640 h 3680460"/>
                  <a:gd name="connsiteX61" fmla="*/ 1546860 w 3018472"/>
                  <a:gd name="connsiteY61" fmla="*/ 3611880 h 3680460"/>
                  <a:gd name="connsiteX62" fmla="*/ 1463040 w 3018472"/>
                  <a:gd name="connsiteY62" fmla="*/ 3627120 h 3680460"/>
                  <a:gd name="connsiteX63" fmla="*/ 1333500 w 3018472"/>
                  <a:gd name="connsiteY63" fmla="*/ 3657600 h 3680460"/>
                  <a:gd name="connsiteX64" fmla="*/ 1203960 w 3018472"/>
                  <a:gd name="connsiteY64" fmla="*/ 3672840 h 3680460"/>
                  <a:gd name="connsiteX65" fmla="*/ 1165860 w 3018472"/>
                  <a:gd name="connsiteY65" fmla="*/ 3680460 h 3680460"/>
                  <a:gd name="connsiteX66" fmla="*/ 449580 w 3018472"/>
                  <a:gd name="connsiteY66" fmla="*/ 3672840 h 3680460"/>
                  <a:gd name="connsiteX67" fmla="*/ 426720 w 3018472"/>
                  <a:gd name="connsiteY67" fmla="*/ 3665220 h 3680460"/>
                  <a:gd name="connsiteX68" fmla="*/ 388620 w 3018472"/>
                  <a:gd name="connsiteY68" fmla="*/ 3657600 h 3680460"/>
                  <a:gd name="connsiteX69" fmla="*/ 335280 w 3018472"/>
                  <a:gd name="connsiteY69" fmla="*/ 3627120 h 3680460"/>
                  <a:gd name="connsiteX70" fmla="*/ 266700 w 3018472"/>
                  <a:gd name="connsiteY70" fmla="*/ 3604260 h 3680460"/>
                  <a:gd name="connsiteX71" fmla="*/ 243840 w 3018472"/>
                  <a:gd name="connsiteY71" fmla="*/ 3589020 h 3680460"/>
                  <a:gd name="connsiteX72" fmla="*/ 160020 w 3018472"/>
                  <a:gd name="connsiteY72" fmla="*/ 3558540 h 3680460"/>
                  <a:gd name="connsiteX73" fmla="*/ 137160 w 3018472"/>
                  <a:gd name="connsiteY73" fmla="*/ 3535680 h 3680460"/>
                  <a:gd name="connsiteX74" fmla="*/ 99060 w 3018472"/>
                  <a:gd name="connsiteY74" fmla="*/ 3520440 h 3680460"/>
                  <a:gd name="connsiteX75" fmla="*/ 83820 w 3018472"/>
                  <a:gd name="connsiteY75" fmla="*/ 3489960 h 3680460"/>
                  <a:gd name="connsiteX76" fmla="*/ 45720 w 3018472"/>
                  <a:gd name="connsiteY76" fmla="*/ 3436620 h 3680460"/>
                  <a:gd name="connsiteX77" fmla="*/ 0 w 3018472"/>
                  <a:gd name="connsiteY77" fmla="*/ 3352800 h 3680460"/>
                  <a:gd name="connsiteX78" fmla="*/ 30480 w 3018472"/>
                  <a:gd name="connsiteY78" fmla="*/ 3345180 h 3680460"/>
                  <a:gd name="connsiteX79" fmla="*/ 137160 w 3018472"/>
                  <a:gd name="connsiteY79" fmla="*/ 3360420 h 3680460"/>
                  <a:gd name="connsiteX80" fmla="*/ 167640 w 3018472"/>
                  <a:gd name="connsiteY80" fmla="*/ 3390900 h 3680460"/>
                  <a:gd name="connsiteX81" fmla="*/ 198120 w 3018472"/>
                  <a:gd name="connsiteY81" fmla="*/ 3406140 h 3680460"/>
                  <a:gd name="connsiteX82" fmla="*/ 350520 w 3018472"/>
                  <a:gd name="connsiteY82" fmla="*/ 3436620 h 3680460"/>
                  <a:gd name="connsiteX83" fmla="*/ 381000 w 3018472"/>
                  <a:gd name="connsiteY83" fmla="*/ 3451860 h 3680460"/>
                  <a:gd name="connsiteX84" fmla="*/ 449580 w 3018472"/>
                  <a:gd name="connsiteY84" fmla="*/ 3489960 h 3680460"/>
                  <a:gd name="connsiteX85" fmla="*/ 495300 w 3018472"/>
                  <a:gd name="connsiteY85" fmla="*/ 3520440 h 3680460"/>
                  <a:gd name="connsiteX86" fmla="*/ 525780 w 3018472"/>
                  <a:gd name="connsiteY86" fmla="*/ 3535680 h 3680460"/>
                  <a:gd name="connsiteX87" fmla="*/ 731520 w 3018472"/>
                  <a:gd name="connsiteY87" fmla="*/ 3558540 h 3680460"/>
                  <a:gd name="connsiteX88" fmla="*/ 1341120 w 3018472"/>
                  <a:gd name="connsiteY88" fmla="*/ 3550920 h 3680460"/>
                  <a:gd name="connsiteX89" fmla="*/ 1440180 w 3018472"/>
                  <a:gd name="connsiteY89" fmla="*/ 3528060 h 3680460"/>
                  <a:gd name="connsiteX90" fmla="*/ 1539240 w 3018472"/>
                  <a:gd name="connsiteY90" fmla="*/ 3520440 h 3680460"/>
                  <a:gd name="connsiteX91" fmla="*/ 1562100 w 3018472"/>
                  <a:gd name="connsiteY91" fmla="*/ 3512820 h 3680460"/>
                  <a:gd name="connsiteX92" fmla="*/ 1630680 w 3018472"/>
                  <a:gd name="connsiteY92" fmla="*/ 3497580 h 3680460"/>
                  <a:gd name="connsiteX93" fmla="*/ 1699260 w 3018472"/>
                  <a:gd name="connsiteY93" fmla="*/ 3474720 h 3680460"/>
                  <a:gd name="connsiteX94" fmla="*/ 1790700 w 3018472"/>
                  <a:gd name="connsiteY94" fmla="*/ 3451860 h 3680460"/>
                  <a:gd name="connsiteX95" fmla="*/ 1821180 w 3018472"/>
                  <a:gd name="connsiteY95" fmla="*/ 3444240 h 3680460"/>
                  <a:gd name="connsiteX96" fmla="*/ 1844040 w 3018472"/>
                  <a:gd name="connsiteY96" fmla="*/ 3429000 h 3680460"/>
                  <a:gd name="connsiteX97" fmla="*/ 1874520 w 3018472"/>
                  <a:gd name="connsiteY97" fmla="*/ 3421380 h 3680460"/>
                  <a:gd name="connsiteX98" fmla="*/ 1927860 w 3018472"/>
                  <a:gd name="connsiteY98" fmla="*/ 3398520 h 3680460"/>
                  <a:gd name="connsiteX99" fmla="*/ 1950720 w 3018472"/>
                  <a:gd name="connsiteY99" fmla="*/ 3390900 h 3680460"/>
                  <a:gd name="connsiteX100" fmla="*/ 2004060 w 3018472"/>
                  <a:gd name="connsiteY100" fmla="*/ 3360420 h 3680460"/>
                  <a:gd name="connsiteX101" fmla="*/ 2042160 w 3018472"/>
                  <a:gd name="connsiteY101" fmla="*/ 3352800 h 3680460"/>
                  <a:gd name="connsiteX102" fmla="*/ 2080260 w 3018472"/>
                  <a:gd name="connsiteY102" fmla="*/ 3337560 h 3680460"/>
                  <a:gd name="connsiteX103" fmla="*/ 2156460 w 3018472"/>
                  <a:gd name="connsiteY103" fmla="*/ 3299460 h 3680460"/>
                  <a:gd name="connsiteX104" fmla="*/ 2179320 w 3018472"/>
                  <a:gd name="connsiteY104" fmla="*/ 3284220 h 3680460"/>
                  <a:gd name="connsiteX105" fmla="*/ 2209800 w 3018472"/>
                  <a:gd name="connsiteY105" fmla="*/ 3276600 h 3680460"/>
                  <a:gd name="connsiteX106" fmla="*/ 2263140 w 3018472"/>
                  <a:gd name="connsiteY106" fmla="*/ 3230880 h 3680460"/>
                  <a:gd name="connsiteX107" fmla="*/ 2346960 w 3018472"/>
                  <a:gd name="connsiteY107" fmla="*/ 3154680 h 3680460"/>
                  <a:gd name="connsiteX108" fmla="*/ 2400300 w 3018472"/>
                  <a:gd name="connsiteY108" fmla="*/ 3070860 h 3680460"/>
                  <a:gd name="connsiteX109" fmla="*/ 2415540 w 3018472"/>
                  <a:gd name="connsiteY109" fmla="*/ 3048000 h 3680460"/>
                  <a:gd name="connsiteX110" fmla="*/ 2446020 w 3018472"/>
                  <a:gd name="connsiteY110" fmla="*/ 3032760 h 3680460"/>
                  <a:gd name="connsiteX111" fmla="*/ 2468880 w 3018472"/>
                  <a:gd name="connsiteY111" fmla="*/ 3009900 h 3680460"/>
                  <a:gd name="connsiteX112" fmla="*/ 2537460 w 3018472"/>
                  <a:gd name="connsiteY112" fmla="*/ 2926080 h 3680460"/>
                  <a:gd name="connsiteX113" fmla="*/ 2575560 w 3018472"/>
                  <a:gd name="connsiteY113" fmla="*/ 2880360 h 3680460"/>
                  <a:gd name="connsiteX114" fmla="*/ 2628900 w 3018472"/>
                  <a:gd name="connsiteY114" fmla="*/ 2811780 h 3680460"/>
                  <a:gd name="connsiteX115" fmla="*/ 2644140 w 3018472"/>
                  <a:gd name="connsiteY115" fmla="*/ 2773680 h 3680460"/>
                  <a:gd name="connsiteX116" fmla="*/ 2674620 w 3018472"/>
                  <a:gd name="connsiteY116" fmla="*/ 2727960 h 3680460"/>
                  <a:gd name="connsiteX117" fmla="*/ 2689860 w 3018472"/>
                  <a:gd name="connsiteY117" fmla="*/ 2705100 h 3680460"/>
                  <a:gd name="connsiteX118" fmla="*/ 2705100 w 3018472"/>
                  <a:gd name="connsiteY118" fmla="*/ 2667000 h 3680460"/>
                  <a:gd name="connsiteX119" fmla="*/ 2727960 w 3018472"/>
                  <a:gd name="connsiteY119" fmla="*/ 2621280 h 3680460"/>
                  <a:gd name="connsiteX120" fmla="*/ 2735580 w 3018472"/>
                  <a:gd name="connsiteY120" fmla="*/ 2590800 h 3680460"/>
                  <a:gd name="connsiteX121" fmla="*/ 2758440 w 3018472"/>
                  <a:gd name="connsiteY121" fmla="*/ 2545080 h 3680460"/>
                  <a:gd name="connsiteX122" fmla="*/ 2788920 w 3018472"/>
                  <a:gd name="connsiteY122" fmla="*/ 2484120 h 3680460"/>
                  <a:gd name="connsiteX123" fmla="*/ 2811780 w 3018472"/>
                  <a:gd name="connsiteY123" fmla="*/ 2407920 h 3680460"/>
                  <a:gd name="connsiteX124" fmla="*/ 2842260 w 3018472"/>
                  <a:gd name="connsiteY124" fmla="*/ 2324100 h 3680460"/>
                  <a:gd name="connsiteX125" fmla="*/ 2857500 w 3018472"/>
                  <a:gd name="connsiteY125" fmla="*/ 2247900 h 3680460"/>
                  <a:gd name="connsiteX126" fmla="*/ 2872740 w 3018472"/>
                  <a:gd name="connsiteY126" fmla="*/ 2194560 h 3680460"/>
                  <a:gd name="connsiteX127" fmla="*/ 2887980 w 3018472"/>
                  <a:gd name="connsiteY127" fmla="*/ 2148840 h 3680460"/>
                  <a:gd name="connsiteX128" fmla="*/ 2910840 w 3018472"/>
                  <a:gd name="connsiteY128" fmla="*/ 2087880 h 3680460"/>
                  <a:gd name="connsiteX129" fmla="*/ 2918460 w 3018472"/>
                  <a:gd name="connsiteY129" fmla="*/ 2049780 h 3680460"/>
                  <a:gd name="connsiteX130" fmla="*/ 2933700 w 3018472"/>
                  <a:gd name="connsiteY130" fmla="*/ 1844040 h 3680460"/>
                  <a:gd name="connsiteX131" fmla="*/ 2918460 w 3018472"/>
                  <a:gd name="connsiteY131" fmla="*/ 1470660 h 3680460"/>
                  <a:gd name="connsiteX132" fmla="*/ 2895600 w 3018472"/>
                  <a:gd name="connsiteY132" fmla="*/ 1371600 h 3680460"/>
                  <a:gd name="connsiteX133" fmla="*/ 2880360 w 3018472"/>
                  <a:gd name="connsiteY133" fmla="*/ 1341120 h 3680460"/>
                  <a:gd name="connsiteX134" fmla="*/ 2857500 w 3018472"/>
                  <a:gd name="connsiteY134" fmla="*/ 1272540 h 3680460"/>
                  <a:gd name="connsiteX135" fmla="*/ 2849880 w 3018472"/>
                  <a:gd name="connsiteY135" fmla="*/ 1234440 h 3680460"/>
                  <a:gd name="connsiteX136" fmla="*/ 2827020 w 3018472"/>
                  <a:gd name="connsiteY136" fmla="*/ 1196340 h 3680460"/>
                  <a:gd name="connsiteX137" fmla="*/ 2811780 w 3018472"/>
                  <a:gd name="connsiteY137" fmla="*/ 1165860 h 3680460"/>
                  <a:gd name="connsiteX138" fmla="*/ 2781300 w 3018472"/>
                  <a:gd name="connsiteY138" fmla="*/ 1127760 h 3680460"/>
                  <a:gd name="connsiteX139" fmla="*/ 2766060 w 3018472"/>
                  <a:gd name="connsiteY139" fmla="*/ 1089660 h 3680460"/>
                  <a:gd name="connsiteX140" fmla="*/ 2735580 w 3018472"/>
                  <a:gd name="connsiteY140" fmla="*/ 1043940 h 3680460"/>
                  <a:gd name="connsiteX141" fmla="*/ 2727960 w 3018472"/>
                  <a:gd name="connsiteY141" fmla="*/ 1021080 h 3680460"/>
                  <a:gd name="connsiteX142" fmla="*/ 2682240 w 3018472"/>
                  <a:gd name="connsiteY142" fmla="*/ 937260 h 3680460"/>
                  <a:gd name="connsiteX143" fmla="*/ 2659380 w 3018472"/>
                  <a:gd name="connsiteY143" fmla="*/ 876300 h 3680460"/>
                  <a:gd name="connsiteX144" fmla="*/ 2644140 w 3018472"/>
                  <a:gd name="connsiteY144" fmla="*/ 845820 h 3680460"/>
                  <a:gd name="connsiteX145" fmla="*/ 2636520 w 3018472"/>
                  <a:gd name="connsiteY145" fmla="*/ 822960 h 3680460"/>
                  <a:gd name="connsiteX146" fmla="*/ 2621280 w 3018472"/>
                  <a:gd name="connsiteY146" fmla="*/ 800100 h 3680460"/>
                  <a:gd name="connsiteX147" fmla="*/ 2598420 w 3018472"/>
                  <a:gd name="connsiteY147" fmla="*/ 739140 h 3680460"/>
                  <a:gd name="connsiteX148" fmla="*/ 2458403 w 3018472"/>
                  <a:gd name="connsiteY148" fmla="*/ 621983 h 3680460"/>
                  <a:gd name="connsiteX149" fmla="*/ 2301240 w 3018472"/>
                  <a:gd name="connsiteY149" fmla="*/ 458152 h 3680460"/>
                  <a:gd name="connsiteX150" fmla="*/ 2237423 w 3018472"/>
                  <a:gd name="connsiteY150" fmla="*/ 406717 h 3680460"/>
                  <a:gd name="connsiteX151" fmla="*/ 2103120 w 3018472"/>
                  <a:gd name="connsiteY151" fmla="*/ 312420 h 3680460"/>
                  <a:gd name="connsiteX152" fmla="*/ 2042160 w 3018472"/>
                  <a:gd name="connsiteY152" fmla="*/ 266700 h 3680460"/>
                  <a:gd name="connsiteX153" fmla="*/ 2004060 w 3018472"/>
                  <a:gd name="connsiteY153" fmla="*/ 251460 h 3680460"/>
                  <a:gd name="connsiteX154" fmla="*/ 1958340 w 3018472"/>
                  <a:gd name="connsiteY154" fmla="*/ 220980 h 3680460"/>
                  <a:gd name="connsiteX155" fmla="*/ 1897380 w 3018472"/>
                  <a:gd name="connsiteY15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97480 w 3018472"/>
                  <a:gd name="connsiteY41" fmla="*/ 2933700 h 3680460"/>
                  <a:gd name="connsiteX42" fmla="*/ 2674620 w 3018472"/>
                  <a:gd name="connsiteY42" fmla="*/ 2964180 h 3680460"/>
                  <a:gd name="connsiteX43" fmla="*/ 2644140 w 3018472"/>
                  <a:gd name="connsiteY43" fmla="*/ 3009900 h 3680460"/>
                  <a:gd name="connsiteX44" fmla="*/ 2598420 w 3018472"/>
                  <a:gd name="connsiteY44" fmla="*/ 3055620 h 3680460"/>
                  <a:gd name="connsiteX45" fmla="*/ 2575560 w 3018472"/>
                  <a:gd name="connsiteY45" fmla="*/ 3078480 h 3680460"/>
                  <a:gd name="connsiteX46" fmla="*/ 2476500 w 3018472"/>
                  <a:gd name="connsiteY46" fmla="*/ 3169920 h 3680460"/>
                  <a:gd name="connsiteX47" fmla="*/ 2377440 w 3018472"/>
                  <a:gd name="connsiteY47" fmla="*/ 3223260 h 3680460"/>
                  <a:gd name="connsiteX48" fmla="*/ 2293620 w 3018472"/>
                  <a:gd name="connsiteY48" fmla="*/ 3284220 h 3680460"/>
                  <a:gd name="connsiteX49" fmla="*/ 2240280 w 3018472"/>
                  <a:gd name="connsiteY49" fmla="*/ 3314700 h 3680460"/>
                  <a:gd name="connsiteX50" fmla="*/ 2225040 w 3018472"/>
                  <a:gd name="connsiteY50" fmla="*/ 3337560 h 3680460"/>
                  <a:gd name="connsiteX51" fmla="*/ 2141220 w 3018472"/>
                  <a:gd name="connsiteY51" fmla="*/ 3390900 h 3680460"/>
                  <a:gd name="connsiteX52" fmla="*/ 2110740 w 3018472"/>
                  <a:gd name="connsiteY52" fmla="*/ 3413760 h 3680460"/>
                  <a:gd name="connsiteX53" fmla="*/ 2072640 w 3018472"/>
                  <a:gd name="connsiteY53" fmla="*/ 3451860 h 3680460"/>
                  <a:gd name="connsiteX54" fmla="*/ 2019300 w 3018472"/>
                  <a:gd name="connsiteY54" fmla="*/ 3467100 h 3680460"/>
                  <a:gd name="connsiteX55" fmla="*/ 1874520 w 3018472"/>
                  <a:gd name="connsiteY55" fmla="*/ 3512820 h 3680460"/>
                  <a:gd name="connsiteX56" fmla="*/ 1828800 w 3018472"/>
                  <a:gd name="connsiteY56" fmla="*/ 3520440 h 3680460"/>
                  <a:gd name="connsiteX57" fmla="*/ 1722120 w 3018472"/>
                  <a:gd name="connsiteY57" fmla="*/ 3550920 h 3680460"/>
                  <a:gd name="connsiteX58" fmla="*/ 1600200 w 3018472"/>
                  <a:gd name="connsiteY58" fmla="*/ 3589020 h 3680460"/>
                  <a:gd name="connsiteX59" fmla="*/ 1569720 w 3018472"/>
                  <a:gd name="connsiteY59" fmla="*/ 3596640 h 3680460"/>
                  <a:gd name="connsiteX60" fmla="*/ 1546860 w 3018472"/>
                  <a:gd name="connsiteY60" fmla="*/ 3611880 h 3680460"/>
                  <a:gd name="connsiteX61" fmla="*/ 1463040 w 3018472"/>
                  <a:gd name="connsiteY61" fmla="*/ 3627120 h 3680460"/>
                  <a:gd name="connsiteX62" fmla="*/ 1333500 w 3018472"/>
                  <a:gd name="connsiteY62" fmla="*/ 3657600 h 3680460"/>
                  <a:gd name="connsiteX63" fmla="*/ 1203960 w 3018472"/>
                  <a:gd name="connsiteY63" fmla="*/ 3672840 h 3680460"/>
                  <a:gd name="connsiteX64" fmla="*/ 1165860 w 3018472"/>
                  <a:gd name="connsiteY64" fmla="*/ 3680460 h 3680460"/>
                  <a:gd name="connsiteX65" fmla="*/ 449580 w 3018472"/>
                  <a:gd name="connsiteY65" fmla="*/ 3672840 h 3680460"/>
                  <a:gd name="connsiteX66" fmla="*/ 426720 w 3018472"/>
                  <a:gd name="connsiteY66" fmla="*/ 3665220 h 3680460"/>
                  <a:gd name="connsiteX67" fmla="*/ 388620 w 3018472"/>
                  <a:gd name="connsiteY67" fmla="*/ 3657600 h 3680460"/>
                  <a:gd name="connsiteX68" fmla="*/ 335280 w 3018472"/>
                  <a:gd name="connsiteY68" fmla="*/ 3627120 h 3680460"/>
                  <a:gd name="connsiteX69" fmla="*/ 266700 w 3018472"/>
                  <a:gd name="connsiteY69" fmla="*/ 3604260 h 3680460"/>
                  <a:gd name="connsiteX70" fmla="*/ 243840 w 3018472"/>
                  <a:gd name="connsiteY70" fmla="*/ 3589020 h 3680460"/>
                  <a:gd name="connsiteX71" fmla="*/ 160020 w 3018472"/>
                  <a:gd name="connsiteY71" fmla="*/ 3558540 h 3680460"/>
                  <a:gd name="connsiteX72" fmla="*/ 137160 w 3018472"/>
                  <a:gd name="connsiteY72" fmla="*/ 3535680 h 3680460"/>
                  <a:gd name="connsiteX73" fmla="*/ 99060 w 3018472"/>
                  <a:gd name="connsiteY73" fmla="*/ 3520440 h 3680460"/>
                  <a:gd name="connsiteX74" fmla="*/ 83820 w 3018472"/>
                  <a:gd name="connsiteY74" fmla="*/ 3489960 h 3680460"/>
                  <a:gd name="connsiteX75" fmla="*/ 45720 w 3018472"/>
                  <a:gd name="connsiteY75" fmla="*/ 3436620 h 3680460"/>
                  <a:gd name="connsiteX76" fmla="*/ 0 w 3018472"/>
                  <a:gd name="connsiteY76" fmla="*/ 3352800 h 3680460"/>
                  <a:gd name="connsiteX77" fmla="*/ 30480 w 3018472"/>
                  <a:gd name="connsiteY77" fmla="*/ 3345180 h 3680460"/>
                  <a:gd name="connsiteX78" fmla="*/ 137160 w 3018472"/>
                  <a:gd name="connsiteY78" fmla="*/ 3360420 h 3680460"/>
                  <a:gd name="connsiteX79" fmla="*/ 167640 w 3018472"/>
                  <a:gd name="connsiteY79" fmla="*/ 3390900 h 3680460"/>
                  <a:gd name="connsiteX80" fmla="*/ 198120 w 3018472"/>
                  <a:gd name="connsiteY80" fmla="*/ 3406140 h 3680460"/>
                  <a:gd name="connsiteX81" fmla="*/ 350520 w 3018472"/>
                  <a:gd name="connsiteY81" fmla="*/ 3436620 h 3680460"/>
                  <a:gd name="connsiteX82" fmla="*/ 381000 w 3018472"/>
                  <a:gd name="connsiteY82" fmla="*/ 3451860 h 3680460"/>
                  <a:gd name="connsiteX83" fmla="*/ 449580 w 3018472"/>
                  <a:gd name="connsiteY83" fmla="*/ 3489960 h 3680460"/>
                  <a:gd name="connsiteX84" fmla="*/ 495300 w 3018472"/>
                  <a:gd name="connsiteY84" fmla="*/ 3520440 h 3680460"/>
                  <a:gd name="connsiteX85" fmla="*/ 525780 w 3018472"/>
                  <a:gd name="connsiteY85" fmla="*/ 3535680 h 3680460"/>
                  <a:gd name="connsiteX86" fmla="*/ 731520 w 3018472"/>
                  <a:gd name="connsiteY86" fmla="*/ 3558540 h 3680460"/>
                  <a:gd name="connsiteX87" fmla="*/ 1341120 w 3018472"/>
                  <a:gd name="connsiteY87" fmla="*/ 3550920 h 3680460"/>
                  <a:gd name="connsiteX88" fmla="*/ 1440180 w 3018472"/>
                  <a:gd name="connsiteY88" fmla="*/ 3528060 h 3680460"/>
                  <a:gd name="connsiteX89" fmla="*/ 1539240 w 3018472"/>
                  <a:gd name="connsiteY89" fmla="*/ 3520440 h 3680460"/>
                  <a:gd name="connsiteX90" fmla="*/ 1562100 w 3018472"/>
                  <a:gd name="connsiteY90" fmla="*/ 3512820 h 3680460"/>
                  <a:gd name="connsiteX91" fmla="*/ 1630680 w 3018472"/>
                  <a:gd name="connsiteY91" fmla="*/ 3497580 h 3680460"/>
                  <a:gd name="connsiteX92" fmla="*/ 1699260 w 3018472"/>
                  <a:gd name="connsiteY92" fmla="*/ 3474720 h 3680460"/>
                  <a:gd name="connsiteX93" fmla="*/ 1790700 w 3018472"/>
                  <a:gd name="connsiteY93" fmla="*/ 3451860 h 3680460"/>
                  <a:gd name="connsiteX94" fmla="*/ 1821180 w 3018472"/>
                  <a:gd name="connsiteY94" fmla="*/ 3444240 h 3680460"/>
                  <a:gd name="connsiteX95" fmla="*/ 1844040 w 3018472"/>
                  <a:gd name="connsiteY95" fmla="*/ 3429000 h 3680460"/>
                  <a:gd name="connsiteX96" fmla="*/ 1874520 w 3018472"/>
                  <a:gd name="connsiteY96" fmla="*/ 3421380 h 3680460"/>
                  <a:gd name="connsiteX97" fmla="*/ 1927860 w 3018472"/>
                  <a:gd name="connsiteY97" fmla="*/ 3398520 h 3680460"/>
                  <a:gd name="connsiteX98" fmla="*/ 1950720 w 3018472"/>
                  <a:gd name="connsiteY98" fmla="*/ 3390900 h 3680460"/>
                  <a:gd name="connsiteX99" fmla="*/ 2004060 w 3018472"/>
                  <a:gd name="connsiteY99" fmla="*/ 3360420 h 3680460"/>
                  <a:gd name="connsiteX100" fmla="*/ 2042160 w 3018472"/>
                  <a:gd name="connsiteY100" fmla="*/ 3352800 h 3680460"/>
                  <a:gd name="connsiteX101" fmla="*/ 2080260 w 3018472"/>
                  <a:gd name="connsiteY101" fmla="*/ 3337560 h 3680460"/>
                  <a:gd name="connsiteX102" fmla="*/ 2156460 w 3018472"/>
                  <a:gd name="connsiteY102" fmla="*/ 3299460 h 3680460"/>
                  <a:gd name="connsiteX103" fmla="*/ 2179320 w 3018472"/>
                  <a:gd name="connsiteY103" fmla="*/ 3284220 h 3680460"/>
                  <a:gd name="connsiteX104" fmla="*/ 2209800 w 3018472"/>
                  <a:gd name="connsiteY104" fmla="*/ 3276600 h 3680460"/>
                  <a:gd name="connsiteX105" fmla="*/ 2263140 w 3018472"/>
                  <a:gd name="connsiteY105" fmla="*/ 3230880 h 3680460"/>
                  <a:gd name="connsiteX106" fmla="*/ 2346960 w 3018472"/>
                  <a:gd name="connsiteY106" fmla="*/ 3154680 h 3680460"/>
                  <a:gd name="connsiteX107" fmla="*/ 2400300 w 3018472"/>
                  <a:gd name="connsiteY107" fmla="*/ 3070860 h 3680460"/>
                  <a:gd name="connsiteX108" fmla="*/ 2415540 w 3018472"/>
                  <a:gd name="connsiteY108" fmla="*/ 3048000 h 3680460"/>
                  <a:gd name="connsiteX109" fmla="*/ 2446020 w 3018472"/>
                  <a:gd name="connsiteY109" fmla="*/ 3032760 h 3680460"/>
                  <a:gd name="connsiteX110" fmla="*/ 2468880 w 3018472"/>
                  <a:gd name="connsiteY110" fmla="*/ 3009900 h 3680460"/>
                  <a:gd name="connsiteX111" fmla="*/ 2537460 w 3018472"/>
                  <a:gd name="connsiteY111" fmla="*/ 2926080 h 3680460"/>
                  <a:gd name="connsiteX112" fmla="*/ 2575560 w 3018472"/>
                  <a:gd name="connsiteY112" fmla="*/ 2880360 h 3680460"/>
                  <a:gd name="connsiteX113" fmla="*/ 2628900 w 3018472"/>
                  <a:gd name="connsiteY113" fmla="*/ 2811780 h 3680460"/>
                  <a:gd name="connsiteX114" fmla="*/ 2644140 w 3018472"/>
                  <a:gd name="connsiteY114" fmla="*/ 2773680 h 3680460"/>
                  <a:gd name="connsiteX115" fmla="*/ 2674620 w 3018472"/>
                  <a:gd name="connsiteY115" fmla="*/ 2727960 h 3680460"/>
                  <a:gd name="connsiteX116" fmla="*/ 2689860 w 3018472"/>
                  <a:gd name="connsiteY116" fmla="*/ 2705100 h 3680460"/>
                  <a:gd name="connsiteX117" fmla="*/ 2705100 w 3018472"/>
                  <a:gd name="connsiteY117" fmla="*/ 2667000 h 3680460"/>
                  <a:gd name="connsiteX118" fmla="*/ 2727960 w 3018472"/>
                  <a:gd name="connsiteY118" fmla="*/ 2621280 h 3680460"/>
                  <a:gd name="connsiteX119" fmla="*/ 2735580 w 3018472"/>
                  <a:gd name="connsiteY119" fmla="*/ 2590800 h 3680460"/>
                  <a:gd name="connsiteX120" fmla="*/ 2758440 w 3018472"/>
                  <a:gd name="connsiteY120" fmla="*/ 2545080 h 3680460"/>
                  <a:gd name="connsiteX121" fmla="*/ 2788920 w 3018472"/>
                  <a:gd name="connsiteY121" fmla="*/ 2484120 h 3680460"/>
                  <a:gd name="connsiteX122" fmla="*/ 2811780 w 3018472"/>
                  <a:gd name="connsiteY122" fmla="*/ 2407920 h 3680460"/>
                  <a:gd name="connsiteX123" fmla="*/ 2842260 w 3018472"/>
                  <a:gd name="connsiteY123" fmla="*/ 2324100 h 3680460"/>
                  <a:gd name="connsiteX124" fmla="*/ 2857500 w 3018472"/>
                  <a:gd name="connsiteY124" fmla="*/ 2247900 h 3680460"/>
                  <a:gd name="connsiteX125" fmla="*/ 2872740 w 3018472"/>
                  <a:gd name="connsiteY125" fmla="*/ 2194560 h 3680460"/>
                  <a:gd name="connsiteX126" fmla="*/ 2887980 w 3018472"/>
                  <a:gd name="connsiteY126" fmla="*/ 2148840 h 3680460"/>
                  <a:gd name="connsiteX127" fmla="*/ 2910840 w 3018472"/>
                  <a:gd name="connsiteY127" fmla="*/ 2087880 h 3680460"/>
                  <a:gd name="connsiteX128" fmla="*/ 2918460 w 3018472"/>
                  <a:gd name="connsiteY128" fmla="*/ 2049780 h 3680460"/>
                  <a:gd name="connsiteX129" fmla="*/ 2933700 w 3018472"/>
                  <a:gd name="connsiteY129" fmla="*/ 1844040 h 3680460"/>
                  <a:gd name="connsiteX130" fmla="*/ 2918460 w 3018472"/>
                  <a:gd name="connsiteY130" fmla="*/ 1470660 h 3680460"/>
                  <a:gd name="connsiteX131" fmla="*/ 2895600 w 3018472"/>
                  <a:gd name="connsiteY131" fmla="*/ 1371600 h 3680460"/>
                  <a:gd name="connsiteX132" fmla="*/ 2880360 w 3018472"/>
                  <a:gd name="connsiteY132" fmla="*/ 1341120 h 3680460"/>
                  <a:gd name="connsiteX133" fmla="*/ 2857500 w 3018472"/>
                  <a:gd name="connsiteY133" fmla="*/ 1272540 h 3680460"/>
                  <a:gd name="connsiteX134" fmla="*/ 2849880 w 3018472"/>
                  <a:gd name="connsiteY134" fmla="*/ 1234440 h 3680460"/>
                  <a:gd name="connsiteX135" fmla="*/ 2827020 w 3018472"/>
                  <a:gd name="connsiteY135" fmla="*/ 1196340 h 3680460"/>
                  <a:gd name="connsiteX136" fmla="*/ 2811780 w 3018472"/>
                  <a:gd name="connsiteY136" fmla="*/ 1165860 h 3680460"/>
                  <a:gd name="connsiteX137" fmla="*/ 2781300 w 3018472"/>
                  <a:gd name="connsiteY137" fmla="*/ 1127760 h 3680460"/>
                  <a:gd name="connsiteX138" fmla="*/ 2766060 w 3018472"/>
                  <a:gd name="connsiteY138" fmla="*/ 1089660 h 3680460"/>
                  <a:gd name="connsiteX139" fmla="*/ 2735580 w 3018472"/>
                  <a:gd name="connsiteY139" fmla="*/ 1043940 h 3680460"/>
                  <a:gd name="connsiteX140" fmla="*/ 2727960 w 3018472"/>
                  <a:gd name="connsiteY140" fmla="*/ 1021080 h 3680460"/>
                  <a:gd name="connsiteX141" fmla="*/ 2682240 w 3018472"/>
                  <a:gd name="connsiteY141" fmla="*/ 937260 h 3680460"/>
                  <a:gd name="connsiteX142" fmla="*/ 2659380 w 3018472"/>
                  <a:gd name="connsiteY142" fmla="*/ 876300 h 3680460"/>
                  <a:gd name="connsiteX143" fmla="*/ 2644140 w 3018472"/>
                  <a:gd name="connsiteY143" fmla="*/ 845820 h 3680460"/>
                  <a:gd name="connsiteX144" fmla="*/ 2636520 w 3018472"/>
                  <a:gd name="connsiteY144" fmla="*/ 822960 h 3680460"/>
                  <a:gd name="connsiteX145" fmla="*/ 2621280 w 3018472"/>
                  <a:gd name="connsiteY145" fmla="*/ 800100 h 3680460"/>
                  <a:gd name="connsiteX146" fmla="*/ 2598420 w 3018472"/>
                  <a:gd name="connsiteY146" fmla="*/ 739140 h 3680460"/>
                  <a:gd name="connsiteX147" fmla="*/ 2458403 w 3018472"/>
                  <a:gd name="connsiteY147" fmla="*/ 621983 h 3680460"/>
                  <a:gd name="connsiteX148" fmla="*/ 2301240 w 3018472"/>
                  <a:gd name="connsiteY148" fmla="*/ 458152 h 3680460"/>
                  <a:gd name="connsiteX149" fmla="*/ 2237423 w 3018472"/>
                  <a:gd name="connsiteY149" fmla="*/ 406717 h 3680460"/>
                  <a:gd name="connsiteX150" fmla="*/ 2103120 w 3018472"/>
                  <a:gd name="connsiteY150" fmla="*/ 312420 h 3680460"/>
                  <a:gd name="connsiteX151" fmla="*/ 2042160 w 3018472"/>
                  <a:gd name="connsiteY151" fmla="*/ 266700 h 3680460"/>
                  <a:gd name="connsiteX152" fmla="*/ 2004060 w 3018472"/>
                  <a:gd name="connsiteY152" fmla="*/ 251460 h 3680460"/>
                  <a:gd name="connsiteX153" fmla="*/ 1958340 w 3018472"/>
                  <a:gd name="connsiteY153" fmla="*/ 220980 h 3680460"/>
                  <a:gd name="connsiteX154" fmla="*/ 1897380 w 3018472"/>
                  <a:gd name="connsiteY15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74620 w 3018472"/>
                  <a:gd name="connsiteY41" fmla="*/ 2964180 h 3680460"/>
                  <a:gd name="connsiteX42" fmla="*/ 2644140 w 3018472"/>
                  <a:gd name="connsiteY42" fmla="*/ 3009900 h 3680460"/>
                  <a:gd name="connsiteX43" fmla="*/ 2598420 w 3018472"/>
                  <a:gd name="connsiteY43" fmla="*/ 3055620 h 3680460"/>
                  <a:gd name="connsiteX44" fmla="*/ 2575560 w 3018472"/>
                  <a:gd name="connsiteY44" fmla="*/ 3078480 h 3680460"/>
                  <a:gd name="connsiteX45" fmla="*/ 2476500 w 3018472"/>
                  <a:gd name="connsiteY45" fmla="*/ 3169920 h 3680460"/>
                  <a:gd name="connsiteX46" fmla="*/ 2377440 w 3018472"/>
                  <a:gd name="connsiteY46" fmla="*/ 3223260 h 3680460"/>
                  <a:gd name="connsiteX47" fmla="*/ 2293620 w 3018472"/>
                  <a:gd name="connsiteY47" fmla="*/ 3284220 h 3680460"/>
                  <a:gd name="connsiteX48" fmla="*/ 2240280 w 3018472"/>
                  <a:gd name="connsiteY48" fmla="*/ 3314700 h 3680460"/>
                  <a:gd name="connsiteX49" fmla="*/ 2225040 w 3018472"/>
                  <a:gd name="connsiteY49" fmla="*/ 3337560 h 3680460"/>
                  <a:gd name="connsiteX50" fmla="*/ 2141220 w 3018472"/>
                  <a:gd name="connsiteY50" fmla="*/ 3390900 h 3680460"/>
                  <a:gd name="connsiteX51" fmla="*/ 2110740 w 3018472"/>
                  <a:gd name="connsiteY51" fmla="*/ 3413760 h 3680460"/>
                  <a:gd name="connsiteX52" fmla="*/ 2072640 w 3018472"/>
                  <a:gd name="connsiteY52" fmla="*/ 3451860 h 3680460"/>
                  <a:gd name="connsiteX53" fmla="*/ 2019300 w 3018472"/>
                  <a:gd name="connsiteY53" fmla="*/ 3467100 h 3680460"/>
                  <a:gd name="connsiteX54" fmla="*/ 1874520 w 3018472"/>
                  <a:gd name="connsiteY54" fmla="*/ 3512820 h 3680460"/>
                  <a:gd name="connsiteX55" fmla="*/ 1828800 w 3018472"/>
                  <a:gd name="connsiteY55" fmla="*/ 3520440 h 3680460"/>
                  <a:gd name="connsiteX56" fmla="*/ 1722120 w 3018472"/>
                  <a:gd name="connsiteY56" fmla="*/ 3550920 h 3680460"/>
                  <a:gd name="connsiteX57" fmla="*/ 1600200 w 3018472"/>
                  <a:gd name="connsiteY57" fmla="*/ 3589020 h 3680460"/>
                  <a:gd name="connsiteX58" fmla="*/ 1569720 w 3018472"/>
                  <a:gd name="connsiteY58" fmla="*/ 3596640 h 3680460"/>
                  <a:gd name="connsiteX59" fmla="*/ 1546860 w 3018472"/>
                  <a:gd name="connsiteY59" fmla="*/ 3611880 h 3680460"/>
                  <a:gd name="connsiteX60" fmla="*/ 1463040 w 3018472"/>
                  <a:gd name="connsiteY60" fmla="*/ 3627120 h 3680460"/>
                  <a:gd name="connsiteX61" fmla="*/ 1333500 w 3018472"/>
                  <a:gd name="connsiteY61" fmla="*/ 3657600 h 3680460"/>
                  <a:gd name="connsiteX62" fmla="*/ 1203960 w 3018472"/>
                  <a:gd name="connsiteY62" fmla="*/ 3672840 h 3680460"/>
                  <a:gd name="connsiteX63" fmla="*/ 1165860 w 3018472"/>
                  <a:gd name="connsiteY63" fmla="*/ 3680460 h 3680460"/>
                  <a:gd name="connsiteX64" fmla="*/ 449580 w 3018472"/>
                  <a:gd name="connsiteY64" fmla="*/ 3672840 h 3680460"/>
                  <a:gd name="connsiteX65" fmla="*/ 426720 w 3018472"/>
                  <a:gd name="connsiteY65" fmla="*/ 3665220 h 3680460"/>
                  <a:gd name="connsiteX66" fmla="*/ 388620 w 3018472"/>
                  <a:gd name="connsiteY66" fmla="*/ 3657600 h 3680460"/>
                  <a:gd name="connsiteX67" fmla="*/ 335280 w 3018472"/>
                  <a:gd name="connsiteY67" fmla="*/ 3627120 h 3680460"/>
                  <a:gd name="connsiteX68" fmla="*/ 266700 w 3018472"/>
                  <a:gd name="connsiteY68" fmla="*/ 3604260 h 3680460"/>
                  <a:gd name="connsiteX69" fmla="*/ 243840 w 3018472"/>
                  <a:gd name="connsiteY69" fmla="*/ 3589020 h 3680460"/>
                  <a:gd name="connsiteX70" fmla="*/ 160020 w 3018472"/>
                  <a:gd name="connsiteY70" fmla="*/ 3558540 h 3680460"/>
                  <a:gd name="connsiteX71" fmla="*/ 137160 w 3018472"/>
                  <a:gd name="connsiteY71" fmla="*/ 3535680 h 3680460"/>
                  <a:gd name="connsiteX72" fmla="*/ 99060 w 3018472"/>
                  <a:gd name="connsiteY72" fmla="*/ 3520440 h 3680460"/>
                  <a:gd name="connsiteX73" fmla="*/ 83820 w 3018472"/>
                  <a:gd name="connsiteY73" fmla="*/ 3489960 h 3680460"/>
                  <a:gd name="connsiteX74" fmla="*/ 45720 w 3018472"/>
                  <a:gd name="connsiteY74" fmla="*/ 3436620 h 3680460"/>
                  <a:gd name="connsiteX75" fmla="*/ 0 w 3018472"/>
                  <a:gd name="connsiteY75" fmla="*/ 3352800 h 3680460"/>
                  <a:gd name="connsiteX76" fmla="*/ 30480 w 3018472"/>
                  <a:gd name="connsiteY76" fmla="*/ 3345180 h 3680460"/>
                  <a:gd name="connsiteX77" fmla="*/ 137160 w 3018472"/>
                  <a:gd name="connsiteY77" fmla="*/ 3360420 h 3680460"/>
                  <a:gd name="connsiteX78" fmla="*/ 167640 w 3018472"/>
                  <a:gd name="connsiteY78" fmla="*/ 3390900 h 3680460"/>
                  <a:gd name="connsiteX79" fmla="*/ 198120 w 3018472"/>
                  <a:gd name="connsiteY79" fmla="*/ 3406140 h 3680460"/>
                  <a:gd name="connsiteX80" fmla="*/ 350520 w 3018472"/>
                  <a:gd name="connsiteY80" fmla="*/ 3436620 h 3680460"/>
                  <a:gd name="connsiteX81" fmla="*/ 381000 w 3018472"/>
                  <a:gd name="connsiteY81" fmla="*/ 3451860 h 3680460"/>
                  <a:gd name="connsiteX82" fmla="*/ 449580 w 3018472"/>
                  <a:gd name="connsiteY82" fmla="*/ 3489960 h 3680460"/>
                  <a:gd name="connsiteX83" fmla="*/ 495300 w 3018472"/>
                  <a:gd name="connsiteY83" fmla="*/ 3520440 h 3680460"/>
                  <a:gd name="connsiteX84" fmla="*/ 525780 w 3018472"/>
                  <a:gd name="connsiteY84" fmla="*/ 3535680 h 3680460"/>
                  <a:gd name="connsiteX85" fmla="*/ 731520 w 3018472"/>
                  <a:gd name="connsiteY85" fmla="*/ 3558540 h 3680460"/>
                  <a:gd name="connsiteX86" fmla="*/ 1341120 w 3018472"/>
                  <a:gd name="connsiteY86" fmla="*/ 3550920 h 3680460"/>
                  <a:gd name="connsiteX87" fmla="*/ 1440180 w 3018472"/>
                  <a:gd name="connsiteY87" fmla="*/ 3528060 h 3680460"/>
                  <a:gd name="connsiteX88" fmla="*/ 1539240 w 3018472"/>
                  <a:gd name="connsiteY88" fmla="*/ 3520440 h 3680460"/>
                  <a:gd name="connsiteX89" fmla="*/ 1562100 w 3018472"/>
                  <a:gd name="connsiteY89" fmla="*/ 3512820 h 3680460"/>
                  <a:gd name="connsiteX90" fmla="*/ 1630680 w 3018472"/>
                  <a:gd name="connsiteY90" fmla="*/ 3497580 h 3680460"/>
                  <a:gd name="connsiteX91" fmla="*/ 1699260 w 3018472"/>
                  <a:gd name="connsiteY91" fmla="*/ 3474720 h 3680460"/>
                  <a:gd name="connsiteX92" fmla="*/ 1790700 w 3018472"/>
                  <a:gd name="connsiteY92" fmla="*/ 3451860 h 3680460"/>
                  <a:gd name="connsiteX93" fmla="*/ 1821180 w 3018472"/>
                  <a:gd name="connsiteY93" fmla="*/ 3444240 h 3680460"/>
                  <a:gd name="connsiteX94" fmla="*/ 1844040 w 3018472"/>
                  <a:gd name="connsiteY94" fmla="*/ 3429000 h 3680460"/>
                  <a:gd name="connsiteX95" fmla="*/ 1874520 w 3018472"/>
                  <a:gd name="connsiteY95" fmla="*/ 3421380 h 3680460"/>
                  <a:gd name="connsiteX96" fmla="*/ 1927860 w 3018472"/>
                  <a:gd name="connsiteY96" fmla="*/ 3398520 h 3680460"/>
                  <a:gd name="connsiteX97" fmla="*/ 1950720 w 3018472"/>
                  <a:gd name="connsiteY97" fmla="*/ 3390900 h 3680460"/>
                  <a:gd name="connsiteX98" fmla="*/ 2004060 w 3018472"/>
                  <a:gd name="connsiteY98" fmla="*/ 3360420 h 3680460"/>
                  <a:gd name="connsiteX99" fmla="*/ 2042160 w 3018472"/>
                  <a:gd name="connsiteY99" fmla="*/ 3352800 h 3680460"/>
                  <a:gd name="connsiteX100" fmla="*/ 2080260 w 3018472"/>
                  <a:gd name="connsiteY100" fmla="*/ 3337560 h 3680460"/>
                  <a:gd name="connsiteX101" fmla="*/ 2156460 w 3018472"/>
                  <a:gd name="connsiteY101" fmla="*/ 3299460 h 3680460"/>
                  <a:gd name="connsiteX102" fmla="*/ 2179320 w 3018472"/>
                  <a:gd name="connsiteY102" fmla="*/ 3284220 h 3680460"/>
                  <a:gd name="connsiteX103" fmla="*/ 2209800 w 3018472"/>
                  <a:gd name="connsiteY103" fmla="*/ 3276600 h 3680460"/>
                  <a:gd name="connsiteX104" fmla="*/ 2263140 w 3018472"/>
                  <a:gd name="connsiteY104" fmla="*/ 3230880 h 3680460"/>
                  <a:gd name="connsiteX105" fmla="*/ 2346960 w 3018472"/>
                  <a:gd name="connsiteY105" fmla="*/ 3154680 h 3680460"/>
                  <a:gd name="connsiteX106" fmla="*/ 2400300 w 3018472"/>
                  <a:gd name="connsiteY106" fmla="*/ 3070860 h 3680460"/>
                  <a:gd name="connsiteX107" fmla="*/ 2415540 w 3018472"/>
                  <a:gd name="connsiteY107" fmla="*/ 3048000 h 3680460"/>
                  <a:gd name="connsiteX108" fmla="*/ 2446020 w 3018472"/>
                  <a:gd name="connsiteY108" fmla="*/ 3032760 h 3680460"/>
                  <a:gd name="connsiteX109" fmla="*/ 2468880 w 3018472"/>
                  <a:gd name="connsiteY109" fmla="*/ 3009900 h 3680460"/>
                  <a:gd name="connsiteX110" fmla="*/ 2537460 w 3018472"/>
                  <a:gd name="connsiteY110" fmla="*/ 2926080 h 3680460"/>
                  <a:gd name="connsiteX111" fmla="*/ 2575560 w 3018472"/>
                  <a:gd name="connsiteY111" fmla="*/ 2880360 h 3680460"/>
                  <a:gd name="connsiteX112" fmla="*/ 2628900 w 3018472"/>
                  <a:gd name="connsiteY112" fmla="*/ 2811780 h 3680460"/>
                  <a:gd name="connsiteX113" fmla="*/ 2644140 w 3018472"/>
                  <a:gd name="connsiteY113" fmla="*/ 2773680 h 3680460"/>
                  <a:gd name="connsiteX114" fmla="*/ 2674620 w 3018472"/>
                  <a:gd name="connsiteY114" fmla="*/ 2727960 h 3680460"/>
                  <a:gd name="connsiteX115" fmla="*/ 2689860 w 3018472"/>
                  <a:gd name="connsiteY115" fmla="*/ 2705100 h 3680460"/>
                  <a:gd name="connsiteX116" fmla="*/ 2705100 w 3018472"/>
                  <a:gd name="connsiteY116" fmla="*/ 2667000 h 3680460"/>
                  <a:gd name="connsiteX117" fmla="*/ 2727960 w 3018472"/>
                  <a:gd name="connsiteY117" fmla="*/ 2621280 h 3680460"/>
                  <a:gd name="connsiteX118" fmla="*/ 2735580 w 3018472"/>
                  <a:gd name="connsiteY118" fmla="*/ 2590800 h 3680460"/>
                  <a:gd name="connsiteX119" fmla="*/ 2758440 w 3018472"/>
                  <a:gd name="connsiteY119" fmla="*/ 2545080 h 3680460"/>
                  <a:gd name="connsiteX120" fmla="*/ 2788920 w 3018472"/>
                  <a:gd name="connsiteY120" fmla="*/ 2484120 h 3680460"/>
                  <a:gd name="connsiteX121" fmla="*/ 2811780 w 3018472"/>
                  <a:gd name="connsiteY121" fmla="*/ 2407920 h 3680460"/>
                  <a:gd name="connsiteX122" fmla="*/ 2842260 w 3018472"/>
                  <a:gd name="connsiteY122" fmla="*/ 2324100 h 3680460"/>
                  <a:gd name="connsiteX123" fmla="*/ 2857500 w 3018472"/>
                  <a:gd name="connsiteY123" fmla="*/ 2247900 h 3680460"/>
                  <a:gd name="connsiteX124" fmla="*/ 2872740 w 3018472"/>
                  <a:gd name="connsiteY124" fmla="*/ 2194560 h 3680460"/>
                  <a:gd name="connsiteX125" fmla="*/ 2887980 w 3018472"/>
                  <a:gd name="connsiteY125" fmla="*/ 2148840 h 3680460"/>
                  <a:gd name="connsiteX126" fmla="*/ 2910840 w 3018472"/>
                  <a:gd name="connsiteY126" fmla="*/ 2087880 h 3680460"/>
                  <a:gd name="connsiteX127" fmla="*/ 2918460 w 3018472"/>
                  <a:gd name="connsiteY127" fmla="*/ 2049780 h 3680460"/>
                  <a:gd name="connsiteX128" fmla="*/ 2933700 w 3018472"/>
                  <a:gd name="connsiteY128" fmla="*/ 1844040 h 3680460"/>
                  <a:gd name="connsiteX129" fmla="*/ 2918460 w 3018472"/>
                  <a:gd name="connsiteY129" fmla="*/ 1470660 h 3680460"/>
                  <a:gd name="connsiteX130" fmla="*/ 2895600 w 3018472"/>
                  <a:gd name="connsiteY130" fmla="*/ 1371600 h 3680460"/>
                  <a:gd name="connsiteX131" fmla="*/ 2880360 w 3018472"/>
                  <a:gd name="connsiteY131" fmla="*/ 1341120 h 3680460"/>
                  <a:gd name="connsiteX132" fmla="*/ 2857500 w 3018472"/>
                  <a:gd name="connsiteY132" fmla="*/ 1272540 h 3680460"/>
                  <a:gd name="connsiteX133" fmla="*/ 2849880 w 3018472"/>
                  <a:gd name="connsiteY133" fmla="*/ 1234440 h 3680460"/>
                  <a:gd name="connsiteX134" fmla="*/ 2827020 w 3018472"/>
                  <a:gd name="connsiteY134" fmla="*/ 1196340 h 3680460"/>
                  <a:gd name="connsiteX135" fmla="*/ 2811780 w 3018472"/>
                  <a:gd name="connsiteY135" fmla="*/ 1165860 h 3680460"/>
                  <a:gd name="connsiteX136" fmla="*/ 2781300 w 3018472"/>
                  <a:gd name="connsiteY136" fmla="*/ 1127760 h 3680460"/>
                  <a:gd name="connsiteX137" fmla="*/ 2766060 w 3018472"/>
                  <a:gd name="connsiteY137" fmla="*/ 1089660 h 3680460"/>
                  <a:gd name="connsiteX138" fmla="*/ 2735580 w 3018472"/>
                  <a:gd name="connsiteY138" fmla="*/ 1043940 h 3680460"/>
                  <a:gd name="connsiteX139" fmla="*/ 2727960 w 3018472"/>
                  <a:gd name="connsiteY139" fmla="*/ 1021080 h 3680460"/>
                  <a:gd name="connsiteX140" fmla="*/ 2682240 w 3018472"/>
                  <a:gd name="connsiteY140" fmla="*/ 937260 h 3680460"/>
                  <a:gd name="connsiteX141" fmla="*/ 2659380 w 3018472"/>
                  <a:gd name="connsiteY141" fmla="*/ 876300 h 3680460"/>
                  <a:gd name="connsiteX142" fmla="*/ 2644140 w 3018472"/>
                  <a:gd name="connsiteY142" fmla="*/ 845820 h 3680460"/>
                  <a:gd name="connsiteX143" fmla="*/ 2636520 w 3018472"/>
                  <a:gd name="connsiteY143" fmla="*/ 822960 h 3680460"/>
                  <a:gd name="connsiteX144" fmla="*/ 2621280 w 3018472"/>
                  <a:gd name="connsiteY144" fmla="*/ 800100 h 3680460"/>
                  <a:gd name="connsiteX145" fmla="*/ 2598420 w 3018472"/>
                  <a:gd name="connsiteY145" fmla="*/ 739140 h 3680460"/>
                  <a:gd name="connsiteX146" fmla="*/ 2458403 w 3018472"/>
                  <a:gd name="connsiteY146" fmla="*/ 621983 h 3680460"/>
                  <a:gd name="connsiteX147" fmla="*/ 2301240 w 3018472"/>
                  <a:gd name="connsiteY147" fmla="*/ 458152 h 3680460"/>
                  <a:gd name="connsiteX148" fmla="*/ 2237423 w 3018472"/>
                  <a:gd name="connsiteY148" fmla="*/ 406717 h 3680460"/>
                  <a:gd name="connsiteX149" fmla="*/ 2103120 w 3018472"/>
                  <a:gd name="connsiteY149" fmla="*/ 312420 h 3680460"/>
                  <a:gd name="connsiteX150" fmla="*/ 2042160 w 3018472"/>
                  <a:gd name="connsiteY150" fmla="*/ 266700 h 3680460"/>
                  <a:gd name="connsiteX151" fmla="*/ 2004060 w 3018472"/>
                  <a:gd name="connsiteY151" fmla="*/ 251460 h 3680460"/>
                  <a:gd name="connsiteX152" fmla="*/ 1958340 w 3018472"/>
                  <a:gd name="connsiteY152" fmla="*/ 220980 h 3680460"/>
                  <a:gd name="connsiteX153" fmla="*/ 1897380 w 3018472"/>
                  <a:gd name="connsiteY153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44140 w 3018472"/>
                  <a:gd name="connsiteY41" fmla="*/ 3009900 h 3680460"/>
                  <a:gd name="connsiteX42" fmla="*/ 2598420 w 3018472"/>
                  <a:gd name="connsiteY42" fmla="*/ 3055620 h 3680460"/>
                  <a:gd name="connsiteX43" fmla="*/ 2575560 w 3018472"/>
                  <a:gd name="connsiteY43" fmla="*/ 3078480 h 3680460"/>
                  <a:gd name="connsiteX44" fmla="*/ 2476500 w 3018472"/>
                  <a:gd name="connsiteY44" fmla="*/ 3169920 h 3680460"/>
                  <a:gd name="connsiteX45" fmla="*/ 2377440 w 3018472"/>
                  <a:gd name="connsiteY45" fmla="*/ 3223260 h 3680460"/>
                  <a:gd name="connsiteX46" fmla="*/ 2293620 w 3018472"/>
                  <a:gd name="connsiteY46" fmla="*/ 3284220 h 3680460"/>
                  <a:gd name="connsiteX47" fmla="*/ 2240280 w 3018472"/>
                  <a:gd name="connsiteY47" fmla="*/ 3314700 h 3680460"/>
                  <a:gd name="connsiteX48" fmla="*/ 2225040 w 3018472"/>
                  <a:gd name="connsiteY48" fmla="*/ 3337560 h 3680460"/>
                  <a:gd name="connsiteX49" fmla="*/ 2141220 w 3018472"/>
                  <a:gd name="connsiteY49" fmla="*/ 3390900 h 3680460"/>
                  <a:gd name="connsiteX50" fmla="*/ 2110740 w 3018472"/>
                  <a:gd name="connsiteY50" fmla="*/ 3413760 h 3680460"/>
                  <a:gd name="connsiteX51" fmla="*/ 2072640 w 3018472"/>
                  <a:gd name="connsiteY51" fmla="*/ 3451860 h 3680460"/>
                  <a:gd name="connsiteX52" fmla="*/ 2019300 w 3018472"/>
                  <a:gd name="connsiteY52" fmla="*/ 3467100 h 3680460"/>
                  <a:gd name="connsiteX53" fmla="*/ 1874520 w 3018472"/>
                  <a:gd name="connsiteY53" fmla="*/ 3512820 h 3680460"/>
                  <a:gd name="connsiteX54" fmla="*/ 1828800 w 3018472"/>
                  <a:gd name="connsiteY54" fmla="*/ 3520440 h 3680460"/>
                  <a:gd name="connsiteX55" fmla="*/ 1722120 w 3018472"/>
                  <a:gd name="connsiteY55" fmla="*/ 3550920 h 3680460"/>
                  <a:gd name="connsiteX56" fmla="*/ 1600200 w 3018472"/>
                  <a:gd name="connsiteY56" fmla="*/ 3589020 h 3680460"/>
                  <a:gd name="connsiteX57" fmla="*/ 1569720 w 3018472"/>
                  <a:gd name="connsiteY57" fmla="*/ 3596640 h 3680460"/>
                  <a:gd name="connsiteX58" fmla="*/ 1546860 w 3018472"/>
                  <a:gd name="connsiteY58" fmla="*/ 3611880 h 3680460"/>
                  <a:gd name="connsiteX59" fmla="*/ 1463040 w 3018472"/>
                  <a:gd name="connsiteY59" fmla="*/ 3627120 h 3680460"/>
                  <a:gd name="connsiteX60" fmla="*/ 1333500 w 3018472"/>
                  <a:gd name="connsiteY60" fmla="*/ 3657600 h 3680460"/>
                  <a:gd name="connsiteX61" fmla="*/ 1203960 w 3018472"/>
                  <a:gd name="connsiteY61" fmla="*/ 3672840 h 3680460"/>
                  <a:gd name="connsiteX62" fmla="*/ 1165860 w 3018472"/>
                  <a:gd name="connsiteY62" fmla="*/ 3680460 h 3680460"/>
                  <a:gd name="connsiteX63" fmla="*/ 449580 w 3018472"/>
                  <a:gd name="connsiteY63" fmla="*/ 3672840 h 3680460"/>
                  <a:gd name="connsiteX64" fmla="*/ 426720 w 3018472"/>
                  <a:gd name="connsiteY64" fmla="*/ 3665220 h 3680460"/>
                  <a:gd name="connsiteX65" fmla="*/ 388620 w 3018472"/>
                  <a:gd name="connsiteY65" fmla="*/ 3657600 h 3680460"/>
                  <a:gd name="connsiteX66" fmla="*/ 335280 w 3018472"/>
                  <a:gd name="connsiteY66" fmla="*/ 3627120 h 3680460"/>
                  <a:gd name="connsiteX67" fmla="*/ 266700 w 3018472"/>
                  <a:gd name="connsiteY67" fmla="*/ 3604260 h 3680460"/>
                  <a:gd name="connsiteX68" fmla="*/ 243840 w 3018472"/>
                  <a:gd name="connsiteY68" fmla="*/ 3589020 h 3680460"/>
                  <a:gd name="connsiteX69" fmla="*/ 160020 w 3018472"/>
                  <a:gd name="connsiteY69" fmla="*/ 3558540 h 3680460"/>
                  <a:gd name="connsiteX70" fmla="*/ 137160 w 3018472"/>
                  <a:gd name="connsiteY70" fmla="*/ 3535680 h 3680460"/>
                  <a:gd name="connsiteX71" fmla="*/ 99060 w 3018472"/>
                  <a:gd name="connsiteY71" fmla="*/ 3520440 h 3680460"/>
                  <a:gd name="connsiteX72" fmla="*/ 83820 w 3018472"/>
                  <a:gd name="connsiteY72" fmla="*/ 3489960 h 3680460"/>
                  <a:gd name="connsiteX73" fmla="*/ 45720 w 3018472"/>
                  <a:gd name="connsiteY73" fmla="*/ 3436620 h 3680460"/>
                  <a:gd name="connsiteX74" fmla="*/ 0 w 3018472"/>
                  <a:gd name="connsiteY74" fmla="*/ 3352800 h 3680460"/>
                  <a:gd name="connsiteX75" fmla="*/ 30480 w 3018472"/>
                  <a:gd name="connsiteY75" fmla="*/ 3345180 h 3680460"/>
                  <a:gd name="connsiteX76" fmla="*/ 137160 w 3018472"/>
                  <a:gd name="connsiteY76" fmla="*/ 3360420 h 3680460"/>
                  <a:gd name="connsiteX77" fmla="*/ 167640 w 3018472"/>
                  <a:gd name="connsiteY77" fmla="*/ 3390900 h 3680460"/>
                  <a:gd name="connsiteX78" fmla="*/ 198120 w 3018472"/>
                  <a:gd name="connsiteY78" fmla="*/ 3406140 h 3680460"/>
                  <a:gd name="connsiteX79" fmla="*/ 350520 w 3018472"/>
                  <a:gd name="connsiteY79" fmla="*/ 3436620 h 3680460"/>
                  <a:gd name="connsiteX80" fmla="*/ 381000 w 3018472"/>
                  <a:gd name="connsiteY80" fmla="*/ 3451860 h 3680460"/>
                  <a:gd name="connsiteX81" fmla="*/ 449580 w 3018472"/>
                  <a:gd name="connsiteY81" fmla="*/ 3489960 h 3680460"/>
                  <a:gd name="connsiteX82" fmla="*/ 495300 w 3018472"/>
                  <a:gd name="connsiteY82" fmla="*/ 3520440 h 3680460"/>
                  <a:gd name="connsiteX83" fmla="*/ 525780 w 3018472"/>
                  <a:gd name="connsiteY83" fmla="*/ 3535680 h 3680460"/>
                  <a:gd name="connsiteX84" fmla="*/ 731520 w 3018472"/>
                  <a:gd name="connsiteY84" fmla="*/ 3558540 h 3680460"/>
                  <a:gd name="connsiteX85" fmla="*/ 1341120 w 3018472"/>
                  <a:gd name="connsiteY85" fmla="*/ 3550920 h 3680460"/>
                  <a:gd name="connsiteX86" fmla="*/ 1440180 w 3018472"/>
                  <a:gd name="connsiteY86" fmla="*/ 3528060 h 3680460"/>
                  <a:gd name="connsiteX87" fmla="*/ 1539240 w 3018472"/>
                  <a:gd name="connsiteY87" fmla="*/ 3520440 h 3680460"/>
                  <a:gd name="connsiteX88" fmla="*/ 1562100 w 3018472"/>
                  <a:gd name="connsiteY88" fmla="*/ 3512820 h 3680460"/>
                  <a:gd name="connsiteX89" fmla="*/ 1630680 w 3018472"/>
                  <a:gd name="connsiteY89" fmla="*/ 3497580 h 3680460"/>
                  <a:gd name="connsiteX90" fmla="*/ 1699260 w 3018472"/>
                  <a:gd name="connsiteY90" fmla="*/ 3474720 h 3680460"/>
                  <a:gd name="connsiteX91" fmla="*/ 1790700 w 3018472"/>
                  <a:gd name="connsiteY91" fmla="*/ 3451860 h 3680460"/>
                  <a:gd name="connsiteX92" fmla="*/ 1821180 w 3018472"/>
                  <a:gd name="connsiteY92" fmla="*/ 3444240 h 3680460"/>
                  <a:gd name="connsiteX93" fmla="*/ 1844040 w 3018472"/>
                  <a:gd name="connsiteY93" fmla="*/ 3429000 h 3680460"/>
                  <a:gd name="connsiteX94" fmla="*/ 1874520 w 3018472"/>
                  <a:gd name="connsiteY94" fmla="*/ 3421380 h 3680460"/>
                  <a:gd name="connsiteX95" fmla="*/ 1927860 w 3018472"/>
                  <a:gd name="connsiteY95" fmla="*/ 3398520 h 3680460"/>
                  <a:gd name="connsiteX96" fmla="*/ 1950720 w 3018472"/>
                  <a:gd name="connsiteY96" fmla="*/ 3390900 h 3680460"/>
                  <a:gd name="connsiteX97" fmla="*/ 2004060 w 3018472"/>
                  <a:gd name="connsiteY97" fmla="*/ 3360420 h 3680460"/>
                  <a:gd name="connsiteX98" fmla="*/ 2042160 w 3018472"/>
                  <a:gd name="connsiteY98" fmla="*/ 3352800 h 3680460"/>
                  <a:gd name="connsiteX99" fmla="*/ 2080260 w 3018472"/>
                  <a:gd name="connsiteY99" fmla="*/ 3337560 h 3680460"/>
                  <a:gd name="connsiteX100" fmla="*/ 2156460 w 3018472"/>
                  <a:gd name="connsiteY100" fmla="*/ 3299460 h 3680460"/>
                  <a:gd name="connsiteX101" fmla="*/ 2179320 w 3018472"/>
                  <a:gd name="connsiteY101" fmla="*/ 3284220 h 3680460"/>
                  <a:gd name="connsiteX102" fmla="*/ 2209800 w 3018472"/>
                  <a:gd name="connsiteY102" fmla="*/ 3276600 h 3680460"/>
                  <a:gd name="connsiteX103" fmla="*/ 2263140 w 3018472"/>
                  <a:gd name="connsiteY103" fmla="*/ 3230880 h 3680460"/>
                  <a:gd name="connsiteX104" fmla="*/ 2346960 w 3018472"/>
                  <a:gd name="connsiteY104" fmla="*/ 3154680 h 3680460"/>
                  <a:gd name="connsiteX105" fmla="*/ 2400300 w 3018472"/>
                  <a:gd name="connsiteY105" fmla="*/ 3070860 h 3680460"/>
                  <a:gd name="connsiteX106" fmla="*/ 2415540 w 3018472"/>
                  <a:gd name="connsiteY106" fmla="*/ 3048000 h 3680460"/>
                  <a:gd name="connsiteX107" fmla="*/ 2446020 w 3018472"/>
                  <a:gd name="connsiteY107" fmla="*/ 3032760 h 3680460"/>
                  <a:gd name="connsiteX108" fmla="*/ 2468880 w 3018472"/>
                  <a:gd name="connsiteY108" fmla="*/ 3009900 h 3680460"/>
                  <a:gd name="connsiteX109" fmla="*/ 2537460 w 3018472"/>
                  <a:gd name="connsiteY109" fmla="*/ 2926080 h 3680460"/>
                  <a:gd name="connsiteX110" fmla="*/ 2575560 w 3018472"/>
                  <a:gd name="connsiteY110" fmla="*/ 2880360 h 3680460"/>
                  <a:gd name="connsiteX111" fmla="*/ 2628900 w 3018472"/>
                  <a:gd name="connsiteY111" fmla="*/ 2811780 h 3680460"/>
                  <a:gd name="connsiteX112" fmla="*/ 2644140 w 3018472"/>
                  <a:gd name="connsiteY112" fmla="*/ 2773680 h 3680460"/>
                  <a:gd name="connsiteX113" fmla="*/ 2674620 w 3018472"/>
                  <a:gd name="connsiteY113" fmla="*/ 2727960 h 3680460"/>
                  <a:gd name="connsiteX114" fmla="*/ 2689860 w 3018472"/>
                  <a:gd name="connsiteY114" fmla="*/ 2705100 h 3680460"/>
                  <a:gd name="connsiteX115" fmla="*/ 2705100 w 3018472"/>
                  <a:gd name="connsiteY115" fmla="*/ 2667000 h 3680460"/>
                  <a:gd name="connsiteX116" fmla="*/ 2727960 w 3018472"/>
                  <a:gd name="connsiteY116" fmla="*/ 2621280 h 3680460"/>
                  <a:gd name="connsiteX117" fmla="*/ 2735580 w 3018472"/>
                  <a:gd name="connsiteY117" fmla="*/ 2590800 h 3680460"/>
                  <a:gd name="connsiteX118" fmla="*/ 2758440 w 3018472"/>
                  <a:gd name="connsiteY118" fmla="*/ 2545080 h 3680460"/>
                  <a:gd name="connsiteX119" fmla="*/ 2788920 w 3018472"/>
                  <a:gd name="connsiteY119" fmla="*/ 2484120 h 3680460"/>
                  <a:gd name="connsiteX120" fmla="*/ 2811780 w 3018472"/>
                  <a:gd name="connsiteY120" fmla="*/ 2407920 h 3680460"/>
                  <a:gd name="connsiteX121" fmla="*/ 2842260 w 3018472"/>
                  <a:gd name="connsiteY121" fmla="*/ 2324100 h 3680460"/>
                  <a:gd name="connsiteX122" fmla="*/ 2857500 w 3018472"/>
                  <a:gd name="connsiteY122" fmla="*/ 2247900 h 3680460"/>
                  <a:gd name="connsiteX123" fmla="*/ 2872740 w 3018472"/>
                  <a:gd name="connsiteY123" fmla="*/ 2194560 h 3680460"/>
                  <a:gd name="connsiteX124" fmla="*/ 2887980 w 3018472"/>
                  <a:gd name="connsiteY124" fmla="*/ 2148840 h 3680460"/>
                  <a:gd name="connsiteX125" fmla="*/ 2910840 w 3018472"/>
                  <a:gd name="connsiteY125" fmla="*/ 2087880 h 3680460"/>
                  <a:gd name="connsiteX126" fmla="*/ 2918460 w 3018472"/>
                  <a:gd name="connsiteY126" fmla="*/ 2049780 h 3680460"/>
                  <a:gd name="connsiteX127" fmla="*/ 2933700 w 3018472"/>
                  <a:gd name="connsiteY127" fmla="*/ 1844040 h 3680460"/>
                  <a:gd name="connsiteX128" fmla="*/ 2918460 w 3018472"/>
                  <a:gd name="connsiteY128" fmla="*/ 1470660 h 3680460"/>
                  <a:gd name="connsiteX129" fmla="*/ 2895600 w 3018472"/>
                  <a:gd name="connsiteY129" fmla="*/ 1371600 h 3680460"/>
                  <a:gd name="connsiteX130" fmla="*/ 2880360 w 3018472"/>
                  <a:gd name="connsiteY130" fmla="*/ 1341120 h 3680460"/>
                  <a:gd name="connsiteX131" fmla="*/ 2857500 w 3018472"/>
                  <a:gd name="connsiteY131" fmla="*/ 1272540 h 3680460"/>
                  <a:gd name="connsiteX132" fmla="*/ 2849880 w 3018472"/>
                  <a:gd name="connsiteY132" fmla="*/ 1234440 h 3680460"/>
                  <a:gd name="connsiteX133" fmla="*/ 2827020 w 3018472"/>
                  <a:gd name="connsiteY133" fmla="*/ 1196340 h 3680460"/>
                  <a:gd name="connsiteX134" fmla="*/ 2811780 w 3018472"/>
                  <a:gd name="connsiteY134" fmla="*/ 1165860 h 3680460"/>
                  <a:gd name="connsiteX135" fmla="*/ 2781300 w 3018472"/>
                  <a:gd name="connsiteY135" fmla="*/ 1127760 h 3680460"/>
                  <a:gd name="connsiteX136" fmla="*/ 2766060 w 3018472"/>
                  <a:gd name="connsiteY136" fmla="*/ 1089660 h 3680460"/>
                  <a:gd name="connsiteX137" fmla="*/ 2735580 w 3018472"/>
                  <a:gd name="connsiteY137" fmla="*/ 1043940 h 3680460"/>
                  <a:gd name="connsiteX138" fmla="*/ 2727960 w 3018472"/>
                  <a:gd name="connsiteY138" fmla="*/ 1021080 h 3680460"/>
                  <a:gd name="connsiteX139" fmla="*/ 2682240 w 3018472"/>
                  <a:gd name="connsiteY139" fmla="*/ 937260 h 3680460"/>
                  <a:gd name="connsiteX140" fmla="*/ 2659380 w 3018472"/>
                  <a:gd name="connsiteY140" fmla="*/ 876300 h 3680460"/>
                  <a:gd name="connsiteX141" fmla="*/ 2644140 w 3018472"/>
                  <a:gd name="connsiteY141" fmla="*/ 845820 h 3680460"/>
                  <a:gd name="connsiteX142" fmla="*/ 2636520 w 3018472"/>
                  <a:gd name="connsiteY142" fmla="*/ 822960 h 3680460"/>
                  <a:gd name="connsiteX143" fmla="*/ 2621280 w 3018472"/>
                  <a:gd name="connsiteY143" fmla="*/ 800100 h 3680460"/>
                  <a:gd name="connsiteX144" fmla="*/ 2598420 w 3018472"/>
                  <a:gd name="connsiteY144" fmla="*/ 739140 h 3680460"/>
                  <a:gd name="connsiteX145" fmla="*/ 2458403 w 3018472"/>
                  <a:gd name="connsiteY145" fmla="*/ 621983 h 3680460"/>
                  <a:gd name="connsiteX146" fmla="*/ 2301240 w 3018472"/>
                  <a:gd name="connsiteY146" fmla="*/ 458152 h 3680460"/>
                  <a:gd name="connsiteX147" fmla="*/ 2237423 w 3018472"/>
                  <a:gd name="connsiteY147" fmla="*/ 406717 h 3680460"/>
                  <a:gd name="connsiteX148" fmla="*/ 2103120 w 3018472"/>
                  <a:gd name="connsiteY148" fmla="*/ 312420 h 3680460"/>
                  <a:gd name="connsiteX149" fmla="*/ 2042160 w 3018472"/>
                  <a:gd name="connsiteY149" fmla="*/ 266700 h 3680460"/>
                  <a:gd name="connsiteX150" fmla="*/ 2004060 w 3018472"/>
                  <a:gd name="connsiteY150" fmla="*/ 251460 h 3680460"/>
                  <a:gd name="connsiteX151" fmla="*/ 1958340 w 3018472"/>
                  <a:gd name="connsiteY151" fmla="*/ 220980 h 3680460"/>
                  <a:gd name="connsiteX152" fmla="*/ 1897380 w 3018472"/>
                  <a:gd name="connsiteY152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98420 w 3018472"/>
                  <a:gd name="connsiteY41" fmla="*/ 3055620 h 3680460"/>
                  <a:gd name="connsiteX42" fmla="*/ 2575560 w 3018472"/>
                  <a:gd name="connsiteY42" fmla="*/ 3078480 h 3680460"/>
                  <a:gd name="connsiteX43" fmla="*/ 2476500 w 3018472"/>
                  <a:gd name="connsiteY43" fmla="*/ 3169920 h 3680460"/>
                  <a:gd name="connsiteX44" fmla="*/ 2377440 w 3018472"/>
                  <a:gd name="connsiteY44" fmla="*/ 3223260 h 3680460"/>
                  <a:gd name="connsiteX45" fmla="*/ 2293620 w 3018472"/>
                  <a:gd name="connsiteY45" fmla="*/ 3284220 h 3680460"/>
                  <a:gd name="connsiteX46" fmla="*/ 2240280 w 3018472"/>
                  <a:gd name="connsiteY46" fmla="*/ 3314700 h 3680460"/>
                  <a:gd name="connsiteX47" fmla="*/ 2225040 w 3018472"/>
                  <a:gd name="connsiteY47" fmla="*/ 3337560 h 3680460"/>
                  <a:gd name="connsiteX48" fmla="*/ 2141220 w 3018472"/>
                  <a:gd name="connsiteY48" fmla="*/ 3390900 h 3680460"/>
                  <a:gd name="connsiteX49" fmla="*/ 2110740 w 3018472"/>
                  <a:gd name="connsiteY49" fmla="*/ 3413760 h 3680460"/>
                  <a:gd name="connsiteX50" fmla="*/ 2072640 w 3018472"/>
                  <a:gd name="connsiteY50" fmla="*/ 3451860 h 3680460"/>
                  <a:gd name="connsiteX51" fmla="*/ 2019300 w 3018472"/>
                  <a:gd name="connsiteY51" fmla="*/ 3467100 h 3680460"/>
                  <a:gd name="connsiteX52" fmla="*/ 1874520 w 3018472"/>
                  <a:gd name="connsiteY52" fmla="*/ 3512820 h 3680460"/>
                  <a:gd name="connsiteX53" fmla="*/ 1828800 w 3018472"/>
                  <a:gd name="connsiteY53" fmla="*/ 3520440 h 3680460"/>
                  <a:gd name="connsiteX54" fmla="*/ 1722120 w 3018472"/>
                  <a:gd name="connsiteY54" fmla="*/ 3550920 h 3680460"/>
                  <a:gd name="connsiteX55" fmla="*/ 1600200 w 3018472"/>
                  <a:gd name="connsiteY55" fmla="*/ 3589020 h 3680460"/>
                  <a:gd name="connsiteX56" fmla="*/ 1569720 w 3018472"/>
                  <a:gd name="connsiteY56" fmla="*/ 3596640 h 3680460"/>
                  <a:gd name="connsiteX57" fmla="*/ 1546860 w 3018472"/>
                  <a:gd name="connsiteY57" fmla="*/ 3611880 h 3680460"/>
                  <a:gd name="connsiteX58" fmla="*/ 1463040 w 3018472"/>
                  <a:gd name="connsiteY58" fmla="*/ 3627120 h 3680460"/>
                  <a:gd name="connsiteX59" fmla="*/ 1333500 w 3018472"/>
                  <a:gd name="connsiteY59" fmla="*/ 3657600 h 3680460"/>
                  <a:gd name="connsiteX60" fmla="*/ 1203960 w 3018472"/>
                  <a:gd name="connsiteY60" fmla="*/ 3672840 h 3680460"/>
                  <a:gd name="connsiteX61" fmla="*/ 1165860 w 3018472"/>
                  <a:gd name="connsiteY61" fmla="*/ 3680460 h 3680460"/>
                  <a:gd name="connsiteX62" fmla="*/ 449580 w 3018472"/>
                  <a:gd name="connsiteY62" fmla="*/ 3672840 h 3680460"/>
                  <a:gd name="connsiteX63" fmla="*/ 426720 w 3018472"/>
                  <a:gd name="connsiteY63" fmla="*/ 3665220 h 3680460"/>
                  <a:gd name="connsiteX64" fmla="*/ 388620 w 3018472"/>
                  <a:gd name="connsiteY64" fmla="*/ 3657600 h 3680460"/>
                  <a:gd name="connsiteX65" fmla="*/ 335280 w 3018472"/>
                  <a:gd name="connsiteY65" fmla="*/ 3627120 h 3680460"/>
                  <a:gd name="connsiteX66" fmla="*/ 266700 w 3018472"/>
                  <a:gd name="connsiteY66" fmla="*/ 3604260 h 3680460"/>
                  <a:gd name="connsiteX67" fmla="*/ 243840 w 3018472"/>
                  <a:gd name="connsiteY67" fmla="*/ 3589020 h 3680460"/>
                  <a:gd name="connsiteX68" fmla="*/ 160020 w 3018472"/>
                  <a:gd name="connsiteY68" fmla="*/ 3558540 h 3680460"/>
                  <a:gd name="connsiteX69" fmla="*/ 137160 w 3018472"/>
                  <a:gd name="connsiteY69" fmla="*/ 3535680 h 3680460"/>
                  <a:gd name="connsiteX70" fmla="*/ 99060 w 3018472"/>
                  <a:gd name="connsiteY70" fmla="*/ 3520440 h 3680460"/>
                  <a:gd name="connsiteX71" fmla="*/ 83820 w 3018472"/>
                  <a:gd name="connsiteY71" fmla="*/ 3489960 h 3680460"/>
                  <a:gd name="connsiteX72" fmla="*/ 45720 w 3018472"/>
                  <a:gd name="connsiteY72" fmla="*/ 3436620 h 3680460"/>
                  <a:gd name="connsiteX73" fmla="*/ 0 w 3018472"/>
                  <a:gd name="connsiteY73" fmla="*/ 3352800 h 3680460"/>
                  <a:gd name="connsiteX74" fmla="*/ 30480 w 3018472"/>
                  <a:gd name="connsiteY74" fmla="*/ 3345180 h 3680460"/>
                  <a:gd name="connsiteX75" fmla="*/ 137160 w 3018472"/>
                  <a:gd name="connsiteY75" fmla="*/ 3360420 h 3680460"/>
                  <a:gd name="connsiteX76" fmla="*/ 167640 w 3018472"/>
                  <a:gd name="connsiteY76" fmla="*/ 3390900 h 3680460"/>
                  <a:gd name="connsiteX77" fmla="*/ 198120 w 3018472"/>
                  <a:gd name="connsiteY77" fmla="*/ 3406140 h 3680460"/>
                  <a:gd name="connsiteX78" fmla="*/ 350520 w 3018472"/>
                  <a:gd name="connsiteY78" fmla="*/ 3436620 h 3680460"/>
                  <a:gd name="connsiteX79" fmla="*/ 381000 w 3018472"/>
                  <a:gd name="connsiteY79" fmla="*/ 3451860 h 3680460"/>
                  <a:gd name="connsiteX80" fmla="*/ 449580 w 3018472"/>
                  <a:gd name="connsiteY80" fmla="*/ 3489960 h 3680460"/>
                  <a:gd name="connsiteX81" fmla="*/ 495300 w 3018472"/>
                  <a:gd name="connsiteY81" fmla="*/ 3520440 h 3680460"/>
                  <a:gd name="connsiteX82" fmla="*/ 525780 w 3018472"/>
                  <a:gd name="connsiteY82" fmla="*/ 3535680 h 3680460"/>
                  <a:gd name="connsiteX83" fmla="*/ 731520 w 3018472"/>
                  <a:gd name="connsiteY83" fmla="*/ 3558540 h 3680460"/>
                  <a:gd name="connsiteX84" fmla="*/ 1341120 w 3018472"/>
                  <a:gd name="connsiteY84" fmla="*/ 3550920 h 3680460"/>
                  <a:gd name="connsiteX85" fmla="*/ 1440180 w 3018472"/>
                  <a:gd name="connsiteY85" fmla="*/ 3528060 h 3680460"/>
                  <a:gd name="connsiteX86" fmla="*/ 1539240 w 3018472"/>
                  <a:gd name="connsiteY86" fmla="*/ 3520440 h 3680460"/>
                  <a:gd name="connsiteX87" fmla="*/ 1562100 w 3018472"/>
                  <a:gd name="connsiteY87" fmla="*/ 3512820 h 3680460"/>
                  <a:gd name="connsiteX88" fmla="*/ 1630680 w 3018472"/>
                  <a:gd name="connsiteY88" fmla="*/ 3497580 h 3680460"/>
                  <a:gd name="connsiteX89" fmla="*/ 1699260 w 3018472"/>
                  <a:gd name="connsiteY89" fmla="*/ 3474720 h 3680460"/>
                  <a:gd name="connsiteX90" fmla="*/ 1790700 w 3018472"/>
                  <a:gd name="connsiteY90" fmla="*/ 3451860 h 3680460"/>
                  <a:gd name="connsiteX91" fmla="*/ 1821180 w 3018472"/>
                  <a:gd name="connsiteY91" fmla="*/ 3444240 h 3680460"/>
                  <a:gd name="connsiteX92" fmla="*/ 1844040 w 3018472"/>
                  <a:gd name="connsiteY92" fmla="*/ 3429000 h 3680460"/>
                  <a:gd name="connsiteX93" fmla="*/ 1874520 w 3018472"/>
                  <a:gd name="connsiteY93" fmla="*/ 3421380 h 3680460"/>
                  <a:gd name="connsiteX94" fmla="*/ 1927860 w 3018472"/>
                  <a:gd name="connsiteY94" fmla="*/ 3398520 h 3680460"/>
                  <a:gd name="connsiteX95" fmla="*/ 1950720 w 3018472"/>
                  <a:gd name="connsiteY95" fmla="*/ 3390900 h 3680460"/>
                  <a:gd name="connsiteX96" fmla="*/ 2004060 w 3018472"/>
                  <a:gd name="connsiteY96" fmla="*/ 3360420 h 3680460"/>
                  <a:gd name="connsiteX97" fmla="*/ 2042160 w 3018472"/>
                  <a:gd name="connsiteY97" fmla="*/ 3352800 h 3680460"/>
                  <a:gd name="connsiteX98" fmla="*/ 2080260 w 3018472"/>
                  <a:gd name="connsiteY98" fmla="*/ 3337560 h 3680460"/>
                  <a:gd name="connsiteX99" fmla="*/ 2156460 w 3018472"/>
                  <a:gd name="connsiteY99" fmla="*/ 3299460 h 3680460"/>
                  <a:gd name="connsiteX100" fmla="*/ 2179320 w 3018472"/>
                  <a:gd name="connsiteY100" fmla="*/ 3284220 h 3680460"/>
                  <a:gd name="connsiteX101" fmla="*/ 2209800 w 3018472"/>
                  <a:gd name="connsiteY101" fmla="*/ 3276600 h 3680460"/>
                  <a:gd name="connsiteX102" fmla="*/ 2263140 w 3018472"/>
                  <a:gd name="connsiteY102" fmla="*/ 3230880 h 3680460"/>
                  <a:gd name="connsiteX103" fmla="*/ 2346960 w 3018472"/>
                  <a:gd name="connsiteY103" fmla="*/ 3154680 h 3680460"/>
                  <a:gd name="connsiteX104" fmla="*/ 2400300 w 3018472"/>
                  <a:gd name="connsiteY104" fmla="*/ 3070860 h 3680460"/>
                  <a:gd name="connsiteX105" fmla="*/ 2415540 w 3018472"/>
                  <a:gd name="connsiteY105" fmla="*/ 3048000 h 3680460"/>
                  <a:gd name="connsiteX106" fmla="*/ 2446020 w 3018472"/>
                  <a:gd name="connsiteY106" fmla="*/ 3032760 h 3680460"/>
                  <a:gd name="connsiteX107" fmla="*/ 2468880 w 3018472"/>
                  <a:gd name="connsiteY107" fmla="*/ 3009900 h 3680460"/>
                  <a:gd name="connsiteX108" fmla="*/ 2537460 w 3018472"/>
                  <a:gd name="connsiteY108" fmla="*/ 2926080 h 3680460"/>
                  <a:gd name="connsiteX109" fmla="*/ 2575560 w 3018472"/>
                  <a:gd name="connsiteY109" fmla="*/ 2880360 h 3680460"/>
                  <a:gd name="connsiteX110" fmla="*/ 2628900 w 3018472"/>
                  <a:gd name="connsiteY110" fmla="*/ 2811780 h 3680460"/>
                  <a:gd name="connsiteX111" fmla="*/ 2644140 w 3018472"/>
                  <a:gd name="connsiteY111" fmla="*/ 2773680 h 3680460"/>
                  <a:gd name="connsiteX112" fmla="*/ 2674620 w 3018472"/>
                  <a:gd name="connsiteY112" fmla="*/ 2727960 h 3680460"/>
                  <a:gd name="connsiteX113" fmla="*/ 2689860 w 3018472"/>
                  <a:gd name="connsiteY113" fmla="*/ 2705100 h 3680460"/>
                  <a:gd name="connsiteX114" fmla="*/ 2705100 w 3018472"/>
                  <a:gd name="connsiteY114" fmla="*/ 2667000 h 3680460"/>
                  <a:gd name="connsiteX115" fmla="*/ 2727960 w 3018472"/>
                  <a:gd name="connsiteY115" fmla="*/ 2621280 h 3680460"/>
                  <a:gd name="connsiteX116" fmla="*/ 2735580 w 3018472"/>
                  <a:gd name="connsiteY116" fmla="*/ 2590800 h 3680460"/>
                  <a:gd name="connsiteX117" fmla="*/ 2758440 w 3018472"/>
                  <a:gd name="connsiteY117" fmla="*/ 2545080 h 3680460"/>
                  <a:gd name="connsiteX118" fmla="*/ 2788920 w 3018472"/>
                  <a:gd name="connsiteY118" fmla="*/ 2484120 h 3680460"/>
                  <a:gd name="connsiteX119" fmla="*/ 2811780 w 3018472"/>
                  <a:gd name="connsiteY119" fmla="*/ 2407920 h 3680460"/>
                  <a:gd name="connsiteX120" fmla="*/ 2842260 w 3018472"/>
                  <a:gd name="connsiteY120" fmla="*/ 2324100 h 3680460"/>
                  <a:gd name="connsiteX121" fmla="*/ 2857500 w 3018472"/>
                  <a:gd name="connsiteY121" fmla="*/ 2247900 h 3680460"/>
                  <a:gd name="connsiteX122" fmla="*/ 2872740 w 3018472"/>
                  <a:gd name="connsiteY122" fmla="*/ 2194560 h 3680460"/>
                  <a:gd name="connsiteX123" fmla="*/ 2887980 w 3018472"/>
                  <a:gd name="connsiteY123" fmla="*/ 2148840 h 3680460"/>
                  <a:gd name="connsiteX124" fmla="*/ 2910840 w 3018472"/>
                  <a:gd name="connsiteY124" fmla="*/ 2087880 h 3680460"/>
                  <a:gd name="connsiteX125" fmla="*/ 2918460 w 3018472"/>
                  <a:gd name="connsiteY125" fmla="*/ 2049780 h 3680460"/>
                  <a:gd name="connsiteX126" fmla="*/ 2933700 w 3018472"/>
                  <a:gd name="connsiteY126" fmla="*/ 1844040 h 3680460"/>
                  <a:gd name="connsiteX127" fmla="*/ 2918460 w 3018472"/>
                  <a:gd name="connsiteY127" fmla="*/ 1470660 h 3680460"/>
                  <a:gd name="connsiteX128" fmla="*/ 2895600 w 3018472"/>
                  <a:gd name="connsiteY128" fmla="*/ 1371600 h 3680460"/>
                  <a:gd name="connsiteX129" fmla="*/ 2880360 w 3018472"/>
                  <a:gd name="connsiteY129" fmla="*/ 1341120 h 3680460"/>
                  <a:gd name="connsiteX130" fmla="*/ 2857500 w 3018472"/>
                  <a:gd name="connsiteY130" fmla="*/ 1272540 h 3680460"/>
                  <a:gd name="connsiteX131" fmla="*/ 2849880 w 3018472"/>
                  <a:gd name="connsiteY131" fmla="*/ 1234440 h 3680460"/>
                  <a:gd name="connsiteX132" fmla="*/ 2827020 w 3018472"/>
                  <a:gd name="connsiteY132" fmla="*/ 1196340 h 3680460"/>
                  <a:gd name="connsiteX133" fmla="*/ 2811780 w 3018472"/>
                  <a:gd name="connsiteY133" fmla="*/ 1165860 h 3680460"/>
                  <a:gd name="connsiteX134" fmla="*/ 2781300 w 3018472"/>
                  <a:gd name="connsiteY134" fmla="*/ 1127760 h 3680460"/>
                  <a:gd name="connsiteX135" fmla="*/ 2766060 w 3018472"/>
                  <a:gd name="connsiteY135" fmla="*/ 1089660 h 3680460"/>
                  <a:gd name="connsiteX136" fmla="*/ 2735580 w 3018472"/>
                  <a:gd name="connsiteY136" fmla="*/ 1043940 h 3680460"/>
                  <a:gd name="connsiteX137" fmla="*/ 2727960 w 3018472"/>
                  <a:gd name="connsiteY137" fmla="*/ 1021080 h 3680460"/>
                  <a:gd name="connsiteX138" fmla="*/ 2682240 w 3018472"/>
                  <a:gd name="connsiteY138" fmla="*/ 937260 h 3680460"/>
                  <a:gd name="connsiteX139" fmla="*/ 2659380 w 3018472"/>
                  <a:gd name="connsiteY139" fmla="*/ 876300 h 3680460"/>
                  <a:gd name="connsiteX140" fmla="*/ 2644140 w 3018472"/>
                  <a:gd name="connsiteY140" fmla="*/ 845820 h 3680460"/>
                  <a:gd name="connsiteX141" fmla="*/ 2636520 w 3018472"/>
                  <a:gd name="connsiteY141" fmla="*/ 822960 h 3680460"/>
                  <a:gd name="connsiteX142" fmla="*/ 2621280 w 3018472"/>
                  <a:gd name="connsiteY142" fmla="*/ 800100 h 3680460"/>
                  <a:gd name="connsiteX143" fmla="*/ 2598420 w 3018472"/>
                  <a:gd name="connsiteY143" fmla="*/ 739140 h 3680460"/>
                  <a:gd name="connsiteX144" fmla="*/ 2458403 w 3018472"/>
                  <a:gd name="connsiteY144" fmla="*/ 621983 h 3680460"/>
                  <a:gd name="connsiteX145" fmla="*/ 2301240 w 3018472"/>
                  <a:gd name="connsiteY145" fmla="*/ 458152 h 3680460"/>
                  <a:gd name="connsiteX146" fmla="*/ 2237423 w 3018472"/>
                  <a:gd name="connsiteY146" fmla="*/ 406717 h 3680460"/>
                  <a:gd name="connsiteX147" fmla="*/ 2103120 w 3018472"/>
                  <a:gd name="connsiteY147" fmla="*/ 312420 h 3680460"/>
                  <a:gd name="connsiteX148" fmla="*/ 2042160 w 3018472"/>
                  <a:gd name="connsiteY148" fmla="*/ 266700 h 3680460"/>
                  <a:gd name="connsiteX149" fmla="*/ 2004060 w 3018472"/>
                  <a:gd name="connsiteY149" fmla="*/ 251460 h 3680460"/>
                  <a:gd name="connsiteX150" fmla="*/ 1958340 w 3018472"/>
                  <a:gd name="connsiteY150" fmla="*/ 220980 h 3680460"/>
                  <a:gd name="connsiteX151" fmla="*/ 1897380 w 3018472"/>
                  <a:gd name="connsiteY151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75560 w 3018472"/>
                  <a:gd name="connsiteY41" fmla="*/ 3078480 h 3680460"/>
                  <a:gd name="connsiteX42" fmla="*/ 2476500 w 3018472"/>
                  <a:gd name="connsiteY42" fmla="*/ 3169920 h 3680460"/>
                  <a:gd name="connsiteX43" fmla="*/ 2377440 w 3018472"/>
                  <a:gd name="connsiteY43" fmla="*/ 3223260 h 3680460"/>
                  <a:gd name="connsiteX44" fmla="*/ 2293620 w 3018472"/>
                  <a:gd name="connsiteY44" fmla="*/ 3284220 h 3680460"/>
                  <a:gd name="connsiteX45" fmla="*/ 2240280 w 3018472"/>
                  <a:gd name="connsiteY45" fmla="*/ 3314700 h 3680460"/>
                  <a:gd name="connsiteX46" fmla="*/ 2225040 w 3018472"/>
                  <a:gd name="connsiteY46" fmla="*/ 3337560 h 3680460"/>
                  <a:gd name="connsiteX47" fmla="*/ 2141220 w 3018472"/>
                  <a:gd name="connsiteY47" fmla="*/ 3390900 h 3680460"/>
                  <a:gd name="connsiteX48" fmla="*/ 2110740 w 3018472"/>
                  <a:gd name="connsiteY48" fmla="*/ 3413760 h 3680460"/>
                  <a:gd name="connsiteX49" fmla="*/ 2072640 w 3018472"/>
                  <a:gd name="connsiteY49" fmla="*/ 3451860 h 3680460"/>
                  <a:gd name="connsiteX50" fmla="*/ 2019300 w 3018472"/>
                  <a:gd name="connsiteY50" fmla="*/ 3467100 h 3680460"/>
                  <a:gd name="connsiteX51" fmla="*/ 1874520 w 3018472"/>
                  <a:gd name="connsiteY51" fmla="*/ 3512820 h 3680460"/>
                  <a:gd name="connsiteX52" fmla="*/ 1828800 w 3018472"/>
                  <a:gd name="connsiteY52" fmla="*/ 3520440 h 3680460"/>
                  <a:gd name="connsiteX53" fmla="*/ 1722120 w 3018472"/>
                  <a:gd name="connsiteY53" fmla="*/ 3550920 h 3680460"/>
                  <a:gd name="connsiteX54" fmla="*/ 1600200 w 3018472"/>
                  <a:gd name="connsiteY54" fmla="*/ 3589020 h 3680460"/>
                  <a:gd name="connsiteX55" fmla="*/ 1569720 w 3018472"/>
                  <a:gd name="connsiteY55" fmla="*/ 3596640 h 3680460"/>
                  <a:gd name="connsiteX56" fmla="*/ 1546860 w 3018472"/>
                  <a:gd name="connsiteY56" fmla="*/ 3611880 h 3680460"/>
                  <a:gd name="connsiteX57" fmla="*/ 1463040 w 3018472"/>
                  <a:gd name="connsiteY57" fmla="*/ 3627120 h 3680460"/>
                  <a:gd name="connsiteX58" fmla="*/ 1333500 w 3018472"/>
                  <a:gd name="connsiteY58" fmla="*/ 3657600 h 3680460"/>
                  <a:gd name="connsiteX59" fmla="*/ 1203960 w 3018472"/>
                  <a:gd name="connsiteY59" fmla="*/ 3672840 h 3680460"/>
                  <a:gd name="connsiteX60" fmla="*/ 1165860 w 3018472"/>
                  <a:gd name="connsiteY60" fmla="*/ 3680460 h 3680460"/>
                  <a:gd name="connsiteX61" fmla="*/ 449580 w 3018472"/>
                  <a:gd name="connsiteY61" fmla="*/ 3672840 h 3680460"/>
                  <a:gd name="connsiteX62" fmla="*/ 426720 w 3018472"/>
                  <a:gd name="connsiteY62" fmla="*/ 3665220 h 3680460"/>
                  <a:gd name="connsiteX63" fmla="*/ 388620 w 3018472"/>
                  <a:gd name="connsiteY63" fmla="*/ 3657600 h 3680460"/>
                  <a:gd name="connsiteX64" fmla="*/ 335280 w 3018472"/>
                  <a:gd name="connsiteY64" fmla="*/ 3627120 h 3680460"/>
                  <a:gd name="connsiteX65" fmla="*/ 266700 w 3018472"/>
                  <a:gd name="connsiteY65" fmla="*/ 3604260 h 3680460"/>
                  <a:gd name="connsiteX66" fmla="*/ 243840 w 3018472"/>
                  <a:gd name="connsiteY66" fmla="*/ 3589020 h 3680460"/>
                  <a:gd name="connsiteX67" fmla="*/ 160020 w 3018472"/>
                  <a:gd name="connsiteY67" fmla="*/ 3558540 h 3680460"/>
                  <a:gd name="connsiteX68" fmla="*/ 137160 w 3018472"/>
                  <a:gd name="connsiteY68" fmla="*/ 3535680 h 3680460"/>
                  <a:gd name="connsiteX69" fmla="*/ 99060 w 3018472"/>
                  <a:gd name="connsiteY69" fmla="*/ 3520440 h 3680460"/>
                  <a:gd name="connsiteX70" fmla="*/ 83820 w 3018472"/>
                  <a:gd name="connsiteY70" fmla="*/ 3489960 h 3680460"/>
                  <a:gd name="connsiteX71" fmla="*/ 45720 w 3018472"/>
                  <a:gd name="connsiteY71" fmla="*/ 3436620 h 3680460"/>
                  <a:gd name="connsiteX72" fmla="*/ 0 w 3018472"/>
                  <a:gd name="connsiteY72" fmla="*/ 3352800 h 3680460"/>
                  <a:gd name="connsiteX73" fmla="*/ 30480 w 3018472"/>
                  <a:gd name="connsiteY73" fmla="*/ 3345180 h 3680460"/>
                  <a:gd name="connsiteX74" fmla="*/ 137160 w 3018472"/>
                  <a:gd name="connsiteY74" fmla="*/ 3360420 h 3680460"/>
                  <a:gd name="connsiteX75" fmla="*/ 167640 w 3018472"/>
                  <a:gd name="connsiteY75" fmla="*/ 3390900 h 3680460"/>
                  <a:gd name="connsiteX76" fmla="*/ 198120 w 3018472"/>
                  <a:gd name="connsiteY76" fmla="*/ 3406140 h 3680460"/>
                  <a:gd name="connsiteX77" fmla="*/ 350520 w 3018472"/>
                  <a:gd name="connsiteY77" fmla="*/ 3436620 h 3680460"/>
                  <a:gd name="connsiteX78" fmla="*/ 381000 w 3018472"/>
                  <a:gd name="connsiteY78" fmla="*/ 3451860 h 3680460"/>
                  <a:gd name="connsiteX79" fmla="*/ 449580 w 3018472"/>
                  <a:gd name="connsiteY79" fmla="*/ 3489960 h 3680460"/>
                  <a:gd name="connsiteX80" fmla="*/ 495300 w 3018472"/>
                  <a:gd name="connsiteY80" fmla="*/ 3520440 h 3680460"/>
                  <a:gd name="connsiteX81" fmla="*/ 525780 w 3018472"/>
                  <a:gd name="connsiteY81" fmla="*/ 3535680 h 3680460"/>
                  <a:gd name="connsiteX82" fmla="*/ 731520 w 3018472"/>
                  <a:gd name="connsiteY82" fmla="*/ 3558540 h 3680460"/>
                  <a:gd name="connsiteX83" fmla="*/ 1341120 w 3018472"/>
                  <a:gd name="connsiteY83" fmla="*/ 3550920 h 3680460"/>
                  <a:gd name="connsiteX84" fmla="*/ 1440180 w 3018472"/>
                  <a:gd name="connsiteY84" fmla="*/ 3528060 h 3680460"/>
                  <a:gd name="connsiteX85" fmla="*/ 1539240 w 3018472"/>
                  <a:gd name="connsiteY85" fmla="*/ 3520440 h 3680460"/>
                  <a:gd name="connsiteX86" fmla="*/ 1562100 w 3018472"/>
                  <a:gd name="connsiteY86" fmla="*/ 3512820 h 3680460"/>
                  <a:gd name="connsiteX87" fmla="*/ 1630680 w 3018472"/>
                  <a:gd name="connsiteY87" fmla="*/ 3497580 h 3680460"/>
                  <a:gd name="connsiteX88" fmla="*/ 1699260 w 3018472"/>
                  <a:gd name="connsiteY88" fmla="*/ 3474720 h 3680460"/>
                  <a:gd name="connsiteX89" fmla="*/ 1790700 w 3018472"/>
                  <a:gd name="connsiteY89" fmla="*/ 3451860 h 3680460"/>
                  <a:gd name="connsiteX90" fmla="*/ 1821180 w 3018472"/>
                  <a:gd name="connsiteY90" fmla="*/ 3444240 h 3680460"/>
                  <a:gd name="connsiteX91" fmla="*/ 1844040 w 3018472"/>
                  <a:gd name="connsiteY91" fmla="*/ 3429000 h 3680460"/>
                  <a:gd name="connsiteX92" fmla="*/ 1874520 w 3018472"/>
                  <a:gd name="connsiteY92" fmla="*/ 3421380 h 3680460"/>
                  <a:gd name="connsiteX93" fmla="*/ 1927860 w 3018472"/>
                  <a:gd name="connsiteY93" fmla="*/ 3398520 h 3680460"/>
                  <a:gd name="connsiteX94" fmla="*/ 1950720 w 3018472"/>
                  <a:gd name="connsiteY94" fmla="*/ 3390900 h 3680460"/>
                  <a:gd name="connsiteX95" fmla="*/ 2004060 w 3018472"/>
                  <a:gd name="connsiteY95" fmla="*/ 3360420 h 3680460"/>
                  <a:gd name="connsiteX96" fmla="*/ 2042160 w 3018472"/>
                  <a:gd name="connsiteY96" fmla="*/ 3352800 h 3680460"/>
                  <a:gd name="connsiteX97" fmla="*/ 2080260 w 3018472"/>
                  <a:gd name="connsiteY97" fmla="*/ 3337560 h 3680460"/>
                  <a:gd name="connsiteX98" fmla="*/ 2156460 w 3018472"/>
                  <a:gd name="connsiteY98" fmla="*/ 3299460 h 3680460"/>
                  <a:gd name="connsiteX99" fmla="*/ 2179320 w 3018472"/>
                  <a:gd name="connsiteY99" fmla="*/ 3284220 h 3680460"/>
                  <a:gd name="connsiteX100" fmla="*/ 2209800 w 3018472"/>
                  <a:gd name="connsiteY100" fmla="*/ 3276600 h 3680460"/>
                  <a:gd name="connsiteX101" fmla="*/ 2263140 w 3018472"/>
                  <a:gd name="connsiteY101" fmla="*/ 3230880 h 3680460"/>
                  <a:gd name="connsiteX102" fmla="*/ 2346960 w 3018472"/>
                  <a:gd name="connsiteY102" fmla="*/ 3154680 h 3680460"/>
                  <a:gd name="connsiteX103" fmla="*/ 2400300 w 3018472"/>
                  <a:gd name="connsiteY103" fmla="*/ 3070860 h 3680460"/>
                  <a:gd name="connsiteX104" fmla="*/ 2415540 w 3018472"/>
                  <a:gd name="connsiteY104" fmla="*/ 3048000 h 3680460"/>
                  <a:gd name="connsiteX105" fmla="*/ 2446020 w 3018472"/>
                  <a:gd name="connsiteY105" fmla="*/ 3032760 h 3680460"/>
                  <a:gd name="connsiteX106" fmla="*/ 2468880 w 3018472"/>
                  <a:gd name="connsiteY106" fmla="*/ 3009900 h 3680460"/>
                  <a:gd name="connsiteX107" fmla="*/ 2537460 w 3018472"/>
                  <a:gd name="connsiteY107" fmla="*/ 2926080 h 3680460"/>
                  <a:gd name="connsiteX108" fmla="*/ 2575560 w 3018472"/>
                  <a:gd name="connsiteY108" fmla="*/ 2880360 h 3680460"/>
                  <a:gd name="connsiteX109" fmla="*/ 2628900 w 3018472"/>
                  <a:gd name="connsiteY109" fmla="*/ 2811780 h 3680460"/>
                  <a:gd name="connsiteX110" fmla="*/ 2644140 w 3018472"/>
                  <a:gd name="connsiteY110" fmla="*/ 2773680 h 3680460"/>
                  <a:gd name="connsiteX111" fmla="*/ 2674620 w 3018472"/>
                  <a:gd name="connsiteY111" fmla="*/ 2727960 h 3680460"/>
                  <a:gd name="connsiteX112" fmla="*/ 2689860 w 3018472"/>
                  <a:gd name="connsiteY112" fmla="*/ 2705100 h 3680460"/>
                  <a:gd name="connsiteX113" fmla="*/ 2705100 w 3018472"/>
                  <a:gd name="connsiteY113" fmla="*/ 2667000 h 3680460"/>
                  <a:gd name="connsiteX114" fmla="*/ 2727960 w 3018472"/>
                  <a:gd name="connsiteY114" fmla="*/ 2621280 h 3680460"/>
                  <a:gd name="connsiteX115" fmla="*/ 2735580 w 3018472"/>
                  <a:gd name="connsiteY115" fmla="*/ 2590800 h 3680460"/>
                  <a:gd name="connsiteX116" fmla="*/ 2758440 w 3018472"/>
                  <a:gd name="connsiteY116" fmla="*/ 2545080 h 3680460"/>
                  <a:gd name="connsiteX117" fmla="*/ 2788920 w 3018472"/>
                  <a:gd name="connsiteY117" fmla="*/ 2484120 h 3680460"/>
                  <a:gd name="connsiteX118" fmla="*/ 2811780 w 3018472"/>
                  <a:gd name="connsiteY118" fmla="*/ 2407920 h 3680460"/>
                  <a:gd name="connsiteX119" fmla="*/ 2842260 w 3018472"/>
                  <a:gd name="connsiteY119" fmla="*/ 2324100 h 3680460"/>
                  <a:gd name="connsiteX120" fmla="*/ 2857500 w 3018472"/>
                  <a:gd name="connsiteY120" fmla="*/ 2247900 h 3680460"/>
                  <a:gd name="connsiteX121" fmla="*/ 2872740 w 3018472"/>
                  <a:gd name="connsiteY121" fmla="*/ 2194560 h 3680460"/>
                  <a:gd name="connsiteX122" fmla="*/ 2887980 w 3018472"/>
                  <a:gd name="connsiteY122" fmla="*/ 2148840 h 3680460"/>
                  <a:gd name="connsiteX123" fmla="*/ 2910840 w 3018472"/>
                  <a:gd name="connsiteY123" fmla="*/ 2087880 h 3680460"/>
                  <a:gd name="connsiteX124" fmla="*/ 2918460 w 3018472"/>
                  <a:gd name="connsiteY124" fmla="*/ 2049780 h 3680460"/>
                  <a:gd name="connsiteX125" fmla="*/ 2933700 w 3018472"/>
                  <a:gd name="connsiteY125" fmla="*/ 1844040 h 3680460"/>
                  <a:gd name="connsiteX126" fmla="*/ 2918460 w 3018472"/>
                  <a:gd name="connsiteY126" fmla="*/ 1470660 h 3680460"/>
                  <a:gd name="connsiteX127" fmla="*/ 2895600 w 3018472"/>
                  <a:gd name="connsiteY127" fmla="*/ 1371600 h 3680460"/>
                  <a:gd name="connsiteX128" fmla="*/ 2880360 w 3018472"/>
                  <a:gd name="connsiteY128" fmla="*/ 1341120 h 3680460"/>
                  <a:gd name="connsiteX129" fmla="*/ 2857500 w 3018472"/>
                  <a:gd name="connsiteY129" fmla="*/ 1272540 h 3680460"/>
                  <a:gd name="connsiteX130" fmla="*/ 2849880 w 3018472"/>
                  <a:gd name="connsiteY130" fmla="*/ 1234440 h 3680460"/>
                  <a:gd name="connsiteX131" fmla="*/ 2827020 w 3018472"/>
                  <a:gd name="connsiteY131" fmla="*/ 1196340 h 3680460"/>
                  <a:gd name="connsiteX132" fmla="*/ 2811780 w 3018472"/>
                  <a:gd name="connsiteY132" fmla="*/ 1165860 h 3680460"/>
                  <a:gd name="connsiteX133" fmla="*/ 2781300 w 3018472"/>
                  <a:gd name="connsiteY133" fmla="*/ 1127760 h 3680460"/>
                  <a:gd name="connsiteX134" fmla="*/ 2766060 w 3018472"/>
                  <a:gd name="connsiteY134" fmla="*/ 1089660 h 3680460"/>
                  <a:gd name="connsiteX135" fmla="*/ 2735580 w 3018472"/>
                  <a:gd name="connsiteY135" fmla="*/ 1043940 h 3680460"/>
                  <a:gd name="connsiteX136" fmla="*/ 2727960 w 3018472"/>
                  <a:gd name="connsiteY136" fmla="*/ 1021080 h 3680460"/>
                  <a:gd name="connsiteX137" fmla="*/ 2682240 w 3018472"/>
                  <a:gd name="connsiteY137" fmla="*/ 937260 h 3680460"/>
                  <a:gd name="connsiteX138" fmla="*/ 2659380 w 3018472"/>
                  <a:gd name="connsiteY138" fmla="*/ 876300 h 3680460"/>
                  <a:gd name="connsiteX139" fmla="*/ 2644140 w 3018472"/>
                  <a:gd name="connsiteY139" fmla="*/ 845820 h 3680460"/>
                  <a:gd name="connsiteX140" fmla="*/ 2636520 w 3018472"/>
                  <a:gd name="connsiteY140" fmla="*/ 822960 h 3680460"/>
                  <a:gd name="connsiteX141" fmla="*/ 2621280 w 3018472"/>
                  <a:gd name="connsiteY141" fmla="*/ 800100 h 3680460"/>
                  <a:gd name="connsiteX142" fmla="*/ 2598420 w 3018472"/>
                  <a:gd name="connsiteY142" fmla="*/ 739140 h 3680460"/>
                  <a:gd name="connsiteX143" fmla="*/ 2458403 w 3018472"/>
                  <a:gd name="connsiteY143" fmla="*/ 621983 h 3680460"/>
                  <a:gd name="connsiteX144" fmla="*/ 2301240 w 3018472"/>
                  <a:gd name="connsiteY144" fmla="*/ 458152 h 3680460"/>
                  <a:gd name="connsiteX145" fmla="*/ 2237423 w 3018472"/>
                  <a:gd name="connsiteY145" fmla="*/ 406717 h 3680460"/>
                  <a:gd name="connsiteX146" fmla="*/ 2103120 w 3018472"/>
                  <a:gd name="connsiteY146" fmla="*/ 312420 h 3680460"/>
                  <a:gd name="connsiteX147" fmla="*/ 2042160 w 3018472"/>
                  <a:gd name="connsiteY147" fmla="*/ 266700 h 3680460"/>
                  <a:gd name="connsiteX148" fmla="*/ 2004060 w 3018472"/>
                  <a:gd name="connsiteY148" fmla="*/ 251460 h 3680460"/>
                  <a:gd name="connsiteX149" fmla="*/ 1958340 w 3018472"/>
                  <a:gd name="connsiteY149" fmla="*/ 220980 h 3680460"/>
                  <a:gd name="connsiteX150" fmla="*/ 1897380 w 3018472"/>
                  <a:gd name="connsiteY150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476500 w 3018472"/>
                  <a:gd name="connsiteY41" fmla="*/ 3169920 h 3680460"/>
                  <a:gd name="connsiteX42" fmla="*/ 2377440 w 3018472"/>
                  <a:gd name="connsiteY42" fmla="*/ 3223260 h 3680460"/>
                  <a:gd name="connsiteX43" fmla="*/ 2293620 w 3018472"/>
                  <a:gd name="connsiteY43" fmla="*/ 3284220 h 3680460"/>
                  <a:gd name="connsiteX44" fmla="*/ 2240280 w 3018472"/>
                  <a:gd name="connsiteY44" fmla="*/ 3314700 h 3680460"/>
                  <a:gd name="connsiteX45" fmla="*/ 2225040 w 3018472"/>
                  <a:gd name="connsiteY45" fmla="*/ 3337560 h 3680460"/>
                  <a:gd name="connsiteX46" fmla="*/ 2141220 w 3018472"/>
                  <a:gd name="connsiteY46" fmla="*/ 3390900 h 3680460"/>
                  <a:gd name="connsiteX47" fmla="*/ 2110740 w 3018472"/>
                  <a:gd name="connsiteY47" fmla="*/ 3413760 h 3680460"/>
                  <a:gd name="connsiteX48" fmla="*/ 2072640 w 3018472"/>
                  <a:gd name="connsiteY48" fmla="*/ 3451860 h 3680460"/>
                  <a:gd name="connsiteX49" fmla="*/ 2019300 w 3018472"/>
                  <a:gd name="connsiteY49" fmla="*/ 3467100 h 3680460"/>
                  <a:gd name="connsiteX50" fmla="*/ 1874520 w 3018472"/>
                  <a:gd name="connsiteY50" fmla="*/ 3512820 h 3680460"/>
                  <a:gd name="connsiteX51" fmla="*/ 1828800 w 3018472"/>
                  <a:gd name="connsiteY51" fmla="*/ 3520440 h 3680460"/>
                  <a:gd name="connsiteX52" fmla="*/ 1722120 w 3018472"/>
                  <a:gd name="connsiteY52" fmla="*/ 3550920 h 3680460"/>
                  <a:gd name="connsiteX53" fmla="*/ 1600200 w 3018472"/>
                  <a:gd name="connsiteY53" fmla="*/ 3589020 h 3680460"/>
                  <a:gd name="connsiteX54" fmla="*/ 1569720 w 3018472"/>
                  <a:gd name="connsiteY54" fmla="*/ 3596640 h 3680460"/>
                  <a:gd name="connsiteX55" fmla="*/ 1546860 w 3018472"/>
                  <a:gd name="connsiteY55" fmla="*/ 3611880 h 3680460"/>
                  <a:gd name="connsiteX56" fmla="*/ 1463040 w 3018472"/>
                  <a:gd name="connsiteY56" fmla="*/ 3627120 h 3680460"/>
                  <a:gd name="connsiteX57" fmla="*/ 1333500 w 3018472"/>
                  <a:gd name="connsiteY57" fmla="*/ 3657600 h 3680460"/>
                  <a:gd name="connsiteX58" fmla="*/ 1203960 w 3018472"/>
                  <a:gd name="connsiteY58" fmla="*/ 3672840 h 3680460"/>
                  <a:gd name="connsiteX59" fmla="*/ 1165860 w 3018472"/>
                  <a:gd name="connsiteY59" fmla="*/ 3680460 h 3680460"/>
                  <a:gd name="connsiteX60" fmla="*/ 449580 w 3018472"/>
                  <a:gd name="connsiteY60" fmla="*/ 3672840 h 3680460"/>
                  <a:gd name="connsiteX61" fmla="*/ 426720 w 3018472"/>
                  <a:gd name="connsiteY61" fmla="*/ 3665220 h 3680460"/>
                  <a:gd name="connsiteX62" fmla="*/ 388620 w 3018472"/>
                  <a:gd name="connsiteY62" fmla="*/ 3657600 h 3680460"/>
                  <a:gd name="connsiteX63" fmla="*/ 335280 w 3018472"/>
                  <a:gd name="connsiteY63" fmla="*/ 3627120 h 3680460"/>
                  <a:gd name="connsiteX64" fmla="*/ 266700 w 3018472"/>
                  <a:gd name="connsiteY64" fmla="*/ 3604260 h 3680460"/>
                  <a:gd name="connsiteX65" fmla="*/ 243840 w 3018472"/>
                  <a:gd name="connsiteY65" fmla="*/ 3589020 h 3680460"/>
                  <a:gd name="connsiteX66" fmla="*/ 160020 w 3018472"/>
                  <a:gd name="connsiteY66" fmla="*/ 3558540 h 3680460"/>
                  <a:gd name="connsiteX67" fmla="*/ 137160 w 3018472"/>
                  <a:gd name="connsiteY67" fmla="*/ 3535680 h 3680460"/>
                  <a:gd name="connsiteX68" fmla="*/ 99060 w 3018472"/>
                  <a:gd name="connsiteY68" fmla="*/ 3520440 h 3680460"/>
                  <a:gd name="connsiteX69" fmla="*/ 83820 w 3018472"/>
                  <a:gd name="connsiteY69" fmla="*/ 3489960 h 3680460"/>
                  <a:gd name="connsiteX70" fmla="*/ 45720 w 3018472"/>
                  <a:gd name="connsiteY70" fmla="*/ 3436620 h 3680460"/>
                  <a:gd name="connsiteX71" fmla="*/ 0 w 3018472"/>
                  <a:gd name="connsiteY71" fmla="*/ 3352800 h 3680460"/>
                  <a:gd name="connsiteX72" fmla="*/ 30480 w 3018472"/>
                  <a:gd name="connsiteY72" fmla="*/ 3345180 h 3680460"/>
                  <a:gd name="connsiteX73" fmla="*/ 137160 w 3018472"/>
                  <a:gd name="connsiteY73" fmla="*/ 3360420 h 3680460"/>
                  <a:gd name="connsiteX74" fmla="*/ 167640 w 3018472"/>
                  <a:gd name="connsiteY74" fmla="*/ 3390900 h 3680460"/>
                  <a:gd name="connsiteX75" fmla="*/ 198120 w 3018472"/>
                  <a:gd name="connsiteY75" fmla="*/ 3406140 h 3680460"/>
                  <a:gd name="connsiteX76" fmla="*/ 350520 w 3018472"/>
                  <a:gd name="connsiteY76" fmla="*/ 3436620 h 3680460"/>
                  <a:gd name="connsiteX77" fmla="*/ 381000 w 3018472"/>
                  <a:gd name="connsiteY77" fmla="*/ 3451860 h 3680460"/>
                  <a:gd name="connsiteX78" fmla="*/ 449580 w 3018472"/>
                  <a:gd name="connsiteY78" fmla="*/ 3489960 h 3680460"/>
                  <a:gd name="connsiteX79" fmla="*/ 495300 w 3018472"/>
                  <a:gd name="connsiteY79" fmla="*/ 3520440 h 3680460"/>
                  <a:gd name="connsiteX80" fmla="*/ 525780 w 3018472"/>
                  <a:gd name="connsiteY80" fmla="*/ 3535680 h 3680460"/>
                  <a:gd name="connsiteX81" fmla="*/ 731520 w 3018472"/>
                  <a:gd name="connsiteY81" fmla="*/ 3558540 h 3680460"/>
                  <a:gd name="connsiteX82" fmla="*/ 1341120 w 3018472"/>
                  <a:gd name="connsiteY82" fmla="*/ 3550920 h 3680460"/>
                  <a:gd name="connsiteX83" fmla="*/ 1440180 w 3018472"/>
                  <a:gd name="connsiteY83" fmla="*/ 3528060 h 3680460"/>
                  <a:gd name="connsiteX84" fmla="*/ 1539240 w 3018472"/>
                  <a:gd name="connsiteY84" fmla="*/ 3520440 h 3680460"/>
                  <a:gd name="connsiteX85" fmla="*/ 1562100 w 3018472"/>
                  <a:gd name="connsiteY85" fmla="*/ 3512820 h 3680460"/>
                  <a:gd name="connsiteX86" fmla="*/ 1630680 w 3018472"/>
                  <a:gd name="connsiteY86" fmla="*/ 3497580 h 3680460"/>
                  <a:gd name="connsiteX87" fmla="*/ 1699260 w 3018472"/>
                  <a:gd name="connsiteY87" fmla="*/ 3474720 h 3680460"/>
                  <a:gd name="connsiteX88" fmla="*/ 1790700 w 3018472"/>
                  <a:gd name="connsiteY88" fmla="*/ 3451860 h 3680460"/>
                  <a:gd name="connsiteX89" fmla="*/ 1821180 w 3018472"/>
                  <a:gd name="connsiteY89" fmla="*/ 3444240 h 3680460"/>
                  <a:gd name="connsiteX90" fmla="*/ 1844040 w 3018472"/>
                  <a:gd name="connsiteY90" fmla="*/ 3429000 h 3680460"/>
                  <a:gd name="connsiteX91" fmla="*/ 1874520 w 3018472"/>
                  <a:gd name="connsiteY91" fmla="*/ 3421380 h 3680460"/>
                  <a:gd name="connsiteX92" fmla="*/ 1927860 w 3018472"/>
                  <a:gd name="connsiteY92" fmla="*/ 3398520 h 3680460"/>
                  <a:gd name="connsiteX93" fmla="*/ 1950720 w 3018472"/>
                  <a:gd name="connsiteY93" fmla="*/ 3390900 h 3680460"/>
                  <a:gd name="connsiteX94" fmla="*/ 2004060 w 3018472"/>
                  <a:gd name="connsiteY94" fmla="*/ 3360420 h 3680460"/>
                  <a:gd name="connsiteX95" fmla="*/ 2042160 w 3018472"/>
                  <a:gd name="connsiteY95" fmla="*/ 3352800 h 3680460"/>
                  <a:gd name="connsiteX96" fmla="*/ 2080260 w 3018472"/>
                  <a:gd name="connsiteY96" fmla="*/ 3337560 h 3680460"/>
                  <a:gd name="connsiteX97" fmla="*/ 2156460 w 3018472"/>
                  <a:gd name="connsiteY97" fmla="*/ 3299460 h 3680460"/>
                  <a:gd name="connsiteX98" fmla="*/ 2179320 w 3018472"/>
                  <a:gd name="connsiteY98" fmla="*/ 3284220 h 3680460"/>
                  <a:gd name="connsiteX99" fmla="*/ 2209800 w 3018472"/>
                  <a:gd name="connsiteY99" fmla="*/ 3276600 h 3680460"/>
                  <a:gd name="connsiteX100" fmla="*/ 2263140 w 3018472"/>
                  <a:gd name="connsiteY100" fmla="*/ 3230880 h 3680460"/>
                  <a:gd name="connsiteX101" fmla="*/ 2346960 w 3018472"/>
                  <a:gd name="connsiteY101" fmla="*/ 3154680 h 3680460"/>
                  <a:gd name="connsiteX102" fmla="*/ 2400300 w 3018472"/>
                  <a:gd name="connsiteY102" fmla="*/ 3070860 h 3680460"/>
                  <a:gd name="connsiteX103" fmla="*/ 2415540 w 3018472"/>
                  <a:gd name="connsiteY103" fmla="*/ 3048000 h 3680460"/>
                  <a:gd name="connsiteX104" fmla="*/ 2446020 w 3018472"/>
                  <a:gd name="connsiteY104" fmla="*/ 3032760 h 3680460"/>
                  <a:gd name="connsiteX105" fmla="*/ 2468880 w 3018472"/>
                  <a:gd name="connsiteY105" fmla="*/ 3009900 h 3680460"/>
                  <a:gd name="connsiteX106" fmla="*/ 2537460 w 3018472"/>
                  <a:gd name="connsiteY106" fmla="*/ 2926080 h 3680460"/>
                  <a:gd name="connsiteX107" fmla="*/ 2575560 w 3018472"/>
                  <a:gd name="connsiteY107" fmla="*/ 2880360 h 3680460"/>
                  <a:gd name="connsiteX108" fmla="*/ 2628900 w 3018472"/>
                  <a:gd name="connsiteY108" fmla="*/ 2811780 h 3680460"/>
                  <a:gd name="connsiteX109" fmla="*/ 2644140 w 3018472"/>
                  <a:gd name="connsiteY109" fmla="*/ 2773680 h 3680460"/>
                  <a:gd name="connsiteX110" fmla="*/ 2674620 w 3018472"/>
                  <a:gd name="connsiteY110" fmla="*/ 2727960 h 3680460"/>
                  <a:gd name="connsiteX111" fmla="*/ 2689860 w 3018472"/>
                  <a:gd name="connsiteY111" fmla="*/ 2705100 h 3680460"/>
                  <a:gd name="connsiteX112" fmla="*/ 2705100 w 3018472"/>
                  <a:gd name="connsiteY112" fmla="*/ 2667000 h 3680460"/>
                  <a:gd name="connsiteX113" fmla="*/ 2727960 w 3018472"/>
                  <a:gd name="connsiteY113" fmla="*/ 2621280 h 3680460"/>
                  <a:gd name="connsiteX114" fmla="*/ 2735580 w 3018472"/>
                  <a:gd name="connsiteY114" fmla="*/ 2590800 h 3680460"/>
                  <a:gd name="connsiteX115" fmla="*/ 2758440 w 3018472"/>
                  <a:gd name="connsiteY115" fmla="*/ 2545080 h 3680460"/>
                  <a:gd name="connsiteX116" fmla="*/ 2788920 w 3018472"/>
                  <a:gd name="connsiteY116" fmla="*/ 2484120 h 3680460"/>
                  <a:gd name="connsiteX117" fmla="*/ 2811780 w 3018472"/>
                  <a:gd name="connsiteY117" fmla="*/ 2407920 h 3680460"/>
                  <a:gd name="connsiteX118" fmla="*/ 2842260 w 3018472"/>
                  <a:gd name="connsiteY118" fmla="*/ 2324100 h 3680460"/>
                  <a:gd name="connsiteX119" fmla="*/ 2857500 w 3018472"/>
                  <a:gd name="connsiteY119" fmla="*/ 2247900 h 3680460"/>
                  <a:gd name="connsiteX120" fmla="*/ 2872740 w 3018472"/>
                  <a:gd name="connsiteY120" fmla="*/ 2194560 h 3680460"/>
                  <a:gd name="connsiteX121" fmla="*/ 2887980 w 3018472"/>
                  <a:gd name="connsiteY121" fmla="*/ 2148840 h 3680460"/>
                  <a:gd name="connsiteX122" fmla="*/ 2910840 w 3018472"/>
                  <a:gd name="connsiteY122" fmla="*/ 2087880 h 3680460"/>
                  <a:gd name="connsiteX123" fmla="*/ 2918460 w 3018472"/>
                  <a:gd name="connsiteY123" fmla="*/ 2049780 h 3680460"/>
                  <a:gd name="connsiteX124" fmla="*/ 2933700 w 3018472"/>
                  <a:gd name="connsiteY124" fmla="*/ 1844040 h 3680460"/>
                  <a:gd name="connsiteX125" fmla="*/ 2918460 w 3018472"/>
                  <a:gd name="connsiteY125" fmla="*/ 1470660 h 3680460"/>
                  <a:gd name="connsiteX126" fmla="*/ 2895600 w 3018472"/>
                  <a:gd name="connsiteY126" fmla="*/ 1371600 h 3680460"/>
                  <a:gd name="connsiteX127" fmla="*/ 2880360 w 3018472"/>
                  <a:gd name="connsiteY127" fmla="*/ 1341120 h 3680460"/>
                  <a:gd name="connsiteX128" fmla="*/ 2857500 w 3018472"/>
                  <a:gd name="connsiteY128" fmla="*/ 1272540 h 3680460"/>
                  <a:gd name="connsiteX129" fmla="*/ 2849880 w 3018472"/>
                  <a:gd name="connsiteY129" fmla="*/ 1234440 h 3680460"/>
                  <a:gd name="connsiteX130" fmla="*/ 2827020 w 3018472"/>
                  <a:gd name="connsiteY130" fmla="*/ 1196340 h 3680460"/>
                  <a:gd name="connsiteX131" fmla="*/ 2811780 w 3018472"/>
                  <a:gd name="connsiteY131" fmla="*/ 1165860 h 3680460"/>
                  <a:gd name="connsiteX132" fmla="*/ 2781300 w 3018472"/>
                  <a:gd name="connsiteY132" fmla="*/ 1127760 h 3680460"/>
                  <a:gd name="connsiteX133" fmla="*/ 2766060 w 3018472"/>
                  <a:gd name="connsiteY133" fmla="*/ 1089660 h 3680460"/>
                  <a:gd name="connsiteX134" fmla="*/ 2735580 w 3018472"/>
                  <a:gd name="connsiteY134" fmla="*/ 1043940 h 3680460"/>
                  <a:gd name="connsiteX135" fmla="*/ 2727960 w 3018472"/>
                  <a:gd name="connsiteY135" fmla="*/ 1021080 h 3680460"/>
                  <a:gd name="connsiteX136" fmla="*/ 2682240 w 3018472"/>
                  <a:gd name="connsiteY136" fmla="*/ 937260 h 3680460"/>
                  <a:gd name="connsiteX137" fmla="*/ 2659380 w 3018472"/>
                  <a:gd name="connsiteY137" fmla="*/ 876300 h 3680460"/>
                  <a:gd name="connsiteX138" fmla="*/ 2644140 w 3018472"/>
                  <a:gd name="connsiteY138" fmla="*/ 845820 h 3680460"/>
                  <a:gd name="connsiteX139" fmla="*/ 2636520 w 3018472"/>
                  <a:gd name="connsiteY139" fmla="*/ 822960 h 3680460"/>
                  <a:gd name="connsiteX140" fmla="*/ 2621280 w 3018472"/>
                  <a:gd name="connsiteY140" fmla="*/ 800100 h 3680460"/>
                  <a:gd name="connsiteX141" fmla="*/ 2598420 w 3018472"/>
                  <a:gd name="connsiteY141" fmla="*/ 739140 h 3680460"/>
                  <a:gd name="connsiteX142" fmla="*/ 2458403 w 3018472"/>
                  <a:gd name="connsiteY142" fmla="*/ 621983 h 3680460"/>
                  <a:gd name="connsiteX143" fmla="*/ 2301240 w 3018472"/>
                  <a:gd name="connsiteY143" fmla="*/ 458152 h 3680460"/>
                  <a:gd name="connsiteX144" fmla="*/ 2237423 w 3018472"/>
                  <a:gd name="connsiteY144" fmla="*/ 406717 h 3680460"/>
                  <a:gd name="connsiteX145" fmla="*/ 2103120 w 3018472"/>
                  <a:gd name="connsiteY145" fmla="*/ 312420 h 3680460"/>
                  <a:gd name="connsiteX146" fmla="*/ 2042160 w 3018472"/>
                  <a:gd name="connsiteY146" fmla="*/ 266700 h 3680460"/>
                  <a:gd name="connsiteX147" fmla="*/ 2004060 w 3018472"/>
                  <a:gd name="connsiteY147" fmla="*/ 251460 h 3680460"/>
                  <a:gd name="connsiteX148" fmla="*/ 1958340 w 3018472"/>
                  <a:gd name="connsiteY148" fmla="*/ 220980 h 3680460"/>
                  <a:gd name="connsiteX149" fmla="*/ 1897380 w 3018472"/>
                  <a:gd name="connsiteY14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476500 w 3018472"/>
                  <a:gd name="connsiteY40" fmla="*/ 3169920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505075 w 3018472"/>
                  <a:gd name="connsiteY40" fmla="*/ 3084195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1300 w 3018472"/>
                  <a:gd name="connsiteY38" fmla="*/ 2804160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752725 w 3018472"/>
                  <a:gd name="connsiteY37" fmla="*/ 2789872 h 3680460"/>
                  <a:gd name="connsiteX38" fmla="*/ 2505075 w 3018472"/>
                  <a:gd name="connsiteY38" fmla="*/ 3084195 h 3680460"/>
                  <a:gd name="connsiteX39" fmla="*/ 2377440 w 3018472"/>
                  <a:gd name="connsiteY39" fmla="*/ 3223260 h 3680460"/>
                  <a:gd name="connsiteX40" fmla="*/ 2293620 w 3018472"/>
                  <a:gd name="connsiteY40" fmla="*/ 3284220 h 3680460"/>
                  <a:gd name="connsiteX41" fmla="*/ 2240280 w 3018472"/>
                  <a:gd name="connsiteY41" fmla="*/ 3314700 h 3680460"/>
                  <a:gd name="connsiteX42" fmla="*/ 2225040 w 3018472"/>
                  <a:gd name="connsiteY42" fmla="*/ 3337560 h 3680460"/>
                  <a:gd name="connsiteX43" fmla="*/ 2141220 w 3018472"/>
                  <a:gd name="connsiteY43" fmla="*/ 3390900 h 3680460"/>
                  <a:gd name="connsiteX44" fmla="*/ 2110740 w 3018472"/>
                  <a:gd name="connsiteY44" fmla="*/ 3413760 h 3680460"/>
                  <a:gd name="connsiteX45" fmla="*/ 2072640 w 3018472"/>
                  <a:gd name="connsiteY45" fmla="*/ 3451860 h 3680460"/>
                  <a:gd name="connsiteX46" fmla="*/ 2019300 w 3018472"/>
                  <a:gd name="connsiteY46" fmla="*/ 3467100 h 3680460"/>
                  <a:gd name="connsiteX47" fmla="*/ 1874520 w 3018472"/>
                  <a:gd name="connsiteY47" fmla="*/ 3512820 h 3680460"/>
                  <a:gd name="connsiteX48" fmla="*/ 1828800 w 3018472"/>
                  <a:gd name="connsiteY48" fmla="*/ 3520440 h 3680460"/>
                  <a:gd name="connsiteX49" fmla="*/ 1722120 w 3018472"/>
                  <a:gd name="connsiteY49" fmla="*/ 3550920 h 3680460"/>
                  <a:gd name="connsiteX50" fmla="*/ 1600200 w 3018472"/>
                  <a:gd name="connsiteY50" fmla="*/ 3589020 h 3680460"/>
                  <a:gd name="connsiteX51" fmla="*/ 1569720 w 3018472"/>
                  <a:gd name="connsiteY51" fmla="*/ 3596640 h 3680460"/>
                  <a:gd name="connsiteX52" fmla="*/ 1546860 w 3018472"/>
                  <a:gd name="connsiteY52" fmla="*/ 3611880 h 3680460"/>
                  <a:gd name="connsiteX53" fmla="*/ 1463040 w 3018472"/>
                  <a:gd name="connsiteY53" fmla="*/ 3627120 h 3680460"/>
                  <a:gd name="connsiteX54" fmla="*/ 1333500 w 3018472"/>
                  <a:gd name="connsiteY54" fmla="*/ 3657600 h 3680460"/>
                  <a:gd name="connsiteX55" fmla="*/ 1203960 w 3018472"/>
                  <a:gd name="connsiteY55" fmla="*/ 3672840 h 3680460"/>
                  <a:gd name="connsiteX56" fmla="*/ 1165860 w 3018472"/>
                  <a:gd name="connsiteY56" fmla="*/ 3680460 h 3680460"/>
                  <a:gd name="connsiteX57" fmla="*/ 449580 w 3018472"/>
                  <a:gd name="connsiteY57" fmla="*/ 3672840 h 3680460"/>
                  <a:gd name="connsiteX58" fmla="*/ 426720 w 3018472"/>
                  <a:gd name="connsiteY58" fmla="*/ 3665220 h 3680460"/>
                  <a:gd name="connsiteX59" fmla="*/ 388620 w 3018472"/>
                  <a:gd name="connsiteY59" fmla="*/ 3657600 h 3680460"/>
                  <a:gd name="connsiteX60" fmla="*/ 335280 w 3018472"/>
                  <a:gd name="connsiteY60" fmla="*/ 3627120 h 3680460"/>
                  <a:gd name="connsiteX61" fmla="*/ 266700 w 3018472"/>
                  <a:gd name="connsiteY61" fmla="*/ 3604260 h 3680460"/>
                  <a:gd name="connsiteX62" fmla="*/ 243840 w 3018472"/>
                  <a:gd name="connsiteY62" fmla="*/ 3589020 h 3680460"/>
                  <a:gd name="connsiteX63" fmla="*/ 160020 w 3018472"/>
                  <a:gd name="connsiteY63" fmla="*/ 3558540 h 3680460"/>
                  <a:gd name="connsiteX64" fmla="*/ 137160 w 3018472"/>
                  <a:gd name="connsiteY64" fmla="*/ 3535680 h 3680460"/>
                  <a:gd name="connsiteX65" fmla="*/ 99060 w 3018472"/>
                  <a:gd name="connsiteY65" fmla="*/ 3520440 h 3680460"/>
                  <a:gd name="connsiteX66" fmla="*/ 83820 w 3018472"/>
                  <a:gd name="connsiteY66" fmla="*/ 3489960 h 3680460"/>
                  <a:gd name="connsiteX67" fmla="*/ 45720 w 3018472"/>
                  <a:gd name="connsiteY67" fmla="*/ 3436620 h 3680460"/>
                  <a:gd name="connsiteX68" fmla="*/ 0 w 3018472"/>
                  <a:gd name="connsiteY68" fmla="*/ 3352800 h 3680460"/>
                  <a:gd name="connsiteX69" fmla="*/ 30480 w 3018472"/>
                  <a:gd name="connsiteY69" fmla="*/ 3345180 h 3680460"/>
                  <a:gd name="connsiteX70" fmla="*/ 137160 w 3018472"/>
                  <a:gd name="connsiteY70" fmla="*/ 3360420 h 3680460"/>
                  <a:gd name="connsiteX71" fmla="*/ 167640 w 3018472"/>
                  <a:gd name="connsiteY71" fmla="*/ 3390900 h 3680460"/>
                  <a:gd name="connsiteX72" fmla="*/ 198120 w 3018472"/>
                  <a:gd name="connsiteY72" fmla="*/ 3406140 h 3680460"/>
                  <a:gd name="connsiteX73" fmla="*/ 350520 w 3018472"/>
                  <a:gd name="connsiteY73" fmla="*/ 3436620 h 3680460"/>
                  <a:gd name="connsiteX74" fmla="*/ 381000 w 3018472"/>
                  <a:gd name="connsiteY74" fmla="*/ 3451860 h 3680460"/>
                  <a:gd name="connsiteX75" fmla="*/ 449580 w 3018472"/>
                  <a:gd name="connsiteY75" fmla="*/ 3489960 h 3680460"/>
                  <a:gd name="connsiteX76" fmla="*/ 495300 w 3018472"/>
                  <a:gd name="connsiteY76" fmla="*/ 3520440 h 3680460"/>
                  <a:gd name="connsiteX77" fmla="*/ 525780 w 3018472"/>
                  <a:gd name="connsiteY77" fmla="*/ 3535680 h 3680460"/>
                  <a:gd name="connsiteX78" fmla="*/ 731520 w 3018472"/>
                  <a:gd name="connsiteY78" fmla="*/ 3558540 h 3680460"/>
                  <a:gd name="connsiteX79" fmla="*/ 1341120 w 3018472"/>
                  <a:gd name="connsiteY79" fmla="*/ 3550920 h 3680460"/>
                  <a:gd name="connsiteX80" fmla="*/ 1440180 w 3018472"/>
                  <a:gd name="connsiteY80" fmla="*/ 3528060 h 3680460"/>
                  <a:gd name="connsiteX81" fmla="*/ 1539240 w 3018472"/>
                  <a:gd name="connsiteY81" fmla="*/ 3520440 h 3680460"/>
                  <a:gd name="connsiteX82" fmla="*/ 1562100 w 3018472"/>
                  <a:gd name="connsiteY82" fmla="*/ 3512820 h 3680460"/>
                  <a:gd name="connsiteX83" fmla="*/ 1630680 w 3018472"/>
                  <a:gd name="connsiteY83" fmla="*/ 3497580 h 3680460"/>
                  <a:gd name="connsiteX84" fmla="*/ 1699260 w 3018472"/>
                  <a:gd name="connsiteY84" fmla="*/ 3474720 h 3680460"/>
                  <a:gd name="connsiteX85" fmla="*/ 1790700 w 3018472"/>
                  <a:gd name="connsiteY85" fmla="*/ 3451860 h 3680460"/>
                  <a:gd name="connsiteX86" fmla="*/ 1821180 w 3018472"/>
                  <a:gd name="connsiteY86" fmla="*/ 3444240 h 3680460"/>
                  <a:gd name="connsiteX87" fmla="*/ 1844040 w 3018472"/>
                  <a:gd name="connsiteY87" fmla="*/ 3429000 h 3680460"/>
                  <a:gd name="connsiteX88" fmla="*/ 1874520 w 3018472"/>
                  <a:gd name="connsiteY88" fmla="*/ 3421380 h 3680460"/>
                  <a:gd name="connsiteX89" fmla="*/ 1927860 w 3018472"/>
                  <a:gd name="connsiteY89" fmla="*/ 3398520 h 3680460"/>
                  <a:gd name="connsiteX90" fmla="*/ 1950720 w 3018472"/>
                  <a:gd name="connsiteY90" fmla="*/ 3390900 h 3680460"/>
                  <a:gd name="connsiteX91" fmla="*/ 2004060 w 3018472"/>
                  <a:gd name="connsiteY91" fmla="*/ 3360420 h 3680460"/>
                  <a:gd name="connsiteX92" fmla="*/ 2042160 w 3018472"/>
                  <a:gd name="connsiteY92" fmla="*/ 3352800 h 3680460"/>
                  <a:gd name="connsiteX93" fmla="*/ 2080260 w 3018472"/>
                  <a:gd name="connsiteY93" fmla="*/ 3337560 h 3680460"/>
                  <a:gd name="connsiteX94" fmla="*/ 2156460 w 3018472"/>
                  <a:gd name="connsiteY94" fmla="*/ 3299460 h 3680460"/>
                  <a:gd name="connsiteX95" fmla="*/ 2179320 w 3018472"/>
                  <a:gd name="connsiteY95" fmla="*/ 3284220 h 3680460"/>
                  <a:gd name="connsiteX96" fmla="*/ 2209800 w 3018472"/>
                  <a:gd name="connsiteY96" fmla="*/ 3276600 h 3680460"/>
                  <a:gd name="connsiteX97" fmla="*/ 2263140 w 3018472"/>
                  <a:gd name="connsiteY97" fmla="*/ 3230880 h 3680460"/>
                  <a:gd name="connsiteX98" fmla="*/ 2346960 w 3018472"/>
                  <a:gd name="connsiteY98" fmla="*/ 3154680 h 3680460"/>
                  <a:gd name="connsiteX99" fmla="*/ 2400300 w 3018472"/>
                  <a:gd name="connsiteY99" fmla="*/ 3070860 h 3680460"/>
                  <a:gd name="connsiteX100" fmla="*/ 2415540 w 3018472"/>
                  <a:gd name="connsiteY100" fmla="*/ 3048000 h 3680460"/>
                  <a:gd name="connsiteX101" fmla="*/ 2446020 w 3018472"/>
                  <a:gd name="connsiteY101" fmla="*/ 3032760 h 3680460"/>
                  <a:gd name="connsiteX102" fmla="*/ 2468880 w 3018472"/>
                  <a:gd name="connsiteY102" fmla="*/ 3009900 h 3680460"/>
                  <a:gd name="connsiteX103" fmla="*/ 2537460 w 3018472"/>
                  <a:gd name="connsiteY103" fmla="*/ 2926080 h 3680460"/>
                  <a:gd name="connsiteX104" fmla="*/ 2575560 w 3018472"/>
                  <a:gd name="connsiteY104" fmla="*/ 2880360 h 3680460"/>
                  <a:gd name="connsiteX105" fmla="*/ 2628900 w 3018472"/>
                  <a:gd name="connsiteY105" fmla="*/ 2811780 h 3680460"/>
                  <a:gd name="connsiteX106" fmla="*/ 2644140 w 3018472"/>
                  <a:gd name="connsiteY106" fmla="*/ 2773680 h 3680460"/>
                  <a:gd name="connsiteX107" fmla="*/ 2674620 w 3018472"/>
                  <a:gd name="connsiteY107" fmla="*/ 2727960 h 3680460"/>
                  <a:gd name="connsiteX108" fmla="*/ 2689860 w 3018472"/>
                  <a:gd name="connsiteY108" fmla="*/ 2705100 h 3680460"/>
                  <a:gd name="connsiteX109" fmla="*/ 2705100 w 3018472"/>
                  <a:gd name="connsiteY109" fmla="*/ 2667000 h 3680460"/>
                  <a:gd name="connsiteX110" fmla="*/ 2727960 w 3018472"/>
                  <a:gd name="connsiteY110" fmla="*/ 2621280 h 3680460"/>
                  <a:gd name="connsiteX111" fmla="*/ 2735580 w 3018472"/>
                  <a:gd name="connsiteY111" fmla="*/ 2590800 h 3680460"/>
                  <a:gd name="connsiteX112" fmla="*/ 2758440 w 3018472"/>
                  <a:gd name="connsiteY112" fmla="*/ 2545080 h 3680460"/>
                  <a:gd name="connsiteX113" fmla="*/ 2788920 w 3018472"/>
                  <a:gd name="connsiteY113" fmla="*/ 2484120 h 3680460"/>
                  <a:gd name="connsiteX114" fmla="*/ 2811780 w 3018472"/>
                  <a:gd name="connsiteY114" fmla="*/ 2407920 h 3680460"/>
                  <a:gd name="connsiteX115" fmla="*/ 2842260 w 3018472"/>
                  <a:gd name="connsiteY115" fmla="*/ 2324100 h 3680460"/>
                  <a:gd name="connsiteX116" fmla="*/ 2857500 w 3018472"/>
                  <a:gd name="connsiteY116" fmla="*/ 2247900 h 3680460"/>
                  <a:gd name="connsiteX117" fmla="*/ 2872740 w 3018472"/>
                  <a:gd name="connsiteY117" fmla="*/ 2194560 h 3680460"/>
                  <a:gd name="connsiteX118" fmla="*/ 2887980 w 3018472"/>
                  <a:gd name="connsiteY118" fmla="*/ 2148840 h 3680460"/>
                  <a:gd name="connsiteX119" fmla="*/ 2910840 w 3018472"/>
                  <a:gd name="connsiteY119" fmla="*/ 2087880 h 3680460"/>
                  <a:gd name="connsiteX120" fmla="*/ 2918460 w 3018472"/>
                  <a:gd name="connsiteY120" fmla="*/ 2049780 h 3680460"/>
                  <a:gd name="connsiteX121" fmla="*/ 2933700 w 3018472"/>
                  <a:gd name="connsiteY121" fmla="*/ 1844040 h 3680460"/>
                  <a:gd name="connsiteX122" fmla="*/ 2918460 w 3018472"/>
                  <a:gd name="connsiteY122" fmla="*/ 1470660 h 3680460"/>
                  <a:gd name="connsiteX123" fmla="*/ 2895600 w 3018472"/>
                  <a:gd name="connsiteY123" fmla="*/ 1371600 h 3680460"/>
                  <a:gd name="connsiteX124" fmla="*/ 2880360 w 3018472"/>
                  <a:gd name="connsiteY124" fmla="*/ 1341120 h 3680460"/>
                  <a:gd name="connsiteX125" fmla="*/ 2857500 w 3018472"/>
                  <a:gd name="connsiteY125" fmla="*/ 1272540 h 3680460"/>
                  <a:gd name="connsiteX126" fmla="*/ 2849880 w 3018472"/>
                  <a:gd name="connsiteY126" fmla="*/ 1234440 h 3680460"/>
                  <a:gd name="connsiteX127" fmla="*/ 2827020 w 3018472"/>
                  <a:gd name="connsiteY127" fmla="*/ 1196340 h 3680460"/>
                  <a:gd name="connsiteX128" fmla="*/ 2811780 w 3018472"/>
                  <a:gd name="connsiteY128" fmla="*/ 1165860 h 3680460"/>
                  <a:gd name="connsiteX129" fmla="*/ 2781300 w 3018472"/>
                  <a:gd name="connsiteY129" fmla="*/ 1127760 h 3680460"/>
                  <a:gd name="connsiteX130" fmla="*/ 2766060 w 3018472"/>
                  <a:gd name="connsiteY130" fmla="*/ 1089660 h 3680460"/>
                  <a:gd name="connsiteX131" fmla="*/ 2735580 w 3018472"/>
                  <a:gd name="connsiteY131" fmla="*/ 1043940 h 3680460"/>
                  <a:gd name="connsiteX132" fmla="*/ 2727960 w 3018472"/>
                  <a:gd name="connsiteY132" fmla="*/ 1021080 h 3680460"/>
                  <a:gd name="connsiteX133" fmla="*/ 2682240 w 3018472"/>
                  <a:gd name="connsiteY133" fmla="*/ 937260 h 3680460"/>
                  <a:gd name="connsiteX134" fmla="*/ 2659380 w 3018472"/>
                  <a:gd name="connsiteY134" fmla="*/ 876300 h 3680460"/>
                  <a:gd name="connsiteX135" fmla="*/ 2644140 w 3018472"/>
                  <a:gd name="connsiteY135" fmla="*/ 845820 h 3680460"/>
                  <a:gd name="connsiteX136" fmla="*/ 2636520 w 3018472"/>
                  <a:gd name="connsiteY136" fmla="*/ 822960 h 3680460"/>
                  <a:gd name="connsiteX137" fmla="*/ 2621280 w 3018472"/>
                  <a:gd name="connsiteY137" fmla="*/ 800100 h 3680460"/>
                  <a:gd name="connsiteX138" fmla="*/ 2598420 w 3018472"/>
                  <a:gd name="connsiteY138" fmla="*/ 739140 h 3680460"/>
                  <a:gd name="connsiteX139" fmla="*/ 2458403 w 3018472"/>
                  <a:gd name="connsiteY139" fmla="*/ 621983 h 3680460"/>
                  <a:gd name="connsiteX140" fmla="*/ 2301240 w 3018472"/>
                  <a:gd name="connsiteY140" fmla="*/ 458152 h 3680460"/>
                  <a:gd name="connsiteX141" fmla="*/ 2237423 w 3018472"/>
                  <a:gd name="connsiteY141" fmla="*/ 406717 h 3680460"/>
                  <a:gd name="connsiteX142" fmla="*/ 2103120 w 3018472"/>
                  <a:gd name="connsiteY142" fmla="*/ 312420 h 3680460"/>
                  <a:gd name="connsiteX143" fmla="*/ 2042160 w 3018472"/>
                  <a:gd name="connsiteY143" fmla="*/ 266700 h 3680460"/>
                  <a:gd name="connsiteX144" fmla="*/ 2004060 w 3018472"/>
                  <a:gd name="connsiteY144" fmla="*/ 251460 h 3680460"/>
                  <a:gd name="connsiteX145" fmla="*/ 1958340 w 3018472"/>
                  <a:gd name="connsiteY145" fmla="*/ 220980 h 3680460"/>
                  <a:gd name="connsiteX146" fmla="*/ 1897380 w 3018472"/>
                  <a:gd name="connsiteY14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4031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2126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52725 w 3018472"/>
                  <a:gd name="connsiteY35" fmla="*/ 2789872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28912 w 3018472"/>
                  <a:gd name="connsiteY35" fmla="*/ 2818447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72640 w 3017559"/>
                  <a:gd name="connsiteY43" fmla="*/ 3451860 h 3680460"/>
                  <a:gd name="connsiteX44" fmla="*/ 2019300 w 3017559"/>
                  <a:gd name="connsiteY44" fmla="*/ 3467100 h 3680460"/>
                  <a:gd name="connsiteX45" fmla="*/ 1874520 w 3017559"/>
                  <a:gd name="connsiteY45" fmla="*/ 3512820 h 3680460"/>
                  <a:gd name="connsiteX46" fmla="*/ 1828800 w 3017559"/>
                  <a:gd name="connsiteY46" fmla="*/ 3520440 h 3680460"/>
                  <a:gd name="connsiteX47" fmla="*/ 1722120 w 3017559"/>
                  <a:gd name="connsiteY47" fmla="*/ 3550920 h 3680460"/>
                  <a:gd name="connsiteX48" fmla="*/ 1600200 w 3017559"/>
                  <a:gd name="connsiteY48" fmla="*/ 3589020 h 3680460"/>
                  <a:gd name="connsiteX49" fmla="*/ 1569720 w 3017559"/>
                  <a:gd name="connsiteY49" fmla="*/ 3596640 h 3680460"/>
                  <a:gd name="connsiteX50" fmla="*/ 1546860 w 3017559"/>
                  <a:gd name="connsiteY50" fmla="*/ 3611880 h 3680460"/>
                  <a:gd name="connsiteX51" fmla="*/ 1463040 w 3017559"/>
                  <a:gd name="connsiteY51" fmla="*/ 3627120 h 3680460"/>
                  <a:gd name="connsiteX52" fmla="*/ 1333500 w 3017559"/>
                  <a:gd name="connsiteY52" fmla="*/ 3657600 h 3680460"/>
                  <a:gd name="connsiteX53" fmla="*/ 1203960 w 3017559"/>
                  <a:gd name="connsiteY53" fmla="*/ 3672840 h 3680460"/>
                  <a:gd name="connsiteX54" fmla="*/ 1165860 w 3017559"/>
                  <a:gd name="connsiteY54" fmla="*/ 3680460 h 3680460"/>
                  <a:gd name="connsiteX55" fmla="*/ 449580 w 3017559"/>
                  <a:gd name="connsiteY55" fmla="*/ 3672840 h 3680460"/>
                  <a:gd name="connsiteX56" fmla="*/ 426720 w 3017559"/>
                  <a:gd name="connsiteY56" fmla="*/ 3665220 h 3680460"/>
                  <a:gd name="connsiteX57" fmla="*/ 388620 w 3017559"/>
                  <a:gd name="connsiteY57" fmla="*/ 3657600 h 3680460"/>
                  <a:gd name="connsiteX58" fmla="*/ 335280 w 3017559"/>
                  <a:gd name="connsiteY58" fmla="*/ 3627120 h 3680460"/>
                  <a:gd name="connsiteX59" fmla="*/ 266700 w 3017559"/>
                  <a:gd name="connsiteY59" fmla="*/ 3604260 h 3680460"/>
                  <a:gd name="connsiteX60" fmla="*/ 243840 w 3017559"/>
                  <a:gd name="connsiteY60" fmla="*/ 3589020 h 3680460"/>
                  <a:gd name="connsiteX61" fmla="*/ 160020 w 3017559"/>
                  <a:gd name="connsiteY61" fmla="*/ 3558540 h 3680460"/>
                  <a:gd name="connsiteX62" fmla="*/ 137160 w 3017559"/>
                  <a:gd name="connsiteY62" fmla="*/ 3535680 h 3680460"/>
                  <a:gd name="connsiteX63" fmla="*/ 99060 w 3017559"/>
                  <a:gd name="connsiteY63" fmla="*/ 3520440 h 3680460"/>
                  <a:gd name="connsiteX64" fmla="*/ 83820 w 3017559"/>
                  <a:gd name="connsiteY64" fmla="*/ 3489960 h 3680460"/>
                  <a:gd name="connsiteX65" fmla="*/ 45720 w 3017559"/>
                  <a:gd name="connsiteY65" fmla="*/ 3436620 h 3680460"/>
                  <a:gd name="connsiteX66" fmla="*/ 0 w 3017559"/>
                  <a:gd name="connsiteY66" fmla="*/ 3352800 h 3680460"/>
                  <a:gd name="connsiteX67" fmla="*/ 30480 w 3017559"/>
                  <a:gd name="connsiteY67" fmla="*/ 3345180 h 3680460"/>
                  <a:gd name="connsiteX68" fmla="*/ 137160 w 3017559"/>
                  <a:gd name="connsiteY68" fmla="*/ 3360420 h 3680460"/>
                  <a:gd name="connsiteX69" fmla="*/ 167640 w 3017559"/>
                  <a:gd name="connsiteY69" fmla="*/ 3390900 h 3680460"/>
                  <a:gd name="connsiteX70" fmla="*/ 198120 w 3017559"/>
                  <a:gd name="connsiteY70" fmla="*/ 3406140 h 3680460"/>
                  <a:gd name="connsiteX71" fmla="*/ 350520 w 3017559"/>
                  <a:gd name="connsiteY71" fmla="*/ 3436620 h 3680460"/>
                  <a:gd name="connsiteX72" fmla="*/ 381000 w 3017559"/>
                  <a:gd name="connsiteY72" fmla="*/ 3451860 h 3680460"/>
                  <a:gd name="connsiteX73" fmla="*/ 449580 w 3017559"/>
                  <a:gd name="connsiteY73" fmla="*/ 3489960 h 3680460"/>
                  <a:gd name="connsiteX74" fmla="*/ 495300 w 3017559"/>
                  <a:gd name="connsiteY74" fmla="*/ 3520440 h 3680460"/>
                  <a:gd name="connsiteX75" fmla="*/ 525780 w 3017559"/>
                  <a:gd name="connsiteY75" fmla="*/ 3535680 h 3680460"/>
                  <a:gd name="connsiteX76" fmla="*/ 731520 w 3017559"/>
                  <a:gd name="connsiteY76" fmla="*/ 3558540 h 3680460"/>
                  <a:gd name="connsiteX77" fmla="*/ 1341120 w 3017559"/>
                  <a:gd name="connsiteY77" fmla="*/ 3550920 h 3680460"/>
                  <a:gd name="connsiteX78" fmla="*/ 1440180 w 3017559"/>
                  <a:gd name="connsiteY78" fmla="*/ 3528060 h 3680460"/>
                  <a:gd name="connsiteX79" fmla="*/ 1539240 w 3017559"/>
                  <a:gd name="connsiteY79" fmla="*/ 3520440 h 3680460"/>
                  <a:gd name="connsiteX80" fmla="*/ 1562100 w 3017559"/>
                  <a:gd name="connsiteY80" fmla="*/ 3512820 h 3680460"/>
                  <a:gd name="connsiteX81" fmla="*/ 1630680 w 3017559"/>
                  <a:gd name="connsiteY81" fmla="*/ 3497580 h 3680460"/>
                  <a:gd name="connsiteX82" fmla="*/ 1699260 w 3017559"/>
                  <a:gd name="connsiteY82" fmla="*/ 3474720 h 3680460"/>
                  <a:gd name="connsiteX83" fmla="*/ 1790700 w 3017559"/>
                  <a:gd name="connsiteY83" fmla="*/ 3451860 h 3680460"/>
                  <a:gd name="connsiteX84" fmla="*/ 1821180 w 3017559"/>
                  <a:gd name="connsiteY84" fmla="*/ 3444240 h 3680460"/>
                  <a:gd name="connsiteX85" fmla="*/ 1844040 w 3017559"/>
                  <a:gd name="connsiteY85" fmla="*/ 3429000 h 3680460"/>
                  <a:gd name="connsiteX86" fmla="*/ 1874520 w 3017559"/>
                  <a:gd name="connsiteY86" fmla="*/ 3421380 h 3680460"/>
                  <a:gd name="connsiteX87" fmla="*/ 1927860 w 3017559"/>
                  <a:gd name="connsiteY87" fmla="*/ 3398520 h 3680460"/>
                  <a:gd name="connsiteX88" fmla="*/ 1950720 w 3017559"/>
                  <a:gd name="connsiteY88" fmla="*/ 3390900 h 3680460"/>
                  <a:gd name="connsiteX89" fmla="*/ 2004060 w 3017559"/>
                  <a:gd name="connsiteY89" fmla="*/ 3360420 h 3680460"/>
                  <a:gd name="connsiteX90" fmla="*/ 2042160 w 3017559"/>
                  <a:gd name="connsiteY90" fmla="*/ 3352800 h 3680460"/>
                  <a:gd name="connsiteX91" fmla="*/ 2080260 w 3017559"/>
                  <a:gd name="connsiteY91" fmla="*/ 3337560 h 3680460"/>
                  <a:gd name="connsiteX92" fmla="*/ 2156460 w 3017559"/>
                  <a:gd name="connsiteY92" fmla="*/ 3299460 h 3680460"/>
                  <a:gd name="connsiteX93" fmla="*/ 2179320 w 3017559"/>
                  <a:gd name="connsiteY93" fmla="*/ 3284220 h 3680460"/>
                  <a:gd name="connsiteX94" fmla="*/ 2209800 w 3017559"/>
                  <a:gd name="connsiteY94" fmla="*/ 3276600 h 3680460"/>
                  <a:gd name="connsiteX95" fmla="*/ 2263140 w 3017559"/>
                  <a:gd name="connsiteY95" fmla="*/ 3230880 h 3680460"/>
                  <a:gd name="connsiteX96" fmla="*/ 2346960 w 3017559"/>
                  <a:gd name="connsiteY96" fmla="*/ 3154680 h 3680460"/>
                  <a:gd name="connsiteX97" fmla="*/ 2400300 w 3017559"/>
                  <a:gd name="connsiteY97" fmla="*/ 3070860 h 3680460"/>
                  <a:gd name="connsiteX98" fmla="*/ 2415540 w 3017559"/>
                  <a:gd name="connsiteY98" fmla="*/ 3048000 h 3680460"/>
                  <a:gd name="connsiteX99" fmla="*/ 2446020 w 3017559"/>
                  <a:gd name="connsiteY99" fmla="*/ 3032760 h 3680460"/>
                  <a:gd name="connsiteX100" fmla="*/ 2468880 w 3017559"/>
                  <a:gd name="connsiteY100" fmla="*/ 3009900 h 3680460"/>
                  <a:gd name="connsiteX101" fmla="*/ 2537460 w 3017559"/>
                  <a:gd name="connsiteY101" fmla="*/ 2926080 h 3680460"/>
                  <a:gd name="connsiteX102" fmla="*/ 2575560 w 3017559"/>
                  <a:gd name="connsiteY102" fmla="*/ 2880360 h 3680460"/>
                  <a:gd name="connsiteX103" fmla="*/ 2628900 w 3017559"/>
                  <a:gd name="connsiteY103" fmla="*/ 2811780 h 3680460"/>
                  <a:gd name="connsiteX104" fmla="*/ 2644140 w 3017559"/>
                  <a:gd name="connsiteY104" fmla="*/ 2773680 h 3680460"/>
                  <a:gd name="connsiteX105" fmla="*/ 2674620 w 3017559"/>
                  <a:gd name="connsiteY105" fmla="*/ 2727960 h 3680460"/>
                  <a:gd name="connsiteX106" fmla="*/ 2689860 w 3017559"/>
                  <a:gd name="connsiteY106" fmla="*/ 2705100 h 3680460"/>
                  <a:gd name="connsiteX107" fmla="*/ 2705100 w 3017559"/>
                  <a:gd name="connsiteY107" fmla="*/ 2667000 h 3680460"/>
                  <a:gd name="connsiteX108" fmla="*/ 2727960 w 3017559"/>
                  <a:gd name="connsiteY108" fmla="*/ 2621280 h 3680460"/>
                  <a:gd name="connsiteX109" fmla="*/ 2735580 w 3017559"/>
                  <a:gd name="connsiteY109" fmla="*/ 2590800 h 3680460"/>
                  <a:gd name="connsiteX110" fmla="*/ 2758440 w 3017559"/>
                  <a:gd name="connsiteY110" fmla="*/ 2545080 h 3680460"/>
                  <a:gd name="connsiteX111" fmla="*/ 2788920 w 3017559"/>
                  <a:gd name="connsiteY111" fmla="*/ 2484120 h 3680460"/>
                  <a:gd name="connsiteX112" fmla="*/ 2811780 w 3017559"/>
                  <a:gd name="connsiteY112" fmla="*/ 2407920 h 3680460"/>
                  <a:gd name="connsiteX113" fmla="*/ 2842260 w 3017559"/>
                  <a:gd name="connsiteY113" fmla="*/ 2324100 h 3680460"/>
                  <a:gd name="connsiteX114" fmla="*/ 2857500 w 3017559"/>
                  <a:gd name="connsiteY114" fmla="*/ 2247900 h 3680460"/>
                  <a:gd name="connsiteX115" fmla="*/ 2872740 w 3017559"/>
                  <a:gd name="connsiteY115" fmla="*/ 2194560 h 3680460"/>
                  <a:gd name="connsiteX116" fmla="*/ 2887980 w 3017559"/>
                  <a:gd name="connsiteY116" fmla="*/ 2148840 h 3680460"/>
                  <a:gd name="connsiteX117" fmla="*/ 2910840 w 3017559"/>
                  <a:gd name="connsiteY117" fmla="*/ 2087880 h 3680460"/>
                  <a:gd name="connsiteX118" fmla="*/ 2918460 w 3017559"/>
                  <a:gd name="connsiteY118" fmla="*/ 2049780 h 3680460"/>
                  <a:gd name="connsiteX119" fmla="*/ 2933700 w 3017559"/>
                  <a:gd name="connsiteY119" fmla="*/ 1844040 h 3680460"/>
                  <a:gd name="connsiteX120" fmla="*/ 2918460 w 3017559"/>
                  <a:gd name="connsiteY120" fmla="*/ 1470660 h 3680460"/>
                  <a:gd name="connsiteX121" fmla="*/ 2895600 w 3017559"/>
                  <a:gd name="connsiteY121" fmla="*/ 1371600 h 3680460"/>
                  <a:gd name="connsiteX122" fmla="*/ 2880360 w 3017559"/>
                  <a:gd name="connsiteY122" fmla="*/ 1341120 h 3680460"/>
                  <a:gd name="connsiteX123" fmla="*/ 2857500 w 3017559"/>
                  <a:gd name="connsiteY123" fmla="*/ 1272540 h 3680460"/>
                  <a:gd name="connsiteX124" fmla="*/ 2849880 w 3017559"/>
                  <a:gd name="connsiteY124" fmla="*/ 1234440 h 3680460"/>
                  <a:gd name="connsiteX125" fmla="*/ 2827020 w 3017559"/>
                  <a:gd name="connsiteY125" fmla="*/ 1196340 h 3680460"/>
                  <a:gd name="connsiteX126" fmla="*/ 2811780 w 3017559"/>
                  <a:gd name="connsiteY126" fmla="*/ 1165860 h 3680460"/>
                  <a:gd name="connsiteX127" fmla="*/ 2781300 w 3017559"/>
                  <a:gd name="connsiteY127" fmla="*/ 1127760 h 3680460"/>
                  <a:gd name="connsiteX128" fmla="*/ 2766060 w 3017559"/>
                  <a:gd name="connsiteY128" fmla="*/ 1089660 h 3680460"/>
                  <a:gd name="connsiteX129" fmla="*/ 2735580 w 3017559"/>
                  <a:gd name="connsiteY129" fmla="*/ 1043940 h 3680460"/>
                  <a:gd name="connsiteX130" fmla="*/ 2727960 w 3017559"/>
                  <a:gd name="connsiteY130" fmla="*/ 1021080 h 3680460"/>
                  <a:gd name="connsiteX131" fmla="*/ 2682240 w 3017559"/>
                  <a:gd name="connsiteY131" fmla="*/ 937260 h 3680460"/>
                  <a:gd name="connsiteX132" fmla="*/ 2659380 w 3017559"/>
                  <a:gd name="connsiteY132" fmla="*/ 876300 h 3680460"/>
                  <a:gd name="connsiteX133" fmla="*/ 2644140 w 3017559"/>
                  <a:gd name="connsiteY133" fmla="*/ 845820 h 3680460"/>
                  <a:gd name="connsiteX134" fmla="*/ 2636520 w 3017559"/>
                  <a:gd name="connsiteY134" fmla="*/ 822960 h 3680460"/>
                  <a:gd name="connsiteX135" fmla="*/ 2621280 w 3017559"/>
                  <a:gd name="connsiteY135" fmla="*/ 800100 h 3680460"/>
                  <a:gd name="connsiteX136" fmla="*/ 2598420 w 3017559"/>
                  <a:gd name="connsiteY136" fmla="*/ 739140 h 3680460"/>
                  <a:gd name="connsiteX137" fmla="*/ 2458403 w 3017559"/>
                  <a:gd name="connsiteY137" fmla="*/ 621983 h 3680460"/>
                  <a:gd name="connsiteX138" fmla="*/ 2301240 w 3017559"/>
                  <a:gd name="connsiteY138" fmla="*/ 458152 h 3680460"/>
                  <a:gd name="connsiteX139" fmla="*/ 2237423 w 3017559"/>
                  <a:gd name="connsiteY139" fmla="*/ 406717 h 3680460"/>
                  <a:gd name="connsiteX140" fmla="*/ 2103120 w 3017559"/>
                  <a:gd name="connsiteY140" fmla="*/ 312420 h 3680460"/>
                  <a:gd name="connsiteX141" fmla="*/ 2042160 w 3017559"/>
                  <a:gd name="connsiteY141" fmla="*/ 266700 h 3680460"/>
                  <a:gd name="connsiteX142" fmla="*/ 2004060 w 3017559"/>
                  <a:gd name="connsiteY142" fmla="*/ 251460 h 3680460"/>
                  <a:gd name="connsiteX143" fmla="*/ 1958340 w 3017559"/>
                  <a:gd name="connsiteY143" fmla="*/ 220980 h 3680460"/>
                  <a:gd name="connsiteX144" fmla="*/ 1897380 w 3017559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19300 w 3017559"/>
                  <a:gd name="connsiteY43" fmla="*/ 3467100 h 3680460"/>
                  <a:gd name="connsiteX44" fmla="*/ 1874520 w 3017559"/>
                  <a:gd name="connsiteY44" fmla="*/ 3512820 h 3680460"/>
                  <a:gd name="connsiteX45" fmla="*/ 1828800 w 3017559"/>
                  <a:gd name="connsiteY45" fmla="*/ 3520440 h 3680460"/>
                  <a:gd name="connsiteX46" fmla="*/ 1722120 w 3017559"/>
                  <a:gd name="connsiteY46" fmla="*/ 3550920 h 3680460"/>
                  <a:gd name="connsiteX47" fmla="*/ 1600200 w 3017559"/>
                  <a:gd name="connsiteY47" fmla="*/ 3589020 h 3680460"/>
                  <a:gd name="connsiteX48" fmla="*/ 1569720 w 3017559"/>
                  <a:gd name="connsiteY48" fmla="*/ 3596640 h 3680460"/>
                  <a:gd name="connsiteX49" fmla="*/ 1546860 w 3017559"/>
                  <a:gd name="connsiteY49" fmla="*/ 3611880 h 3680460"/>
                  <a:gd name="connsiteX50" fmla="*/ 1463040 w 3017559"/>
                  <a:gd name="connsiteY50" fmla="*/ 3627120 h 3680460"/>
                  <a:gd name="connsiteX51" fmla="*/ 1333500 w 3017559"/>
                  <a:gd name="connsiteY51" fmla="*/ 3657600 h 3680460"/>
                  <a:gd name="connsiteX52" fmla="*/ 1203960 w 3017559"/>
                  <a:gd name="connsiteY52" fmla="*/ 3672840 h 3680460"/>
                  <a:gd name="connsiteX53" fmla="*/ 1165860 w 3017559"/>
                  <a:gd name="connsiteY53" fmla="*/ 3680460 h 3680460"/>
                  <a:gd name="connsiteX54" fmla="*/ 449580 w 3017559"/>
                  <a:gd name="connsiteY54" fmla="*/ 3672840 h 3680460"/>
                  <a:gd name="connsiteX55" fmla="*/ 426720 w 3017559"/>
                  <a:gd name="connsiteY55" fmla="*/ 3665220 h 3680460"/>
                  <a:gd name="connsiteX56" fmla="*/ 388620 w 3017559"/>
                  <a:gd name="connsiteY56" fmla="*/ 3657600 h 3680460"/>
                  <a:gd name="connsiteX57" fmla="*/ 335280 w 3017559"/>
                  <a:gd name="connsiteY57" fmla="*/ 3627120 h 3680460"/>
                  <a:gd name="connsiteX58" fmla="*/ 266700 w 3017559"/>
                  <a:gd name="connsiteY58" fmla="*/ 3604260 h 3680460"/>
                  <a:gd name="connsiteX59" fmla="*/ 243840 w 3017559"/>
                  <a:gd name="connsiteY59" fmla="*/ 3589020 h 3680460"/>
                  <a:gd name="connsiteX60" fmla="*/ 160020 w 3017559"/>
                  <a:gd name="connsiteY60" fmla="*/ 3558540 h 3680460"/>
                  <a:gd name="connsiteX61" fmla="*/ 137160 w 3017559"/>
                  <a:gd name="connsiteY61" fmla="*/ 3535680 h 3680460"/>
                  <a:gd name="connsiteX62" fmla="*/ 99060 w 3017559"/>
                  <a:gd name="connsiteY62" fmla="*/ 3520440 h 3680460"/>
                  <a:gd name="connsiteX63" fmla="*/ 83820 w 3017559"/>
                  <a:gd name="connsiteY63" fmla="*/ 3489960 h 3680460"/>
                  <a:gd name="connsiteX64" fmla="*/ 45720 w 3017559"/>
                  <a:gd name="connsiteY64" fmla="*/ 3436620 h 3680460"/>
                  <a:gd name="connsiteX65" fmla="*/ 0 w 3017559"/>
                  <a:gd name="connsiteY65" fmla="*/ 3352800 h 3680460"/>
                  <a:gd name="connsiteX66" fmla="*/ 30480 w 3017559"/>
                  <a:gd name="connsiteY66" fmla="*/ 3345180 h 3680460"/>
                  <a:gd name="connsiteX67" fmla="*/ 137160 w 3017559"/>
                  <a:gd name="connsiteY67" fmla="*/ 3360420 h 3680460"/>
                  <a:gd name="connsiteX68" fmla="*/ 167640 w 3017559"/>
                  <a:gd name="connsiteY68" fmla="*/ 3390900 h 3680460"/>
                  <a:gd name="connsiteX69" fmla="*/ 198120 w 3017559"/>
                  <a:gd name="connsiteY69" fmla="*/ 3406140 h 3680460"/>
                  <a:gd name="connsiteX70" fmla="*/ 350520 w 3017559"/>
                  <a:gd name="connsiteY70" fmla="*/ 3436620 h 3680460"/>
                  <a:gd name="connsiteX71" fmla="*/ 381000 w 3017559"/>
                  <a:gd name="connsiteY71" fmla="*/ 3451860 h 3680460"/>
                  <a:gd name="connsiteX72" fmla="*/ 449580 w 3017559"/>
                  <a:gd name="connsiteY72" fmla="*/ 3489960 h 3680460"/>
                  <a:gd name="connsiteX73" fmla="*/ 495300 w 3017559"/>
                  <a:gd name="connsiteY73" fmla="*/ 3520440 h 3680460"/>
                  <a:gd name="connsiteX74" fmla="*/ 525780 w 3017559"/>
                  <a:gd name="connsiteY74" fmla="*/ 3535680 h 3680460"/>
                  <a:gd name="connsiteX75" fmla="*/ 731520 w 3017559"/>
                  <a:gd name="connsiteY75" fmla="*/ 3558540 h 3680460"/>
                  <a:gd name="connsiteX76" fmla="*/ 1341120 w 3017559"/>
                  <a:gd name="connsiteY76" fmla="*/ 3550920 h 3680460"/>
                  <a:gd name="connsiteX77" fmla="*/ 1440180 w 3017559"/>
                  <a:gd name="connsiteY77" fmla="*/ 3528060 h 3680460"/>
                  <a:gd name="connsiteX78" fmla="*/ 1539240 w 3017559"/>
                  <a:gd name="connsiteY78" fmla="*/ 3520440 h 3680460"/>
                  <a:gd name="connsiteX79" fmla="*/ 1562100 w 3017559"/>
                  <a:gd name="connsiteY79" fmla="*/ 3512820 h 3680460"/>
                  <a:gd name="connsiteX80" fmla="*/ 1630680 w 3017559"/>
                  <a:gd name="connsiteY80" fmla="*/ 3497580 h 3680460"/>
                  <a:gd name="connsiteX81" fmla="*/ 1699260 w 3017559"/>
                  <a:gd name="connsiteY81" fmla="*/ 3474720 h 3680460"/>
                  <a:gd name="connsiteX82" fmla="*/ 1790700 w 3017559"/>
                  <a:gd name="connsiteY82" fmla="*/ 3451860 h 3680460"/>
                  <a:gd name="connsiteX83" fmla="*/ 1821180 w 3017559"/>
                  <a:gd name="connsiteY83" fmla="*/ 3444240 h 3680460"/>
                  <a:gd name="connsiteX84" fmla="*/ 1844040 w 3017559"/>
                  <a:gd name="connsiteY84" fmla="*/ 3429000 h 3680460"/>
                  <a:gd name="connsiteX85" fmla="*/ 1874520 w 3017559"/>
                  <a:gd name="connsiteY85" fmla="*/ 3421380 h 3680460"/>
                  <a:gd name="connsiteX86" fmla="*/ 1927860 w 3017559"/>
                  <a:gd name="connsiteY86" fmla="*/ 3398520 h 3680460"/>
                  <a:gd name="connsiteX87" fmla="*/ 1950720 w 3017559"/>
                  <a:gd name="connsiteY87" fmla="*/ 3390900 h 3680460"/>
                  <a:gd name="connsiteX88" fmla="*/ 2004060 w 3017559"/>
                  <a:gd name="connsiteY88" fmla="*/ 3360420 h 3680460"/>
                  <a:gd name="connsiteX89" fmla="*/ 2042160 w 3017559"/>
                  <a:gd name="connsiteY89" fmla="*/ 3352800 h 3680460"/>
                  <a:gd name="connsiteX90" fmla="*/ 2080260 w 3017559"/>
                  <a:gd name="connsiteY90" fmla="*/ 3337560 h 3680460"/>
                  <a:gd name="connsiteX91" fmla="*/ 2156460 w 3017559"/>
                  <a:gd name="connsiteY91" fmla="*/ 3299460 h 3680460"/>
                  <a:gd name="connsiteX92" fmla="*/ 2179320 w 3017559"/>
                  <a:gd name="connsiteY92" fmla="*/ 3284220 h 3680460"/>
                  <a:gd name="connsiteX93" fmla="*/ 2209800 w 3017559"/>
                  <a:gd name="connsiteY93" fmla="*/ 3276600 h 3680460"/>
                  <a:gd name="connsiteX94" fmla="*/ 2263140 w 3017559"/>
                  <a:gd name="connsiteY94" fmla="*/ 3230880 h 3680460"/>
                  <a:gd name="connsiteX95" fmla="*/ 2346960 w 3017559"/>
                  <a:gd name="connsiteY95" fmla="*/ 3154680 h 3680460"/>
                  <a:gd name="connsiteX96" fmla="*/ 2400300 w 3017559"/>
                  <a:gd name="connsiteY96" fmla="*/ 3070860 h 3680460"/>
                  <a:gd name="connsiteX97" fmla="*/ 2415540 w 3017559"/>
                  <a:gd name="connsiteY97" fmla="*/ 3048000 h 3680460"/>
                  <a:gd name="connsiteX98" fmla="*/ 2446020 w 3017559"/>
                  <a:gd name="connsiteY98" fmla="*/ 3032760 h 3680460"/>
                  <a:gd name="connsiteX99" fmla="*/ 2468880 w 3017559"/>
                  <a:gd name="connsiteY99" fmla="*/ 3009900 h 3680460"/>
                  <a:gd name="connsiteX100" fmla="*/ 2537460 w 3017559"/>
                  <a:gd name="connsiteY100" fmla="*/ 2926080 h 3680460"/>
                  <a:gd name="connsiteX101" fmla="*/ 2575560 w 3017559"/>
                  <a:gd name="connsiteY101" fmla="*/ 2880360 h 3680460"/>
                  <a:gd name="connsiteX102" fmla="*/ 2628900 w 3017559"/>
                  <a:gd name="connsiteY102" fmla="*/ 2811780 h 3680460"/>
                  <a:gd name="connsiteX103" fmla="*/ 2644140 w 3017559"/>
                  <a:gd name="connsiteY103" fmla="*/ 2773680 h 3680460"/>
                  <a:gd name="connsiteX104" fmla="*/ 2674620 w 3017559"/>
                  <a:gd name="connsiteY104" fmla="*/ 2727960 h 3680460"/>
                  <a:gd name="connsiteX105" fmla="*/ 2689860 w 3017559"/>
                  <a:gd name="connsiteY105" fmla="*/ 2705100 h 3680460"/>
                  <a:gd name="connsiteX106" fmla="*/ 2705100 w 3017559"/>
                  <a:gd name="connsiteY106" fmla="*/ 2667000 h 3680460"/>
                  <a:gd name="connsiteX107" fmla="*/ 2727960 w 3017559"/>
                  <a:gd name="connsiteY107" fmla="*/ 2621280 h 3680460"/>
                  <a:gd name="connsiteX108" fmla="*/ 2735580 w 3017559"/>
                  <a:gd name="connsiteY108" fmla="*/ 2590800 h 3680460"/>
                  <a:gd name="connsiteX109" fmla="*/ 2758440 w 3017559"/>
                  <a:gd name="connsiteY109" fmla="*/ 2545080 h 3680460"/>
                  <a:gd name="connsiteX110" fmla="*/ 2788920 w 3017559"/>
                  <a:gd name="connsiteY110" fmla="*/ 2484120 h 3680460"/>
                  <a:gd name="connsiteX111" fmla="*/ 2811780 w 3017559"/>
                  <a:gd name="connsiteY111" fmla="*/ 2407920 h 3680460"/>
                  <a:gd name="connsiteX112" fmla="*/ 2842260 w 3017559"/>
                  <a:gd name="connsiteY112" fmla="*/ 2324100 h 3680460"/>
                  <a:gd name="connsiteX113" fmla="*/ 2857500 w 3017559"/>
                  <a:gd name="connsiteY113" fmla="*/ 2247900 h 3680460"/>
                  <a:gd name="connsiteX114" fmla="*/ 2872740 w 3017559"/>
                  <a:gd name="connsiteY114" fmla="*/ 2194560 h 3680460"/>
                  <a:gd name="connsiteX115" fmla="*/ 2887980 w 3017559"/>
                  <a:gd name="connsiteY115" fmla="*/ 2148840 h 3680460"/>
                  <a:gd name="connsiteX116" fmla="*/ 2910840 w 3017559"/>
                  <a:gd name="connsiteY116" fmla="*/ 2087880 h 3680460"/>
                  <a:gd name="connsiteX117" fmla="*/ 2918460 w 3017559"/>
                  <a:gd name="connsiteY117" fmla="*/ 2049780 h 3680460"/>
                  <a:gd name="connsiteX118" fmla="*/ 2933700 w 3017559"/>
                  <a:gd name="connsiteY118" fmla="*/ 1844040 h 3680460"/>
                  <a:gd name="connsiteX119" fmla="*/ 2918460 w 3017559"/>
                  <a:gd name="connsiteY119" fmla="*/ 1470660 h 3680460"/>
                  <a:gd name="connsiteX120" fmla="*/ 2895600 w 3017559"/>
                  <a:gd name="connsiteY120" fmla="*/ 1371600 h 3680460"/>
                  <a:gd name="connsiteX121" fmla="*/ 2880360 w 3017559"/>
                  <a:gd name="connsiteY121" fmla="*/ 1341120 h 3680460"/>
                  <a:gd name="connsiteX122" fmla="*/ 2857500 w 3017559"/>
                  <a:gd name="connsiteY122" fmla="*/ 1272540 h 3680460"/>
                  <a:gd name="connsiteX123" fmla="*/ 2849880 w 3017559"/>
                  <a:gd name="connsiteY123" fmla="*/ 1234440 h 3680460"/>
                  <a:gd name="connsiteX124" fmla="*/ 2827020 w 3017559"/>
                  <a:gd name="connsiteY124" fmla="*/ 1196340 h 3680460"/>
                  <a:gd name="connsiteX125" fmla="*/ 2811780 w 3017559"/>
                  <a:gd name="connsiteY125" fmla="*/ 1165860 h 3680460"/>
                  <a:gd name="connsiteX126" fmla="*/ 2781300 w 3017559"/>
                  <a:gd name="connsiteY126" fmla="*/ 1127760 h 3680460"/>
                  <a:gd name="connsiteX127" fmla="*/ 2766060 w 3017559"/>
                  <a:gd name="connsiteY127" fmla="*/ 1089660 h 3680460"/>
                  <a:gd name="connsiteX128" fmla="*/ 2735580 w 3017559"/>
                  <a:gd name="connsiteY128" fmla="*/ 1043940 h 3680460"/>
                  <a:gd name="connsiteX129" fmla="*/ 2727960 w 3017559"/>
                  <a:gd name="connsiteY129" fmla="*/ 1021080 h 3680460"/>
                  <a:gd name="connsiteX130" fmla="*/ 2682240 w 3017559"/>
                  <a:gd name="connsiteY130" fmla="*/ 937260 h 3680460"/>
                  <a:gd name="connsiteX131" fmla="*/ 2659380 w 3017559"/>
                  <a:gd name="connsiteY131" fmla="*/ 876300 h 3680460"/>
                  <a:gd name="connsiteX132" fmla="*/ 2644140 w 3017559"/>
                  <a:gd name="connsiteY132" fmla="*/ 845820 h 3680460"/>
                  <a:gd name="connsiteX133" fmla="*/ 2636520 w 3017559"/>
                  <a:gd name="connsiteY133" fmla="*/ 822960 h 3680460"/>
                  <a:gd name="connsiteX134" fmla="*/ 2621280 w 3017559"/>
                  <a:gd name="connsiteY134" fmla="*/ 800100 h 3680460"/>
                  <a:gd name="connsiteX135" fmla="*/ 2598420 w 3017559"/>
                  <a:gd name="connsiteY135" fmla="*/ 739140 h 3680460"/>
                  <a:gd name="connsiteX136" fmla="*/ 2458403 w 3017559"/>
                  <a:gd name="connsiteY136" fmla="*/ 621983 h 3680460"/>
                  <a:gd name="connsiteX137" fmla="*/ 2301240 w 3017559"/>
                  <a:gd name="connsiteY137" fmla="*/ 458152 h 3680460"/>
                  <a:gd name="connsiteX138" fmla="*/ 2237423 w 3017559"/>
                  <a:gd name="connsiteY138" fmla="*/ 406717 h 3680460"/>
                  <a:gd name="connsiteX139" fmla="*/ 2103120 w 3017559"/>
                  <a:gd name="connsiteY139" fmla="*/ 312420 h 3680460"/>
                  <a:gd name="connsiteX140" fmla="*/ 2042160 w 3017559"/>
                  <a:gd name="connsiteY140" fmla="*/ 266700 h 3680460"/>
                  <a:gd name="connsiteX141" fmla="*/ 2004060 w 3017559"/>
                  <a:gd name="connsiteY141" fmla="*/ 251460 h 3680460"/>
                  <a:gd name="connsiteX142" fmla="*/ 1958340 w 3017559"/>
                  <a:gd name="connsiteY142" fmla="*/ 220980 h 3680460"/>
                  <a:gd name="connsiteX143" fmla="*/ 1897380 w 3017559"/>
                  <a:gd name="connsiteY143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19300 w 3017559"/>
                  <a:gd name="connsiteY42" fmla="*/ 346710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09775 w 3017559"/>
                  <a:gd name="connsiteY42" fmla="*/ 344805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141220 w 3017559"/>
                  <a:gd name="connsiteY40" fmla="*/ 3390900 h 3680460"/>
                  <a:gd name="connsiteX41" fmla="*/ 2009775 w 3017559"/>
                  <a:gd name="connsiteY41" fmla="*/ 3448050 h 3680460"/>
                  <a:gd name="connsiteX42" fmla="*/ 1874520 w 3017559"/>
                  <a:gd name="connsiteY42" fmla="*/ 3512820 h 3680460"/>
                  <a:gd name="connsiteX43" fmla="*/ 1828800 w 3017559"/>
                  <a:gd name="connsiteY43" fmla="*/ 3520440 h 3680460"/>
                  <a:gd name="connsiteX44" fmla="*/ 1722120 w 3017559"/>
                  <a:gd name="connsiteY44" fmla="*/ 3550920 h 3680460"/>
                  <a:gd name="connsiteX45" fmla="*/ 1600200 w 3017559"/>
                  <a:gd name="connsiteY45" fmla="*/ 3589020 h 3680460"/>
                  <a:gd name="connsiteX46" fmla="*/ 1569720 w 3017559"/>
                  <a:gd name="connsiteY46" fmla="*/ 3596640 h 3680460"/>
                  <a:gd name="connsiteX47" fmla="*/ 1546860 w 3017559"/>
                  <a:gd name="connsiteY47" fmla="*/ 3611880 h 3680460"/>
                  <a:gd name="connsiteX48" fmla="*/ 1463040 w 3017559"/>
                  <a:gd name="connsiteY48" fmla="*/ 3627120 h 3680460"/>
                  <a:gd name="connsiteX49" fmla="*/ 1333500 w 3017559"/>
                  <a:gd name="connsiteY49" fmla="*/ 3657600 h 3680460"/>
                  <a:gd name="connsiteX50" fmla="*/ 1203960 w 3017559"/>
                  <a:gd name="connsiteY50" fmla="*/ 3672840 h 3680460"/>
                  <a:gd name="connsiteX51" fmla="*/ 1165860 w 3017559"/>
                  <a:gd name="connsiteY51" fmla="*/ 3680460 h 3680460"/>
                  <a:gd name="connsiteX52" fmla="*/ 449580 w 3017559"/>
                  <a:gd name="connsiteY52" fmla="*/ 3672840 h 3680460"/>
                  <a:gd name="connsiteX53" fmla="*/ 426720 w 3017559"/>
                  <a:gd name="connsiteY53" fmla="*/ 3665220 h 3680460"/>
                  <a:gd name="connsiteX54" fmla="*/ 388620 w 3017559"/>
                  <a:gd name="connsiteY54" fmla="*/ 3657600 h 3680460"/>
                  <a:gd name="connsiteX55" fmla="*/ 335280 w 3017559"/>
                  <a:gd name="connsiteY55" fmla="*/ 3627120 h 3680460"/>
                  <a:gd name="connsiteX56" fmla="*/ 266700 w 3017559"/>
                  <a:gd name="connsiteY56" fmla="*/ 3604260 h 3680460"/>
                  <a:gd name="connsiteX57" fmla="*/ 243840 w 3017559"/>
                  <a:gd name="connsiteY57" fmla="*/ 3589020 h 3680460"/>
                  <a:gd name="connsiteX58" fmla="*/ 160020 w 3017559"/>
                  <a:gd name="connsiteY58" fmla="*/ 3558540 h 3680460"/>
                  <a:gd name="connsiteX59" fmla="*/ 137160 w 3017559"/>
                  <a:gd name="connsiteY59" fmla="*/ 3535680 h 3680460"/>
                  <a:gd name="connsiteX60" fmla="*/ 99060 w 3017559"/>
                  <a:gd name="connsiteY60" fmla="*/ 3520440 h 3680460"/>
                  <a:gd name="connsiteX61" fmla="*/ 83820 w 3017559"/>
                  <a:gd name="connsiteY61" fmla="*/ 3489960 h 3680460"/>
                  <a:gd name="connsiteX62" fmla="*/ 45720 w 3017559"/>
                  <a:gd name="connsiteY62" fmla="*/ 3436620 h 3680460"/>
                  <a:gd name="connsiteX63" fmla="*/ 0 w 3017559"/>
                  <a:gd name="connsiteY63" fmla="*/ 3352800 h 3680460"/>
                  <a:gd name="connsiteX64" fmla="*/ 30480 w 3017559"/>
                  <a:gd name="connsiteY64" fmla="*/ 3345180 h 3680460"/>
                  <a:gd name="connsiteX65" fmla="*/ 137160 w 3017559"/>
                  <a:gd name="connsiteY65" fmla="*/ 3360420 h 3680460"/>
                  <a:gd name="connsiteX66" fmla="*/ 167640 w 3017559"/>
                  <a:gd name="connsiteY66" fmla="*/ 3390900 h 3680460"/>
                  <a:gd name="connsiteX67" fmla="*/ 198120 w 3017559"/>
                  <a:gd name="connsiteY67" fmla="*/ 3406140 h 3680460"/>
                  <a:gd name="connsiteX68" fmla="*/ 350520 w 3017559"/>
                  <a:gd name="connsiteY68" fmla="*/ 3436620 h 3680460"/>
                  <a:gd name="connsiteX69" fmla="*/ 381000 w 3017559"/>
                  <a:gd name="connsiteY69" fmla="*/ 3451860 h 3680460"/>
                  <a:gd name="connsiteX70" fmla="*/ 449580 w 3017559"/>
                  <a:gd name="connsiteY70" fmla="*/ 3489960 h 3680460"/>
                  <a:gd name="connsiteX71" fmla="*/ 495300 w 3017559"/>
                  <a:gd name="connsiteY71" fmla="*/ 3520440 h 3680460"/>
                  <a:gd name="connsiteX72" fmla="*/ 525780 w 3017559"/>
                  <a:gd name="connsiteY72" fmla="*/ 3535680 h 3680460"/>
                  <a:gd name="connsiteX73" fmla="*/ 731520 w 3017559"/>
                  <a:gd name="connsiteY73" fmla="*/ 3558540 h 3680460"/>
                  <a:gd name="connsiteX74" fmla="*/ 1341120 w 3017559"/>
                  <a:gd name="connsiteY74" fmla="*/ 3550920 h 3680460"/>
                  <a:gd name="connsiteX75" fmla="*/ 1440180 w 3017559"/>
                  <a:gd name="connsiteY75" fmla="*/ 3528060 h 3680460"/>
                  <a:gd name="connsiteX76" fmla="*/ 1539240 w 3017559"/>
                  <a:gd name="connsiteY76" fmla="*/ 3520440 h 3680460"/>
                  <a:gd name="connsiteX77" fmla="*/ 1562100 w 3017559"/>
                  <a:gd name="connsiteY77" fmla="*/ 3512820 h 3680460"/>
                  <a:gd name="connsiteX78" fmla="*/ 1630680 w 3017559"/>
                  <a:gd name="connsiteY78" fmla="*/ 3497580 h 3680460"/>
                  <a:gd name="connsiteX79" fmla="*/ 1699260 w 3017559"/>
                  <a:gd name="connsiteY79" fmla="*/ 3474720 h 3680460"/>
                  <a:gd name="connsiteX80" fmla="*/ 1790700 w 3017559"/>
                  <a:gd name="connsiteY80" fmla="*/ 3451860 h 3680460"/>
                  <a:gd name="connsiteX81" fmla="*/ 1821180 w 3017559"/>
                  <a:gd name="connsiteY81" fmla="*/ 3444240 h 3680460"/>
                  <a:gd name="connsiteX82" fmla="*/ 1844040 w 3017559"/>
                  <a:gd name="connsiteY82" fmla="*/ 3429000 h 3680460"/>
                  <a:gd name="connsiteX83" fmla="*/ 1874520 w 3017559"/>
                  <a:gd name="connsiteY83" fmla="*/ 3421380 h 3680460"/>
                  <a:gd name="connsiteX84" fmla="*/ 1927860 w 3017559"/>
                  <a:gd name="connsiteY84" fmla="*/ 3398520 h 3680460"/>
                  <a:gd name="connsiteX85" fmla="*/ 1950720 w 3017559"/>
                  <a:gd name="connsiteY85" fmla="*/ 3390900 h 3680460"/>
                  <a:gd name="connsiteX86" fmla="*/ 2004060 w 3017559"/>
                  <a:gd name="connsiteY86" fmla="*/ 3360420 h 3680460"/>
                  <a:gd name="connsiteX87" fmla="*/ 2042160 w 3017559"/>
                  <a:gd name="connsiteY87" fmla="*/ 3352800 h 3680460"/>
                  <a:gd name="connsiteX88" fmla="*/ 2080260 w 3017559"/>
                  <a:gd name="connsiteY88" fmla="*/ 3337560 h 3680460"/>
                  <a:gd name="connsiteX89" fmla="*/ 2156460 w 3017559"/>
                  <a:gd name="connsiteY89" fmla="*/ 3299460 h 3680460"/>
                  <a:gd name="connsiteX90" fmla="*/ 2179320 w 3017559"/>
                  <a:gd name="connsiteY90" fmla="*/ 3284220 h 3680460"/>
                  <a:gd name="connsiteX91" fmla="*/ 2209800 w 3017559"/>
                  <a:gd name="connsiteY91" fmla="*/ 3276600 h 3680460"/>
                  <a:gd name="connsiteX92" fmla="*/ 2263140 w 3017559"/>
                  <a:gd name="connsiteY92" fmla="*/ 3230880 h 3680460"/>
                  <a:gd name="connsiteX93" fmla="*/ 2346960 w 3017559"/>
                  <a:gd name="connsiteY93" fmla="*/ 3154680 h 3680460"/>
                  <a:gd name="connsiteX94" fmla="*/ 2400300 w 3017559"/>
                  <a:gd name="connsiteY94" fmla="*/ 3070860 h 3680460"/>
                  <a:gd name="connsiteX95" fmla="*/ 2415540 w 3017559"/>
                  <a:gd name="connsiteY95" fmla="*/ 3048000 h 3680460"/>
                  <a:gd name="connsiteX96" fmla="*/ 2446020 w 3017559"/>
                  <a:gd name="connsiteY96" fmla="*/ 3032760 h 3680460"/>
                  <a:gd name="connsiteX97" fmla="*/ 2468880 w 3017559"/>
                  <a:gd name="connsiteY97" fmla="*/ 3009900 h 3680460"/>
                  <a:gd name="connsiteX98" fmla="*/ 2537460 w 3017559"/>
                  <a:gd name="connsiteY98" fmla="*/ 2926080 h 3680460"/>
                  <a:gd name="connsiteX99" fmla="*/ 2575560 w 3017559"/>
                  <a:gd name="connsiteY99" fmla="*/ 2880360 h 3680460"/>
                  <a:gd name="connsiteX100" fmla="*/ 2628900 w 3017559"/>
                  <a:gd name="connsiteY100" fmla="*/ 2811780 h 3680460"/>
                  <a:gd name="connsiteX101" fmla="*/ 2644140 w 3017559"/>
                  <a:gd name="connsiteY101" fmla="*/ 2773680 h 3680460"/>
                  <a:gd name="connsiteX102" fmla="*/ 2674620 w 3017559"/>
                  <a:gd name="connsiteY102" fmla="*/ 2727960 h 3680460"/>
                  <a:gd name="connsiteX103" fmla="*/ 2689860 w 3017559"/>
                  <a:gd name="connsiteY103" fmla="*/ 2705100 h 3680460"/>
                  <a:gd name="connsiteX104" fmla="*/ 2705100 w 3017559"/>
                  <a:gd name="connsiteY104" fmla="*/ 2667000 h 3680460"/>
                  <a:gd name="connsiteX105" fmla="*/ 2727960 w 3017559"/>
                  <a:gd name="connsiteY105" fmla="*/ 2621280 h 3680460"/>
                  <a:gd name="connsiteX106" fmla="*/ 2735580 w 3017559"/>
                  <a:gd name="connsiteY106" fmla="*/ 2590800 h 3680460"/>
                  <a:gd name="connsiteX107" fmla="*/ 2758440 w 3017559"/>
                  <a:gd name="connsiteY107" fmla="*/ 2545080 h 3680460"/>
                  <a:gd name="connsiteX108" fmla="*/ 2788920 w 3017559"/>
                  <a:gd name="connsiteY108" fmla="*/ 2484120 h 3680460"/>
                  <a:gd name="connsiteX109" fmla="*/ 2811780 w 3017559"/>
                  <a:gd name="connsiteY109" fmla="*/ 2407920 h 3680460"/>
                  <a:gd name="connsiteX110" fmla="*/ 2842260 w 3017559"/>
                  <a:gd name="connsiteY110" fmla="*/ 2324100 h 3680460"/>
                  <a:gd name="connsiteX111" fmla="*/ 2857500 w 3017559"/>
                  <a:gd name="connsiteY111" fmla="*/ 2247900 h 3680460"/>
                  <a:gd name="connsiteX112" fmla="*/ 2872740 w 3017559"/>
                  <a:gd name="connsiteY112" fmla="*/ 2194560 h 3680460"/>
                  <a:gd name="connsiteX113" fmla="*/ 2887980 w 3017559"/>
                  <a:gd name="connsiteY113" fmla="*/ 2148840 h 3680460"/>
                  <a:gd name="connsiteX114" fmla="*/ 2910840 w 3017559"/>
                  <a:gd name="connsiteY114" fmla="*/ 2087880 h 3680460"/>
                  <a:gd name="connsiteX115" fmla="*/ 2918460 w 3017559"/>
                  <a:gd name="connsiteY115" fmla="*/ 2049780 h 3680460"/>
                  <a:gd name="connsiteX116" fmla="*/ 2933700 w 3017559"/>
                  <a:gd name="connsiteY116" fmla="*/ 1844040 h 3680460"/>
                  <a:gd name="connsiteX117" fmla="*/ 2918460 w 3017559"/>
                  <a:gd name="connsiteY117" fmla="*/ 1470660 h 3680460"/>
                  <a:gd name="connsiteX118" fmla="*/ 2895600 w 3017559"/>
                  <a:gd name="connsiteY118" fmla="*/ 1371600 h 3680460"/>
                  <a:gd name="connsiteX119" fmla="*/ 2880360 w 3017559"/>
                  <a:gd name="connsiteY119" fmla="*/ 1341120 h 3680460"/>
                  <a:gd name="connsiteX120" fmla="*/ 2857500 w 3017559"/>
                  <a:gd name="connsiteY120" fmla="*/ 1272540 h 3680460"/>
                  <a:gd name="connsiteX121" fmla="*/ 2849880 w 3017559"/>
                  <a:gd name="connsiteY121" fmla="*/ 1234440 h 3680460"/>
                  <a:gd name="connsiteX122" fmla="*/ 2827020 w 3017559"/>
                  <a:gd name="connsiteY122" fmla="*/ 1196340 h 3680460"/>
                  <a:gd name="connsiteX123" fmla="*/ 2811780 w 3017559"/>
                  <a:gd name="connsiteY123" fmla="*/ 1165860 h 3680460"/>
                  <a:gd name="connsiteX124" fmla="*/ 2781300 w 3017559"/>
                  <a:gd name="connsiteY124" fmla="*/ 1127760 h 3680460"/>
                  <a:gd name="connsiteX125" fmla="*/ 2766060 w 3017559"/>
                  <a:gd name="connsiteY125" fmla="*/ 1089660 h 3680460"/>
                  <a:gd name="connsiteX126" fmla="*/ 2735580 w 3017559"/>
                  <a:gd name="connsiteY126" fmla="*/ 1043940 h 3680460"/>
                  <a:gd name="connsiteX127" fmla="*/ 2727960 w 3017559"/>
                  <a:gd name="connsiteY127" fmla="*/ 1021080 h 3680460"/>
                  <a:gd name="connsiteX128" fmla="*/ 2682240 w 3017559"/>
                  <a:gd name="connsiteY128" fmla="*/ 937260 h 3680460"/>
                  <a:gd name="connsiteX129" fmla="*/ 2659380 w 3017559"/>
                  <a:gd name="connsiteY129" fmla="*/ 876300 h 3680460"/>
                  <a:gd name="connsiteX130" fmla="*/ 2644140 w 3017559"/>
                  <a:gd name="connsiteY130" fmla="*/ 845820 h 3680460"/>
                  <a:gd name="connsiteX131" fmla="*/ 2636520 w 3017559"/>
                  <a:gd name="connsiteY131" fmla="*/ 822960 h 3680460"/>
                  <a:gd name="connsiteX132" fmla="*/ 2621280 w 3017559"/>
                  <a:gd name="connsiteY132" fmla="*/ 800100 h 3680460"/>
                  <a:gd name="connsiteX133" fmla="*/ 2598420 w 3017559"/>
                  <a:gd name="connsiteY133" fmla="*/ 739140 h 3680460"/>
                  <a:gd name="connsiteX134" fmla="*/ 2458403 w 3017559"/>
                  <a:gd name="connsiteY134" fmla="*/ 621983 h 3680460"/>
                  <a:gd name="connsiteX135" fmla="*/ 2301240 w 3017559"/>
                  <a:gd name="connsiteY135" fmla="*/ 458152 h 3680460"/>
                  <a:gd name="connsiteX136" fmla="*/ 2237423 w 3017559"/>
                  <a:gd name="connsiteY136" fmla="*/ 406717 h 3680460"/>
                  <a:gd name="connsiteX137" fmla="*/ 2103120 w 3017559"/>
                  <a:gd name="connsiteY137" fmla="*/ 312420 h 3680460"/>
                  <a:gd name="connsiteX138" fmla="*/ 2042160 w 3017559"/>
                  <a:gd name="connsiteY138" fmla="*/ 266700 h 3680460"/>
                  <a:gd name="connsiteX139" fmla="*/ 2004060 w 3017559"/>
                  <a:gd name="connsiteY139" fmla="*/ 251460 h 3680460"/>
                  <a:gd name="connsiteX140" fmla="*/ 1958340 w 3017559"/>
                  <a:gd name="connsiteY140" fmla="*/ 220980 h 3680460"/>
                  <a:gd name="connsiteX141" fmla="*/ 1897380 w 3017559"/>
                  <a:gd name="connsiteY141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99060 w 3017559"/>
                  <a:gd name="connsiteY58" fmla="*/ 3520440 h 3680460"/>
                  <a:gd name="connsiteX59" fmla="*/ 83820 w 3017559"/>
                  <a:gd name="connsiteY59" fmla="*/ 3489960 h 3680460"/>
                  <a:gd name="connsiteX60" fmla="*/ 45720 w 3017559"/>
                  <a:gd name="connsiteY60" fmla="*/ 3436620 h 3680460"/>
                  <a:gd name="connsiteX61" fmla="*/ 0 w 3017559"/>
                  <a:gd name="connsiteY61" fmla="*/ 3352800 h 3680460"/>
                  <a:gd name="connsiteX62" fmla="*/ 30480 w 3017559"/>
                  <a:gd name="connsiteY62" fmla="*/ 3345180 h 3680460"/>
                  <a:gd name="connsiteX63" fmla="*/ 137160 w 3017559"/>
                  <a:gd name="connsiteY63" fmla="*/ 3360420 h 3680460"/>
                  <a:gd name="connsiteX64" fmla="*/ 167640 w 3017559"/>
                  <a:gd name="connsiteY64" fmla="*/ 3390900 h 3680460"/>
                  <a:gd name="connsiteX65" fmla="*/ 198120 w 3017559"/>
                  <a:gd name="connsiteY65" fmla="*/ 3406140 h 3680460"/>
                  <a:gd name="connsiteX66" fmla="*/ 350520 w 3017559"/>
                  <a:gd name="connsiteY66" fmla="*/ 3436620 h 3680460"/>
                  <a:gd name="connsiteX67" fmla="*/ 381000 w 3017559"/>
                  <a:gd name="connsiteY67" fmla="*/ 3451860 h 3680460"/>
                  <a:gd name="connsiteX68" fmla="*/ 449580 w 3017559"/>
                  <a:gd name="connsiteY68" fmla="*/ 3489960 h 3680460"/>
                  <a:gd name="connsiteX69" fmla="*/ 495300 w 3017559"/>
                  <a:gd name="connsiteY69" fmla="*/ 3520440 h 3680460"/>
                  <a:gd name="connsiteX70" fmla="*/ 525780 w 3017559"/>
                  <a:gd name="connsiteY70" fmla="*/ 3535680 h 3680460"/>
                  <a:gd name="connsiteX71" fmla="*/ 731520 w 3017559"/>
                  <a:gd name="connsiteY71" fmla="*/ 3558540 h 3680460"/>
                  <a:gd name="connsiteX72" fmla="*/ 1341120 w 3017559"/>
                  <a:gd name="connsiteY72" fmla="*/ 3550920 h 3680460"/>
                  <a:gd name="connsiteX73" fmla="*/ 1440180 w 3017559"/>
                  <a:gd name="connsiteY73" fmla="*/ 3528060 h 3680460"/>
                  <a:gd name="connsiteX74" fmla="*/ 1539240 w 3017559"/>
                  <a:gd name="connsiteY74" fmla="*/ 3520440 h 3680460"/>
                  <a:gd name="connsiteX75" fmla="*/ 1562100 w 3017559"/>
                  <a:gd name="connsiteY75" fmla="*/ 3512820 h 3680460"/>
                  <a:gd name="connsiteX76" fmla="*/ 1630680 w 3017559"/>
                  <a:gd name="connsiteY76" fmla="*/ 3497580 h 3680460"/>
                  <a:gd name="connsiteX77" fmla="*/ 1699260 w 3017559"/>
                  <a:gd name="connsiteY77" fmla="*/ 3474720 h 3680460"/>
                  <a:gd name="connsiteX78" fmla="*/ 1790700 w 3017559"/>
                  <a:gd name="connsiteY78" fmla="*/ 3451860 h 3680460"/>
                  <a:gd name="connsiteX79" fmla="*/ 1821180 w 3017559"/>
                  <a:gd name="connsiteY79" fmla="*/ 3444240 h 3680460"/>
                  <a:gd name="connsiteX80" fmla="*/ 1844040 w 3017559"/>
                  <a:gd name="connsiteY80" fmla="*/ 3429000 h 3680460"/>
                  <a:gd name="connsiteX81" fmla="*/ 1874520 w 3017559"/>
                  <a:gd name="connsiteY81" fmla="*/ 3421380 h 3680460"/>
                  <a:gd name="connsiteX82" fmla="*/ 1927860 w 3017559"/>
                  <a:gd name="connsiteY82" fmla="*/ 3398520 h 3680460"/>
                  <a:gd name="connsiteX83" fmla="*/ 1950720 w 3017559"/>
                  <a:gd name="connsiteY83" fmla="*/ 3390900 h 3680460"/>
                  <a:gd name="connsiteX84" fmla="*/ 2004060 w 3017559"/>
                  <a:gd name="connsiteY84" fmla="*/ 3360420 h 3680460"/>
                  <a:gd name="connsiteX85" fmla="*/ 2042160 w 3017559"/>
                  <a:gd name="connsiteY85" fmla="*/ 3352800 h 3680460"/>
                  <a:gd name="connsiteX86" fmla="*/ 2080260 w 3017559"/>
                  <a:gd name="connsiteY86" fmla="*/ 3337560 h 3680460"/>
                  <a:gd name="connsiteX87" fmla="*/ 2156460 w 3017559"/>
                  <a:gd name="connsiteY87" fmla="*/ 3299460 h 3680460"/>
                  <a:gd name="connsiteX88" fmla="*/ 2179320 w 3017559"/>
                  <a:gd name="connsiteY88" fmla="*/ 3284220 h 3680460"/>
                  <a:gd name="connsiteX89" fmla="*/ 2209800 w 3017559"/>
                  <a:gd name="connsiteY89" fmla="*/ 3276600 h 3680460"/>
                  <a:gd name="connsiteX90" fmla="*/ 2263140 w 3017559"/>
                  <a:gd name="connsiteY90" fmla="*/ 3230880 h 3680460"/>
                  <a:gd name="connsiteX91" fmla="*/ 2346960 w 3017559"/>
                  <a:gd name="connsiteY91" fmla="*/ 3154680 h 3680460"/>
                  <a:gd name="connsiteX92" fmla="*/ 2400300 w 3017559"/>
                  <a:gd name="connsiteY92" fmla="*/ 3070860 h 3680460"/>
                  <a:gd name="connsiteX93" fmla="*/ 2415540 w 3017559"/>
                  <a:gd name="connsiteY93" fmla="*/ 3048000 h 3680460"/>
                  <a:gd name="connsiteX94" fmla="*/ 2446020 w 3017559"/>
                  <a:gd name="connsiteY94" fmla="*/ 3032760 h 3680460"/>
                  <a:gd name="connsiteX95" fmla="*/ 2468880 w 3017559"/>
                  <a:gd name="connsiteY95" fmla="*/ 3009900 h 3680460"/>
                  <a:gd name="connsiteX96" fmla="*/ 2537460 w 3017559"/>
                  <a:gd name="connsiteY96" fmla="*/ 2926080 h 3680460"/>
                  <a:gd name="connsiteX97" fmla="*/ 2575560 w 3017559"/>
                  <a:gd name="connsiteY97" fmla="*/ 2880360 h 3680460"/>
                  <a:gd name="connsiteX98" fmla="*/ 2628900 w 3017559"/>
                  <a:gd name="connsiteY98" fmla="*/ 2811780 h 3680460"/>
                  <a:gd name="connsiteX99" fmla="*/ 2644140 w 3017559"/>
                  <a:gd name="connsiteY99" fmla="*/ 2773680 h 3680460"/>
                  <a:gd name="connsiteX100" fmla="*/ 2674620 w 3017559"/>
                  <a:gd name="connsiteY100" fmla="*/ 2727960 h 3680460"/>
                  <a:gd name="connsiteX101" fmla="*/ 2689860 w 3017559"/>
                  <a:gd name="connsiteY101" fmla="*/ 2705100 h 3680460"/>
                  <a:gd name="connsiteX102" fmla="*/ 2705100 w 3017559"/>
                  <a:gd name="connsiteY102" fmla="*/ 2667000 h 3680460"/>
                  <a:gd name="connsiteX103" fmla="*/ 2727960 w 3017559"/>
                  <a:gd name="connsiteY103" fmla="*/ 2621280 h 3680460"/>
                  <a:gd name="connsiteX104" fmla="*/ 2735580 w 3017559"/>
                  <a:gd name="connsiteY104" fmla="*/ 2590800 h 3680460"/>
                  <a:gd name="connsiteX105" fmla="*/ 2758440 w 3017559"/>
                  <a:gd name="connsiteY105" fmla="*/ 2545080 h 3680460"/>
                  <a:gd name="connsiteX106" fmla="*/ 2788920 w 3017559"/>
                  <a:gd name="connsiteY106" fmla="*/ 2484120 h 3680460"/>
                  <a:gd name="connsiteX107" fmla="*/ 2811780 w 3017559"/>
                  <a:gd name="connsiteY107" fmla="*/ 2407920 h 3680460"/>
                  <a:gd name="connsiteX108" fmla="*/ 2842260 w 3017559"/>
                  <a:gd name="connsiteY108" fmla="*/ 2324100 h 3680460"/>
                  <a:gd name="connsiteX109" fmla="*/ 2857500 w 3017559"/>
                  <a:gd name="connsiteY109" fmla="*/ 2247900 h 3680460"/>
                  <a:gd name="connsiteX110" fmla="*/ 2872740 w 3017559"/>
                  <a:gd name="connsiteY110" fmla="*/ 2194560 h 3680460"/>
                  <a:gd name="connsiteX111" fmla="*/ 2887980 w 3017559"/>
                  <a:gd name="connsiteY111" fmla="*/ 2148840 h 3680460"/>
                  <a:gd name="connsiteX112" fmla="*/ 2910840 w 3017559"/>
                  <a:gd name="connsiteY112" fmla="*/ 2087880 h 3680460"/>
                  <a:gd name="connsiteX113" fmla="*/ 2918460 w 3017559"/>
                  <a:gd name="connsiteY113" fmla="*/ 2049780 h 3680460"/>
                  <a:gd name="connsiteX114" fmla="*/ 2933700 w 3017559"/>
                  <a:gd name="connsiteY114" fmla="*/ 1844040 h 3680460"/>
                  <a:gd name="connsiteX115" fmla="*/ 2918460 w 3017559"/>
                  <a:gd name="connsiteY115" fmla="*/ 1470660 h 3680460"/>
                  <a:gd name="connsiteX116" fmla="*/ 2895600 w 3017559"/>
                  <a:gd name="connsiteY116" fmla="*/ 1371600 h 3680460"/>
                  <a:gd name="connsiteX117" fmla="*/ 2880360 w 3017559"/>
                  <a:gd name="connsiteY117" fmla="*/ 1341120 h 3680460"/>
                  <a:gd name="connsiteX118" fmla="*/ 2857500 w 3017559"/>
                  <a:gd name="connsiteY118" fmla="*/ 1272540 h 3680460"/>
                  <a:gd name="connsiteX119" fmla="*/ 2849880 w 3017559"/>
                  <a:gd name="connsiteY119" fmla="*/ 1234440 h 3680460"/>
                  <a:gd name="connsiteX120" fmla="*/ 2827020 w 3017559"/>
                  <a:gd name="connsiteY120" fmla="*/ 1196340 h 3680460"/>
                  <a:gd name="connsiteX121" fmla="*/ 2811780 w 3017559"/>
                  <a:gd name="connsiteY121" fmla="*/ 1165860 h 3680460"/>
                  <a:gd name="connsiteX122" fmla="*/ 2781300 w 3017559"/>
                  <a:gd name="connsiteY122" fmla="*/ 1127760 h 3680460"/>
                  <a:gd name="connsiteX123" fmla="*/ 2766060 w 3017559"/>
                  <a:gd name="connsiteY123" fmla="*/ 1089660 h 3680460"/>
                  <a:gd name="connsiteX124" fmla="*/ 2735580 w 3017559"/>
                  <a:gd name="connsiteY124" fmla="*/ 1043940 h 3680460"/>
                  <a:gd name="connsiteX125" fmla="*/ 2727960 w 3017559"/>
                  <a:gd name="connsiteY125" fmla="*/ 1021080 h 3680460"/>
                  <a:gd name="connsiteX126" fmla="*/ 2682240 w 3017559"/>
                  <a:gd name="connsiteY126" fmla="*/ 937260 h 3680460"/>
                  <a:gd name="connsiteX127" fmla="*/ 2659380 w 3017559"/>
                  <a:gd name="connsiteY127" fmla="*/ 876300 h 3680460"/>
                  <a:gd name="connsiteX128" fmla="*/ 2644140 w 3017559"/>
                  <a:gd name="connsiteY128" fmla="*/ 845820 h 3680460"/>
                  <a:gd name="connsiteX129" fmla="*/ 2636520 w 3017559"/>
                  <a:gd name="connsiteY129" fmla="*/ 822960 h 3680460"/>
                  <a:gd name="connsiteX130" fmla="*/ 2621280 w 3017559"/>
                  <a:gd name="connsiteY130" fmla="*/ 800100 h 3680460"/>
                  <a:gd name="connsiteX131" fmla="*/ 2598420 w 3017559"/>
                  <a:gd name="connsiteY131" fmla="*/ 739140 h 3680460"/>
                  <a:gd name="connsiteX132" fmla="*/ 2458403 w 3017559"/>
                  <a:gd name="connsiteY132" fmla="*/ 621983 h 3680460"/>
                  <a:gd name="connsiteX133" fmla="*/ 2301240 w 3017559"/>
                  <a:gd name="connsiteY133" fmla="*/ 458152 h 3680460"/>
                  <a:gd name="connsiteX134" fmla="*/ 2237423 w 3017559"/>
                  <a:gd name="connsiteY134" fmla="*/ 406717 h 3680460"/>
                  <a:gd name="connsiteX135" fmla="*/ 2103120 w 3017559"/>
                  <a:gd name="connsiteY135" fmla="*/ 312420 h 3680460"/>
                  <a:gd name="connsiteX136" fmla="*/ 2042160 w 3017559"/>
                  <a:gd name="connsiteY136" fmla="*/ 266700 h 3680460"/>
                  <a:gd name="connsiteX137" fmla="*/ 2004060 w 3017559"/>
                  <a:gd name="connsiteY137" fmla="*/ 251460 h 3680460"/>
                  <a:gd name="connsiteX138" fmla="*/ 1958340 w 3017559"/>
                  <a:gd name="connsiteY138" fmla="*/ 220980 h 3680460"/>
                  <a:gd name="connsiteX139" fmla="*/ 1897380 w 3017559"/>
                  <a:gd name="connsiteY139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83820 w 3017559"/>
                  <a:gd name="connsiteY58" fmla="*/ 3489960 h 3680460"/>
                  <a:gd name="connsiteX59" fmla="*/ 45720 w 3017559"/>
                  <a:gd name="connsiteY59" fmla="*/ 3436620 h 3680460"/>
                  <a:gd name="connsiteX60" fmla="*/ 0 w 3017559"/>
                  <a:gd name="connsiteY60" fmla="*/ 3352800 h 3680460"/>
                  <a:gd name="connsiteX61" fmla="*/ 30480 w 3017559"/>
                  <a:gd name="connsiteY61" fmla="*/ 3345180 h 3680460"/>
                  <a:gd name="connsiteX62" fmla="*/ 137160 w 3017559"/>
                  <a:gd name="connsiteY62" fmla="*/ 3360420 h 3680460"/>
                  <a:gd name="connsiteX63" fmla="*/ 167640 w 3017559"/>
                  <a:gd name="connsiteY63" fmla="*/ 3390900 h 3680460"/>
                  <a:gd name="connsiteX64" fmla="*/ 198120 w 3017559"/>
                  <a:gd name="connsiteY64" fmla="*/ 3406140 h 3680460"/>
                  <a:gd name="connsiteX65" fmla="*/ 350520 w 3017559"/>
                  <a:gd name="connsiteY65" fmla="*/ 3436620 h 3680460"/>
                  <a:gd name="connsiteX66" fmla="*/ 381000 w 3017559"/>
                  <a:gd name="connsiteY66" fmla="*/ 3451860 h 3680460"/>
                  <a:gd name="connsiteX67" fmla="*/ 449580 w 3017559"/>
                  <a:gd name="connsiteY67" fmla="*/ 3489960 h 3680460"/>
                  <a:gd name="connsiteX68" fmla="*/ 495300 w 3017559"/>
                  <a:gd name="connsiteY68" fmla="*/ 3520440 h 3680460"/>
                  <a:gd name="connsiteX69" fmla="*/ 525780 w 3017559"/>
                  <a:gd name="connsiteY69" fmla="*/ 3535680 h 3680460"/>
                  <a:gd name="connsiteX70" fmla="*/ 731520 w 3017559"/>
                  <a:gd name="connsiteY70" fmla="*/ 3558540 h 3680460"/>
                  <a:gd name="connsiteX71" fmla="*/ 1341120 w 3017559"/>
                  <a:gd name="connsiteY71" fmla="*/ 3550920 h 3680460"/>
                  <a:gd name="connsiteX72" fmla="*/ 1440180 w 3017559"/>
                  <a:gd name="connsiteY72" fmla="*/ 3528060 h 3680460"/>
                  <a:gd name="connsiteX73" fmla="*/ 1539240 w 3017559"/>
                  <a:gd name="connsiteY73" fmla="*/ 3520440 h 3680460"/>
                  <a:gd name="connsiteX74" fmla="*/ 1562100 w 3017559"/>
                  <a:gd name="connsiteY74" fmla="*/ 3512820 h 3680460"/>
                  <a:gd name="connsiteX75" fmla="*/ 1630680 w 3017559"/>
                  <a:gd name="connsiteY75" fmla="*/ 3497580 h 3680460"/>
                  <a:gd name="connsiteX76" fmla="*/ 1699260 w 3017559"/>
                  <a:gd name="connsiteY76" fmla="*/ 3474720 h 3680460"/>
                  <a:gd name="connsiteX77" fmla="*/ 1790700 w 3017559"/>
                  <a:gd name="connsiteY77" fmla="*/ 3451860 h 3680460"/>
                  <a:gd name="connsiteX78" fmla="*/ 1821180 w 3017559"/>
                  <a:gd name="connsiteY78" fmla="*/ 3444240 h 3680460"/>
                  <a:gd name="connsiteX79" fmla="*/ 1844040 w 3017559"/>
                  <a:gd name="connsiteY79" fmla="*/ 3429000 h 3680460"/>
                  <a:gd name="connsiteX80" fmla="*/ 1874520 w 3017559"/>
                  <a:gd name="connsiteY80" fmla="*/ 3421380 h 3680460"/>
                  <a:gd name="connsiteX81" fmla="*/ 1927860 w 3017559"/>
                  <a:gd name="connsiteY81" fmla="*/ 3398520 h 3680460"/>
                  <a:gd name="connsiteX82" fmla="*/ 1950720 w 3017559"/>
                  <a:gd name="connsiteY82" fmla="*/ 3390900 h 3680460"/>
                  <a:gd name="connsiteX83" fmla="*/ 2004060 w 3017559"/>
                  <a:gd name="connsiteY83" fmla="*/ 3360420 h 3680460"/>
                  <a:gd name="connsiteX84" fmla="*/ 2042160 w 3017559"/>
                  <a:gd name="connsiteY84" fmla="*/ 3352800 h 3680460"/>
                  <a:gd name="connsiteX85" fmla="*/ 2080260 w 3017559"/>
                  <a:gd name="connsiteY85" fmla="*/ 3337560 h 3680460"/>
                  <a:gd name="connsiteX86" fmla="*/ 2156460 w 3017559"/>
                  <a:gd name="connsiteY86" fmla="*/ 3299460 h 3680460"/>
                  <a:gd name="connsiteX87" fmla="*/ 2179320 w 3017559"/>
                  <a:gd name="connsiteY87" fmla="*/ 3284220 h 3680460"/>
                  <a:gd name="connsiteX88" fmla="*/ 2209800 w 3017559"/>
                  <a:gd name="connsiteY88" fmla="*/ 3276600 h 3680460"/>
                  <a:gd name="connsiteX89" fmla="*/ 2263140 w 3017559"/>
                  <a:gd name="connsiteY89" fmla="*/ 3230880 h 3680460"/>
                  <a:gd name="connsiteX90" fmla="*/ 2346960 w 3017559"/>
                  <a:gd name="connsiteY90" fmla="*/ 3154680 h 3680460"/>
                  <a:gd name="connsiteX91" fmla="*/ 2400300 w 3017559"/>
                  <a:gd name="connsiteY91" fmla="*/ 3070860 h 3680460"/>
                  <a:gd name="connsiteX92" fmla="*/ 2415540 w 3017559"/>
                  <a:gd name="connsiteY92" fmla="*/ 3048000 h 3680460"/>
                  <a:gd name="connsiteX93" fmla="*/ 2446020 w 3017559"/>
                  <a:gd name="connsiteY93" fmla="*/ 3032760 h 3680460"/>
                  <a:gd name="connsiteX94" fmla="*/ 2468880 w 3017559"/>
                  <a:gd name="connsiteY94" fmla="*/ 3009900 h 3680460"/>
                  <a:gd name="connsiteX95" fmla="*/ 2537460 w 3017559"/>
                  <a:gd name="connsiteY95" fmla="*/ 2926080 h 3680460"/>
                  <a:gd name="connsiteX96" fmla="*/ 2575560 w 3017559"/>
                  <a:gd name="connsiteY96" fmla="*/ 2880360 h 3680460"/>
                  <a:gd name="connsiteX97" fmla="*/ 2628900 w 3017559"/>
                  <a:gd name="connsiteY97" fmla="*/ 2811780 h 3680460"/>
                  <a:gd name="connsiteX98" fmla="*/ 2644140 w 3017559"/>
                  <a:gd name="connsiteY98" fmla="*/ 2773680 h 3680460"/>
                  <a:gd name="connsiteX99" fmla="*/ 2674620 w 3017559"/>
                  <a:gd name="connsiteY99" fmla="*/ 2727960 h 3680460"/>
                  <a:gd name="connsiteX100" fmla="*/ 2689860 w 3017559"/>
                  <a:gd name="connsiteY100" fmla="*/ 2705100 h 3680460"/>
                  <a:gd name="connsiteX101" fmla="*/ 2705100 w 3017559"/>
                  <a:gd name="connsiteY101" fmla="*/ 2667000 h 3680460"/>
                  <a:gd name="connsiteX102" fmla="*/ 2727960 w 3017559"/>
                  <a:gd name="connsiteY102" fmla="*/ 2621280 h 3680460"/>
                  <a:gd name="connsiteX103" fmla="*/ 2735580 w 3017559"/>
                  <a:gd name="connsiteY103" fmla="*/ 2590800 h 3680460"/>
                  <a:gd name="connsiteX104" fmla="*/ 2758440 w 3017559"/>
                  <a:gd name="connsiteY104" fmla="*/ 2545080 h 3680460"/>
                  <a:gd name="connsiteX105" fmla="*/ 2788920 w 3017559"/>
                  <a:gd name="connsiteY105" fmla="*/ 2484120 h 3680460"/>
                  <a:gd name="connsiteX106" fmla="*/ 2811780 w 3017559"/>
                  <a:gd name="connsiteY106" fmla="*/ 2407920 h 3680460"/>
                  <a:gd name="connsiteX107" fmla="*/ 2842260 w 3017559"/>
                  <a:gd name="connsiteY107" fmla="*/ 2324100 h 3680460"/>
                  <a:gd name="connsiteX108" fmla="*/ 2857500 w 3017559"/>
                  <a:gd name="connsiteY108" fmla="*/ 2247900 h 3680460"/>
                  <a:gd name="connsiteX109" fmla="*/ 2872740 w 3017559"/>
                  <a:gd name="connsiteY109" fmla="*/ 2194560 h 3680460"/>
                  <a:gd name="connsiteX110" fmla="*/ 2887980 w 3017559"/>
                  <a:gd name="connsiteY110" fmla="*/ 2148840 h 3680460"/>
                  <a:gd name="connsiteX111" fmla="*/ 2910840 w 3017559"/>
                  <a:gd name="connsiteY111" fmla="*/ 2087880 h 3680460"/>
                  <a:gd name="connsiteX112" fmla="*/ 2918460 w 3017559"/>
                  <a:gd name="connsiteY112" fmla="*/ 2049780 h 3680460"/>
                  <a:gd name="connsiteX113" fmla="*/ 2933700 w 3017559"/>
                  <a:gd name="connsiteY113" fmla="*/ 1844040 h 3680460"/>
                  <a:gd name="connsiteX114" fmla="*/ 2918460 w 3017559"/>
                  <a:gd name="connsiteY114" fmla="*/ 1470660 h 3680460"/>
                  <a:gd name="connsiteX115" fmla="*/ 2895600 w 3017559"/>
                  <a:gd name="connsiteY115" fmla="*/ 1371600 h 3680460"/>
                  <a:gd name="connsiteX116" fmla="*/ 2880360 w 3017559"/>
                  <a:gd name="connsiteY116" fmla="*/ 1341120 h 3680460"/>
                  <a:gd name="connsiteX117" fmla="*/ 2857500 w 3017559"/>
                  <a:gd name="connsiteY117" fmla="*/ 1272540 h 3680460"/>
                  <a:gd name="connsiteX118" fmla="*/ 2849880 w 3017559"/>
                  <a:gd name="connsiteY118" fmla="*/ 1234440 h 3680460"/>
                  <a:gd name="connsiteX119" fmla="*/ 2827020 w 3017559"/>
                  <a:gd name="connsiteY119" fmla="*/ 1196340 h 3680460"/>
                  <a:gd name="connsiteX120" fmla="*/ 2811780 w 3017559"/>
                  <a:gd name="connsiteY120" fmla="*/ 1165860 h 3680460"/>
                  <a:gd name="connsiteX121" fmla="*/ 2781300 w 3017559"/>
                  <a:gd name="connsiteY121" fmla="*/ 1127760 h 3680460"/>
                  <a:gd name="connsiteX122" fmla="*/ 2766060 w 3017559"/>
                  <a:gd name="connsiteY122" fmla="*/ 1089660 h 3680460"/>
                  <a:gd name="connsiteX123" fmla="*/ 2735580 w 3017559"/>
                  <a:gd name="connsiteY123" fmla="*/ 1043940 h 3680460"/>
                  <a:gd name="connsiteX124" fmla="*/ 2727960 w 3017559"/>
                  <a:gd name="connsiteY124" fmla="*/ 1021080 h 3680460"/>
                  <a:gd name="connsiteX125" fmla="*/ 2682240 w 3017559"/>
                  <a:gd name="connsiteY125" fmla="*/ 937260 h 3680460"/>
                  <a:gd name="connsiteX126" fmla="*/ 2659380 w 3017559"/>
                  <a:gd name="connsiteY126" fmla="*/ 876300 h 3680460"/>
                  <a:gd name="connsiteX127" fmla="*/ 2644140 w 3017559"/>
                  <a:gd name="connsiteY127" fmla="*/ 845820 h 3680460"/>
                  <a:gd name="connsiteX128" fmla="*/ 2636520 w 3017559"/>
                  <a:gd name="connsiteY128" fmla="*/ 822960 h 3680460"/>
                  <a:gd name="connsiteX129" fmla="*/ 2621280 w 3017559"/>
                  <a:gd name="connsiteY129" fmla="*/ 800100 h 3680460"/>
                  <a:gd name="connsiteX130" fmla="*/ 2598420 w 3017559"/>
                  <a:gd name="connsiteY130" fmla="*/ 739140 h 3680460"/>
                  <a:gd name="connsiteX131" fmla="*/ 2458403 w 3017559"/>
                  <a:gd name="connsiteY131" fmla="*/ 621983 h 3680460"/>
                  <a:gd name="connsiteX132" fmla="*/ 2301240 w 3017559"/>
                  <a:gd name="connsiteY132" fmla="*/ 458152 h 3680460"/>
                  <a:gd name="connsiteX133" fmla="*/ 2237423 w 3017559"/>
                  <a:gd name="connsiteY133" fmla="*/ 406717 h 3680460"/>
                  <a:gd name="connsiteX134" fmla="*/ 2103120 w 3017559"/>
                  <a:gd name="connsiteY134" fmla="*/ 312420 h 3680460"/>
                  <a:gd name="connsiteX135" fmla="*/ 2042160 w 3017559"/>
                  <a:gd name="connsiteY135" fmla="*/ 266700 h 3680460"/>
                  <a:gd name="connsiteX136" fmla="*/ 2004060 w 3017559"/>
                  <a:gd name="connsiteY136" fmla="*/ 251460 h 3680460"/>
                  <a:gd name="connsiteX137" fmla="*/ 1958340 w 3017559"/>
                  <a:gd name="connsiteY137" fmla="*/ 220980 h 3680460"/>
                  <a:gd name="connsiteX138" fmla="*/ 1897380 w 3017559"/>
                  <a:gd name="connsiteY138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45720 w 3017559"/>
                  <a:gd name="connsiteY58" fmla="*/ 3436620 h 3680460"/>
                  <a:gd name="connsiteX59" fmla="*/ 0 w 3017559"/>
                  <a:gd name="connsiteY59" fmla="*/ 3352800 h 3680460"/>
                  <a:gd name="connsiteX60" fmla="*/ 30480 w 3017559"/>
                  <a:gd name="connsiteY60" fmla="*/ 3345180 h 3680460"/>
                  <a:gd name="connsiteX61" fmla="*/ 137160 w 3017559"/>
                  <a:gd name="connsiteY61" fmla="*/ 3360420 h 3680460"/>
                  <a:gd name="connsiteX62" fmla="*/ 167640 w 3017559"/>
                  <a:gd name="connsiteY62" fmla="*/ 3390900 h 3680460"/>
                  <a:gd name="connsiteX63" fmla="*/ 198120 w 3017559"/>
                  <a:gd name="connsiteY63" fmla="*/ 3406140 h 3680460"/>
                  <a:gd name="connsiteX64" fmla="*/ 350520 w 3017559"/>
                  <a:gd name="connsiteY64" fmla="*/ 3436620 h 3680460"/>
                  <a:gd name="connsiteX65" fmla="*/ 381000 w 3017559"/>
                  <a:gd name="connsiteY65" fmla="*/ 3451860 h 3680460"/>
                  <a:gd name="connsiteX66" fmla="*/ 449580 w 3017559"/>
                  <a:gd name="connsiteY66" fmla="*/ 3489960 h 3680460"/>
                  <a:gd name="connsiteX67" fmla="*/ 495300 w 3017559"/>
                  <a:gd name="connsiteY67" fmla="*/ 3520440 h 3680460"/>
                  <a:gd name="connsiteX68" fmla="*/ 525780 w 3017559"/>
                  <a:gd name="connsiteY68" fmla="*/ 3535680 h 3680460"/>
                  <a:gd name="connsiteX69" fmla="*/ 731520 w 3017559"/>
                  <a:gd name="connsiteY69" fmla="*/ 3558540 h 3680460"/>
                  <a:gd name="connsiteX70" fmla="*/ 1341120 w 3017559"/>
                  <a:gd name="connsiteY70" fmla="*/ 3550920 h 3680460"/>
                  <a:gd name="connsiteX71" fmla="*/ 1440180 w 3017559"/>
                  <a:gd name="connsiteY71" fmla="*/ 3528060 h 3680460"/>
                  <a:gd name="connsiteX72" fmla="*/ 1539240 w 3017559"/>
                  <a:gd name="connsiteY72" fmla="*/ 3520440 h 3680460"/>
                  <a:gd name="connsiteX73" fmla="*/ 1562100 w 3017559"/>
                  <a:gd name="connsiteY73" fmla="*/ 3512820 h 3680460"/>
                  <a:gd name="connsiteX74" fmla="*/ 1630680 w 3017559"/>
                  <a:gd name="connsiteY74" fmla="*/ 3497580 h 3680460"/>
                  <a:gd name="connsiteX75" fmla="*/ 1699260 w 3017559"/>
                  <a:gd name="connsiteY75" fmla="*/ 3474720 h 3680460"/>
                  <a:gd name="connsiteX76" fmla="*/ 1790700 w 3017559"/>
                  <a:gd name="connsiteY76" fmla="*/ 3451860 h 3680460"/>
                  <a:gd name="connsiteX77" fmla="*/ 1821180 w 3017559"/>
                  <a:gd name="connsiteY77" fmla="*/ 3444240 h 3680460"/>
                  <a:gd name="connsiteX78" fmla="*/ 1844040 w 3017559"/>
                  <a:gd name="connsiteY78" fmla="*/ 3429000 h 3680460"/>
                  <a:gd name="connsiteX79" fmla="*/ 1874520 w 3017559"/>
                  <a:gd name="connsiteY79" fmla="*/ 3421380 h 3680460"/>
                  <a:gd name="connsiteX80" fmla="*/ 1927860 w 3017559"/>
                  <a:gd name="connsiteY80" fmla="*/ 3398520 h 3680460"/>
                  <a:gd name="connsiteX81" fmla="*/ 1950720 w 3017559"/>
                  <a:gd name="connsiteY81" fmla="*/ 3390900 h 3680460"/>
                  <a:gd name="connsiteX82" fmla="*/ 2004060 w 3017559"/>
                  <a:gd name="connsiteY82" fmla="*/ 3360420 h 3680460"/>
                  <a:gd name="connsiteX83" fmla="*/ 2042160 w 3017559"/>
                  <a:gd name="connsiteY83" fmla="*/ 3352800 h 3680460"/>
                  <a:gd name="connsiteX84" fmla="*/ 2080260 w 3017559"/>
                  <a:gd name="connsiteY84" fmla="*/ 3337560 h 3680460"/>
                  <a:gd name="connsiteX85" fmla="*/ 2156460 w 3017559"/>
                  <a:gd name="connsiteY85" fmla="*/ 3299460 h 3680460"/>
                  <a:gd name="connsiteX86" fmla="*/ 2179320 w 3017559"/>
                  <a:gd name="connsiteY86" fmla="*/ 3284220 h 3680460"/>
                  <a:gd name="connsiteX87" fmla="*/ 2209800 w 3017559"/>
                  <a:gd name="connsiteY87" fmla="*/ 3276600 h 3680460"/>
                  <a:gd name="connsiteX88" fmla="*/ 2263140 w 3017559"/>
                  <a:gd name="connsiteY88" fmla="*/ 3230880 h 3680460"/>
                  <a:gd name="connsiteX89" fmla="*/ 2346960 w 3017559"/>
                  <a:gd name="connsiteY89" fmla="*/ 3154680 h 3680460"/>
                  <a:gd name="connsiteX90" fmla="*/ 2400300 w 3017559"/>
                  <a:gd name="connsiteY90" fmla="*/ 3070860 h 3680460"/>
                  <a:gd name="connsiteX91" fmla="*/ 2415540 w 3017559"/>
                  <a:gd name="connsiteY91" fmla="*/ 3048000 h 3680460"/>
                  <a:gd name="connsiteX92" fmla="*/ 2446020 w 3017559"/>
                  <a:gd name="connsiteY92" fmla="*/ 3032760 h 3680460"/>
                  <a:gd name="connsiteX93" fmla="*/ 2468880 w 3017559"/>
                  <a:gd name="connsiteY93" fmla="*/ 3009900 h 3680460"/>
                  <a:gd name="connsiteX94" fmla="*/ 2537460 w 3017559"/>
                  <a:gd name="connsiteY94" fmla="*/ 2926080 h 3680460"/>
                  <a:gd name="connsiteX95" fmla="*/ 2575560 w 3017559"/>
                  <a:gd name="connsiteY95" fmla="*/ 2880360 h 3680460"/>
                  <a:gd name="connsiteX96" fmla="*/ 2628900 w 3017559"/>
                  <a:gd name="connsiteY96" fmla="*/ 2811780 h 3680460"/>
                  <a:gd name="connsiteX97" fmla="*/ 2644140 w 3017559"/>
                  <a:gd name="connsiteY97" fmla="*/ 2773680 h 3680460"/>
                  <a:gd name="connsiteX98" fmla="*/ 2674620 w 3017559"/>
                  <a:gd name="connsiteY98" fmla="*/ 2727960 h 3680460"/>
                  <a:gd name="connsiteX99" fmla="*/ 2689860 w 3017559"/>
                  <a:gd name="connsiteY99" fmla="*/ 2705100 h 3680460"/>
                  <a:gd name="connsiteX100" fmla="*/ 2705100 w 3017559"/>
                  <a:gd name="connsiteY100" fmla="*/ 2667000 h 3680460"/>
                  <a:gd name="connsiteX101" fmla="*/ 2727960 w 3017559"/>
                  <a:gd name="connsiteY101" fmla="*/ 2621280 h 3680460"/>
                  <a:gd name="connsiteX102" fmla="*/ 2735580 w 3017559"/>
                  <a:gd name="connsiteY102" fmla="*/ 2590800 h 3680460"/>
                  <a:gd name="connsiteX103" fmla="*/ 2758440 w 3017559"/>
                  <a:gd name="connsiteY103" fmla="*/ 2545080 h 3680460"/>
                  <a:gd name="connsiteX104" fmla="*/ 2788920 w 3017559"/>
                  <a:gd name="connsiteY104" fmla="*/ 2484120 h 3680460"/>
                  <a:gd name="connsiteX105" fmla="*/ 2811780 w 3017559"/>
                  <a:gd name="connsiteY105" fmla="*/ 2407920 h 3680460"/>
                  <a:gd name="connsiteX106" fmla="*/ 2842260 w 3017559"/>
                  <a:gd name="connsiteY106" fmla="*/ 2324100 h 3680460"/>
                  <a:gd name="connsiteX107" fmla="*/ 2857500 w 3017559"/>
                  <a:gd name="connsiteY107" fmla="*/ 2247900 h 3680460"/>
                  <a:gd name="connsiteX108" fmla="*/ 2872740 w 3017559"/>
                  <a:gd name="connsiteY108" fmla="*/ 2194560 h 3680460"/>
                  <a:gd name="connsiteX109" fmla="*/ 2887980 w 3017559"/>
                  <a:gd name="connsiteY109" fmla="*/ 2148840 h 3680460"/>
                  <a:gd name="connsiteX110" fmla="*/ 2910840 w 3017559"/>
                  <a:gd name="connsiteY110" fmla="*/ 2087880 h 3680460"/>
                  <a:gd name="connsiteX111" fmla="*/ 2918460 w 3017559"/>
                  <a:gd name="connsiteY111" fmla="*/ 2049780 h 3680460"/>
                  <a:gd name="connsiteX112" fmla="*/ 2933700 w 3017559"/>
                  <a:gd name="connsiteY112" fmla="*/ 1844040 h 3680460"/>
                  <a:gd name="connsiteX113" fmla="*/ 2918460 w 3017559"/>
                  <a:gd name="connsiteY113" fmla="*/ 1470660 h 3680460"/>
                  <a:gd name="connsiteX114" fmla="*/ 2895600 w 3017559"/>
                  <a:gd name="connsiteY114" fmla="*/ 1371600 h 3680460"/>
                  <a:gd name="connsiteX115" fmla="*/ 2880360 w 3017559"/>
                  <a:gd name="connsiteY115" fmla="*/ 1341120 h 3680460"/>
                  <a:gd name="connsiteX116" fmla="*/ 2857500 w 3017559"/>
                  <a:gd name="connsiteY116" fmla="*/ 1272540 h 3680460"/>
                  <a:gd name="connsiteX117" fmla="*/ 2849880 w 3017559"/>
                  <a:gd name="connsiteY117" fmla="*/ 1234440 h 3680460"/>
                  <a:gd name="connsiteX118" fmla="*/ 2827020 w 3017559"/>
                  <a:gd name="connsiteY118" fmla="*/ 1196340 h 3680460"/>
                  <a:gd name="connsiteX119" fmla="*/ 2811780 w 3017559"/>
                  <a:gd name="connsiteY119" fmla="*/ 1165860 h 3680460"/>
                  <a:gd name="connsiteX120" fmla="*/ 2781300 w 3017559"/>
                  <a:gd name="connsiteY120" fmla="*/ 1127760 h 3680460"/>
                  <a:gd name="connsiteX121" fmla="*/ 2766060 w 3017559"/>
                  <a:gd name="connsiteY121" fmla="*/ 1089660 h 3680460"/>
                  <a:gd name="connsiteX122" fmla="*/ 2735580 w 3017559"/>
                  <a:gd name="connsiteY122" fmla="*/ 1043940 h 3680460"/>
                  <a:gd name="connsiteX123" fmla="*/ 2727960 w 3017559"/>
                  <a:gd name="connsiteY123" fmla="*/ 1021080 h 3680460"/>
                  <a:gd name="connsiteX124" fmla="*/ 2682240 w 3017559"/>
                  <a:gd name="connsiteY124" fmla="*/ 937260 h 3680460"/>
                  <a:gd name="connsiteX125" fmla="*/ 2659380 w 3017559"/>
                  <a:gd name="connsiteY125" fmla="*/ 876300 h 3680460"/>
                  <a:gd name="connsiteX126" fmla="*/ 2644140 w 3017559"/>
                  <a:gd name="connsiteY126" fmla="*/ 845820 h 3680460"/>
                  <a:gd name="connsiteX127" fmla="*/ 2636520 w 3017559"/>
                  <a:gd name="connsiteY127" fmla="*/ 822960 h 3680460"/>
                  <a:gd name="connsiteX128" fmla="*/ 2621280 w 3017559"/>
                  <a:gd name="connsiteY128" fmla="*/ 800100 h 3680460"/>
                  <a:gd name="connsiteX129" fmla="*/ 2598420 w 3017559"/>
                  <a:gd name="connsiteY129" fmla="*/ 739140 h 3680460"/>
                  <a:gd name="connsiteX130" fmla="*/ 2458403 w 3017559"/>
                  <a:gd name="connsiteY130" fmla="*/ 621983 h 3680460"/>
                  <a:gd name="connsiteX131" fmla="*/ 2301240 w 3017559"/>
                  <a:gd name="connsiteY131" fmla="*/ 458152 h 3680460"/>
                  <a:gd name="connsiteX132" fmla="*/ 2237423 w 3017559"/>
                  <a:gd name="connsiteY132" fmla="*/ 406717 h 3680460"/>
                  <a:gd name="connsiteX133" fmla="*/ 2103120 w 3017559"/>
                  <a:gd name="connsiteY133" fmla="*/ 312420 h 3680460"/>
                  <a:gd name="connsiteX134" fmla="*/ 2042160 w 3017559"/>
                  <a:gd name="connsiteY134" fmla="*/ 266700 h 3680460"/>
                  <a:gd name="connsiteX135" fmla="*/ 2004060 w 3017559"/>
                  <a:gd name="connsiteY135" fmla="*/ 251460 h 3680460"/>
                  <a:gd name="connsiteX136" fmla="*/ 1958340 w 3017559"/>
                  <a:gd name="connsiteY136" fmla="*/ 220980 h 3680460"/>
                  <a:gd name="connsiteX137" fmla="*/ 1897380 w 3017559"/>
                  <a:gd name="connsiteY137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45720 w 3017559"/>
                  <a:gd name="connsiteY57" fmla="*/ 3436620 h 3680460"/>
                  <a:gd name="connsiteX58" fmla="*/ 0 w 3017559"/>
                  <a:gd name="connsiteY58" fmla="*/ 3352800 h 3680460"/>
                  <a:gd name="connsiteX59" fmla="*/ 30480 w 3017559"/>
                  <a:gd name="connsiteY59" fmla="*/ 3345180 h 3680460"/>
                  <a:gd name="connsiteX60" fmla="*/ 137160 w 3017559"/>
                  <a:gd name="connsiteY60" fmla="*/ 3360420 h 3680460"/>
                  <a:gd name="connsiteX61" fmla="*/ 167640 w 3017559"/>
                  <a:gd name="connsiteY61" fmla="*/ 3390900 h 3680460"/>
                  <a:gd name="connsiteX62" fmla="*/ 198120 w 3017559"/>
                  <a:gd name="connsiteY62" fmla="*/ 3406140 h 3680460"/>
                  <a:gd name="connsiteX63" fmla="*/ 350520 w 3017559"/>
                  <a:gd name="connsiteY63" fmla="*/ 3436620 h 3680460"/>
                  <a:gd name="connsiteX64" fmla="*/ 381000 w 3017559"/>
                  <a:gd name="connsiteY64" fmla="*/ 3451860 h 3680460"/>
                  <a:gd name="connsiteX65" fmla="*/ 449580 w 3017559"/>
                  <a:gd name="connsiteY65" fmla="*/ 3489960 h 3680460"/>
                  <a:gd name="connsiteX66" fmla="*/ 495300 w 3017559"/>
                  <a:gd name="connsiteY66" fmla="*/ 3520440 h 3680460"/>
                  <a:gd name="connsiteX67" fmla="*/ 525780 w 3017559"/>
                  <a:gd name="connsiteY67" fmla="*/ 3535680 h 3680460"/>
                  <a:gd name="connsiteX68" fmla="*/ 731520 w 3017559"/>
                  <a:gd name="connsiteY68" fmla="*/ 3558540 h 3680460"/>
                  <a:gd name="connsiteX69" fmla="*/ 1341120 w 3017559"/>
                  <a:gd name="connsiteY69" fmla="*/ 3550920 h 3680460"/>
                  <a:gd name="connsiteX70" fmla="*/ 1440180 w 3017559"/>
                  <a:gd name="connsiteY70" fmla="*/ 3528060 h 3680460"/>
                  <a:gd name="connsiteX71" fmla="*/ 1539240 w 3017559"/>
                  <a:gd name="connsiteY71" fmla="*/ 3520440 h 3680460"/>
                  <a:gd name="connsiteX72" fmla="*/ 1562100 w 3017559"/>
                  <a:gd name="connsiteY72" fmla="*/ 3512820 h 3680460"/>
                  <a:gd name="connsiteX73" fmla="*/ 1630680 w 3017559"/>
                  <a:gd name="connsiteY73" fmla="*/ 3497580 h 3680460"/>
                  <a:gd name="connsiteX74" fmla="*/ 1699260 w 3017559"/>
                  <a:gd name="connsiteY74" fmla="*/ 3474720 h 3680460"/>
                  <a:gd name="connsiteX75" fmla="*/ 1790700 w 3017559"/>
                  <a:gd name="connsiteY75" fmla="*/ 3451860 h 3680460"/>
                  <a:gd name="connsiteX76" fmla="*/ 1821180 w 3017559"/>
                  <a:gd name="connsiteY76" fmla="*/ 3444240 h 3680460"/>
                  <a:gd name="connsiteX77" fmla="*/ 1844040 w 3017559"/>
                  <a:gd name="connsiteY77" fmla="*/ 3429000 h 3680460"/>
                  <a:gd name="connsiteX78" fmla="*/ 1874520 w 3017559"/>
                  <a:gd name="connsiteY78" fmla="*/ 3421380 h 3680460"/>
                  <a:gd name="connsiteX79" fmla="*/ 1927860 w 3017559"/>
                  <a:gd name="connsiteY79" fmla="*/ 3398520 h 3680460"/>
                  <a:gd name="connsiteX80" fmla="*/ 1950720 w 3017559"/>
                  <a:gd name="connsiteY80" fmla="*/ 3390900 h 3680460"/>
                  <a:gd name="connsiteX81" fmla="*/ 2004060 w 3017559"/>
                  <a:gd name="connsiteY81" fmla="*/ 3360420 h 3680460"/>
                  <a:gd name="connsiteX82" fmla="*/ 2042160 w 3017559"/>
                  <a:gd name="connsiteY82" fmla="*/ 3352800 h 3680460"/>
                  <a:gd name="connsiteX83" fmla="*/ 2080260 w 3017559"/>
                  <a:gd name="connsiteY83" fmla="*/ 3337560 h 3680460"/>
                  <a:gd name="connsiteX84" fmla="*/ 2156460 w 3017559"/>
                  <a:gd name="connsiteY84" fmla="*/ 3299460 h 3680460"/>
                  <a:gd name="connsiteX85" fmla="*/ 2179320 w 3017559"/>
                  <a:gd name="connsiteY85" fmla="*/ 3284220 h 3680460"/>
                  <a:gd name="connsiteX86" fmla="*/ 2209800 w 3017559"/>
                  <a:gd name="connsiteY86" fmla="*/ 3276600 h 3680460"/>
                  <a:gd name="connsiteX87" fmla="*/ 2263140 w 3017559"/>
                  <a:gd name="connsiteY87" fmla="*/ 3230880 h 3680460"/>
                  <a:gd name="connsiteX88" fmla="*/ 2346960 w 3017559"/>
                  <a:gd name="connsiteY88" fmla="*/ 3154680 h 3680460"/>
                  <a:gd name="connsiteX89" fmla="*/ 2400300 w 3017559"/>
                  <a:gd name="connsiteY89" fmla="*/ 3070860 h 3680460"/>
                  <a:gd name="connsiteX90" fmla="*/ 2415540 w 3017559"/>
                  <a:gd name="connsiteY90" fmla="*/ 3048000 h 3680460"/>
                  <a:gd name="connsiteX91" fmla="*/ 2446020 w 3017559"/>
                  <a:gd name="connsiteY91" fmla="*/ 3032760 h 3680460"/>
                  <a:gd name="connsiteX92" fmla="*/ 2468880 w 3017559"/>
                  <a:gd name="connsiteY92" fmla="*/ 3009900 h 3680460"/>
                  <a:gd name="connsiteX93" fmla="*/ 2537460 w 3017559"/>
                  <a:gd name="connsiteY93" fmla="*/ 2926080 h 3680460"/>
                  <a:gd name="connsiteX94" fmla="*/ 2575560 w 3017559"/>
                  <a:gd name="connsiteY94" fmla="*/ 2880360 h 3680460"/>
                  <a:gd name="connsiteX95" fmla="*/ 2628900 w 3017559"/>
                  <a:gd name="connsiteY95" fmla="*/ 2811780 h 3680460"/>
                  <a:gd name="connsiteX96" fmla="*/ 2644140 w 3017559"/>
                  <a:gd name="connsiteY96" fmla="*/ 2773680 h 3680460"/>
                  <a:gd name="connsiteX97" fmla="*/ 2674620 w 3017559"/>
                  <a:gd name="connsiteY97" fmla="*/ 2727960 h 3680460"/>
                  <a:gd name="connsiteX98" fmla="*/ 2689860 w 3017559"/>
                  <a:gd name="connsiteY98" fmla="*/ 2705100 h 3680460"/>
                  <a:gd name="connsiteX99" fmla="*/ 2705100 w 3017559"/>
                  <a:gd name="connsiteY99" fmla="*/ 2667000 h 3680460"/>
                  <a:gd name="connsiteX100" fmla="*/ 2727960 w 3017559"/>
                  <a:gd name="connsiteY100" fmla="*/ 2621280 h 3680460"/>
                  <a:gd name="connsiteX101" fmla="*/ 2735580 w 3017559"/>
                  <a:gd name="connsiteY101" fmla="*/ 2590800 h 3680460"/>
                  <a:gd name="connsiteX102" fmla="*/ 2758440 w 3017559"/>
                  <a:gd name="connsiteY102" fmla="*/ 2545080 h 3680460"/>
                  <a:gd name="connsiteX103" fmla="*/ 2788920 w 3017559"/>
                  <a:gd name="connsiteY103" fmla="*/ 2484120 h 3680460"/>
                  <a:gd name="connsiteX104" fmla="*/ 2811780 w 3017559"/>
                  <a:gd name="connsiteY104" fmla="*/ 2407920 h 3680460"/>
                  <a:gd name="connsiteX105" fmla="*/ 2842260 w 3017559"/>
                  <a:gd name="connsiteY105" fmla="*/ 2324100 h 3680460"/>
                  <a:gd name="connsiteX106" fmla="*/ 2857500 w 3017559"/>
                  <a:gd name="connsiteY106" fmla="*/ 2247900 h 3680460"/>
                  <a:gd name="connsiteX107" fmla="*/ 2872740 w 3017559"/>
                  <a:gd name="connsiteY107" fmla="*/ 2194560 h 3680460"/>
                  <a:gd name="connsiteX108" fmla="*/ 2887980 w 3017559"/>
                  <a:gd name="connsiteY108" fmla="*/ 2148840 h 3680460"/>
                  <a:gd name="connsiteX109" fmla="*/ 2910840 w 3017559"/>
                  <a:gd name="connsiteY109" fmla="*/ 2087880 h 3680460"/>
                  <a:gd name="connsiteX110" fmla="*/ 2918460 w 3017559"/>
                  <a:gd name="connsiteY110" fmla="*/ 2049780 h 3680460"/>
                  <a:gd name="connsiteX111" fmla="*/ 2933700 w 3017559"/>
                  <a:gd name="connsiteY111" fmla="*/ 1844040 h 3680460"/>
                  <a:gd name="connsiteX112" fmla="*/ 2918460 w 3017559"/>
                  <a:gd name="connsiteY112" fmla="*/ 1470660 h 3680460"/>
                  <a:gd name="connsiteX113" fmla="*/ 2895600 w 3017559"/>
                  <a:gd name="connsiteY113" fmla="*/ 1371600 h 3680460"/>
                  <a:gd name="connsiteX114" fmla="*/ 2880360 w 3017559"/>
                  <a:gd name="connsiteY114" fmla="*/ 1341120 h 3680460"/>
                  <a:gd name="connsiteX115" fmla="*/ 2857500 w 3017559"/>
                  <a:gd name="connsiteY115" fmla="*/ 1272540 h 3680460"/>
                  <a:gd name="connsiteX116" fmla="*/ 2849880 w 3017559"/>
                  <a:gd name="connsiteY116" fmla="*/ 1234440 h 3680460"/>
                  <a:gd name="connsiteX117" fmla="*/ 2827020 w 3017559"/>
                  <a:gd name="connsiteY117" fmla="*/ 1196340 h 3680460"/>
                  <a:gd name="connsiteX118" fmla="*/ 2811780 w 3017559"/>
                  <a:gd name="connsiteY118" fmla="*/ 1165860 h 3680460"/>
                  <a:gd name="connsiteX119" fmla="*/ 2781300 w 3017559"/>
                  <a:gd name="connsiteY119" fmla="*/ 1127760 h 3680460"/>
                  <a:gd name="connsiteX120" fmla="*/ 2766060 w 3017559"/>
                  <a:gd name="connsiteY120" fmla="*/ 1089660 h 3680460"/>
                  <a:gd name="connsiteX121" fmla="*/ 2735580 w 3017559"/>
                  <a:gd name="connsiteY121" fmla="*/ 1043940 h 3680460"/>
                  <a:gd name="connsiteX122" fmla="*/ 2727960 w 3017559"/>
                  <a:gd name="connsiteY122" fmla="*/ 1021080 h 3680460"/>
                  <a:gd name="connsiteX123" fmla="*/ 2682240 w 3017559"/>
                  <a:gd name="connsiteY123" fmla="*/ 937260 h 3680460"/>
                  <a:gd name="connsiteX124" fmla="*/ 2659380 w 3017559"/>
                  <a:gd name="connsiteY124" fmla="*/ 876300 h 3680460"/>
                  <a:gd name="connsiteX125" fmla="*/ 2644140 w 3017559"/>
                  <a:gd name="connsiteY125" fmla="*/ 845820 h 3680460"/>
                  <a:gd name="connsiteX126" fmla="*/ 2636520 w 3017559"/>
                  <a:gd name="connsiteY126" fmla="*/ 822960 h 3680460"/>
                  <a:gd name="connsiteX127" fmla="*/ 2621280 w 3017559"/>
                  <a:gd name="connsiteY127" fmla="*/ 800100 h 3680460"/>
                  <a:gd name="connsiteX128" fmla="*/ 2598420 w 3017559"/>
                  <a:gd name="connsiteY128" fmla="*/ 739140 h 3680460"/>
                  <a:gd name="connsiteX129" fmla="*/ 2458403 w 3017559"/>
                  <a:gd name="connsiteY129" fmla="*/ 621983 h 3680460"/>
                  <a:gd name="connsiteX130" fmla="*/ 2301240 w 3017559"/>
                  <a:gd name="connsiteY130" fmla="*/ 458152 h 3680460"/>
                  <a:gd name="connsiteX131" fmla="*/ 2237423 w 3017559"/>
                  <a:gd name="connsiteY131" fmla="*/ 406717 h 3680460"/>
                  <a:gd name="connsiteX132" fmla="*/ 2103120 w 3017559"/>
                  <a:gd name="connsiteY132" fmla="*/ 312420 h 3680460"/>
                  <a:gd name="connsiteX133" fmla="*/ 2042160 w 3017559"/>
                  <a:gd name="connsiteY133" fmla="*/ 266700 h 3680460"/>
                  <a:gd name="connsiteX134" fmla="*/ 2004060 w 3017559"/>
                  <a:gd name="connsiteY134" fmla="*/ 251460 h 3680460"/>
                  <a:gd name="connsiteX135" fmla="*/ 1958340 w 3017559"/>
                  <a:gd name="connsiteY135" fmla="*/ 220980 h 3680460"/>
                  <a:gd name="connsiteX136" fmla="*/ 1897380 w 3017559"/>
                  <a:gd name="connsiteY136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266700 w 3017559"/>
                  <a:gd name="connsiteY54" fmla="*/ 3604260 h 3680460"/>
                  <a:gd name="connsiteX55" fmla="*/ 160020 w 3017559"/>
                  <a:gd name="connsiteY55" fmla="*/ 3558540 h 3680460"/>
                  <a:gd name="connsiteX56" fmla="*/ 45720 w 3017559"/>
                  <a:gd name="connsiteY56" fmla="*/ 3436620 h 3680460"/>
                  <a:gd name="connsiteX57" fmla="*/ 0 w 3017559"/>
                  <a:gd name="connsiteY57" fmla="*/ 3352800 h 3680460"/>
                  <a:gd name="connsiteX58" fmla="*/ 30480 w 3017559"/>
                  <a:gd name="connsiteY58" fmla="*/ 3345180 h 3680460"/>
                  <a:gd name="connsiteX59" fmla="*/ 137160 w 3017559"/>
                  <a:gd name="connsiteY59" fmla="*/ 3360420 h 3680460"/>
                  <a:gd name="connsiteX60" fmla="*/ 167640 w 3017559"/>
                  <a:gd name="connsiteY60" fmla="*/ 3390900 h 3680460"/>
                  <a:gd name="connsiteX61" fmla="*/ 198120 w 3017559"/>
                  <a:gd name="connsiteY61" fmla="*/ 3406140 h 3680460"/>
                  <a:gd name="connsiteX62" fmla="*/ 350520 w 3017559"/>
                  <a:gd name="connsiteY62" fmla="*/ 3436620 h 3680460"/>
                  <a:gd name="connsiteX63" fmla="*/ 381000 w 3017559"/>
                  <a:gd name="connsiteY63" fmla="*/ 3451860 h 3680460"/>
                  <a:gd name="connsiteX64" fmla="*/ 449580 w 3017559"/>
                  <a:gd name="connsiteY64" fmla="*/ 3489960 h 3680460"/>
                  <a:gd name="connsiteX65" fmla="*/ 495300 w 3017559"/>
                  <a:gd name="connsiteY65" fmla="*/ 3520440 h 3680460"/>
                  <a:gd name="connsiteX66" fmla="*/ 525780 w 3017559"/>
                  <a:gd name="connsiteY66" fmla="*/ 3535680 h 3680460"/>
                  <a:gd name="connsiteX67" fmla="*/ 731520 w 3017559"/>
                  <a:gd name="connsiteY67" fmla="*/ 3558540 h 3680460"/>
                  <a:gd name="connsiteX68" fmla="*/ 1341120 w 3017559"/>
                  <a:gd name="connsiteY68" fmla="*/ 3550920 h 3680460"/>
                  <a:gd name="connsiteX69" fmla="*/ 1440180 w 3017559"/>
                  <a:gd name="connsiteY69" fmla="*/ 3528060 h 3680460"/>
                  <a:gd name="connsiteX70" fmla="*/ 1539240 w 3017559"/>
                  <a:gd name="connsiteY70" fmla="*/ 3520440 h 3680460"/>
                  <a:gd name="connsiteX71" fmla="*/ 1562100 w 3017559"/>
                  <a:gd name="connsiteY71" fmla="*/ 3512820 h 3680460"/>
                  <a:gd name="connsiteX72" fmla="*/ 1630680 w 3017559"/>
                  <a:gd name="connsiteY72" fmla="*/ 3497580 h 3680460"/>
                  <a:gd name="connsiteX73" fmla="*/ 1699260 w 3017559"/>
                  <a:gd name="connsiteY73" fmla="*/ 3474720 h 3680460"/>
                  <a:gd name="connsiteX74" fmla="*/ 1790700 w 3017559"/>
                  <a:gd name="connsiteY74" fmla="*/ 3451860 h 3680460"/>
                  <a:gd name="connsiteX75" fmla="*/ 1821180 w 3017559"/>
                  <a:gd name="connsiteY75" fmla="*/ 3444240 h 3680460"/>
                  <a:gd name="connsiteX76" fmla="*/ 1844040 w 3017559"/>
                  <a:gd name="connsiteY76" fmla="*/ 3429000 h 3680460"/>
                  <a:gd name="connsiteX77" fmla="*/ 1874520 w 3017559"/>
                  <a:gd name="connsiteY77" fmla="*/ 3421380 h 3680460"/>
                  <a:gd name="connsiteX78" fmla="*/ 1927860 w 3017559"/>
                  <a:gd name="connsiteY78" fmla="*/ 3398520 h 3680460"/>
                  <a:gd name="connsiteX79" fmla="*/ 1950720 w 3017559"/>
                  <a:gd name="connsiteY79" fmla="*/ 3390900 h 3680460"/>
                  <a:gd name="connsiteX80" fmla="*/ 2004060 w 3017559"/>
                  <a:gd name="connsiteY80" fmla="*/ 3360420 h 3680460"/>
                  <a:gd name="connsiteX81" fmla="*/ 2042160 w 3017559"/>
                  <a:gd name="connsiteY81" fmla="*/ 3352800 h 3680460"/>
                  <a:gd name="connsiteX82" fmla="*/ 2080260 w 3017559"/>
                  <a:gd name="connsiteY82" fmla="*/ 3337560 h 3680460"/>
                  <a:gd name="connsiteX83" fmla="*/ 2156460 w 3017559"/>
                  <a:gd name="connsiteY83" fmla="*/ 3299460 h 3680460"/>
                  <a:gd name="connsiteX84" fmla="*/ 2179320 w 3017559"/>
                  <a:gd name="connsiteY84" fmla="*/ 3284220 h 3680460"/>
                  <a:gd name="connsiteX85" fmla="*/ 2209800 w 3017559"/>
                  <a:gd name="connsiteY85" fmla="*/ 3276600 h 3680460"/>
                  <a:gd name="connsiteX86" fmla="*/ 2263140 w 3017559"/>
                  <a:gd name="connsiteY86" fmla="*/ 3230880 h 3680460"/>
                  <a:gd name="connsiteX87" fmla="*/ 2346960 w 3017559"/>
                  <a:gd name="connsiteY87" fmla="*/ 3154680 h 3680460"/>
                  <a:gd name="connsiteX88" fmla="*/ 2400300 w 3017559"/>
                  <a:gd name="connsiteY88" fmla="*/ 3070860 h 3680460"/>
                  <a:gd name="connsiteX89" fmla="*/ 2415540 w 3017559"/>
                  <a:gd name="connsiteY89" fmla="*/ 3048000 h 3680460"/>
                  <a:gd name="connsiteX90" fmla="*/ 2446020 w 3017559"/>
                  <a:gd name="connsiteY90" fmla="*/ 3032760 h 3680460"/>
                  <a:gd name="connsiteX91" fmla="*/ 2468880 w 3017559"/>
                  <a:gd name="connsiteY91" fmla="*/ 3009900 h 3680460"/>
                  <a:gd name="connsiteX92" fmla="*/ 2537460 w 3017559"/>
                  <a:gd name="connsiteY92" fmla="*/ 2926080 h 3680460"/>
                  <a:gd name="connsiteX93" fmla="*/ 2575560 w 3017559"/>
                  <a:gd name="connsiteY93" fmla="*/ 2880360 h 3680460"/>
                  <a:gd name="connsiteX94" fmla="*/ 2628900 w 3017559"/>
                  <a:gd name="connsiteY94" fmla="*/ 2811780 h 3680460"/>
                  <a:gd name="connsiteX95" fmla="*/ 2644140 w 3017559"/>
                  <a:gd name="connsiteY95" fmla="*/ 2773680 h 3680460"/>
                  <a:gd name="connsiteX96" fmla="*/ 2674620 w 3017559"/>
                  <a:gd name="connsiteY96" fmla="*/ 2727960 h 3680460"/>
                  <a:gd name="connsiteX97" fmla="*/ 2689860 w 3017559"/>
                  <a:gd name="connsiteY97" fmla="*/ 2705100 h 3680460"/>
                  <a:gd name="connsiteX98" fmla="*/ 2705100 w 3017559"/>
                  <a:gd name="connsiteY98" fmla="*/ 2667000 h 3680460"/>
                  <a:gd name="connsiteX99" fmla="*/ 2727960 w 3017559"/>
                  <a:gd name="connsiteY99" fmla="*/ 2621280 h 3680460"/>
                  <a:gd name="connsiteX100" fmla="*/ 2735580 w 3017559"/>
                  <a:gd name="connsiteY100" fmla="*/ 2590800 h 3680460"/>
                  <a:gd name="connsiteX101" fmla="*/ 2758440 w 3017559"/>
                  <a:gd name="connsiteY101" fmla="*/ 2545080 h 3680460"/>
                  <a:gd name="connsiteX102" fmla="*/ 2788920 w 3017559"/>
                  <a:gd name="connsiteY102" fmla="*/ 2484120 h 3680460"/>
                  <a:gd name="connsiteX103" fmla="*/ 2811780 w 3017559"/>
                  <a:gd name="connsiteY103" fmla="*/ 2407920 h 3680460"/>
                  <a:gd name="connsiteX104" fmla="*/ 2842260 w 3017559"/>
                  <a:gd name="connsiteY104" fmla="*/ 2324100 h 3680460"/>
                  <a:gd name="connsiteX105" fmla="*/ 2857500 w 3017559"/>
                  <a:gd name="connsiteY105" fmla="*/ 2247900 h 3680460"/>
                  <a:gd name="connsiteX106" fmla="*/ 2872740 w 3017559"/>
                  <a:gd name="connsiteY106" fmla="*/ 2194560 h 3680460"/>
                  <a:gd name="connsiteX107" fmla="*/ 2887980 w 3017559"/>
                  <a:gd name="connsiteY107" fmla="*/ 2148840 h 3680460"/>
                  <a:gd name="connsiteX108" fmla="*/ 2910840 w 3017559"/>
                  <a:gd name="connsiteY108" fmla="*/ 2087880 h 3680460"/>
                  <a:gd name="connsiteX109" fmla="*/ 2918460 w 3017559"/>
                  <a:gd name="connsiteY109" fmla="*/ 2049780 h 3680460"/>
                  <a:gd name="connsiteX110" fmla="*/ 2933700 w 3017559"/>
                  <a:gd name="connsiteY110" fmla="*/ 1844040 h 3680460"/>
                  <a:gd name="connsiteX111" fmla="*/ 2918460 w 3017559"/>
                  <a:gd name="connsiteY111" fmla="*/ 1470660 h 3680460"/>
                  <a:gd name="connsiteX112" fmla="*/ 2895600 w 3017559"/>
                  <a:gd name="connsiteY112" fmla="*/ 1371600 h 3680460"/>
                  <a:gd name="connsiteX113" fmla="*/ 2880360 w 3017559"/>
                  <a:gd name="connsiteY113" fmla="*/ 1341120 h 3680460"/>
                  <a:gd name="connsiteX114" fmla="*/ 2857500 w 3017559"/>
                  <a:gd name="connsiteY114" fmla="*/ 1272540 h 3680460"/>
                  <a:gd name="connsiteX115" fmla="*/ 2849880 w 3017559"/>
                  <a:gd name="connsiteY115" fmla="*/ 1234440 h 3680460"/>
                  <a:gd name="connsiteX116" fmla="*/ 2827020 w 3017559"/>
                  <a:gd name="connsiteY116" fmla="*/ 1196340 h 3680460"/>
                  <a:gd name="connsiteX117" fmla="*/ 2811780 w 3017559"/>
                  <a:gd name="connsiteY117" fmla="*/ 1165860 h 3680460"/>
                  <a:gd name="connsiteX118" fmla="*/ 2781300 w 3017559"/>
                  <a:gd name="connsiteY118" fmla="*/ 1127760 h 3680460"/>
                  <a:gd name="connsiteX119" fmla="*/ 2766060 w 3017559"/>
                  <a:gd name="connsiteY119" fmla="*/ 1089660 h 3680460"/>
                  <a:gd name="connsiteX120" fmla="*/ 2735580 w 3017559"/>
                  <a:gd name="connsiteY120" fmla="*/ 1043940 h 3680460"/>
                  <a:gd name="connsiteX121" fmla="*/ 2727960 w 3017559"/>
                  <a:gd name="connsiteY121" fmla="*/ 1021080 h 3680460"/>
                  <a:gd name="connsiteX122" fmla="*/ 2682240 w 3017559"/>
                  <a:gd name="connsiteY122" fmla="*/ 937260 h 3680460"/>
                  <a:gd name="connsiteX123" fmla="*/ 2659380 w 3017559"/>
                  <a:gd name="connsiteY123" fmla="*/ 876300 h 3680460"/>
                  <a:gd name="connsiteX124" fmla="*/ 2644140 w 3017559"/>
                  <a:gd name="connsiteY124" fmla="*/ 845820 h 3680460"/>
                  <a:gd name="connsiteX125" fmla="*/ 2636520 w 3017559"/>
                  <a:gd name="connsiteY125" fmla="*/ 822960 h 3680460"/>
                  <a:gd name="connsiteX126" fmla="*/ 2621280 w 3017559"/>
                  <a:gd name="connsiteY126" fmla="*/ 800100 h 3680460"/>
                  <a:gd name="connsiteX127" fmla="*/ 2598420 w 3017559"/>
                  <a:gd name="connsiteY127" fmla="*/ 739140 h 3680460"/>
                  <a:gd name="connsiteX128" fmla="*/ 2458403 w 3017559"/>
                  <a:gd name="connsiteY128" fmla="*/ 621983 h 3680460"/>
                  <a:gd name="connsiteX129" fmla="*/ 2301240 w 3017559"/>
                  <a:gd name="connsiteY129" fmla="*/ 458152 h 3680460"/>
                  <a:gd name="connsiteX130" fmla="*/ 2237423 w 3017559"/>
                  <a:gd name="connsiteY130" fmla="*/ 406717 h 3680460"/>
                  <a:gd name="connsiteX131" fmla="*/ 2103120 w 3017559"/>
                  <a:gd name="connsiteY131" fmla="*/ 312420 h 3680460"/>
                  <a:gd name="connsiteX132" fmla="*/ 2042160 w 3017559"/>
                  <a:gd name="connsiteY132" fmla="*/ 266700 h 3680460"/>
                  <a:gd name="connsiteX133" fmla="*/ 2004060 w 3017559"/>
                  <a:gd name="connsiteY133" fmla="*/ 251460 h 3680460"/>
                  <a:gd name="connsiteX134" fmla="*/ 1958340 w 3017559"/>
                  <a:gd name="connsiteY134" fmla="*/ 220980 h 3680460"/>
                  <a:gd name="connsiteX135" fmla="*/ 1897380 w 3017559"/>
                  <a:gd name="connsiteY135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137160 w 3017559"/>
                  <a:gd name="connsiteY57" fmla="*/ 3360420 h 3680460"/>
                  <a:gd name="connsiteX58" fmla="*/ 167640 w 3017559"/>
                  <a:gd name="connsiteY58" fmla="*/ 3390900 h 3680460"/>
                  <a:gd name="connsiteX59" fmla="*/ 198120 w 3017559"/>
                  <a:gd name="connsiteY59" fmla="*/ 3406140 h 3680460"/>
                  <a:gd name="connsiteX60" fmla="*/ 350520 w 3017559"/>
                  <a:gd name="connsiteY60" fmla="*/ 3436620 h 3680460"/>
                  <a:gd name="connsiteX61" fmla="*/ 381000 w 3017559"/>
                  <a:gd name="connsiteY61" fmla="*/ 3451860 h 3680460"/>
                  <a:gd name="connsiteX62" fmla="*/ 449580 w 3017559"/>
                  <a:gd name="connsiteY62" fmla="*/ 3489960 h 3680460"/>
                  <a:gd name="connsiteX63" fmla="*/ 495300 w 3017559"/>
                  <a:gd name="connsiteY63" fmla="*/ 3520440 h 3680460"/>
                  <a:gd name="connsiteX64" fmla="*/ 525780 w 3017559"/>
                  <a:gd name="connsiteY64" fmla="*/ 3535680 h 3680460"/>
                  <a:gd name="connsiteX65" fmla="*/ 731520 w 3017559"/>
                  <a:gd name="connsiteY65" fmla="*/ 3558540 h 3680460"/>
                  <a:gd name="connsiteX66" fmla="*/ 1341120 w 3017559"/>
                  <a:gd name="connsiteY66" fmla="*/ 3550920 h 3680460"/>
                  <a:gd name="connsiteX67" fmla="*/ 1440180 w 3017559"/>
                  <a:gd name="connsiteY67" fmla="*/ 3528060 h 3680460"/>
                  <a:gd name="connsiteX68" fmla="*/ 1539240 w 3017559"/>
                  <a:gd name="connsiteY68" fmla="*/ 3520440 h 3680460"/>
                  <a:gd name="connsiteX69" fmla="*/ 1562100 w 3017559"/>
                  <a:gd name="connsiteY69" fmla="*/ 3512820 h 3680460"/>
                  <a:gd name="connsiteX70" fmla="*/ 1630680 w 3017559"/>
                  <a:gd name="connsiteY70" fmla="*/ 3497580 h 3680460"/>
                  <a:gd name="connsiteX71" fmla="*/ 1699260 w 3017559"/>
                  <a:gd name="connsiteY71" fmla="*/ 3474720 h 3680460"/>
                  <a:gd name="connsiteX72" fmla="*/ 1790700 w 3017559"/>
                  <a:gd name="connsiteY72" fmla="*/ 3451860 h 3680460"/>
                  <a:gd name="connsiteX73" fmla="*/ 1821180 w 3017559"/>
                  <a:gd name="connsiteY73" fmla="*/ 3444240 h 3680460"/>
                  <a:gd name="connsiteX74" fmla="*/ 1844040 w 3017559"/>
                  <a:gd name="connsiteY74" fmla="*/ 3429000 h 3680460"/>
                  <a:gd name="connsiteX75" fmla="*/ 1874520 w 3017559"/>
                  <a:gd name="connsiteY75" fmla="*/ 3421380 h 3680460"/>
                  <a:gd name="connsiteX76" fmla="*/ 1927860 w 3017559"/>
                  <a:gd name="connsiteY76" fmla="*/ 3398520 h 3680460"/>
                  <a:gd name="connsiteX77" fmla="*/ 1950720 w 3017559"/>
                  <a:gd name="connsiteY77" fmla="*/ 3390900 h 3680460"/>
                  <a:gd name="connsiteX78" fmla="*/ 2004060 w 3017559"/>
                  <a:gd name="connsiteY78" fmla="*/ 3360420 h 3680460"/>
                  <a:gd name="connsiteX79" fmla="*/ 2042160 w 3017559"/>
                  <a:gd name="connsiteY79" fmla="*/ 3352800 h 3680460"/>
                  <a:gd name="connsiteX80" fmla="*/ 2080260 w 3017559"/>
                  <a:gd name="connsiteY80" fmla="*/ 3337560 h 3680460"/>
                  <a:gd name="connsiteX81" fmla="*/ 2156460 w 3017559"/>
                  <a:gd name="connsiteY81" fmla="*/ 3299460 h 3680460"/>
                  <a:gd name="connsiteX82" fmla="*/ 2179320 w 3017559"/>
                  <a:gd name="connsiteY82" fmla="*/ 3284220 h 3680460"/>
                  <a:gd name="connsiteX83" fmla="*/ 2209800 w 3017559"/>
                  <a:gd name="connsiteY83" fmla="*/ 3276600 h 3680460"/>
                  <a:gd name="connsiteX84" fmla="*/ 2263140 w 3017559"/>
                  <a:gd name="connsiteY84" fmla="*/ 3230880 h 3680460"/>
                  <a:gd name="connsiteX85" fmla="*/ 2346960 w 3017559"/>
                  <a:gd name="connsiteY85" fmla="*/ 3154680 h 3680460"/>
                  <a:gd name="connsiteX86" fmla="*/ 2400300 w 3017559"/>
                  <a:gd name="connsiteY86" fmla="*/ 3070860 h 3680460"/>
                  <a:gd name="connsiteX87" fmla="*/ 2415540 w 3017559"/>
                  <a:gd name="connsiteY87" fmla="*/ 3048000 h 3680460"/>
                  <a:gd name="connsiteX88" fmla="*/ 2446020 w 3017559"/>
                  <a:gd name="connsiteY88" fmla="*/ 3032760 h 3680460"/>
                  <a:gd name="connsiteX89" fmla="*/ 2468880 w 3017559"/>
                  <a:gd name="connsiteY89" fmla="*/ 3009900 h 3680460"/>
                  <a:gd name="connsiteX90" fmla="*/ 2537460 w 3017559"/>
                  <a:gd name="connsiteY90" fmla="*/ 2926080 h 3680460"/>
                  <a:gd name="connsiteX91" fmla="*/ 2575560 w 3017559"/>
                  <a:gd name="connsiteY91" fmla="*/ 2880360 h 3680460"/>
                  <a:gd name="connsiteX92" fmla="*/ 2628900 w 3017559"/>
                  <a:gd name="connsiteY92" fmla="*/ 2811780 h 3680460"/>
                  <a:gd name="connsiteX93" fmla="*/ 2644140 w 3017559"/>
                  <a:gd name="connsiteY93" fmla="*/ 2773680 h 3680460"/>
                  <a:gd name="connsiteX94" fmla="*/ 2674620 w 3017559"/>
                  <a:gd name="connsiteY94" fmla="*/ 2727960 h 3680460"/>
                  <a:gd name="connsiteX95" fmla="*/ 2689860 w 3017559"/>
                  <a:gd name="connsiteY95" fmla="*/ 2705100 h 3680460"/>
                  <a:gd name="connsiteX96" fmla="*/ 2705100 w 3017559"/>
                  <a:gd name="connsiteY96" fmla="*/ 2667000 h 3680460"/>
                  <a:gd name="connsiteX97" fmla="*/ 2727960 w 3017559"/>
                  <a:gd name="connsiteY97" fmla="*/ 2621280 h 3680460"/>
                  <a:gd name="connsiteX98" fmla="*/ 2735580 w 3017559"/>
                  <a:gd name="connsiteY98" fmla="*/ 2590800 h 3680460"/>
                  <a:gd name="connsiteX99" fmla="*/ 2758440 w 3017559"/>
                  <a:gd name="connsiteY99" fmla="*/ 2545080 h 3680460"/>
                  <a:gd name="connsiteX100" fmla="*/ 2788920 w 3017559"/>
                  <a:gd name="connsiteY100" fmla="*/ 2484120 h 3680460"/>
                  <a:gd name="connsiteX101" fmla="*/ 2811780 w 3017559"/>
                  <a:gd name="connsiteY101" fmla="*/ 2407920 h 3680460"/>
                  <a:gd name="connsiteX102" fmla="*/ 2842260 w 3017559"/>
                  <a:gd name="connsiteY102" fmla="*/ 2324100 h 3680460"/>
                  <a:gd name="connsiteX103" fmla="*/ 2857500 w 3017559"/>
                  <a:gd name="connsiteY103" fmla="*/ 2247900 h 3680460"/>
                  <a:gd name="connsiteX104" fmla="*/ 2872740 w 3017559"/>
                  <a:gd name="connsiteY104" fmla="*/ 2194560 h 3680460"/>
                  <a:gd name="connsiteX105" fmla="*/ 2887980 w 3017559"/>
                  <a:gd name="connsiteY105" fmla="*/ 2148840 h 3680460"/>
                  <a:gd name="connsiteX106" fmla="*/ 2910840 w 3017559"/>
                  <a:gd name="connsiteY106" fmla="*/ 2087880 h 3680460"/>
                  <a:gd name="connsiteX107" fmla="*/ 2918460 w 3017559"/>
                  <a:gd name="connsiteY107" fmla="*/ 2049780 h 3680460"/>
                  <a:gd name="connsiteX108" fmla="*/ 2933700 w 3017559"/>
                  <a:gd name="connsiteY108" fmla="*/ 1844040 h 3680460"/>
                  <a:gd name="connsiteX109" fmla="*/ 2918460 w 3017559"/>
                  <a:gd name="connsiteY109" fmla="*/ 1470660 h 3680460"/>
                  <a:gd name="connsiteX110" fmla="*/ 2895600 w 3017559"/>
                  <a:gd name="connsiteY110" fmla="*/ 1371600 h 3680460"/>
                  <a:gd name="connsiteX111" fmla="*/ 2880360 w 3017559"/>
                  <a:gd name="connsiteY111" fmla="*/ 1341120 h 3680460"/>
                  <a:gd name="connsiteX112" fmla="*/ 2857500 w 3017559"/>
                  <a:gd name="connsiteY112" fmla="*/ 1272540 h 3680460"/>
                  <a:gd name="connsiteX113" fmla="*/ 2849880 w 3017559"/>
                  <a:gd name="connsiteY113" fmla="*/ 1234440 h 3680460"/>
                  <a:gd name="connsiteX114" fmla="*/ 2827020 w 3017559"/>
                  <a:gd name="connsiteY114" fmla="*/ 1196340 h 3680460"/>
                  <a:gd name="connsiteX115" fmla="*/ 2811780 w 3017559"/>
                  <a:gd name="connsiteY115" fmla="*/ 1165860 h 3680460"/>
                  <a:gd name="connsiteX116" fmla="*/ 2781300 w 3017559"/>
                  <a:gd name="connsiteY116" fmla="*/ 1127760 h 3680460"/>
                  <a:gd name="connsiteX117" fmla="*/ 2766060 w 3017559"/>
                  <a:gd name="connsiteY117" fmla="*/ 1089660 h 3680460"/>
                  <a:gd name="connsiteX118" fmla="*/ 2735580 w 3017559"/>
                  <a:gd name="connsiteY118" fmla="*/ 1043940 h 3680460"/>
                  <a:gd name="connsiteX119" fmla="*/ 2727960 w 3017559"/>
                  <a:gd name="connsiteY119" fmla="*/ 1021080 h 3680460"/>
                  <a:gd name="connsiteX120" fmla="*/ 2682240 w 3017559"/>
                  <a:gd name="connsiteY120" fmla="*/ 937260 h 3680460"/>
                  <a:gd name="connsiteX121" fmla="*/ 2659380 w 3017559"/>
                  <a:gd name="connsiteY121" fmla="*/ 876300 h 3680460"/>
                  <a:gd name="connsiteX122" fmla="*/ 2644140 w 3017559"/>
                  <a:gd name="connsiteY122" fmla="*/ 845820 h 3680460"/>
                  <a:gd name="connsiteX123" fmla="*/ 2636520 w 3017559"/>
                  <a:gd name="connsiteY123" fmla="*/ 822960 h 3680460"/>
                  <a:gd name="connsiteX124" fmla="*/ 2621280 w 3017559"/>
                  <a:gd name="connsiteY124" fmla="*/ 800100 h 3680460"/>
                  <a:gd name="connsiteX125" fmla="*/ 2598420 w 3017559"/>
                  <a:gd name="connsiteY125" fmla="*/ 739140 h 3680460"/>
                  <a:gd name="connsiteX126" fmla="*/ 2458403 w 3017559"/>
                  <a:gd name="connsiteY126" fmla="*/ 621983 h 3680460"/>
                  <a:gd name="connsiteX127" fmla="*/ 2301240 w 3017559"/>
                  <a:gd name="connsiteY127" fmla="*/ 458152 h 3680460"/>
                  <a:gd name="connsiteX128" fmla="*/ 2237423 w 3017559"/>
                  <a:gd name="connsiteY128" fmla="*/ 406717 h 3680460"/>
                  <a:gd name="connsiteX129" fmla="*/ 2103120 w 3017559"/>
                  <a:gd name="connsiteY129" fmla="*/ 312420 h 3680460"/>
                  <a:gd name="connsiteX130" fmla="*/ 2042160 w 3017559"/>
                  <a:gd name="connsiteY130" fmla="*/ 266700 h 3680460"/>
                  <a:gd name="connsiteX131" fmla="*/ 2004060 w 3017559"/>
                  <a:gd name="connsiteY131" fmla="*/ 251460 h 3680460"/>
                  <a:gd name="connsiteX132" fmla="*/ 1958340 w 3017559"/>
                  <a:gd name="connsiteY132" fmla="*/ 220980 h 3680460"/>
                  <a:gd name="connsiteX133" fmla="*/ 1897380 w 3017559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188595 w 3008034"/>
                  <a:gd name="connsiteY59" fmla="*/ 3406140 h 3680460"/>
                  <a:gd name="connsiteX60" fmla="*/ 340995 w 3008034"/>
                  <a:gd name="connsiteY60" fmla="*/ 3436620 h 3680460"/>
                  <a:gd name="connsiteX61" fmla="*/ 371475 w 3008034"/>
                  <a:gd name="connsiteY61" fmla="*/ 3451860 h 3680460"/>
                  <a:gd name="connsiteX62" fmla="*/ 440055 w 3008034"/>
                  <a:gd name="connsiteY62" fmla="*/ 3489960 h 3680460"/>
                  <a:gd name="connsiteX63" fmla="*/ 485775 w 3008034"/>
                  <a:gd name="connsiteY63" fmla="*/ 3520440 h 3680460"/>
                  <a:gd name="connsiteX64" fmla="*/ 516255 w 3008034"/>
                  <a:gd name="connsiteY64" fmla="*/ 3535680 h 3680460"/>
                  <a:gd name="connsiteX65" fmla="*/ 721995 w 3008034"/>
                  <a:gd name="connsiteY65" fmla="*/ 3558540 h 3680460"/>
                  <a:gd name="connsiteX66" fmla="*/ 1331595 w 3008034"/>
                  <a:gd name="connsiteY66" fmla="*/ 3550920 h 3680460"/>
                  <a:gd name="connsiteX67" fmla="*/ 1430655 w 3008034"/>
                  <a:gd name="connsiteY67" fmla="*/ 3528060 h 3680460"/>
                  <a:gd name="connsiteX68" fmla="*/ 1529715 w 3008034"/>
                  <a:gd name="connsiteY68" fmla="*/ 3520440 h 3680460"/>
                  <a:gd name="connsiteX69" fmla="*/ 1552575 w 3008034"/>
                  <a:gd name="connsiteY69" fmla="*/ 3512820 h 3680460"/>
                  <a:gd name="connsiteX70" fmla="*/ 1621155 w 3008034"/>
                  <a:gd name="connsiteY70" fmla="*/ 3497580 h 3680460"/>
                  <a:gd name="connsiteX71" fmla="*/ 1689735 w 3008034"/>
                  <a:gd name="connsiteY71" fmla="*/ 3474720 h 3680460"/>
                  <a:gd name="connsiteX72" fmla="*/ 1781175 w 3008034"/>
                  <a:gd name="connsiteY72" fmla="*/ 3451860 h 3680460"/>
                  <a:gd name="connsiteX73" fmla="*/ 1811655 w 3008034"/>
                  <a:gd name="connsiteY73" fmla="*/ 3444240 h 3680460"/>
                  <a:gd name="connsiteX74" fmla="*/ 1834515 w 3008034"/>
                  <a:gd name="connsiteY74" fmla="*/ 3429000 h 3680460"/>
                  <a:gd name="connsiteX75" fmla="*/ 1864995 w 3008034"/>
                  <a:gd name="connsiteY75" fmla="*/ 3421380 h 3680460"/>
                  <a:gd name="connsiteX76" fmla="*/ 1918335 w 3008034"/>
                  <a:gd name="connsiteY76" fmla="*/ 3398520 h 3680460"/>
                  <a:gd name="connsiteX77" fmla="*/ 1941195 w 3008034"/>
                  <a:gd name="connsiteY77" fmla="*/ 3390900 h 3680460"/>
                  <a:gd name="connsiteX78" fmla="*/ 1994535 w 3008034"/>
                  <a:gd name="connsiteY78" fmla="*/ 3360420 h 3680460"/>
                  <a:gd name="connsiteX79" fmla="*/ 2032635 w 3008034"/>
                  <a:gd name="connsiteY79" fmla="*/ 3352800 h 3680460"/>
                  <a:gd name="connsiteX80" fmla="*/ 2070735 w 3008034"/>
                  <a:gd name="connsiteY80" fmla="*/ 3337560 h 3680460"/>
                  <a:gd name="connsiteX81" fmla="*/ 2146935 w 3008034"/>
                  <a:gd name="connsiteY81" fmla="*/ 3299460 h 3680460"/>
                  <a:gd name="connsiteX82" fmla="*/ 2169795 w 3008034"/>
                  <a:gd name="connsiteY82" fmla="*/ 3284220 h 3680460"/>
                  <a:gd name="connsiteX83" fmla="*/ 2200275 w 3008034"/>
                  <a:gd name="connsiteY83" fmla="*/ 3276600 h 3680460"/>
                  <a:gd name="connsiteX84" fmla="*/ 2253615 w 3008034"/>
                  <a:gd name="connsiteY84" fmla="*/ 3230880 h 3680460"/>
                  <a:gd name="connsiteX85" fmla="*/ 2337435 w 3008034"/>
                  <a:gd name="connsiteY85" fmla="*/ 3154680 h 3680460"/>
                  <a:gd name="connsiteX86" fmla="*/ 2390775 w 3008034"/>
                  <a:gd name="connsiteY86" fmla="*/ 3070860 h 3680460"/>
                  <a:gd name="connsiteX87" fmla="*/ 2406015 w 3008034"/>
                  <a:gd name="connsiteY87" fmla="*/ 3048000 h 3680460"/>
                  <a:gd name="connsiteX88" fmla="*/ 2436495 w 3008034"/>
                  <a:gd name="connsiteY88" fmla="*/ 3032760 h 3680460"/>
                  <a:gd name="connsiteX89" fmla="*/ 2459355 w 3008034"/>
                  <a:gd name="connsiteY89" fmla="*/ 3009900 h 3680460"/>
                  <a:gd name="connsiteX90" fmla="*/ 2527935 w 3008034"/>
                  <a:gd name="connsiteY90" fmla="*/ 2926080 h 3680460"/>
                  <a:gd name="connsiteX91" fmla="*/ 2566035 w 3008034"/>
                  <a:gd name="connsiteY91" fmla="*/ 2880360 h 3680460"/>
                  <a:gd name="connsiteX92" fmla="*/ 2619375 w 3008034"/>
                  <a:gd name="connsiteY92" fmla="*/ 2811780 h 3680460"/>
                  <a:gd name="connsiteX93" fmla="*/ 2634615 w 3008034"/>
                  <a:gd name="connsiteY93" fmla="*/ 2773680 h 3680460"/>
                  <a:gd name="connsiteX94" fmla="*/ 2665095 w 3008034"/>
                  <a:gd name="connsiteY94" fmla="*/ 2727960 h 3680460"/>
                  <a:gd name="connsiteX95" fmla="*/ 2680335 w 3008034"/>
                  <a:gd name="connsiteY95" fmla="*/ 2705100 h 3680460"/>
                  <a:gd name="connsiteX96" fmla="*/ 2695575 w 3008034"/>
                  <a:gd name="connsiteY96" fmla="*/ 2667000 h 3680460"/>
                  <a:gd name="connsiteX97" fmla="*/ 2718435 w 3008034"/>
                  <a:gd name="connsiteY97" fmla="*/ 2621280 h 3680460"/>
                  <a:gd name="connsiteX98" fmla="*/ 2726055 w 3008034"/>
                  <a:gd name="connsiteY98" fmla="*/ 2590800 h 3680460"/>
                  <a:gd name="connsiteX99" fmla="*/ 2748915 w 3008034"/>
                  <a:gd name="connsiteY99" fmla="*/ 2545080 h 3680460"/>
                  <a:gd name="connsiteX100" fmla="*/ 2779395 w 3008034"/>
                  <a:gd name="connsiteY100" fmla="*/ 2484120 h 3680460"/>
                  <a:gd name="connsiteX101" fmla="*/ 2802255 w 3008034"/>
                  <a:gd name="connsiteY101" fmla="*/ 2407920 h 3680460"/>
                  <a:gd name="connsiteX102" fmla="*/ 2832735 w 3008034"/>
                  <a:gd name="connsiteY102" fmla="*/ 2324100 h 3680460"/>
                  <a:gd name="connsiteX103" fmla="*/ 2847975 w 3008034"/>
                  <a:gd name="connsiteY103" fmla="*/ 2247900 h 3680460"/>
                  <a:gd name="connsiteX104" fmla="*/ 2863215 w 3008034"/>
                  <a:gd name="connsiteY104" fmla="*/ 2194560 h 3680460"/>
                  <a:gd name="connsiteX105" fmla="*/ 2878455 w 3008034"/>
                  <a:gd name="connsiteY105" fmla="*/ 2148840 h 3680460"/>
                  <a:gd name="connsiteX106" fmla="*/ 2901315 w 3008034"/>
                  <a:gd name="connsiteY106" fmla="*/ 2087880 h 3680460"/>
                  <a:gd name="connsiteX107" fmla="*/ 2908935 w 3008034"/>
                  <a:gd name="connsiteY107" fmla="*/ 2049780 h 3680460"/>
                  <a:gd name="connsiteX108" fmla="*/ 2924175 w 3008034"/>
                  <a:gd name="connsiteY108" fmla="*/ 1844040 h 3680460"/>
                  <a:gd name="connsiteX109" fmla="*/ 2908935 w 3008034"/>
                  <a:gd name="connsiteY109" fmla="*/ 1470660 h 3680460"/>
                  <a:gd name="connsiteX110" fmla="*/ 2886075 w 3008034"/>
                  <a:gd name="connsiteY110" fmla="*/ 1371600 h 3680460"/>
                  <a:gd name="connsiteX111" fmla="*/ 2870835 w 3008034"/>
                  <a:gd name="connsiteY111" fmla="*/ 1341120 h 3680460"/>
                  <a:gd name="connsiteX112" fmla="*/ 2847975 w 3008034"/>
                  <a:gd name="connsiteY112" fmla="*/ 1272540 h 3680460"/>
                  <a:gd name="connsiteX113" fmla="*/ 2840355 w 3008034"/>
                  <a:gd name="connsiteY113" fmla="*/ 1234440 h 3680460"/>
                  <a:gd name="connsiteX114" fmla="*/ 2817495 w 3008034"/>
                  <a:gd name="connsiteY114" fmla="*/ 1196340 h 3680460"/>
                  <a:gd name="connsiteX115" fmla="*/ 2802255 w 3008034"/>
                  <a:gd name="connsiteY115" fmla="*/ 1165860 h 3680460"/>
                  <a:gd name="connsiteX116" fmla="*/ 2771775 w 3008034"/>
                  <a:gd name="connsiteY116" fmla="*/ 1127760 h 3680460"/>
                  <a:gd name="connsiteX117" fmla="*/ 2756535 w 3008034"/>
                  <a:gd name="connsiteY117" fmla="*/ 1089660 h 3680460"/>
                  <a:gd name="connsiteX118" fmla="*/ 2726055 w 3008034"/>
                  <a:gd name="connsiteY118" fmla="*/ 1043940 h 3680460"/>
                  <a:gd name="connsiteX119" fmla="*/ 2718435 w 3008034"/>
                  <a:gd name="connsiteY119" fmla="*/ 1021080 h 3680460"/>
                  <a:gd name="connsiteX120" fmla="*/ 2672715 w 3008034"/>
                  <a:gd name="connsiteY120" fmla="*/ 937260 h 3680460"/>
                  <a:gd name="connsiteX121" fmla="*/ 2649855 w 3008034"/>
                  <a:gd name="connsiteY121" fmla="*/ 876300 h 3680460"/>
                  <a:gd name="connsiteX122" fmla="*/ 2634615 w 3008034"/>
                  <a:gd name="connsiteY122" fmla="*/ 845820 h 3680460"/>
                  <a:gd name="connsiteX123" fmla="*/ 2626995 w 3008034"/>
                  <a:gd name="connsiteY123" fmla="*/ 822960 h 3680460"/>
                  <a:gd name="connsiteX124" fmla="*/ 2611755 w 3008034"/>
                  <a:gd name="connsiteY124" fmla="*/ 800100 h 3680460"/>
                  <a:gd name="connsiteX125" fmla="*/ 2588895 w 3008034"/>
                  <a:gd name="connsiteY125" fmla="*/ 739140 h 3680460"/>
                  <a:gd name="connsiteX126" fmla="*/ 2448878 w 3008034"/>
                  <a:gd name="connsiteY126" fmla="*/ 621983 h 3680460"/>
                  <a:gd name="connsiteX127" fmla="*/ 2291715 w 3008034"/>
                  <a:gd name="connsiteY127" fmla="*/ 458152 h 3680460"/>
                  <a:gd name="connsiteX128" fmla="*/ 2227898 w 3008034"/>
                  <a:gd name="connsiteY128" fmla="*/ 406717 h 3680460"/>
                  <a:gd name="connsiteX129" fmla="*/ 2093595 w 3008034"/>
                  <a:gd name="connsiteY129" fmla="*/ 312420 h 3680460"/>
                  <a:gd name="connsiteX130" fmla="*/ 2032635 w 3008034"/>
                  <a:gd name="connsiteY130" fmla="*/ 266700 h 3680460"/>
                  <a:gd name="connsiteX131" fmla="*/ 1994535 w 3008034"/>
                  <a:gd name="connsiteY131" fmla="*/ 251460 h 3680460"/>
                  <a:gd name="connsiteX132" fmla="*/ 1948815 w 3008034"/>
                  <a:gd name="connsiteY132" fmla="*/ 220980 h 3680460"/>
                  <a:gd name="connsiteX133" fmla="*/ 1887855 w 3008034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371475 w 3008034"/>
                  <a:gd name="connsiteY60" fmla="*/ 3451860 h 3680460"/>
                  <a:gd name="connsiteX61" fmla="*/ 440055 w 3008034"/>
                  <a:gd name="connsiteY61" fmla="*/ 3489960 h 3680460"/>
                  <a:gd name="connsiteX62" fmla="*/ 485775 w 3008034"/>
                  <a:gd name="connsiteY62" fmla="*/ 3520440 h 3680460"/>
                  <a:gd name="connsiteX63" fmla="*/ 516255 w 3008034"/>
                  <a:gd name="connsiteY63" fmla="*/ 3535680 h 3680460"/>
                  <a:gd name="connsiteX64" fmla="*/ 721995 w 3008034"/>
                  <a:gd name="connsiteY64" fmla="*/ 3558540 h 3680460"/>
                  <a:gd name="connsiteX65" fmla="*/ 1331595 w 3008034"/>
                  <a:gd name="connsiteY65" fmla="*/ 3550920 h 3680460"/>
                  <a:gd name="connsiteX66" fmla="*/ 1430655 w 3008034"/>
                  <a:gd name="connsiteY66" fmla="*/ 3528060 h 3680460"/>
                  <a:gd name="connsiteX67" fmla="*/ 1529715 w 3008034"/>
                  <a:gd name="connsiteY67" fmla="*/ 3520440 h 3680460"/>
                  <a:gd name="connsiteX68" fmla="*/ 1552575 w 3008034"/>
                  <a:gd name="connsiteY68" fmla="*/ 3512820 h 3680460"/>
                  <a:gd name="connsiteX69" fmla="*/ 1621155 w 3008034"/>
                  <a:gd name="connsiteY69" fmla="*/ 3497580 h 3680460"/>
                  <a:gd name="connsiteX70" fmla="*/ 1689735 w 3008034"/>
                  <a:gd name="connsiteY70" fmla="*/ 3474720 h 3680460"/>
                  <a:gd name="connsiteX71" fmla="*/ 1781175 w 3008034"/>
                  <a:gd name="connsiteY71" fmla="*/ 3451860 h 3680460"/>
                  <a:gd name="connsiteX72" fmla="*/ 1811655 w 3008034"/>
                  <a:gd name="connsiteY72" fmla="*/ 3444240 h 3680460"/>
                  <a:gd name="connsiteX73" fmla="*/ 1834515 w 3008034"/>
                  <a:gd name="connsiteY73" fmla="*/ 3429000 h 3680460"/>
                  <a:gd name="connsiteX74" fmla="*/ 1864995 w 3008034"/>
                  <a:gd name="connsiteY74" fmla="*/ 3421380 h 3680460"/>
                  <a:gd name="connsiteX75" fmla="*/ 1918335 w 3008034"/>
                  <a:gd name="connsiteY75" fmla="*/ 3398520 h 3680460"/>
                  <a:gd name="connsiteX76" fmla="*/ 1941195 w 3008034"/>
                  <a:gd name="connsiteY76" fmla="*/ 3390900 h 3680460"/>
                  <a:gd name="connsiteX77" fmla="*/ 1994535 w 3008034"/>
                  <a:gd name="connsiteY77" fmla="*/ 3360420 h 3680460"/>
                  <a:gd name="connsiteX78" fmla="*/ 2032635 w 3008034"/>
                  <a:gd name="connsiteY78" fmla="*/ 3352800 h 3680460"/>
                  <a:gd name="connsiteX79" fmla="*/ 2070735 w 3008034"/>
                  <a:gd name="connsiteY79" fmla="*/ 3337560 h 3680460"/>
                  <a:gd name="connsiteX80" fmla="*/ 2146935 w 3008034"/>
                  <a:gd name="connsiteY80" fmla="*/ 3299460 h 3680460"/>
                  <a:gd name="connsiteX81" fmla="*/ 2169795 w 3008034"/>
                  <a:gd name="connsiteY81" fmla="*/ 3284220 h 3680460"/>
                  <a:gd name="connsiteX82" fmla="*/ 2200275 w 3008034"/>
                  <a:gd name="connsiteY82" fmla="*/ 3276600 h 3680460"/>
                  <a:gd name="connsiteX83" fmla="*/ 2253615 w 3008034"/>
                  <a:gd name="connsiteY83" fmla="*/ 3230880 h 3680460"/>
                  <a:gd name="connsiteX84" fmla="*/ 2337435 w 3008034"/>
                  <a:gd name="connsiteY84" fmla="*/ 3154680 h 3680460"/>
                  <a:gd name="connsiteX85" fmla="*/ 2390775 w 3008034"/>
                  <a:gd name="connsiteY85" fmla="*/ 3070860 h 3680460"/>
                  <a:gd name="connsiteX86" fmla="*/ 2406015 w 3008034"/>
                  <a:gd name="connsiteY86" fmla="*/ 3048000 h 3680460"/>
                  <a:gd name="connsiteX87" fmla="*/ 2436495 w 3008034"/>
                  <a:gd name="connsiteY87" fmla="*/ 3032760 h 3680460"/>
                  <a:gd name="connsiteX88" fmla="*/ 2459355 w 3008034"/>
                  <a:gd name="connsiteY88" fmla="*/ 3009900 h 3680460"/>
                  <a:gd name="connsiteX89" fmla="*/ 2527935 w 3008034"/>
                  <a:gd name="connsiteY89" fmla="*/ 2926080 h 3680460"/>
                  <a:gd name="connsiteX90" fmla="*/ 2566035 w 3008034"/>
                  <a:gd name="connsiteY90" fmla="*/ 2880360 h 3680460"/>
                  <a:gd name="connsiteX91" fmla="*/ 2619375 w 3008034"/>
                  <a:gd name="connsiteY91" fmla="*/ 2811780 h 3680460"/>
                  <a:gd name="connsiteX92" fmla="*/ 2634615 w 3008034"/>
                  <a:gd name="connsiteY92" fmla="*/ 2773680 h 3680460"/>
                  <a:gd name="connsiteX93" fmla="*/ 2665095 w 3008034"/>
                  <a:gd name="connsiteY93" fmla="*/ 2727960 h 3680460"/>
                  <a:gd name="connsiteX94" fmla="*/ 2680335 w 3008034"/>
                  <a:gd name="connsiteY94" fmla="*/ 2705100 h 3680460"/>
                  <a:gd name="connsiteX95" fmla="*/ 2695575 w 3008034"/>
                  <a:gd name="connsiteY95" fmla="*/ 2667000 h 3680460"/>
                  <a:gd name="connsiteX96" fmla="*/ 2718435 w 3008034"/>
                  <a:gd name="connsiteY96" fmla="*/ 2621280 h 3680460"/>
                  <a:gd name="connsiteX97" fmla="*/ 2726055 w 3008034"/>
                  <a:gd name="connsiteY97" fmla="*/ 2590800 h 3680460"/>
                  <a:gd name="connsiteX98" fmla="*/ 2748915 w 3008034"/>
                  <a:gd name="connsiteY98" fmla="*/ 2545080 h 3680460"/>
                  <a:gd name="connsiteX99" fmla="*/ 2779395 w 3008034"/>
                  <a:gd name="connsiteY99" fmla="*/ 2484120 h 3680460"/>
                  <a:gd name="connsiteX100" fmla="*/ 2802255 w 3008034"/>
                  <a:gd name="connsiteY100" fmla="*/ 2407920 h 3680460"/>
                  <a:gd name="connsiteX101" fmla="*/ 2832735 w 3008034"/>
                  <a:gd name="connsiteY101" fmla="*/ 2324100 h 3680460"/>
                  <a:gd name="connsiteX102" fmla="*/ 2847975 w 3008034"/>
                  <a:gd name="connsiteY102" fmla="*/ 2247900 h 3680460"/>
                  <a:gd name="connsiteX103" fmla="*/ 2863215 w 3008034"/>
                  <a:gd name="connsiteY103" fmla="*/ 2194560 h 3680460"/>
                  <a:gd name="connsiteX104" fmla="*/ 2878455 w 3008034"/>
                  <a:gd name="connsiteY104" fmla="*/ 2148840 h 3680460"/>
                  <a:gd name="connsiteX105" fmla="*/ 2901315 w 3008034"/>
                  <a:gd name="connsiteY105" fmla="*/ 2087880 h 3680460"/>
                  <a:gd name="connsiteX106" fmla="*/ 2908935 w 3008034"/>
                  <a:gd name="connsiteY106" fmla="*/ 2049780 h 3680460"/>
                  <a:gd name="connsiteX107" fmla="*/ 2924175 w 3008034"/>
                  <a:gd name="connsiteY107" fmla="*/ 1844040 h 3680460"/>
                  <a:gd name="connsiteX108" fmla="*/ 2908935 w 3008034"/>
                  <a:gd name="connsiteY108" fmla="*/ 1470660 h 3680460"/>
                  <a:gd name="connsiteX109" fmla="*/ 2886075 w 3008034"/>
                  <a:gd name="connsiteY109" fmla="*/ 1371600 h 3680460"/>
                  <a:gd name="connsiteX110" fmla="*/ 2870835 w 3008034"/>
                  <a:gd name="connsiteY110" fmla="*/ 1341120 h 3680460"/>
                  <a:gd name="connsiteX111" fmla="*/ 2847975 w 3008034"/>
                  <a:gd name="connsiteY111" fmla="*/ 1272540 h 3680460"/>
                  <a:gd name="connsiteX112" fmla="*/ 2840355 w 3008034"/>
                  <a:gd name="connsiteY112" fmla="*/ 1234440 h 3680460"/>
                  <a:gd name="connsiteX113" fmla="*/ 2817495 w 3008034"/>
                  <a:gd name="connsiteY113" fmla="*/ 1196340 h 3680460"/>
                  <a:gd name="connsiteX114" fmla="*/ 2802255 w 3008034"/>
                  <a:gd name="connsiteY114" fmla="*/ 1165860 h 3680460"/>
                  <a:gd name="connsiteX115" fmla="*/ 2771775 w 3008034"/>
                  <a:gd name="connsiteY115" fmla="*/ 1127760 h 3680460"/>
                  <a:gd name="connsiteX116" fmla="*/ 2756535 w 3008034"/>
                  <a:gd name="connsiteY116" fmla="*/ 1089660 h 3680460"/>
                  <a:gd name="connsiteX117" fmla="*/ 2726055 w 3008034"/>
                  <a:gd name="connsiteY117" fmla="*/ 1043940 h 3680460"/>
                  <a:gd name="connsiteX118" fmla="*/ 2718435 w 3008034"/>
                  <a:gd name="connsiteY118" fmla="*/ 1021080 h 3680460"/>
                  <a:gd name="connsiteX119" fmla="*/ 2672715 w 3008034"/>
                  <a:gd name="connsiteY119" fmla="*/ 937260 h 3680460"/>
                  <a:gd name="connsiteX120" fmla="*/ 2649855 w 3008034"/>
                  <a:gd name="connsiteY120" fmla="*/ 876300 h 3680460"/>
                  <a:gd name="connsiteX121" fmla="*/ 2634615 w 3008034"/>
                  <a:gd name="connsiteY121" fmla="*/ 845820 h 3680460"/>
                  <a:gd name="connsiteX122" fmla="*/ 2626995 w 3008034"/>
                  <a:gd name="connsiteY122" fmla="*/ 822960 h 3680460"/>
                  <a:gd name="connsiteX123" fmla="*/ 2611755 w 3008034"/>
                  <a:gd name="connsiteY123" fmla="*/ 800100 h 3680460"/>
                  <a:gd name="connsiteX124" fmla="*/ 2588895 w 3008034"/>
                  <a:gd name="connsiteY124" fmla="*/ 739140 h 3680460"/>
                  <a:gd name="connsiteX125" fmla="*/ 2448878 w 3008034"/>
                  <a:gd name="connsiteY125" fmla="*/ 621983 h 3680460"/>
                  <a:gd name="connsiteX126" fmla="*/ 2291715 w 3008034"/>
                  <a:gd name="connsiteY126" fmla="*/ 458152 h 3680460"/>
                  <a:gd name="connsiteX127" fmla="*/ 2227898 w 3008034"/>
                  <a:gd name="connsiteY127" fmla="*/ 406717 h 3680460"/>
                  <a:gd name="connsiteX128" fmla="*/ 2093595 w 3008034"/>
                  <a:gd name="connsiteY128" fmla="*/ 312420 h 3680460"/>
                  <a:gd name="connsiteX129" fmla="*/ 2032635 w 3008034"/>
                  <a:gd name="connsiteY129" fmla="*/ 266700 h 3680460"/>
                  <a:gd name="connsiteX130" fmla="*/ 1994535 w 3008034"/>
                  <a:gd name="connsiteY130" fmla="*/ 251460 h 3680460"/>
                  <a:gd name="connsiteX131" fmla="*/ 1948815 w 3008034"/>
                  <a:gd name="connsiteY131" fmla="*/ 220980 h 3680460"/>
                  <a:gd name="connsiteX132" fmla="*/ 1887855 w 3008034"/>
                  <a:gd name="connsiteY13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721995 w 3008034"/>
                  <a:gd name="connsiteY62" fmla="*/ 3558540 h 3680460"/>
                  <a:gd name="connsiteX63" fmla="*/ 1331595 w 3008034"/>
                  <a:gd name="connsiteY63" fmla="*/ 3550920 h 3680460"/>
                  <a:gd name="connsiteX64" fmla="*/ 1430655 w 3008034"/>
                  <a:gd name="connsiteY64" fmla="*/ 3528060 h 3680460"/>
                  <a:gd name="connsiteX65" fmla="*/ 1529715 w 3008034"/>
                  <a:gd name="connsiteY65" fmla="*/ 3520440 h 3680460"/>
                  <a:gd name="connsiteX66" fmla="*/ 1552575 w 3008034"/>
                  <a:gd name="connsiteY66" fmla="*/ 3512820 h 3680460"/>
                  <a:gd name="connsiteX67" fmla="*/ 1621155 w 3008034"/>
                  <a:gd name="connsiteY67" fmla="*/ 3497580 h 3680460"/>
                  <a:gd name="connsiteX68" fmla="*/ 1689735 w 3008034"/>
                  <a:gd name="connsiteY68" fmla="*/ 3474720 h 3680460"/>
                  <a:gd name="connsiteX69" fmla="*/ 1781175 w 3008034"/>
                  <a:gd name="connsiteY69" fmla="*/ 3451860 h 3680460"/>
                  <a:gd name="connsiteX70" fmla="*/ 1811655 w 3008034"/>
                  <a:gd name="connsiteY70" fmla="*/ 3444240 h 3680460"/>
                  <a:gd name="connsiteX71" fmla="*/ 1834515 w 3008034"/>
                  <a:gd name="connsiteY71" fmla="*/ 3429000 h 3680460"/>
                  <a:gd name="connsiteX72" fmla="*/ 1864995 w 3008034"/>
                  <a:gd name="connsiteY72" fmla="*/ 3421380 h 3680460"/>
                  <a:gd name="connsiteX73" fmla="*/ 1918335 w 3008034"/>
                  <a:gd name="connsiteY73" fmla="*/ 3398520 h 3680460"/>
                  <a:gd name="connsiteX74" fmla="*/ 1941195 w 3008034"/>
                  <a:gd name="connsiteY74" fmla="*/ 3390900 h 3680460"/>
                  <a:gd name="connsiteX75" fmla="*/ 1994535 w 3008034"/>
                  <a:gd name="connsiteY75" fmla="*/ 3360420 h 3680460"/>
                  <a:gd name="connsiteX76" fmla="*/ 2032635 w 3008034"/>
                  <a:gd name="connsiteY76" fmla="*/ 3352800 h 3680460"/>
                  <a:gd name="connsiteX77" fmla="*/ 2070735 w 3008034"/>
                  <a:gd name="connsiteY77" fmla="*/ 3337560 h 3680460"/>
                  <a:gd name="connsiteX78" fmla="*/ 2146935 w 3008034"/>
                  <a:gd name="connsiteY78" fmla="*/ 3299460 h 3680460"/>
                  <a:gd name="connsiteX79" fmla="*/ 2169795 w 3008034"/>
                  <a:gd name="connsiteY79" fmla="*/ 3284220 h 3680460"/>
                  <a:gd name="connsiteX80" fmla="*/ 2200275 w 3008034"/>
                  <a:gd name="connsiteY80" fmla="*/ 3276600 h 3680460"/>
                  <a:gd name="connsiteX81" fmla="*/ 2253615 w 3008034"/>
                  <a:gd name="connsiteY81" fmla="*/ 3230880 h 3680460"/>
                  <a:gd name="connsiteX82" fmla="*/ 2337435 w 3008034"/>
                  <a:gd name="connsiteY82" fmla="*/ 3154680 h 3680460"/>
                  <a:gd name="connsiteX83" fmla="*/ 2390775 w 3008034"/>
                  <a:gd name="connsiteY83" fmla="*/ 3070860 h 3680460"/>
                  <a:gd name="connsiteX84" fmla="*/ 2406015 w 3008034"/>
                  <a:gd name="connsiteY84" fmla="*/ 3048000 h 3680460"/>
                  <a:gd name="connsiteX85" fmla="*/ 2436495 w 3008034"/>
                  <a:gd name="connsiteY85" fmla="*/ 3032760 h 3680460"/>
                  <a:gd name="connsiteX86" fmla="*/ 2459355 w 3008034"/>
                  <a:gd name="connsiteY86" fmla="*/ 3009900 h 3680460"/>
                  <a:gd name="connsiteX87" fmla="*/ 2527935 w 3008034"/>
                  <a:gd name="connsiteY87" fmla="*/ 2926080 h 3680460"/>
                  <a:gd name="connsiteX88" fmla="*/ 2566035 w 3008034"/>
                  <a:gd name="connsiteY88" fmla="*/ 2880360 h 3680460"/>
                  <a:gd name="connsiteX89" fmla="*/ 2619375 w 3008034"/>
                  <a:gd name="connsiteY89" fmla="*/ 2811780 h 3680460"/>
                  <a:gd name="connsiteX90" fmla="*/ 2634615 w 3008034"/>
                  <a:gd name="connsiteY90" fmla="*/ 2773680 h 3680460"/>
                  <a:gd name="connsiteX91" fmla="*/ 2665095 w 3008034"/>
                  <a:gd name="connsiteY91" fmla="*/ 2727960 h 3680460"/>
                  <a:gd name="connsiteX92" fmla="*/ 2680335 w 3008034"/>
                  <a:gd name="connsiteY92" fmla="*/ 2705100 h 3680460"/>
                  <a:gd name="connsiteX93" fmla="*/ 2695575 w 3008034"/>
                  <a:gd name="connsiteY93" fmla="*/ 2667000 h 3680460"/>
                  <a:gd name="connsiteX94" fmla="*/ 2718435 w 3008034"/>
                  <a:gd name="connsiteY94" fmla="*/ 2621280 h 3680460"/>
                  <a:gd name="connsiteX95" fmla="*/ 2726055 w 3008034"/>
                  <a:gd name="connsiteY95" fmla="*/ 2590800 h 3680460"/>
                  <a:gd name="connsiteX96" fmla="*/ 2748915 w 3008034"/>
                  <a:gd name="connsiteY96" fmla="*/ 2545080 h 3680460"/>
                  <a:gd name="connsiteX97" fmla="*/ 2779395 w 3008034"/>
                  <a:gd name="connsiteY97" fmla="*/ 2484120 h 3680460"/>
                  <a:gd name="connsiteX98" fmla="*/ 2802255 w 3008034"/>
                  <a:gd name="connsiteY98" fmla="*/ 2407920 h 3680460"/>
                  <a:gd name="connsiteX99" fmla="*/ 2832735 w 3008034"/>
                  <a:gd name="connsiteY99" fmla="*/ 2324100 h 3680460"/>
                  <a:gd name="connsiteX100" fmla="*/ 2847975 w 3008034"/>
                  <a:gd name="connsiteY100" fmla="*/ 2247900 h 3680460"/>
                  <a:gd name="connsiteX101" fmla="*/ 2863215 w 3008034"/>
                  <a:gd name="connsiteY101" fmla="*/ 2194560 h 3680460"/>
                  <a:gd name="connsiteX102" fmla="*/ 2878455 w 3008034"/>
                  <a:gd name="connsiteY102" fmla="*/ 2148840 h 3680460"/>
                  <a:gd name="connsiteX103" fmla="*/ 2901315 w 3008034"/>
                  <a:gd name="connsiteY103" fmla="*/ 2087880 h 3680460"/>
                  <a:gd name="connsiteX104" fmla="*/ 2908935 w 3008034"/>
                  <a:gd name="connsiteY104" fmla="*/ 2049780 h 3680460"/>
                  <a:gd name="connsiteX105" fmla="*/ 2924175 w 3008034"/>
                  <a:gd name="connsiteY105" fmla="*/ 1844040 h 3680460"/>
                  <a:gd name="connsiteX106" fmla="*/ 2908935 w 3008034"/>
                  <a:gd name="connsiteY106" fmla="*/ 1470660 h 3680460"/>
                  <a:gd name="connsiteX107" fmla="*/ 2886075 w 3008034"/>
                  <a:gd name="connsiteY107" fmla="*/ 1371600 h 3680460"/>
                  <a:gd name="connsiteX108" fmla="*/ 2870835 w 3008034"/>
                  <a:gd name="connsiteY108" fmla="*/ 1341120 h 3680460"/>
                  <a:gd name="connsiteX109" fmla="*/ 2847975 w 3008034"/>
                  <a:gd name="connsiteY109" fmla="*/ 1272540 h 3680460"/>
                  <a:gd name="connsiteX110" fmla="*/ 2840355 w 3008034"/>
                  <a:gd name="connsiteY110" fmla="*/ 1234440 h 3680460"/>
                  <a:gd name="connsiteX111" fmla="*/ 2817495 w 3008034"/>
                  <a:gd name="connsiteY111" fmla="*/ 1196340 h 3680460"/>
                  <a:gd name="connsiteX112" fmla="*/ 2802255 w 3008034"/>
                  <a:gd name="connsiteY112" fmla="*/ 1165860 h 3680460"/>
                  <a:gd name="connsiteX113" fmla="*/ 2771775 w 3008034"/>
                  <a:gd name="connsiteY113" fmla="*/ 1127760 h 3680460"/>
                  <a:gd name="connsiteX114" fmla="*/ 2756535 w 3008034"/>
                  <a:gd name="connsiteY114" fmla="*/ 1089660 h 3680460"/>
                  <a:gd name="connsiteX115" fmla="*/ 2726055 w 3008034"/>
                  <a:gd name="connsiteY115" fmla="*/ 1043940 h 3680460"/>
                  <a:gd name="connsiteX116" fmla="*/ 2718435 w 3008034"/>
                  <a:gd name="connsiteY116" fmla="*/ 1021080 h 3680460"/>
                  <a:gd name="connsiteX117" fmla="*/ 2672715 w 3008034"/>
                  <a:gd name="connsiteY117" fmla="*/ 937260 h 3680460"/>
                  <a:gd name="connsiteX118" fmla="*/ 2649855 w 3008034"/>
                  <a:gd name="connsiteY118" fmla="*/ 876300 h 3680460"/>
                  <a:gd name="connsiteX119" fmla="*/ 2634615 w 3008034"/>
                  <a:gd name="connsiteY119" fmla="*/ 845820 h 3680460"/>
                  <a:gd name="connsiteX120" fmla="*/ 2626995 w 3008034"/>
                  <a:gd name="connsiteY120" fmla="*/ 822960 h 3680460"/>
                  <a:gd name="connsiteX121" fmla="*/ 2611755 w 3008034"/>
                  <a:gd name="connsiteY121" fmla="*/ 800100 h 3680460"/>
                  <a:gd name="connsiteX122" fmla="*/ 2588895 w 3008034"/>
                  <a:gd name="connsiteY122" fmla="*/ 739140 h 3680460"/>
                  <a:gd name="connsiteX123" fmla="*/ 2448878 w 3008034"/>
                  <a:gd name="connsiteY123" fmla="*/ 621983 h 3680460"/>
                  <a:gd name="connsiteX124" fmla="*/ 2291715 w 3008034"/>
                  <a:gd name="connsiteY124" fmla="*/ 458152 h 3680460"/>
                  <a:gd name="connsiteX125" fmla="*/ 2227898 w 3008034"/>
                  <a:gd name="connsiteY125" fmla="*/ 406717 h 3680460"/>
                  <a:gd name="connsiteX126" fmla="*/ 2093595 w 3008034"/>
                  <a:gd name="connsiteY126" fmla="*/ 312420 h 3680460"/>
                  <a:gd name="connsiteX127" fmla="*/ 2032635 w 3008034"/>
                  <a:gd name="connsiteY127" fmla="*/ 266700 h 3680460"/>
                  <a:gd name="connsiteX128" fmla="*/ 1994535 w 3008034"/>
                  <a:gd name="connsiteY128" fmla="*/ 251460 h 3680460"/>
                  <a:gd name="connsiteX129" fmla="*/ 1948815 w 3008034"/>
                  <a:gd name="connsiteY129" fmla="*/ 220980 h 3680460"/>
                  <a:gd name="connsiteX130" fmla="*/ 1887855 w 3008034"/>
                  <a:gd name="connsiteY13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552575 w 3008034"/>
                  <a:gd name="connsiteY64" fmla="*/ 3512820 h 3680460"/>
                  <a:gd name="connsiteX65" fmla="*/ 1621155 w 3008034"/>
                  <a:gd name="connsiteY65" fmla="*/ 3497580 h 3680460"/>
                  <a:gd name="connsiteX66" fmla="*/ 1689735 w 3008034"/>
                  <a:gd name="connsiteY66" fmla="*/ 3474720 h 3680460"/>
                  <a:gd name="connsiteX67" fmla="*/ 1781175 w 3008034"/>
                  <a:gd name="connsiteY67" fmla="*/ 3451860 h 3680460"/>
                  <a:gd name="connsiteX68" fmla="*/ 1811655 w 3008034"/>
                  <a:gd name="connsiteY68" fmla="*/ 3444240 h 3680460"/>
                  <a:gd name="connsiteX69" fmla="*/ 1834515 w 3008034"/>
                  <a:gd name="connsiteY69" fmla="*/ 3429000 h 3680460"/>
                  <a:gd name="connsiteX70" fmla="*/ 1864995 w 3008034"/>
                  <a:gd name="connsiteY70" fmla="*/ 3421380 h 3680460"/>
                  <a:gd name="connsiteX71" fmla="*/ 1918335 w 3008034"/>
                  <a:gd name="connsiteY71" fmla="*/ 3398520 h 3680460"/>
                  <a:gd name="connsiteX72" fmla="*/ 1941195 w 3008034"/>
                  <a:gd name="connsiteY72" fmla="*/ 3390900 h 3680460"/>
                  <a:gd name="connsiteX73" fmla="*/ 1994535 w 3008034"/>
                  <a:gd name="connsiteY73" fmla="*/ 3360420 h 3680460"/>
                  <a:gd name="connsiteX74" fmla="*/ 2032635 w 3008034"/>
                  <a:gd name="connsiteY74" fmla="*/ 3352800 h 3680460"/>
                  <a:gd name="connsiteX75" fmla="*/ 2070735 w 3008034"/>
                  <a:gd name="connsiteY75" fmla="*/ 3337560 h 3680460"/>
                  <a:gd name="connsiteX76" fmla="*/ 2146935 w 3008034"/>
                  <a:gd name="connsiteY76" fmla="*/ 3299460 h 3680460"/>
                  <a:gd name="connsiteX77" fmla="*/ 2169795 w 3008034"/>
                  <a:gd name="connsiteY77" fmla="*/ 3284220 h 3680460"/>
                  <a:gd name="connsiteX78" fmla="*/ 2200275 w 3008034"/>
                  <a:gd name="connsiteY78" fmla="*/ 3276600 h 3680460"/>
                  <a:gd name="connsiteX79" fmla="*/ 2253615 w 3008034"/>
                  <a:gd name="connsiteY79" fmla="*/ 3230880 h 3680460"/>
                  <a:gd name="connsiteX80" fmla="*/ 2337435 w 3008034"/>
                  <a:gd name="connsiteY80" fmla="*/ 3154680 h 3680460"/>
                  <a:gd name="connsiteX81" fmla="*/ 2390775 w 3008034"/>
                  <a:gd name="connsiteY81" fmla="*/ 3070860 h 3680460"/>
                  <a:gd name="connsiteX82" fmla="*/ 2406015 w 3008034"/>
                  <a:gd name="connsiteY82" fmla="*/ 3048000 h 3680460"/>
                  <a:gd name="connsiteX83" fmla="*/ 2436495 w 3008034"/>
                  <a:gd name="connsiteY83" fmla="*/ 3032760 h 3680460"/>
                  <a:gd name="connsiteX84" fmla="*/ 2459355 w 3008034"/>
                  <a:gd name="connsiteY84" fmla="*/ 3009900 h 3680460"/>
                  <a:gd name="connsiteX85" fmla="*/ 2527935 w 3008034"/>
                  <a:gd name="connsiteY85" fmla="*/ 2926080 h 3680460"/>
                  <a:gd name="connsiteX86" fmla="*/ 2566035 w 3008034"/>
                  <a:gd name="connsiteY86" fmla="*/ 2880360 h 3680460"/>
                  <a:gd name="connsiteX87" fmla="*/ 2619375 w 3008034"/>
                  <a:gd name="connsiteY87" fmla="*/ 2811780 h 3680460"/>
                  <a:gd name="connsiteX88" fmla="*/ 2634615 w 3008034"/>
                  <a:gd name="connsiteY88" fmla="*/ 2773680 h 3680460"/>
                  <a:gd name="connsiteX89" fmla="*/ 2665095 w 3008034"/>
                  <a:gd name="connsiteY89" fmla="*/ 2727960 h 3680460"/>
                  <a:gd name="connsiteX90" fmla="*/ 2680335 w 3008034"/>
                  <a:gd name="connsiteY90" fmla="*/ 2705100 h 3680460"/>
                  <a:gd name="connsiteX91" fmla="*/ 2695575 w 3008034"/>
                  <a:gd name="connsiteY91" fmla="*/ 2667000 h 3680460"/>
                  <a:gd name="connsiteX92" fmla="*/ 2718435 w 3008034"/>
                  <a:gd name="connsiteY92" fmla="*/ 2621280 h 3680460"/>
                  <a:gd name="connsiteX93" fmla="*/ 2726055 w 3008034"/>
                  <a:gd name="connsiteY93" fmla="*/ 2590800 h 3680460"/>
                  <a:gd name="connsiteX94" fmla="*/ 2748915 w 3008034"/>
                  <a:gd name="connsiteY94" fmla="*/ 2545080 h 3680460"/>
                  <a:gd name="connsiteX95" fmla="*/ 2779395 w 3008034"/>
                  <a:gd name="connsiteY95" fmla="*/ 2484120 h 3680460"/>
                  <a:gd name="connsiteX96" fmla="*/ 2802255 w 3008034"/>
                  <a:gd name="connsiteY96" fmla="*/ 2407920 h 3680460"/>
                  <a:gd name="connsiteX97" fmla="*/ 2832735 w 3008034"/>
                  <a:gd name="connsiteY97" fmla="*/ 2324100 h 3680460"/>
                  <a:gd name="connsiteX98" fmla="*/ 2847975 w 3008034"/>
                  <a:gd name="connsiteY98" fmla="*/ 2247900 h 3680460"/>
                  <a:gd name="connsiteX99" fmla="*/ 2863215 w 3008034"/>
                  <a:gd name="connsiteY99" fmla="*/ 2194560 h 3680460"/>
                  <a:gd name="connsiteX100" fmla="*/ 2878455 w 3008034"/>
                  <a:gd name="connsiteY100" fmla="*/ 2148840 h 3680460"/>
                  <a:gd name="connsiteX101" fmla="*/ 2901315 w 3008034"/>
                  <a:gd name="connsiteY101" fmla="*/ 2087880 h 3680460"/>
                  <a:gd name="connsiteX102" fmla="*/ 2908935 w 3008034"/>
                  <a:gd name="connsiteY102" fmla="*/ 2049780 h 3680460"/>
                  <a:gd name="connsiteX103" fmla="*/ 2924175 w 3008034"/>
                  <a:gd name="connsiteY103" fmla="*/ 1844040 h 3680460"/>
                  <a:gd name="connsiteX104" fmla="*/ 2908935 w 3008034"/>
                  <a:gd name="connsiteY104" fmla="*/ 1470660 h 3680460"/>
                  <a:gd name="connsiteX105" fmla="*/ 2886075 w 3008034"/>
                  <a:gd name="connsiteY105" fmla="*/ 1371600 h 3680460"/>
                  <a:gd name="connsiteX106" fmla="*/ 2870835 w 3008034"/>
                  <a:gd name="connsiteY106" fmla="*/ 1341120 h 3680460"/>
                  <a:gd name="connsiteX107" fmla="*/ 2847975 w 3008034"/>
                  <a:gd name="connsiteY107" fmla="*/ 1272540 h 3680460"/>
                  <a:gd name="connsiteX108" fmla="*/ 2840355 w 3008034"/>
                  <a:gd name="connsiteY108" fmla="*/ 1234440 h 3680460"/>
                  <a:gd name="connsiteX109" fmla="*/ 2817495 w 3008034"/>
                  <a:gd name="connsiteY109" fmla="*/ 1196340 h 3680460"/>
                  <a:gd name="connsiteX110" fmla="*/ 2802255 w 3008034"/>
                  <a:gd name="connsiteY110" fmla="*/ 1165860 h 3680460"/>
                  <a:gd name="connsiteX111" fmla="*/ 2771775 w 3008034"/>
                  <a:gd name="connsiteY111" fmla="*/ 1127760 h 3680460"/>
                  <a:gd name="connsiteX112" fmla="*/ 2756535 w 3008034"/>
                  <a:gd name="connsiteY112" fmla="*/ 1089660 h 3680460"/>
                  <a:gd name="connsiteX113" fmla="*/ 2726055 w 3008034"/>
                  <a:gd name="connsiteY113" fmla="*/ 1043940 h 3680460"/>
                  <a:gd name="connsiteX114" fmla="*/ 2718435 w 3008034"/>
                  <a:gd name="connsiteY114" fmla="*/ 1021080 h 3680460"/>
                  <a:gd name="connsiteX115" fmla="*/ 2672715 w 3008034"/>
                  <a:gd name="connsiteY115" fmla="*/ 937260 h 3680460"/>
                  <a:gd name="connsiteX116" fmla="*/ 2649855 w 3008034"/>
                  <a:gd name="connsiteY116" fmla="*/ 876300 h 3680460"/>
                  <a:gd name="connsiteX117" fmla="*/ 2634615 w 3008034"/>
                  <a:gd name="connsiteY117" fmla="*/ 845820 h 3680460"/>
                  <a:gd name="connsiteX118" fmla="*/ 2626995 w 3008034"/>
                  <a:gd name="connsiteY118" fmla="*/ 822960 h 3680460"/>
                  <a:gd name="connsiteX119" fmla="*/ 2611755 w 3008034"/>
                  <a:gd name="connsiteY119" fmla="*/ 800100 h 3680460"/>
                  <a:gd name="connsiteX120" fmla="*/ 2588895 w 3008034"/>
                  <a:gd name="connsiteY120" fmla="*/ 739140 h 3680460"/>
                  <a:gd name="connsiteX121" fmla="*/ 2448878 w 3008034"/>
                  <a:gd name="connsiteY121" fmla="*/ 621983 h 3680460"/>
                  <a:gd name="connsiteX122" fmla="*/ 2291715 w 3008034"/>
                  <a:gd name="connsiteY122" fmla="*/ 458152 h 3680460"/>
                  <a:gd name="connsiteX123" fmla="*/ 2227898 w 3008034"/>
                  <a:gd name="connsiteY123" fmla="*/ 406717 h 3680460"/>
                  <a:gd name="connsiteX124" fmla="*/ 2093595 w 3008034"/>
                  <a:gd name="connsiteY124" fmla="*/ 312420 h 3680460"/>
                  <a:gd name="connsiteX125" fmla="*/ 2032635 w 3008034"/>
                  <a:gd name="connsiteY125" fmla="*/ 266700 h 3680460"/>
                  <a:gd name="connsiteX126" fmla="*/ 1994535 w 3008034"/>
                  <a:gd name="connsiteY126" fmla="*/ 251460 h 3680460"/>
                  <a:gd name="connsiteX127" fmla="*/ 1948815 w 3008034"/>
                  <a:gd name="connsiteY127" fmla="*/ 220980 h 3680460"/>
                  <a:gd name="connsiteX128" fmla="*/ 1887855 w 3008034"/>
                  <a:gd name="connsiteY12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34515 w 3008034"/>
                  <a:gd name="connsiteY68" fmla="*/ 3429000 h 3680460"/>
                  <a:gd name="connsiteX69" fmla="*/ 1864995 w 3008034"/>
                  <a:gd name="connsiteY69" fmla="*/ 3421380 h 3680460"/>
                  <a:gd name="connsiteX70" fmla="*/ 1918335 w 3008034"/>
                  <a:gd name="connsiteY70" fmla="*/ 3398520 h 3680460"/>
                  <a:gd name="connsiteX71" fmla="*/ 1941195 w 3008034"/>
                  <a:gd name="connsiteY71" fmla="*/ 3390900 h 3680460"/>
                  <a:gd name="connsiteX72" fmla="*/ 1994535 w 3008034"/>
                  <a:gd name="connsiteY72" fmla="*/ 3360420 h 3680460"/>
                  <a:gd name="connsiteX73" fmla="*/ 2032635 w 3008034"/>
                  <a:gd name="connsiteY73" fmla="*/ 3352800 h 3680460"/>
                  <a:gd name="connsiteX74" fmla="*/ 2070735 w 3008034"/>
                  <a:gd name="connsiteY74" fmla="*/ 3337560 h 3680460"/>
                  <a:gd name="connsiteX75" fmla="*/ 2146935 w 3008034"/>
                  <a:gd name="connsiteY75" fmla="*/ 3299460 h 3680460"/>
                  <a:gd name="connsiteX76" fmla="*/ 2169795 w 3008034"/>
                  <a:gd name="connsiteY76" fmla="*/ 3284220 h 3680460"/>
                  <a:gd name="connsiteX77" fmla="*/ 2200275 w 3008034"/>
                  <a:gd name="connsiteY77" fmla="*/ 3276600 h 3680460"/>
                  <a:gd name="connsiteX78" fmla="*/ 2253615 w 3008034"/>
                  <a:gd name="connsiteY78" fmla="*/ 3230880 h 3680460"/>
                  <a:gd name="connsiteX79" fmla="*/ 2337435 w 3008034"/>
                  <a:gd name="connsiteY79" fmla="*/ 3154680 h 3680460"/>
                  <a:gd name="connsiteX80" fmla="*/ 2390775 w 3008034"/>
                  <a:gd name="connsiteY80" fmla="*/ 3070860 h 3680460"/>
                  <a:gd name="connsiteX81" fmla="*/ 2406015 w 3008034"/>
                  <a:gd name="connsiteY81" fmla="*/ 3048000 h 3680460"/>
                  <a:gd name="connsiteX82" fmla="*/ 2436495 w 3008034"/>
                  <a:gd name="connsiteY82" fmla="*/ 3032760 h 3680460"/>
                  <a:gd name="connsiteX83" fmla="*/ 2459355 w 3008034"/>
                  <a:gd name="connsiteY83" fmla="*/ 3009900 h 3680460"/>
                  <a:gd name="connsiteX84" fmla="*/ 2527935 w 3008034"/>
                  <a:gd name="connsiteY84" fmla="*/ 2926080 h 3680460"/>
                  <a:gd name="connsiteX85" fmla="*/ 2566035 w 3008034"/>
                  <a:gd name="connsiteY85" fmla="*/ 2880360 h 3680460"/>
                  <a:gd name="connsiteX86" fmla="*/ 2619375 w 3008034"/>
                  <a:gd name="connsiteY86" fmla="*/ 2811780 h 3680460"/>
                  <a:gd name="connsiteX87" fmla="*/ 2634615 w 3008034"/>
                  <a:gd name="connsiteY87" fmla="*/ 2773680 h 3680460"/>
                  <a:gd name="connsiteX88" fmla="*/ 2665095 w 3008034"/>
                  <a:gd name="connsiteY88" fmla="*/ 2727960 h 3680460"/>
                  <a:gd name="connsiteX89" fmla="*/ 2680335 w 3008034"/>
                  <a:gd name="connsiteY89" fmla="*/ 2705100 h 3680460"/>
                  <a:gd name="connsiteX90" fmla="*/ 2695575 w 3008034"/>
                  <a:gd name="connsiteY90" fmla="*/ 2667000 h 3680460"/>
                  <a:gd name="connsiteX91" fmla="*/ 2718435 w 3008034"/>
                  <a:gd name="connsiteY91" fmla="*/ 2621280 h 3680460"/>
                  <a:gd name="connsiteX92" fmla="*/ 2726055 w 3008034"/>
                  <a:gd name="connsiteY92" fmla="*/ 2590800 h 3680460"/>
                  <a:gd name="connsiteX93" fmla="*/ 2748915 w 3008034"/>
                  <a:gd name="connsiteY93" fmla="*/ 2545080 h 3680460"/>
                  <a:gd name="connsiteX94" fmla="*/ 2779395 w 3008034"/>
                  <a:gd name="connsiteY94" fmla="*/ 2484120 h 3680460"/>
                  <a:gd name="connsiteX95" fmla="*/ 2802255 w 3008034"/>
                  <a:gd name="connsiteY95" fmla="*/ 2407920 h 3680460"/>
                  <a:gd name="connsiteX96" fmla="*/ 2832735 w 3008034"/>
                  <a:gd name="connsiteY96" fmla="*/ 2324100 h 3680460"/>
                  <a:gd name="connsiteX97" fmla="*/ 2847975 w 3008034"/>
                  <a:gd name="connsiteY97" fmla="*/ 2247900 h 3680460"/>
                  <a:gd name="connsiteX98" fmla="*/ 2863215 w 3008034"/>
                  <a:gd name="connsiteY98" fmla="*/ 2194560 h 3680460"/>
                  <a:gd name="connsiteX99" fmla="*/ 2878455 w 3008034"/>
                  <a:gd name="connsiteY99" fmla="*/ 2148840 h 3680460"/>
                  <a:gd name="connsiteX100" fmla="*/ 2901315 w 3008034"/>
                  <a:gd name="connsiteY100" fmla="*/ 2087880 h 3680460"/>
                  <a:gd name="connsiteX101" fmla="*/ 2908935 w 3008034"/>
                  <a:gd name="connsiteY101" fmla="*/ 2049780 h 3680460"/>
                  <a:gd name="connsiteX102" fmla="*/ 2924175 w 3008034"/>
                  <a:gd name="connsiteY102" fmla="*/ 1844040 h 3680460"/>
                  <a:gd name="connsiteX103" fmla="*/ 2908935 w 3008034"/>
                  <a:gd name="connsiteY103" fmla="*/ 1470660 h 3680460"/>
                  <a:gd name="connsiteX104" fmla="*/ 2886075 w 3008034"/>
                  <a:gd name="connsiteY104" fmla="*/ 1371600 h 3680460"/>
                  <a:gd name="connsiteX105" fmla="*/ 2870835 w 3008034"/>
                  <a:gd name="connsiteY105" fmla="*/ 1341120 h 3680460"/>
                  <a:gd name="connsiteX106" fmla="*/ 2847975 w 3008034"/>
                  <a:gd name="connsiteY106" fmla="*/ 1272540 h 3680460"/>
                  <a:gd name="connsiteX107" fmla="*/ 2840355 w 3008034"/>
                  <a:gd name="connsiteY107" fmla="*/ 1234440 h 3680460"/>
                  <a:gd name="connsiteX108" fmla="*/ 2817495 w 3008034"/>
                  <a:gd name="connsiteY108" fmla="*/ 1196340 h 3680460"/>
                  <a:gd name="connsiteX109" fmla="*/ 2802255 w 3008034"/>
                  <a:gd name="connsiteY109" fmla="*/ 1165860 h 3680460"/>
                  <a:gd name="connsiteX110" fmla="*/ 2771775 w 3008034"/>
                  <a:gd name="connsiteY110" fmla="*/ 1127760 h 3680460"/>
                  <a:gd name="connsiteX111" fmla="*/ 2756535 w 3008034"/>
                  <a:gd name="connsiteY111" fmla="*/ 1089660 h 3680460"/>
                  <a:gd name="connsiteX112" fmla="*/ 2726055 w 3008034"/>
                  <a:gd name="connsiteY112" fmla="*/ 1043940 h 3680460"/>
                  <a:gd name="connsiteX113" fmla="*/ 2718435 w 3008034"/>
                  <a:gd name="connsiteY113" fmla="*/ 1021080 h 3680460"/>
                  <a:gd name="connsiteX114" fmla="*/ 2672715 w 3008034"/>
                  <a:gd name="connsiteY114" fmla="*/ 937260 h 3680460"/>
                  <a:gd name="connsiteX115" fmla="*/ 2649855 w 3008034"/>
                  <a:gd name="connsiteY115" fmla="*/ 876300 h 3680460"/>
                  <a:gd name="connsiteX116" fmla="*/ 2634615 w 3008034"/>
                  <a:gd name="connsiteY116" fmla="*/ 845820 h 3680460"/>
                  <a:gd name="connsiteX117" fmla="*/ 2626995 w 3008034"/>
                  <a:gd name="connsiteY117" fmla="*/ 822960 h 3680460"/>
                  <a:gd name="connsiteX118" fmla="*/ 2611755 w 3008034"/>
                  <a:gd name="connsiteY118" fmla="*/ 800100 h 3680460"/>
                  <a:gd name="connsiteX119" fmla="*/ 2588895 w 3008034"/>
                  <a:gd name="connsiteY119" fmla="*/ 739140 h 3680460"/>
                  <a:gd name="connsiteX120" fmla="*/ 2448878 w 3008034"/>
                  <a:gd name="connsiteY120" fmla="*/ 621983 h 3680460"/>
                  <a:gd name="connsiteX121" fmla="*/ 2291715 w 3008034"/>
                  <a:gd name="connsiteY121" fmla="*/ 458152 h 3680460"/>
                  <a:gd name="connsiteX122" fmla="*/ 2227898 w 3008034"/>
                  <a:gd name="connsiteY122" fmla="*/ 406717 h 3680460"/>
                  <a:gd name="connsiteX123" fmla="*/ 2093595 w 3008034"/>
                  <a:gd name="connsiteY123" fmla="*/ 312420 h 3680460"/>
                  <a:gd name="connsiteX124" fmla="*/ 2032635 w 3008034"/>
                  <a:gd name="connsiteY124" fmla="*/ 266700 h 3680460"/>
                  <a:gd name="connsiteX125" fmla="*/ 1994535 w 3008034"/>
                  <a:gd name="connsiteY125" fmla="*/ 251460 h 3680460"/>
                  <a:gd name="connsiteX126" fmla="*/ 1948815 w 3008034"/>
                  <a:gd name="connsiteY126" fmla="*/ 220980 h 3680460"/>
                  <a:gd name="connsiteX127" fmla="*/ 1887855 w 3008034"/>
                  <a:gd name="connsiteY12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253615 w 3008034"/>
                  <a:gd name="connsiteY77" fmla="*/ 3230880 h 3680460"/>
                  <a:gd name="connsiteX78" fmla="*/ 2337435 w 3008034"/>
                  <a:gd name="connsiteY78" fmla="*/ 3154680 h 3680460"/>
                  <a:gd name="connsiteX79" fmla="*/ 2390775 w 3008034"/>
                  <a:gd name="connsiteY79" fmla="*/ 3070860 h 3680460"/>
                  <a:gd name="connsiteX80" fmla="*/ 2406015 w 3008034"/>
                  <a:gd name="connsiteY80" fmla="*/ 3048000 h 3680460"/>
                  <a:gd name="connsiteX81" fmla="*/ 2436495 w 3008034"/>
                  <a:gd name="connsiteY81" fmla="*/ 3032760 h 3680460"/>
                  <a:gd name="connsiteX82" fmla="*/ 2459355 w 3008034"/>
                  <a:gd name="connsiteY82" fmla="*/ 3009900 h 3680460"/>
                  <a:gd name="connsiteX83" fmla="*/ 2527935 w 3008034"/>
                  <a:gd name="connsiteY83" fmla="*/ 2926080 h 3680460"/>
                  <a:gd name="connsiteX84" fmla="*/ 2566035 w 3008034"/>
                  <a:gd name="connsiteY84" fmla="*/ 2880360 h 3680460"/>
                  <a:gd name="connsiteX85" fmla="*/ 2619375 w 3008034"/>
                  <a:gd name="connsiteY85" fmla="*/ 2811780 h 3680460"/>
                  <a:gd name="connsiteX86" fmla="*/ 2634615 w 3008034"/>
                  <a:gd name="connsiteY86" fmla="*/ 2773680 h 3680460"/>
                  <a:gd name="connsiteX87" fmla="*/ 2665095 w 3008034"/>
                  <a:gd name="connsiteY87" fmla="*/ 2727960 h 3680460"/>
                  <a:gd name="connsiteX88" fmla="*/ 2680335 w 3008034"/>
                  <a:gd name="connsiteY88" fmla="*/ 2705100 h 3680460"/>
                  <a:gd name="connsiteX89" fmla="*/ 2695575 w 3008034"/>
                  <a:gd name="connsiteY89" fmla="*/ 2667000 h 3680460"/>
                  <a:gd name="connsiteX90" fmla="*/ 2718435 w 3008034"/>
                  <a:gd name="connsiteY90" fmla="*/ 2621280 h 3680460"/>
                  <a:gd name="connsiteX91" fmla="*/ 2726055 w 3008034"/>
                  <a:gd name="connsiteY91" fmla="*/ 2590800 h 3680460"/>
                  <a:gd name="connsiteX92" fmla="*/ 2748915 w 3008034"/>
                  <a:gd name="connsiteY92" fmla="*/ 2545080 h 3680460"/>
                  <a:gd name="connsiteX93" fmla="*/ 2779395 w 3008034"/>
                  <a:gd name="connsiteY93" fmla="*/ 2484120 h 3680460"/>
                  <a:gd name="connsiteX94" fmla="*/ 2802255 w 3008034"/>
                  <a:gd name="connsiteY94" fmla="*/ 2407920 h 3680460"/>
                  <a:gd name="connsiteX95" fmla="*/ 2832735 w 3008034"/>
                  <a:gd name="connsiteY95" fmla="*/ 2324100 h 3680460"/>
                  <a:gd name="connsiteX96" fmla="*/ 2847975 w 3008034"/>
                  <a:gd name="connsiteY96" fmla="*/ 2247900 h 3680460"/>
                  <a:gd name="connsiteX97" fmla="*/ 2863215 w 3008034"/>
                  <a:gd name="connsiteY97" fmla="*/ 2194560 h 3680460"/>
                  <a:gd name="connsiteX98" fmla="*/ 2878455 w 3008034"/>
                  <a:gd name="connsiteY98" fmla="*/ 2148840 h 3680460"/>
                  <a:gd name="connsiteX99" fmla="*/ 2901315 w 3008034"/>
                  <a:gd name="connsiteY99" fmla="*/ 2087880 h 3680460"/>
                  <a:gd name="connsiteX100" fmla="*/ 2908935 w 3008034"/>
                  <a:gd name="connsiteY100" fmla="*/ 2049780 h 3680460"/>
                  <a:gd name="connsiteX101" fmla="*/ 2924175 w 3008034"/>
                  <a:gd name="connsiteY101" fmla="*/ 1844040 h 3680460"/>
                  <a:gd name="connsiteX102" fmla="*/ 2908935 w 3008034"/>
                  <a:gd name="connsiteY102" fmla="*/ 1470660 h 3680460"/>
                  <a:gd name="connsiteX103" fmla="*/ 2886075 w 3008034"/>
                  <a:gd name="connsiteY103" fmla="*/ 1371600 h 3680460"/>
                  <a:gd name="connsiteX104" fmla="*/ 2870835 w 3008034"/>
                  <a:gd name="connsiteY104" fmla="*/ 1341120 h 3680460"/>
                  <a:gd name="connsiteX105" fmla="*/ 2847975 w 3008034"/>
                  <a:gd name="connsiteY105" fmla="*/ 1272540 h 3680460"/>
                  <a:gd name="connsiteX106" fmla="*/ 2840355 w 3008034"/>
                  <a:gd name="connsiteY106" fmla="*/ 1234440 h 3680460"/>
                  <a:gd name="connsiteX107" fmla="*/ 2817495 w 3008034"/>
                  <a:gd name="connsiteY107" fmla="*/ 1196340 h 3680460"/>
                  <a:gd name="connsiteX108" fmla="*/ 2802255 w 3008034"/>
                  <a:gd name="connsiteY108" fmla="*/ 1165860 h 3680460"/>
                  <a:gd name="connsiteX109" fmla="*/ 2771775 w 3008034"/>
                  <a:gd name="connsiteY109" fmla="*/ 1127760 h 3680460"/>
                  <a:gd name="connsiteX110" fmla="*/ 2756535 w 3008034"/>
                  <a:gd name="connsiteY110" fmla="*/ 1089660 h 3680460"/>
                  <a:gd name="connsiteX111" fmla="*/ 2726055 w 3008034"/>
                  <a:gd name="connsiteY111" fmla="*/ 1043940 h 3680460"/>
                  <a:gd name="connsiteX112" fmla="*/ 2718435 w 3008034"/>
                  <a:gd name="connsiteY112" fmla="*/ 1021080 h 3680460"/>
                  <a:gd name="connsiteX113" fmla="*/ 2672715 w 3008034"/>
                  <a:gd name="connsiteY113" fmla="*/ 937260 h 3680460"/>
                  <a:gd name="connsiteX114" fmla="*/ 2649855 w 3008034"/>
                  <a:gd name="connsiteY114" fmla="*/ 876300 h 3680460"/>
                  <a:gd name="connsiteX115" fmla="*/ 2634615 w 3008034"/>
                  <a:gd name="connsiteY115" fmla="*/ 845820 h 3680460"/>
                  <a:gd name="connsiteX116" fmla="*/ 2626995 w 3008034"/>
                  <a:gd name="connsiteY116" fmla="*/ 822960 h 3680460"/>
                  <a:gd name="connsiteX117" fmla="*/ 2611755 w 3008034"/>
                  <a:gd name="connsiteY117" fmla="*/ 800100 h 3680460"/>
                  <a:gd name="connsiteX118" fmla="*/ 2588895 w 3008034"/>
                  <a:gd name="connsiteY118" fmla="*/ 739140 h 3680460"/>
                  <a:gd name="connsiteX119" fmla="*/ 2448878 w 3008034"/>
                  <a:gd name="connsiteY119" fmla="*/ 621983 h 3680460"/>
                  <a:gd name="connsiteX120" fmla="*/ 2291715 w 3008034"/>
                  <a:gd name="connsiteY120" fmla="*/ 458152 h 3680460"/>
                  <a:gd name="connsiteX121" fmla="*/ 2227898 w 3008034"/>
                  <a:gd name="connsiteY121" fmla="*/ 406717 h 3680460"/>
                  <a:gd name="connsiteX122" fmla="*/ 2093595 w 3008034"/>
                  <a:gd name="connsiteY122" fmla="*/ 312420 h 3680460"/>
                  <a:gd name="connsiteX123" fmla="*/ 2032635 w 3008034"/>
                  <a:gd name="connsiteY123" fmla="*/ 266700 h 3680460"/>
                  <a:gd name="connsiteX124" fmla="*/ 1994535 w 3008034"/>
                  <a:gd name="connsiteY124" fmla="*/ 251460 h 3680460"/>
                  <a:gd name="connsiteX125" fmla="*/ 1948815 w 3008034"/>
                  <a:gd name="connsiteY125" fmla="*/ 220980 h 3680460"/>
                  <a:gd name="connsiteX126" fmla="*/ 1887855 w 3008034"/>
                  <a:gd name="connsiteY12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337435 w 3008034"/>
                  <a:gd name="connsiteY77" fmla="*/ 3154680 h 3680460"/>
                  <a:gd name="connsiteX78" fmla="*/ 2390775 w 3008034"/>
                  <a:gd name="connsiteY78" fmla="*/ 3070860 h 3680460"/>
                  <a:gd name="connsiteX79" fmla="*/ 2406015 w 3008034"/>
                  <a:gd name="connsiteY79" fmla="*/ 3048000 h 3680460"/>
                  <a:gd name="connsiteX80" fmla="*/ 2436495 w 3008034"/>
                  <a:gd name="connsiteY80" fmla="*/ 3032760 h 3680460"/>
                  <a:gd name="connsiteX81" fmla="*/ 2459355 w 3008034"/>
                  <a:gd name="connsiteY81" fmla="*/ 3009900 h 3680460"/>
                  <a:gd name="connsiteX82" fmla="*/ 2527935 w 3008034"/>
                  <a:gd name="connsiteY82" fmla="*/ 2926080 h 3680460"/>
                  <a:gd name="connsiteX83" fmla="*/ 2566035 w 3008034"/>
                  <a:gd name="connsiteY83" fmla="*/ 2880360 h 3680460"/>
                  <a:gd name="connsiteX84" fmla="*/ 2619375 w 3008034"/>
                  <a:gd name="connsiteY84" fmla="*/ 2811780 h 3680460"/>
                  <a:gd name="connsiteX85" fmla="*/ 2634615 w 3008034"/>
                  <a:gd name="connsiteY85" fmla="*/ 2773680 h 3680460"/>
                  <a:gd name="connsiteX86" fmla="*/ 2665095 w 3008034"/>
                  <a:gd name="connsiteY86" fmla="*/ 2727960 h 3680460"/>
                  <a:gd name="connsiteX87" fmla="*/ 2680335 w 3008034"/>
                  <a:gd name="connsiteY87" fmla="*/ 2705100 h 3680460"/>
                  <a:gd name="connsiteX88" fmla="*/ 2695575 w 3008034"/>
                  <a:gd name="connsiteY88" fmla="*/ 2667000 h 3680460"/>
                  <a:gd name="connsiteX89" fmla="*/ 2718435 w 3008034"/>
                  <a:gd name="connsiteY89" fmla="*/ 2621280 h 3680460"/>
                  <a:gd name="connsiteX90" fmla="*/ 2726055 w 3008034"/>
                  <a:gd name="connsiteY90" fmla="*/ 2590800 h 3680460"/>
                  <a:gd name="connsiteX91" fmla="*/ 2748915 w 3008034"/>
                  <a:gd name="connsiteY91" fmla="*/ 2545080 h 3680460"/>
                  <a:gd name="connsiteX92" fmla="*/ 2779395 w 3008034"/>
                  <a:gd name="connsiteY92" fmla="*/ 2484120 h 3680460"/>
                  <a:gd name="connsiteX93" fmla="*/ 2802255 w 3008034"/>
                  <a:gd name="connsiteY93" fmla="*/ 2407920 h 3680460"/>
                  <a:gd name="connsiteX94" fmla="*/ 2832735 w 3008034"/>
                  <a:gd name="connsiteY94" fmla="*/ 2324100 h 3680460"/>
                  <a:gd name="connsiteX95" fmla="*/ 2847975 w 3008034"/>
                  <a:gd name="connsiteY95" fmla="*/ 2247900 h 3680460"/>
                  <a:gd name="connsiteX96" fmla="*/ 2863215 w 3008034"/>
                  <a:gd name="connsiteY96" fmla="*/ 2194560 h 3680460"/>
                  <a:gd name="connsiteX97" fmla="*/ 2878455 w 3008034"/>
                  <a:gd name="connsiteY97" fmla="*/ 2148840 h 3680460"/>
                  <a:gd name="connsiteX98" fmla="*/ 2901315 w 3008034"/>
                  <a:gd name="connsiteY98" fmla="*/ 2087880 h 3680460"/>
                  <a:gd name="connsiteX99" fmla="*/ 2908935 w 3008034"/>
                  <a:gd name="connsiteY99" fmla="*/ 2049780 h 3680460"/>
                  <a:gd name="connsiteX100" fmla="*/ 2924175 w 3008034"/>
                  <a:gd name="connsiteY100" fmla="*/ 1844040 h 3680460"/>
                  <a:gd name="connsiteX101" fmla="*/ 2908935 w 3008034"/>
                  <a:gd name="connsiteY101" fmla="*/ 1470660 h 3680460"/>
                  <a:gd name="connsiteX102" fmla="*/ 2886075 w 3008034"/>
                  <a:gd name="connsiteY102" fmla="*/ 1371600 h 3680460"/>
                  <a:gd name="connsiteX103" fmla="*/ 2870835 w 3008034"/>
                  <a:gd name="connsiteY103" fmla="*/ 1341120 h 3680460"/>
                  <a:gd name="connsiteX104" fmla="*/ 2847975 w 3008034"/>
                  <a:gd name="connsiteY104" fmla="*/ 1272540 h 3680460"/>
                  <a:gd name="connsiteX105" fmla="*/ 2840355 w 3008034"/>
                  <a:gd name="connsiteY105" fmla="*/ 1234440 h 3680460"/>
                  <a:gd name="connsiteX106" fmla="*/ 2817495 w 3008034"/>
                  <a:gd name="connsiteY106" fmla="*/ 1196340 h 3680460"/>
                  <a:gd name="connsiteX107" fmla="*/ 2802255 w 3008034"/>
                  <a:gd name="connsiteY107" fmla="*/ 1165860 h 3680460"/>
                  <a:gd name="connsiteX108" fmla="*/ 2771775 w 3008034"/>
                  <a:gd name="connsiteY108" fmla="*/ 1127760 h 3680460"/>
                  <a:gd name="connsiteX109" fmla="*/ 2756535 w 3008034"/>
                  <a:gd name="connsiteY109" fmla="*/ 1089660 h 3680460"/>
                  <a:gd name="connsiteX110" fmla="*/ 2726055 w 3008034"/>
                  <a:gd name="connsiteY110" fmla="*/ 1043940 h 3680460"/>
                  <a:gd name="connsiteX111" fmla="*/ 2718435 w 3008034"/>
                  <a:gd name="connsiteY111" fmla="*/ 1021080 h 3680460"/>
                  <a:gd name="connsiteX112" fmla="*/ 2672715 w 3008034"/>
                  <a:gd name="connsiteY112" fmla="*/ 937260 h 3680460"/>
                  <a:gd name="connsiteX113" fmla="*/ 2649855 w 3008034"/>
                  <a:gd name="connsiteY113" fmla="*/ 876300 h 3680460"/>
                  <a:gd name="connsiteX114" fmla="*/ 2634615 w 3008034"/>
                  <a:gd name="connsiteY114" fmla="*/ 845820 h 3680460"/>
                  <a:gd name="connsiteX115" fmla="*/ 2626995 w 3008034"/>
                  <a:gd name="connsiteY115" fmla="*/ 822960 h 3680460"/>
                  <a:gd name="connsiteX116" fmla="*/ 2611755 w 3008034"/>
                  <a:gd name="connsiteY116" fmla="*/ 800100 h 3680460"/>
                  <a:gd name="connsiteX117" fmla="*/ 2588895 w 3008034"/>
                  <a:gd name="connsiteY117" fmla="*/ 739140 h 3680460"/>
                  <a:gd name="connsiteX118" fmla="*/ 2448878 w 3008034"/>
                  <a:gd name="connsiteY118" fmla="*/ 621983 h 3680460"/>
                  <a:gd name="connsiteX119" fmla="*/ 2291715 w 3008034"/>
                  <a:gd name="connsiteY119" fmla="*/ 458152 h 3680460"/>
                  <a:gd name="connsiteX120" fmla="*/ 2227898 w 3008034"/>
                  <a:gd name="connsiteY120" fmla="*/ 406717 h 3680460"/>
                  <a:gd name="connsiteX121" fmla="*/ 2093595 w 3008034"/>
                  <a:gd name="connsiteY121" fmla="*/ 312420 h 3680460"/>
                  <a:gd name="connsiteX122" fmla="*/ 2032635 w 3008034"/>
                  <a:gd name="connsiteY122" fmla="*/ 266700 h 3680460"/>
                  <a:gd name="connsiteX123" fmla="*/ 1994535 w 3008034"/>
                  <a:gd name="connsiteY123" fmla="*/ 251460 h 3680460"/>
                  <a:gd name="connsiteX124" fmla="*/ 1948815 w 3008034"/>
                  <a:gd name="connsiteY124" fmla="*/ 220980 h 3680460"/>
                  <a:gd name="connsiteX125" fmla="*/ 1887855 w 3008034"/>
                  <a:gd name="connsiteY12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337435 w 3008034"/>
                  <a:gd name="connsiteY76" fmla="*/ 3154680 h 3680460"/>
                  <a:gd name="connsiteX77" fmla="*/ 2390775 w 3008034"/>
                  <a:gd name="connsiteY77" fmla="*/ 3070860 h 3680460"/>
                  <a:gd name="connsiteX78" fmla="*/ 2406015 w 3008034"/>
                  <a:gd name="connsiteY78" fmla="*/ 3048000 h 3680460"/>
                  <a:gd name="connsiteX79" fmla="*/ 2436495 w 3008034"/>
                  <a:gd name="connsiteY79" fmla="*/ 3032760 h 3680460"/>
                  <a:gd name="connsiteX80" fmla="*/ 2459355 w 3008034"/>
                  <a:gd name="connsiteY80" fmla="*/ 3009900 h 3680460"/>
                  <a:gd name="connsiteX81" fmla="*/ 2527935 w 3008034"/>
                  <a:gd name="connsiteY81" fmla="*/ 2926080 h 3680460"/>
                  <a:gd name="connsiteX82" fmla="*/ 2566035 w 3008034"/>
                  <a:gd name="connsiteY82" fmla="*/ 2880360 h 3680460"/>
                  <a:gd name="connsiteX83" fmla="*/ 2619375 w 3008034"/>
                  <a:gd name="connsiteY83" fmla="*/ 2811780 h 3680460"/>
                  <a:gd name="connsiteX84" fmla="*/ 2634615 w 3008034"/>
                  <a:gd name="connsiteY84" fmla="*/ 2773680 h 3680460"/>
                  <a:gd name="connsiteX85" fmla="*/ 2665095 w 3008034"/>
                  <a:gd name="connsiteY85" fmla="*/ 2727960 h 3680460"/>
                  <a:gd name="connsiteX86" fmla="*/ 2680335 w 3008034"/>
                  <a:gd name="connsiteY86" fmla="*/ 2705100 h 3680460"/>
                  <a:gd name="connsiteX87" fmla="*/ 2695575 w 3008034"/>
                  <a:gd name="connsiteY87" fmla="*/ 2667000 h 3680460"/>
                  <a:gd name="connsiteX88" fmla="*/ 2718435 w 3008034"/>
                  <a:gd name="connsiteY88" fmla="*/ 2621280 h 3680460"/>
                  <a:gd name="connsiteX89" fmla="*/ 2726055 w 3008034"/>
                  <a:gd name="connsiteY89" fmla="*/ 2590800 h 3680460"/>
                  <a:gd name="connsiteX90" fmla="*/ 2748915 w 3008034"/>
                  <a:gd name="connsiteY90" fmla="*/ 2545080 h 3680460"/>
                  <a:gd name="connsiteX91" fmla="*/ 2779395 w 3008034"/>
                  <a:gd name="connsiteY91" fmla="*/ 2484120 h 3680460"/>
                  <a:gd name="connsiteX92" fmla="*/ 2802255 w 3008034"/>
                  <a:gd name="connsiteY92" fmla="*/ 2407920 h 3680460"/>
                  <a:gd name="connsiteX93" fmla="*/ 2832735 w 3008034"/>
                  <a:gd name="connsiteY93" fmla="*/ 2324100 h 3680460"/>
                  <a:gd name="connsiteX94" fmla="*/ 2847975 w 3008034"/>
                  <a:gd name="connsiteY94" fmla="*/ 2247900 h 3680460"/>
                  <a:gd name="connsiteX95" fmla="*/ 2863215 w 3008034"/>
                  <a:gd name="connsiteY95" fmla="*/ 2194560 h 3680460"/>
                  <a:gd name="connsiteX96" fmla="*/ 2878455 w 3008034"/>
                  <a:gd name="connsiteY96" fmla="*/ 2148840 h 3680460"/>
                  <a:gd name="connsiteX97" fmla="*/ 2901315 w 3008034"/>
                  <a:gd name="connsiteY97" fmla="*/ 2087880 h 3680460"/>
                  <a:gd name="connsiteX98" fmla="*/ 2908935 w 3008034"/>
                  <a:gd name="connsiteY98" fmla="*/ 2049780 h 3680460"/>
                  <a:gd name="connsiteX99" fmla="*/ 2924175 w 3008034"/>
                  <a:gd name="connsiteY99" fmla="*/ 1844040 h 3680460"/>
                  <a:gd name="connsiteX100" fmla="*/ 2908935 w 3008034"/>
                  <a:gd name="connsiteY100" fmla="*/ 1470660 h 3680460"/>
                  <a:gd name="connsiteX101" fmla="*/ 2886075 w 3008034"/>
                  <a:gd name="connsiteY101" fmla="*/ 1371600 h 3680460"/>
                  <a:gd name="connsiteX102" fmla="*/ 2870835 w 3008034"/>
                  <a:gd name="connsiteY102" fmla="*/ 1341120 h 3680460"/>
                  <a:gd name="connsiteX103" fmla="*/ 2847975 w 3008034"/>
                  <a:gd name="connsiteY103" fmla="*/ 1272540 h 3680460"/>
                  <a:gd name="connsiteX104" fmla="*/ 2840355 w 3008034"/>
                  <a:gd name="connsiteY104" fmla="*/ 1234440 h 3680460"/>
                  <a:gd name="connsiteX105" fmla="*/ 2817495 w 3008034"/>
                  <a:gd name="connsiteY105" fmla="*/ 1196340 h 3680460"/>
                  <a:gd name="connsiteX106" fmla="*/ 2802255 w 3008034"/>
                  <a:gd name="connsiteY106" fmla="*/ 1165860 h 3680460"/>
                  <a:gd name="connsiteX107" fmla="*/ 2771775 w 3008034"/>
                  <a:gd name="connsiteY107" fmla="*/ 1127760 h 3680460"/>
                  <a:gd name="connsiteX108" fmla="*/ 2756535 w 3008034"/>
                  <a:gd name="connsiteY108" fmla="*/ 1089660 h 3680460"/>
                  <a:gd name="connsiteX109" fmla="*/ 2726055 w 3008034"/>
                  <a:gd name="connsiteY109" fmla="*/ 1043940 h 3680460"/>
                  <a:gd name="connsiteX110" fmla="*/ 2718435 w 3008034"/>
                  <a:gd name="connsiteY110" fmla="*/ 1021080 h 3680460"/>
                  <a:gd name="connsiteX111" fmla="*/ 2672715 w 3008034"/>
                  <a:gd name="connsiteY111" fmla="*/ 937260 h 3680460"/>
                  <a:gd name="connsiteX112" fmla="*/ 2649855 w 3008034"/>
                  <a:gd name="connsiteY112" fmla="*/ 876300 h 3680460"/>
                  <a:gd name="connsiteX113" fmla="*/ 2634615 w 3008034"/>
                  <a:gd name="connsiteY113" fmla="*/ 845820 h 3680460"/>
                  <a:gd name="connsiteX114" fmla="*/ 2626995 w 3008034"/>
                  <a:gd name="connsiteY114" fmla="*/ 822960 h 3680460"/>
                  <a:gd name="connsiteX115" fmla="*/ 2611755 w 3008034"/>
                  <a:gd name="connsiteY115" fmla="*/ 800100 h 3680460"/>
                  <a:gd name="connsiteX116" fmla="*/ 2588895 w 3008034"/>
                  <a:gd name="connsiteY116" fmla="*/ 739140 h 3680460"/>
                  <a:gd name="connsiteX117" fmla="*/ 2448878 w 3008034"/>
                  <a:gd name="connsiteY117" fmla="*/ 621983 h 3680460"/>
                  <a:gd name="connsiteX118" fmla="*/ 2291715 w 3008034"/>
                  <a:gd name="connsiteY118" fmla="*/ 458152 h 3680460"/>
                  <a:gd name="connsiteX119" fmla="*/ 2227898 w 3008034"/>
                  <a:gd name="connsiteY119" fmla="*/ 406717 h 3680460"/>
                  <a:gd name="connsiteX120" fmla="*/ 2093595 w 3008034"/>
                  <a:gd name="connsiteY120" fmla="*/ 312420 h 3680460"/>
                  <a:gd name="connsiteX121" fmla="*/ 2032635 w 3008034"/>
                  <a:gd name="connsiteY121" fmla="*/ 266700 h 3680460"/>
                  <a:gd name="connsiteX122" fmla="*/ 1994535 w 3008034"/>
                  <a:gd name="connsiteY122" fmla="*/ 251460 h 3680460"/>
                  <a:gd name="connsiteX123" fmla="*/ 1948815 w 3008034"/>
                  <a:gd name="connsiteY123" fmla="*/ 220980 h 3680460"/>
                  <a:gd name="connsiteX124" fmla="*/ 1887855 w 3008034"/>
                  <a:gd name="connsiteY12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36495 w 3008034"/>
                  <a:gd name="connsiteY77" fmla="*/ 3032760 h 3680460"/>
                  <a:gd name="connsiteX78" fmla="*/ 2459355 w 3008034"/>
                  <a:gd name="connsiteY78" fmla="*/ 3009900 h 3680460"/>
                  <a:gd name="connsiteX79" fmla="*/ 2527935 w 3008034"/>
                  <a:gd name="connsiteY79" fmla="*/ 2926080 h 3680460"/>
                  <a:gd name="connsiteX80" fmla="*/ 2566035 w 3008034"/>
                  <a:gd name="connsiteY80" fmla="*/ 2880360 h 3680460"/>
                  <a:gd name="connsiteX81" fmla="*/ 2619375 w 3008034"/>
                  <a:gd name="connsiteY81" fmla="*/ 2811780 h 3680460"/>
                  <a:gd name="connsiteX82" fmla="*/ 2634615 w 3008034"/>
                  <a:gd name="connsiteY82" fmla="*/ 2773680 h 3680460"/>
                  <a:gd name="connsiteX83" fmla="*/ 2665095 w 3008034"/>
                  <a:gd name="connsiteY83" fmla="*/ 2727960 h 3680460"/>
                  <a:gd name="connsiteX84" fmla="*/ 2680335 w 3008034"/>
                  <a:gd name="connsiteY84" fmla="*/ 2705100 h 3680460"/>
                  <a:gd name="connsiteX85" fmla="*/ 2695575 w 3008034"/>
                  <a:gd name="connsiteY85" fmla="*/ 2667000 h 3680460"/>
                  <a:gd name="connsiteX86" fmla="*/ 2718435 w 3008034"/>
                  <a:gd name="connsiteY86" fmla="*/ 2621280 h 3680460"/>
                  <a:gd name="connsiteX87" fmla="*/ 2726055 w 3008034"/>
                  <a:gd name="connsiteY87" fmla="*/ 2590800 h 3680460"/>
                  <a:gd name="connsiteX88" fmla="*/ 2748915 w 3008034"/>
                  <a:gd name="connsiteY88" fmla="*/ 2545080 h 3680460"/>
                  <a:gd name="connsiteX89" fmla="*/ 2779395 w 3008034"/>
                  <a:gd name="connsiteY89" fmla="*/ 2484120 h 3680460"/>
                  <a:gd name="connsiteX90" fmla="*/ 2802255 w 3008034"/>
                  <a:gd name="connsiteY90" fmla="*/ 2407920 h 3680460"/>
                  <a:gd name="connsiteX91" fmla="*/ 2832735 w 3008034"/>
                  <a:gd name="connsiteY91" fmla="*/ 2324100 h 3680460"/>
                  <a:gd name="connsiteX92" fmla="*/ 2847975 w 3008034"/>
                  <a:gd name="connsiteY92" fmla="*/ 2247900 h 3680460"/>
                  <a:gd name="connsiteX93" fmla="*/ 2863215 w 3008034"/>
                  <a:gd name="connsiteY93" fmla="*/ 2194560 h 3680460"/>
                  <a:gd name="connsiteX94" fmla="*/ 2878455 w 3008034"/>
                  <a:gd name="connsiteY94" fmla="*/ 2148840 h 3680460"/>
                  <a:gd name="connsiteX95" fmla="*/ 2901315 w 3008034"/>
                  <a:gd name="connsiteY95" fmla="*/ 2087880 h 3680460"/>
                  <a:gd name="connsiteX96" fmla="*/ 2908935 w 3008034"/>
                  <a:gd name="connsiteY96" fmla="*/ 2049780 h 3680460"/>
                  <a:gd name="connsiteX97" fmla="*/ 2924175 w 3008034"/>
                  <a:gd name="connsiteY97" fmla="*/ 1844040 h 3680460"/>
                  <a:gd name="connsiteX98" fmla="*/ 2908935 w 3008034"/>
                  <a:gd name="connsiteY98" fmla="*/ 1470660 h 3680460"/>
                  <a:gd name="connsiteX99" fmla="*/ 2886075 w 3008034"/>
                  <a:gd name="connsiteY99" fmla="*/ 1371600 h 3680460"/>
                  <a:gd name="connsiteX100" fmla="*/ 2870835 w 3008034"/>
                  <a:gd name="connsiteY100" fmla="*/ 1341120 h 3680460"/>
                  <a:gd name="connsiteX101" fmla="*/ 2847975 w 3008034"/>
                  <a:gd name="connsiteY101" fmla="*/ 1272540 h 3680460"/>
                  <a:gd name="connsiteX102" fmla="*/ 2840355 w 3008034"/>
                  <a:gd name="connsiteY102" fmla="*/ 1234440 h 3680460"/>
                  <a:gd name="connsiteX103" fmla="*/ 2817495 w 3008034"/>
                  <a:gd name="connsiteY103" fmla="*/ 1196340 h 3680460"/>
                  <a:gd name="connsiteX104" fmla="*/ 2802255 w 3008034"/>
                  <a:gd name="connsiteY104" fmla="*/ 1165860 h 3680460"/>
                  <a:gd name="connsiteX105" fmla="*/ 2771775 w 3008034"/>
                  <a:gd name="connsiteY105" fmla="*/ 1127760 h 3680460"/>
                  <a:gd name="connsiteX106" fmla="*/ 2756535 w 3008034"/>
                  <a:gd name="connsiteY106" fmla="*/ 1089660 h 3680460"/>
                  <a:gd name="connsiteX107" fmla="*/ 2726055 w 3008034"/>
                  <a:gd name="connsiteY107" fmla="*/ 1043940 h 3680460"/>
                  <a:gd name="connsiteX108" fmla="*/ 2718435 w 3008034"/>
                  <a:gd name="connsiteY108" fmla="*/ 1021080 h 3680460"/>
                  <a:gd name="connsiteX109" fmla="*/ 2672715 w 3008034"/>
                  <a:gd name="connsiteY109" fmla="*/ 937260 h 3680460"/>
                  <a:gd name="connsiteX110" fmla="*/ 2649855 w 3008034"/>
                  <a:gd name="connsiteY110" fmla="*/ 876300 h 3680460"/>
                  <a:gd name="connsiteX111" fmla="*/ 2634615 w 3008034"/>
                  <a:gd name="connsiteY111" fmla="*/ 845820 h 3680460"/>
                  <a:gd name="connsiteX112" fmla="*/ 2626995 w 3008034"/>
                  <a:gd name="connsiteY112" fmla="*/ 822960 h 3680460"/>
                  <a:gd name="connsiteX113" fmla="*/ 2611755 w 3008034"/>
                  <a:gd name="connsiteY113" fmla="*/ 800100 h 3680460"/>
                  <a:gd name="connsiteX114" fmla="*/ 2588895 w 3008034"/>
                  <a:gd name="connsiteY114" fmla="*/ 739140 h 3680460"/>
                  <a:gd name="connsiteX115" fmla="*/ 2448878 w 3008034"/>
                  <a:gd name="connsiteY115" fmla="*/ 621983 h 3680460"/>
                  <a:gd name="connsiteX116" fmla="*/ 2291715 w 3008034"/>
                  <a:gd name="connsiteY116" fmla="*/ 458152 h 3680460"/>
                  <a:gd name="connsiteX117" fmla="*/ 2227898 w 3008034"/>
                  <a:gd name="connsiteY117" fmla="*/ 406717 h 3680460"/>
                  <a:gd name="connsiteX118" fmla="*/ 2093595 w 3008034"/>
                  <a:gd name="connsiteY118" fmla="*/ 312420 h 3680460"/>
                  <a:gd name="connsiteX119" fmla="*/ 2032635 w 3008034"/>
                  <a:gd name="connsiteY119" fmla="*/ 266700 h 3680460"/>
                  <a:gd name="connsiteX120" fmla="*/ 1994535 w 3008034"/>
                  <a:gd name="connsiteY120" fmla="*/ 251460 h 3680460"/>
                  <a:gd name="connsiteX121" fmla="*/ 1948815 w 3008034"/>
                  <a:gd name="connsiteY121" fmla="*/ 220980 h 3680460"/>
                  <a:gd name="connsiteX122" fmla="*/ 1887855 w 3008034"/>
                  <a:gd name="connsiteY12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566035 w 3008034"/>
                  <a:gd name="connsiteY79" fmla="*/ 2880360 h 3680460"/>
                  <a:gd name="connsiteX80" fmla="*/ 2619375 w 3008034"/>
                  <a:gd name="connsiteY80" fmla="*/ 2811780 h 3680460"/>
                  <a:gd name="connsiteX81" fmla="*/ 2634615 w 3008034"/>
                  <a:gd name="connsiteY81" fmla="*/ 2773680 h 3680460"/>
                  <a:gd name="connsiteX82" fmla="*/ 2665095 w 3008034"/>
                  <a:gd name="connsiteY82" fmla="*/ 2727960 h 3680460"/>
                  <a:gd name="connsiteX83" fmla="*/ 2680335 w 3008034"/>
                  <a:gd name="connsiteY83" fmla="*/ 2705100 h 3680460"/>
                  <a:gd name="connsiteX84" fmla="*/ 2695575 w 3008034"/>
                  <a:gd name="connsiteY84" fmla="*/ 2667000 h 3680460"/>
                  <a:gd name="connsiteX85" fmla="*/ 2718435 w 3008034"/>
                  <a:gd name="connsiteY85" fmla="*/ 2621280 h 3680460"/>
                  <a:gd name="connsiteX86" fmla="*/ 2726055 w 3008034"/>
                  <a:gd name="connsiteY86" fmla="*/ 2590800 h 3680460"/>
                  <a:gd name="connsiteX87" fmla="*/ 2748915 w 3008034"/>
                  <a:gd name="connsiteY87" fmla="*/ 2545080 h 3680460"/>
                  <a:gd name="connsiteX88" fmla="*/ 2779395 w 3008034"/>
                  <a:gd name="connsiteY88" fmla="*/ 2484120 h 3680460"/>
                  <a:gd name="connsiteX89" fmla="*/ 2802255 w 3008034"/>
                  <a:gd name="connsiteY89" fmla="*/ 2407920 h 3680460"/>
                  <a:gd name="connsiteX90" fmla="*/ 2832735 w 3008034"/>
                  <a:gd name="connsiteY90" fmla="*/ 2324100 h 3680460"/>
                  <a:gd name="connsiteX91" fmla="*/ 2847975 w 3008034"/>
                  <a:gd name="connsiteY91" fmla="*/ 2247900 h 3680460"/>
                  <a:gd name="connsiteX92" fmla="*/ 2863215 w 3008034"/>
                  <a:gd name="connsiteY92" fmla="*/ 2194560 h 3680460"/>
                  <a:gd name="connsiteX93" fmla="*/ 2878455 w 3008034"/>
                  <a:gd name="connsiteY93" fmla="*/ 2148840 h 3680460"/>
                  <a:gd name="connsiteX94" fmla="*/ 2901315 w 3008034"/>
                  <a:gd name="connsiteY94" fmla="*/ 2087880 h 3680460"/>
                  <a:gd name="connsiteX95" fmla="*/ 2908935 w 3008034"/>
                  <a:gd name="connsiteY95" fmla="*/ 2049780 h 3680460"/>
                  <a:gd name="connsiteX96" fmla="*/ 2924175 w 3008034"/>
                  <a:gd name="connsiteY96" fmla="*/ 1844040 h 3680460"/>
                  <a:gd name="connsiteX97" fmla="*/ 2908935 w 3008034"/>
                  <a:gd name="connsiteY97" fmla="*/ 1470660 h 3680460"/>
                  <a:gd name="connsiteX98" fmla="*/ 2886075 w 3008034"/>
                  <a:gd name="connsiteY98" fmla="*/ 1371600 h 3680460"/>
                  <a:gd name="connsiteX99" fmla="*/ 2870835 w 3008034"/>
                  <a:gd name="connsiteY99" fmla="*/ 1341120 h 3680460"/>
                  <a:gd name="connsiteX100" fmla="*/ 2847975 w 3008034"/>
                  <a:gd name="connsiteY100" fmla="*/ 1272540 h 3680460"/>
                  <a:gd name="connsiteX101" fmla="*/ 2840355 w 3008034"/>
                  <a:gd name="connsiteY101" fmla="*/ 1234440 h 3680460"/>
                  <a:gd name="connsiteX102" fmla="*/ 2817495 w 3008034"/>
                  <a:gd name="connsiteY102" fmla="*/ 1196340 h 3680460"/>
                  <a:gd name="connsiteX103" fmla="*/ 2802255 w 3008034"/>
                  <a:gd name="connsiteY103" fmla="*/ 1165860 h 3680460"/>
                  <a:gd name="connsiteX104" fmla="*/ 2771775 w 3008034"/>
                  <a:gd name="connsiteY104" fmla="*/ 1127760 h 3680460"/>
                  <a:gd name="connsiteX105" fmla="*/ 2756535 w 3008034"/>
                  <a:gd name="connsiteY105" fmla="*/ 1089660 h 3680460"/>
                  <a:gd name="connsiteX106" fmla="*/ 2726055 w 3008034"/>
                  <a:gd name="connsiteY106" fmla="*/ 1043940 h 3680460"/>
                  <a:gd name="connsiteX107" fmla="*/ 2718435 w 3008034"/>
                  <a:gd name="connsiteY107" fmla="*/ 1021080 h 3680460"/>
                  <a:gd name="connsiteX108" fmla="*/ 2672715 w 3008034"/>
                  <a:gd name="connsiteY108" fmla="*/ 937260 h 3680460"/>
                  <a:gd name="connsiteX109" fmla="*/ 2649855 w 3008034"/>
                  <a:gd name="connsiteY109" fmla="*/ 876300 h 3680460"/>
                  <a:gd name="connsiteX110" fmla="*/ 2634615 w 3008034"/>
                  <a:gd name="connsiteY110" fmla="*/ 845820 h 3680460"/>
                  <a:gd name="connsiteX111" fmla="*/ 2626995 w 3008034"/>
                  <a:gd name="connsiteY111" fmla="*/ 822960 h 3680460"/>
                  <a:gd name="connsiteX112" fmla="*/ 2611755 w 3008034"/>
                  <a:gd name="connsiteY112" fmla="*/ 800100 h 3680460"/>
                  <a:gd name="connsiteX113" fmla="*/ 2588895 w 3008034"/>
                  <a:gd name="connsiteY113" fmla="*/ 739140 h 3680460"/>
                  <a:gd name="connsiteX114" fmla="*/ 2448878 w 3008034"/>
                  <a:gd name="connsiteY114" fmla="*/ 621983 h 3680460"/>
                  <a:gd name="connsiteX115" fmla="*/ 2291715 w 3008034"/>
                  <a:gd name="connsiteY115" fmla="*/ 458152 h 3680460"/>
                  <a:gd name="connsiteX116" fmla="*/ 2227898 w 3008034"/>
                  <a:gd name="connsiteY116" fmla="*/ 406717 h 3680460"/>
                  <a:gd name="connsiteX117" fmla="*/ 2093595 w 3008034"/>
                  <a:gd name="connsiteY117" fmla="*/ 312420 h 3680460"/>
                  <a:gd name="connsiteX118" fmla="*/ 2032635 w 3008034"/>
                  <a:gd name="connsiteY118" fmla="*/ 266700 h 3680460"/>
                  <a:gd name="connsiteX119" fmla="*/ 1994535 w 3008034"/>
                  <a:gd name="connsiteY119" fmla="*/ 251460 h 3680460"/>
                  <a:gd name="connsiteX120" fmla="*/ 1948815 w 3008034"/>
                  <a:gd name="connsiteY120" fmla="*/ 220980 h 3680460"/>
                  <a:gd name="connsiteX121" fmla="*/ 1887855 w 3008034"/>
                  <a:gd name="connsiteY12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48915 w 3008034"/>
                  <a:gd name="connsiteY86" fmla="*/ 2545080 h 3680460"/>
                  <a:gd name="connsiteX87" fmla="*/ 2779395 w 3008034"/>
                  <a:gd name="connsiteY87" fmla="*/ 2484120 h 3680460"/>
                  <a:gd name="connsiteX88" fmla="*/ 2802255 w 3008034"/>
                  <a:gd name="connsiteY88" fmla="*/ 2407920 h 3680460"/>
                  <a:gd name="connsiteX89" fmla="*/ 2832735 w 3008034"/>
                  <a:gd name="connsiteY89" fmla="*/ 2324100 h 3680460"/>
                  <a:gd name="connsiteX90" fmla="*/ 2847975 w 3008034"/>
                  <a:gd name="connsiteY90" fmla="*/ 2247900 h 3680460"/>
                  <a:gd name="connsiteX91" fmla="*/ 2863215 w 3008034"/>
                  <a:gd name="connsiteY91" fmla="*/ 2194560 h 3680460"/>
                  <a:gd name="connsiteX92" fmla="*/ 2878455 w 3008034"/>
                  <a:gd name="connsiteY92" fmla="*/ 2148840 h 3680460"/>
                  <a:gd name="connsiteX93" fmla="*/ 2901315 w 3008034"/>
                  <a:gd name="connsiteY93" fmla="*/ 2087880 h 3680460"/>
                  <a:gd name="connsiteX94" fmla="*/ 2908935 w 3008034"/>
                  <a:gd name="connsiteY94" fmla="*/ 2049780 h 3680460"/>
                  <a:gd name="connsiteX95" fmla="*/ 2924175 w 3008034"/>
                  <a:gd name="connsiteY95" fmla="*/ 1844040 h 3680460"/>
                  <a:gd name="connsiteX96" fmla="*/ 2908935 w 3008034"/>
                  <a:gd name="connsiteY96" fmla="*/ 1470660 h 3680460"/>
                  <a:gd name="connsiteX97" fmla="*/ 2886075 w 3008034"/>
                  <a:gd name="connsiteY97" fmla="*/ 1371600 h 3680460"/>
                  <a:gd name="connsiteX98" fmla="*/ 2870835 w 3008034"/>
                  <a:gd name="connsiteY98" fmla="*/ 1341120 h 3680460"/>
                  <a:gd name="connsiteX99" fmla="*/ 2847975 w 3008034"/>
                  <a:gd name="connsiteY99" fmla="*/ 1272540 h 3680460"/>
                  <a:gd name="connsiteX100" fmla="*/ 2840355 w 3008034"/>
                  <a:gd name="connsiteY100" fmla="*/ 1234440 h 3680460"/>
                  <a:gd name="connsiteX101" fmla="*/ 2817495 w 3008034"/>
                  <a:gd name="connsiteY101" fmla="*/ 1196340 h 3680460"/>
                  <a:gd name="connsiteX102" fmla="*/ 2802255 w 3008034"/>
                  <a:gd name="connsiteY102" fmla="*/ 1165860 h 3680460"/>
                  <a:gd name="connsiteX103" fmla="*/ 2771775 w 3008034"/>
                  <a:gd name="connsiteY103" fmla="*/ 1127760 h 3680460"/>
                  <a:gd name="connsiteX104" fmla="*/ 2756535 w 3008034"/>
                  <a:gd name="connsiteY104" fmla="*/ 1089660 h 3680460"/>
                  <a:gd name="connsiteX105" fmla="*/ 2726055 w 3008034"/>
                  <a:gd name="connsiteY105" fmla="*/ 1043940 h 3680460"/>
                  <a:gd name="connsiteX106" fmla="*/ 2718435 w 3008034"/>
                  <a:gd name="connsiteY106" fmla="*/ 1021080 h 3680460"/>
                  <a:gd name="connsiteX107" fmla="*/ 2672715 w 3008034"/>
                  <a:gd name="connsiteY107" fmla="*/ 937260 h 3680460"/>
                  <a:gd name="connsiteX108" fmla="*/ 2649855 w 3008034"/>
                  <a:gd name="connsiteY108" fmla="*/ 876300 h 3680460"/>
                  <a:gd name="connsiteX109" fmla="*/ 2634615 w 3008034"/>
                  <a:gd name="connsiteY109" fmla="*/ 845820 h 3680460"/>
                  <a:gd name="connsiteX110" fmla="*/ 2626995 w 3008034"/>
                  <a:gd name="connsiteY110" fmla="*/ 822960 h 3680460"/>
                  <a:gd name="connsiteX111" fmla="*/ 2611755 w 3008034"/>
                  <a:gd name="connsiteY111" fmla="*/ 800100 h 3680460"/>
                  <a:gd name="connsiteX112" fmla="*/ 2588895 w 3008034"/>
                  <a:gd name="connsiteY112" fmla="*/ 739140 h 3680460"/>
                  <a:gd name="connsiteX113" fmla="*/ 2448878 w 3008034"/>
                  <a:gd name="connsiteY113" fmla="*/ 621983 h 3680460"/>
                  <a:gd name="connsiteX114" fmla="*/ 2291715 w 3008034"/>
                  <a:gd name="connsiteY114" fmla="*/ 458152 h 3680460"/>
                  <a:gd name="connsiteX115" fmla="*/ 2227898 w 3008034"/>
                  <a:gd name="connsiteY115" fmla="*/ 406717 h 3680460"/>
                  <a:gd name="connsiteX116" fmla="*/ 2093595 w 3008034"/>
                  <a:gd name="connsiteY116" fmla="*/ 312420 h 3680460"/>
                  <a:gd name="connsiteX117" fmla="*/ 2032635 w 3008034"/>
                  <a:gd name="connsiteY117" fmla="*/ 266700 h 3680460"/>
                  <a:gd name="connsiteX118" fmla="*/ 1994535 w 3008034"/>
                  <a:gd name="connsiteY118" fmla="*/ 251460 h 3680460"/>
                  <a:gd name="connsiteX119" fmla="*/ 1948815 w 3008034"/>
                  <a:gd name="connsiteY119" fmla="*/ 220980 h 3680460"/>
                  <a:gd name="connsiteX120" fmla="*/ 1887855 w 3008034"/>
                  <a:gd name="connsiteY12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79395 w 3008034"/>
                  <a:gd name="connsiteY86" fmla="*/ 2484120 h 3680460"/>
                  <a:gd name="connsiteX87" fmla="*/ 2802255 w 3008034"/>
                  <a:gd name="connsiteY87" fmla="*/ 2407920 h 3680460"/>
                  <a:gd name="connsiteX88" fmla="*/ 2832735 w 3008034"/>
                  <a:gd name="connsiteY88" fmla="*/ 2324100 h 3680460"/>
                  <a:gd name="connsiteX89" fmla="*/ 2847975 w 3008034"/>
                  <a:gd name="connsiteY89" fmla="*/ 2247900 h 3680460"/>
                  <a:gd name="connsiteX90" fmla="*/ 2863215 w 3008034"/>
                  <a:gd name="connsiteY90" fmla="*/ 2194560 h 3680460"/>
                  <a:gd name="connsiteX91" fmla="*/ 2878455 w 3008034"/>
                  <a:gd name="connsiteY91" fmla="*/ 2148840 h 3680460"/>
                  <a:gd name="connsiteX92" fmla="*/ 2901315 w 3008034"/>
                  <a:gd name="connsiteY92" fmla="*/ 2087880 h 3680460"/>
                  <a:gd name="connsiteX93" fmla="*/ 2908935 w 3008034"/>
                  <a:gd name="connsiteY93" fmla="*/ 2049780 h 3680460"/>
                  <a:gd name="connsiteX94" fmla="*/ 2924175 w 3008034"/>
                  <a:gd name="connsiteY94" fmla="*/ 1844040 h 3680460"/>
                  <a:gd name="connsiteX95" fmla="*/ 2908935 w 3008034"/>
                  <a:gd name="connsiteY95" fmla="*/ 1470660 h 3680460"/>
                  <a:gd name="connsiteX96" fmla="*/ 2886075 w 3008034"/>
                  <a:gd name="connsiteY96" fmla="*/ 1371600 h 3680460"/>
                  <a:gd name="connsiteX97" fmla="*/ 2870835 w 3008034"/>
                  <a:gd name="connsiteY97" fmla="*/ 1341120 h 3680460"/>
                  <a:gd name="connsiteX98" fmla="*/ 2847975 w 3008034"/>
                  <a:gd name="connsiteY98" fmla="*/ 1272540 h 3680460"/>
                  <a:gd name="connsiteX99" fmla="*/ 2840355 w 3008034"/>
                  <a:gd name="connsiteY99" fmla="*/ 1234440 h 3680460"/>
                  <a:gd name="connsiteX100" fmla="*/ 2817495 w 3008034"/>
                  <a:gd name="connsiteY100" fmla="*/ 1196340 h 3680460"/>
                  <a:gd name="connsiteX101" fmla="*/ 2802255 w 3008034"/>
                  <a:gd name="connsiteY101" fmla="*/ 1165860 h 3680460"/>
                  <a:gd name="connsiteX102" fmla="*/ 2771775 w 3008034"/>
                  <a:gd name="connsiteY102" fmla="*/ 1127760 h 3680460"/>
                  <a:gd name="connsiteX103" fmla="*/ 2756535 w 3008034"/>
                  <a:gd name="connsiteY103" fmla="*/ 1089660 h 3680460"/>
                  <a:gd name="connsiteX104" fmla="*/ 2726055 w 3008034"/>
                  <a:gd name="connsiteY104" fmla="*/ 1043940 h 3680460"/>
                  <a:gd name="connsiteX105" fmla="*/ 2718435 w 3008034"/>
                  <a:gd name="connsiteY105" fmla="*/ 1021080 h 3680460"/>
                  <a:gd name="connsiteX106" fmla="*/ 2672715 w 3008034"/>
                  <a:gd name="connsiteY106" fmla="*/ 937260 h 3680460"/>
                  <a:gd name="connsiteX107" fmla="*/ 2649855 w 3008034"/>
                  <a:gd name="connsiteY107" fmla="*/ 876300 h 3680460"/>
                  <a:gd name="connsiteX108" fmla="*/ 2634615 w 3008034"/>
                  <a:gd name="connsiteY108" fmla="*/ 845820 h 3680460"/>
                  <a:gd name="connsiteX109" fmla="*/ 2626995 w 3008034"/>
                  <a:gd name="connsiteY109" fmla="*/ 822960 h 3680460"/>
                  <a:gd name="connsiteX110" fmla="*/ 2611755 w 3008034"/>
                  <a:gd name="connsiteY110" fmla="*/ 800100 h 3680460"/>
                  <a:gd name="connsiteX111" fmla="*/ 2588895 w 3008034"/>
                  <a:gd name="connsiteY111" fmla="*/ 739140 h 3680460"/>
                  <a:gd name="connsiteX112" fmla="*/ 2448878 w 3008034"/>
                  <a:gd name="connsiteY112" fmla="*/ 621983 h 3680460"/>
                  <a:gd name="connsiteX113" fmla="*/ 2291715 w 3008034"/>
                  <a:gd name="connsiteY113" fmla="*/ 458152 h 3680460"/>
                  <a:gd name="connsiteX114" fmla="*/ 2227898 w 3008034"/>
                  <a:gd name="connsiteY114" fmla="*/ 406717 h 3680460"/>
                  <a:gd name="connsiteX115" fmla="*/ 2093595 w 3008034"/>
                  <a:gd name="connsiteY115" fmla="*/ 312420 h 3680460"/>
                  <a:gd name="connsiteX116" fmla="*/ 2032635 w 3008034"/>
                  <a:gd name="connsiteY116" fmla="*/ 266700 h 3680460"/>
                  <a:gd name="connsiteX117" fmla="*/ 1994535 w 3008034"/>
                  <a:gd name="connsiteY117" fmla="*/ 251460 h 3680460"/>
                  <a:gd name="connsiteX118" fmla="*/ 1948815 w 3008034"/>
                  <a:gd name="connsiteY118" fmla="*/ 220980 h 3680460"/>
                  <a:gd name="connsiteX119" fmla="*/ 1887855 w 3008034"/>
                  <a:gd name="connsiteY11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79395 w 3008034"/>
                  <a:gd name="connsiteY85" fmla="*/ 2484120 h 3680460"/>
                  <a:gd name="connsiteX86" fmla="*/ 2802255 w 3008034"/>
                  <a:gd name="connsiteY86" fmla="*/ 2407920 h 3680460"/>
                  <a:gd name="connsiteX87" fmla="*/ 2832735 w 3008034"/>
                  <a:gd name="connsiteY87" fmla="*/ 2324100 h 3680460"/>
                  <a:gd name="connsiteX88" fmla="*/ 2847975 w 3008034"/>
                  <a:gd name="connsiteY88" fmla="*/ 2247900 h 3680460"/>
                  <a:gd name="connsiteX89" fmla="*/ 2863215 w 3008034"/>
                  <a:gd name="connsiteY89" fmla="*/ 2194560 h 3680460"/>
                  <a:gd name="connsiteX90" fmla="*/ 2878455 w 3008034"/>
                  <a:gd name="connsiteY90" fmla="*/ 2148840 h 3680460"/>
                  <a:gd name="connsiteX91" fmla="*/ 2901315 w 3008034"/>
                  <a:gd name="connsiteY91" fmla="*/ 2087880 h 3680460"/>
                  <a:gd name="connsiteX92" fmla="*/ 2908935 w 3008034"/>
                  <a:gd name="connsiteY92" fmla="*/ 2049780 h 3680460"/>
                  <a:gd name="connsiteX93" fmla="*/ 2924175 w 3008034"/>
                  <a:gd name="connsiteY93" fmla="*/ 1844040 h 3680460"/>
                  <a:gd name="connsiteX94" fmla="*/ 2908935 w 3008034"/>
                  <a:gd name="connsiteY94" fmla="*/ 1470660 h 3680460"/>
                  <a:gd name="connsiteX95" fmla="*/ 2886075 w 3008034"/>
                  <a:gd name="connsiteY95" fmla="*/ 1371600 h 3680460"/>
                  <a:gd name="connsiteX96" fmla="*/ 2870835 w 3008034"/>
                  <a:gd name="connsiteY96" fmla="*/ 1341120 h 3680460"/>
                  <a:gd name="connsiteX97" fmla="*/ 2847975 w 3008034"/>
                  <a:gd name="connsiteY97" fmla="*/ 1272540 h 3680460"/>
                  <a:gd name="connsiteX98" fmla="*/ 2840355 w 3008034"/>
                  <a:gd name="connsiteY98" fmla="*/ 1234440 h 3680460"/>
                  <a:gd name="connsiteX99" fmla="*/ 2817495 w 3008034"/>
                  <a:gd name="connsiteY99" fmla="*/ 1196340 h 3680460"/>
                  <a:gd name="connsiteX100" fmla="*/ 2802255 w 3008034"/>
                  <a:gd name="connsiteY100" fmla="*/ 1165860 h 3680460"/>
                  <a:gd name="connsiteX101" fmla="*/ 2771775 w 3008034"/>
                  <a:gd name="connsiteY101" fmla="*/ 1127760 h 3680460"/>
                  <a:gd name="connsiteX102" fmla="*/ 2756535 w 3008034"/>
                  <a:gd name="connsiteY102" fmla="*/ 1089660 h 3680460"/>
                  <a:gd name="connsiteX103" fmla="*/ 2726055 w 3008034"/>
                  <a:gd name="connsiteY103" fmla="*/ 1043940 h 3680460"/>
                  <a:gd name="connsiteX104" fmla="*/ 2718435 w 3008034"/>
                  <a:gd name="connsiteY104" fmla="*/ 1021080 h 3680460"/>
                  <a:gd name="connsiteX105" fmla="*/ 2672715 w 3008034"/>
                  <a:gd name="connsiteY105" fmla="*/ 937260 h 3680460"/>
                  <a:gd name="connsiteX106" fmla="*/ 2649855 w 3008034"/>
                  <a:gd name="connsiteY106" fmla="*/ 876300 h 3680460"/>
                  <a:gd name="connsiteX107" fmla="*/ 2634615 w 3008034"/>
                  <a:gd name="connsiteY107" fmla="*/ 845820 h 3680460"/>
                  <a:gd name="connsiteX108" fmla="*/ 2626995 w 3008034"/>
                  <a:gd name="connsiteY108" fmla="*/ 822960 h 3680460"/>
                  <a:gd name="connsiteX109" fmla="*/ 2611755 w 3008034"/>
                  <a:gd name="connsiteY109" fmla="*/ 800100 h 3680460"/>
                  <a:gd name="connsiteX110" fmla="*/ 2588895 w 3008034"/>
                  <a:gd name="connsiteY110" fmla="*/ 739140 h 3680460"/>
                  <a:gd name="connsiteX111" fmla="*/ 2448878 w 3008034"/>
                  <a:gd name="connsiteY111" fmla="*/ 621983 h 3680460"/>
                  <a:gd name="connsiteX112" fmla="*/ 2291715 w 3008034"/>
                  <a:gd name="connsiteY112" fmla="*/ 458152 h 3680460"/>
                  <a:gd name="connsiteX113" fmla="*/ 2227898 w 3008034"/>
                  <a:gd name="connsiteY113" fmla="*/ 406717 h 3680460"/>
                  <a:gd name="connsiteX114" fmla="*/ 2093595 w 3008034"/>
                  <a:gd name="connsiteY114" fmla="*/ 312420 h 3680460"/>
                  <a:gd name="connsiteX115" fmla="*/ 2032635 w 3008034"/>
                  <a:gd name="connsiteY115" fmla="*/ 266700 h 3680460"/>
                  <a:gd name="connsiteX116" fmla="*/ 1994535 w 3008034"/>
                  <a:gd name="connsiteY116" fmla="*/ 251460 h 3680460"/>
                  <a:gd name="connsiteX117" fmla="*/ 1948815 w 3008034"/>
                  <a:gd name="connsiteY117" fmla="*/ 220980 h 3680460"/>
                  <a:gd name="connsiteX118" fmla="*/ 1887855 w 3008034"/>
                  <a:gd name="connsiteY11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79395 w 3008034"/>
                  <a:gd name="connsiteY84" fmla="*/ 2484120 h 3680460"/>
                  <a:gd name="connsiteX85" fmla="*/ 2802255 w 3008034"/>
                  <a:gd name="connsiteY85" fmla="*/ 2407920 h 3680460"/>
                  <a:gd name="connsiteX86" fmla="*/ 2832735 w 3008034"/>
                  <a:gd name="connsiteY86" fmla="*/ 2324100 h 3680460"/>
                  <a:gd name="connsiteX87" fmla="*/ 2847975 w 3008034"/>
                  <a:gd name="connsiteY87" fmla="*/ 2247900 h 3680460"/>
                  <a:gd name="connsiteX88" fmla="*/ 2863215 w 3008034"/>
                  <a:gd name="connsiteY88" fmla="*/ 2194560 h 3680460"/>
                  <a:gd name="connsiteX89" fmla="*/ 2878455 w 3008034"/>
                  <a:gd name="connsiteY89" fmla="*/ 2148840 h 3680460"/>
                  <a:gd name="connsiteX90" fmla="*/ 2901315 w 3008034"/>
                  <a:gd name="connsiteY90" fmla="*/ 2087880 h 3680460"/>
                  <a:gd name="connsiteX91" fmla="*/ 2908935 w 3008034"/>
                  <a:gd name="connsiteY91" fmla="*/ 2049780 h 3680460"/>
                  <a:gd name="connsiteX92" fmla="*/ 2924175 w 3008034"/>
                  <a:gd name="connsiteY92" fmla="*/ 1844040 h 3680460"/>
                  <a:gd name="connsiteX93" fmla="*/ 2908935 w 3008034"/>
                  <a:gd name="connsiteY93" fmla="*/ 1470660 h 3680460"/>
                  <a:gd name="connsiteX94" fmla="*/ 2886075 w 3008034"/>
                  <a:gd name="connsiteY94" fmla="*/ 1371600 h 3680460"/>
                  <a:gd name="connsiteX95" fmla="*/ 2870835 w 3008034"/>
                  <a:gd name="connsiteY95" fmla="*/ 1341120 h 3680460"/>
                  <a:gd name="connsiteX96" fmla="*/ 2847975 w 3008034"/>
                  <a:gd name="connsiteY96" fmla="*/ 1272540 h 3680460"/>
                  <a:gd name="connsiteX97" fmla="*/ 2840355 w 3008034"/>
                  <a:gd name="connsiteY97" fmla="*/ 1234440 h 3680460"/>
                  <a:gd name="connsiteX98" fmla="*/ 2817495 w 3008034"/>
                  <a:gd name="connsiteY98" fmla="*/ 1196340 h 3680460"/>
                  <a:gd name="connsiteX99" fmla="*/ 2802255 w 3008034"/>
                  <a:gd name="connsiteY99" fmla="*/ 1165860 h 3680460"/>
                  <a:gd name="connsiteX100" fmla="*/ 2771775 w 3008034"/>
                  <a:gd name="connsiteY100" fmla="*/ 1127760 h 3680460"/>
                  <a:gd name="connsiteX101" fmla="*/ 2756535 w 3008034"/>
                  <a:gd name="connsiteY101" fmla="*/ 1089660 h 3680460"/>
                  <a:gd name="connsiteX102" fmla="*/ 2726055 w 3008034"/>
                  <a:gd name="connsiteY102" fmla="*/ 1043940 h 3680460"/>
                  <a:gd name="connsiteX103" fmla="*/ 2718435 w 3008034"/>
                  <a:gd name="connsiteY103" fmla="*/ 1021080 h 3680460"/>
                  <a:gd name="connsiteX104" fmla="*/ 2672715 w 3008034"/>
                  <a:gd name="connsiteY104" fmla="*/ 937260 h 3680460"/>
                  <a:gd name="connsiteX105" fmla="*/ 2649855 w 3008034"/>
                  <a:gd name="connsiteY105" fmla="*/ 876300 h 3680460"/>
                  <a:gd name="connsiteX106" fmla="*/ 2634615 w 3008034"/>
                  <a:gd name="connsiteY106" fmla="*/ 845820 h 3680460"/>
                  <a:gd name="connsiteX107" fmla="*/ 2626995 w 3008034"/>
                  <a:gd name="connsiteY107" fmla="*/ 822960 h 3680460"/>
                  <a:gd name="connsiteX108" fmla="*/ 2611755 w 3008034"/>
                  <a:gd name="connsiteY108" fmla="*/ 800100 h 3680460"/>
                  <a:gd name="connsiteX109" fmla="*/ 2588895 w 3008034"/>
                  <a:gd name="connsiteY109" fmla="*/ 739140 h 3680460"/>
                  <a:gd name="connsiteX110" fmla="*/ 2448878 w 3008034"/>
                  <a:gd name="connsiteY110" fmla="*/ 621983 h 3680460"/>
                  <a:gd name="connsiteX111" fmla="*/ 2291715 w 3008034"/>
                  <a:gd name="connsiteY111" fmla="*/ 458152 h 3680460"/>
                  <a:gd name="connsiteX112" fmla="*/ 2227898 w 3008034"/>
                  <a:gd name="connsiteY112" fmla="*/ 406717 h 3680460"/>
                  <a:gd name="connsiteX113" fmla="*/ 2093595 w 3008034"/>
                  <a:gd name="connsiteY113" fmla="*/ 312420 h 3680460"/>
                  <a:gd name="connsiteX114" fmla="*/ 2032635 w 3008034"/>
                  <a:gd name="connsiteY114" fmla="*/ 266700 h 3680460"/>
                  <a:gd name="connsiteX115" fmla="*/ 1994535 w 3008034"/>
                  <a:gd name="connsiteY115" fmla="*/ 251460 h 3680460"/>
                  <a:gd name="connsiteX116" fmla="*/ 1948815 w 3008034"/>
                  <a:gd name="connsiteY116" fmla="*/ 220980 h 3680460"/>
                  <a:gd name="connsiteX117" fmla="*/ 1887855 w 3008034"/>
                  <a:gd name="connsiteY11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32735 w 3008034"/>
                  <a:gd name="connsiteY85" fmla="*/ 2324100 h 3680460"/>
                  <a:gd name="connsiteX86" fmla="*/ 2847975 w 3008034"/>
                  <a:gd name="connsiteY86" fmla="*/ 2247900 h 3680460"/>
                  <a:gd name="connsiteX87" fmla="*/ 2863215 w 3008034"/>
                  <a:gd name="connsiteY87" fmla="*/ 2194560 h 3680460"/>
                  <a:gd name="connsiteX88" fmla="*/ 2878455 w 3008034"/>
                  <a:gd name="connsiteY88" fmla="*/ 2148840 h 3680460"/>
                  <a:gd name="connsiteX89" fmla="*/ 2901315 w 3008034"/>
                  <a:gd name="connsiteY89" fmla="*/ 2087880 h 3680460"/>
                  <a:gd name="connsiteX90" fmla="*/ 2908935 w 3008034"/>
                  <a:gd name="connsiteY90" fmla="*/ 2049780 h 3680460"/>
                  <a:gd name="connsiteX91" fmla="*/ 2924175 w 3008034"/>
                  <a:gd name="connsiteY91" fmla="*/ 1844040 h 3680460"/>
                  <a:gd name="connsiteX92" fmla="*/ 2908935 w 3008034"/>
                  <a:gd name="connsiteY92" fmla="*/ 1470660 h 3680460"/>
                  <a:gd name="connsiteX93" fmla="*/ 2886075 w 3008034"/>
                  <a:gd name="connsiteY93" fmla="*/ 1371600 h 3680460"/>
                  <a:gd name="connsiteX94" fmla="*/ 2870835 w 3008034"/>
                  <a:gd name="connsiteY94" fmla="*/ 1341120 h 3680460"/>
                  <a:gd name="connsiteX95" fmla="*/ 2847975 w 3008034"/>
                  <a:gd name="connsiteY95" fmla="*/ 1272540 h 3680460"/>
                  <a:gd name="connsiteX96" fmla="*/ 2840355 w 3008034"/>
                  <a:gd name="connsiteY96" fmla="*/ 1234440 h 3680460"/>
                  <a:gd name="connsiteX97" fmla="*/ 2817495 w 3008034"/>
                  <a:gd name="connsiteY97" fmla="*/ 1196340 h 3680460"/>
                  <a:gd name="connsiteX98" fmla="*/ 2802255 w 3008034"/>
                  <a:gd name="connsiteY98" fmla="*/ 1165860 h 3680460"/>
                  <a:gd name="connsiteX99" fmla="*/ 2771775 w 3008034"/>
                  <a:gd name="connsiteY99" fmla="*/ 1127760 h 3680460"/>
                  <a:gd name="connsiteX100" fmla="*/ 2756535 w 3008034"/>
                  <a:gd name="connsiteY100" fmla="*/ 1089660 h 3680460"/>
                  <a:gd name="connsiteX101" fmla="*/ 2726055 w 3008034"/>
                  <a:gd name="connsiteY101" fmla="*/ 1043940 h 3680460"/>
                  <a:gd name="connsiteX102" fmla="*/ 2718435 w 3008034"/>
                  <a:gd name="connsiteY102" fmla="*/ 1021080 h 3680460"/>
                  <a:gd name="connsiteX103" fmla="*/ 2672715 w 3008034"/>
                  <a:gd name="connsiteY103" fmla="*/ 937260 h 3680460"/>
                  <a:gd name="connsiteX104" fmla="*/ 2649855 w 3008034"/>
                  <a:gd name="connsiteY104" fmla="*/ 876300 h 3680460"/>
                  <a:gd name="connsiteX105" fmla="*/ 2634615 w 3008034"/>
                  <a:gd name="connsiteY105" fmla="*/ 845820 h 3680460"/>
                  <a:gd name="connsiteX106" fmla="*/ 2626995 w 3008034"/>
                  <a:gd name="connsiteY106" fmla="*/ 822960 h 3680460"/>
                  <a:gd name="connsiteX107" fmla="*/ 2611755 w 3008034"/>
                  <a:gd name="connsiteY107" fmla="*/ 800100 h 3680460"/>
                  <a:gd name="connsiteX108" fmla="*/ 2588895 w 3008034"/>
                  <a:gd name="connsiteY108" fmla="*/ 739140 h 3680460"/>
                  <a:gd name="connsiteX109" fmla="*/ 2448878 w 3008034"/>
                  <a:gd name="connsiteY109" fmla="*/ 621983 h 3680460"/>
                  <a:gd name="connsiteX110" fmla="*/ 2291715 w 3008034"/>
                  <a:gd name="connsiteY110" fmla="*/ 458152 h 3680460"/>
                  <a:gd name="connsiteX111" fmla="*/ 2227898 w 3008034"/>
                  <a:gd name="connsiteY111" fmla="*/ 406717 h 3680460"/>
                  <a:gd name="connsiteX112" fmla="*/ 2093595 w 3008034"/>
                  <a:gd name="connsiteY112" fmla="*/ 312420 h 3680460"/>
                  <a:gd name="connsiteX113" fmla="*/ 2032635 w 3008034"/>
                  <a:gd name="connsiteY113" fmla="*/ 266700 h 3680460"/>
                  <a:gd name="connsiteX114" fmla="*/ 1994535 w 3008034"/>
                  <a:gd name="connsiteY114" fmla="*/ 251460 h 3680460"/>
                  <a:gd name="connsiteX115" fmla="*/ 1948815 w 3008034"/>
                  <a:gd name="connsiteY115" fmla="*/ 220980 h 3680460"/>
                  <a:gd name="connsiteX116" fmla="*/ 1887855 w 3008034"/>
                  <a:gd name="connsiteY11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47975 w 3008034"/>
                  <a:gd name="connsiteY85" fmla="*/ 2247900 h 3680460"/>
                  <a:gd name="connsiteX86" fmla="*/ 2863215 w 3008034"/>
                  <a:gd name="connsiteY86" fmla="*/ 2194560 h 3680460"/>
                  <a:gd name="connsiteX87" fmla="*/ 2878455 w 3008034"/>
                  <a:gd name="connsiteY87" fmla="*/ 2148840 h 3680460"/>
                  <a:gd name="connsiteX88" fmla="*/ 2901315 w 3008034"/>
                  <a:gd name="connsiteY88" fmla="*/ 2087880 h 3680460"/>
                  <a:gd name="connsiteX89" fmla="*/ 2908935 w 3008034"/>
                  <a:gd name="connsiteY89" fmla="*/ 2049780 h 3680460"/>
                  <a:gd name="connsiteX90" fmla="*/ 2924175 w 3008034"/>
                  <a:gd name="connsiteY90" fmla="*/ 1844040 h 3680460"/>
                  <a:gd name="connsiteX91" fmla="*/ 2908935 w 3008034"/>
                  <a:gd name="connsiteY91" fmla="*/ 1470660 h 3680460"/>
                  <a:gd name="connsiteX92" fmla="*/ 2886075 w 3008034"/>
                  <a:gd name="connsiteY92" fmla="*/ 1371600 h 3680460"/>
                  <a:gd name="connsiteX93" fmla="*/ 2870835 w 3008034"/>
                  <a:gd name="connsiteY93" fmla="*/ 1341120 h 3680460"/>
                  <a:gd name="connsiteX94" fmla="*/ 2847975 w 3008034"/>
                  <a:gd name="connsiteY94" fmla="*/ 1272540 h 3680460"/>
                  <a:gd name="connsiteX95" fmla="*/ 2840355 w 3008034"/>
                  <a:gd name="connsiteY95" fmla="*/ 1234440 h 3680460"/>
                  <a:gd name="connsiteX96" fmla="*/ 2817495 w 3008034"/>
                  <a:gd name="connsiteY96" fmla="*/ 1196340 h 3680460"/>
                  <a:gd name="connsiteX97" fmla="*/ 2802255 w 3008034"/>
                  <a:gd name="connsiteY97" fmla="*/ 1165860 h 3680460"/>
                  <a:gd name="connsiteX98" fmla="*/ 2771775 w 3008034"/>
                  <a:gd name="connsiteY98" fmla="*/ 1127760 h 3680460"/>
                  <a:gd name="connsiteX99" fmla="*/ 2756535 w 3008034"/>
                  <a:gd name="connsiteY99" fmla="*/ 1089660 h 3680460"/>
                  <a:gd name="connsiteX100" fmla="*/ 2726055 w 3008034"/>
                  <a:gd name="connsiteY100" fmla="*/ 1043940 h 3680460"/>
                  <a:gd name="connsiteX101" fmla="*/ 2718435 w 3008034"/>
                  <a:gd name="connsiteY101" fmla="*/ 1021080 h 3680460"/>
                  <a:gd name="connsiteX102" fmla="*/ 2672715 w 3008034"/>
                  <a:gd name="connsiteY102" fmla="*/ 937260 h 3680460"/>
                  <a:gd name="connsiteX103" fmla="*/ 2649855 w 3008034"/>
                  <a:gd name="connsiteY103" fmla="*/ 876300 h 3680460"/>
                  <a:gd name="connsiteX104" fmla="*/ 2634615 w 3008034"/>
                  <a:gd name="connsiteY104" fmla="*/ 845820 h 3680460"/>
                  <a:gd name="connsiteX105" fmla="*/ 2626995 w 3008034"/>
                  <a:gd name="connsiteY105" fmla="*/ 822960 h 3680460"/>
                  <a:gd name="connsiteX106" fmla="*/ 2611755 w 3008034"/>
                  <a:gd name="connsiteY106" fmla="*/ 800100 h 3680460"/>
                  <a:gd name="connsiteX107" fmla="*/ 2588895 w 3008034"/>
                  <a:gd name="connsiteY107" fmla="*/ 739140 h 3680460"/>
                  <a:gd name="connsiteX108" fmla="*/ 2448878 w 3008034"/>
                  <a:gd name="connsiteY108" fmla="*/ 621983 h 3680460"/>
                  <a:gd name="connsiteX109" fmla="*/ 2291715 w 3008034"/>
                  <a:gd name="connsiteY109" fmla="*/ 458152 h 3680460"/>
                  <a:gd name="connsiteX110" fmla="*/ 2227898 w 3008034"/>
                  <a:gd name="connsiteY110" fmla="*/ 406717 h 3680460"/>
                  <a:gd name="connsiteX111" fmla="*/ 2093595 w 3008034"/>
                  <a:gd name="connsiteY111" fmla="*/ 312420 h 3680460"/>
                  <a:gd name="connsiteX112" fmla="*/ 2032635 w 3008034"/>
                  <a:gd name="connsiteY112" fmla="*/ 266700 h 3680460"/>
                  <a:gd name="connsiteX113" fmla="*/ 1994535 w 3008034"/>
                  <a:gd name="connsiteY113" fmla="*/ 251460 h 3680460"/>
                  <a:gd name="connsiteX114" fmla="*/ 1948815 w 3008034"/>
                  <a:gd name="connsiteY114" fmla="*/ 220980 h 3680460"/>
                  <a:gd name="connsiteX115" fmla="*/ 1887855 w 3008034"/>
                  <a:gd name="connsiteY11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63215 w 3008034"/>
                  <a:gd name="connsiteY85" fmla="*/ 2194560 h 3680460"/>
                  <a:gd name="connsiteX86" fmla="*/ 2878455 w 3008034"/>
                  <a:gd name="connsiteY86" fmla="*/ 2148840 h 3680460"/>
                  <a:gd name="connsiteX87" fmla="*/ 2901315 w 3008034"/>
                  <a:gd name="connsiteY87" fmla="*/ 2087880 h 3680460"/>
                  <a:gd name="connsiteX88" fmla="*/ 2908935 w 3008034"/>
                  <a:gd name="connsiteY88" fmla="*/ 2049780 h 3680460"/>
                  <a:gd name="connsiteX89" fmla="*/ 2924175 w 3008034"/>
                  <a:gd name="connsiteY89" fmla="*/ 1844040 h 3680460"/>
                  <a:gd name="connsiteX90" fmla="*/ 2908935 w 3008034"/>
                  <a:gd name="connsiteY90" fmla="*/ 1470660 h 3680460"/>
                  <a:gd name="connsiteX91" fmla="*/ 2886075 w 3008034"/>
                  <a:gd name="connsiteY91" fmla="*/ 1371600 h 3680460"/>
                  <a:gd name="connsiteX92" fmla="*/ 2870835 w 3008034"/>
                  <a:gd name="connsiteY92" fmla="*/ 1341120 h 3680460"/>
                  <a:gd name="connsiteX93" fmla="*/ 2847975 w 3008034"/>
                  <a:gd name="connsiteY93" fmla="*/ 1272540 h 3680460"/>
                  <a:gd name="connsiteX94" fmla="*/ 2840355 w 3008034"/>
                  <a:gd name="connsiteY94" fmla="*/ 1234440 h 3680460"/>
                  <a:gd name="connsiteX95" fmla="*/ 2817495 w 3008034"/>
                  <a:gd name="connsiteY95" fmla="*/ 1196340 h 3680460"/>
                  <a:gd name="connsiteX96" fmla="*/ 2802255 w 3008034"/>
                  <a:gd name="connsiteY96" fmla="*/ 1165860 h 3680460"/>
                  <a:gd name="connsiteX97" fmla="*/ 2771775 w 3008034"/>
                  <a:gd name="connsiteY97" fmla="*/ 1127760 h 3680460"/>
                  <a:gd name="connsiteX98" fmla="*/ 2756535 w 3008034"/>
                  <a:gd name="connsiteY98" fmla="*/ 1089660 h 3680460"/>
                  <a:gd name="connsiteX99" fmla="*/ 2726055 w 3008034"/>
                  <a:gd name="connsiteY99" fmla="*/ 1043940 h 3680460"/>
                  <a:gd name="connsiteX100" fmla="*/ 2718435 w 3008034"/>
                  <a:gd name="connsiteY100" fmla="*/ 1021080 h 3680460"/>
                  <a:gd name="connsiteX101" fmla="*/ 2672715 w 3008034"/>
                  <a:gd name="connsiteY101" fmla="*/ 937260 h 3680460"/>
                  <a:gd name="connsiteX102" fmla="*/ 2649855 w 3008034"/>
                  <a:gd name="connsiteY102" fmla="*/ 876300 h 3680460"/>
                  <a:gd name="connsiteX103" fmla="*/ 2634615 w 3008034"/>
                  <a:gd name="connsiteY103" fmla="*/ 845820 h 3680460"/>
                  <a:gd name="connsiteX104" fmla="*/ 2626995 w 3008034"/>
                  <a:gd name="connsiteY104" fmla="*/ 822960 h 3680460"/>
                  <a:gd name="connsiteX105" fmla="*/ 2611755 w 3008034"/>
                  <a:gd name="connsiteY105" fmla="*/ 800100 h 3680460"/>
                  <a:gd name="connsiteX106" fmla="*/ 2588895 w 3008034"/>
                  <a:gd name="connsiteY106" fmla="*/ 739140 h 3680460"/>
                  <a:gd name="connsiteX107" fmla="*/ 2448878 w 3008034"/>
                  <a:gd name="connsiteY107" fmla="*/ 621983 h 3680460"/>
                  <a:gd name="connsiteX108" fmla="*/ 2291715 w 3008034"/>
                  <a:gd name="connsiteY108" fmla="*/ 458152 h 3680460"/>
                  <a:gd name="connsiteX109" fmla="*/ 2227898 w 3008034"/>
                  <a:gd name="connsiteY109" fmla="*/ 406717 h 3680460"/>
                  <a:gd name="connsiteX110" fmla="*/ 2093595 w 3008034"/>
                  <a:gd name="connsiteY110" fmla="*/ 312420 h 3680460"/>
                  <a:gd name="connsiteX111" fmla="*/ 2032635 w 3008034"/>
                  <a:gd name="connsiteY111" fmla="*/ 266700 h 3680460"/>
                  <a:gd name="connsiteX112" fmla="*/ 1994535 w 3008034"/>
                  <a:gd name="connsiteY112" fmla="*/ 251460 h 3680460"/>
                  <a:gd name="connsiteX113" fmla="*/ 1948815 w 3008034"/>
                  <a:gd name="connsiteY113" fmla="*/ 220980 h 3680460"/>
                  <a:gd name="connsiteX114" fmla="*/ 1887855 w 3008034"/>
                  <a:gd name="connsiteY11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78455 w 3008034"/>
                  <a:gd name="connsiteY85" fmla="*/ 2148840 h 3680460"/>
                  <a:gd name="connsiteX86" fmla="*/ 2901315 w 3008034"/>
                  <a:gd name="connsiteY86" fmla="*/ 2087880 h 3680460"/>
                  <a:gd name="connsiteX87" fmla="*/ 2908935 w 3008034"/>
                  <a:gd name="connsiteY87" fmla="*/ 2049780 h 3680460"/>
                  <a:gd name="connsiteX88" fmla="*/ 2924175 w 3008034"/>
                  <a:gd name="connsiteY88" fmla="*/ 1844040 h 3680460"/>
                  <a:gd name="connsiteX89" fmla="*/ 2908935 w 3008034"/>
                  <a:gd name="connsiteY89" fmla="*/ 1470660 h 3680460"/>
                  <a:gd name="connsiteX90" fmla="*/ 2886075 w 3008034"/>
                  <a:gd name="connsiteY90" fmla="*/ 1371600 h 3680460"/>
                  <a:gd name="connsiteX91" fmla="*/ 2870835 w 3008034"/>
                  <a:gd name="connsiteY91" fmla="*/ 1341120 h 3680460"/>
                  <a:gd name="connsiteX92" fmla="*/ 2847975 w 3008034"/>
                  <a:gd name="connsiteY92" fmla="*/ 1272540 h 3680460"/>
                  <a:gd name="connsiteX93" fmla="*/ 2840355 w 3008034"/>
                  <a:gd name="connsiteY93" fmla="*/ 1234440 h 3680460"/>
                  <a:gd name="connsiteX94" fmla="*/ 2817495 w 3008034"/>
                  <a:gd name="connsiteY94" fmla="*/ 1196340 h 3680460"/>
                  <a:gd name="connsiteX95" fmla="*/ 2802255 w 3008034"/>
                  <a:gd name="connsiteY95" fmla="*/ 1165860 h 3680460"/>
                  <a:gd name="connsiteX96" fmla="*/ 2771775 w 3008034"/>
                  <a:gd name="connsiteY96" fmla="*/ 1127760 h 3680460"/>
                  <a:gd name="connsiteX97" fmla="*/ 2756535 w 3008034"/>
                  <a:gd name="connsiteY97" fmla="*/ 1089660 h 3680460"/>
                  <a:gd name="connsiteX98" fmla="*/ 2726055 w 3008034"/>
                  <a:gd name="connsiteY98" fmla="*/ 1043940 h 3680460"/>
                  <a:gd name="connsiteX99" fmla="*/ 2718435 w 3008034"/>
                  <a:gd name="connsiteY99" fmla="*/ 1021080 h 3680460"/>
                  <a:gd name="connsiteX100" fmla="*/ 2672715 w 3008034"/>
                  <a:gd name="connsiteY100" fmla="*/ 937260 h 3680460"/>
                  <a:gd name="connsiteX101" fmla="*/ 2649855 w 3008034"/>
                  <a:gd name="connsiteY101" fmla="*/ 876300 h 3680460"/>
                  <a:gd name="connsiteX102" fmla="*/ 2634615 w 3008034"/>
                  <a:gd name="connsiteY102" fmla="*/ 845820 h 3680460"/>
                  <a:gd name="connsiteX103" fmla="*/ 2626995 w 3008034"/>
                  <a:gd name="connsiteY103" fmla="*/ 822960 h 3680460"/>
                  <a:gd name="connsiteX104" fmla="*/ 2611755 w 3008034"/>
                  <a:gd name="connsiteY104" fmla="*/ 800100 h 3680460"/>
                  <a:gd name="connsiteX105" fmla="*/ 2588895 w 3008034"/>
                  <a:gd name="connsiteY105" fmla="*/ 739140 h 3680460"/>
                  <a:gd name="connsiteX106" fmla="*/ 2448878 w 3008034"/>
                  <a:gd name="connsiteY106" fmla="*/ 621983 h 3680460"/>
                  <a:gd name="connsiteX107" fmla="*/ 2291715 w 3008034"/>
                  <a:gd name="connsiteY107" fmla="*/ 458152 h 3680460"/>
                  <a:gd name="connsiteX108" fmla="*/ 2227898 w 3008034"/>
                  <a:gd name="connsiteY108" fmla="*/ 406717 h 3680460"/>
                  <a:gd name="connsiteX109" fmla="*/ 2093595 w 3008034"/>
                  <a:gd name="connsiteY109" fmla="*/ 312420 h 3680460"/>
                  <a:gd name="connsiteX110" fmla="*/ 2032635 w 3008034"/>
                  <a:gd name="connsiteY110" fmla="*/ 266700 h 3680460"/>
                  <a:gd name="connsiteX111" fmla="*/ 1994535 w 3008034"/>
                  <a:gd name="connsiteY111" fmla="*/ 251460 h 3680460"/>
                  <a:gd name="connsiteX112" fmla="*/ 1948815 w 3008034"/>
                  <a:gd name="connsiteY112" fmla="*/ 220980 h 3680460"/>
                  <a:gd name="connsiteX113" fmla="*/ 1887855 w 3008034"/>
                  <a:gd name="connsiteY11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1315 w 3008034"/>
                  <a:gd name="connsiteY85" fmla="*/ 2087880 h 3680460"/>
                  <a:gd name="connsiteX86" fmla="*/ 2908935 w 3008034"/>
                  <a:gd name="connsiteY86" fmla="*/ 2049780 h 3680460"/>
                  <a:gd name="connsiteX87" fmla="*/ 2924175 w 3008034"/>
                  <a:gd name="connsiteY87" fmla="*/ 1844040 h 3680460"/>
                  <a:gd name="connsiteX88" fmla="*/ 2908935 w 3008034"/>
                  <a:gd name="connsiteY88" fmla="*/ 1470660 h 3680460"/>
                  <a:gd name="connsiteX89" fmla="*/ 2886075 w 3008034"/>
                  <a:gd name="connsiteY89" fmla="*/ 1371600 h 3680460"/>
                  <a:gd name="connsiteX90" fmla="*/ 2870835 w 3008034"/>
                  <a:gd name="connsiteY90" fmla="*/ 1341120 h 3680460"/>
                  <a:gd name="connsiteX91" fmla="*/ 2847975 w 3008034"/>
                  <a:gd name="connsiteY91" fmla="*/ 1272540 h 3680460"/>
                  <a:gd name="connsiteX92" fmla="*/ 2840355 w 3008034"/>
                  <a:gd name="connsiteY92" fmla="*/ 1234440 h 3680460"/>
                  <a:gd name="connsiteX93" fmla="*/ 2817495 w 3008034"/>
                  <a:gd name="connsiteY93" fmla="*/ 1196340 h 3680460"/>
                  <a:gd name="connsiteX94" fmla="*/ 2802255 w 3008034"/>
                  <a:gd name="connsiteY94" fmla="*/ 1165860 h 3680460"/>
                  <a:gd name="connsiteX95" fmla="*/ 2771775 w 3008034"/>
                  <a:gd name="connsiteY95" fmla="*/ 1127760 h 3680460"/>
                  <a:gd name="connsiteX96" fmla="*/ 2756535 w 3008034"/>
                  <a:gd name="connsiteY96" fmla="*/ 1089660 h 3680460"/>
                  <a:gd name="connsiteX97" fmla="*/ 2726055 w 3008034"/>
                  <a:gd name="connsiteY97" fmla="*/ 1043940 h 3680460"/>
                  <a:gd name="connsiteX98" fmla="*/ 2718435 w 3008034"/>
                  <a:gd name="connsiteY98" fmla="*/ 1021080 h 3680460"/>
                  <a:gd name="connsiteX99" fmla="*/ 2672715 w 3008034"/>
                  <a:gd name="connsiteY99" fmla="*/ 937260 h 3680460"/>
                  <a:gd name="connsiteX100" fmla="*/ 2649855 w 3008034"/>
                  <a:gd name="connsiteY100" fmla="*/ 876300 h 3680460"/>
                  <a:gd name="connsiteX101" fmla="*/ 2634615 w 3008034"/>
                  <a:gd name="connsiteY101" fmla="*/ 845820 h 3680460"/>
                  <a:gd name="connsiteX102" fmla="*/ 2626995 w 3008034"/>
                  <a:gd name="connsiteY102" fmla="*/ 822960 h 3680460"/>
                  <a:gd name="connsiteX103" fmla="*/ 2611755 w 3008034"/>
                  <a:gd name="connsiteY103" fmla="*/ 800100 h 3680460"/>
                  <a:gd name="connsiteX104" fmla="*/ 2588895 w 3008034"/>
                  <a:gd name="connsiteY104" fmla="*/ 739140 h 3680460"/>
                  <a:gd name="connsiteX105" fmla="*/ 2448878 w 3008034"/>
                  <a:gd name="connsiteY105" fmla="*/ 621983 h 3680460"/>
                  <a:gd name="connsiteX106" fmla="*/ 2291715 w 3008034"/>
                  <a:gd name="connsiteY106" fmla="*/ 458152 h 3680460"/>
                  <a:gd name="connsiteX107" fmla="*/ 2227898 w 3008034"/>
                  <a:gd name="connsiteY107" fmla="*/ 406717 h 3680460"/>
                  <a:gd name="connsiteX108" fmla="*/ 2093595 w 3008034"/>
                  <a:gd name="connsiteY108" fmla="*/ 312420 h 3680460"/>
                  <a:gd name="connsiteX109" fmla="*/ 2032635 w 3008034"/>
                  <a:gd name="connsiteY109" fmla="*/ 266700 h 3680460"/>
                  <a:gd name="connsiteX110" fmla="*/ 1994535 w 3008034"/>
                  <a:gd name="connsiteY110" fmla="*/ 251460 h 3680460"/>
                  <a:gd name="connsiteX111" fmla="*/ 1948815 w 3008034"/>
                  <a:gd name="connsiteY111" fmla="*/ 220980 h 3680460"/>
                  <a:gd name="connsiteX112" fmla="*/ 1887855 w 3008034"/>
                  <a:gd name="connsiteY11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17495 w 3008034"/>
                  <a:gd name="connsiteY92" fmla="*/ 1196340 h 3680460"/>
                  <a:gd name="connsiteX93" fmla="*/ 2802255 w 3008034"/>
                  <a:gd name="connsiteY93" fmla="*/ 1165860 h 3680460"/>
                  <a:gd name="connsiteX94" fmla="*/ 2771775 w 3008034"/>
                  <a:gd name="connsiteY94" fmla="*/ 1127760 h 3680460"/>
                  <a:gd name="connsiteX95" fmla="*/ 2756535 w 3008034"/>
                  <a:gd name="connsiteY95" fmla="*/ 1089660 h 3680460"/>
                  <a:gd name="connsiteX96" fmla="*/ 2726055 w 3008034"/>
                  <a:gd name="connsiteY96" fmla="*/ 1043940 h 3680460"/>
                  <a:gd name="connsiteX97" fmla="*/ 2718435 w 3008034"/>
                  <a:gd name="connsiteY97" fmla="*/ 1021080 h 3680460"/>
                  <a:gd name="connsiteX98" fmla="*/ 2672715 w 3008034"/>
                  <a:gd name="connsiteY98" fmla="*/ 937260 h 3680460"/>
                  <a:gd name="connsiteX99" fmla="*/ 2649855 w 3008034"/>
                  <a:gd name="connsiteY99" fmla="*/ 876300 h 3680460"/>
                  <a:gd name="connsiteX100" fmla="*/ 2634615 w 3008034"/>
                  <a:gd name="connsiteY100" fmla="*/ 845820 h 3680460"/>
                  <a:gd name="connsiteX101" fmla="*/ 2626995 w 3008034"/>
                  <a:gd name="connsiteY101" fmla="*/ 822960 h 3680460"/>
                  <a:gd name="connsiteX102" fmla="*/ 2611755 w 3008034"/>
                  <a:gd name="connsiteY102" fmla="*/ 800100 h 3680460"/>
                  <a:gd name="connsiteX103" fmla="*/ 2588895 w 3008034"/>
                  <a:gd name="connsiteY103" fmla="*/ 739140 h 3680460"/>
                  <a:gd name="connsiteX104" fmla="*/ 2448878 w 3008034"/>
                  <a:gd name="connsiteY104" fmla="*/ 621983 h 3680460"/>
                  <a:gd name="connsiteX105" fmla="*/ 2291715 w 3008034"/>
                  <a:gd name="connsiteY105" fmla="*/ 458152 h 3680460"/>
                  <a:gd name="connsiteX106" fmla="*/ 2227898 w 3008034"/>
                  <a:gd name="connsiteY106" fmla="*/ 406717 h 3680460"/>
                  <a:gd name="connsiteX107" fmla="*/ 2093595 w 3008034"/>
                  <a:gd name="connsiteY107" fmla="*/ 312420 h 3680460"/>
                  <a:gd name="connsiteX108" fmla="*/ 2032635 w 3008034"/>
                  <a:gd name="connsiteY108" fmla="*/ 266700 h 3680460"/>
                  <a:gd name="connsiteX109" fmla="*/ 1994535 w 3008034"/>
                  <a:gd name="connsiteY109" fmla="*/ 251460 h 3680460"/>
                  <a:gd name="connsiteX110" fmla="*/ 1948815 w 3008034"/>
                  <a:gd name="connsiteY110" fmla="*/ 220980 h 3680460"/>
                  <a:gd name="connsiteX111" fmla="*/ 1887855 w 3008034"/>
                  <a:gd name="connsiteY11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02255 w 3008034"/>
                  <a:gd name="connsiteY92" fmla="*/ 1165860 h 3680460"/>
                  <a:gd name="connsiteX93" fmla="*/ 2771775 w 3008034"/>
                  <a:gd name="connsiteY93" fmla="*/ 1127760 h 3680460"/>
                  <a:gd name="connsiteX94" fmla="*/ 2756535 w 3008034"/>
                  <a:gd name="connsiteY94" fmla="*/ 1089660 h 3680460"/>
                  <a:gd name="connsiteX95" fmla="*/ 2726055 w 3008034"/>
                  <a:gd name="connsiteY95" fmla="*/ 1043940 h 3680460"/>
                  <a:gd name="connsiteX96" fmla="*/ 2718435 w 3008034"/>
                  <a:gd name="connsiteY96" fmla="*/ 1021080 h 3680460"/>
                  <a:gd name="connsiteX97" fmla="*/ 2672715 w 3008034"/>
                  <a:gd name="connsiteY97" fmla="*/ 937260 h 3680460"/>
                  <a:gd name="connsiteX98" fmla="*/ 2649855 w 3008034"/>
                  <a:gd name="connsiteY98" fmla="*/ 876300 h 3680460"/>
                  <a:gd name="connsiteX99" fmla="*/ 2634615 w 3008034"/>
                  <a:gd name="connsiteY99" fmla="*/ 845820 h 3680460"/>
                  <a:gd name="connsiteX100" fmla="*/ 2626995 w 3008034"/>
                  <a:gd name="connsiteY100" fmla="*/ 822960 h 3680460"/>
                  <a:gd name="connsiteX101" fmla="*/ 2611755 w 3008034"/>
                  <a:gd name="connsiteY101" fmla="*/ 800100 h 3680460"/>
                  <a:gd name="connsiteX102" fmla="*/ 2588895 w 3008034"/>
                  <a:gd name="connsiteY102" fmla="*/ 739140 h 3680460"/>
                  <a:gd name="connsiteX103" fmla="*/ 2448878 w 3008034"/>
                  <a:gd name="connsiteY103" fmla="*/ 621983 h 3680460"/>
                  <a:gd name="connsiteX104" fmla="*/ 2291715 w 3008034"/>
                  <a:gd name="connsiteY104" fmla="*/ 458152 h 3680460"/>
                  <a:gd name="connsiteX105" fmla="*/ 2227898 w 3008034"/>
                  <a:gd name="connsiteY105" fmla="*/ 406717 h 3680460"/>
                  <a:gd name="connsiteX106" fmla="*/ 2093595 w 3008034"/>
                  <a:gd name="connsiteY106" fmla="*/ 312420 h 3680460"/>
                  <a:gd name="connsiteX107" fmla="*/ 2032635 w 3008034"/>
                  <a:gd name="connsiteY107" fmla="*/ 266700 h 3680460"/>
                  <a:gd name="connsiteX108" fmla="*/ 1994535 w 3008034"/>
                  <a:gd name="connsiteY108" fmla="*/ 251460 h 3680460"/>
                  <a:gd name="connsiteX109" fmla="*/ 1948815 w 3008034"/>
                  <a:gd name="connsiteY109" fmla="*/ 220980 h 3680460"/>
                  <a:gd name="connsiteX110" fmla="*/ 1887855 w 3008034"/>
                  <a:gd name="connsiteY11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71775 w 3008034"/>
                  <a:gd name="connsiteY92" fmla="*/ 1127760 h 3680460"/>
                  <a:gd name="connsiteX93" fmla="*/ 2756535 w 3008034"/>
                  <a:gd name="connsiteY93" fmla="*/ 1089660 h 3680460"/>
                  <a:gd name="connsiteX94" fmla="*/ 2726055 w 3008034"/>
                  <a:gd name="connsiteY94" fmla="*/ 1043940 h 3680460"/>
                  <a:gd name="connsiteX95" fmla="*/ 2718435 w 3008034"/>
                  <a:gd name="connsiteY95" fmla="*/ 1021080 h 3680460"/>
                  <a:gd name="connsiteX96" fmla="*/ 2672715 w 3008034"/>
                  <a:gd name="connsiteY96" fmla="*/ 937260 h 3680460"/>
                  <a:gd name="connsiteX97" fmla="*/ 2649855 w 3008034"/>
                  <a:gd name="connsiteY97" fmla="*/ 876300 h 3680460"/>
                  <a:gd name="connsiteX98" fmla="*/ 2634615 w 3008034"/>
                  <a:gd name="connsiteY98" fmla="*/ 845820 h 3680460"/>
                  <a:gd name="connsiteX99" fmla="*/ 2626995 w 3008034"/>
                  <a:gd name="connsiteY99" fmla="*/ 822960 h 3680460"/>
                  <a:gd name="connsiteX100" fmla="*/ 2611755 w 3008034"/>
                  <a:gd name="connsiteY100" fmla="*/ 800100 h 3680460"/>
                  <a:gd name="connsiteX101" fmla="*/ 2588895 w 3008034"/>
                  <a:gd name="connsiteY101" fmla="*/ 739140 h 3680460"/>
                  <a:gd name="connsiteX102" fmla="*/ 2448878 w 3008034"/>
                  <a:gd name="connsiteY102" fmla="*/ 621983 h 3680460"/>
                  <a:gd name="connsiteX103" fmla="*/ 2291715 w 3008034"/>
                  <a:gd name="connsiteY103" fmla="*/ 458152 h 3680460"/>
                  <a:gd name="connsiteX104" fmla="*/ 2227898 w 3008034"/>
                  <a:gd name="connsiteY104" fmla="*/ 406717 h 3680460"/>
                  <a:gd name="connsiteX105" fmla="*/ 2093595 w 3008034"/>
                  <a:gd name="connsiteY105" fmla="*/ 312420 h 3680460"/>
                  <a:gd name="connsiteX106" fmla="*/ 2032635 w 3008034"/>
                  <a:gd name="connsiteY106" fmla="*/ 266700 h 3680460"/>
                  <a:gd name="connsiteX107" fmla="*/ 1994535 w 3008034"/>
                  <a:gd name="connsiteY107" fmla="*/ 251460 h 3680460"/>
                  <a:gd name="connsiteX108" fmla="*/ 1948815 w 3008034"/>
                  <a:gd name="connsiteY108" fmla="*/ 220980 h 3680460"/>
                  <a:gd name="connsiteX109" fmla="*/ 1887855 w 3008034"/>
                  <a:gd name="connsiteY10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26995 w 3008034"/>
                  <a:gd name="connsiteY98" fmla="*/ 822960 h 3680460"/>
                  <a:gd name="connsiteX99" fmla="*/ 2611755 w 3008034"/>
                  <a:gd name="connsiteY99" fmla="*/ 800100 h 3680460"/>
                  <a:gd name="connsiteX100" fmla="*/ 2588895 w 3008034"/>
                  <a:gd name="connsiteY100" fmla="*/ 739140 h 3680460"/>
                  <a:gd name="connsiteX101" fmla="*/ 2448878 w 3008034"/>
                  <a:gd name="connsiteY101" fmla="*/ 621983 h 3680460"/>
                  <a:gd name="connsiteX102" fmla="*/ 2291715 w 3008034"/>
                  <a:gd name="connsiteY102" fmla="*/ 458152 h 3680460"/>
                  <a:gd name="connsiteX103" fmla="*/ 2227898 w 3008034"/>
                  <a:gd name="connsiteY103" fmla="*/ 406717 h 3680460"/>
                  <a:gd name="connsiteX104" fmla="*/ 2093595 w 3008034"/>
                  <a:gd name="connsiteY104" fmla="*/ 312420 h 3680460"/>
                  <a:gd name="connsiteX105" fmla="*/ 2032635 w 3008034"/>
                  <a:gd name="connsiteY105" fmla="*/ 266700 h 3680460"/>
                  <a:gd name="connsiteX106" fmla="*/ 1994535 w 3008034"/>
                  <a:gd name="connsiteY106" fmla="*/ 251460 h 3680460"/>
                  <a:gd name="connsiteX107" fmla="*/ 1948815 w 3008034"/>
                  <a:gd name="connsiteY107" fmla="*/ 220980 h 3680460"/>
                  <a:gd name="connsiteX108" fmla="*/ 1887855 w 3008034"/>
                  <a:gd name="connsiteY10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588895 w 3008034"/>
                  <a:gd name="connsiteY99" fmla="*/ 739140 h 3680460"/>
                  <a:gd name="connsiteX100" fmla="*/ 2448878 w 3008034"/>
                  <a:gd name="connsiteY100" fmla="*/ 621983 h 3680460"/>
                  <a:gd name="connsiteX101" fmla="*/ 2291715 w 3008034"/>
                  <a:gd name="connsiteY101" fmla="*/ 458152 h 3680460"/>
                  <a:gd name="connsiteX102" fmla="*/ 2227898 w 3008034"/>
                  <a:gd name="connsiteY102" fmla="*/ 406717 h 3680460"/>
                  <a:gd name="connsiteX103" fmla="*/ 2093595 w 3008034"/>
                  <a:gd name="connsiteY103" fmla="*/ 312420 h 3680460"/>
                  <a:gd name="connsiteX104" fmla="*/ 2032635 w 3008034"/>
                  <a:gd name="connsiteY104" fmla="*/ 266700 h 3680460"/>
                  <a:gd name="connsiteX105" fmla="*/ 1994535 w 3008034"/>
                  <a:gd name="connsiteY105" fmla="*/ 251460 h 3680460"/>
                  <a:gd name="connsiteX106" fmla="*/ 1948815 w 3008034"/>
                  <a:gd name="connsiteY106" fmla="*/ 220980 h 3680460"/>
                  <a:gd name="connsiteX107" fmla="*/ 1887855 w 3008034"/>
                  <a:gd name="connsiteY10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448878 w 3008034"/>
                  <a:gd name="connsiteY99" fmla="*/ 621983 h 3680460"/>
                  <a:gd name="connsiteX100" fmla="*/ 2291715 w 3008034"/>
                  <a:gd name="connsiteY100" fmla="*/ 458152 h 3680460"/>
                  <a:gd name="connsiteX101" fmla="*/ 2227898 w 3008034"/>
                  <a:gd name="connsiteY101" fmla="*/ 406717 h 3680460"/>
                  <a:gd name="connsiteX102" fmla="*/ 2093595 w 3008034"/>
                  <a:gd name="connsiteY102" fmla="*/ 312420 h 3680460"/>
                  <a:gd name="connsiteX103" fmla="*/ 2032635 w 3008034"/>
                  <a:gd name="connsiteY103" fmla="*/ 266700 h 3680460"/>
                  <a:gd name="connsiteX104" fmla="*/ 1994535 w 3008034"/>
                  <a:gd name="connsiteY104" fmla="*/ 251460 h 3680460"/>
                  <a:gd name="connsiteX105" fmla="*/ 1948815 w 3008034"/>
                  <a:gd name="connsiteY105" fmla="*/ 220980 h 3680460"/>
                  <a:gd name="connsiteX106" fmla="*/ 1887855 w 3008034"/>
                  <a:gd name="connsiteY10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18435 w 3008034"/>
                  <a:gd name="connsiteY18" fmla="*/ 678180 h 3680460"/>
                  <a:gd name="connsiteX19" fmla="*/ 2756535 w 3008034"/>
                  <a:gd name="connsiteY19" fmla="*/ 754380 h 3680460"/>
                  <a:gd name="connsiteX20" fmla="*/ 2809875 w 3008034"/>
                  <a:gd name="connsiteY20" fmla="*/ 830580 h 3680460"/>
                  <a:gd name="connsiteX21" fmla="*/ 2908935 w 3008034"/>
                  <a:gd name="connsiteY21" fmla="*/ 1036320 h 3680460"/>
                  <a:gd name="connsiteX22" fmla="*/ 2924175 w 3008034"/>
                  <a:gd name="connsiteY22" fmla="*/ 1074420 h 3680460"/>
                  <a:gd name="connsiteX23" fmla="*/ 2954655 w 3008034"/>
                  <a:gd name="connsiteY23" fmla="*/ 1203960 h 3680460"/>
                  <a:gd name="connsiteX24" fmla="*/ 2969895 w 3008034"/>
                  <a:gd name="connsiteY24" fmla="*/ 1264920 h 3680460"/>
                  <a:gd name="connsiteX25" fmla="*/ 2985135 w 3008034"/>
                  <a:gd name="connsiteY25" fmla="*/ 1348740 h 3680460"/>
                  <a:gd name="connsiteX26" fmla="*/ 3000375 w 3008034"/>
                  <a:gd name="connsiteY26" fmla="*/ 1432560 h 3680460"/>
                  <a:gd name="connsiteX27" fmla="*/ 3007995 w 3008034"/>
                  <a:gd name="connsiteY27" fmla="*/ 1684020 h 3680460"/>
                  <a:gd name="connsiteX28" fmla="*/ 3003233 w 3008034"/>
                  <a:gd name="connsiteY28" fmla="*/ 1990725 h 3680460"/>
                  <a:gd name="connsiteX29" fmla="*/ 2969895 w 3008034"/>
                  <a:gd name="connsiteY29" fmla="*/ 2194560 h 3680460"/>
                  <a:gd name="connsiteX30" fmla="*/ 2931795 w 3008034"/>
                  <a:gd name="connsiteY30" fmla="*/ 2324100 h 3680460"/>
                  <a:gd name="connsiteX31" fmla="*/ 2916555 w 3008034"/>
                  <a:gd name="connsiteY31" fmla="*/ 2392680 h 3680460"/>
                  <a:gd name="connsiteX32" fmla="*/ 2867978 w 3008034"/>
                  <a:gd name="connsiteY32" fmla="*/ 2521267 h 3680460"/>
                  <a:gd name="connsiteX33" fmla="*/ 2801303 w 3008034"/>
                  <a:gd name="connsiteY33" fmla="*/ 2656523 h 3680460"/>
                  <a:gd name="connsiteX34" fmla="*/ 2719387 w 3008034"/>
                  <a:gd name="connsiteY34" fmla="*/ 2818447 h 3680460"/>
                  <a:gd name="connsiteX35" fmla="*/ 2495550 w 3008034"/>
                  <a:gd name="connsiteY35" fmla="*/ 3084195 h 3680460"/>
                  <a:gd name="connsiteX36" fmla="*/ 2396490 w 3008034"/>
                  <a:gd name="connsiteY36" fmla="*/ 3185160 h 3680460"/>
                  <a:gd name="connsiteX37" fmla="*/ 2284095 w 3008034"/>
                  <a:gd name="connsiteY37" fmla="*/ 3284220 h 3680460"/>
                  <a:gd name="connsiteX38" fmla="*/ 2131695 w 3008034"/>
                  <a:gd name="connsiteY38" fmla="*/ 3390900 h 3680460"/>
                  <a:gd name="connsiteX39" fmla="*/ 2000250 w 3008034"/>
                  <a:gd name="connsiteY39" fmla="*/ 3448050 h 3680460"/>
                  <a:gd name="connsiteX40" fmla="*/ 1864995 w 3008034"/>
                  <a:gd name="connsiteY40" fmla="*/ 3512820 h 3680460"/>
                  <a:gd name="connsiteX41" fmla="*/ 1819275 w 3008034"/>
                  <a:gd name="connsiteY41" fmla="*/ 3520440 h 3680460"/>
                  <a:gd name="connsiteX42" fmla="*/ 1712595 w 3008034"/>
                  <a:gd name="connsiteY42" fmla="*/ 3550920 h 3680460"/>
                  <a:gd name="connsiteX43" fmla="*/ 1590675 w 3008034"/>
                  <a:gd name="connsiteY43" fmla="*/ 3589020 h 3680460"/>
                  <a:gd name="connsiteX44" fmla="*/ 1560195 w 3008034"/>
                  <a:gd name="connsiteY44" fmla="*/ 3596640 h 3680460"/>
                  <a:gd name="connsiteX45" fmla="*/ 1537335 w 3008034"/>
                  <a:gd name="connsiteY45" fmla="*/ 3611880 h 3680460"/>
                  <a:gd name="connsiteX46" fmla="*/ 1453515 w 3008034"/>
                  <a:gd name="connsiteY46" fmla="*/ 3627120 h 3680460"/>
                  <a:gd name="connsiteX47" fmla="*/ 1323975 w 3008034"/>
                  <a:gd name="connsiteY47" fmla="*/ 3657600 h 3680460"/>
                  <a:gd name="connsiteX48" fmla="*/ 1194435 w 3008034"/>
                  <a:gd name="connsiteY48" fmla="*/ 3672840 h 3680460"/>
                  <a:gd name="connsiteX49" fmla="*/ 1156335 w 3008034"/>
                  <a:gd name="connsiteY49" fmla="*/ 3680460 h 3680460"/>
                  <a:gd name="connsiteX50" fmla="*/ 625792 w 3008034"/>
                  <a:gd name="connsiteY50" fmla="*/ 3668078 h 3680460"/>
                  <a:gd name="connsiteX51" fmla="*/ 402908 w 3008034"/>
                  <a:gd name="connsiteY51" fmla="*/ 3614738 h 3680460"/>
                  <a:gd name="connsiteX52" fmla="*/ 266700 w 3008034"/>
                  <a:gd name="connsiteY52" fmla="*/ 3570922 h 3680460"/>
                  <a:gd name="connsiteX53" fmla="*/ 164782 w 3008034"/>
                  <a:gd name="connsiteY53" fmla="*/ 3515678 h 3680460"/>
                  <a:gd name="connsiteX54" fmla="*/ 31433 w 3008034"/>
                  <a:gd name="connsiteY54" fmla="*/ 3422333 h 3680460"/>
                  <a:gd name="connsiteX55" fmla="*/ 0 w 3008034"/>
                  <a:gd name="connsiteY55" fmla="*/ 3376613 h 3680460"/>
                  <a:gd name="connsiteX56" fmla="*/ 127635 w 3008034"/>
                  <a:gd name="connsiteY56" fmla="*/ 3360420 h 3680460"/>
                  <a:gd name="connsiteX57" fmla="*/ 158115 w 3008034"/>
                  <a:gd name="connsiteY57" fmla="*/ 3390900 h 3680460"/>
                  <a:gd name="connsiteX58" fmla="*/ 317183 w 3008034"/>
                  <a:gd name="connsiteY58" fmla="*/ 3450907 h 3680460"/>
                  <a:gd name="connsiteX59" fmla="*/ 485775 w 3008034"/>
                  <a:gd name="connsiteY59" fmla="*/ 3520440 h 3680460"/>
                  <a:gd name="connsiteX60" fmla="*/ 721995 w 3008034"/>
                  <a:gd name="connsiteY60" fmla="*/ 3558540 h 3680460"/>
                  <a:gd name="connsiteX61" fmla="*/ 1331595 w 3008034"/>
                  <a:gd name="connsiteY61" fmla="*/ 3550920 h 3680460"/>
                  <a:gd name="connsiteX62" fmla="*/ 1529715 w 3008034"/>
                  <a:gd name="connsiteY62" fmla="*/ 3520440 h 3680460"/>
                  <a:gd name="connsiteX63" fmla="*/ 1621155 w 3008034"/>
                  <a:gd name="connsiteY63" fmla="*/ 3497580 h 3680460"/>
                  <a:gd name="connsiteX64" fmla="*/ 1689735 w 3008034"/>
                  <a:gd name="connsiteY64" fmla="*/ 3474720 h 3680460"/>
                  <a:gd name="connsiteX65" fmla="*/ 1781175 w 3008034"/>
                  <a:gd name="connsiteY65" fmla="*/ 3451860 h 3680460"/>
                  <a:gd name="connsiteX66" fmla="*/ 1811655 w 3008034"/>
                  <a:gd name="connsiteY66" fmla="*/ 3444240 h 3680460"/>
                  <a:gd name="connsiteX67" fmla="*/ 1864995 w 3008034"/>
                  <a:gd name="connsiteY67" fmla="*/ 3421380 h 3680460"/>
                  <a:gd name="connsiteX68" fmla="*/ 1918335 w 3008034"/>
                  <a:gd name="connsiteY68" fmla="*/ 3398520 h 3680460"/>
                  <a:gd name="connsiteX69" fmla="*/ 1941195 w 3008034"/>
                  <a:gd name="connsiteY69" fmla="*/ 3390900 h 3680460"/>
                  <a:gd name="connsiteX70" fmla="*/ 1994535 w 3008034"/>
                  <a:gd name="connsiteY70" fmla="*/ 3360420 h 3680460"/>
                  <a:gd name="connsiteX71" fmla="*/ 2032635 w 3008034"/>
                  <a:gd name="connsiteY71" fmla="*/ 3352800 h 3680460"/>
                  <a:gd name="connsiteX72" fmla="*/ 2070735 w 3008034"/>
                  <a:gd name="connsiteY72" fmla="*/ 3337560 h 3680460"/>
                  <a:gd name="connsiteX73" fmla="*/ 2189797 w 3008034"/>
                  <a:gd name="connsiteY73" fmla="*/ 3251835 h 3680460"/>
                  <a:gd name="connsiteX74" fmla="*/ 2337435 w 3008034"/>
                  <a:gd name="connsiteY74" fmla="*/ 3154680 h 3680460"/>
                  <a:gd name="connsiteX75" fmla="*/ 2436495 w 3008034"/>
                  <a:gd name="connsiteY75" fmla="*/ 3032760 h 3680460"/>
                  <a:gd name="connsiteX76" fmla="*/ 2459355 w 3008034"/>
                  <a:gd name="connsiteY76" fmla="*/ 3009900 h 3680460"/>
                  <a:gd name="connsiteX77" fmla="*/ 2527935 w 3008034"/>
                  <a:gd name="connsiteY77" fmla="*/ 2926080 h 3680460"/>
                  <a:gd name="connsiteX78" fmla="*/ 2619375 w 3008034"/>
                  <a:gd name="connsiteY78" fmla="*/ 2811780 h 3680460"/>
                  <a:gd name="connsiteX79" fmla="*/ 2634615 w 3008034"/>
                  <a:gd name="connsiteY79" fmla="*/ 2773680 h 3680460"/>
                  <a:gd name="connsiteX80" fmla="*/ 2665095 w 3008034"/>
                  <a:gd name="connsiteY80" fmla="*/ 2727960 h 3680460"/>
                  <a:gd name="connsiteX81" fmla="*/ 2695575 w 3008034"/>
                  <a:gd name="connsiteY81" fmla="*/ 2667000 h 3680460"/>
                  <a:gd name="connsiteX82" fmla="*/ 2779395 w 3008034"/>
                  <a:gd name="connsiteY82" fmla="*/ 2484120 h 3680460"/>
                  <a:gd name="connsiteX83" fmla="*/ 2802255 w 3008034"/>
                  <a:gd name="connsiteY83" fmla="*/ 2407920 h 3680460"/>
                  <a:gd name="connsiteX84" fmla="*/ 2908935 w 3008034"/>
                  <a:gd name="connsiteY84" fmla="*/ 2049780 h 3680460"/>
                  <a:gd name="connsiteX85" fmla="*/ 2924175 w 3008034"/>
                  <a:gd name="connsiteY85" fmla="*/ 1844040 h 3680460"/>
                  <a:gd name="connsiteX86" fmla="*/ 2908935 w 3008034"/>
                  <a:gd name="connsiteY86" fmla="*/ 1470660 h 3680460"/>
                  <a:gd name="connsiteX87" fmla="*/ 2886075 w 3008034"/>
                  <a:gd name="connsiteY87" fmla="*/ 1371600 h 3680460"/>
                  <a:gd name="connsiteX88" fmla="*/ 2870835 w 3008034"/>
                  <a:gd name="connsiteY88" fmla="*/ 1341120 h 3680460"/>
                  <a:gd name="connsiteX89" fmla="*/ 2847975 w 3008034"/>
                  <a:gd name="connsiteY89" fmla="*/ 1272540 h 3680460"/>
                  <a:gd name="connsiteX90" fmla="*/ 2840355 w 3008034"/>
                  <a:gd name="connsiteY90" fmla="*/ 1234440 h 3680460"/>
                  <a:gd name="connsiteX91" fmla="*/ 2756535 w 3008034"/>
                  <a:gd name="connsiteY91" fmla="*/ 1089660 h 3680460"/>
                  <a:gd name="connsiteX92" fmla="*/ 2726055 w 3008034"/>
                  <a:gd name="connsiteY92" fmla="*/ 1043940 h 3680460"/>
                  <a:gd name="connsiteX93" fmla="*/ 2718435 w 3008034"/>
                  <a:gd name="connsiteY93" fmla="*/ 1021080 h 3680460"/>
                  <a:gd name="connsiteX94" fmla="*/ 2672715 w 3008034"/>
                  <a:gd name="connsiteY94" fmla="*/ 937260 h 3680460"/>
                  <a:gd name="connsiteX95" fmla="*/ 2649855 w 3008034"/>
                  <a:gd name="connsiteY95" fmla="*/ 876300 h 3680460"/>
                  <a:gd name="connsiteX96" fmla="*/ 2634615 w 3008034"/>
                  <a:gd name="connsiteY96" fmla="*/ 845820 h 3680460"/>
                  <a:gd name="connsiteX97" fmla="*/ 2611755 w 3008034"/>
                  <a:gd name="connsiteY97" fmla="*/ 800100 h 3680460"/>
                  <a:gd name="connsiteX98" fmla="*/ 2448878 w 3008034"/>
                  <a:gd name="connsiteY98" fmla="*/ 621983 h 3680460"/>
                  <a:gd name="connsiteX99" fmla="*/ 2291715 w 3008034"/>
                  <a:gd name="connsiteY99" fmla="*/ 458152 h 3680460"/>
                  <a:gd name="connsiteX100" fmla="*/ 2227898 w 3008034"/>
                  <a:gd name="connsiteY100" fmla="*/ 406717 h 3680460"/>
                  <a:gd name="connsiteX101" fmla="*/ 2093595 w 3008034"/>
                  <a:gd name="connsiteY101" fmla="*/ 312420 h 3680460"/>
                  <a:gd name="connsiteX102" fmla="*/ 2032635 w 3008034"/>
                  <a:gd name="connsiteY102" fmla="*/ 266700 h 3680460"/>
                  <a:gd name="connsiteX103" fmla="*/ 1994535 w 3008034"/>
                  <a:gd name="connsiteY103" fmla="*/ 251460 h 3680460"/>
                  <a:gd name="connsiteX104" fmla="*/ 1948815 w 3008034"/>
                  <a:gd name="connsiteY104" fmla="*/ 220980 h 3680460"/>
                  <a:gd name="connsiteX105" fmla="*/ 1887855 w 3008034"/>
                  <a:gd name="connsiteY10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56535 w 3008034"/>
                  <a:gd name="connsiteY18" fmla="*/ 754380 h 3680460"/>
                  <a:gd name="connsiteX19" fmla="*/ 2809875 w 3008034"/>
                  <a:gd name="connsiteY19" fmla="*/ 830580 h 3680460"/>
                  <a:gd name="connsiteX20" fmla="*/ 2908935 w 3008034"/>
                  <a:gd name="connsiteY20" fmla="*/ 1036320 h 3680460"/>
                  <a:gd name="connsiteX21" fmla="*/ 2924175 w 3008034"/>
                  <a:gd name="connsiteY21" fmla="*/ 1074420 h 3680460"/>
                  <a:gd name="connsiteX22" fmla="*/ 2954655 w 3008034"/>
                  <a:gd name="connsiteY22" fmla="*/ 1203960 h 3680460"/>
                  <a:gd name="connsiteX23" fmla="*/ 2969895 w 3008034"/>
                  <a:gd name="connsiteY23" fmla="*/ 1264920 h 3680460"/>
                  <a:gd name="connsiteX24" fmla="*/ 2985135 w 3008034"/>
                  <a:gd name="connsiteY24" fmla="*/ 1348740 h 3680460"/>
                  <a:gd name="connsiteX25" fmla="*/ 3000375 w 3008034"/>
                  <a:gd name="connsiteY25" fmla="*/ 1432560 h 3680460"/>
                  <a:gd name="connsiteX26" fmla="*/ 3007995 w 3008034"/>
                  <a:gd name="connsiteY26" fmla="*/ 1684020 h 3680460"/>
                  <a:gd name="connsiteX27" fmla="*/ 3003233 w 3008034"/>
                  <a:gd name="connsiteY27" fmla="*/ 1990725 h 3680460"/>
                  <a:gd name="connsiteX28" fmla="*/ 2969895 w 3008034"/>
                  <a:gd name="connsiteY28" fmla="*/ 2194560 h 3680460"/>
                  <a:gd name="connsiteX29" fmla="*/ 2931795 w 3008034"/>
                  <a:gd name="connsiteY29" fmla="*/ 2324100 h 3680460"/>
                  <a:gd name="connsiteX30" fmla="*/ 2916555 w 3008034"/>
                  <a:gd name="connsiteY30" fmla="*/ 2392680 h 3680460"/>
                  <a:gd name="connsiteX31" fmla="*/ 2867978 w 3008034"/>
                  <a:gd name="connsiteY31" fmla="*/ 2521267 h 3680460"/>
                  <a:gd name="connsiteX32" fmla="*/ 2801303 w 3008034"/>
                  <a:gd name="connsiteY32" fmla="*/ 2656523 h 3680460"/>
                  <a:gd name="connsiteX33" fmla="*/ 2719387 w 3008034"/>
                  <a:gd name="connsiteY33" fmla="*/ 2818447 h 3680460"/>
                  <a:gd name="connsiteX34" fmla="*/ 2495550 w 3008034"/>
                  <a:gd name="connsiteY34" fmla="*/ 3084195 h 3680460"/>
                  <a:gd name="connsiteX35" fmla="*/ 2396490 w 3008034"/>
                  <a:gd name="connsiteY35" fmla="*/ 3185160 h 3680460"/>
                  <a:gd name="connsiteX36" fmla="*/ 2284095 w 3008034"/>
                  <a:gd name="connsiteY36" fmla="*/ 3284220 h 3680460"/>
                  <a:gd name="connsiteX37" fmla="*/ 2131695 w 3008034"/>
                  <a:gd name="connsiteY37" fmla="*/ 3390900 h 3680460"/>
                  <a:gd name="connsiteX38" fmla="*/ 2000250 w 3008034"/>
                  <a:gd name="connsiteY38" fmla="*/ 3448050 h 3680460"/>
                  <a:gd name="connsiteX39" fmla="*/ 1864995 w 3008034"/>
                  <a:gd name="connsiteY39" fmla="*/ 3512820 h 3680460"/>
                  <a:gd name="connsiteX40" fmla="*/ 1819275 w 3008034"/>
                  <a:gd name="connsiteY40" fmla="*/ 3520440 h 3680460"/>
                  <a:gd name="connsiteX41" fmla="*/ 1712595 w 3008034"/>
                  <a:gd name="connsiteY41" fmla="*/ 3550920 h 3680460"/>
                  <a:gd name="connsiteX42" fmla="*/ 1590675 w 3008034"/>
                  <a:gd name="connsiteY42" fmla="*/ 3589020 h 3680460"/>
                  <a:gd name="connsiteX43" fmla="*/ 1560195 w 3008034"/>
                  <a:gd name="connsiteY43" fmla="*/ 3596640 h 3680460"/>
                  <a:gd name="connsiteX44" fmla="*/ 1537335 w 3008034"/>
                  <a:gd name="connsiteY44" fmla="*/ 3611880 h 3680460"/>
                  <a:gd name="connsiteX45" fmla="*/ 1453515 w 3008034"/>
                  <a:gd name="connsiteY45" fmla="*/ 3627120 h 3680460"/>
                  <a:gd name="connsiteX46" fmla="*/ 1323975 w 3008034"/>
                  <a:gd name="connsiteY46" fmla="*/ 3657600 h 3680460"/>
                  <a:gd name="connsiteX47" fmla="*/ 1194435 w 3008034"/>
                  <a:gd name="connsiteY47" fmla="*/ 3672840 h 3680460"/>
                  <a:gd name="connsiteX48" fmla="*/ 1156335 w 3008034"/>
                  <a:gd name="connsiteY48" fmla="*/ 3680460 h 3680460"/>
                  <a:gd name="connsiteX49" fmla="*/ 625792 w 3008034"/>
                  <a:gd name="connsiteY49" fmla="*/ 3668078 h 3680460"/>
                  <a:gd name="connsiteX50" fmla="*/ 402908 w 3008034"/>
                  <a:gd name="connsiteY50" fmla="*/ 3614738 h 3680460"/>
                  <a:gd name="connsiteX51" fmla="*/ 266700 w 3008034"/>
                  <a:gd name="connsiteY51" fmla="*/ 3570922 h 3680460"/>
                  <a:gd name="connsiteX52" fmla="*/ 164782 w 3008034"/>
                  <a:gd name="connsiteY52" fmla="*/ 3515678 h 3680460"/>
                  <a:gd name="connsiteX53" fmla="*/ 31433 w 3008034"/>
                  <a:gd name="connsiteY53" fmla="*/ 3422333 h 3680460"/>
                  <a:gd name="connsiteX54" fmla="*/ 0 w 3008034"/>
                  <a:gd name="connsiteY54" fmla="*/ 3376613 h 3680460"/>
                  <a:gd name="connsiteX55" fmla="*/ 127635 w 3008034"/>
                  <a:gd name="connsiteY55" fmla="*/ 3360420 h 3680460"/>
                  <a:gd name="connsiteX56" fmla="*/ 158115 w 3008034"/>
                  <a:gd name="connsiteY56" fmla="*/ 3390900 h 3680460"/>
                  <a:gd name="connsiteX57" fmla="*/ 317183 w 3008034"/>
                  <a:gd name="connsiteY57" fmla="*/ 3450907 h 3680460"/>
                  <a:gd name="connsiteX58" fmla="*/ 485775 w 3008034"/>
                  <a:gd name="connsiteY58" fmla="*/ 3520440 h 3680460"/>
                  <a:gd name="connsiteX59" fmla="*/ 721995 w 3008034"/>
                  <a:gd name="connsiteY59" fmla="*/ 3558540 h 3680460"/>
                  <a:gd name="connsiteX60" fmla="*/ 1331595 w 3008034"/>
                  <a:gd name="connsiteY60" fmla="*/ 3550920 h 3680460"/>
                  <a:gd name="connsiteX61" fmla="*/ 1529715 w 3008034"/>
                  <a:gd name="connsiteY61" fmla="*/ 3520440 h 3680460"/>
                  <a:gd name="connsiteX62" fmla="*/ 1621155 w 3008034"/>
                  <a:gd name="connsiteY62" fmla="*/ 3497580 h 3680460"/>
                  <a:gd name="connsiteX63" fmla="*/ 1689735 w 3008034"/>
                  <a:gd name="connsiteY63" fmla="*/ 3474720 h 3680460"/>
                  <a:gd name="connsiteX64" fmla="*/ 1781175 w 3008034"/>
                  <a:gd name="connsiteY64" fmla="*/ 3451860 h 3680460"/>
                  <a:gd name="connsiteX65" fmla="*/ 1811655 w 3008034"/>
                  <a:gd name="connsiteY65" fmla="*/ 3444240 h 3680460"/>
                  <a:gd name="connsiteX66" fmla="*/ 1864995 w 3008034"/>
                  <a:gd name="connsiteY66" fmla="*/ 3421380 h 3680460"/>
                  <a:gd name="connsiteX67" fmla="*/ 1918335 w 3008034"/>
                  <a:gd name="connsiteY67" fmla="*/ 3398520 h 3680460"/>
                  <a:gd name="connsiteX68" fmla="*/ 1941195 w 3008034"/>
                  <a:gd name="connsiteY68" fmla="*/ 3390900 h 3680460"/>
                  <a:gd name="connsiteX69" fmla="*/ 1994535 w 3008034"/>
                  <a:gd name="connsiteY69" fmla="*/ 3360420 h 3680460"/>
                  <a:gd name="connsiteX70" fmla="*/ 2032635 w 3008034"/>
                  <a:gd name="connsiteY70" fmla="*/ 3352800 h 3680460"/>
                  <a:gd name="connsiteX71" fmla="*/ 2070735 w 3008034"/>
                  <a:gd name="connsiteY71" fmla="*/ 3337560 h 3680460"/>
                  <a:gd name="connsiteX72" fmla="*/ 2189797 w 3008034"/>
                  <a:gd name="connsiteY72" fmla="*/ 3251835 h 3680460"/>
                  <a:gd name="connsiteX73" fmla="*/ 2337435 w 3008034"/>
                  <a:gd name="connsiteY73" fmla="*/ 3154680 h 3680460"/>
                  <a:gd name="connsiteX74" fmla="*/ 2436495 w 3008034"/>
                  <a:gd name="connsiteY74" fmla="*/ 3032760 h 3680460"/>
                  <a:gd name="connsiteX75" fmla="*/ 2459355 w 3008034"/>
                  <a:gd name="connsiteY75" fmla="*/ 3009900 h 3680460"/>
                  <a:gd name="connsiteX76" fmla="*/ 2527935 w 3008034"/>
                  <a:gd name="connsiteY76" fmla="*/ 2926080 h 3680460"/>
                  <a:gd name="connsiteX77" fmla="*/ 2619375 w 3008034"/>
                  <a:gd name="connsiteY77" fmla="*/ 2811780 h 3680460"/>
                  <a:gd name="connsiteX78" fmla="*/ 2634615 w 3008034"/>
                  <a:gd name="connsiteY78" fmla="*/ 2773680 h 3680460"/>
                  <a:gd name="connsiteX79" fmla="*/ 2665095 w 3008034"/>
                  <a:gd name="connsiteY79" fmla="*/ 2727960 h 3680460"/>
                  <a:gd name="connsiteX80" fmla="*/ 2695575 w 3008034"/>
                  <a:gd name="connsiteY80" fmla="*/ 2667000 h 3680460"/>
                  <a:gd name="connsiteX81" fmla="*/ 2779395 w 3008034"/>
                  <a:gd name="connsiteY81" fmla="*/ 2484120 h 3680460"/>
                  <a:gd name="connsiteX82" fmla="*/ 2802255 w 3008034"/>
                  <a:gd name="connsiteY82" fmla="*/ 2407920 h 3680460"/>
                  <a:gd name="connsiteX83" fmla="*/ 2908935 w 3008034"/>
                  <a:gd name="connsiteY83" fmla="*/ 2049780 h 3680460"/>
                  <a:gd name="connsiteX84" fmla="*/ 2924175 w 3008034"/>
                  <a:gd name="connsiteY84" fmla="*/ 1844040 h 3680460"/>
                  <a:gd name="connsiteX85" fmla="*/ 2908935 w 3008034"/>
                  <a:gd name="connsiteY85" fmla="*/ 1470660 h 3680460"/>
                  <a:gd name="connsiteX86" fmla="*/ 2886075 w 3008034"/>
                  <a:gd name="connsiteY86" fmla="*/ 1371600 h 3680460"/>
                  <a:gd name="connsiteX87" fmla="*/ 2870835 w 3008034"/>
                  <a:gd name="connsiteY87" fmla="*/ 1341120 h 3680460"/>
                  <a:gd name="connsiteX88" fmla="*/ 2847975 w 3008034"/>
                  <a:gd name="connsiteY88" fmla="*/ 1272540 h 3680460"/>
                  <a:gd name="connsiteX89" fmla="*/ 2840355 w 3008034"/>
                  <a:gd name="connsiteY89" fmla="*/ 1234440 h 3680460"/>
                  <a:gd name="connsiteX90" fmla="*/ 2756535 w 3008034"/>
                  <a:gd name="connsiteY90" fmla="*/ 1089660 h 3680460"/>
                  <a:gd name="connsiteX91" fmla="*/ 2726055 w 3008034"/>
                  <a:gd name="connsiteY91" fmla="*/ 1043940 h 3680460"/>
                  <a:gd name="connsiteX92" fmla="*/ 2718435 w 3008034"/>
                  <a:gd name="connsiteY92" fmla="*/ 1021080 h 3680460"/>
                  <a:gd name="connsiteX93" fmla="*/ 2672715 w 3008034"/>
                  <a:gd name="connsiteY93" fmla="*/ 937260 h 3680460"/>
                  <a:gd name="connsiteX94" fmla="*/ 2649855 w 3008034"/>
                  <a:gd name="connsiteY94" fmla="*/ 876300 h 3680460"/>
                  <a:gd name="connsiteX95" fmla="*/ 2634615 w 3008034"/>
                  <a:gd name="connsiteY95" fmla="*/ 845820 h 3680460"/>
                  <a:gd name="connsiteX96" fmla="*/ 2611755 w 3008034"/>
                  <a:gd name="connsiteY96" fmla="*/ 800100 h 3680460"/>
                  <a:gd name="connsiteX97" fmla="*/ 2448878 w 3008034"/>
                  <a:gd name="connsiteY97" fmla="*/ 621983 h 3680460"/>
                  <a:gd name="connsiteX98" fmla="*/ 2291715 w 3008034"/>
                  <a:gd name="connsiteY98" fmla="*/ 458152 h 3680460"/>
                  <a:gd name="connsiteX99" fmla="*/ 2227898 w 3008034"/>
                  <a:gd name="connsiteY99" fmla="*/ 406717 h 3680460"/>
                  <a:gd name="connsiteX100" fmla="*/ 2093595 w 3008034"/>
                  <a:gd name="connsiteY100" fmla="*/ 312420 h 3680460"/>
                  <a:gd name="connsiteX101" fmla="*/ 2032635 w 3008034"/>
                  <a:gd name="connsiteY101" fmla="*/ 266700 h 3680460"/>
                  <a:gd name="connsiteX102" fmla="*/ 1994535 w 3008034"/>
                  <a:gd name="connsiteY102" fmla="*/ 251460 h 3680460"/>
                  <a:gd name="connsiteX103" fmla="*/ 1948815 w 3008034"/>
                  <a:gd name="connsiteY103" fmla="*/ 220980 h 3680460"/>
                  <a:gd name="connsiteX104" fmla="*/ 1887855 w 3008034"/>
                  <a:gd name="connsiteY10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56535 w 3008034"/>
                  <a:gd name="connsiteY17" fmla="*/ 754380 h 3680460"/>
                  <a:gd name="connsiteX18" fmla="*/ 2809875 w 3008034"/>
                  <a:gd name="connsiteY18" fmla="*/ 830580 h 3680460"/>
                  <a:gd name="connsiteX19" fmla="*/ 2908935 w 3008034"/>
                  <a:gd name="connsiteY19" fmla="*/ 1036320 h 3680460"/>
                  <a:gd name="connsiteX20" fmla="*/ 2924175 w 3008034"/>
                  <a:gd name="connsiteY20" fmla="*/ 1074420 h 3680460"/>
                  <a:gd name="connsiteX21" fmla="*/ 2954655 w 3008034"/>
                  <a:gd name="connsiteY21" fmla="*/ 1203960 h 3680460"/>
                  <a:gd name="connsiteX22" fmla="*/ 2969895 w 3008034"/>
                  <a:gd name="connsiteY22" fmla="*/ 1264920 h 3680460"/>
                  <a:gd name="connsiteX23" fmla="*/ 2985135 w 3008034"/>
                  <a:gd name="connsiteY23" fmla="*/ 1348740 h 3680460"/>
                  <a:gd name="connsiteX24" fmla="*/ 3000375 w 3008034"/>
                  <a:gd name="connsiteY24" fmla="*/ 1432560 h 3680460"/>
                  <a:gd name="connsiteX25" fmla="*/ 3007995 w 3008034"/>
                  <a:gd name="connsiteY25" fmla="*/ 1684020 h 3680460"/>
                  <a:gd name="connsiteX26" fmla="*/ 3003233 w 3008034"/>
                  <a:gd name="connsiteY26" fmla="*/ 1990725 h 3680460"/>
                  <a:gd name="connsiteX27" fmla="*/ 2969895 w 3008034"/>
                  <a:gd name="connsiteY27" fmla="*/ 2194560 h 3680460"/>
                  <a:gd name="connsiteX28" fmla="*/ 2931795 w 3008034"/>
                  <a:gd name="connsiteY28" fmla="*/ 2324100 h 3680460"/>
                  <a:gd name="connsiteX29" fmla="*/ 2916555 w 3008034"/>
                  <a:gd name="connsiteY29" fmla="*/ 2392680 h 3680460"/>
                  <a:gd name="connsiteX30" fmla="*/ 2867978 w 3008034"/>
                  <a:gd name="connsiteY30" fmla="*/ 2521267 h 3680460"/>
                  <a:gd name="connsiteX31" fmla="*/ 2801303 w 3008034"/>
                  <a:gd name="connsiteY31" fmla="*/ 2656523 h 3680460"/>
                  <a:gd name="connsiteX32" fmla="*/ 2719387 w 3008034"/>
                  <a:gd name="connsiteY32" fmla="*/ 2818447 h 3680460"/>
                  <a:gd name="connsiteX33" fmla="*/ 2495550 w 3008034"/>
                  <a:gd name="connsiteY33" fmla="*/ 3084195 h 3680460"/>
                  <a:gd name="connsiteX34" fmla="*/ 2396490 w 3008034"/>
                  <a:gd name="connsiteY34" fmla="*/ 3185160 h 3680460"/>
                  <a:gd name="connsiteX35" fmla="*/ 2284095 w 3008034"/>
                  <a:gd name="connsiteY35" fmla="*/ 3284220 h 3680460"/>
                  <a:gd name="connsiteX36" fmla="*/ 2131695 w 3008034"/>
                  <a:gd name="connsiteY36" fmla="*/ 3390900 h 3680460"/>
                  <a:gd name="connsiteX37" fmla="*/ 2000250 w 3008034"/>
                  <a:gd name="connsiteY37" fmla="*/ 3448050 h 3680460"/>
                  <a:gd name="connsiteX38" fmla="*/ 1864995 w 3008034"/>
                  <a:gd name="connsiteY38" fmla="*/ 3512820 h 3680460"/>
                  <a:gd name="connsiteX39" fmla="*/ 1819275 w 3008034"/>
                  <a:gd name="connsiteY39" fmla="*/ 3520440 h 3680460"/>
                  <a:gd name="connsiteX40" fmla="*/ 1712595 w 3008034"/>
                  <a:gd name="connsiteY40" fmla="*/ 3550920 h 3680460"/>
                  <a:gd name="connsiteX41" fmla="*/ 1590675 w 3008034"/>
                  <a:gd name="connsiteY41" fmla="*/ 3589020 h 3680460"/>
                  <a:gd name="connsiteX42" fmla="*/ 1560195 w 3008034"/>
                  <a:gd name="connsiteY42" fmla="*/ 3596640 h 3680460"/>
                  <a:gd name="connsiteX43" fmla="*/ 1537335 w 3008034"/>
                  <a:gd name="connsiteY43" fmla="*/ 3611880 h 3680460"/>
                  <a:gd name="connsiteX44" fmla="*/ 1453515 w 3008034"/>
                  <a:gd name="connsiteY44" fmla="*/ 3627120 h 3680460"/>
                  <a:gd name="connsiteX45" fmla="*/ 1323975 w 3008034"/>
                  <a:gd name="connsiteY45" fmla="*/ 3657600 h 3680460"/>
                  <a:gd name="connsiteX46" fmla="*/ 1194435 w 3008034"/>
                  <a:gd name="connsiteY46" fmla="*/ 3672840 h 3680460"/>
                  <a:gd name="connsiteX47" fmla="*/ 1156335 w 3008034"/>
                  <a:gd name="connsiteY47" fmla="*/ 3680460 h 3680460"/>
                  <a:gd name="connsiteX48" fmla="*/ 625792 w 3008034"/>
                  <a:gd name="connsiteY48" fmla="*/ 3668078 h 3680460"/>
                  <a:gd name="connsiteX49" fmla="*/ 402908 w 3008034"/>
                  <a:gd name="connsiteY49" fmla="*/ 3614738 h 3680460"/>
                  <a:gd name="connsiteX50" fmla="*/ 266700 w 3008034"/>
                  <a:gd name="connsiteY50" fmla="*/ 3570922 h 3680460"/>
                  <a:gd name="connsiteX51" fmla="*/ 164782 w 3008034"/>
                  <a:gd name="connsiteY51" fmla="*/ 3515678 h 3680460"/>
                  <a:gd name="connsiteX52" fmla="*/ 31433 w 3008034"/>
                  <a:gd name="connsiteY52" fmla="*/ 3422333 h 3680460"/>
                  <a:gd name="connsiteX53" fmla="*/ 0 w 3008034"/>
                  <a:gd name="connsiteY53" fmla="*/ 3376613 h 3680460"/>
                  <a:gd name="connsiteX54" fmla="*/ 127635 w 3008034"/>
                  <a:gd name="connsiteY54" fmla="*/ 3360420 h 3680460"/>
                  <a:gd name="connsiteX55" fmla="*/ 158115 w 3008034"/>
                  <a:gd name="connsiteY55" fmla="*/ 3390900 h 3680460"/>
                  <a:gd name="connsiteX56" fmla="*/ 317183 w 3008034"/>
                  <a:gd name="connsiteY56" fmla="*/ 3450907 h 3680460"/>
                  <a:gd name="connsiteX57" fmla="*/ 485775 w 3008034"/>
                  <a:gd name="connsiteY57" fmla="*/ 3520440 h 3680460"/>
                  <a:gd name="connsiteX58" fmla="*/ 721995 w 3008034"/>
                  <a:gd name="connsiteY58" fmla="*/ 3558540 h 3680460"/>
                  <a:gd name="connsiteX59" fmla="*/ 1331595 w 3008034"/>
                  <a:gd name="connsiteY59" fmla="*/ 3550920 h 3680460"/>
                  <a:gd name="connsiteX60" fmla="*/ 1529715 w 3008034"/>
                  <a:gd name="connsiteY60" fmla="*/ 3520440 h 3680460"/>
                  <a:gd name="connsiteX61" fmla="*/ 1621155 w 3008034"/>
                  <a:gd name="connsiteY61" fmla="*/ 3497580 h 3680460"/>
                  <a:gd name="connsiteX62" fmla="*/ 1689735 w 3008034"/>
                  <a:gd name="connsiteY62" fmla="*/ 3474720 h 3680460"/>
                  <a:gd name="connsiteX63" fmla="*/ 1781175 w 3008034"/>
                  <a:gd name="connsiteY63" fmla="*/ 3451860 h 3680460"/>
                  <a:gd name="connsiteX64" fmla="*/ 1811655 w 3008034"/>
                  <a:gd name="connsiteY64" fmla="*/ 3444240 h 3680460"/>
                  <a:gd name="connsiteX65" fmla="*/ 1864995 w 3008034"/>
                  <a:gd name="connsiteY65" fmla="*/ 3421380 h 3680460"/>
                  <a:gd name="connsiteX66" fmla="*/ 1918335 w 3008034"/>
                  <a:gd name="connsiteY66" fmla="*/ 3398520 h 3680460"/>
                  <a:gd name="connsiteX67" fmla="*/ 1941195 w 3008034"/>
                  <a:gd name="connsiteY67" fmla="*/ 3390900 h 3680460"/>
                  <a:gd name="connsiteX68" fmla="*/ 1994535 w 3008034"/>
                  <a:gd name="connsiteY68" fmla="*/ 3360420 h 3680460"/>
                  <a:gd name="connsiteX69" fmla="*/ 2032635 w 3008034"/>
                  <a:gd name="connsiteY69" fmla="*/ 3352800 h 3680460"/>
                  <a:gd name="connsiteX70" fmla="*/ 2070735 w 3008034"/>
                  <a:gd name="connsiteY70" fmla="*/ 3337560 h 3680460"/>
                  <a:gd name="connsiteX71" fmla="*/ 2189797 w 3008034"/>
                  <a:gd name="connsiteY71" fmla="*/ 3251835 h 3680460"/>
                  <a:gd name="connsiteX72" fmla="*/ 2337435 w 3008034"/>
                  <a:gd name="connsiteY72" fmla="*/ 3154680 h 3680460"/>
                  <a:gd name="connsiteX73" fmla="*/ 2436495 w 3008034"/>
                  <a:gd name="connsiteY73" fmla="*/ 3032760 h 3680460"/>
                  <a:gd name="connsiteX74" fmla="*/ 2459355 w 3008034"/>
                  <a:gd name="connsiteY74" fmla="*/ 3009900 h 3680460"/>
                  <a:gd name="connsiteX75" fmla="*/ 2527935 w 3008034"/>
                  <a:gd name="connsiteY75" fmla="*/ 2926080 h 3680460"/>
                  <a:gd name="connsiteX76" fmla="*/ 2619375 w 3008034"/>
                  <a:gd name="connsiteY76" fmla="*/ 2811780 h 3680460"/>
                  <a:gd name="connsiteX77" fmla="*/ 2634615 w 3008034"/>
                  <a:gd name="connsiteY77" fmla="*/ 2773680 h 3680460"/>
                  <a:gd name="connsiteX78" fmla="*/ 2665095 w 3008034"/>
                  <a:gd name="connsiteY78" fmla="*/ 2727960 h 3680460"/>
                  <a:gd name="connsiteX79" fmla="*/ 2695575 w 3008034"/>
                  <a:gd name="connsiteY79" fmla="*/ 2667000 h 3680460"/>
                  <a:gd name="connsiteX80" fmla="*/ 2779395 w 3008034"/>
                  <a:gd name="connsiteY80" fmla="*/ 2484120 h 3680460"/>
                  <a:gd name="connsiteX81" fmla="*/ 2802255 w 3008034"/>
                  <a:gd name="connsiteY81" fmla="*/ 2407920 h 3680460"/>
                  <a:gd name="connsiteX82" fmla="*/ 2908935 w 3008034"/>
                  <a:gd name="connsiteY82" fmla="*/ 2049780 h 3680460"/>
                  <a:gd name="connsiteX83" fmla="*/ 2924175 w 3008034"/>
                  <a:gd name="connsiteY83" fmla="*/ 1844040 h 3680460"/>
                  <a:gd name="connsiteX84" fmla="*/ 2908935 w 3008034"/>
                  <a:gd name="connsiteY84" fmla="*/ 1470660 h 3680460"/>
                  <a:gd name="connsiteX85" fmla="*/ 2886075 w 3008034"/>
                  <a:gd name="connsiteY85" fmla="*/ 1371600 h 3680460"/>
                  <a:gd name="connsiteX86" fmla="*/ 2870835 w 3008034"/>
                  <a:gd name="connsiteY86" fmla="*/ 1341120 h 3680460"/>
                  <a:gd name="connsiteX87" fmla="*/ 2847975 w 3008034"/>
                  <a:gd name="connsiteY87" fmla="*/ 1272540 h 3680460"/>
                  <a:gd name="connsiteX88" fmla="*/ 2840355 w 3008034"/>
                  <a:gd name="connsiteY88" fmla="*/ 1234440 h 3680460"/>
                  <a:gd name="connsiteX89" fmla="*/ 2756535 w 3008034"/>
                  <a:gd name="connsiteY89" fmla="*/ 1089660 h 3680460"/>
                  <a:gd name="connsiteX90" fmla="*/ 2726055 w 3008034"/>
                  <a:gd name="connsiteY90" fmla="*/ 1043940 h 3680460"/>
                  <a:gd name="connsiteX91" fmla="*/ 2718435 w 3008034"/>
                  <a:gd name="connsiteY91" fmla="*/ 1021080 h 3680460"/>
                  <a:gd name="connsiteX92" fmla="*/ 2672715 w 3008034"/>
                  <a:gd name="connsiteY92" fmla="*/ 937260 h 3680460"/>
                  <a:gd name="connsiteX93" fmla="*/ 2649855 w 3008034"/>
                  <a:gd name="connsiteY93" fmla="*/ 876300 h 3680460"/>
                  <a:gd name="connsiteX94" fmla="*/ 2634615 w 3008034"/>
                  <a:gd name="connsiteY94" fmla="*/ 845820 h 3680460"/>
                  <a:gd name="connsiteX95" fmla="*/ 2611755 w 3008034"/>
                  <a:gd name="connsiteY95" fmla="*/ 800100 h 3680460"/>
                  <a:gd name="connsiteX96" fmla="*/ 2448878 w 3008034"/>
                  <a:gd name="connsiteY96" fmla="*/ 621983 h 3680460"/>
                  <a:gd name="connsiteX97" fmla="*/ 2291715 w 3008034"/>
                  <a:gd name="connsiteY97" fmla="*/ 458152 h 3680460"/>
                  <a:gd name="connsiteX98" fmla="*/ 2227898 w 3008034"/>
                  <a:gd name="connsiteY98" fmla="*/ 406717 h 3680460"/>
                  <a:gd name="connsiteX99" fmla="*/ 2093595 w 3008034"/>
                  <a:gd name="connsiteY99" fmla="*/ 312420 h 3680460"/>
                  <a:gd name="connsiteX100" fmla="*/ 2032635 w 3008034"/>
                  <a:gd name="connsiteY100" fmla="*/ 266700 h 3680460"/>
                  <a:gd name="connsiteX101" fmla="*/ 1994535 w 3008034"/>
                  <a:gd name="connsiteY101" fmla="*/ 251460 h 3680460"/>
                  <a:gd name="connsiteX102" fmla="*/ 1948815 w 3008034"/>
                  <a:gd name="connsiteY102" fmla="*/ 220980 h 3680460"/>
                  <a:gd name="connsiteX103" fmla="*/ 1887855 w 3008034"/>
                  <a:gd name="connsiteY10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11655 w 3008034"/>
                  <a:gd name="connsiteY63" fmla="*/ 3444240 h 3680460"/>
                  <a:gd name="connsiteX64" fmla="*/ 1864995 w 3008034"/>
                  <a:gd name="connsiteY64" fmla="*/ 3421380 h 3680460"/>
                  <a:gd name="connsiteX65" fmla="*/ 1918335 w 3008034"/>
                  <a:gd name="connsiteY65" fmla="*/ 3398520 h 3680460"/>
                  <a:gd name="connsiteX66" fmla="*/ 1941195 w 3008034"/>
                  <a:gd name="connsiteY66" fmla="*/ 3390900 h 3680460"/>
                  <a:gd name="connsiteX67" fmla="*/ 1994535 w 3008034"/>
                  <a:gd name="connsiteY67" fmla="*/ 3360420 h 3680460"/>
                  <a:gd name="connsiteX68" fmla="*/ 2032635 w 3008034"/>
                  <a:gd name="connsiteY68" fmla="*/ 3352800 h 3680460"/>
                  <a:gd name="connsiteX69" fmla="*/ 2070735 w 3008034"/>
                  <a:gd name="connsiteY69" fmla="*/ 3337560 h 3680460"/>
                  <a:gd name="connsiteX70" fmla="*/ 2189797 w 3008034"/>
                  <a:gd name="connsiteY70" fmla="*/ 3251835 h 3680460"/>
                  <a:gd name="connsiteX71" fmla="*/ 2337435 w 3008034"/>
                  <a:gd name="connsiteY71" fmla="*/ 3154680 h 3680460"/>
                  <a:gd name="connsiteX72" fmla="*/ 2436495 w 3008034"/>
                  <a:gd name="connsiteY72" fmla="*/ 3032760 h 3680460"/>
                  <a:gd name="connsiteX73" fmla="*/ 2459355 w 3008034"/>
                  <a:gd name="connsiteY73" fmla="*/ 3009900 h 3680460"/>
                  <a:gd name="connsiteX74" fmla="*/ 2527935 w 3008034"/>
                  <a:gd name="connsiteY74" fmla="*/ 2926080 h 3680460"/>
                  <a:gd name="connsiteX75" fmla="*/ 2619375 w 3008034"/>
                  <a:gd name="connsiteY75" fmla="*/ 2811780 h 3680460"/>
                  <a:gd name="connsiteX76" fmla="*/ 2634615 w 3008034"/>
                  <a:gd name="connsiteY76" fmla="*/ 2773680 h 3680460"/>
                  <a:gd name="connsiteX77" fmla="*/ 2665095 w 3008034"/>
                  <a:gd name="connsiteY77" fmla="*/ 2727960 h 3680460"/>
                  <a:gd name="connsiteX78" fmla="*/ 2695575 w 3008034"/>
                  <a:gd name="connsiteY78" fmla="*/ 2667000 h 3680460"/>
                  <a:gd name="connsiteX79" fmla="*/ 2779395 w 3008034"/>
                  <a:gd name="connsiteY79" fmla="*/ 2484120 h 3680460"/>
                  <a:gd name="connsiteX80" fmla="*/ 2802255 w 3008034"/>
                  <a:gd name="connsiteY80" fmla="*/ 2407920 h 3680460"/>
                  <a:gd name="connsiteX81" fmla="*/ 2908935 w 3008034"/>
                  <a:gd name="connsiteY81" fmla="*/ 2049780 h 3680460"/>
                  <a:gd name="connsiteX82" fmla="*/ 2924175 w 3008034"/>
                  <a:gd name="connsiteY82" fmla="*/ 1844040 h 3680460"/>
                  <a:gd name="connsiteX83" fmla="*/ 2908935 w 3008034"/>
                  <a:gd name="connsiteY83" fmla="*/ 1470660 h 3680460"/>
                  <a:gd name="connsiteX84" fmla="*/ 2886075 w 3008034"/>
                  <a:gd name="connsiteY84" fmla="*/ 1371600 h 3680460"/>
                  <a:gd name="connsiteX85" fmla="*/ 2870835 w 3008034"/>
                  <a:gd name="connsiteY85" fmla="*/ 1341120 h 3680460"/>
                  <a:gd name="connsiteX86" fmla="*/ 2847975 w 3008034"/>
                  <a:gd name="connsiteY86" fmla="*/ 1272540 h 3680460"/>
                  <a:gd name="connsiteX87" fmla="*/ 2840355 w 3008034"/>
                  <a:gd name="connsiteY87" fmla="*/ 1234440 h 3680460"/>
                  <a:gd name="connsiteX88" fmla="*/ 2756535 w 3008034"/>
                  <a:gd name="connsiteY88" fmla="*/ 1089660 h 3680460"/>
                  <a:gd name="connsiteX89" fmla="*/ 2726055 w 3008034"/>
                  <a:gd name="connsiteY89" fmla="*/ 1043940 h 3680460"/>
                  <a:gd name="connsiteX90" fmla="*/ 2718435 w 3008034"/>
                  <a:gd name="connsiteY90" fmla="*/ 1021080 h 3680460"/>
                  <a:gd name="connsiteX91" fmla="*/ 2672715 w 3008034"/>
                  <a:gd name="connsiteY91" fmla="*/ 937260 h 3680460"/>
                  <a:gd name="connsiteX92" fmla="*/ 2649855 w 3008034"/>
                  <a:gd name="connsiteY92" fmla="*/ 876300 h 3680460"/>
                  <a:gd name="connsiteX93" fmla="*/ 2634615 w 3008034"/>
                  <a:gd name="connsiteY93" fmla="*/ 845820 h 3680460"/>
                  <a:gd name="connsiteX94" fmla="*/ 2611755 w 3008034"/>
                  <a:gd name="connsiteY94" fmla="*/ 800100 h 3680460"/>
                  <a:gd name="connsiteX95" fmla="*/ 2448878 w 3008034"/>
                  <a:gd name="connsiteY95" fmla="*/ 621983 h 3680460"/>
                  <a:gd name="connsiteX96" fmla="*/ 2291715 w 3008034"/>
                  <a:gd name="connsiteY96" fmla="*/ 458152 h 3680460"/>
                  <a:gd name="connsiteX97" fmla="*/ 2227898 w 3008034"/>
                  <a:gd name="connsiteY97" fmla="*/ 406717 h 3680460"/>
                  <a:gd name="connsiteX98" fmla="*/ 2093595 w 3008034"/>
                  <a:gd name="connsiteY98" fmla="*/ 312420 h 3680460"/>
                  <a:gd name="connsiteX99" fmla="*/ 2032635 w 3008034"/>
                  <a:gd name="connsiteY99" fmla="*/ 266700 h 3680460"/>
                  <a:gd name="connsiteX100" fmla="*/ 1994535 w 3008034"/>
                  <a:gd name="connsiteY100" fmla="*/ 251460 h 3680460"/>
                  <a:gd name="connsiteX101" fmla="*/ 1948815 w 3008034"/>
                  <a:gd name="connsiteY101" fmla="*/ 220980 h 3680460"/>
                  <a:gd name="connsiteX102" fmla="*/ 1887855 w 3008034"/>
                  <a:gd name="connsiteY10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1994535 w 3008034"/>
                  <a:gd name="connsiteY66" fmla="*/ 3360420 h 3680460"/>
                  <a:gd name="connsiteX67" fmla="*/ 2032635 w 3008034"/>
                  <a:gd name="connsiteY67" fmla="*/ 3352800 h 3680460"/>
                  <a:gd name="connsiteX68" fmla="*/ 2070735 w 3008034"/>
                  <a:gd name="connsiteY68" fmla="*/ 3337560 h 3680460"/>
                  <a:gd name="connsiteX69" fmla="*/ 2189797 w 3008034"/>
                  <a:gd name="connsiteY69" fmla="*/ 3251835 h 3680460"/>
                  <a:gd name="connsiteX70" fmla="*/ 2337435 w 3008034"/>
                  <a:gd name="connsiteY70" fmla="*/ 3154680 h 3680460"/>
                  <a:gd name="connsiteX71" fmla="*/ 2436495 w 3008034"/>
                  <a:gd name="connsiteY71" fmla="*/ 3032760 h 3680460"/>
                  <a:gd name="connsiteX72" fmla="*/ 2459355 w 3008034"/>
                  <a:gd name="connsiteY72" fmla="*/ 3009900 h 3680460"/>
                  <a:gd name="connsiteX73" fmla="*/ 2527935 w 3008034"/>
                  <a:gd name="connsiteY73" fmla="*/ 2926080 h 3680460"/>
                  <a:gd name="connsiteX74" fmla="*/ 2619375 w 3008034"/>
                  <a:gd name="connsiteY74" fmla="*/ 2811780 h 3680460"/>
                  <a:gd name="connsiteX75" fmla="*/ 2634615 w 3008034"/>
                  <a:gd name="connsiteY75" fmla="*/ 2773680 h 3680460"/>
                  <a:gd name="connsiteX76" fmla="*/ 2665095 w 3008034"/>
                  <a:gd name="connsiteY76" fmla="*/ 2727960 h 3680460"/>
                  <a:gd name="connsiteX77" fmla="*/ 2695575 w 3008034"/>
                  <a:gd name="connsiteY77" fmla="*/ 2667000 h 3680460"/>
                  <a:gd name="connsiteX78" fmla="*/ 2779395 w 3008034"/>
                  <a:gd name="connsiteY78" fmla="*/ 2484120 h 3680460"/>
                  <a:gd name="connsiteX79" fmla="*/ 2802255 w 3008034"/>
                  <a:gd name="connsiteY79" fmla="*/ 2407920 h 3680460"/>
                  <a:gd name="connsiteX80" fmla="*/ 2908935 w 3008034"/>
                  <a:gd name="connsiteY80" fmla="*/ 2049780 h 3680460"/>
                  <a:gd name="connsiteX81" fmla="*/ 2924175 w 3008034"/>
                  <a:gd name="connsiteY81" fmla="*/ 1844040 h 3680460"/>
                  <a:gd name="connsiteX82" fmla="*/ 2908935 w 3008034"/>
                  <a:gd name="connsiteY82" fmla="*/ 1470660 h 3680460"/>
                  <a:gd name="connsiteX83" fmla="*/ 2886075 w 3008034"/>
                  <a:gd name="connsiteY83" fmla="*/ 1371600 h 3680460"/>
                  <a:gd name="connsiteX84" fmla="*/ 2870835 w 3008034"/>
                  <a:gd name="connsiteY84" fmla="*/ 1341120 h 3680460"/>
                  <a:gd name="connsiteX85" fmla="*/ 2847975 w 3008034"/>
                  <a:gd name="connsiteY85" fmla="*/ 1272540 h 3680460"/>
                  <a:gd name="connsiteX86" fmla="*/ 2840355 w 3008034"/>
                  <a:gd name="connsiteY86" fmla="*/ 1234440 h 3680460"/>
                  <a:gd name="connsiteX87" fmla="*/ 2756535 w 3008034"/>
                  <a:gd name="connsiteY87" fmla="*/ 1089660 h 3680460"/>
                  <a:gd name="connsiteX88" fmla="*/ 2726055 w 3008034"/>
                  <a:gd name="connsiteY88" fmla="*/ 1043940 h 3680460"/>
                  <a:gd name="connsiteX89" fmla="*/ 2718435 w 3008034"/>
                  <a:gd name="connsiteY89" fmla="*/ 1021080 h 3680460"/>
                  <a:gd name="connsiteX90" fmla="*/ 2672715 w 3008034"/>
                  <a:gd name="connsiteY90" fmla="*/ 937260 h 3680460"/>
                  <a:gd name="connsiteX91" fmla="*/ 2649855 w 3008034"/>
                  <a:gd name="connsiteY91" fmla="*/ 876300 h 3680460"/>
                  <a:gd name="connsiteX92" fmla="*/ 2634615 w 3008034"/>
                  <a:gd name="connsiteY92" fmla="*/ 845820 h 3680460"/>
                  <a:gd name="connsiteX93" fmla="*/ 2611755 w 3008034"/>
                  <a:gd name="connsiteY93" fmla="*/ 800100 h 3680460"/>
                  <a:gd name="connsiteX94" fmla="*/ 2448878 w 3008034"/>
                  <a:gd name="connsiteY94" fmla="*/ 621983 h 3680460"/>
                  <a:gd name="connsiteX95" fmla="*/ 2291715 w 3008034"/>
                  <a:gd name="connsiteY95" fmla="*/ 458152 h 3680460"/>
                  <a:gd name="connsiteX96" fmla="*/ 2227898 w 3008034"/>
                  <a:gd name="connsiteY96" fmla="*/ 406717 h 3680460"/>
                  <a:gd name="connsiteX97" fmla="*/ 2093595 w 3008034"/>
                  <a:gd name="connsiteY97" fmla="*/ 312420 h 3680460"/>
                  <a:gd name="connsiteX98" fmla="*/ 2032635 w 3008034"/>
                  <a:gd name="connsiteY98" fmla="*/ 266700 h 3680460"/>
                  <a:gd name="connsiteX99" fmla="*/ 1994535 w 3008034"/>
                  <a:gd name="connsiteY99" fmla="*/ 251460 h 3680460"/>
                  <a:gd name="connsiteX100" fmla="*/ 1948815 w 3008034"/>
                  <a:gd name="connsiteY100" fmla="*/ 220980 h 3680460"/>
                  <a:gd name="connsiteX101" fmla="*/ 1887855 w 3008034"/>
                  <a:gd name="connsiteY10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32635 w 3008034"/>
                  <a:gd name="connsiteY66" fmla="*/ 3352800 h 3680460"/>
                  <a:gd name="connsiteX67" fmla="*/ 2070735 w 3008034"/>
                  <a:gd name="connsiteY67" fmla="*/ 3337560 h 3680460"/>
                  <a:gd name="connsiteX68" fmla="*/ 2189797 w 3008034"/>
                  <a:gd name="connsiteY68" fmla="*/ 3251835 h 3680460"/>
                  <a:gd name="connsiteX69" fmla="*/ 2337435 w 3008034"/>
                  <a:gd name="connsiteY69" fmla="*/ 3154680 h 3680460"/>
                  <a:gd name="connsiteX70" fmla="*/ 2436495 w 3008034"/>
                  <a:gd name="connsiteY70" fmla="*/ 3032760 h 3680460"/>
                  <a:gd name="connsiteX71" fmla="*/ 2459355 w 3008034"/>
                  <a:gd name="connsiteY71" fmla="*/ 3009900 h 3680460"/>
                  <a:gd name="connsiteX72" fmla="*/ 2527935 w 3008034"/>
                  <a:gd name="connsiteY72" fmla="*/ 2926080 h 3680460"/>
                  <a:gd name="connsiteX73" fmla="*/ 2619375 w 3008034"/>
                  <a:gd name="connsiteY73" fmla="*/ 2811780 h 3680460"/>
                  <a:gd name="connsiteX74" fmla="*/ 2634615 w 3008034"/>
                  <a:gd name="connsiteY74" fmla="*/ 2773680 h 3680460"/>
                  <a:gd name="connsiteX75" fmla="*/ 2665095 w 3008034"/>
                  <a:gd name="connsiteY75" fmla="*/ 2727960 h 3680460"/>
                  <a:gd name="connsiteX76" fmla="*/ 2695575 w 3008034"/>
                  <a:gd name="connsiteY76" fmla="*/ 2667000 h 3680460"/>
                  <a:gd name="connsiteX77" fmla="*/ 2779395 w 3008034"/>
                  <a:gd name="connsiteY77" fmla="*/ 2484120 h 3680460"/>
                  <a:gd name="connsiteX78" fmla="*/ 2802255 w 3008034"/>
                  <a:gd name="connsiteY78" fmla="*/ 2407920 h 3680460"/>
                  <a:gd name="connsiteX79" fmla="*/ 2908935 w 3008034"/>
                  <a:gd name="connsiteY79" fmla="*/ 2049780 h 3680460"/>
                  <a:gd name="connsiteX80" fmla="*/ 2924175 w 3008034"/>
                  <a:gd name="connsiteY80" fmla="*/ 1844040 h 3680460"/>
                  <a:gd name="connsiteX81" fmla="*/ 2908935 w 3008034"/>
                  <a:gd name="connsiteY81" fmla="*/ 1470660 h 3680460"/>
                  <a:gd name="connsiteX82" fmla="*/ 2886075 w 3008034"/>
                  <a:gd name="connsiteY82" fmla="*/ 1371600 h 3680460"/>
                  <a:gd name="connsiteX83" fmla="*/ 2870835 w 3008034"/>
                  <a:gd name="connsiteY83" fmla="*/ 1341120 h 3680460"/>
                  <a:gd name="connsiteX84" fmla="*/ 2847975 w 3008034"/>
                  <a:gd name="connsiteY84" fmla="*/ 1272540 h 3680460"/>
                  <a:gd name="connsiteX85" fmla="*/ 2840355 w 3008034"/>
                  <a:gd name="connsiteY85" fmla="*/ 1234440 h 3680460"/>
                  <a:gd name="connsiteX86" fmla="*/ 2756535 w 3008034"/>
                  <a:gd name="connsiteY86" fmla="*/ 1089660 h 3680460"/>
                  <a:gd name="connsiteX87" fmla="*/ 2726055 w 3008034"/>
                  <a:gd name="connsiteY87" fmla="*/ 1043940 h 3680460"/>
                  <a:gd name="connsiteX88" fmla="*/ 2718435 w 3008034"/>
                  <a:gd name="connsiteY88" fmla="*/ 1021080 h 3680460"/>
                  <a:gd name="connsiteX89" fmla="*/ 2672715 w 3008034"/>
                  <a:gd name="connsiteY89" fmla="*/ 937260 h 3680460"/>
                  <a:gd name="connsiteX90" fmla="*/ 2649855 w 3008034"/>
                  <a:gd name="connsiteY90" fmla="*/ 876300 h 3680460"/>
                  <a:gd name="connsiteX91" fmla="*/ 2634615 w 3008034"/>
                  <a:gd name="connsiteY91" fmla="*/ 845820 h 3680460"/>
                  <a:gd name="connsiteX92" fmla="*/ 2611755 w 3008034"/>
                  <a:gd name="connsiteY92" fmla="*/ 800100 h 3680460"/>
                  <a:gd name="connsiteX93" fmla="*/ 2448878 w 3008034"/>
                  <a:gd name="connsiteY93" fmla="*/ 621983 h 3680460"/>
                  <a:gd name="connsiteX94" fmla="*/ 2291715 w 3008034"/>
                  <a:gd name="connsiteY94" fmla="*/ 458152 h 3680460"/>
                  <a:gd name="connsiteX95" fmla="*/ 2227898 w 3008034"/>
                  <a:gd name="connsiteY95" fmla="*/ 406717 h 3680460"/>
                  <a:gd name="connsiteX96" fmla="*/ 2093595 w 3008034"/>
                  <a:gd name="connsiteY96" fmla="*/ 312420 h 3680460"/>
                  <a:gd name="connsiteX97" fmla="*/ 2032635 w 3008034"/>
                  <a:gd name="connsiteY97" fmla="*/ 266700 h 3680460"/>
                  <a:gd name="connsiteX98" fmla="*/ 1994535 w 3008034"/>
                  <a:gd name="connsiteY98" fmla="*/ 251460 h 3680460"/>
                  <a:gd name="connsiteX99" fmla="*/ 1948815 w 3008034"/>
                  <a:gd name="connsiteY99" fmla="*/ 220980 h 3680460"/>
                  <a:gd name="connsiteX100" fmla="*/ 1887855 w 3008034"/>
                  <a:gd name="connsiteY10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70735 w 3008034"/>
                  <a:gd name="connsiteY66" fmla="*/ 3337560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65095 w 3008034"/>
                  <a:gd name="connsiteY73" fmla="*/ 2727960 h 3680460"/>
                  <a:gd name="connsiteX74" fmla="*/ 2695575 w 3008034"/>
                  <a:gd name="connsiteY74" fmla="*/ 2667000 h 3680460"/>
                  <a:gd name="connsiteX75" fmla="*/ 2779395 w 3008034"/>
                  <a:gd name="connsiteY75" fmla="*/ 2484120 h 3680460"/>
                  <a:gd name="connsiteX76" fmla="*/ 2802255 w 3008034"/>
                  <a:gd name="connsiteY76" fmla="*/ 2407920 h 3680460"/>
                  <a:gd name="connsiteX77" fmla="*/ 2908935 w 3008034"/>
                  <a:gd name="connsiteY77" fmla="*/ 2049780 h 3680460"/>
                  <a:gd name="connsiteX78" fmla="*/ 2924175 w 3008034"/>
                  <a:gd name="connsiteY78" fmla="*/ 1844040 h 3680460"/>
                  <a:gd name="connsiteX79" fmla="*/ 2908935 w 3008034"/>
                  <a:gd name="connsiteY79" fmla="*/ 1470660 h 3680460"/>
                  <a:gd name="connsiteX80" fmla="*/ 2886075 w 3008034"/>
                  <a:gd name="connsiteY80" fmla="*/ 1371600 h 3680460"/>
                  <a:gd name="connsiteX81" fmla="*/ 2870835 w 3008034"/>
                  <a:gd name="connsiteY81" fmla="*/ 1341120 h 3680460"/>
                  <a:gd name="connsiteX82" fmla="*/ 2847975 w 3008034"/>
                  <a:gd name="connsiteY82" fmla="*/ 1272540 h 3680460"/>
                  <a:gd name="connsiteX83" fmla="*/ 2840355 w 3008034"/>
                  <a:gd name="connsiteY83" fmla="*/ 1234440 h 3680460"/>
                  <a:gd name="connsiteX84" fmla="*/ 2756535 w 3008034"/>
                  <a:gd name="connsiteY84" fmla="*/ 1089660 h 3680460"/>
                  <a:gd name="connsiteX85" fmla="*/ 2726055 w 3008034"/>
                  <a:gd name="connsiteY85" fmla="*/ 1043940 h 3680460"/>
                  <a:gd name="connsiteX86" fmla="*/ 2718435 w 3008034"/>
                  <a:gd name="connsiteY86" fmla="*/ 1021080 h 3680460"/>
                  <a:gd name="connsiteX87" fmla="*/ 2672715 w 3008034"/>
                  <a:gd name="connsiteY87" fmla="*/ 937260 h 3680460"/>
                  <a:gd name="connsiteX88" fmla="*/ 2649855 w 3008034"/>
                  <a:gd name="connsiteY88" fmla="*/ 876300 h 3680460"/>
                  <a:gd name="connsiteX89" fmla="*/ 2634615 w 3008034"/>
                  <a:gd name="connsiteY89" fmla="*/ 845820 h 3680460"/>
                  <a:gd name="connsiteX90" fmla="*/ 2611755 w 3008034"/>
                  <a:gd name="connsiteY90" fmla="*/ 800100 h 3680460"/>
                  <a:gd name="connsiteX91" fmla="*/ 2448878 w 3008034"/>
                  <a:gd name="connsiteY91" fmla="*/ 621983 h 3680460"/>
                  <a:gd name="connsiteX92" fmla="*/ 2291715 w 3008034"/>
                  <a:gd name="connsiteY92" fmla="*/ 458152 h 3680460"/>
                  <a:gd name="connsiteX93" fmla="*/ 2227898 w 3008034"/>
                  <a:gd name="connsiteY93" fmla="*/ 406717 h 3680460"/>
                  <a:gd name="connsiteX94" fmla="*/ 2093595 w 3008034"/>
                  <a:gd name="connsiteY94" fmla="*/ 312420 h 3680460"/>
                  <a:gd name="connsiteX95" fmla="*/ 2032635 w 3008034"/>
                  <a:gd name="connsiteY95" fmla="*/ 266700 h 3680460"/>
                  <a:gd name="connsiteX96" fmla="*/ 1994535 w 3008034"/>
                  <a:gd name="connsiteY96" fmla="*/ 251460 h 3680460"/>
                  <a:gd name="connsiteX97" fmla="*/ 1948815 w 3008034"/>
                  <a:gd name="connsiteY97" fmla="*/ 220980 h 3680460"/>
                  <a:gd name="connsiteX98" fmla="*/ 1887855 w 3008034"/>
                  <a:gd name="connsiteY9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59355 w 3008034"/>
                  <a:gd name="connsiteY69" fmla="*/ 3009900 h 3680460"/>
                  <a:gd name="connsiteX70" fmla="*/ 2527935 w 3008034"/>
                  <a:gd name="connsiteY70" fmla="*/ 2926080 h 3680460"/>
                  <a:gd name="connsiteX71" fmla="*/ 2619375 w 3008034"/>
                  <a:gd name="connsiteY71" fmla="*/ 2811780 h 3680460"/>
                  <a:gd name="connsiteX72" fmla="*/ 2665095 w 3008034"/>
                  <a:gd name="connsiteY72" fmla="*/ 2727960 h 3680460"/>
                  <a:gd name="connsiteX73" fmla="*/ 2695575 w 3008034"/>
                  <a:gd name="connsiteY73" fmla="*/ 2667000 h 3680460"/>
                  <a:gd name="connsiteX74" fmla="*/ 2779395 w 3008034"/>
                  <a:gd name="connsiteY74" fmla="*/ 2484120 h 3680460"/>
                  <a:gd name="connsiteX75" fmla="*/ 2802255 w 3008034"/>
                  <a:gd name="connsiteY75" fmla="*/ 2407920 h 3680460"/>
                  <a:gd name="connsiteX76" fmla="*/ 2908935 w 3008034"/>
                  <a:gd name="connsiteY76" fmla="*/ 2049780 h 3680460"/>
                  <a:gd name="connsiteX77" fmla="*/ 2924175 w 3008034"/>
                  <a:gd name="connsiteY77" fmla="*/ 1844040 h 3680460"/>
                  <a:gd name="connsiteX78" fmla="*/ 2908935 w 3008034"/>
                  <a:gd name="connsiteY78" fmla="*/ 1470660 h 3680460"/>
                  <a:gd name="connsiteX79" fmla="*/ 2886075 w 3008034"/>
                  <a:gd name="connsiteY79" fmla="*/ 1371600 h 3680460"/>
                  <a:gd name="connsiteX80" fmla="*/ 2870835 w 3008034"/>
                  <a:gd name="connsiteY80" fmla="*/ 1341120 h 3680460"/>
                  <a:gd name="connsiteX81" fmla="*/ 2847975 w 3008034"/>
                  <a:gd name="connsiteY81" fmla="*/ 1272540 h 3680460"/>
                  <a:gd name="connsiteX82" fmla="*/ 2840355 w 3008034"/>
                  <a:gd name="connsiteY82" fmla="*/ 1234440 h 3680460"/>
                  <a:gd name="connsiteX83" fmla="*/ 2756535 w 3008034"/>
                  <a:gd name="connsiteY83" fmla="*/ 1089660 h 3680460"/>
                  <a:gd name="connsiteX84" fmla="*/ 2726055 w 3008034"/>
                  <a:gd name="connsiteY84" fmla="*/ 1043940 h 3680460"/>
                  <a:gd name="connsiteX85" fmla="*/ 2718435 w 3008034"/>
                  <a:gd name="connsiteY85" fmla="*/ 1021080 h 3680460"/>
                  <a:gd name="connsiteX86" fmla="*/ 2672715 w 3008034"/>
                  <a:gd name="connsiteY86" fmla="*/ 937260 h 3680460"/>
                  <a:gd name="connsiteX87" fmla="*/ 2649855 w 3008034"/>
                  <a:gd name="connsiteY87" fmla="*/ 876300 h 3680460"/>
                  <a:gd name="connsiteX88" fmla="*/ 2634615 w 3008034"/>
                  <a:gd name="connsiteY88" fmla="*/ 845820 h 3680460"/>
                  <a:gd name="connsiteX89" fmla="*/ 2611755 w 3008034"/>
                  <a:gd name="connsiteY89" fmla="*/ 800100 h 3680460"/>
                  <a:gd name="connsiteX90" fmla="*/ 2448878 w 3008034"/>
                  <a:gd name="connsiteY90" fmla="*/ 621983 h 3680460"/>
                  <a:gd name="connsiteX91" fmla="*/ 2291715 w 3008034"/>
                  <a:gd name="connsiteY91" fmla="*/ 458152 h 3680460"/>
                  <a:gd name="connsiteX92" fmla="*/ 2227898 w 3008034"/>
                  <a:gd name="connsiteY92" fmla="*/ 406717 h 3680460"/>
                  <a:gd name="connsiteX93" fmla="*/ 2093595 w 3008034"/>
                  <a:gd name="connsiteY93" fmla="*/ 312420 h 3680460"/>
                  <a:gd name="connsiteX94" fmla="*/ 2032635 w 3008034"/>
                  <a:gd name="connsiteY94" fmla="*/ 266700 h 3680460"/>
                  <a:gd name="connsiteX95" fmla="*/ 1994535 w 3008034"/>
                  <a:gd name="connsiteY95" fmla="*/ 251460 h 3680460"/>
                  <a:gd name="connsiteX96" fmla="*/ 1948815 w 3008034"/>
                  <a:gd name="connsiteY96" fmla="*/ 220980 h 3680460"/>
                  <a:gd name="connsiteX97" fmla="*/ 1887855 w 3008034"/>
                  <a:gd name="connsiteY9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18335 w 3008034"/>
                  <a:gd name="connsiteY63" fmla="*/ 3398520 h 3680460"/>
                  <a:gd name="connsiteX64" fmla="*/ 1941195 w 3008034"/>
                  <a:gd name="connsiteY64" fmla="*/ 3390900 h 3680460"/>
                  <a:gd name="connsiteX65" fmla="*/ 2089785 w 3008034"/>
                  <a:gd name="connsiteY65" fmla="*/ 3308985 h 3680460"/>
                  <a:gd name="connsiteX66" fmla="*/ 2189797 w 3008034"/>
                  <a:gd name="connsiteY66" fmla="*/ 3251835 h 3680460"/>
                  <a:gd name="connsiteX67" fmla="*/ 2337435 w 3008034"/>
                  <a:gd name="connsiteY67" fmla="*/ 3154680 h 3680460"/>
                  <a:gd name="connsiteX68" fmla="*/ 2459355 w 3008034"/>
                  <a:gd name="connsiteY68" fmla="*/ 3009900 h 3680460"/>
                  <a:gd name="connsiteX69" fmla="*/ 2527935 w 3008034"/>
                  <a:gd name="connsiteY69" fmla="*/ 2926080 h 3680460"/>
                  <a:gd name="connsiteX70" fmla="*/ 2619375 w 3008034"/>
                  <a:gd name="connsiteY70" fmla="*/ 2811780 h 3680460"/>
                  <a:gd name="connsiteX71" fmla="*/ 2665095 w 3008034"/>
                  <a:gd name="connsiteY71" fmla="*/ 2727960 h 3680460"/>
                  <a:gd name="connsiteX72" fmla="*/ 2695575 w 3008034"/>
                  <a:gd name="connsiteY72" fmla="*/ 2667000 h 3680460"/>
                  <a:gd name="connsiteX73" fmla="*/ 2779395 w 3008034"/>
                  <a:gd name="connsiteY73" fmla="*/ 2484120 h 3680460"/>
                  <a:gd name="connsiteX74" fmla="*/ 2802255 w 3008034"/>
                  <a:gd name="connsiteY74" fmla="*/ 2407920 h 3680460"/>
                  <a:gd name="connsiteX75" fmla="*/ 2908935 w 3008034"/>
                  <a:gd name="connsiteY75" fmla="*/ 2049780 h 3680460"/>
                  <a:gd name="connsiteX76" fmla="*/ 2924175 w 3008034"/>
                  <a:gd name="connsiteY76" fmla="*/ 1844040 h 3680460"/>
                  <a:gd name="connsiteX77" fmla="*/ 2908935 w 3008034"/>
                  <a:gd name="connsiteY77" fmla="*/ 1470660 h 3680460"/>
                  <a:gd name="connsiteX78" fmla="*/ 2886075 w 3008034"/>
                  <a:gd name="connsiteY78" fmla="*/ 1371600 h 3680460"/>
                  <a:gd name="connsiteX79" fmla="*/ 2870835 w 3008034"/>
                  <a:gd name="connsiteY79" fmla="*/ 1341120 h 3680460"/>
                  <a:gd name="connsiteX80" fmla="*/ 2847975 w 3008034"/>
                  <a:gd name="connsiteY80" fmla="*/ 1272540 h 3680460"/>
                  <a:gd name="connsiteX81" fmla="*/ 2840355 w 3008034"/>
                  <a:gd name="connsiteY81" fmla="*/ 1234440 h 3680460"/>
                  <a:gd name="connsiteX82" fmla="*/ 2756535 w 3008034"/>
                  <a:gd name="connsiteY82" fmla="*/ 1089660 h 3680460"/>
                  <a:gd name="connsiteX83" fmla="*/ 2726055 w 3008034"/>
                  <a:gd name="connsiteY83" fmla="*/ 1043940 h 3680460"/>
                  <a:gd name="connsiteX84" fmla="*/ 2718435 w 3008034"/>
                  <a:gd name="connsiteY84" fmla="*/ 1021080 h 3680460"/>
                  <a:gd name="connsiteX85" fmla="*/ 2672715 w 3008034"/>
                  <a:gd name="connsiteY85" fmla="*/ 937260 h 3680460"/>
                  <a:gd name="connsiteX86" fmla="*/ 2649855 w 3008034"/>
                  <a:gd name="connsiteY86" fmla="*/ 876300 h 3680460"/>
                  <a:gd name="connsiteX87" fmla="*/ 2634615 w 3008034"/>
                  <a:gd name="connsiteY87" fmla="*/ 845820 h 3680460"/>
                  <a:gd name="connsiteX88" fmla="*/ 2611755 w 3008034"/>
                  <a:gd name="connsiteY88" fmla="*/ 800100 h 3680460"/>
                  <a:gd name="connsiteX89" fmla="*/ 2448878 w 3008034"/>
                  <a:gd name="connsiteY89" fmla="*/ 621983 h 3680460"/>
                  <a:gd name="connsiteX90" fmla="*/ 2291715 w 3008034"/>
                  <a:gd name="connsiteY90" fmla="*/ 458152 h 3680460"/>
                  <a:gd name="connsiteX91" fmla="*/ 2227898 w 3008034"/>
                  <a:gd name="connsiteY91" fmla="*/ 406717 h 3680460"/>
                  <a:gd name="connsiteX92" fmla="*/ 2093595 w 3008034"/>
                  <a:gd name="connsiteY92" fmla="*/ 312420 h 3680460"/>
                  <a:gd name="connsiteX93" fmla="*/ 2032635 w 3008034"/>
                  <a:gd name="connsiteY93" fmla="*/ 266700 h 3680460"/>
                  <a:gd name="connsiteX94" fmla="*/ 1994535 w 3008034"/>
                  <a:gd name="connsiteY94" fmla="*/ 251460 h 3680460"/>
                  <a:gd name="connsiteX95" fmla="*/ 1948815 w 3008034"/>
                  <a:gd name="connsiteY95" fmla="*/ 220980 h 3680460"/>
                  <a:gd name="connsiteX96" fmla="*/ 1887855 w 3008034"/>
                  <a:gd name="connsiteY9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41195 w 3008034"/>
                  <a:gd name="connsiteY63" fmla="*/ 3390900 h 3680460"/>
                  <a:gd name="connsiteX64" fmla="*/ 2089785 w 3008034"/>
                  <a:gd name="connsiteY64" fmla="*/ 3308985 h 3680460"/>
                  <a:gd name="connsiteX65" fmla="*/ 2189797 w 3008034"/>
                  <a:gd name="connsiteY65" fmla="*/ 3251835 h 3680460"/>
                  <a:gd name="connsiteX66" fmla="*/ 2337435 w 3008034"/>
                  <a:gd name="connsiteY66" fmla="*/ 3154680 h 3680460"/>
                  <a:gd name="connsiteX67" fmla="*/ 2459355 w 3008034"/>
                  <a:gd name="connsiteY67" fmla="*/ 3009900 h 3680460"/>
                  <a:gd name="connsiteX68" fmla="*/ 2527935 w 3008034"/>
                  <a:gd name="connsiteY68" fmla="*/ 2926080 h 3680460"/>
                  <a:gd name="connsiteX69" fmla="*/ 2619375 w 3008034"/>
                  <a:gd name="connsiteY69" fmla="*/ 2811780 h 3680460"/>
                  <a:gd name="connsiteX70" fmla="*/ 2665095 w 3008034"/>
                  <a:gd name="connsiteY70" fmla="*/ 2727960 h 3680460"/>
                  <a:gd name="connsiteX71" fmla="*/ 2695575 w 3008034"/>
                  <a:gd name="connsiteY71" fmla="*/ 2667000 h 3680460"/>
                  <a:gd name="connsiteX72" fmla="*/ 2779395 w 3008034"/>
                  <a:gd name="connsiteY72" fmla="*/ 2484120 h 3680460"/>
                  <a:gd name="connsiteX73" fmla="*/ 2802255 w 3008034"/>
                  <a:gd name="connsiteY73" fmla="*/ 2407920 h 3680460"/>
                  <a:gd name="connsiteX74" fmla="*/ 2908935 w 3008034"/>
                  <a:gd name="connsiteY74" fmla="*/ 2049780 h 3680460"/>
                  <a:gd name="connsiteX75" fmla="*/ 2924175 w 3008034"/>
                  <a:gd name="connsiteY75" fmla="*/ 1844040 h 3680460"/>
                  <a:gd name="connsiteX76" fmla="*/ 2908935 w 3008034"/>
                  <a:gd name="connsiteY76" fmla="*/ 1470660 h 3680460"/>
                  <a:gd name="connsiteX77" fmla="*/ 2886075 w 3008034"/>
                  <a:gd name="connsiteY77" fmla="*/ 1371600 h 3680460"/>
                  <a:gd name="connsiteX78" fmla="*/ 2870835 w 3008034"/>
                  <a:gd name="connsiteY78" fmla="*/ 1341120 h 3680460"/>
                  <a:gd name="connsiteX79" fmla="*/ 2847975 w 3008034"/>
                  <a:gd name="connsiteY79" fmla="*/ 1272540 h 3680460"/>
                  <a:gd name="connsiteX80" fmla="*/ 2840355 w 3008034"/>
                  <a:gd name="connsiteY80" fmla="*/ 1234440 h 3680460"/>
                  <a:gd name="connsiteX81" fmla="*/ 2756535 w 3008034"/>
                  <a:gd name="connsiteY81" fmla="*/ 1089660 h 3680460"/>
                  <a:gd name="connsiteX82" fmla="*/ 2726055 w 3008034"/>
                  <a:gd name="connsiteY82" fmla="*/ 1043940 h 3680460"/>
                  <a:gd name="connsiteX83" fmla="*/ 2718435 w 3008034"/>
                  <a:gd name="connsiteY83" fmla="*/ 1021080 h 3680460"/>
                  <a:gd name="connsiteX84" fmla="*/ 2672715 w 3008034"/>
                  <a:gd name="connsiteY84" fmla="*/ 937260 h 3680460"/>
                  <a:gd name="connsiteX85" fmla="*/ 2649855 w 3008034"/>
                  <a:gd name="connsiteY85" fmla="*/ 876300 h 3680460"/>
                  <a:gd name="connsiteX86" fmla="*/ 2634615 w 3008034"/>
                  <a:gd name="connsiteY86" fmla="*/ 845820 h 3680460"/>
                  <a:gd name="connsiteX87" fmla="*/ 2611755 w 3008034"/>
                  <a:gd name="connsiteY87" fmla="*/ 800100 h 3680460"/>
                  <a:gd name="connsiteX88" fmla="*/ 2448878 w 3008034"/>
                  <a:gd name="connsiteY88" fmla="*/ 621983 h 3680460"/>
                  <a:gd name="connsiteX89" fmla="*/ 2291715 w 3008034"/>
                  <a:gd name="connsiteY89" fmla="*/ 458152 h 3680460"/>
                  <a:gd name="connsiteX90" fmla="*/ 2227898 w 3008034"/>
                  <a:gd name="connsiteY90" fmla="*/ 406717 h 3680460"/>
                  <a:gd name="connsiteX91" fmla="*/ 2093595 w 3008034"/>
                  <a:gd name="connsiteY91" fmla="*/ 312420 h 3680460"/>
                  <a:gd name="connsiteX92" fmla="*/ 2032635 w 3008034"/>
                  <a:gd name="connsiteY92" fmla="*/ 266700 h 3680460"/>
                  <a:gd name="connsiteX93" fmla="*/ 1994535 w 3008034"/>
                  <a:gd name="connsiteY93" fmla="*/ 251460 h 3680460"/>
                  <a:gd name="connsiteX94" fmla="*/ 1948815 w 3008034"/>
                  <a:gd name="connsiteY94" fmla="*/ 220980 h 3680460"/>
                  <a:gd name="connsiteX95" fmla="*/ 1887855 w 3008034"/>
                  <a:gd name="connsiteY9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37335 w 3008034"/>
                  <a:gd name="connsiteY41" fmla="*/ 3611880 h 3680460"/>
                  <a:gd name="connsiteX42" fmla="*/ 1453515 w 3008034"/>
                  <a:gd name="connsiteY42" fmla="*/ 3627120 h 3680460"/>
                  <a:gd name="connsiteX43" fmla="*/ 1323975 w 3008034"/>
                  <a:gd name="connsiteY43" fmla="*/ 3657600 h 3680460"/>
                  <a:gd name="connsiteX44" fmla="*/ 1194435 w 3008034"/>
                  <a:gd name="connsiteY44" fmla="*/ 3672840 h 3680460"/>
                  <a:gd name="connsiteX45" fmla="*/ 1156335 w 3008034"/>
                  <a:gd name="connsiteY45" fmla="*/ 3680460 h 3680460"/>
                  <a:gd name="connsiteX46" fmla="*/ 625792 w 3008034"/>
                  <a:gd name="connsiteY46" fmla="*/ 3668078 h 3680460"/>
                  <a:gd name="connsiteX47" fmla="*/ 402908 w 3008034"/>
                  <a:gd name="connsiteY47" fmla="*/ 3614738 h 3680460"/>
                  <a:gd name="connsiteX48" fmla="*/ 266700 w 3008034"/>
                  <a:gd name="connsiteY48" fmla="*/ 3570922 h 3680460"/>
                  <a:gd name="connsiteX49" fmla="*/ 164782 w 3008034"/>
                  <a:gd name="connsiteY49" fmla="*/ 3515678 h 3680460"/>
                  <a:gd name="connsiteX50" fmla="*/ 31433 w 3008034"/>
                  <a:gd name="connsiteY50" fmla="*/ 3422333 h 3680460"/>
                  <a:gd name="connsiteX51" fmla="*/ 0 w 3008034"/>
                  <a:gd name="connsiteY51" fmla="*/ 3376613 h 3680460"/>
                  <a:gd name="connsiteX52" fmla="*/ 127635 w 3008034"/>
                  <a:gd name="connsiteY52" fmla="*/ 3360420 h 3680460"/>
                  <a:gd name="connsiteX53" fmla="*/ 158115 w 3008034"/>
                  <a:gd name="connsiteY53" fmla="*/ 3390900 h 3680460"/>
                  <a:gd name="connsiteX54" fmla="*/ 317183 w 3008034"/>
                  <a:gd name="connsiteY54" fmla="*/ 3450907 h 3680460"/>
                  <a:gd name="connsiteX55" fmla="*/ 485775 w 3008034"/>
                  <a:gd name="connsiteY55" fmla="*/ 3520440 h 3680460"/>
                  <a:gd name="connsiteX56" fmla="*/ 721995 w 3008034"/>
                  <a:gd name="connsiteY56" fmla="*/ 3558540 h 3680460"/>
                  <a:gd name="connsiteX57" fmla="*/ 1331595 w 3008034"/>
                  <a:gd name="connsiteY57" fmla="*/ 3550920 h 3680460"/>
                  <a:gd name="connsiteX58" fmla="*/ 1529715 w 3008034"/>
                  <a:gd name="connsiteY58" fmla="*/ 3520440 h 3680460"/>
                  <a:gd name="connsiteX59" fmla="*/ 1621155 w 3008034"/>
                  <a:gd name="connsiteY59" fmla="*/ 3497580 h 3680460"/>
                  <a:gd name="connsiteX60" fmla="*/ 1781175 w 3008034"/>
                  <a:gd name="connsiteY60" fmla="*/ 3451860 h 3680460"/>
                  <a:gd name="connsiteX61" fmla="*/ 1864995 w 3008034"/>
                  <a:gd name="connsiteY61" fmla="*/ 3421380 h 3680460"/>
                  <a:gd name="connsiteX62" fmla="*/ 1941195 w 3008034"/>
                  <a:gd name="connsiteY62" fmla="*/ 3390900 h 3680460"/>
                  <a:gd name="connsiteX63" fmla="*/ 2089785 w 3008034"/>
                  <a:gd name="connsiteY63" fmla="*/ 3308985 h 3680460"/>
                  <a:gd name="connsiteX64" fmla="*/ 2189797 w 3008034"/>
                  <a:gd name="connsiteY64" fmla="*/ 3251835 h 3680460"/>
                  <a:gd name="connsiteX65" fmla="*/ 2337435 w 3008034"/>
                  <a:gd name="connsiteY65" fmla="*/ 3154680 h 3680460"/>
                  <a:gd name="connsiteX66" fmla="*/ 2459355 w 3008034"/>
                  <a:gd name="connsiteY66" fmla="*/ 3009900 h 3680460"/>
                  <a:gd name="connsiteX67" fmla="*/ 2527935 w 3008034"/>
                  <a:gd name="connsiteY67" fmla="*/ 2926080 h 3680460"/>
                  <a:gd name="connsiteX68" fmla="*/ 2619375 w 3008034"/>
                  <a:gd name="connsiteY68" fmla="*/ 2811780 h 3680460"/>
                  <a:gd name="connsiteX69" fmla="*/ 2665095 w 3008034"/>
                  <a:gd name="connsiteY69" fmla="*/ 2727960 h 3680460"/>
                  <a:gd name="connsiteX70" fmla="*/ 2695575 w 3008034"/>
                  <a:gd name="connsiteY70" fmla="*/ 2667000 h 3680460"/>
                  <a:gd name="connsiteX71" fmla="*/ 2779395 w 3008034"/>
                  <a:gd name="connsiteY71" fmla="*/ 2484120 h 3680460"/>
                  <a:gd name="connsiteX72" fmla="*/ 2802255 w 3008034"/>
                  <a:gd name="connsiteY72" fmla="*/ 2407920 h 3680460"/>
                  <a:gd name="connsiteX73" fmla="*/ 2908935 w 3008034"/>
                  <a:gd name="connsiteY73" fmla="*/ 2049780 h 3680460"/>
                  <a:gd name="connsiteX74" fmla="*/ 2924175 w 3008034"/>
                  <a:gd name="connsiteY74" fmla="*/ 1844040 h 3680460"/>
                  <a:gd name="connsiteX75" fmla="*/ 2908935 w 3008034"/>
                  <a:gd name="connsiteY75" fmla="*/ 1470660 h 3680460"/>
                  <a:gd name="connsiteX76" fmla="*/ 2886075 w 3008034"/>
                  <a:gd name="connsiteY76" fmla="*/ 1371600 h 3680460"/>
                  <a:gd name="connsiteX77" fmla="*/ 2870835 w 3008034"/>
                  <a:gd name="connsiteY77" fmla="*/ 1341120 h 3680460"/>
                  <a:gd name="connsiteX78" fmla="*/ 2847975 w 3008034"/>
                  <a:gd name="connsiteY78" fmla="*/ 1272540 h 3680460"/>
                  <a:gd name="connsiteX79" fmla="*/ 2840355 w 3008034"/>
                  <a:gd name="connsiteY79" fmla="*/ 1234440 h 3680460"/>
                  <a:gd name="connsiteX80" fmla="*/ 2756535 w 3008034"/>
                  <a:gd name="connsiteY80" fmla="*/ 1089660 h 3680460"/>
                  <a:gd name="connsiteX81" fmla="*/ 2726055 w 3008034"/>
                  <a:gd name="connsiteY81" fmla="*/ 1043940 h 3680460"/>
                  <a:gd name="connsiteX82" fmla="*/ 2718435 w 3008034"/>
                  <a:gd name="connsiteY82" fmla="*/ 1021080 h 3680460"/>
                  <a:gd name="connsiteX83" fmla="*/ 2672715 w 3008034"/>
                  <a:gd name="connsiteY83" fmla="*/ 937260 h 3680460"/>
                  <a:gd name="connsiteX84" fmla="*/ 2649855 w 3008034"/>
                  <a:gd name="connsiteY84" fmla="*/ 876300 h 3680460"/>
                  <a:gd name="connsiteX85" fmla="*/ 2634615 w 3008034"/>
                  <a:gd name="connsiteY85" fmla="*/ 845820 h 3680460"/>
                  <a:gd name="connsiteX86" fmla="*/ 2611755 w 3008034"/>
                  <a:gd name="connsiteY86" fmla="*/ 800100 h 3680460"/>
                  <a:gd name="connsiteX87" fmla="*/ 2448878 w 3008034"/>
                  <a:gd name="connsiteY87" fmla="*/ 621983 h 3680460"/>
                  <a:gd name="connsiteX88" fmla="*/ 2291715 w 3008034"/>
                  <a:gd name="connsiteY88" fmla="*/ 458152 h 3680460"/>
                  <a:gd name="connsiteX89" fmla="*/ 2227898 w 3008034"/>
                  <a:gd name="connsiteY89" fmla="*/ 406717 h 3680460"/>
                  <a:gd name="connsiteX90" fmla="*/ 2093595 w 3008034"/>
                  <a:gd name="connsiteY90" fmla="*/ 312420 h 3680460"/>
                  <a:gd name="connsiteX91" fmla="*/ 2032635 w 3008034"/>
                  <a:gd name="connsiteY91" fmla="*/ 266700 h 3680460"/>
                  <a:gd name="connsiteX92" fmla="*/ 1994535 w 3008034"/>
                  <a:gd name="connsiteY92" fmla="*/ 251460 h 3680460"/>
                  <a:gd name="connsiteX93" fmla="*/ 1948815 w 3008034"/>
                  <a:gd name="connsiteY93" fmla="*/ 220980 h 3680460"/>
                  <a:gd name="connsiteX94" fmla="*/ 1887855 w 3008034"/>
                  <a:gd name="connsiteY9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611755 w 3008034"/>
                  <a:gd name="connsiteY13" fmla="*/ 548640 h 3680460"/>
                  <a:gd name="connsiteX14" fmla="*/ 2665095 w 3008034"/>
                  <a:gd name="connsiteY14" fmla="*/ 609600 h 3680460"/>
                  <a:gd name="connsiteX15" fmla="*/ 2756535 w 3008034"/>
                  <a:gd name="connsiteY15" fmla="*/ 754380 h 3680460"/>
                  <a:gd name="connsiteX16" fmla="*/ 2809875 w 3008034"/>
                  <a:gd name="connsiteY16" fmla="*/ 830580 h 3680460"/>
                  <a:gd name="connsiteX17" fmla="*/ 2908935 w 3008034"/>
                  <a:gd name="connsiteY17" fmla="*/ 1036320 h 3680460"/>
                  <a:gd name="connsiteX18" fmla="*/ 2924175 w 3008034"/>
                  <a:gd name="connsiteY18" fmla="*/ 1074420 h 3680460"/>
                  <a:gd name="connsiteX19" fmla="*/ 2954655 w 3008034"/>
                  <a:gd name="connsiteY19" fmla="*/ 1203960 h 3680460"/>
                  <a:gd name="connsiteX20" fmla="*/ 2969895 w 3008034"/>
                  <a:gd name="connsiteY20" fmla="*/ 1264920 h 3680460"/>
                  <a:gd name="connsiteX21" fmla="*/ 2985135 w 3008034"/>
                  <a:gd name="connsiteY21" fmla="*/ 1348740 h 3680460"/>
                  <a:gd name="connsiteX22" fmla="*/ 3000375 w 3008034"/>
                  <a:gd name="connsiteY22" fmla="*/ 1432560 h 3680460"/>
                  <a:gd name="connsiteX23" fmla="*/ 3007995 w 3008034"/>
                  <a:gd name="connsiteY23" fmla="*/ 1684020 h 3680460"/>
                  <a:gd name="connsiteX24" fmla="*/ 3003233 w 3008034"/>
                  <a:gd name="connsiteY24" fmla="*/ 1990725 h 3680460"/>
                  <a:gd name="connsiteX25" fmla="*/ 2969895 w 3008034"/>
                  <a:gd name="connsiteY25" fmla="*/ 2194560 h 3680460"/>
                  <a:gd name="connsiteX26" fmla="*/ 2931795 w 3008034"/>
                  <a:gd name="connsiteY26" fmla="*/ 2324100 h 3680460"/>
                  <a:gd name="connsiteX27" fmla="*/ 2916555 w 3008034"/>
                  <a:gd name="connsiteY27" fmla="*/ 2392680 h 3680460"/>
                  <a:gd name="connsiteX28" fmla="*/ 2867978 w 3008034"/>
                  <a:gd name="connsiteY28" fmla="*/ 2521267 h 3680460"/>
                  <a:gd name="connsiteX29" fmla="*/ 2801303 w 3008034"/>
                  <a:gd name="connsiteY29" fmla="*/ 2656523 h 3680460"/>
                  <a:gd name="connsiteX30" fmla="*/ 2719387 w 3008034"/>
                  <a:gd name="connsiteY30" fmla="*/ 2818447 h 3680460"/>
                  <a:gd name="connsiteX31" fmla="*/ 2495550 w 3008034"/>
                  <a:gd name="connsiteY31" fmla="*/ 3084195 h 3680460"/>
                  <a:gd name="connsiteX32" fmla="*/ 2396490 w 3008034"/>
                  <a:gd name="connsiteY32" fmla="*/ 3185160 h 3680460"/>
                  <a:gd name="connsiteX33" fmla="*/ 2284095 w 3008034"/>
                  <a:gd name="connsiteY33" fmla="*/ 3284220 h 3680460"/>
                  <a:gd name="connsiteX34" fmla="*/ 2131695 w 3008034"/>
                  <a:gd name="connsiteY34" fmla="*/ 3390900 h 3680460"/>
                  <a:gd name="connsiteX35" fmla="*/ 2000250 w 3008034"/>
                  <a:gd name="connsiteY35" fmla="*/ 3448050 h 3680460"/>
                  <a:gd name="connsiteX36" fmla="*/ 1864995 w 3008034"/>
                  <a:gd name="connsiteY36" fmla="*/ 3512820 h 3680460"/>
                  <a:gd name="connsiteX37" fmla="*/ 1819275 w 3008034"/>
                  <a:gd name="connsiteY37" fmla="*/ 3520440 h 3680460"/>
                  <a:gd name="connsiteX38" fmla="*/ 1712595 w 3008034"/>
                  <a:gd name="connsiteY38" fmla="*/ 3550920 h 3680460"/>
                  <a:gd name="connsiteX39" fmla="*/ 1590675 w 3008034"/>
                  <a:gd name="connsiteY39" fmla="*/ 3589020 h 3680460"/>
                  <a:gd name="connsiteX40" fmla="*/ 1537335 w 3008034"/>
                  <a:gd name="connsiteY40" fmla="*/ 3611880 h 3680460"/>
                  <a:gd name="connsiteX41" fmla="*/ 1453515 w 3008034"/>
                  <a:gd name="connsiteY41" fmla="*/ 3627120 h 3680460"/>
                  <a:gd name="connsiteX42" fmla="*/ 1323975 w 3008034"/>
                  <a:gd name="connsiteY42" fmla="*/ 3657600 h 3680460"/>
                  <a:gd name="connsiteX43" fmla="*/ 1194435 w 3008034"/>
                  <a:gd name="connsiteY43" fmla="*/ 3672840 h 3680460"/>
                  <a:gd name="connsiteX44" fmla="*/ 1156335 w 3008034"/>
                  <a:gd name="connsiteY44" fmla="*/ 3680460 h 3680460"/>
                  <a:gd name="connsiteX45" fmla="*/ 625792 w 3008034"/>
                  <a:gd name="connsiteY45" fmla="*/ 3668078 h 3680460"/>
                  <a:gd name="connsiteX46" fmla="*/ 402908 w 3008034"/>
                  <a:gd name="connsiteY46" fmla="*/ 3614738 h 3680460"/>
                  <a:gd name="connsiteX47" fmla="*/ 266700 w 3008034"/>
                  <a:gd name="connsiteY47" fmla="*/ 3570922 h 3680460"/>
                  <a:gd name="connsiteX48" fmla="*/ 164782 w 3008034"/>
                  <a:gd name="connsiteY48" fmla="*/ 3515678 h 3680460"/>
                  <a:gd name="connsiteX49" fmla="*/ 31433 w 3008034"/>
                  <a:gd name="connsiteY49" fmla="*/ 3422333 h 3680460"/>
                  <a:gd name="connsiteX50" fmla="*/ 0 w 3008034"/>
                  <a:gd name="connsiteY50" fmla="*/ 3376613 h 3680460"/>
                  <a:gd name="connsiteX51" fmla="*/ 127635 w 3008034"/>
                  <a:gd name="connsiteY51" fmla="*/ 3360420 h 3680460"/>
                  <a:gd name="connsiteX52" fmla="*/ 158115 w 3008034"/>
                  <a:gd name="connsiteY52" fmla="*/ 3390900 h 3680460"/>
                  <a:gd name="connsiteX53" fmla="*/ 317183 w 3008034"/>
                  <a:gd name="connsiteY53" fmla="*/ 3450907 h 3680460"/>
                  <a:gd name="connsiteX54" fmla="*/ 485775 w 3008034"/>
                  <a:gd name="connsiteY54" fmla="*/ 3520440 h 3680460"/>
                  <a:gd name="connsiteX55" fmla="*/ 721995 w 3008034"/>
                  <a:gd name="connsiteY55" fmla="*/ 3558540 h 3680460"/>
                  <a:gd name="connsiteX56" fmla="*/ 1331595 w 3008034"/>
                  <a:gd name="connsiteY56" fmla="*/ 3550920 h 3680460"/>
                  <a:gd name="connsiteX57" fmla="*/ 1529715 w 3008034"/>
                  <a:gd name="connsiteY57" fmla="*/ 3520440 h 3680460"/>
                  <a:gd name="connsiteX58" fmla="*/ 1621155 w 3008034"/>
                  <a:gd name="connsiteY58" fmla="*/ 3497580 h 3680460"/>
                  <a:gd name="connsiteX59" fmla="*/ 1781175 w 3008034"/>
                  <a:gd name="connsiteY59" fmla="*/ 3451860 h 3680460"/>
                  <a:gd name="connsiteX60" fmla="*/ 1864995 w 3008034"/>
                  <a:gd name="connsiteY60" fmla="*/ 3421380 h 3680460"/>
                  <a:gd name="connsiteX61" fmla="*/ 1941195 w 3008034"/>
                  <a:gd name="connsiteY61" fmla="*/ 3390900 h 3680460"/>
                  <a:gd name="connsiteX62" fmla="*/ 2089785 w 3008034"/>
                  <a:gd name="connsiteY62" fmla="*/ 3308985 h 3680460"/>
                  <a:gd name="connsiteX63" fmla="*/ 2189797 w 3008034"/>
                  <a:gd name="connsiteY63" fmla="*/ 3251835 h 3680460"/>
                  <a:gd name="connsiteX64" fmla="*/ 2337435 w 3008034"/>
                  <a:gd name="connsiteY64" fmla="*/ 3154680 h 3680460"/>
                  <a:gd name="connsiteX65" fmla="*/ 2459355 w 3008034"/>
                  <a:gd name="connsiteY65" fmla="*/ 3009900 h 3680460"/>
                  <a:gd name="connsiteX66" fmla="*/ 2527935 w 3008034"/>
                  <a:gd name="connsiteY66" fmla="*/ 2926080 h 3680460"/>
                  <a:gd name="connsiteX67" fmla="*/ 2619375 w 3008034"/>
                  <a:gd name="connsiteY67" fmla="*/ 2811780 h 3680460"/>
                  <a:gd name="connsiteX68" fmla="*/ 2665095 w 3008034"/>
                  <a:gd name="connsiteY68" fmla="*/ 2727960 h 3680460"/>
                  <a:gd name="connsiteX69" fmla="*/ 2695575 w 3008034"/>
                  <a:gd name="connsiteY69" fmla="*/ 2667000 h 3680460"/>
                  <a:gd name="connsiteX70" fmla="*/ 2779395 w 3008034"/>
                  <a:gd name="connsiteY70" fmla="*/ 2484120 h 3680460"/>
                  <a:gd name="connsiteX71" fmla="*/ 2802255 w 3008034"/>
                  <a:gd name="connsiteY71" fmla="*/ 2407920 h 3680460"/>
                  <a:gd name="connsiteX72" fmla="*/ 2908935 w 3008034"/>
                  <a:gd name="connsiteY72" fmla="*/ 2049780 h 3680460"/>
                  <a:gd name="connsiteX73" fmla="*/ 2924175 w 3008034"/>
                  <a:gd name="connsiteY73" fmla="*/ 1844040 h 3680460"/>
                  <a:gd name="connsiteX74" fmla="*/ 2908935 w 3008034"/>
                  <a:gd name="connsiteY74" fmla="*/ 1470660 h 3680460"/>
                  <a:gd name="connsiteX75" fmla="*/ 2886075 w 3008034"/>
                  <a:gd name="connsiteY75" fmla="*/ 1371600 h 3680460"/>
                  <a:gd name="connsiteX76" fmla="*/ 2870835 w 3008034"/>
                  <a:gd name="connsiteY76" fmla="*/ 1341120 h 3680460"/>
                  <a:gd name="connsiteX77" fmla="*/ 2847975 w 3008034"/>
                  <a:gd name="connsiteY77" fmla="*/ 1272540 h 3680460"/>
                  <a:gd name="connsiteX78" fmla="*/ 2840355 w 3008034"/>
                  <a:gd name="connsiteY78" fmla="*/ 1234440 h 3680460"/>
                  <a:gd name="connsiteX79" fmla="*/ 2756535 w 3008034"/>
                  <a:gd name="connsiteY79" fmla="*/ 1089660 h 3680460"/>
                  <a:gd name="connsiteX80" fmla="*/ 2726055 w 3008034"/>
                  <a:gd name="connsiteY80" fmla="*/ 1043940 h 3680460"/>
                  <a:gd name="connsiteX81" fmla="*/ 2718435 w 3008034"/>
                  <a:gd name="connsiteY81" fmla="*/ 1021080 h 3680460"/>
                  <a:gd name="connsiteX82" fmla="*/ 2672715 w 3008034"/>
                  <a:gd name="connsiteY82" fmla="*/ 937260 h 3680460"/>
                  <a:gd name="connsiteX83" fmla="*/ 2649855 w 3008034"/>
                  <a:gd name="connsiteY83" fmla="*/ 876300 h 3680460"/>
                  <a:gd name="connsiteX84" fmla="*/ 2634615 w 3008034"/>
                  <a:gd name="connsiteY84" fmla="*/ 845820 h 3680460"/>
                  <a:gd name="connsiteX85" fmla="*/ 2611755 w 3008034"/>
                  <a:gd name="connsiteY85" fmla="*/ 800100 h 3680460"/>
                  <a:gd name="connsiteX86" fmla="*/ 2448878 w 3008034"/>
                  <a:gd name="connsiteY86" fmla="*/ 621983 h 3680460"/>
                  <a:gd name="connsiteX87" fmla="*/ 2291715 w 3008034"/>
                  <a:gd name="connsiteY87" fmla="*/ 458152 h 3680460"/>
                  <a:gd name="connsiteX88" fmla="*/ 2227898 w 3008034"/>
                  <a:gd name="connsiteY88" fmla="*/ 406717 h 3680460"/>
                  <a:gd name="connsiteX89" fmla="*/ 2093595 w 3008034"/>
                  <a:gd name="connsiteY89" fmla="*/ 312420 h 3680460"/>
                  <a:gd name="connsiteX90" fmla="*/ 2032635 w 3008034"/>
                  <a:gd name="connsiteY90" fmla="*/ 266700 h 3680460"/>
                  <a:gd name="connsiteX91" fmla="*/ 1994535 w 3008034"/>
                  <a:gd name="connsiteY91" fmla="*/ 251460 h 3680460"/>
                  <a:gd name="connsiteX92" fmla="*/ 1948815 w 3008034"/>
                  <a:gd name="connsiteY92" fmla="*/ 220980 h 3680460"/>
                  <a:gd name="connsiteX93" fmla="*/ 1887855 w 3008034"/>
                  <a:gd name="connsiteY9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765935 w 3008034"/>
                  <a:gd name="connsiteY3" fmla="*/ 91440 h 3680460"/>
                  <a:gd name="connsiteX4" fmla="*/ 1750695 w 3008034"/>
                  <a:gd name="connsiteY4" fmla="*/ 68580 h 3680460"/>
                  <a:gd name="connsiteX5" fmla="*/ 1727835 w 3008034"/>
                  <a:gd name="connsiteY5" fmla="*/ 53340 h 3680460"/>
                  <a:gd name="connsiteX6" fmla="*/ 1720215 w 3008034"/>
                  <a:gd name="connsiteY6" fmla="*/ 16193 h 3680460"/>
                  <a:gd name="connsiteX7" fmla="*/ 1971675 w 3008034"/>
                  <a:gd name="connsiteY7" fmla="*/ 0 h 3680460"/>
                  <a:gd name="connsiteX8" fmla="*/ 2162175 w 3008034"/>
                  <a:gd name="connsiteY8" fmla="*/ 114300 h 3680460"/>
                  <a:gd name="connsiteX9" fmla="*/ 2276475 w 3008034"/>
                  <a:gd name="connsiteY9" fmla="*/ 190500 h 3680460"/>
                  <a:gd name="connsiteX10" fmla="*/ 2527935 w 3008034"/>
                  <a:gd name="connsiteY10" fmla="*/ 426720 h 3680460"/>
                  <a:gd name="connsiteX11" fmla="*/ 2543175 w 3008034"/>
                  <a:gd name="connsiteY11" fmla="*/ 449580 h 3680460"/>
                  <a:gd name="connsiteX12" fmla="*/ 2611755 w 3008034"/>
                  <a:gd name="connsiteY12" fmla="*/ 548640 h 3680460"/>
                  <a:gd name="connsiteX13" fmla="*/ 2665095 w 3008034"/>
                  <a:gd name="connsiteY13" fmla="*/ 609600 h 3680460"/>
                  <a:gd name="connsiteX14" fmla="*/ 2756535 w 3008034"/>
                  <a:gd name="connsiteY14" fmla="*/ 754380 h 3680460"/>
                  <a:gd name="connsiteX15" fmla="*/ 2809875 w 3008034"/>
                  <a:gd name="connsiteY15" fmla="*/ 830580 h 3680460"/>
                  <a:gd name="connsiteX16" fmla="*/ 2908935 w 3008034"/>
                  <a:gd name="connsiteY16" fmla="*/ 1036320 h 3680460"/>
                  <a:gd name="connsiteX17" fmla="*/ 2924175 w 3008034"/>
                  <a:gd name="connsiteY17" fmla="*/ 1074420 h 3680460"/>
                  <a:gd name="connsiteX18" fmla="*/ 2954655 w 3008034"/>
                  <a:gd name="connsiteY18" fmla="*/ 1203960 h 3680460"/>
                  <a:gd name="connsiteX19" fmla="*/ 2969895 w 3008034"/>
                  <a:gd name="connsiteY19" fmla="*/ 1264920 h 3680460"/>
                  <a:gd name="connsiteX20" fmla="*/ 2985135 w 3008034"/>
                  <a:gd name="connsiteY20" fmla="*/ 1348740 h 3680460"/>
                  <a:gd name="connsiteX21" fmla="*/ 3000375 w 3008034"/>
                  <a:gd name="connsiteY21" fmla="*/ 1432560 h 3680460"/>
                  <a:gd name="connsiteX22" fmla="*/ 3007995 w 3008034"/>
                  <a:gd name="connsiteY22" fmla="*/ 1684020 h 3680460"/>
                  <a:gd name="connsiteX23" fmla="*/ 3003233 w 3008034"/>
                  <a:gd name="connsiteY23" fmla="*/ 1990725 h 3680460"/>
                  <a:gd name="connsiteX24" fmla="*/ 2969895 w 3008034"/>
                  <a:gd name="connsiteY24" fmla="*/ 2194560 h 3680460"/>
                  <a:gd name="connsiteX25" fmla="*/ 2931795 w 3008034"/>
                  <a:gd name="connsiteY25" fmla="*/ 2324100 h 3680460"/>
                  <a:gd name="connsiteX26" fmla="*/ 2916555 w 3008034"/>
                  <a:gd name="connsiteY26" fmla="*/ 2392680 h 3680460"/>
                  <a:gd name="connsiteX27" fmla="*/ 2867978 w 3008034"/>
                  <a:gd name="connsiteY27" fmla="*/ 2521267 h 3680460"/>
                  <a:gd name="connsiteX28" fmla="*/ 2801303 w 3008034"/>
                  <a:gd name="connsiteY28" fmla="*/ 2656523 h 3680460"/>
                  <a:gd name="connsiteX29" fmla="*/ 2719387 w 3008034"/>
                  <a:gd name="connsiteY29" fmla="*/ 2818447 h 3680460"/>
                  <a:gd name="connsiteX30" fmla="*/ 2495550 w 3008034"/>
                  <a:gd name="connsiteY30" fmla="*/ 3084195 h 3680460"/>
                  <a:gd name="connsiteX31" fmla="*/ 2396490 w 3008034"/>
                  <a:gd name="connsiteY31" fmla="*/ 3185160 h 3680460"/>
                  <a:gd name="connsiteX32" fmla="*/ 2284095 w 3008034"/>
                  <a:gd name="connsiteY32" fmla="*/ 3284220 h 3680460"/>
                  <a:gd name="connsiteX33" fmla="*/ 2131695 w 3008034"/>
                  <a:gd name="connsiteY33" fmla="*/ 3390900 h 3680460"/>
                  <a:gd name="connsiteX34" fmla="*/ 2000250 w 3008034"/>
                  <a:gd name="connsiteY34" fmla="*/ 3448050 h 3680460"/>
                  <a:gd name="connsiteX35" fmla="*/ 1864995 w 3008034"/>
                  <a:gd name="connsiteY35" fmla="*/ 3512820 h 3680460"/>
                  <a:gd name="connsiteX36" fmla="*/ 1819275 w 3008034"/>
                  <a:gd name="connsiteY36" fmla="*/ 3520440 h 3680460"/>
                  <a:gd name="connsiteX37" fmla="*/ 1712595 w 3008034"/>
                  <a:gd name="connsiteY37" fmla="*/ 3550920 h 3680460"/>
                  <a:gd name="connsiteX38" fmla="*/ 1590675 w 3008034"/>
                  <a:gd name="connsiteY38" fmla="*/ 3589020 h 3680460"/>
                  <a:gd name="connsiteX39" fmla="*/ 1537335 w 3008034"/>
                  <a:gd name="connsiteY39" fmla="*/ 3611880 h 3680460"/>
                  <a:gd name="connsiteX40" fmla="*/ 1453515 w 3008034"/>
                  <a:gd name="connsiteY40" fmla="*/ 3627120 h 3680460"/>
                  <a:gd name="connsiteX41" fmla="*/ 1323975 w 3008034"/>
                  <a:gd name="connsiteY41" fmla="*/ 3657600 h 3680460"/>
                  <a:gd name="connsiteX42" fmla="*/ 1194435 w 3008034"/>
                  <a:gd name="connsiteY42" fmla="*/ 3672840 h 3680460"/>
                  <a:gd name="connsiteX43" fmla="*/ 1156335 w 3008034"/>
                  <a:gd name="connsiteY43" fmla="*/ 3680460 h 3680460"/>
                  <a:gd name="connsiteX44" fmla="*/ 625792 w 3008034"/>
                  <a:gd name="connsiteY44" fmla="*/ 3668078 h 3680460"/>
                  <a:gd name="connsiteX45" fmla="*/ 402908 w 3008034"/>
                  <a:gd name="connsiteY45" fmla="*/ 3614738 h 3680460"/>
                  <a:gd name="connsiteX46" fmla="*/ 266700 w 3008034"/>
                  <a:gd name="connsiteY46" fmla="*/ 3570922 h 3680460"/>
                  <a:gd name="connsiteX47" fmla="*/ 164782 w 3008034"/>
                  <a:gd name="connsiteY47" fmla="*/ 3515678 h 3680460"/>
                  <a:gd name="connsiteX48" fmla="*/ 31433 w 3008034"/>
                  <a:gd name="connsiteY48" fmla="*/ 3422333 h 3680460"/>
                  <a:gd name="connsiteX49" fmla="*/ 0 w 3008034"/>
                  <a:gd name="connsiteY49" fmla="*/ 3376613 h 3680460"/>
                  <a:gd name="connsiteX50" fmla="*/ 127635 w 3008034"/>
                  <a:gd name="connsiteY50" fmla="*/ 3360420 h 3680460"/>
                  <a:gd name="connsiteX51" fmla="*/ 158115 w 3008034"/>
                  <a:gd name="connsiteY51" fmla="*/ 3390900 h 3680460"/>
                  <a:gd name="connsiteX52" fmla="*/ 317183 w 3008034"/>
                  <a:gd name="connsiteY52" fmla="*/ 3450907 h 3680460"/>
                  <a:gd name="connsiteX53" fmla="*/ 485775 w 3008034"/>
                  <a:gd name="connsiteY53" fmla="*/ 3520440 h 3680460"/>
                  <a:gd name="connsiteX54" fmla="*/ 721995 w 3008034"/>
                  <a:gd name="connsiteY54" fmla="*/ 3558540 h 3680460"/>
                  <a:gd name="connsiteX55" fmla="*/ 1331595 w 3008034"/>
                  <a:gd name="connsiteY55" fmla="*/ 3550920 h 3680460"/>
                  <a:gd name="connsiteX56" fmla="*/ 1529715 w 3008034"/>
                  <a:gd name="connsiteY56" fmla="*/ 3520440 h 3680460"/>
                  <a:gd name="connsiteX57" fmla="*/ 1621155 w 3008034"/>
                  <a:gd name="connsiteY57" fmla="*/ 3497580 h 3680460"/>
                  <a:gd name="connsiteX58" fmla="*/ 1781175 w 3008034"/>
                  <a:gd name="connsiteY58" fmla="*/ 3451860 h 3680460"/>
                  <a:gd name="connsiteX59" fmla="*/ 1864995 w 3008034"/>
                  <a:gd name="connsiteY59" fmla="*/ 3421380 h 3680460"/>
                  <a:gd name="connsiteX60" fmla="*/ 1941195 w 3008034"/>
                  <a:gd name="connsiteY60" fmla="*/ 3390900 h 3680460"/>
                  <a:gd name="connsiteX61" fmla="*/ 2089785 w 3008034"/>
                  <a:gd name="connsiteY61" fmla="*/ 3308985 h 3680460"/>
                  <a:gd name="connsiteX62" fmla="*/ 2189797 w 3008034"/>
                  <a:gd name="connsiteY62" fmla="*/ 3251835 h 3680460"/>
                  <a:gd name="connsiteX63" fmla="*/ 2337435 w 3008034"/>
                  <a:gd name="connsiteY63" fmla="*/ 3154680 h 3680460"/>
                  <a:gd name="connsiteX64" fmla="*/ 2459355 w 3008034"/>
                  <a:gd name="connsiteY64" fmla="*/ 3009900 h 3680460"/>
                  <a:gd name="connsiteX65" fmla="*/ 2527935 w 3008034"/>
                  <a:gd name="connsiteY65" fmla="*/ 2926080 h 3680460"/>
                  <a:gd name="connsiteX66" fmla="*/ 2619375 w 3008034"/>
                  <a:gd name="connsiteY66" fmla="*/ 2811780 h 3680460"/>
                  <a:gd name="connsiteX67" fmla="*/ 2665095 w 3008034"/>
                  <a:gd name="connsiteY67" fmla="*/ 2727960 h 3680460"/>
                  <a:gd name="connsiteX68" fmla="*/ 2695575 w 3008034"/>
                  <a:gd name="connsiteY68" fmla="*/ 2667000 h 3680460"/>
                  <a:gd name="connsiteX69" fmla="*/ 2779395 w 3008034"/>
                  <a:gd name="connsiteY69" fmla="*/ 2484120 h 3680460"/>
                  <a:gd name="connsiteX70" fmla="*/ 2802255 w 3008034"/>
                  <a:gd name="connsiteY70" fmla="*/ 2407920 h 3680460"/>
                  <a:gd name="connsiteX71" fmla="*/ 2908935 w 3008034"/>
                  <a:gd name="connsiteY71" fmla="*/ 2049780 h 3680460"/>
                  <a:gd name="connsiteX72" fmla="*/ 2924175 w 3008034"/>
                  <a:gd name="connsiteY72" fmla="*/ 1844040 h 3680460"/>
                  <a:gd name="connsiteX73" fmla="*/ 2908935 w 3008034"/>
                  <a:gd name="connsiteY73" fmla="*/ 1470660 h 3680460"/>
                  <a:gd name="connsiteX74" fmla="*/ 2886075 w 3008034"/>
                  <a:gd name="connsiteY74" fmla="*/ 1371600 h 3680460"/>
                  <a:gd name="connsiteX75" fmla="*/ 2870835 w 3008034"/>
                  <a:gd name="connsiteY75" fmla="*/ 1341120 h 3680460"/>
                  <a:gd name="connsiteX76" fmla="*/ 2847975 w 3008034"/>
                  <a:gd name="connsiteY76" fmla="*/ 1272540 h 3680460"/>
                  <a:gd name="connsiteX77" fmla="*/ 2840355 w 3008034"/>
                  <a:gd name="connsiteY77" fmla="*/ 1234440 h 3680460"/>
                  <a:gd name="connsiteX78" fmla="*/ 2756535 w 3008034"/>
                  <a:gd name="connsiteY78" fmla="*/ 1089660 h 3680460"/>
                  <a:gd name="connsiteX79" fmla="*/ 2726055 w 3008034"/>
                  <a:gd name="connsiteY79" fmla="*/ 1043940 h 3680460"/>
                  <a:gd name="connsiteX80" fmla="*/ 2718435 w 3008034"/>
                  <a:gd name="connsiteY80" fmla="*/ 1021080 h 3680460"/>
                  <a:gd name="connsiteX81" fmla="*/ 2672715 w 3008034"/>
                  <a:gd name="connsiteY81" fmla="*/ 937260 h 3680460"/>
                  <a:gd name="connsiteX82" fmla="*/ 2649855 w 3008034"/>
                  <a:gd name="connsiteY82" fmla="*/ 876300 h 3680460"/>
                  <a:gd name="connsiteX83" fmla="*/ 2634615 w 3008034"/>
                  <a:gd name="connsiteY83" fmla="*/ 845820 h 3680460"/>
                  <a:gd name="connsiteX84" fmla="*/ 2611755 w 3008034"/>
                  <a:gd name="connsiteY84" fmla="*/ 800100 h 3680460"/>
                  <a:gd name="connsiteX85" fmla="*/ 2448878 w 3008034"/>
                  <a:gd name="connsiteY85" fmla="*/ 621983 h 3680460"/>
                  <a:gd name="connsiteX86" fmla="*/ 2291715 w 3008034"/>
                  <a:gd name="connsiteY86" fmla="*/ 458152 h 3680460"/>
                  <a:gd name="connsiteX87" fmla="*/ 2227898 w 3008034"/>
                  <a:gd name="connsiteY87" fmla="*/ 406717 h 3680460"/>
                  <a:gd name="connsiteX88" fmla="*/ 2093595 w 3008034"/>
                  <a:gd name="connsiteY88" fmla="*/ 312420 h 3680460"/>
                  <a:gd name="connsiteX89" fmla="*/ 2032635 w 3008034"/>
                  <a:gd name="connsiteY89" fmla="*/ 266700 h 3680460"/>
                  <a:gd name="connsiteX90" fmla="*/ 1994535 w 3008034"/>
                  <a:gd name="connsiteY90" fmla="*/ 251460 h 3680460"/>
                  <a:gd name="connsiteX91" fmla="*/ 1948815 w 3008034"/>
                  <a:gd name="connsiteY91" fmla="*/ 220980 h 3680460"/>
                  <a:gd name="connsiteX92" fmla="*/ 1887855 w 3008034"/>
                  <a:gd name="connsiteY9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948815 w 3008034"/>
                  <a:gd name="connsiteY90" fmla="*/ 220980 h 3680460"/>
                  <a:gd name="connsiteX91" fmla="*/ 1887855 w 3008034"/>
                  <a:gd name="connsiteY9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887855 w 3008034"/>
                  <a:gd name="connsiteY9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34615 w 3008034"/>
                  <a:gd name="connsiteY81" fmla="*/ 845820 h 3680460"/>
                  <a:gd name="connsiteX82" fmla="*/ 2611755 w 3008034"/>
                  <a:gd name="connsiteY82" fmla="*/ 800100 h 3680460"/>
                  <a:gd name="connsiteX83" fmla="*/ 2448878 w 3008034"/>
                  <a:gd name="connsiteY83" fmla="*/ 621983 h 3680460"/>
                  <a:gd name="connsiteX84" fmla="*/ 2291715 w 3008034"/>
                  <a:gd name="connsiteY84" fmla="*/ 458152 h 3680460"/>
                  <a:gd name="connsiteX85" fmla="*/ 2227898 w 3008034"/>
                  <a:gd name="connsiteY85" fmla="*/ 406717 h 3680460"/>
                  <a:gd name="connsiteX86" fmla="*/ 2093595 w 3008034"/>
                  <a:gd name="connsiteY86" fmla="*/ 312420 h 3680460"/>
                  <a:gd name="connsiteX87" fmla="*/ 2032635 w 3008034"/>
                  <a:gd name="connsiteY87" fmla="*/ 266700 h 3680460"/>
                  <a:gd name="connsiteX88" fmla="*/ 1994535 w 3008034"/>
                  <a:gd name="connsiteY88" fmla="*/ 251460 h 3680460"/>
                  <a:gd name="connsiteX89" fmla="*/ 1887855 w 3008034"/>
                  <a:gd name="connsiteY8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11755 w 3008034"/>
                  <a:gd name="connsiteY81" fmla="*/ 800100 h 3680460"/>
                  <a:gd name="connsiteX82" fmla="*/ 2448878 w 3008034"/>
                  <a:gd name="connsiteY82" fmla="*/ 621983 h 3680460"/>
                  <a:gd name="connsiteX83" fmla="*/ 2291715 w 3008034"/>
                  <a:gd name="connsiteY83" fmla="*/ 458152 h 3680460"/>
                  <a:gd name="connsiteX84" fmla="*/ 2227898 w 3008034"/>
                  <a:gd name="connsiteY84" fmla="*/ 406717 h 3680460"/>
                  <a:gd name="connsiteX85" fmla="*/ 2093595 w 3008034"/>
                  <a:gd name="connsiteY85" fmla="*/ 312420 h 3680460"/>
                  <a:gd name="connsiteX86" fmla="*/ 2032635 w 3008034"/>
                  <a:gd name="connsiteY86" fmla="*/ 266700 h 3680460"/>
                  <a:gd name="connsiteX87" fmla="*/ 1994535 w 3008034"/>
                  <a:gd name="connsiteY87" fmla="*/ 251460 h 3680460"/>
                  <a:gd name="connsiteX88" fmla="*/ 1887855 w 3008034"/>
                  <a:gd name="connsiteY8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11755 w 3008034"/>
                  <a:gd name="connsiteY80" fmla="*/ 800100 h 3680460"/>
                  <a:gd name="connsiteX81" fmla="*/ 2448878 w 3008034"/>
                  <a:gd name="connsiteY81" fmla="*/ 621983 h 3680460"/>
                  <a:gd name="connsiteX82" fmla="*/ 2291715 w 3008034"/>
                  <a:gd name="connsiteY82" fmla="*/ 458152 h 3680460"/>
                  <a:gd name="connsiteX83" fmla="*/ 2227898 w 3008034"/>
                  <a:gd name="connsiteY83" fmla="*/ 406717 h 3680460"/>
                  <a:gd name="connsiteX84" fmla="*/ 2093595 w 3008034"/>
                  <a:gd name="connsiteY84" fmla="*/ 312420 h 3680460"/>
                  <a:gd name="connsiteX85" fmla="*/ 2032635 w 3008034"/>
                  <a:gd name="connsiteY85" fmla="*/ 266700 h 3680460"/>
                  <a:gd name="connsiteX86" fmla="*/ 1994535 w 3008034"/>
                  <a:gd name="connsiteY86" fmla="*/ 251460 h 3680460"/>
                  <a:gd name="connsiteX87" fmla="*/ 1887855 w 3008034"/>
                  <a:gd name="connsiteY8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47975 w 3008034"/>
                  <a:gd name="connsiteY73" fmla="*/ 1272540 h 3680460"/>
                  <a:gd name="connsiteX74" fmla="*/ 2840355 w 3008034"/>
                  <a:gd name="connsiteY74" fmla="*/ 1234440 h 3680460"/>
                  <a:gd name="connsiteX75" fmla="*/ 2756535 w 3008034"/>
                  <a:gd name="connsiteY75" fmla="*/ 1089660 h 3680460"/>
                  <a:gd name="connsiteX76" fmla="*/ 2726055 w 3008034"/>
                  <a:gd name="connsiteY76" fmla="*/ 1043940 h 3680460"/>
                  <a:gd name="connsiteX77" fmla="*/ 2718435 w 3008034"/>
                  <a:gd name="connsiteY77" fmla="*/ 1021080 h 3680460"/>
                  <a:gd name="connsiteX78" fmla="*/ 2672715 w 3008034"/>
                  <a:gd name="connsiteY78" fmla="*/ 937260 h 3680460"/>
                  <a:gd name="connsiteX79" fmla="*/ 2611755 w 3008034"/>
                  <a:gd name="connsiteY79" fmla="*/ 800100 h 3680460"/>
                  <a:gd name="connsiteX80" fmla="*/ 2448878 w 3008034"/>
                  <a:gd name="connsiteY80" fmla="*/ 621983 h 3680460"/>
                  <a:gd name="connsiteX81" fmla="*/ 2291715 w 3008034"/>
                  <a:gd name="connsiteY81" fmla="*/ 458152 h 3680460"/>
                  <a:gd name="connsiteX82" fmla="*/ 2227898 w 3008034"/>
                  <a:gd name="connsiteY82" fmla="*/ 406717 h 3680460"/>
                  <a:gd name="connsiteX83" fmla="*/ 2093595 w 3008034"/>
                  <a:gd name="connsiteY83" fmla="*/ 312420 h 3680460"/>
                  <a:gd name="connsiteX84" fmla="*/ 2032635 w 3008034"/>
                  <a:gd name="connsiteY84" fmla="*/ 266700 h 3680460"/>
                  <a:gd name="connsiteX85" fmla="*/ 1994535 w 3008034"/>
                  <a:gd name="connsiteY85" fmla="*/ 251460 h 3680460"/>
                  <a:gd name="connsiteX86" fmla="*/ 1887855 w 3008034"/>
                  <a:gd name="connsiteY8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85135 w 3008034"/>
                  <a:gd name="connsiteY17" fmla="*/ 1348740 h 3680460"/>
                  <a:gd name="connsiteX18" fmla="*/ 3000375 w 3008034"/>
                  <a:gd name="connsiteY18" fmla="*/ 1432560 h 3680460"/>
                  <a:gd name="connsiteX19" fmla="*/ 3007995 w 3008034"/>
                  <a:gd name="connsiteY19" fmla="*/ 1684020 h 3680460"/>
                  <a:gd name="connsiteX20" fmla="*/ 3003233 w 3008034"/>
                  <a:gd name="connsiteY20" fmla="*/ 1990725 h 3680460"/>
                  <a:gd name="connsiteX21" fmla="*/ 2969895 w 3008034"/>
                  <a:gd name="connsiteY21" fmla="*/ 2194560 h 3680460"/>
                  <a:gd name="connsiteX22" fmla="*/ 2931795 w 3008034"/>
                  <a:gd name="connsiteY22" fmla="*/ 2324100 h 3680460"/>
                  <a:gd name="connsiteX23" fmla="*/ 2916555 w 3008034"/>
                  <a:gd name="connsiteY23" fmla="*/ 2392680 h 3680460"/>
                  <a:gd name="connsiteX24" fmla="*/ 2867978 w 3008034"/>
                  <a:gd name="connsiteY24" fmla="*/ 2521267 h 3680460"/>
                  <a:gd name="connsiteX25" fmla="*/ 2801303 w 3008034"/>
                  <a:gd name="connsiteY25" fmla="*/ 2656523 h 3680460"/>
                  <a:gd name="connsiteX26" fmla="*/ 2719387 w 3008034"/>
                  <a:gd name="connsiteY26" fmla="*/ 2818447 h 3680460"/>
                  <a:gd name="connsiteX27" fmla="*/ 2495550 w 3008034"/>
                  <a:gd name="connsiteY27" fmla="*/ 3084195 h 3680460"/>
                  <a:gd name="connsiteX28" fmla="*/ 2396490 w 3008034"/>
                  <a:gd name="connsiteY28" fmla="*/ 3185160 h 3680460"/>
                  <a:gd name="connsiteX29" fmla="*/ 2284095 w 3008034"/>
                  <a:gd name="connsiteY29" fmla="*/ 3284220 h 3680460"/>
                  <a:gd name="connsiteX30" fmla="*/ 2131695 w 3008034"/>
                  <a:gd name="connsiteY30" fmla="*/ 3390900 h 3680460"/>
                  <a:gd name="connsiteX31" fmla="*/ 2000250 w 3008034"/>
                  <a:gd name="connsiteY31" fmla="*/ 3448050 h 3680460"/>
                  <a:gd name="connsiteX32" fmla="*/ 1864995 w 3008034"/>
                  <a:gd name="connsiteY32" fmla="*/ 3512820 h 3680460"/>
                  <a:gd name="connsiteX33" fmla="*/ 1819275 w 3008034"/>
                  <a:gd name="connsiteY33" fmla="*/ 3520440 h 3680460"/>
                  <a:gd name="connsiteX34" fmla="*/ 1712595 w 3008034"/>
                  <a:gd name="connsiteY34" fmla="*/ 3550920 h 3680460"/>
                  <a:gd name="connsiteX35" fmla="*/ 1590675 w 3008034"/>
                  <a:gd name="connsiteY35" fmla="*/ 3589020 h 3680460"/>
                  <a:gd name="connsiteX36" fmla="*/ 1537335 w 3008034"/>
                  <a:gd name="connsiteY36" fmla="*/ 3611880 h 3680460"/>
                  <a:gd name="connsiteX37" fmla="*/ 1453515 w 3008034"/>
                  <a:gd name="connsiteY37" fmla="*/ 3627120 h 3680460"/>
                  <a:gd name="connsiteX38" fmla="*/ 1323975 w 3008034"/>
                  <a:gd name="connsiteY38" fmla="*/ 3657600 h 3680460"/>
                  <a:gd name="connsiteX39" fmla="*/ 1194435 w 3008034"/>
                  <a:gd name="connsiteY39" fmla="*/ 3672840 h 3680460"/>
                  <a:gd name="connsiteX40" fmla="*/ 1156335 w 3008034"/>
                  <a:gd name="connsiteY40" fmla="*/ 3680460 h 3680460"/>
                  <a:gd name="connsiteX41" fmla="*/ 625792 w 3008034"/>
                  <a:gd name="connsiteY41" fmla="*/ 3668078 h 3680460"/>
                  <a:gd name="connsiteX42" fmla="*/ 402908 w 3008034"/>
                  <a:gd name="connsiteY42" fmla="*/ 3614738 h 3680460"/>
                  <a:gd name="connsiteX43" fmla="*/ 266700 w 3008034"/>
                  <a:gd name="connsiteY43" fmla="*/ 3570922 h 3680460"/>
                  <a:gd name="connsiteX44" fmla="*/ 164782 w 3008034"/>
                  <a:gd name="connsiteY44" fmla="*/ 3515678 h 3680460"/>
                  <a:gd name="connsiteX45" fmla="*/ 31433 w 3008034"/>
                  <a:gd name="connsiteY45" fmla="*/ 3422333 h 3680460"/>
                  <a:gd name="connsiteX46" fmla="*/ 0 w 3008034"/>
                  <a:gd name="connsiteY46" fmla="*/ 3376613 h 3680460"/>
                  <a:gd name="connsiteX47" fmla="*/ 127635 w 3008034"/>
                  <a:gd name="connsiteY47" fmla="*/ 3360420 h 3680460"/>
                  <a:gd name="connsiteX48" fmla="*/ 158115 w 3008034"/>
                  <a:gd name="connsiteY48" fmla="*/ 3390900 h 3680460"/>
                  <a:gd name="connsiteX49" fmla="*/ 317183 w 3008034"/>
                  <a:gd name="connsiteY49" fmla="*/ 3450907 h 3680460"/>
                  <a:gd name="connsiteX50" fmla="*/ 485775 w 3008034"/>
                  <a:gd name="connsiteY50" fmla="*/ 3520440 h 3680460"/>
                  <a:gd name="connsiteX51" fmla="*/ 721995 w 3008034"/>
                  <a:gd name="connsiteY51" fmla="*/ 3558540 h 3680460"/>
                  <a:gd name="connsiteX52" fmla="*/ 1331595 w 3008034"/>
                  <a:gd name="connsiteY52" fmla="*/ 3550920 h 3680460"/>
                  <a:gd name="connsiteX53" fmla="*/ 1529715 w 3008034"/>
                  <a:gd name="connsiteY53" fmla="*/ 3520440 h 3680460"/>
                  <a:gd name="connsiteX54" fmla="*/ 1621155 w 3008034"/>
                  <a:gd name="connsiteY54" fmla="*/ 3497580 h 3680460"/>
                  <a:gd name="connsiteX55" fmla="*/ 1781175 w 3008034"/>
                  <a:gd name="connsiteY55" fmla="*/ 3451860 h 3680460"/>
                  <a:gd name="connsiteX56" fmla="*/ 1864995 w 3008034"/>
                  <a:gd name="connsiteY56" fmla="*/ 3421380 h 3680460"/>
                  <a:gd name="connsiteX57" fmla="*/ 1941195 w 3008034"/>
                  <a:gd name="connsiteY57" fmla="*/ 3390900 h 3680460"/>
                  <a:gd name="connsiteX58" fmla="*/ 2089785 w 3008034"/>
                  <a:gd name="connsiteY58" fmla="*/ 3308985 h 3680460"/>
                  <a:gd name="connsiteX59" fmla="*/ 2189797 w 3008034"/>
                  <a:gd name="connsiteY59" fmla="*/ 3251835 h 3680460"/>
                  <a:gd name="connsiteX60" fmla="*/ 2337435 w 3008034"/>
                  <a:gd name="connsiteY60" fmla="*/ 3154680 h 3680460"/>
                  <a:gd name="connsiteX61" fmla="*/ 2459355 w 3008034"/>
                  <a:gd name="connsiteY61" fmla="*/ 3009900 h 3680460"/>
                  <a:gd name="connsiteX62" fmla="*/ 2527935 w 3008034"/>
                  <a:gd name="connsiteY62" fmla="*/ 2926080 h 3680460"/>
                  <a:gd name="connsiteX63" fmla="*/ 2619375 w 3008034"/>
                  <a:gd name="connsiteY63" fmla="*/ 2811780 h 3680460"/>
                  <a:gd name="connsiteX64" fmla="*/ 2665095 w 3008034"/>
                  <a:gd name="connsiteY64" fmla="*/ 2727960 h 3680460"/>
                  <a:gd name="connsiteX65" fmla="*/ 2695575 w 3008034"/>
                  <a:gd name="connsiteY65" fmla="*/ 2667000 h 3680460"/>
                  <a:gd name="connsiteX66" fmla="*/ 2779395 w 3008034"/>
                  <a:gd name="connsiteY66" fmla="*/ 2484120 h 3680460"/>
                  <a:gd name="connsiteX67" fmla="*/ 2802255 w 3008034"/>
                  <a:gd name="connsiteY67" fmla="*/ 2407920 h 3680460"/>
                  <a:gd name="connsiteX68" fmla="*/ 2908935 w 3008034"/>
                  <a:gd name="connsiteY68" fmla="*/ 2049780 h 3680460"/>
                  <a:gd name="connsiteX69" fmla="*/ 2924175 w 3008034"/>
                  <a:gd name="connsiteY69" fmla="*/ 1844040 h 3680460"/>
                  <a:gd name="connsiteX70" fmla="*/ 2908935 w 3008034"/>
                  <a:gd name="connsiteY70" fmla="*/ 1470660 h 3680460"/>
                  <a:gd name="connsiteX71" fmla="*/ 2886075 w 3008034"/>
                  <a:gd name="connsiteY71" fmla="*/ 1371600 h 3680460"/>
                  <a:gd name="connsiteX72" fmla="*/ 2847975 w 3008034"/>
                  <a:gd name="connsiteY72" fmla="*/ 1272540 h 3680460"/>
                  <a:gd name="connsiteX73" fmla="*/ 2840355 w 3008034"/>
                  <a:gd name="connsiteY73" fmla="*/ 1234440 h 3680460"/>
                  <a:gd name="connsiteX74" fmla="*/ 2756535 w 3008034"/>
                  <a:gd name="connsiteY74" fmla="*/ 1089660 h 3680460"/>
                  <a:gd name="connsiteX75" fmla="*/ 2726055 w 3008034"/>
                  <a:gd name="connsiteY75" fmla="*/ 1043940 h 3680460"/>
                  <a:gd name="connsiteX76" fmla="*/ 2718435 w 3008034"/>
                  <a:gd name="connsiteY76" fmla="*/ 1021080 h 3680460"/>
                  <a:gd name="connsiteX77" fmla="*/ 2672715 w 3008034"/>
                  <a:gd name="connsiteY77" fmla="*/ 937260 h 3680460"/>
                  <a:gd name="connsiteX78" fmla="*/ 2611755 w 3008034"/>
                  <a:gd name="connsiteY78" fmla="*/ 800100 h 3680460"/>
                  <a:gd name="connsiteX79" fmla="*/ 2448878 w 3008034"/>
                  <a:gd name="connsiteY79" fmla="*/ 621983 h 3680460"/>
                  <a:gd name="connsiteX80" fmla="*/ 2291715 w 3008034"/>
                  <a:gd name="connsiteY80" fmla="*/ 458152 h 3680460"/>
                  <a:gd name="connsiteX81" fmla="*/ 2227898 w 3008034"/>
                  <a:gd name="connsiteY81" fmla="*/ 406717 h 3680460"/>
                  <a:gd name="connsiteX82" fmla="*/ 2093595 w 3008034"/>
                  <a:gd name="connsiteY82" fmla="*/ 312420 h 3680460"/>
                  <a:gd name="connsiteX83" fmla="*/ 2032635 w 3008034"/>
                  <a:gd name="connsiteY83" fmla="*/ 266700 h 3680460"/>
                  <a:gd name="connsiteX84" fmla="*/ 1994535 w 3008034"/>
                  <a:gd name="connsiteY84" fmla="*/ 251460 h 3680460"/>
                  <a:gd name="connsiteX85" fmla="*/ 1887855 w 3008034"/>
                  <a:gd name="connsiteY8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323975 w 3008034"/>
                  <a:gd name="connsiteY37" fmla="*/ 365760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83" fmla="*/ 1750695 w 3008034"/>
                  <a:gd name="connsiteY83" fmla="*/ 68580 h 3680460"/>
                  <a:gd name="connsiteX84" fmla="*/ 1811655 w 3008034"/>
                  <a:gd name="connsiteY84" fmla="*/ 107633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83" fmla="*/ 1811655 w 3008034"/>
                  <a:gd name="connsiteY83" fmla="*/ 107633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32635 w 3008034"/>
                  <a:gd name="connsiteY77" fmla="*/ 2667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3008034" h="3680460">
                    <a:moveTo>
                      <a:pt x="1720215" y="16193"/>
                    </a:move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66" name="Freeform: Shape 52">
                <a:extLst>
                  <a:ext uri="{FF2B5EF4-FFF2-40B4-BE49-F238E27FC236}">
                    <a16:creationId xmlns:a16="http://schemas.microsoft.com/office/drawing/2014/main" id="{87603CE2-7CE6-0600-B4FF-CF90D8524505}"/>
                  </a:ext>
                </a:extLst>
              </p:cNvPr>
              <p:cNvSpPr/>
              <p:nvPr/>
            </p:nvSpPr>
            <p:spPr>
              <a:xfrm>
                <a:off x="4966195" y="5466716"/>
                <a:ext cx="372213" cy="756362"/>
              </a:xfrm>
              <a:custGeom>
                <a:avLst/>
                <a:gdLst>
                  <a:gd name="connsiteX0" fmla="*/ 23126 w 378064"/>
                  <a:gd name="connsiteY0" fmla="*/ 7620 h 754380"/>
                  <a:gd name="connsiteX1" fmla="*/ 15506 w 378064"/>
                  <a:gd name="connsiteY1" fmla="*/ 137160 h 754380"/>
                  <a:gd name="connsiteX2" fmla="*/ 266 w 378064"/>
                  <a:gd name="connsiteY2" fmla="*/ 510540 h 754380"/>
                  <a:gd name="connsiteX3" fmla="*/ 7886 w 378064"/>
                  <a:gd name="connsiteY3" fmla="*/ 670560 h 754380"/>
                  <a:gd name="connsiteX4" fmla="*/ 84086 w 378064"/>
                  <a:gd name="connsiteY4" fmla="*/ 739140 h 754380"/>
                  <a:gd name="connsiteX5" fmla="*/ 106946 w 378064"/>
                  <a:gd name="connsiteY5" fmla="*/ 754380 h 754380"/>
                  <a:gd name="connsiteX6" fmla="*/ 312686 w 378064"/>
                  <a:gd name="connsiteY6" fmla="*/ 746760 h 754380"/>
                  <a:gd name="connsiteX7" fmla="*/ 335546 w 378064"/>
                  <a:gd name="connsiteY7" fmla="*/ 731520 h 754380"/>
                  <a:gd name="connsiteX8" fmla="*/ 366026 w 378064"/>
                  <a:gd name="connsiteY8" fmla="*/ 716280 h 754380"/>
                  <a:gd name="connsiteX9" fmla="*/ 366026 w 378064"/>
                  <a:gd name="connsiteY9" fmla="*/ 571500 h 754380"/>
                  <a:gd name="connsiteX10" fmla="*/ 335546 w 378064"/>
                  <a:gd name="connsiteY10" fmla="*/ 419100 h 754380"/>
                  <a:gd name="connsiteX11" fmla="*/ 312686 w 378064"/>
                  <a:gd name="connsiteY11" fmla="*/ 281940 h 754380"/>
                  <a:gd name="connsiteX12" fmla="*/ 297446 w 378064"/>
                  <a:gd name="connsiteY12" fmla="*/ 213360 h 754380"/>
                  <a:gd name="connsiteX13" fmla="*/ 297446 w 378064"/>
                  <a:gd name="connsiteY13" fmla="*/ 0 h 754380"/>
                  <a:gd name="connsiteX0" fmla="*/ 23126 w 378064"/>
                  <a:gd name="connsiteY0" fmla="*/ 7620 h 754380"/>
                  <a:gd name="connsiteX1" fmla="*/ 15506 w 378064"/>
                  <a:gd name="connsiteY1" fmla="*/ 137160 h 754380"/>
                  <a:gd name="connsiteX2" fmla="*/ 266 w 378064"/>
                  <a:gd name="connsiteY2" fmla="*/ 510540 h 754380"/>
                  <a:gd name="connsiteX3" fmla="*/ 7886 w 378064"/>
                  <a:gd name="connsiteY3" fmla="*/ 670560 h 754380"/>
                  <a:gd name="connsiteX4" fmla="*/ 84086 w 378064"/>
                  <a:gd name="connsiteY4" fmla="*/ 739140 h 754380"/>
                  <a:gd name="connsiteX5" fmla="*/ 106946 w 378064"/>
                  <a:gd name="connsiteY5" fmla="*/ 754380 h 754380"/>
                  <a:gd name="connsiteX6" fmla="*/ 312686 w 378064"/>
                  <a:gd name="connsiteY6" fmla="*/ 746760 h 754380"/>
                  <a:gd name="connsiteX7" fmla="*/ 335546 w 378064"/>
                  <a:gd name="connsiteY7" fmla="*/ 731520 h 754380"/>
                  <a:gd name="connsiteX8" fmla="*/ 366026 w 378064"/>
                  <a:gd name="connsiteY8" fmla="*/ 716280 h 754380"/>
                  <a:gd name="connsiteX9" fmla="*/ 366026 w 378064"/>
                  <a:gd name="connsiteY9" fmla="*/ 571500 h 754380"/>
                  <a:gd name="connsiteX10" fmla="*/ 335546 w 378064"/>
                  <a:gd name="connsiteY10" fmla="*/ 419100 h 754380"/>
                  <a:gd name="connsiteX11" fmla="*/ 312686 w 378064"/>
                  <a:gd name="connsiteY11" fmla="*/ 281940 h 754380"/>
                  <a:gd name="connsiteX12" fmla="*/ 297446 w 378064"/>
                  <a:gd name="connsiteY12" fmla="*/ 0 h 754380"/>
                  <a:gd name="connsiteX0" fmla="*/ 23126 w 378064"/>
                  <a:gd name="connsiteY0" fmla="*/ 7620 h 754380"/>
                  <a:gd name="connsiteX1" fmla="*/ 15506 w 378064"/>
                  <a:gd name="connsiteY1" fmla="*/ 137160 h 754380"/>
                  <a:gd name="connsiteX2" fmla="*/ 266 w 378064"/>
                  <a:gd name="connsiteY2" fmla="*/ 510540 h 754380"/>
                  <a:gd name="connsiteX3" fmla="*/ 7886 w 378064"/>
                  <a:gd name="connsiteY3" fmla="*/ 670560 h 754380"/>
                  <a:gd name="connsiteX4" fmla="*/ 84086 w 378064"/>
                  <a:gd name="connsiteY4" fmla="*/ 739140 h 754380"/>
                  <a:gd name="connsiteX5" fmla="*/ 106946 w 378064"/>
                  <a:gd name="connsiteY5" fmla="*/ 754380 h 754380"/>
                  <a:gd name="connsiteX6" fmla="*/ 312686 w 378064"/>
                  <a:gd name="connsiteY6" fmla="*/ 746760 h 754380"/>
                  <a:gd name="connsiteX7" fmla="*/ 335546 w 378064"/>
                  <a:gd name="connsiteY7" fmla="*/ 731520 h 754380"/>
                  <a:gd name="connsiteX8" fmla="*/ 366026 w 378064"/>
                  <a:gd name="connsiteY8" fmla="*/ 716280 h 754380"/>
                  <a:gd name="connsiteX9" fmla="*/ 366026 w 378064"/>
                  <a:gd name="connsiteY9" fmla="*/ 571500 h 754380"/>
                  <a:gd name="connsiteX10" fmla="*/ 335546 w 378064"/>
                  <a:gd name="connsiteY10" fmla="*/ 419100 h 754380"/>
                  <a:gd name="connsiteX11" fmla="*/ 325386 w 378064"/>
                  <a:gd name="connsiteY11" fmla="*/ 215265 h 754380"/>
                  <a:gd name="connsiteX12" fmla="*/ 297446 w 378064"/>
                  <a:gd name="connsiteY12" fmla="*/ 0 h 754380"/>
                  <a:gd name="connsiteX0" fmla="*/ 23126 w 378064"/>
                  <a:gd name="connsiteY0" fmla="*/ 4445 h 751205"/>
                  <a:gd name="connsiteX1" fmla="*/ 15506 w 378064"/>
                  <a:gd name="connsiteY1" fmla="*/ 133985 h 751205"/>
                  <a:gd name="connsiteX2" fmla="*/ 266 w 378064"/>
                  <a:gd name="connsiteY2" fmla="*/ 507365 h 751205"/>
                  <a:gd name="connsiteX3" fmla="*/ 7886 w 378064"/>
                  <a:gd name="connsiteY3" fmla="*/ 667385 h 751205"/>
                  <a:gd name="connsiteX4" fmla="*/ 84086 w 378064"/>
                  <a:gd name="connsiteY4" fmla="*/ 735965 h 751205"/>
                  <a:gd name="connsiteX5" fmla="*/ 106946 w 378064"/>
                  <a:gd name="connsiteY5" fmla="*/ 751205 h 751205"/>
                  <a:gd name="connsiteX6" fmla="*/ 312686 w 378064"/>
                  <a:gd name="connsiteY6" fmla="*/ 743585 h 751205"/>
                  <a:gd name="connsiteX7" fmla="*/ 335546 w 378064"/>
                  <a:gd name="connsiteY7" fmla="*/ 728345 h 751205"/>
                  <a:gd name="connsiteX8" fmla="*/ 366026 w 378064"/>
                  <a:gd name="connsiteY8" fmla="*/ 713105 h 751205"/>
                  <a:gd name="connsiteX9" fmla="*/ 366026 w 378064"/>
                  <a:gd name="connsiteY9" fmla="*/ 568325 h 751205"/>
                  <a:gd name="connsiteX10" fmla="*/ 335546 w 378064"/>
                  <a:gd name="connsiteY10" fmla="*/ 415925 h 751205"/>
                  <a:gd name="connsiteX11" fmla="*/ 325386 w 378064"/>
                  <a:gd name="connsiteY11" fmla="*/ 212090 h 751205"/>
                  <a:gd name="connsiteX12" fmla="*/ 310146 w 378064"/>
                  <a:gd name="connsiteY12" fmla="*/ 0 h 751205"/>
                  <a:gd name="connsiteX0" fmla="*/ 23126 w 375245"/>
                  <a:gd name="connsiteY0" fmla="*/ 4445 h 751205"/>
                  <a:gd name="connsiteX1" fmla="*/ 15506 w 375245"/>
                  <a:gd name="connsiteY1" fmla="*/ 133985 h 751205"/>
                  <a:gd name="connsiteX2" fmla="*/ 266 w 375245"/>
                  <a:gd name="connsiteY2" fmla="*/ 507365 h 751205"/>
                  <a:gd name="connsiteX3" fmla="*/ 7886 w 375245"/>
                  <a:gd name="connsiteY3" fmla="*/ 667385 h 751205"/>
                  <a:gd name="connsiteX4" fmla="*/ 84086 w 375245"/>
                  <a:gd name="connsiteY4" fmla="*/ 735965 h 751205"/>
                  <a:gd name="connsiteX5" fmla="*/ 106946 w 375245"/>
                  <a:gd name="connsiteY5" fmla="*/ 751205 h 751205"/>
                  <a:gd name="connsiteX6" fmla="*/ 312686 w 375245"/>
                  <a:gd name="connsiteY6" fmla="*/ 743585 h 751205"/>
                  <a:gd name="connsiteX7" fmla="*/ 335546 w 375245"/>
                  <a:gd name="connsiteY7" fmla="*/ 728345 h 751205"/>
                  <a:gd name="connsiteX8" fmla="*/ 366026 w 375245"/>
                  <a:gd name="connsiteY8" fmla="*/ 713105 h 751205"/>
                  <a:gd name="connsiteX9" fmla="*/ 366026 w 375245"/>
                  <a:gd name="connsiteY9" fmla="*/ 568325 h 751205"/>
                  <a:gd name="connsiteX10" fmla="*/ 354596 w 375245"/>
                  <a:gd name="connsiteY10" fmla="*/ 409575 h 751205"/>
                  <a:gd name="connsiteX11" fmla="*/ 325386 w 375245"/>
                  <a:gd name="connsiteY11" fmla="*/ 212090 h 751205"/>
                  <a:gd name="connsiteX12" fmla="*/ 310146 w 375245"/>
                  <a:gd name="connsiteY12" fmla="*/ 0 h 751205"/>
                  <a:gd name="connsiteX0" fmla="*/ 23126 w 370435"/>
                  <a:gd name="connsiteY0" fmla="*/ 4445 h 751205"/>
                  <a:gd name="connsiteX1" fmla="*/ 15506 w 370435"/>
                  <a:gd name="connsiteY1" fmla="*/ 133985 h 751205"/>
                  <a:gd name="connsiteX2" fmla="*/ 266 w 370435"/>
                  <a:gd name="connsiteY2" fmla="*/ 507365 h 751205"/>
                  <a:gd name="connsiteX3" fmla="*/ 7886 w 370435"/>
                  <a:gd name="connsiteY3" fmla="*/ 667385 h 751205"/>
                  <a:gd name="connsiteX4" fmla="*/ 84086 w 370435"/>
                  <a:gd name="connsiteY4" fmla="*/ 735965 h 751205"/>
                  <a:gd name="connsiteX5" fmla="*/ 106946 w 370435"/>
                  <a:gd name="connsiteY5" fmla="*/ 751205 h 751205"/>
                  <a:gd name="connsiteX6" fmla="*/ 312686 w 370435"/>
                  <a:gd name="connsiteY6" fmla="*/ 743585 h 751205"/>
                  <a:gd name="connsiteX7" fmla="*/ 366026 w 370435"/>
                  <a:gd name="connsiteY7" fmla="*/ 713105 h 751205"/>
                  <a:gd name="connsiteX8" fmla="*/ 366026 w 370435"/>
                  <a:gd name="connsiteY8" fmla="*/ 568325 h 751205"/>
                  <a:gd name="connsiteX9" fmla="*/ 354596 w 370435"/>
                  <a:gd name="connsiteY9" fmla="*/ 409575 h 751205"/>
                  <a:gd name="connsiteX10" fmla="*/ 325386 w 370435"/>
                  <a:gd name="connsiteY10" fmla="*/ 212090 h 751205"/>
                  <a:gd name="connsiteX11" fmla="*/ 310146 w 370435"/>
                  <a:gd name="connsiteY11" fmla="*/ 0 h 751205"/>
                  <a:gd name="connsiteX0" fmla="*/ 24904 w 372213"/>
                  <a:gd name="connsiteY0" fmla="*/ 4445 h 756362"/>
                  <a:gd name="connsiteX1" fmla="*/ 17284 w 372213"/>
                  <a:gd name="connsiteY1" fmla="*/ 133985 h 756362"/>
                  <a:gd name="connsiteX2" fmla="*/ 2044 w 372213"/>
                  <a:gd name="connsiteY2" fmla="*/ 507365 h 756362"/>
                  <a:gd name="connsiteX3" fmla="*/ 9664 w 372213"/>
                  <a:gd name="connsiteY3" fmla="*/ 667385 h 756362"/>
                  <a:gd name="connsiteX4" fmla="*/ 108724 w 372213"/>
                  <a:gd name="connsiteY4" fmla="*/ 751205 h 756362"/>
                  <a:gd name="connsiteX5" fmla="*/ 314464 w 372213"/>
                  <a:gd name="connsiteY5" fmla="*/ 743585 h 756362"/>
                  <a:gd name="connsiteX6" fmla="*/ 367804 w 372213"/>
                  <a:gd name="connsiteY6" fmla="*/ 713105 h 756362"/>
                  <a:gd name="connsiteX7" fmla="*/ 367804 w 372213"/>
                  <a:gd name="connsiteY7" fmla="*/ 568325 h 756362"/>
                  <a:gd name="connsiteX8" fmla="*/ 356374 w 372213"/>
                  <a:gd name="connsiteY8" fmla="*/ 409575 h 756362"/>
                  <a:gd name="connsiteX9" fmla="*/ 327164 w 372213"/>
                  <a:gd name="connsiteY9" fmla="*/ 212090 h 756362"/>
                  <a:gd name="connsiteX10" fmla="*/ 311924 w 372213"/>
                  <a:gd name="connsiteY10" fmla="*/ 0 h 756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2213" h="756362">
                    <a:moveTo>
                      <a:pt x="24904" y="4445"/>
                    </a:moveTo>
                    <a:cubicBezTo>
                      <a:pt x="22364" y="47625"/>
                      <a:pt x="18801" y="90757"/>
                      <a:pt x="17284" y="133985"/>
                    </a:cubicBezTo>
                    <a:cubicBezTo>
                      <a:pt x="4256" y="505274"/>
                      <a:pt x="21981" y="327931"/>
                      <a:pt x="2044" y="507365"/>
                    </a:cubicBezTo>
                    <a:cubicBezTo>
                      <a:pt x="4584" y="560705"/>
                      <a:pt x="-8116" y="626745"/>
                      <a:pt x="9664" y="667385"/>
                    </a:cubicBezTo>
                    <a:cubicBezTo>
                      <a:pt x="27444" y="708025"/>
                      <a:pt x="57924" y="738505"/>
                      <a:pt x="108724" y="751205"/>
                    </a:cubicBezTo>
                    <a:cubicBezTo>
                      <a:pt x="159524" y="763905"/>
                      <a:pt x="271284" y="749935"/>
                      <a:pt x="314464" y="743585"/>
                    </a:cubicBezTo>
                    <a:cubicBezTo>
                      <a:pt x="357644" y="737235"/>
                      <a:pt x="358914" y="742315"/>
                      <a:pt x="367804" y="713105"/>
                    </a:cubicBezTo>
                    <a:cubicBezTo>
                      <a:pt x="376694" y="683895"/>
                      <a:pt x="369709" y="618913"/>
                      <a:pt x="367804" y="568325"/>
                    </a:cubicBezTo>
                    <a:cubicBezTo>
                      <a:pt x="365899" y="517737"/>
                      <a:pt x="363147" y="468947"/>
                      <a:pt x="356374" y="409575"/>
                    </a:cubicBezTo>
                    <a:cubicBezTo>
                      <a:pt x="349601" y="350203"/>
                      <a:pt x="334572" y="280353"/>
                      <a:pt x="327164" y="212090"/>
                    </a:cubicBezTo>
                    <a:cubicBezTo>
                      <a:pt x="319756" y="143828"/>
                      <a:pt x="315099" y="58738"/>
                      <a:pt x="311924" y="0"/>
                    </a:cubicBezTo>
                  </a:path>
                </a:pathLst>
              </a:custGeom>
              <a:solidFill>
                <a:srgbClr val="FBCCD0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218"/>
                <a:endParaRPr lang="da-DK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</p:grpSp>
        <p:sp>
          <p:nvSpPr>
            <p:cNvPr id="24" name="Freeform: Shape 93">
              <a:extLst>
                <a:ext uri="{FF2B5EF4-FFF2-40B4-BE49-F238E27FC236}">
                  <a16:creationId xmlns:a16="http://schemas.microsoft.com/office/drawing/2014/main" id="{1B5DDC81-739C-20D6-C9D5-12A50D3EE84B}"/>
                </a:ext>
              </a:extLst>
            </p:cNvPr>
            <p:cNvSpPr/>
            <p:nvPr/>
          </p:nvSpPr>
          <p:spPr>
            <a:xfrm>
              <a:off x="2188411" y="2055119"/>
              <a:ext cx="1031704" cy="2174539"/>
            </a:xfrm>
            <a:custGeom>
              <a:avLst/>
              <a:gdLst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47625 w 1162050"/>
                <a:gd name="connsiteY9" fmla="*/ 1533525 h 2381250"/>
                <a:gd name="connsiteX10" fmla="*/ 66675 w 1162050"/>
                <a:gd name="connsiteY10" fmla="*/ 1495425 h 2381250"/>
                <a:gd name="connsiteX11" fmla="*/ 76200 w 1162050"/>
                <a:gd name="connsiteY11" fmla="*/ 1466850 h 2381250"/>
                <a:gd name="connsiteX12" fmla="*/ 95250 w 1162050"/>
                <a:gd name="connsiteY12" fmla="*/ 1400175 h 2381250"/>
                <a:gd name="connsiteX13" fmla="*/ 104775 w 1162050"/>
                <a:gd name="connsiteY13" fmla="*/ 1352550 h 2381250"/>
                <a:gd name="connsiteX14" fmla="*/ 133350 w 1162050"/>
                <a:gd name="connsiteY14" fmla="*/ 1295400 h 2381250"/>
                <a:gd name="connsiteX15" fmla="*/ 142875 w 1162050"/>
                <a:gd name="connsiteY15" fmla="*/ 1238250 h 2381250"/>
                <a:gd name="connsiteX16" fmla="*/ 161925 w 1162050"/>
                <a:gd name="connsiteY16" fmla="*/ 1200150 h 2381250"/>
                <a:gd name="connsiteX17" fmla="*/ 200025 w 1162050"/>
                <a:gd name="connsiteY17" fmla="*/ 1095375 h 2381250"/>
                <a:gd name="connsiteX18" fmla="*/ 228600 w 1162050"/>
                <a:gd name="connsiteY18" fmla="*/ 1000125 h 2381250"/>
                <a:gd name="connsiteX19" fmla="*/ 247650 w 1162050"/>
                <a:gd name="connsiteY19" fmla="*/ 962025 h 2381250"/>
                <a:gd name="connsiteX20" fmla="*/ 257175 w 1162050"/>
                <a:gd name="connsiteY20" fmla="*/ 933450 h 2381250"/>
                <a:gd name="connsiteX21" fmla="*/ 276225 w 1162050"/>
                <a:gd name="connsiteY21" fmla="*/ 904875 h 2381250"/>
                <a:gd name="connsiteX22" fmla="*/ 285750 w 1162050"/>
                <a:gd name="connsiteY22" fmla="*/ 876300 h 2381250"/>
                <a:gd name="connsiteX23" fmla="*/ 361950 w 1162050"/>
                <a:gd name="connsiteY23" fmla="*/ 781050 h 2381250"/>
                <a:gd name="connsiteX24" fmla="*/ 419100 w 1162050"/>
                <a:gd name="connsiteY24" fmla="*/ 676275 h 2381250"/>
                <a:gd name="connsiteX25" fmla="*/ 447675 w 1162050"/>
                <a:gd name="connsiteY25" fmla="*/ 647700 h 2381250"/>
                <a:gd name="connsiteX26" fmla="*/ 457200 w 1162050"/>
                <a:gd name="connsiteY26" fmla="*/ 609600 h 2381250"/>
                <a:gd name="connsiteX27" fmla="*/ 485775 w 1162050"/>
                <a:gd name="connsiteY27" fmla="*/ 571500 h 2381250"/>
                <a:gd name="connsiteX28" fmla="*/ 523875 w 1162050"/>
                <a:gd name="connsiteY28" fmla="*/ 514350 h 2381250"/>
                <a:gd name="connsiteX29" fmla="*/ 600075 w 1162050"/>
                <a:gd name="connsiteY29" fmla="*/ 419100 h 2381250"/>
                <a:gd name="connsiteX30" fmla="*/ 638175 w 1162050"/>
                <a:gd name="connsiteY30" fmla="*/ 361950 h 2381250"/>
                <a:gd name="connsiteX31" fmla="*/ 666750 w 1162050"/>
                <a:gd name="connsiteY31" fmla="*/ 333375 h 2381250"/>
                <a:gd name="connsiteX32" fmla="*/ 704850 w 1162050"/>
                <a:gd name="connsiteY32" fmla="*/ 285750 h 2381250"/>
                <a:gd name="connsiteX33" fmla="*/ 723900 w 1162050"/>
                <a:gd name="connsiteY33" fmla="*/ 257175 h 2381250"/>
                <a:gd name="connsiteX34" fmla="*/ 771525 w 1162050"/>
                <a:gd name="connsiteY34" fmla="*/ 228600 h 2381250"/>
                <a:gd name="connsiteX35" fmla="*/ 838200 w 1162050"/>
                <a:gd name="connsiteY35" fmla="*/ 180975 h 2381250"/>
                <a:gd name="connsiteX36" fmla="*/ 914400 w 1162050"/>
                <a:gd name="connsiteY36" fmla="*/ 133350 h 2381250"/>
                <a:gd name="connsiteX37" fmla="*/ 1009650 w 1162050"/>
                <a:gd name="connsiteY37" fmla="*/ 66675 h 2381250"/>
                <a:gd name="connsiteX38" fmla="*/ 1085850 w 1162050"/>
                <a:gd name="connsiteY38" fmla="*/ 19050 h 2381250"/>
                <a:gd name="connsiteX39" fmla="*/ 1123950 w 1162050"/>
                <a:gd name="connsiteY39" fmla="*/ 9525 h 2381250"/>
                <a:gd name="connsiteX40" fmla="*/ 1162050 w 1162050"/>
                <a:gd name="connsiteY40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66675 w 1162050"/>
                <a:gd name="connsiteY9" fmla="*/ 1495425 h 2381250"/>
                <a:gd name="connsiteX10" fmla="*/ 76200 w 1162050"/>
                <a:gd name="connsiteY10" fmla="*/ 1466850 h 2381250"/>
                <a:gd name="connsiteX11" fmla="*/ 95250 w 1162050"/>
                <a:gd name="connsiteY11" fmla="*/ 1400175 h 2381250"/>
                <a:gd name="connsiteX12" fmla="*/ 104775 w 1162050"/>
                <a:gd name="connsiteY12" fmla="*/ 1352550 h 2381250"/>
                <a:gd name="connsiteX13" fmla="*/ 133350 w 1162050"/>
                <a:gd name="connsiteY13" fmla="*/ 1295400 h 2381250"/>
                <a:gd name="connsiteX14" fmla="*/ 142875 w 1162050"/>
                <a:gd name="connsiteY14" fmla="*/ 1238250 h 2381250"/>
                <a:gd name="connsiteX15" fmla="*/ 161925 w 1162050"/>
                <a:gd name="connsiteY15" fmla="*/ 1200150 h 2381250"/>
                <a:gd name="connsiteX16" fmla="*/ 200025 w 1162050"/>
                <a:gd name="connsiteY16" fmla="*/ 1095375 h 2381250"/>
                <a:gd name="connsiteX17" fmla="*/ 228600 w 1162050"/>
                <a:gd name="connsiteY17" fmla="*/ 1000125 h 2381250"/>
                <a:gd name="connsiteX18" fmla="*/ 247650 w 1162050"/>
                <a:gd name="connsiteY18" fmla="*/ 962025 h 2381250"/>
                <a:gd name="connsiteX19" fmla="*/ 257175 w 1162050"/>
                <a:gd name="connsiteY19" fmla="*/ 933450 h 2381250"/>
                <a:gd name="connsiteX20" fmla="*/ 276225 w 1162050"/>
                <a:gd name="connsiteY20" fmla="*/ 904875 h 2381250"/>
                <a:gd name="connsiteX21" fmla="*/ 285750 w 1162050"/>
                <a:gd name="connsiteY21" fmla="*/ 876300 h 2381250"/>
                <a:gd name="connsiteX22" fmla="*/ 361950 w 1162050"/>
                <a:gd name="connsiteY22" fmla="*/ 781050 h 2381250"/>
                <a:gd name="connsiteX23" fmla="*/ 419100 w 1162050"/>
                <a:gd name="connsiteY23" fmla="*/ 676275 h 2381250"/>
                <a:gd name="connsiteX24" fmla="*/ 447675 w 1162050"/>
                <a:gd name="connsiteY24" fmla="*/ 647700 h 2381250"/>
                <a:gd name="connsiteX25" fmla="*/ 457200 w 1162050"/>
                <a:gd name="connsiteY25" fmla="*/ 609600 h 2381250"/>
                <a:gd name="connsiteX26" fmla="*/ 485775 w 1162050"/>
                <a:gd name="connsiteY26" fmla="*/ 571500 h 2381250"/>
                <a:gd name="connsiteX27" fmla="*/ 523875 w 1162050"/>
                <a:gd name="connsiteY27" fmla="*/ 514350 h 2381250"/>
                <a:gd name="connsiteX28" fmla="*/ 600075 w 1162050"/>
                <a:gd name="connsiteY28" fmla="*/ 419100 h 2381250"/>
                <a:gd name="connsiteX29" fmla="*/ 638175 w 1162050"/>
                <a:gd name="connsiteY29" fmla="*/ 361950 h 2381250"/>
                <a:gd name="connsiteX30" fmla="*/ 666750 w 1162050"/>
                <a:gd name="connsiteY30" fmla="*/ 333375 h 2381250"/>
                <a:gd name="connsiteX31" fmla="*/ 704850 w 1162050"/>
                <a:gd name="connsiteY31" fmla="*/ 285750 h 2381250"/>
                <a:gd name="connsiteX32" fmla="*/ 723900 w 1162050"/>
                <a:gd name="connsiteY32" fmla="*/ 257175 h 2381250"/>
                <a:gd name="connsiteX33" fmla="*/ 771525 w 1162050"/>
                <a:gd name="connsiteY33" fmla="*/ 228600 h 2381250"/>
                <a:gd name="connsiteX34" fmla="*/ 838200 w 1162050"/>
                <a:gd name="connsiteY34" fmla="*/ 180975 h 2381250"/>
                <a:gd name="connsiteX35" fmla="*/ 914400 w 1162050"/>
                <a:gd name="connsiteY35" fmla="*/ 133350 h 2381250"/>
                <a:gd name="connsiteX36" fmla="*/ 1009650 w 1162050"/>
                <a:gd name="connsiteY36" fmla="*/ 66675 h 2381250"/>
                <a:gd name="connsiteX37" fmla="*/ 1085850 w 1162050"/>
                <a:gd name="connsiteY37" fmla="*/ 19050 h 2381250"/>
                <a:gd name="connsiteX38" fmla="*/ 1123950 w 1162050"/>
                <a:gd name="connsiteY38" fmla="*/ 9525 h 2381250"/>
                <a:gd name="connsiteX39" fmla="*/ 1162050 w 1162050"/>
                <a:gd name="connsiteY39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66675 w 1162050"/>
                <a:gd name="connsiteY9" fmla="*/ 1495425 h 2381250"/>
                <a:gd name="connsiteX10" fmla="*/ 95250 w 1162050"/>
                <a:gd name="connsiteY10" fmla="*/ 1400175 h 2381250"/>
                <a:gd name="connsiteX11" fmla="*/ 104775 w 1162050"/>
                <a:gd name="connsiteY11" fmla="*/ 1352550 h 2381250"/>
                <a:gd name="connsiteX12" fmla="*/ 133350 w 1162050"/>
                <a:gd name="connsiteY12" fmla="*/ 1295400 h 2381250"/>
                <a:gd name="connsiteX13" fmla="*/ 142875 w 1162050"/>
                <a:gd name="connsiteY13" fmla="*/ 1238250 h 2381250"/>
                <a:gd name="connsiteX14" fmla="*/ 161925 w 1162050"/>
                <a:gd name="connsiteY14" fmla="*/ 1200150 h 2381250"/>
                <a:gd name="connsiteX15" fmla="*/ 200025 w 1162050"/>
                <a:gd name="connsiteY15" fmla="*/ 1095375 h 2381250"/>
                <a:gd name="connsiteX16" fmla="*/ 228600 w 1162050"/>
                <a:gd name="connsiteY16" fmla="*/ 1000125 h 2381250"/>
                <a:gd name="connsiteX17" fmla="*/ 247650 w 1162050"/>
                <a:gd name="connsiteY17" fmla="*/ 962025 h 2381250"/>
                <a:gd name="connsiteX18" fmla="*/ 257175 w 1162050"/>
                <a:gd name="connsiteY18" fmla="*/ 933450 h 2381250"/>
                <a:gd name="connsiteX19" fmla="*/ 276225 w 1162050"/>
                <a:gd name="connsiteY19" fmla="*/ 904875 h 2381250"/>
                <a:gd name="connsiteX20" fmla="*/ 285750 w 1162050"/>
                <a:gd name="connsiteY20" fmla="*/ 876300 h 2381250"/>
                <a:gd name="connsiteX21" fmla="*/ 361950 w 1162050"/>
                <a:gd name="connsiteY21" fmla="*/ 781050 h 2381250"/>
                <a:gd name="connsiteX22" fmla="*/ 419100 w 1162050"/>
                <a:gd name="connsiteY22" fmla="*/ 676275 h 2381250"/>
                <a:gd name="connsiteX23" fmla="*/ 447675 w 1162050"/>
                <a:gd name="connsiteY23" fmla="*/ 647700 h 2381250"/>
                <a:gd name="connsiteX24" fmla="*/ 457200 w 1162050"/>
                <a:gd name="connsiteY24" fmla="*/ 609600 h 2381250"/>
                <a:gd name="connsiteX25" fmla="*/ 485775 w 1162050"/>
                <a:gd name="connsiteY25" fmla="*/ 571500 h 2381250"/>
                <a:gd name="connsiteX26" fmla="*/ 523875 w 1162050"/>
                <a:gd name="connsiteY26" fmla="*/ 514350 h 2381250"/>
                <a:gd name="connsiteX27" fmla="*/ 600075 w 1162050"/>
                <a:gd name="connsiteY27" fmla="*/ 419100 h 2381250"/>
                <a:gd name="connsiteX28" fmla="*/ 638175 w 1162050"/>
                <a:gd name="connsiteY28" fmla="*/ 361950 h 2381250"/>
                <a:gd name="connsiteX29" fmla="*/ 666750 w 1162050"/>
                <a:gd name="connsiteY29" fmla="*/ 333375 h 2381250"/>
                <a:gd name="connsiteX30" fmla="*/ 704850 w 1162050"/>
                <a:gd name="connsiteY30" fmla="*/ 285750 h 2381250"/>
                <a:gd name="connsiteX31" fmla="*/ 723900 w 1162050"/>
                <a:gd name="connsiteY31" fmla="*/ 257175 h 2381250"/>
                <a:gd name="connsiteX32" fmla="*/ 771525 w 1162050"/>
                <a:gd name="connsiteY32" fmla="*/ 228600 h 2381250"/>
                <a:gd name="connsiteX33" fmla="*/ 838200 w 1162050"/>
                <a:gd name="connsiteY33" fmla="*/ 180975 h 2381250"/>
                <a:gd name="connsiteX34" fmla="*/ 914400 w 1162050"/>
                <a:gd name="connsiteY34" fmla="*/ 133350 h 2381250"/>
                <a:gd name="connsiteX35" fmla="*/ 1009650 w 1162050"/>
                <a:gd name="connsiteY35" fmla="*/ 66675 h 2381250"/>
                <a:gd name="connsiteX36" fmla="*/ 1085850 w 1162050"/>
                <a:gd name="connsiteY36" fmla="*/ 19050 h 2381250"/>
                <a:gd name="connsiteX37" fmla="*/ 1123950 w 1162050"/>
                <a:gd name="connsiteY37" fmla="*/ 9525 h 2381250"/>
                <a:gd name="connsiteX38" fmla="*/ 1162050 w 1162050"/>
                <a:gd name="connsiteY38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95250 w 1162050"/>
                <a:gd name="connsiteY9" fmla="*/ 1400175 h 2381250"/>
                <a:gd name="connsiteX10" fmla="*/ 104775 w 1162050"/>
                <a:gd name="connsiteY10" fmla="*/ 1352550 h 2381250"/>
                <a:gd name="connsiteX11" fmla="*/ 133350 w 1162050"/>
                <a:gd name="connsiteY11" fmla="*/ 1295400 h 2381250"/>
                <a:gd name="connsiteX12" fmla="*/ 142875 w 1162050"/>
                <a:gd name="connsiteY12" fmla="*/ 1238250 h 2381250"/>
                <a:gd name="connsiteX13" fmla="*/ 161925 w 1162050"/>
                <a:gd name="connsiteY13" fmla="*/ 1200150 h 2381250"/>
                <a:gd name="connsiteX14" fmla="*/ 200025 w 1162050"/>
                <a:gd name="connsiteY14" fmla="*/ 1095375 h 2381250"/>
                <a:gd name="connsiteX15" fmla="*/ 228600 w 1162050"/>
                <a:gd name="connsiteY15" fmla="*/ 1000125 h 2381250"/>
                <a:gd name="connsiteX16" fmla="*/ 247650 w 1162050"/>
                <a:gd name="connsiteY16" fmla="*/ 962025 h 2381250"/>
                <a:gd name="connsiteX17" fmla="*/ 257175 w 1162050"/>
                <a:gd name="connsiteY17" fmla="*/ 933450 h 2381250"/>
                <a:gd name="connsiteX18" fmla="*/ 276225 w 1162050"/>
                <a:gd name="connsiteY18" fmla="*/ 904875 h 2381250"/>
                <a:gd name="connsiteX19" fmla="*/ 285750 w 1162050"/>
                <a:gd name="connsiteY19" fmla="*/ 876300 h 2381250"/>
                <a:gd name="connsiteX20" fmla="*/ 361950 w 1162050"/>
                <a:gd name="connsiteY20" fmla="*/ 781050 h 2381250"/>
                <a:gd name="connsiteX21" fmla="*/ 419100 w 1162050"/>
                <a:gd name="connsiteY21" fmla="*/ 676275 h 2381250"/>
                <a:gd name="connsiteX22" fmla="*/ 447675 w 1162050"/>
                <a:gd name="connsiteY22" fmla="*/ 647700 h 2381250"/>
                <a:gd name="connsiteX23" fmla="*/ 457200 w 1162050"/>
                <a:gd name="connsiteY23" fmla="*/ 609600 h 2381250"/>
                <a:gd name="connsiteX24" fmla="*/ 485775 w 1162050"/>
                <a:gd name="connsiteY24" fmla="*/ 571500 h 2381250"/>
                <a:gd name="connsiteX25" fmla="*/ 523875 w 1162050"/>
                <a:gd name="connsiteY25" fmla="*/ 514350 h 2381250"/>
                <a:gd name="connsiteX26" fmla="*/ 600075 w 1162050"/>
                <a:gd name="connsiteY26" fmla="*/ 419100 h 2381250"/>
                <a:gd name="connsiteX27" fmla="*/ 638175 w 1162050"/>
                <a:gd name="connsiteY27" fmla="*/ 361950 h 2381250"/>
                <a:gd name="connsiteX28" fmla="*/ 666750 w 1162050"/>
                <a:gd name="connsiteY28" fmla="*/ 333375 h 2381250"/>
                <a:gd name="connsiteX29" fmla="*/ 704850 w 1162050"/>
                <a:gd name="connsiteY29" fmla="*/ 285750 h 2381250"/>
                <a:gd name="connsiteX30" fmla="*/ 723900 w 1162050"/>
                <a:gd name="connsiteY30" fmla="*/ 257175 h 2381250"/>
                <a:gd name="connsiteX31" fmla="*/ 771525 w 1162050"/>
                <a:gd name="connsiteY31" fmla="*/ 228600 h 2381250"/>
                <a:gd name="connsiteX32" fmla="*/ 838200 w 1162050"/>
                <a:gd name="connsiteY32" fmla="*/ 180975 h 2381250"/>
                <a:gd name="connsiteX33" fmla="*/ 914400 w 1162050"/>
                <a:gd name="connsiteY33" fmla="*/ 133350 h 2381250"/>
                <a:gd name="connsiteX34" fmla="*/ 1009650 w 1162050"/>
                <a:gd name="connsiteY34" fmla="*/ 66675 h 2381250"/>
                <a:gd name="connsiteX35" fmla="*/ 1085850 w 1162050"/>
                <a:gd name="connsiteY35" fmla="*/ 19050 h 2381250"/>
                <a:gd name="connsiteX36" fmla="*/ 1123950 w 1162050"/>
                <a:gd name="connsiteY36" fmla="*/ 9525 h 2381250"/>
                <a:gd name="connsiteX37" fmla="*/ 1162050 w 1162050"/>
                <a:gd name="connsiteY37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95250 w 1162050"/>
                <a:gd name="connsiteY8" fmla="*/ 1400175 h 2381250"/>
                <a:gd name="connsiteX9" fmla="*/ 104775 w 1162050"/>
                <a:gd name="connsiteY9" fmla="*/ 1352550 h 2381250"/>
                <a:gd name="connsiteX10" fmla="*/ 133350 w 1162050"/>
                <a:gd name="connsiteY10" fmla="*/ 1295400 h 2381250"/>
                <a:gd name="connsiteX11" fmla="*/ 142875 w 1162050"/>
                <a:gd name="connsiteY11" fmla="*/ 1238250 h 2381250"/>
                <a:gd name="connsiteX12" fmla="*/ 161925 w 1162050"/>
                <a:gd name="connsiteY12" fmla="*/ 1200150 h 2381250"/>
                <a:gd name="connsiteX13" fmla="*/ 200025 w 1162050"/>
                <a:gd name="connsiteY13" fmla="*/ 1095375 h 2381250"/>
                <a:gd name="connsiteX14" fmla="*/ 228600 w 1162050"/>
                <a:gd name="connsiteY14" fmla="*/ 1000125 h 2381250"/>
                <a:gd name="connsiteX15" fmla="*/ 247650 w 1162050"/>
                <a:gd name="connsiteY15" fmla="*/ 962025 h 2381250"/>
                <a:gd name="connsiteX16" fmla="*/ 257175 w 1162050"/>
                <a:gd name="connsiteY16" fmla="*/ 933450 h 2381250"/>
                <a:gd name="connsiteX17" fmla="*/ 276225 w 1162050"/>
                <a:gd name="connsiteY17" fmla="*/ 904875 h 2381250"/>
                <a:gd name="connsiteX18" fmla="*/ 285750 w 1162050"/>
                <a:gd name="connsiteY18" fmla="*/ 876300 h 2381250"/>
                <a:gd name="connsiteX19" fmla="*/ 361950 w 1162050"/>
                <a:gd name="connsiteY19" fmla="*/ 781050 h 2381250"/>
                <a:gd name="connsiteX20" fmla="*/ 419100 w 1162050"/>
                <a:gd name="connsiteY20" fmla="*/ 676275 h 2381250"/>
                <a:gd name="connsiteX21" fmla="*/ 447675 w 1162050"/>
                <a:gd name="connsiteY21" fmla="*/ 647700 h 2381250"/>
                <a:gd name="connsiteX22" fmla="*/ 457200 w 1162050"/>
                <a:gd name="connsiteY22" fmla="*/ 609600 h 2381250"/>
                <a:gd name="connsiteX23" fmla="*/ 485775 w 1162050"/>
                <a:gd name="connsiteY23" fmla="*/ 571500 h 2381250"/>
                <a:gd name="connsiteX24" fmla="*/ 523875 w 1162050"/>
                <a:gd name="connsiteY24" fmla="*/ 514350 h 2381250"/>
                <a:gd name="connsiteX25" fmla="*/ 600075 w 1162050"/>
                <a:gd name="connsiteY25" fmla="*/ 419100 h 2381250"/>
                <a:gd name="connsiteX26" fmla="*/ 638175 w 1162050"/>
                <a:gd name="connsiteY26" fmla="*/ 361950 h 2381250"/>
                <a:gd name="connsiteX27" fmla="*/ 666750 w 1162050"/>
                <a:gd name="connsiteY27" fmla="*/ 333375 h 2381250"/>
                <a:gd name="connsiteX28" fmla="*/ 704850 w 1162050"/>
                <a:gd name="connsiteY28" fmla="*/ 285750 h 2381250"/>
                <a:gd name="connsiteX29" fmla="*/ 723900 w 1162050"/>
                <a:gd name="connsiteY29" fmla="*/ 257175 h 2381250"/>
                <a:gd name="connsiteX30" fmla="*/ 771525 w 1162050"/>
                <a:gd name="connsiteY30" fmla="*/ 228600 h 2381250"/>
                <a:gd name="connsiteX31" fmla="*/ 838200 w 1162050"/>
                <a:gd name="connsiteY31" fmla="*/ 180975 h 2381250"/>
                <a:gd name="connsiteX32" fmla="*/ 914400 w 1162050"/>
                <a:gd name="connsiteY32" fmla="*/ 133350 h 2381250"/>
                <a:gd name="connsiteX33" fmla="*/ 1009650 w 1162050"/>
                <a:gd name="connsiteY33" fmla="*/ 66675 h 2381250"/>
                <a:gd name="connsiteX34" fmla="*/ 1085850 w 1162050"/>
                <a:gd name="connsiteY34" fmla="*/ 19050 h 2381250"/>
                <a:gd name="connsiteX35" fmla="*/ 1123950 w 1162050"/>
                <a:gd name="connsiteY35" fmla="*/ 9525 h 2381250"/>
                <a:gd name="connsiteX36" fmla="*/ 1162050 w 1162050"/>
                <a:gd name="connsiteY36" fmla="*/ 0 h 2381250"/>
                <a:gd name="connsiteX0" fmla="*/ 68591 w 1163966"/>
                <a:gd name="connsiteY0" fmla="*/ 2381250 h 2381250"/>
                <a:gd name="connsiteX1" fmla="*/ 59066 w 1163966"/>
                <a:gd name="connsiteY1" fmla="*/ 2333625 h 2381250"/>
                <a:gd name="connsiteX2" fmla="*/ 40016 w 1163966"/>
                <a:gd name="connsiteY2" fmla="*/ 2124075 h 2381250"/>
                <a:gd name="connsiteX3" fmla="*/ 30491 w 1163966"/>
                <a:gd name="connsiteY3" fmla="*/ 2095500 h 2381250"/>
                <a:gd name="connsiteX4" fmla="*/ 20966 w 1163966"/>
                <a:gd name="connsiteY4" fmla="*/ 1971675 h 2381250"/>
                <a:gd name="connsiteX5" fmla="*/ 1916 w 1163966"/>
                <a:gd name="connsiteY5" fmla="*/ 1905000 h 2381250"/>
                <a:gd name="connsiteX6" fmla="*/ 11441 w 1163966"/>
                <a:gd name="connsiteY6" fmla="*/ 1619250 h 2381250"/>
                <a:gd name="connsiteX7" fmla="*/ 97166 w 1163966"/>
                <a:gd name="connsiteY7" fmla="*/ 1400175 h 2381250"/>
                <a:gd name="connsiteX8" fmla="*/ 106691 w 1163966"/>
                <a:gd name="connsiteY8" fmla="*/ 1352550 h 2381250"/>
                <a:gd name="connsiteX9" fmla="*/ 135266 w 1163966"/>
                <a:gd name="connsiteY9" fmla="*/ 1295400 h 2381250"/>
                <a:gd name="connsiteX10" fmla="*/ 144791 w 1163966"/>
                <a:gd name="connsiteY10" fmla="*/ 1238250 h 2381250"/>
                <a:gd name="connsiteX11" fmla="*/ 163841 w 1163966"/>
                <a:gd name="connsiteY11" fmla="*/ 1200150 h 2381250"/>
                <a:gd name="connsiteX12" fmla="*/ 201941 w 1163966"/>
                <a:gd name="connsiteY12" fmla="*/ 1095375 h 2381250"/>
                <a:gd name="connsiteX13" fmla="*/ 230516 w 1163966"/>
                <a:gd name="connsiteY13" fmla="*/ 1000125 h 2381250"/>
                <a:gd name="connsiteX14" fmla="*/ 249566 w 1163966"/>
                <a:gd name="connsiteY14" fmla="*/ 962025 h 2381250"/>
                <a:gd name="connsiteX15" fmla="*/ 259091 w 1163966"/>
                <a:gd name="connsiteY15" fmla="*/ 933450 h 2381250"/>
                <a:gd name="connsiteX16" fmla="*/ 278141 w 1163966"/>
                <a:gd name="connsiteY16" fmla="*/ 904875 h 2381250"/>
                <a:gd name="connsiteX17" fmla="*/ 287666 w 1163966"/>
                <a:gd name="connsiteY17" fmla="*/ 876300 h 2381250"/>
                <a:gd name="connsiteX18" fmla="*/ 363866 w 1163966"/>
                <a:gd name="connsiteY18" fmla="*/ 781050 h 2381250"/>
                <a:gd name="connsiteX19" fmla="*/ 421016 w 1163966"/>
                <a:gd name="connsiteY19" fmla="*/ 676275 h 2381250"/>
                <a:gd name="connsiteX20" fmla="*/ 449591 w 1163966"/>
                <a:gd name="connsiteY20" fmla="*/ 647700 h 2381250"/>
                <a:gd name="connsiteX21" fmla="*/ 459116 w 1163966"/>
                <a:gd name="connsiteY21" fmla="*/ 609600 h 2381250"/>
                <a:gd name="connsiteX22" fmla="*/ 487691 w 1163966"/>
                <a:gd name="connsiteY22" fmla="*/ 571500 h 2381250"/>
                <a:gd name="connsiteX23" fmla="*/ 525791 w 1163966"/>
                <a:gd name="connsiteY23" fmla="*/ 514350 h 2381250"/>
                <a:gd name="connsiteX24" fmla="*/ 601991 w 1163966"/>
                <a:gd name="connsiteY24" fmla="*/ 419100 h 2381250"/>
                <a:gd name="connsiteX25" fmla="*/ 640091 w 1163966"/>
                <a:gd name="connsiteY25" fmla="*/ 361950 h 2381250"/>
                <a:gd name="connsiteX26" fmla="*/ 668666 w 1163966"/>
                <a:gd name="connsiteY26" fmla="*/ 333375 h 2381250"/>
                <a:gd name="connsiteX27" fmla="*/ 706766 w 1163966"/>
                <a:gd name="connsiteY27" fmla="*/ 285750 h 2381250"/>
                <a:gd name="connsiteX28" fmla="*/ 725816 w 1163966"/>
                <a:gd name="connsiteY28" fmla="*/ 257175 h 2381250"/>
                <a:gd name="connsiteX29" fmla="*/ 773441 w 1163966"/>
                <a:gd name="connsiteY29" fmla="*/ 228600 h 2381250"/>
                <a:gd name="connsiteX30" fmla="*/ 840116 w 1163966"/>
                <a:gd name="connsiteY30" fmla="*/ 180975 h 2381250"/>
                <a:gd name="connsiteX31" fmla="*/ 916316 w 1163966"/>
                <a:gd name="connsiteY31" fmla="*/ 133350 h 2381250"/>
                <a:gd name="connsiteX32" fmla="*/ 1011566 w 1163966"/>
                <a:gd name="connsiteY32" fmla="*/ 66675 h 2381250"/>
                <a:gd name="connsiteX33" fmla="*/ 1087766 w 1163966"/>
                <a:gd name="connsiteY33" fmla="*/ 19050 h 2381250"/>
                <a:gd name="connsiteX34" fmla="*/ 1125866 w 1163966"/>
                <a:gd name="connsiteY34" fmla="*/ 9525 h 2381250"/>
                <a:gd name="connsiteX35" fmla="*/ 1163966 w 1163966"/>
                <a:gd name="connsiteY35" fmla="*/ 0 h 2381250"/>
                <a:gd name="connsiteX0" fmla="*/ 69267 w 1164642"/>
                <a:gd name="connsiteY0" fmla="*/ 2381250 h 2381250"/>
                <a:gd name="connsiteX1" fmla="*/ 59742 w 1164642"/>
                <a:gd name="connsiteY1" fmla="*/ 2333625 h 2381250"/>
                <a:gd name="connsiteX2" fmla="*/ 40692 w 1164642"/>
                <a:gd name="connsiteY2" fmla="*/ 2124075 h 2381250"/>
                <a:gd name="connsiteX3" fmla="*/ 31167 w 1164642"/>
                <a:gd name="connsiteY3" fmla="*/ 2095500 h 2381250"/>
                <a:gd name="connsiteX4" fmla="*/ 2592 w 1164642"/>
                <a:gd name="connsiteY4" fmla="*/ 1905000 h 2381250"/>
                <a:gd name="connsiteX5" fmla="*/ 12117 w 1164642"/>
                <a:gd name="connsiteY5" fmla="*/ 1619250 h 2381250"/>
                <a:gd name="connsiteX6" fmla="*/ 97842 w 1164642"/>
                <a:gd name="connsiteY6" fmla="*/ 1400175 h 2381250"/>
                <a:gd name="connsiteX7" fmla="*/ 107367 w 1164642"/>
                <a:gd name="connsiteY7" fmla="*/ 1352550 h 2381250"/>
                <a:gd name="connsiteX8" fmla="*/ 135942 w 1164642"/>
                <a:gd name="connsiteY8" fmla="*/ 1295400 h 2381250"/>
                <a:gd name="connsiteX9" fmla="*/ 145467 w 1164642"/>
                <a:gd name="connsiteY9" fmla="*/ 1238250 h 2381250"/>
                <a:gd name="connsiteX10" fmla="*/ 164517 w 1164642"/>
                <a:gd name="connsiteY10" fmla="*/ 1200150 h 2381250"/>
                <a:gd name="connsiteX11" fmla="*/ 202617 w 1164642"/>
                <a:gd name="connsiteY11" fmla="*/ 1095375 h 2381250"/>
                <a:gd name="connsiteX12" fmla="*/ 231192 w 1164642"/>
                <a:gd name="connsiteY12" fmla="*/ 1000125 h 2381250"/>
                <a:gd name="connsiteX13" fmla="*/ 250242 w 1164642"/>
                <a:gd name="connsiteY13" fmla="*/ 962025 h 2381250"/>
                <a:gd name="connsiteX14" fmla="*/ 259767 w 1164642"/>
                <a:gd name="connsiteY14" fmla="*/ 933450 h 2381250"/>
                <a:gd name="connsiteX15" fmla="*/ 278817 w 1164642"/>
                <a:gd name="connsiteY15" fmla="*/ 904875 h 2381250"/>
                <a:gd name="connsiteX16" fmla="*/ 288342 w 1164642"/>
                <a:gd name="connsiteY16" fmla="*/ 876300 h 2381250"/>
                <a:gd name="connsiteX17" fmla="*/ 364542 w 1164642"/>
                <a:gd name="connsiteY17" fmla="*/ 781050 h 2381250"/>
                <a:gd name="connsiteX18" fmla="*/ 421692 w 1164642"/>
                <a:gd name="connsiteY18" fmla="*/ 676275 h 2381250"/>
                <a:gd name="connsiteX19" fmla="*/ 450267 w 1164642"/>
                <a:gd name="connsiteY19" fmla="*/ 647700 h 2381250"/>
                <a:gd name="connsiteX20" fmla="*/ 459792 w 1164642"/>
                <a:gd name="connsiteY20" fmla="*/ 609600 h 2381250"/>
                <a:gd name="connsiteX21" fmla="*/ 488367 w 1164642"/>
                <a:gd name="connsiteY21" fmla="*/ 571500 h 2381250"/>
                <a:gd name="connsiteX22" fmla="*/ 526467 w 1164642"/>
                <a:gd name="connsiteY22" fmla="*/ 514350 h 2381250"/>
                <a:gd name="connsiteX23" fmla="*/ 602667 w 1164642"/>
                <a:gd name="connsiteY23" fmla="*/ 419100 h 2381250"/>
                <a:gd name="connsiteX24" fmla="*/ 640767 w 1164642"/>
                <a:gd name="connsiteY24" fmla="*/ 361950 h 2381250"/>
                <a:gd name="connsiteX25" fmla="*/ 669342 w 1164642"/>
                <a:gd name="connsiteY25" fmla="*/ 333375 h 2381250"/>
                <a:gd name="connsiteX26" fmla="*/ 707442 w 1164642"/>
                <a:gd name="connsiteY26" fmla="*/ 285750 h 2381250"/>
                <a:gd name="connsiteX27" fmla="*/ 726492 w 1164642"/>
                <a:gd name="connsiteY27" fmla="*/ 257175 h 2381250"/>
                <a:gd name="connsiteX28" fmla="*/ 774117 w 1164642"/>
                <a:gd name="connsiteY28" fmla="*/ 228600 h 2381250"/>
                <a:gd name="connsiteX29" fmla="*/ 840792 w 1164642"/>
                <a:gd name="connsiteY29" fmla="*/ 180975 h 2381250"/>
                <a:gd name="connsiteX30" fmla="*/ 916992 w 1164642"/>
                <a:gd name="connsiteY30" fmla="*/ 133350 h 2381250"/>
                <a:gd name="connsiteX31" fmla="*/ 1012242 w 1164642"/>
                <a:gd name="connsiteY31" fmla="*/ 66675 h 2381250"/>
                <a:gd name="connsiteX32" fmla="*/ 1088442 w 1164642"/>
                <a:gd name="connsiteY32" fmla="*/ 19050 h 2381250"/>
                <a:gd name="connsiteX33" fmla="*/ 1126542 w 1164642"/>
                <a:gd name="connsiteY33" fmla="*/ 9525 h 2381250"/>
                <a:gd name="connsiteX34" fmla="*/ 1164642 w 1164642"/>
                <a:gd name="connsiteY34" fmla="*/ 0 h 2381250"/>
                <a:gd name="connsiteX0" fmla="*/ 69951 w 1165326"/>
                <a:gd name="connsiteY0" fmla="*/ 2381250 h 2381250"/>
                <a:gd name="connsiteX1" fmla="*/ 60426 w 1165326"/>
                <a:gd name="connsiteY1" fmla="*/ 2333625 h 2381250"/>
                <a:gd name="connsiteX2" fmla="*/ 41376 w 1165326"/>
                <a:gd name="connsiteY2" fmla="*/ 2124075 h 2381250"/>
                <a:gd name="connsiteX3" fmla="*/ 3276 w 1165326"/>
                <a:gd name="connsiteY3" fmla="*/ 1905000 h 2381250"/>
                <a:gd name="connsiteX4" fmla="*/ 12801 w 1165326"/>
                <a:gd name="connsiteY4" fmla="*/ 1619250 h 2381250"/>
                <a:gd name="connsiteX5" fmla="*/ 98526 w 1165326"/>
                <a:gd name="connsiteY5" fmla="*/ 1400175 h 2381250"/>
                <a:gd name="connsiteX6" fmla="*/ 108051 w 1165326"/>
                <a:gd name="connsiteY6" fmla="*/ 1352550 h 2381250"/>
                <a:gd name="connsiteX7" fmla="*/ 136626 w 1165326"/>
                <a:gd name="connsiteY7" fmla="*/ 1295400 h 2381250"/>
                <a:gd name="connsiteX8" fmla="*/ 146151 w 1165326"/>
                <a:gd name="connsiteY8" fmla="*/ 1238250 h 2381250"/>
                <a:gd name="connsiteX9" fmla="*/ 165201 w 1165326"/>
                <a:gd name="connsiteY9" fmla="*/ 1200150 h 2381250"/>
                <a:gd name="connsiteX10" fmla="*/ 203301 w 1165326"/>
                <a:gd name="connsiteY10" fmla="*/ 1095375 h 2381250"/>
                <a:gd name="connsiteX11" fmla="*/ 231876 w 1165326"/>
                <a:gd name="connsiteY11" fmla="*/ 1000125 h 2381250"/>
                <a:gd name="connsiteX12" fmla="*/ 250926 w 1165326"/>
                <a:gd name="connsiteY12" fmla="*/ 962025 h 2381250"/>
                <a:gd name="connsiteX13" fmla="*/ 260451 w 1165326"/>
                <a:gd name="connsiteY13" fmla="*/ 933450 h 2381250"/>
                <a:gd name="connsiteX14" fmla="*/ 279501 w 1165326"/>
                <a:gd name="connsiteY14" fmla="*/ 904875 h 2381250"/>
                <a:gd name="connsiteX15" fmla="*/ 289026 w 1165326"/>
                <a:gd name="connsiteY15" fmla="*/ 876300 h 2381250"/>
                <a:gd name="connsiteX16" fmla="*/ 365226 w 1165326"/>
                <a:gd name="connsiteY16" fmla="*/ 781050 h 2381250"/>
                <a:gd name="connsiteX17" fmla="*/ 422376 w 1165326"/>
                <a:gd name="connsiteY17" fmla="*/ 676275 h 2381250"/>
                <a:gd name="connsiteX18" fmla="*/ 450951 w 1165326"/>
                <a:gd name="connsiteY18" fmla="*/ 647700 h 2381250"/>
                <a:gd name="connsiteX19" fmla="*/ 460476 w 1165326"/>
                <a:gd name="connsiteY19" fmla="*/ 609600 h 2381250"/>
                <a:gd name="connsiteX20" fmla="*/ 489051 w 1165326"/>
                <a:gd name="connsiteY20" fmla="*/ 571500 h 2381250"/>
                <a:gd name="connsiteX21" fmla="*/ 527151 w 1165326"/>
                <a:gd name="connsiteY21" fmla="*/ 514350 h 2381250"/>
                <a:gd name="connsiteX22" fmla="*/ 603351 w 1165326"/>
                <a:gd name="connsiteY22" fmla="*/ 419100 h 2381250"/>
                <a:gd name="connsiteX23" fmla="*/ 641451 w 1165326"/>
                <a:gd name="connsiteY23" fmla="*/ 361950 h 2381250"/>
                <a:gd name="connsiteX24" fmla="*/ 670026 w 1165326"/>
                <a:gd name="connsiteY24" fmla="*/ 333375 h 2381250"/>
                <a:gd name="connsiteX25" fmla="*/ 708126 w 1165326"/>
                <a:gd name="connsiteY25" fmla="*/ 285750 h 2381250"/>
                <a:gd name="connsiteX26" fmla="*/ 727176 w 1165326"/>
                <a:gd name="connsiteY26" fmla="*/ 257175 h 2381250"/>
                <a:gd name="connsiteX27" fmla="*/ 774801 w 1165326"/>
                <a:gd name="connsiteY27" fmla="*/ 228600 h 2381250"/>
                <a:gd name="connsiteX28" fmla="*/ 841476 w 1165326"/>
                <a:gd name="connsiteY28" fmla="*/ 180975 h 2381250"/>
                <a:gd name="connsiteX29" fmla="*/ 917676 w 1165326"/>
                <a:gd name="connsiteY29" fmla="*/ 133350 h 2381250"/>
                <a:gd name="connsiteX30" fmla="*/ 1012926 w 1165326"/>
                <a:gd name="connsiteY30" fmla="*/ 66675 h 2381250"/>
                <a:gd name="connsiteX31" fmla="*/ 1089126 w 1165326"/>
                <a:gd name="connsiteY31" fmla="*/ 19050 h 2381250"/>
                <a:gd name="connsiteX32" fmla="*/ 1127226 w 1165326"/>
                <a:gd name="connsiteY32" fmla="*/ 9525 h 2381250"/>
                <a:gd name="connsiteX33" fmla="*/ 1165326 w 1165326"/>
                <a:gd name="connsiteY33" fmla="*/ 0 h 2381250"/>
                <a:gd name="connsiteX0" fmla="*/ 71335 w 1166710"/>
                <a:gd name="connsiteY0" fmla="*/ 2381250 h 2381250"/>
                <a:gd name="connsiteX1" fmla="*/ 61810 w 1166710"/>
                <a:gd name="connsiteY1" fmla="*/ 2333625 h 2381250"/>
                <a:gd name="connsiteX2" fmla="*/ 4660 w 1166710"/>
                <a:gd name="connsiteY2" fmla="*/ 1905000 h 2381250"/>
                <a:gd name="connsiteX3" fmla="*/ 14185 w 1166710"/>
                <a:gd name="connsiteY3" fmla="*/ 1619250 h 2381250"/>
                <a:gd name="connsiteX4" fmla="*/ 99910 w 1166710"/>
                <a:gd name="connsiteY4" fmla="*/ 1400175 h 2381250"/>
                <a:gd name="connsiteX5" fmla="*/ 109435 w 1166710"/>
                <a:gd name="connsiteY5" fmla="*/ 1352550 h 2381250"/>
                <a:gd name="connsiteX6" fmla="*/ 138010 w 1166710"/>
                <a:gd name="connsiteY6" fmla="*/ 1295400 h 2381250"/>
                <a:gd name="connsiteX7" fmla="*/ 147535 w 1166710"/>
                <a:gd name="connsiteY7" fmla="*/ 1238250 h 2381250"/>
                <a:gd name="connsiteX8" fmla="*/ 166585 w 1166710"/>
                <a:gd name="connsiteY8" fmla="*/ 1200150 h 2381250"/>
                <a:gd name="connsiteX9" fmla="*/ 204685 w 1166710"/>
                <a:gd name="connsiteY9" fmla="*/ 1095375 h 2381250"/>
                <a:gd name="connsiteX10" fmla="*/ 233260 w 1166710"/>
                <a:gd name="connsiteY10" fmla="*/ 1000125 h 2381250"/>
                <a:gd name="connsiteX11" fmla="*/ 252310 w 1166710"/>
                <a:gd name="connsiteY11" fmla="*/ 962025 h 2381250"/>
                <a:gd name="connsiteX12" fmla="*/ 261835 w 1166710"/>
                <a:gd name="connsiteY12" fmla="*/ 933450 h 2381250"/>
                <a:gd name="connsiteX13" fmla="*/ 280885 w 1166710"/>
                <a:gd name="connsiteY13" fmla="*/ 904875 h 2381250"/>
                <a:gd name="connsiteX14" fmla="*/ 290410 w 1166710"/>
                <a:gd name="connsiteY14" fmla="*/ 876300 h 2381250"/>
                <a:gd name="connsiteX15" fmla="*/ 366610 w 1166710"/>
                <a:gd name="connsiteY15" fmla="*/ 781050 h 2381250"/>
                <a:gd name="connsiteX16" fmla="*/ 423760 w 1166710"/>
                <a:gd name="connsiteY16" fmla="*/ 676275 h 2381250"/>
                <a:gd name="connsiteX17" fmla="*/ 452335 w 1166710"/>
                <a:gd name="connsiteY17" fmla="*/ 647700 h 2381250"/>
                <a:gd name="connsiteX18" fmla="*/ 461860 w 1166710"/>
                <a:gd name="connsiteY18" fmla="*/ 609600 h 2381250"/>
                <a:gd name="connsiteX19" fmla="*/ 490435 w 1166710"/>
                <a:gd name="connsiteY19" fmla="*/ 571500 h 2381250"/>
                <a:gd name="connsiteX20" fmla="*/ 528535 w 1166710"/>
                <a:gd name="connsiteY20" fmla="*/ 514350 h 2381250"/>
                <a:gd name="connsiteX21" fmla="*/ 604735 w 1166710"/>
                <a:gd name="connsiteY21" fmla="*/ 419100 h 2381250"/>
                <a:gd name="connsiteX22" fmla="*/ 642835 w 1166710"/>
                <a:gd name="connsiteY22" fmla="*/ 361950 h 2381250"/>
                <a:gd name="connsiteX23" fmla="*/ 671410 w 1166710"/>
                <a:gd name="connsiteY23" fmla="*/ 333375 h 2381250"/>
                <a:gd name="connsiteX24" fmla="*/ 709510 w 1166710"/>
                <a:gd name="connsiteY24" fmla="*/ 285750 h 2381250"/>
                <a:gd name="connsiteX25" fmla="*/ 728560 w 1166710"/>
                <a:gd name="connsiteY25" fmla="*/ 257175 h 2381250"/>
                <a:gd name="connsiteX26" fmla="*/ 776185 w 1166710"/>
                <a:gd name="connsiteY26" fmla="*/ 228600 h 2381250"/>
                <a:gd name="connsiteX27" fmla="*/ 842860 w 1166710"/>
                <a:gd name="connsiteY27" fmla="*/ 180975 h 2381250"/>
                <a:gd name="connsiteX28" fmla="*/ 919060 w 1166710"/>
                <a:gd name="connsiteY28" fmla="*/ 133350 h 2381250"/>
                <a:gd name="connsiteX29" fmla="*/ 1014310 w 1166710"/>
                <a:gd name="connsiteY29" fmla="*/ 66675 h 2381250"/>
                <a:gd name="connsiteX30" fmla="*/ 1090510 w 1166710"/>
                <a:gd name="connsiteY30" fmla="*/ 19050 h 2381250"/>
                <a:gd name="connsiteX31" fmla="*/ 1128610 w 1166710"/>
                <a:gd name="connsiteY31" fmla="*/ 9525 h 2381250"/>
                <a:gd name="connsiteX32" fmla="*/ 1166710 w 1166710"/>
                <a:gd name="connsiteY32" fmla="*/ 0 h 2381250"/>
                <a:gd name="connsiteX0" fmla="*/ 71335 w 1166710"/>
                <a:gd name="connsiteY0" fmla="*/ 2381250 h 2381250"/>
                <a:gd name="connsiteX1" fmla="*/ 61810 w 1166710"/>
                <a:gd name="connsiteY1" fmla="*/ 2333625 h 2381250"/>
                <a:gd name="connsiteX2" fmla="*/ 4660 w 1166710"/>
                <a:gd name="connsiteY2" fmla="*/ 1905000 h 2381250"/>
                <a:gd name="connsiteX3" fmla="*/ 14185 w 1166710"/>
                <a:gd name="connsiteY3" fmla="*/ 1619250 h 2381250"/>
                <a:gd name="connsiteX4" fmla="*/ 99910 w 1166710"/>
                <a:gd name="connsiteY4" fmla="*/ 1400175 h 2381250"/>
                <a:gd name="connsiteX5" fmla="*/ 109435 w 1166710"/>
                <a:gd name="connsiteY5" fmla="*/ 1352550 h 2381250"/>
                <a:gd name="connsiteX6" fmla="*/ 147535 w 1166710"/>
                <a:gd name="connsiteY6" fmla="*/ 1238250 h 2381250"/>
                <a:gd name="connsiteX7" fmla="*/ 166585 w 1166710"/>
                <a:gd name="connsiteY7" fmla="*/ 1200150 h 2381250"/>
                <a:gd name="connsiteX8" fmla="*/ 204685 w 1166710"/>
                <a:gd name="connsiteY8" fmla="*/ 1095375 h 2381250"/>
                <a:gd name="connsiteX9" fmla="*/ 233260 w 1166710"/>
                <a:gd name="connsiteY9" fmla="*/ 1000125 h 2381250"/>
                <a:gd name="connsiteX10" fmla="*/ 252310 w 1166710"/>
                <a:gd name="connsiteY10" fmla="*/ 962025 h 2381250"/>
                <a:gd name="connsiteX11" fmla="*/ 261835 w 1166710"/>
                <a:gd name="connsiteY11" fmla="*/ 933450 h 2381250"/>
                <a:gd name="connsiteX12" fmla="*/ 280885 w 1166710"/>
                <a:gd name="connsiteY12" fmla="*/ 904875 h 2381250"/>
                <a:gd name="connsiteX13" fmla="*/ 290410 w 1166710"/>
                <a:gd name="connsiteY13" fmla="*/ 876300 h 2381250"/>
                <a:gd name="connsiteX14" fmla="*/ 366610 w 1166710"/>
                <a:gd name="connsiteY14" fmla="*/ 781050 h 2381250"/>
                <a:gd name="connsiteX15" fmla="*/ 423760 w 1166710"/>
                <a:gd name="connsiteY15" fmla="*/ 676275 h 2381250"/>
                <a:gd name="connsiteX16" fmla="*/ 452335 w 1166710"/>
                <a:gd name="connsiteY16" fmla="*/ 647700 h 2381250"/>
                <a:gd name="connsiteX17" fmla="*/ 461860 w 1166710"/>
                <a:gd name="connsiteY17" fmla="*/ 609600 h 2381250"/>
                <a:gd name="connsiteX18" fmla="*/ 490435 w 1166710"/>
                <a:gd name="connsiteY18" fmla="*/ 571500 h 2381250"/>
                <a:gd name="connsiteX19" fmla="*/ 528535 w 1166710"/>
                <a:gd name="connsiteY19" fmla="*/ 514350 h 2381250"/>
                <a:gd name="connsiteX20" fmla="*/ 604735 w 1166710"/>
                <a:gd name="connsiteY20" fmla="*/ 419100 h 2381250"/>
                <a:gd name="connsiteX21" fmla="*/ 642835 w 1166710"/>
                <a:gd name="connsiteY21" fmla="*/ 361950 h 2381250"/>
                <a:gd name="connsiteX22" fmla="*/ 671410 w 1166710"/>
                <a:gd name="connsiteY22" fmla="*/ 333375 h 2381250"/>
                <a:gd name="connsiteX23" fmla="*/ 709510 w 1166710"/>
                <a:gd name="connsiteY23" fmla="*/ 285750 h 2381250"/>
                <a:gd name="connsiteX24" fmla="*/ 728560 w 1166710"/>
                <a:gd name="connsiteY24" fmla="*/ 257175 h 2381250"/>
                <a:gd name="connsiteX25" fmla="*/ 776185 w 1166710"/>
                <a:gd name="connsiteY25" fmla="*/ 228600 h 2381250"/>
                <a:gd name="connsiteX26" fmla="*/ 842860 w 1166710"/>
                <a:gd name="connsiteY26" fmla="*/ 180975 h 2381250"/>
                <a:gd name="connsiteX27" fmla="*/ 919060 w 1166710"/>
                <a:gd name="connsiteY27" fmla="*/ 133350 h 2381250"/>
                <a:gd name="connsiteX28" fmla="*/ 1014310 w 1166710"/>
                <a:gd name="connsiteY28" fmla="*/ 66675 h 2381250"/>
                <a:gd name="connsiteX29" fmla="*/ 1090510 w 1166710"/>
                <a:gd name="connsiteY29" fmla="*/ 19050 h 2381250"/>
                <a:gd name="connsiteX30" fmla="*/ 1128610 w 1166710"/>
                <a:gd name="connsiteY30" fmla="*/ 9525 h 2381250"/>
                <a:gd name="connsiteX31" fmla="*/ 1166710 w 1166710"/>
                <a:gd name="connsiteY31" fmla="*/ 0 h 2381250"/>
                <a:gd name="connsiteX0" fmla="*/ 71335 w 1166710"/>
                <a:gd name="connsiteY0" fmla="*/ 2381250 h 2381250"/>
                <a:gd name="connsiteX1" fmla="*/ 61810 w 1166710"/>
                <a:gd name="connsiteY1" fmla="*/ 2333625 h 2381250"/>
                <a:gd name="connsiteX2" fmla="*/ 4660 w 1166710"/>
                <a:gd name="connsiteY2" fmla="*/ 1905000 h 2381250"/>
                <a:gd name="connsiteX3" fmla="*/ 14185 w 1166710"/>
                <a:gd name="connsiteY3" fmla="*/ 1619250 h 2381250"/>
                <a:gd name="connsiteX4" fmla="*/ 99910 w 1166710"/>
                <a:gd name="connsiteY4" fmla="*/ 1400175 h 2381250"/>
                <a:gd name="connsiteX5" fmla="*/ 147535 w 1166710"/>
                <a:gd name="connsiteY5" fmla="*/ 1238250 h 2381250"/>
                <a:gd name="connsiteX6" fmla="*/ 166585 w 1166710"/>
                <a:gd name="connsiteY6" fmla="*/ 1200150 h 2381250"/>
                <a:gd name="connsiteX7" fmla="*/ 204685 w 1166710"/>
                <a:gd name="connsiteY7" fmla="*/ 1095375 h 2381250"/>
                <a:gd name="connsiteX8" fmla="*/ 233260 w 1166710"/>
                <a:gd name="connsiteY8" fmla="*/ 1000125 h 2381250"/>
                <a:gd name="connsiteX9" fmla="*/ 252310 w 1166710"/>
                <a:gd name="connsiteY9" fmla="*/ 962025 h 2381250"/>
                <a:gd name="connsiteX10" fmla="*/ 261835 w 1166710"/>
                <a:gd name="connsiteY10" fmla="*/ 933450 h 2381250"/>
                <a:gd name="connsiteX11" fmla="*/ 280885 w 1166710"/>
                <a:gd name="connsiteY11" fmla="*/ 904875 h 2381250"/>
                <a:gd name="connsiteX12" fmla="*/ 290410 w 1166710"/>
                <a:gd name="connsiteY12" fmla="*/ 876300 h 2381250"/>
                <a:gd name="connsiteX13" fmla="*/ 366610 w 1166710"/>
                <a:gd name="connsiteY13" fmla="*/ 781050 h 2381250"/>
                <a:gd name="connsiteX14" fmla="*/ 423760 w 1166710"/>
                <a:gd name="connsiteY14" fmla="*/ 676275 h 2381250"/>
                <a:gd name="connsiteX15" fmla="*/ 452335 w 1166710"/>
                <a:gd name="connsiteY15" fmla="*/ 647700 h 2381250"/>
                <a:gd name="connsiteX16" fmla="*/ 461860 w 1166710"/>
                <a:gd name="connsiteY16" fmla="*/ 609600 h 2381250"/>
                <a:gd name="connsiteX17" fmla="*/ 490435 w 1166710"/>
                <a:gd name="connsiteY17" fmla="*/ 571500 h 2381250"/>
                <a:gd name="connsiteX18" fmla="*/ 528535 w 1166710"/>
                <a:gd name="connsiteY18" fmla="*/ 514350 h 2381250"/>
                <a:gd name="connsiteX19" fmla="*/ 604735 w 1166710"/>
                <a:gd name="connsiteY19" fmla="*/ 419100 h 2381250"/>
                <a:gd name="connsiteX20" fmla="*/ 642835 w 1166710"/>
                <a:gd name="connsiteY20" fmla="*/ 361950 h 2381250"/>
                <a:gd name="connsiteX21" fmla="*/ 671410 w 1166710"/>
                <a:gd name="connsiteY21" fmla="*/ 333375 h 2381250"/>
                <a:gd name="connsiteX22" fmla="*/ 709510 w 1166710"/>
                <a:gd name="connsiteY22" fmla="*/ 285750 h 2381250"/>
                <a:gd name="connsiteX23" fmla="*/ 728560 w 1166710"/>
                <a:gd name="connsiteY23" fmla="*/ 257175 h 2381250"/>
                <a:gd name="connsiteX24" fmla="*/ 776185 w 1166710"/>
                <a:gd name="connsiteY24" fmla="*/ 228600 h 2381250"/>
                <a:gd name="connsiteX25" fmla="*/ 842860 w 1166710"/>
                <a:gd name="connsiteY25" fmla="*/ 180975 h 2381250"/>
                <a:gd name="connsiteX26" fmla="*/ 919060 w 1166710"/>
                <a:gd name="connsiteY26" fmla="*/ 133350 h 2381250"/>
                <a:gd name="connsiteX27" fmla="*/ 1014310 w 1166710"/>
                <a:gd name="connsiteY27" fmla="*/ 66675 h 2381250"/>
                <a:gd name="connsiteX28" fmla="*/ 1090510 w 1166710"/>
                <a:gd name="connsiteY28" fmla="*/ 19050 h 2381250"/>
                <a:gd name="connsiteX29" fmla="*/ 1128610 w 1166710"/>
                <a:gd name="connsiteY29" fmla="*/ 9525 h 2381250"/>
                <a:gd name="connsiteX30" fmla="*/ 1166710 w 1166710"/>
                <a:gd name="connsiteY30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169098 w 1169223"/>
                <a:gd name="connsiteY5" fmla="*/ 1200150 h 2381250"/>
                <a:gd name="connsiteX6" fmla="*/ 207198 w 1169223"/>
                <a:gd name="connsiteY6" fmla="*/ 1095375 h 2381250"/>
                <a:gd name="connsiteX7" fmla="*/ 235773 w 1169223"/>
                <a:gd name="connsiteY7" fmla="*/ 1000125 h 2381250"/>
                <a:gd name="connsiteX8" fmla="*/ 254823 w 1169223"/>
                <a:gd name="connsiteY8" fmla="*/ 962025 h 2381250"/>
                <a:gd name="connsiteX9" fmla="*/ 264348 w 1169223"/>
                <a:gd name="connsiteY9" fmla="*/ 933450 h 2381250"/>
                <a:gd name="connsiteX10" fmla="*/ 283398 w 1169223"/>
                <a:gd name="connsiteY10" fmla="*/ 904875 h 2381250"/>
                <a:gd name="connsiteX11" fmla="*/ 292923 w 1169223"/>
                <a:gd name="connsiteY11" fmla="*/ 876300 h 2381250"/>
                <a:gd name="connsiteX12" fmla="*/ 369123 w 1169223"/>
                <a:gd name="connsiteY12" fmla="*/ 781050 h 2381250"/>
                <a:gd name="connsiteX13" fmla="*/ 426273 w 1169223"/>
                <a:gd name="connsiteY13" fmla="*/ 676275 h 2381250"/>
                <a:gd name="connsiteX14" fmla="*/ 454848 w 1169223"/>
                <a:gd name="connsiteY14" fmla="*/ 647700 h 2381250"/>
                <a:gd name="connsiteX15" fmla="*/ 464373 w 1169223"/>
                <a:gd name="connsiteY15" fmla="*/ 609600 h 2381250"/>
                <a:gd name="connsiteX16" fmla="*/ 492948 w 1169223"/>
                <a:gd name="connsiteY16" fmla="*/ 571500 h 2381250"/>
                <a:gd name="connsiteX17" fmla="*/ 531048 w 1169223"/>
                <a:gd name="connsiteY17" fmla="*/ 514350 h 2381250"/>
                <a:gd name="connsiteX18" fmla="*/ 607248 w 1169223"/>
                <a:gd name="connsiteY18" fmla="*/ 419100 h 2381250"/>
                <a:gd name="connsiteX19" fmla="*/ 645348 w 1169223"/>
                <a:gd name="connsiteY19" fmla="*/ 361950 h 2381250"/>
                <a:gd name="connsiteX20" fmla="*/ 673923 w 1169223"/>
                <a:gd name="connsiteY20" fmla="*/ 333375 h 2381250"/>
                <a:gd name="connsiteX21" fmla="*/ 712023 w 1169223"/>
                <a:gd name="connsiteY21" fmla="*/ 285750 h 2381250"/>
                <a:gd name="connsiteX22" fmla="*/ 731073 w 1169223"/>
                <a:gd name="connsiteY22" fmla="*/ 257175 h 2381250"/>
                <a:gd name="connsiteX23" fmla="*/ 778698 w 1169223"/>
                <a:gd name="connsiteY23" fmla="*/ 228600 h 2381250"/>
                <a:gd name="connsiteX24" fmla="*/ 845373 w 1169223"/>
                <a:gd name="connsiteY24" fmla="*/ 180975 h 2381250"/>
                <a:gd name="connsiteX25" fmla="*/ 921573 w 1169223"/>
                <a:gd name="connsiteY25" fmla="*/ 133350 h 2381250"/>
                <a:gd name="connsiteX26" fmla="*/ 1016823 w 1169223"/>
                <a:gd name="connsiteY26" fmla="*/ 66675 h 2381250"/>
                <a:gd name="connsiteX27" fmla="*/ 1093023 w 1169223"/>
                <a:gd name="connsiteY27" fmla="*/ 19050 h 2381250"/>
                <a:gd name="connsiteX28" fmla="*/ 1131123 w 1169223"/>
                <a:gd name="connsiteY28" fmla="*/ 9525 h 2381250"/>
                <a:gd name="connsiteX29" fmla="*/ 1169223 w 1169223"/>
                <a:gd name="connsiteY29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264348 w 1169223"/>
                <a:gd name="connsiteY8" fmla="*/ 933450 h 2381250"/>
                <a:gd name="connsiteX9" fmla="*/ 283398 w 1169223"/>
                <a:gd name="connsiteY9" fmla="*/ 904875 h 2381250"/>
                <a:gd name="connsiteX10" fmla="*/ 292923 w 1169223"/>
                <a:gd name="connsiteY10" fmla="*/ 876300 h 2381250"/>
                <a:gd name="connsiteX11" fmla="*/ 369123 w 1169223"/>
                <a:gd name="connsiteY11" fmla="*/ 781050 h 2381250"/>
                <a:gd name="connsiteX12" fmla="*/ 426273 w 1169223"/>
                <a:gd name="connsiteY12" fmla="*/ 676275 h 2381250"/>
                <a:gd name="connsiteX13" fmla="*/ 454848 w 1169223"/>
                <a:gd name="connsiteY13" fmla="*/ 647700 h 2381250"/>
                <a:gd name="connsiteX14" fmla="*/ 464373 w 1169223"/>
                <a:gd name="connsiteY14" fmla="*/ 609600 h 2381250"/>
                <a:gd name="connsiteX15" fmla="*/ 492948 w 1169223"/>
                <a:gd name="connsiteY15" fmla="*/ 571500 h 2381250"/>
                <a:gd name="connsiteX16" fmla="*/ 531048 w 1169223"/>
                <a:gd name="connsiteY16" fmla="*/ 514350 h 2381250"/>
                <a:gd name="connsiteX17" fmla="*/ 607248 w 1169223"/>
                <a:gd name="connsiteY17" fmla="*/ 419100 h 2381250"/>
                <a:gd name="connsiteX18" fmla="*/ 645348 w 1169223"/>
                <a:gd name="connsiteY18" fmla="*/ 361950 h 2381250"/>
                <a:gd name="connsiteX19" fmla="*/ 673923 w 1169223"/>
                <a:gd name="connsiteY19" fmla="*/ 333375 h 2381250"/>
                <a:gd name="connsiteX20" fmla="*/ 712023 w 1169223"/>
                <a:gd name="connsiteY20" fmla="*/ 285750 h 2381250"/>
                <a:gd name="connsiteX21" fmla="*/ 731073 w 1169223"/>
                <a:gd name="connsiteY21" fmla="*/ 257175 h 2381250"/>
                <a:gd name="connsiteX22" fmla="*/ 778698 w 1169223"/>
                <a:gd name="connsiteY22" fmla="*/ 228600 h 2381250"/>
                <a:gd name="connsiteX23" fmla="*/ 845373 w 1169223"/>
                <a:gd name="connsiteY23" fmla="*/ 180975 h 2381250"/>
                <a:gd name="connsiteX24" fmla="*/ 921573 w 1169223"/>
                <a:gd name="connsiteY24" fmla="*/ 133350 h 2381250"/>
                <a:gd name="connsiteX25" fmla="*/ 1016823 w 1169223"/>
                <a:gd name="connsiteY25" fmla="*/ 66675 h 2381250"/>
                <a:gd name="connsiteX26" fmla="*/ 1093023 w 1169223"/>
                <a:gd name="connsiteY26" fmla="*/ 19050 h 2381250"/>
                <a:gd name="connsiteX27" fmla="*/ 1131123 w 1169223"/>
                <a:gd name="connsiteY27" fmla="*/ 9525 h 2381250"/>
                <a:gd name="connsiteX28" fmla="*/ 1169223 w 1169223"/>
                <a:gd name="connsiteY28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264348 w 1169223"/>
                <a:gd name="connsiteY8" fmla="*/ 933450 h 2381250"/>
                <a:gd name="connsiteX9" fmla="*/ 292923 w 1169223"/>
                <a:gd name="connsiteY9" fmla="*/ 876300 h 2381250"/>
                <a:gd name="connsiteX10" fmla="*/ 369123 w 1169223"/>
                <a:gd name="connsiteY10" fmla="*/ 781050 h 2381250"/>
                <a:gd name="connsiteX11" fmla="*/ 426273 w 1169223"/>
                <a:gd name="connsiteY11" fmla="*/ 676275 h 2381250"/>
                <a:gd name="connsiteX12" fmla="*/ 454848 w 1169223"/>
                <a:gd name="connsiteY12" fmla="*/ 647700 h 2381250"/>
                <a:gd name="connsiteX13" fmla="*/ 464373 w 1169223"/>
                <a:gd name="connsiteY13" fmla="*/ 609600 h 2381250"/>
                <a:gd name="connsiteX14" fmla="*/ 492948 w 1169223"/>
                <a:gd name="connsiteY14" fmla="*/ 571500 h 2381250"/>
                <a:gd name="connsiteX15" fmla="*/ 531048 w 1169223"/>
                <a:gd name="connsiteY15" fmla="*/ 514350 h 2381250"/>
                <a:gd name="connsiteX16" fmla="*/ 607248 w 1169223"/>
                <a:gd name="connsiteY16" fmla="*/ 419100 h 2381250"/>
                <a:gd name="connsiteX17" fmla="*/ 645348 w 1169223"/>
                <a:gd name="connsiteY17" fmla="*/ 361950 h 2381250"/>
                <a:gd name="connsiteX18" fmla="*/ 673923 w 1169223"/>
                <a:gd name="connsiteY18" fmla="*/ 333375 h 2381250"/>
                <a:gd name="connsiteX19" fmla="*/ 712023 w 1169223"/>
                <a:gd name="connsiteY19" fmla="*/ 285750 h 2381250"/>
                <a:gd name="connsiteX20" fmla="*/ 731073 w 1169223"/>
                <a:gd name="connsiteY20" fmla="*/ 257175 h 2381250"/>
                <a:gd name="connsiteX21" fmla="*/ 778698 w 1169223"/>
                <a:gd name="connsiteY21" fmla="*/ 228600 h 2381250"/>
                <a:gd name="connsiteX22" fmla="*/ 845373 w 1169223"/>
                <a:gd name="connsiteY22" fmla="*/ 180975 h 2381250"/>
                <a:gd name="connsiteX23" fmla="*/ 921573 w 1169223"/>
                <a:gd name="connsiteY23" fmla="*/ 133350 h 2381250"/>
                <a:gd name="connsiteX24" fmla="*/ 1016823 w 1169223"/>
                <a:gd name="connsiteY24" fmla="*/ 66675 h 2381250"/>
                <a:gd name="connsiteX25" fmla="*/ 1093023 w 1169223"/>
                <a:gd name="connsiteY25" fmla="*/ 19050 h 2381250"/>
                <a:gd name="connsiteX26" fmla="*/ 1131123 w 1169223"/>
                <a:gd name="connsiteY26" fmla="*/ 9525 h 2381250"/>
                <a:gd name="connsiteX27" fmla="*/ 1169223 w 1169223"/>
                <a:gd name="connsiteY27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264348 w 1169223"/>
                <a:gd name="connsiteY8" fmla="*/ 933450 h 2381250"/>
                <a:gd name="connsiteX9" fmla="*/ 369123 w 1169223"/>
                <a:gd name="connsiteY9" fmla="*/ 781050 h 2381250"/>
                <a:gd name="connsiteX10" fmla="*/ 426273 w 1169223"/>
                <a:gd name="connsiteY10" fmla="*/ 676275 h 2381250"/>
                <a:gd name="connsiteX11" fmla="*/ 454848 w 1169223"/>
                <a:gd name="connsiteY11" fmla="*/ 647700 h 2381250"/>
                <a:gd name="connsiteX12" fmla="*/ 464373 w 1169223"/>
                <a:gd name="connsiteY12" fmla="*/ 609600 h 2381250"/>
                <a:gd name="connsiteX13" fmla="*/ 492948 w 1169223"/>
                <a:gd name="connsiteY13" fmla="*/ 571500 h 2381250"/>
                <a:gd name="connsiteX14" fmla="*/ 531048 w 1169223"/>
                <a:gd name="connsiteY14" fmla="*/ 514350 h 2381250"/>
                <a:gd name="connsiteX15" fmla="*/ 607248 w 1169223"/>
                <a:gd name="connsiteY15" fmla="*/ 419100 h 2381250"/>
                <a:gd name="connsiteX16" fmla="*/ 645348 w 1169223"/>
                <a:gd name="connsiteY16" fmla="*/ 361950 h 2381250"/>
                <a:gd name="connsiteX17" fmla="*/ 673923 w 1169223"/>
                <a:gd name="connsiteY17" fmla="*/ 333375 h 2381250"/>
                <a:gd name="connsiteX18" fmla="*/ 712023 w 1169223"/>
                <a:gd name="connsiteY18" fmla="*/ 285750 h 2381250"/>
                <a:gd name="connsiteX19" fmla="*/ 731073 w 1169223"/>
                <a:gd name="connsiteY19" fmla="*/ 257175 h 2381250"/>
                <a:gd name="connsiteX20" fmla="*/ 778698 w 1169223"/>
                <a:gd name="connsiteY20" fmla="*/ 228600 h 2381250"/>
                <a:gd name="connsiteX21" fmla="*/ 845373 w 1169223"/>
                <a:gd name="connsiteY21" fmla="*/ 180975 h 2381250"/>
                <a:gd name="connsiteX22" fmla="*/ 921573 w 1169223"/>
                <a:gd name="connsiteY22" fmla="*/ 133350 h 2381250"/>
                <a:gd name="connsiteX23" fmla="*/ 1016823 w 1169223"/>
                <a:gd name="connsiteY23" fmla="*/ 66675 h 2381250"/>
                <a:gd name="connsiteX24" fmla="*/ 1093023 w 1169223"/>
                <a:gd name="connsiteY24" fmla="*/ 19050 h 2381250"/>
                <a:gd name="connsiteX25" fmla="*/ 1131123 w 1169223"/>
                <a:gd name="connsiteY25" fmla="*/ 9525 h 2381250"/>
                <a:gd name="connsiteX26" fmla="*/ 1169223 w 1169223"/>
                <a:gd name="connsiteY26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369123 w 1169223"/>
                <a:gd name="connsiteY8" fmla="*/ 781050 h 2381250"/>
                <a:gd name="connsiteX9" fmla="*/ 426273 w 1169223"/>
                <a:gd name="connsiteY9" fmla="*/ 676275 h 2381250"/>
                <a:gd name="connsiteX10" fmla="*/ 454848 w 1169223"/>
                <a:gd name="connsiteY10" fmla="*/ 647700 h 2381250"/>
                <a:gd name="connsiteX11" fmla="*/ 464373 w 1169223"/>
                <a:gd name="connsiteY11" fmla="*/ 609600 h 2381250"/>
                <a:gd name="connsiteX12" fmla="*/ 492948 w 1169223"/>
                <a:gd name="connsiteY12" fmla="*/ 571500 h 2381250"/>
                <a:gd name="connsiteX13" fmla="*/ 531048 w 1169223"/>
                <a:gd name="connsiteY13" fmla="*/ 514350 h 2381250"/>
                <a:gd name="connsiteX14" fmla="*/ 607248 w 1169223"/>
                <a:gd name="connsiteY14" fmla="*/ 419100 h 2381250"/>
                <a:gd name="connsiteX15" fmla="*/ 645348 w 1169223"/>
                <a:gd name="connsiteY15" fmla="*/ 361950 h 2381250"/>
                <a:gd name="connsiteX16" fmla="*/ 673923 w 1169223"/>
                <a:gd name="connsiteY16" fmla="*/ 333375 h 2381250"/>
                <a:gd name="connsiteX17" fmla="*/ 712023 w 1169223"/>
                <a:gd name="connsiteY17" fmla="*/ 285750 h 2381250"/>
                <a:gd name="connsiteX18" fmla="*/ 731073 w 1169223"/>
                <a:gd name="connsiteY18" fmla="*/ 257175 h 2381250"/>
                <a:gd name="connsiteX19" fmla="*/ 778698 w 1169223"/>
                <a:gd name="connsiteY19" fmla="*/ 228600 h 2381250"/>
                <a:gd name="connsiteX20" fmla="*/ 845373 w 1169223"/>
                <a:gd name="connsiteY20" fmla="*/ 180975 h 2381250"/>
                <a:gd name="connsiteX21" fmla="*/ 921573 w 1169223"/>
                <a:gd name="connsiteY21" fmla="*/ 133350 h 2381250"/>
                <a:gd name="connsiteX22" fmla="*/ 1016823 w 1169223"/>
                <a:gd name="connsiteY22" fmla="*/ 66675 h 2381250"/>
                <a:gd name="connsiteX23" fmla="*/ 1093023 w 1169223"/>
                <a:gd name="connsiteY23" fmla="*/ 19050 h 2381250"/>
                <a:gd name="connsiteX24" fmla="*/ 1131123 w 1169223"/>
                <a:gd name="connsiteY24" fmla="*/ 9525 h 2381250"/>
                <a:gd name="connsiteX25" fmla="*/ 1169223 w 1169223"/>
                <a:gd name="connsiteY25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369123 w 1169223"/>
                <a:gd name="connsiteY7" fmla="*/ 781050 h 2381250"/>
                <a:gd name="connsiteX8" fmla="*/ 426273 w 1169223"/>
                <a:gd name="connsiteY8" fmla="*/ 676275 h 2381250"/>
                <a:gd name="connsiteX9" fmla="*/ 454848 w 1169223"/>
                <a:gd name="connsiteY9" fmla="*/ 647700 h 2381250"/>
                <a:gd name="connsiteX10" fmla="*/ 464373 w 1169223"/>
                <a:gd name="connsiteY10" fmla="*/ 609600 h 2381250"/>
                <a:gd name="connsiteX11" fmla="*/ 492948 w 1169223"/>
                <a:gd name="connsiteY11" fmla="*/ 571500 h 2381250"/>
                <a:gd name="connsiteX12" fmla="*/ 531048 w 1169223"/>
                <a:gd name="connsiteY12" fmla="*/ 514350 h 2381250"/>
                <a:gd name="connsiteX13" fmla="*/ 607248 w 1169223"/>
                <a:gd name="connsiteY13" fmla="*/ 419100 h 2381250"/>
                <a:gd name="connsiteX14" fmla="*/ 645348 w 1169223"/>
                <a:gd name="connsiteY14" fmla="*/ 361950 h 2381250"/>
                <a:gd name="connsiteX15" fmla="*/ 673923 w 1169223"/>
                <a:gd name="connsiteY15" fmla="*/ 333375 h 2381250"/>
                <a:gd name="connsiteX16" fmla="*/ 712023 w 1169223"/>
                <a:gd name="connsiteY16" fmla="*/ 285750 h 2381250"/>
                <a:gd name="connsiteX17" fmla="*/ 731073 w 1169223"/>
                <a:gd name="connsiteY17" fmla="*/ 257175 h 2381250"/>
                <a:gd name="connsiteX18" fmla="*/ 778698 w 1169223"/>
                <a:gd name="connsiteY18" fmla="*/ 228600 h 2381250"/>
                <a:gd name="connsiteX19" fmla="*/ 845373 w 1169223"/>
                <a:gd name="connsiteY19" fmla="*/ 180975 h 2381250"/>
                <a:gd name="connsiteX20" fmla="*/ 921573 w 1169223"/>
                <a:gd name="connsiteY20" fmla="*/ 133350 h 2381250"/>
                <a:gd name="connsiteX21" fmla="*/ 1016823 w 1169223"/>
                <a:gd name="connsiteY21" fmla="*/ 66675 h 2381250"/>
                <a:gd name="connsiteX22" fmla="*/ 1093023 w 1169223"/>
                <a:gd name="connsiteY22" fmla="*/ 19050 h 2381250"/>
                <a:gd name="connsiteX23" fmla="*/ 1131123 w 1169223"/>
                <a:gd name="connsiteY23" fmla="*/ 9525 h 2381250"/>
                <a:gd name="connsiteX24" fmla="*/ 1169223 w 1169223"/>
                <a:gd name="connsiteY24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464373 w 1169223"/>
                <a:gd name="connsiteY9" fmla="*/ 609600 h 2381250"/>
                <a:gd name="connsiteX10" fmla="*/ 492948 w 1169223"/>
                <a:gd name="connsiteY10" fmla="*/ 571500 h 2381250"/>
                <a:gd name="connsiteX11" fmla="*/ 531048 w 1169223"/>
                <a:gd name="connsiteY11" fmla="*/ 514350 h 2381250"/>
                <a:gd name="connsiteX12" fmla="*/ 607248 w 1169223"/>
                <a:gd name="connsiteY12" fmla="*/ 419100 h 2381250"/>
                <a:gd name="connsiteX13" fmla="*/ 645348 w 1169223"/>
                <a:gd name="connsiteY13" fmla="*/ 361950 h 2381250"/>
                <a:gd name="connsiteX14" fmla="*/ 673923 w 1169223"/>
                <a:gd name="connsiteY14" fmla="*/ 333375 h 2381250"/>
                <a:gd name="connsiteX15" fmla="*/ 712023 w 1169223"/>
                <a:gd name="connsiteY15" fmla="*/ 285750 h 2381250"/>
                <a:gd name="connsiteX16" fmla="*/ 731073 w 1169223"/>
                <a:gd name="connsiteY16" fmla="*/ 257175 h 2381250"/>
                <a:gd name="connsiteX17" fmla="*/ 778698 w 1169223"/>
                <a:gd name="connsiteY17" fmla="*/ 228600 h 2381250"/>
                <a:gd name="connsiteX18" fmla="*/ 845373 w 1169223"/>
                <a:gd name="connsiteY18" fmla="*/ 180975 h 2381250"/>
                <a:gd name="connsiteX19" fmla="*/ 921573 w 1169223"/>
                <a:gd name="connsiteY19" fmla="*/ 133350 h 2381250"/>
                <a:gd name="connsiteX20" fmla="*/ 1016823 w 1169223"/>
                <a:gd name="connsiteY20" fmla="*/ 66675 h 2381250"/>
                <a:gd name="connsiteX21" fmla="*/ 1093023 w 1169223"/>
                <a:gd name="connsiteY21" fmla="*/ 19050 h 2381250"/>
                <a:gd name="connsiteX22" fmla="*/ 1131123 w 1169223"/>
                <a:gd name="connsiteY22" fmla="*/ 9525 h 2381250"/>
                <a:gd name="connsiteX23" fmla="*/ 1169223 w 1169223"/>
                <a:gd name="connsiteY23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464373 w 1169223"/>
                <a:gd name="connsiteY9" fmla="*/ 609600 h 2381250"/>
                <a:gd name="connsiteX10" fmla="*/ 531048 w 1169223"/>
                <a:gd name="connsiteY10" fmla="*/ 514350 h 2381250"/>
                <a:gd name="connsiteX11" fmla="*/ 607248 w 1169223"/>
                <a:gd name="connsiteY11" fmla="*/ 419100 h 2381250"/>
                <a:gd name="connsiteX12" fmla="*/ 645348 w 1169223"/>
                <a:gd name="connsiteY12" fmla="*/ 361950 h 2381250"/>
                <a:gd name="connsiteX13" fmla="*/ 673923 w 1169223"/>
                <a:gd name="connsiteY13" fmla="*/ 333375 h 2381250"/>
                <a:gd name="connsiteX14" fmla="*/ 712023 w 1169223"/>
                <a:gd name="connsiteY14" fmla="*/ 285750 h 2381250"/>
                <a:gd name="connsiteX15" fmla="*/ 731073 w 1169223"/>
                <a:gd name="connsiteY15" fmla="*/ 257175 h 2381250"/>
                <a:gd name="connsiteX16" fmla="*/ 778698 w 1169223"/>
                <a:gd name="connsiteY16" fmla="*/ 228600 h 2381250"/>
                <a:gd name="connsiteX17" fmla="*/ 845373 w 1169223"/>
                <a:gd name="connsiteY17" fmla="*/ 180975 h 2381250"/>
                <a:gd name="connsiteX18" fmla="*/ 921573 w 1169223"/>
                <a:gd name="connsiteY18" fmla="*/ 133350 h 2381250"/>
                <a:gd name="connsiteX19" fmla="*/ 1016823 w 1169223"/>
                <a:gd name="connsiteY19" fmla="*/ 66675 h 2381250"/>
                <a:gd name="connsiteX20" fmla="*/ 1093023 w 1169223"/>
                <a:gd name="connsiteY20" fmla="*/ 19050 h 2381250"/>
                <a:gd name="connsiteX21" fmla="*/ 1131123 w 1169223"/>
                <a:gd name="connsiteY21" fmla="*/ 9525 h 2381250"/>
                <a:gd name="connsiteX22" fmla="*/ 1169223 w 1169223"/>
                <a:gd name="connsiteY22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464373 w 1169223"/>
                <a:gd name="connsiteY9" fmla="*/ 609600 h 2381250"/>
                <a:gd name="connsiteX10" fmla="*/ 607248 w 1169223"/>
                <a:gd name="connsiteY10" fmla="*/ 419100 h 2381250"/>
                <a:gd name="connsiteX11" fmla="*/ 645348 w 1169223"/>
                <a:gd name="connsiteY11" fmla="*/ 361950 h 2381250"/>
                <a:gd name="connsiteX12" fmla="*/ 673923 w 1169223"/>
                <a:gd name="connsiteY12" fmla="*/ 333375 h 2381250"/>
                <a:gd name="connsiteX13" fmla="*/ 712023 w 1169223"/>
                <a:gd name="connsiteY13" fmla="*/ 285750 h 2381250"/>
                <a:gd name="connsiteX14" fmla="*/ 731073 w 1169223"/>
                <a:gd name="connsiteY14" fmla="*/ 257175 h 2381250"/>
                <a:gd name="connsiteX15" fmla="*/ 778698 w 1169223"/>
                <a:gd name="connsiteY15" fmla="*/ 228600 h 2381250"/>
                <a:gd name="connsiteX16" fmla="*/ 845373 w 1169223"/>
                <a:gd name="connsiteY16" fmla="*/ 180975 h 2381250"/>
                <a:gd name="connsiteX17" fmla="*/ 921573 w 1169223"/>
                <a:gd name="connsiteY17" fmla="*/ 133350 h 2381250"/>
                <a:gd name="connsiteX18" fmla="*/ 1016823 w 1169223"/>
                <a:gd name="connsiteY18" fmla="*/ 66675 h 2381250"/>
                <a:gd name="connsiteX19" fmla="*/ 1093023 w 1169223"/>
                <a:gd name="connsiteY19" fmla="*/ 19050 h 2381250"/>
                <a:gd name="connsiteX20" fmla="*/ 1131123 w 1169223"/>
                <a:gd name="connsiteY20" fmla="*/ 9525 h 2381250"/>
                <a:gd name="connsiteX21" fmla="*/ 1169223 w 1169223"/>
                <a:gd name="connsiteY21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673923 w 1169223"/>
                <a:gd name="connsiteY11" fmla="*/ 333375 h 2381250"/>
                <a:gd name="connsiteX12" fmla="*/ 712023 w 1169223"/>
                <a:gd name="connsiteY12" fmla="*/ 285750 h 2381250"/>
                <a:gd name="connsiteX13" fmla="*/ 731073 w 1169223"/>
                <a:gd name="connsiteY13" fmla="*/ 257175 h 2381250"/>
                <a:gd name="connsiteX14" fmla="*/ 778698 w 1169223"/>
                <a:gd name="connsiteY14" fmla="*/ 228600 h 2381250"/>
                <a:gd name="connsiteX15" fmla="*/ 845373 w 1169223"/>
                <a:gd name="connsiteY15" fmla="*/ 180975 h 2381250"/>
                <a:gd name="connsiteX16" fmla="*/ 921573 w 1169223"/>
                <a:gd name="connsiteY16" fmla="*/ 133350 h 2381250"/>
                <a:gd name="connsiteX17" fmla="*/ 1016823 w 1169223"/>
                <a:gd name="connsiteY17" fmla="*/ 66675 h 2381250"/>
                <a:gd name="connsiteX18" fmla="*/ 1093023 w 1169223"/>
                <a:gd name="connsiteY18" fmla="*/ 19050 h 2381250"/>
                <a:gd name="connsiteX19" fmla="*/ 1131123 w 1169223"/>
                <a:gd name="connsiteY19" fmla="*/ 9525 h 2381250"/>
                <a:gd name="connsiteX20" fmla="*/ 1169223 w 1169223"/>
                <a:gd name="connsiteY20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778698 w 1169223"/>
                <a:gd name="connsiteY13" fmla="*/ 228600 h 2381250"/>
                <a:gd name="connsiteX14" fmla="*/ 845373 w 1169223"/>
                <a:gd name="connsiteY14" fmla="*/ 180975 h 2381250"/>
                <a:gd name="connsiteX15" fmla="*/ 921573 w 1169223"/>
                <a:gd name="connsiteY15" fmla="*/ 133350 h 2381250"/>
                <a:gd name="connsiteX16" fmla="*/ 1016823 w 1169223"/>
                <a:gd name="connsiteY16" fmla="*/ 66675 h 2381250"/>
                <a:gd name="connsiteX17" fmla="*/ 1093023 w 1169223"/>
                <a:gd name="connsiteY17" fmla="*/ 19050 h 2381250"/>
                <a:gd name="connsiteX18" fmla="*/ 1131123 w 1169223"/>
                <a:gd name="connsiteY18" fmla="*/ 9525 h 2381250"/>
                <a:gd name="connsiteX19" fmla="*/ 1169223 w 1169223"/>
                <a:gd name="connsiteY19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845373 w 1169223"/>
                <a:gd name="connsiteY13" fmla="*/ 180975 h 2381250"/>
                <a:gd name="connsiteX14" fmla="*/ 921573 w 1169223"/>
                <a:gd name="connsiteY14" fmla="*/ 133350 h 2381250"/>
                <a:gd name="connsiteX15" fmla="*/ 1016823 w 1169223"/>
                <a:gd name="connsiteY15" fmla="*/ 66675 h 2381250"/>
                <a:gd name="connsiteX16" fmla="*/ 1093023 w 1169223"/>
                <a:gd name="connsiteY16" fmla="*/ 19050 h 2381250"/>
                <a:gd name="connsiteX17" fmla="*/ 1131123 w 1169223"/>
                <a:gd name="connsiteY17" fmla="*/ 9525 h 2381250"/>
                <a:gd name="connsiteX18" fmla="*/ 1169223 w 1169223"/>
                <a:gd name="connsiteY18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921573 w 1169223"/>
                <a:gd name="connsiteY13" fmla="*/ 133350 h 2381250"/>
                <a:gd name="connsiteX14" fmla="*/ 1016823 w 1169223"/>
                <a:gd name="connsiteY14" fmla="*/ 66675 h 2381250"/>
                <a:gd name="connsiteX15" fmla="*/ 1093023 w 1169223"/>
                <a:gd name="connsiteY15" fmla="*/ 19050 h 2381250"/>
                <a:gd name="connsiteX16" fmla="*/ 1131123 w 1169223"/>
                <a:gd name="connsiteY16" fmla="*/ 9525 h 2381250"/>
                <a:gd name="connsiteX17" fmla="*/ 1169223 w 1169223"/>
                <a:gd name="connsiteY17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1016823 w 1169223"/>
                <a:gd name="connsiteY13" fmla="*/ 66675 h 2381250"/>
                <a:gd name="connsiteX14" fmla="*/ 1093023 w 1169223"/>
                <a:gd name="connsiteY14" fmla="*/ 19050 h 2381250"/>
                <a:gd name="connsiteX15" fmla="*/ 1131123 w 1169223"/>
                <a:gd name="connsiteY15" fmla="*/ 9525 h 2381250"/>
                <a:gd name="connsiteX16" fmla="*/ 1169223 w 1169223"/>
                <a:gd name="connsiteY16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1016823 w 1169223"/>
                <a:gd name="connsiteY13" fmla="*/ 66675 h 2381250"/>
                <a:gd name="connsiteX14" fmla="*/ 1131123 w 1169223"/>
                <a:gd name="connsiteY14" fmla="*/ 9525 h 2381250"/>
                <a:gd name="connsiteX15" fmla="*/ 1169223 w 1169223"/>
                <a:gd name="connsiteY15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712023 w 1169223"/>
                <a:gd name="connsiteY10" fmla="*/ 285750 h 2381250"/>
                <a:gd name="connsiteX11" fmla="*/ 731073 w 1169223"/>
                <a:gd name="connsiteY11" fmla="*/ 257175 h 2381250"/>
                <a:gd name="connsiteX12" fmla="*/ 1016823 w 1169223"/>
                <a:gd name="connsiteY12" fmla="*/ 66675 h 2381250"/>
                <a:gd name="connsiteX13" fmla="*/ 1131123 w 1169223"/>
                <a:gd name="connsiteY13" fmla="*/ 9525 h 2381250"/>
                <a:gd name="connsiteX14" fmla="*/ 1169223 w 1169223"/>
                <a:gd name="connsiteY14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712023 w 1169223"/>
                <a:gd name="connsiteY10" fmla="*/ 285750 h 2381250"/>
                <a:gd name="connsiteX11" fmla="*/ 1016823 w 1169223"/>
                <a:gd name="connsiteY11" fmla="*/ 66675 h 2381250"/>
                <a:gd name="connsiteX12" fmla="*/ 1131123 w 1169223"/>
                <a:gd name="connsiteY12" fmla="*/ 9525 h 2381250"/>
                <a:gd name="connsiteX13" fmla="*/ 1169223 w 1169223"/>
                <a:gd name="connsiteY13" fmla="*/ 0 h 2381250"/>
                <a:gd name="connsiteX0" fmla="*/ 73848 w 1131123"/>
                <a:gd name="connsiteY0" fmla="*/ 2371725 h 2371725"/>
                <a:gd name="connsiteX1" fmla="*/ 64323 w 1131123"/>
                <a:gd name="connsiteY1" fmla="*/ 2324100 h 2371725"/>
                <a:gd name="connsiteX2" fmla="*/ 7173 w 1131123"/>
                <a:gd name="connsiteY2" fmla="*/ 1895475 h 2371725"/>
                <a:gd name="connsiteX3" fmla="*/ 16698 w 1131123"/>
                <a:gd name="connsiteY3" fmla="*/ 1609725 h 2371725"/>
                <a:gd name="connsiteX4" fmla="*/ 150048 w 1131123"/>
                <a:gd name="connsiteY4" fmla="*/ 1228725 h 2371725"/>
                <a:gd name="connsiteX5" fmla="*/ 207198 w 1131123"/>
                <a:gd name="connsiteY5" fmla="*/ 1085850 h 2371725"/>
                <a:gd name="connsiteX6" fmla="*/ 254823 w 1131123"/>
                <a:gd name="connsiteY6" fmla="*/ 952500 h 2371725"/>
                <a:gd name="connsiteX7" fmla="*/ 426273 w 1131123"/>
                <a:gd name="connsiteY7" fmla="*/ 666750 h 2371725"/>
                <a:gd name="connsiteX8" fmla="*/ 454848 w 1131123"/>
                <a:gd name="connsiteY8" fmla="*/ 638175 h 2371725"/>
                <a:gd name="connsiteX9" fmla="*/ 607248 w 1131123"/>
                <a:gd name="connsiteY9" fmla="*/ 409575 h 2371725"/>
                <a:gd name="connsiteX10" fmla="*/ 712023 w 1131123"/>
                <a:gd name="connsiteY10" fmla="*/ 276225 h 2371725"/>
                <a:gd name="connsiteX11" fmla="*/ 1016823 w 1131123"/>
                <a:gd name="connsiteY11" fmla="*/ 57150 h 2371725"/>
                <a:gd name="connsiteX12" fmla="*/ 1131123 w 1131123"/>
                <a:gd name="connsiteY12" fmla="*/ 0 h 2371725"/>
                <a:gd name="connsiteX0" fmla="*/ 68314 w 1125589"/>
                <a:gd name="connsiteY0" fmla="*/ 2371725 h 2371725"/>
                <a:gd name="connsiteX1" fmla="*/ 58789 w 1125589"/>
                <a:gd name="connsiteY1" fmla="*/ 2324100 h 2371725"/>
                <a:gd name="connsiteX2" fmla="*/ 1639 w 1125589"/>
                <a:gd name="connsiteY2" fmla="*/ 1895475 h 2371725"/>
                <a:gd name="connsiteX3" fmla="*/ 39739 w 1125589"/>
                <a:gd name="connsiteY3" fmla="*/ 1552575 h 2371725"/>
                <a:gd name="connsiteX4" fmla="*/ 144514 w 1125589"/>
                <a:gd name="connsiteY4" fmla="*/ 1228725 h 2371725"/>
                <a:gd name="connsiteX5" fmla="*/ 201664 w 1125589"/>
                <a:gd name="connsiteY5" fmla="*/ 1085850 h 2371725"/>
                <a:gd name="connsiteX6" fmla="*/ 249289 w 1125589"/>
                <a:gd name="connsiteY6" fmla="*/ 952500 h 2371725"/>
                <a:gd name="connsiteX7" fmla="*/ 420739 w 1125589"/>
                <a:gd name="connsiteY7" fmla="*/ 666750 h 2371725"/>
                <a:gd name="connsiteX8" fmla="*/ 449314 w 1125589"/>
                <a:gd name="connsiteY8" fmla="*/ 638175 h 2371725"/>
                <a:gd name="connsiteX9" fmla="*/ 601714 w 1125589"/>
                <a:gd name="connsiteY9" fmla="*/ 409575 h 2371725"/>
                <a:gd name="connsiteX10" fmla="*/ 706489 w 1125589"/>
                <a:gd name="connsiteY10" fmla="*/ 276225 h 2371725"/>
                <a:gd name="connsiteX11" fmla="*/ 1011289 w 1125589"/>
                <a:gd name="connsiteY11" fmla="*/ 57150 h 2371725"/>
                <a:gd name="connsiteX12" fmla="*/ 1125589 w 1125589"/>
                <a:gd name="connsiteY12" fmla="*/ 0 h 2371725"/>
                <a:gd name="connsiteX0" fmla="*/ 67984 w 1125259"/>
                <a:gd name="connsiteY0" fmla="*/ 2371725 h 2371725"/>
                <a:gd name="connsiteX1" fmla="*/ 58459 w 1125259"/>
                <a:gd name="connsiteY1" fmla="*/ 2324100 h 2371725"/>
                <a:gd name="connsiteX2" fmla="*/ 1309 w 1125259"/>
                <a:gd name="connsiteY2" fmla="*/ 1895475 h 2371725"/>
                <a:gd name="connsiteX3" fmla="*/ 39409 w 1125259"/>
                <a:gd name="connsiteY3" fmla="*/ 1552575 h 2371725"/>
                <a:gd name="connsiteX4" fmla="*/ 144184 w 1125259"/>
                <a:gd name="connsiteY4" fmla="*/ 1228725 h 2371725"/>
                <a:gd name="connsiteX5" fmla="*/ 201334 w 1125259"/>
                <a:gd name="connsiteY5" fmla="*/ 1085850 h 2371725"/>
                <a:gd name="connsiteX6" fmla="*/ 248959 w 1125259"/>
                <a:gd name="connsiteY6" fmla="*/ 952500 h 2371725"/>
                <a:gd name="connsiteX7" fmla="*/ 420409 w 1125259"/>
                <a:gd name="connsiteY7" fmla="*/ 666750 h 2371725"/>
                <a:gd name="connsiteX8" fmla="*/ 448984 w 1125259"/>
                <a:gd name="connsiteY8" fmla="*/ 638175 h 2371725"/>
                <a:gd name="connsiteX9" fmla="*/ 601384 w 1125259"/>
                <a:gd name="connsiteY9" fmla="*/ 409575 h 2371725"/>
                <a:gd name="connsiteX10" fmla="*/ 706159 w 1125259"/>
                <a:gd name="connsiteY10" fmla="*/ 276225 h 2371725"/>
                <a:gd name="connsiteX11" fmla="*/ 1010959 w 1125259"/>
                <a:gd name="connsiteY11" fmla="*/ 57150 h 2371725"/>
                <a:gd name="connsiteX12" fmla="*/ 1125259 w 1125259"/>
                <a:gd name="connsiteY12" fmla="*/ 0 h 237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5259" h="2371725">
                  <a:moveTo>
                    <a:pt x="67984" y="2371725"/>
                  </a:moveTo>
                  <a:cubicBezTo>
                    <a:pt x="64809" y="2355850"/>
                    <a:pt x="69571" y="2403475"/>
                    <a:pt x="58459" y="2324100"/>
                  </a:cubicBezTo>
                  <a:cubicBezTo>
                    <a:pt x="47347" y="2244725"/>
                    <a:pt x="9246" y="2014537"/>
                    <a:pt x="1309" y="1895475"/>
                  </a:cubicBezTo>
                  <a:cubicBezTo>
                    <a:pt x="-6628" y="1776413"/>
                    <a:pt x="23485" y="1665102"/>
                    <a:pt x="39409" y="1552575"/>
                  </a:cubicBezTo>
                  <a:cubicBezTo>
                    <a:pt x="63222" y="1384300"/>
                    <a:pt x="117197" y="1306512"/>
                    <a:pt x="144184" y="1228725"/>
                  </a:cubicBezTo>
                  <a:cubicBezTo>
                    <a:pt x="171171" y="1150938"/>
                    <a:pt x="183872" y="1131887"/>
                    <a:pt x="201334" y="1085850"/>
                  </a:cubicBezTo>
                  <a:cubicBezTo>
                    <a:pt x="218796" y="1039813"/>
                    <a:pt x="212446" y="1022350"/>
                    <a:pt x="248959" y="952500"/>
                  </a:cubicBezTo>
                  <a:cubicBezTo>
                    <a:pt x="285472" y="882650"/>
                    <a:pt x="387071" y="719138"/>
                    <a:pt x="420409" y="666750"/>
                  </a:cubicBezTo>
                  <a:cubicBezTo>
                    <a:pt x="453747" y="614362"/>
                    <a:pt x="439459" y="647700"/>
                    <a:pt x="448984" y="638175"/>
                  </a:cubicBezTo>
                  <a:cubicBezTo>
                    <a:pt x="479146" y="595313"/>
                    <a:pt x="558522" y="469900"/>
                    <a:pt x="601384" y="409575"/>
                  </a:cubicBezTo>
                  <a:cubicBezTo>
                    <a:pt x="644246" y="349250"/>
                    <a:pt x="637897" y="334963"/>
                    <a:pt x="706159" y="276225"/>
                  </a:cubicBezTo>
                  <a:cubicBezTo>
                    <a:pt x="774422" y="217488"/>
                    <a:pt x="941109" y="103187"/>
                    <a:pt x="1010959" y="57150"/>
                  </a:cubicBezTo>
                  <a:cubicBezTo>
                    <a:pt x="1080809" y="11113"/>
                    <a:pt x="1099859" y="11112"/>
                    <a:pt x="1125259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218"/>
              <a:endParaRPr lang="da-DK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29" name="Freeform: Shape 96">
              <a:extLst>
                <a:ext uri="{FF2B5EF4-FFF2-40B4-BE49-F238E27FC236}">
                  <a16:creationId xmlns:a16="http://schemas.microsoft.com/office/drawing/2014/main" id="{B7C275B8-69F6-A830-F414-7EEA7A957122}"/>
                </a:ext>
              </a:extLst>
            </p:cNvPr>
            <p:cNvSpPr/>
            <p:nvPr/>
          </p:nvSpPr>
          <p:spPr>
            <a:xfrm>
              <a:off x="2827127" y="2465574"/>
              <a:ext cx="1266298" cy="2087208"/>
            </a:xfrm>
            <a:custGeom>
              <a:avLst/>
              <a:gdLst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952500 w 1381125"/>
                <a:gd name="connsiteY22" fmla="*/ 1590675 h 2277341"/>
                <a:gd name="connsiteX23" fmla="*/ 923925 w 1381125"/>
                <a:gd name="connsiteY23" fmla="*/ 1628775 h 2277341"/>
                <a:gd name="connsiteX24" fmla="*/ 866775 w 1381125"/>
                <a:gd name="connsiteY24" fmla="*/ 1685925 h 2277341"/>
                <a:gd name="connsiteX25" fmla="*/ 819150 w 1381125"/>
                <a:gd name="connsiteY25" fmla="*/ 1733550 h 2277341"/>
                <a:gd name="connsiteX26" fmla="*/ 762000 w 1381125"/>
                <a:gd name="connsiteY26" fmla="*/ 1800225 h 2277341"/>
                <a:gd name="connsiteX27" fmla="*/ 723900 w 1381125"/>
                <a:gd name="connsiteY27" fmla="*/ 1828800 h 2277341"/>
                <a:gd name="connsiteX28" fmla="*/ 695325 w 1381125"/>
                <a:gd name="connsiteY28" fmla="*/ 1857375 h 2277341"/>
                <a:gd name="connsiteX29" fmla="*/ 657225 w 1381125"/>
                <a:gd name="connsiteY29" fmla="*/ 1885950 h 2277341"/>
                <a:gd name="connsiteX30" fmla="*/ 581025 w 1381125"/>
                <a:gd name="connsiteY30" fmla="*/ 1952625 h 2277341"/>
                <a:gd name="connsiteX31" fmla="*/ 533400 w 1381125"/>
                <a:gd name="connsiteY31" fmla="*/ 1981200 h 2277341"/>
                <a:gd name="connsiteX32" fmla="*/ 504825 w 1381125"/>
                <a:gd name="connsiteY32" fmla="*/ 2009775 h 2277341"/>
                <a:gd name="connsiteX33" fmla="*/ 476250 w 1381125"/>
                <a:gd name="connsiteY33" fmla="*/ 2028825 h 2277341"/>
                <a:gd name="connsiteX34" fmla="*/ 438150 w 1381125"/>
                <a:gd name="connsiteY34" fmla="*/ 2057400 h 2277341"/>
                <a:gd name="connsiteX35" fmla="*/ 390525 w 1381125"/>
                <a:gd name="connsiteY35" fmla="*/ 2085975 h 2277341"/>
                <a:gd name="connsiteX36" fmla="*/ 333375 w 1381125"/>
                <a:gd name="connsiteY36" fmla="*/ 2133600 h 2277341"/>
                <a:gd name="connsiteX37" fmla="*/ 276225 w 1381125"/>
                <a:gd name="connsiteY37" fmla="*/ 2171700 h 2277341"/>
                <a:gd name="connsiteX38" fmla="*/ 247650 w 1381125"/>
                <a:gd name="connsiteY38" fmla="*/ 2190750 h 2277341"/>
                <a:gd name="connsiteX39" fmla="*/ 200025 w 1381125"/>
                <a:gd name="connsiteY39" fmla="*/ 2209800 h 2277341"/>
                <a:gd name="connsiteX40" fmla="*/ 161925 w 1381125"/>
                <a:gd name="connsiteY40" fmla="*/ 2228850 h 2277341"/>
                <a:gd name="connsiteX41" fmla="*/ 66675 w 1381125"/>
                <a:gd name="connsiteY41" fmla="*/ 2257425 h 2277341"/>
                <a:gd name="connsiteX42" fmla="*/ 0 w 1381125"/>
                <a:gd name="connsiteY4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923925 w 1381125"/>
                <a:gd name="connsiteY22" fmla="*/ 1628775 h 2277341"/>
                <a:gd name="connsiteX23" fmla="*/ 866775 w 1381125"/>
                <a:gd name="connsiteY23" fmla="*/ 1685925 h 2277341"/>
                <a:gd name="connsiteX24" fmla="*/ 819150 w 1381125"/>
                <a:gd name="connsiteY24" fmla="*/ 1733550 h 2277341"/>
                <a:gd name="connsiteX25" fmla="*/ 762000 w 1381125"/>
                <a:gd name="connsiteY25" fmla="*/ 1800225 h 2277341"/>
                <a:gd name="connsiteX26" fmla="*/ 723900 w 1381125"/>
                <a:gd name="connsiteY26" fmla="*/ 1828800 h 2277341"/>
                <a:gd name="connsiteX27" fmla="*/ 695325 w 1381125"/>
                <a:gd name="connsiteY27" fmla="*/ 1857375 h 2277341"/>
                <a:gd name="connsiteX28" fmla="*/ 657225 w 1381125"/>
                <a:gd name="connsiteY28" fmla="*/ 1885950 h 2277341"/>
                <a:gd name="connsiteX29" fmla="*/ 581025 w 1381125"/>
                <a:gd name="connsiteY29" fmla="*/ 1952625 h 2277341"/>
                <a:gd name="connsiteX30" fmla="*/ 533400 w 1381125"/>
                <a:gd name="connsiteY30" fmla="*/ 1981200 h 2277341"/>
                <a:gd name="connsiteX31" fmla="*/ 504825 w 1381125"/>
                <a:gd name="connsiteY31" fmla="*/ 2009775 h 2277341"/>
                <a:gd name="connsiteX32" fmla="*/ 476250 w 1381125"/>
                <a:gd name="connsiteY32" fmla="*/ 2028825 h 2277341"/>
                <a:gd name="connsiteX33" fmla="*/ 438150 w 1381125"/>
                <a:gd name="connsiteY33" fmla="*/ 2057400 h 2277341"/>
                <a:gd name="connsiteX34" fmla="*/ 390525 w 1381125"/>
                <a:gd name="connsiteY34" fmla="*/ 2085975 h 2277341"/>
                <a:gd name="connsiteX35" fmla="*/ 333375 w 1381125"/>
                <a:gd name="connsiteY35" fmla="*/ 2133600 h 2277341"/>
                <a:gd name="connsiteX36" fmla="*/ 276225 w 1381125"/>
                <a:gd name="connsiteY36" fmla="*/ 2171700 h 2277341"/>
                <a:gd name="connsiteX37" fmla="*/ 247650 w 1381125"/>
                <a:gd name="connsiteY37" fmla="*/ 2190750 h 2277341"/>
                <a:gd name="connsiteX38" fmla="*/ 200025 w 1381125"/>
                <a:gd name="connsiteY38" fmla="*/ 2209800 h 2277341"/>
                <a:gd name="connsiteX39" fmla="*/ 161925 w 1381125"/>
                <a:gd name="connsiteY39" fmla="*/ 2228850 h 2277341"/>
                <a:gd name="connsiteX40" fmla="*/ 66675 w 1381125"/>
                <a:gd name="connsiteY40" fmla="*/ 2257425 h 2277341"/>
                <a:gd name="connsiteX41" fmla="*/ 0 w 1381125"/>
                <a:gd name="connsiteY41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866775 w 1381125"/>
                <a:gd name="connsiteY22" fmla="*/ 1685925 h 2277341"/>
                <a:gd name="connsiteX23" fmla="*/ 819150 w 1381125"/>
                <a:gd name="connsiteY23" fmla="*/ 1733550 h 2277341"/>
                <a:gd name="connsiteX24" fmla="*/ 762000 w 1381125"/>
                <a:gd name="connsiteY24" fmla="*/ 1800225 h 2277341"/>
                <a:gd name="connsiteX25" fmla="*/ 723900 w 1381125"/>
                <a:gd name="connsiteY25" fmla="*/ 1828800 h 2277341"/>
                <a:gd name="connsiteX26" fmla="*/ 695325 w 1381125"/>
                <a:gd name="connsiteY26" fmla="*/ 1857375 h 2277341"/>
                <a:gd name="connsiteX27" fmla="*/ 657225 w 1381125"/>
                <a:gd name="connsiteY27" fmla="*/ 1885950 h 2277341"/>
                <a:gd name="connsiteX28" fmla="*/ 581025 w 1381125"/>
                <a:gd name="connsiteY28" fmla="*/ 1952625 h 2277341"/>
                <a:gd name="connsiteX29" fmla="*/ 533400 w 1381125"/>
                <a:gd name="connsiteY29" fmla="*/ 1981200 h 2277341"/>
                <a:gd name="connsiteX30" fmla="*/ 504825 w 1381125"/>
                <a:gd name="connsiteY30" fmla="*/ 2009775 h 2277341"/>
                <a:gd name="connsiteX31" fmla="*/ 476250 w 1381125"/>
                <a:gd name="connsiteY31" fmla="*/ 2028825 h 2277341"/>
                <a:gd name="connsiteX32" fmla="*/ 438150 w 1381125"/>
                <a:gd name="connsiteY32" fmla="*/ 2057400 h 2277341"/>
                <a:gd name="connsiteX33" fmla="*/ 390525 w 1381125"/>
                <a:gd name="connsiteY33" fmla="*/ 2085975 h 2277341"/>
                <a:gd name="connsiteX34" fmla="*/ 333375 w 1381125"/>
                <a:gd name="connsiteY34" fmla="*/ 2133600 h 2277341"/>
                <a:gd name="connsiteX35" fmla="*/ 276225 w 1381125"/>
                <a:gd name="connsiteY35" fmla="*/ 2171700 h 2277341"/>
                <a:gd name="connsiteX36" fmla="*/ 247650 w 1381125"/>
                <a:gd name="connsiteY36" fmla="*/ 2190750 h 2277341"/>
                <a:gd name="connsiteX37" fmla="*/ 200025 w 1381125"/>
                <a:gd name="connsiteY37" fmla="*/ 2209800 h 2277341"/>
                <a:gd name="connsiteX38" fmla="*/ 161925 w 1381125"/>
                <a:gd name="connsiteY38" fmla="*/ 2228850 h 2277341"/>
                <a:gd name="connsiteX39" fmla="*/ 66675 w 1381125"/>
                <a:gd name="connsiteY39" fmla="*/ 2257425 h 2277341"/>
                <a:gd name="connsiteX40" fmla="*/ 0 w 1381125"/>
                <a:gd name="connsiteY40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866775 w 1381125"/>
                <a:gd name="connsiteY22" fmla="*/ 1685925 h 2277341"/>
                <a:gd name="connsiteX23" fmla="*/ 762000 w 1381125"/>
                <a:gd name="connsiteY23" fmla="*/ 1800225 h 2277341"/>
                <a:gd name="connsiteX24" fmla="*/ 723900 w 1381125"/>
                <a:gd name="connsiteY24" fmla="*/ 1828800 h 2277341"/>
                <a:gd name="connsiteX25" fmla="*/ 695325 w 1381125"/>
                <a:gd name="connsiteY25" fmla="*/ 1857375 h 2277341"/>
                <a:gd name="connsiteX26" fmla="*/ 657225 w 1381125"/>
                <a:gd name="connsiteY26" fmla="*/ 1885950 h 2277341"/>
                <a:gd name="connsiteX27" fmla="*/ 581025 w 1381125"/>
                <a:gd name="connsiteY27" fmla="*/ 1952625 h 2277341"/>
                <a:gd name="connsiteX28" fmla="*/ 533400 w 1381125"/>
                <a:gd name="connsiteY28" fmla="*/ 1981200 h 2277341"/>
                <a:gd name="connsiteX29" fmla="*/ 504825 w 1381125"/>
                <a:gd name="connsiteY29" fmla="*/ 2009775 h 2277341"/>
                <a:gd name="connsiteX30" fmla="*/ 476250 w 1381125"/>
                <a:gd name="connsiteY30" fmla="*/ 2028825 h 2277341"/>
                <a:gd name="connsiteX31" fmla="*/ 438150 w 1381125"/>
                <a:gd name="connsiteY31" fmla="*/ 2057400 h 2277341"/>
                <a:gd name="connsiteX32" fmla="*/ 390525 w 1381125"/>
                <a:gd name="connsiteY32" fmla="*/ 2085975 h 2277341"/>
                <a:gd name="connsiteX33" fmla="*/ 333375 w 1381125"/>
                <a:gd name="connsiteY33" fmla="*/ 2133600 h 2277341"/>
                <a:gd name="connsiteX34" fmla="*/ 276225 w 1381125"/>
                <a:gd name="connsiteY34" fmla="*/ 2171700 h 2277341"/>
                <a:gd name="connsiteX35" fmla="*/ 247650 w 1381125"/>
                <a:gd name="connsiteY35" fmla="*/ 2190750 h 2277341"/>
                <a:gd name="connsiteX36" fmla="*/ 200025 w 1381125"/>
                <a:gd name="connsiteY36" fmla="*/ 2209800 h 2277341"/>
                <a:gd name="connsiteX37" fmla="*/ 161925 w 1381125"/>
                <a:gd name="connsiteY37" fmla="*/ 2228850 h 2277341"/>
                <a:gd name="connsiteX38" fmla="*/ 66675 w 1381125"/>
                <a:gd name="connsiteY38" fmla="*/ 2257425 h 2277341"/>
                <a:gd name="connsiteX39" fmla="*/ 0 w 1381125"/>
                <a:gd name="connsiteY39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866775 w 1381125"/>
                <a:gd name="connsiteY22" fmla="*/ 1685925 h 2277341"/>
                <a:gd name="connsiteX23" fmla="*/ 723900 w 1381125"/>
                <a:gd name="connsiteY23" fmla="*/ 1828800 h 2277341"/>
                <a:gd name="connsiteX24" fmla="*/ 695325 w 1381125"/>
                <a:gd name="connsiteY24" fmla="*/ 1857375 h 2277341"/>
                <a:gd name="connsiteX25" fmla="*/ 657225 w 1381125"/>
                <a:gd name="connsiteY25" fmla="*/ 1885950 h 2277341"/>
                <a:gd name="connsiteX26" fmla="*/ 581025 w 1381125"/>
                <a:gd name="connsiteY26" fmla="*/ 1952625 h 2277341"/>
                <a:gd name="connsiteX27" fmla="*/ 533400 w 1381125"/>
                <a:gd name="connsiteY27" fmla="*/ 1981200 h 2277341"/>
                <a:gd name="connsiteX28" fmla="*/ 504825 w 1381125"/>
                <a:gd name="connsiteY28" fmla="*/ 2009775 h 2277341"/>
                <a:gd name="connsiteX29" fmla="*/ 476250 w 1381125"/>
                <a:gd name="connsiteY29" fmla="*/ 2028825 h 2277341"/>
                <a:gd name="connsiteX30" fmla="*/ 438150 w 1381125"/>
                <a:gd name="connsiteY30" fmla="*/ 2057400 h 2277341"/>
                <a:gd name="connsiteX31" fmla="*/ 390525 w 1381125"/>
                <a:gd name="connsiteY31" fmla="*/ 2085975 h 2277341"/>
                <a:gd name="connsiteX32" fmla="*/ 333375 w 1381125"/>
                <a:gd name="connsiteY32" fmla="*/ 2133600 h 2277341"/>
                <a:gd name="connsiteX33" fmla="*/ 276225 w 1381125"/>
                <a:gd name="connsiteY33" fmla="*/ 2171700 h 2277341"/>
                <a:gd name="connsiteX34" fmla="*/ 247650 w 1381125"/>
                <a:gd name="connsiteY34" fmla="*/ 2190750 h 2277341"/>
                <a:gd name="connsiteX35" fmla="*/ 200025 w 1381125"/>
                <a:gd name="connsiteY35" fmla="*/ 2209800 h 2277341"/>
                <a:gd name="connsiteX36" fmla="*/ 161925 w 1381125"/>
                <a:gd name="connsiteY36" fmla="*/ 2228850 h 2277341"/>
                <a:gd name="connsiteX37" fmla="*/ 66675 w 1381125"/>
                <a:gd name="connsiteY37" fmla="*/ 2257425 h 2277341"/>
                <a:gd name="connsiteX38" fmla="*/ 0 w 1381125"/>
                <a:gd name="connsiteY38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657225 w 1381125"/>
                <a:gd name="connsiteY24" fmla="*/ 1885950 h 2277341"/>
                <a:gd name="connsiteX25" fmla="*/ 581025 w 1381125"/>
                <a:gd name="connsiteY25" fmla="*/ 1952625 h 2277341"/>
                <a:gd name="connsiteX26" fmla="*/ 533400 w 1381125"/>
                <a:gd name="connsiteY26" fmla="*/ 1981200 h 2277341"/>
                <a:gd name="connsiteX27" fmla="*/ 504825 w 1381125"/>
                <a:gd name="connsiteY27" fmla="*/ 2009775 h 2277341"/>
                <a:gd name="connsiteX28" fmla="*/ 476250 w 1381125"/>
                <a:gd name="connsiteY28" fmla="*/ 2028825 h 2277341"/>
                <a:gd name="connsiteX29" fmla="*/ 438150 w 1381125"/>
                <a:gd name="connsiteY29" fmla="*/ 2057400 h 2277341"/>
                <a:gd name="connsiteX30" fmla="*/ 390525 w 1381125"/>
                <a:gd name="connsiteY30" fmla="*/ 2085975 h 2277341"/>
                <a:gd name="connsiteX31" fmla="*/ 333375 w 1381125"/>
                <a:gd name="connsiteY31" fmla="*/ 2133600 h 2277341"/>
                <a:gd name="connsiteX32" fmla="*/ 276225 w 1381125"/>
                <a:gd name="connsiteY32" fmla="*/ 2171700 h 2277341"/>
                <a:gd name="connsiteX33" fmla="*/ 247650 w 1381125"/>
                <a:gd name="connsiteY33" fmla="*/ 2190750 h 2277341"/>
                <a:gd name="connsiteX34" fmla="*/ 200025 w 1381125"/>
                <a:gd name="connsiteY34" fmla="*/ 2209800 h 2277341"/>
                <a:gd name="connsiteX35" fmla="*/ 161925 w 1381125"/>
                <a:gd name="connsiteY35" fmla="*/ 2228850 h 2277341"/>
                <a:gd name="connsiteX36" fmla="*/ 66675 w 1381125"/>
                <a:gd name="connsiteY36" fmla="*/ 2257425 h 2277341"/>
                <a:gd name="connsiteX37" fmla="*/ 0 w 1381125"/>
                <a:gd name="connsiteY37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438150 w 1381125"/>
                <a:gd name="connsiteY28" fmla="*/ 2057400 h 2277341"/>
                <a:gd name="connsiteX29" fmla="*/ 390525 w 1381125"/>
                <a:gd name="connsiteY29" fmla="*/ 2085975 h 2277341"/>
                <a:gd name="connsiteX30" fmla="*/ 333375 w 1381125"/>
                <a:gd name="connsiteY30" fmla="*/ 2133600 h 2277341"/>
                <a:gd name="connsiteX31" fmla="*/ 276225 w 1381125"/>
                <a:gd name="connsiteY31" fmla="*/ 2171700 h 2277341"/>
                <a:gd name="connsiteX32" fmla="*/ 247650 w 1381125"/>
                <a:gd name="connsiteY32" fmla="*/ 2190750 h 2277341"/>
                <a:gd name="connsiteX33" fmla="*/ 200025 w 1381125"/>
                <a:gd name="connsiteY33" fmla="*/ 2209800 h 2277341"/>
                <a:gd name="connsiteX34" fmla="*/ 161925 w 1381125"/>
                <a:gd name="connsiteY34" fmla="*/ 2228850 h 2277341"/>
                <a:gd name="connsiteX35" fmla="*/ 66675 w 1381125"/>
                <a:gd name="connsiteY35" fmla="*/ 2257425 h 2277341"/>
                <a:gd name="connsiteX36" fmla="*/ 0 w 1381125"/>
                <a:gd name="connsiteY36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333375 w 1381125"/>
                <a:gd name="connsiteY29" fmla="*/ 2133600 h 2277341"/>
                <a:gd name="connsiteX30" fmla="*/ 276225 w 1381125"/>
                <a:gd name="connsiteY30" fmla="*/ 2171700 h 2277341"/>
                <a:gd name="connsiteX31" fmla="*/ 247650 w 1381125"/>
                <a:gd name="connsiteY31" fmla="*/ 2190750 h 2277341"/>
                <a:gd name="connsiteX32" fmla="*/ 200025 w 1381125"/>
                <a:gd name="connsiteY32" fmla="*/ 2209800 h 2277341"/>
                <a:gd name="connsiteX33" fmla="*/ 161925 w 1381125"/>
                <a:gd name="connsiteY33" fmla="*/ 2228850 h 2277341"/>
                <a:gd name="connsiteX34" fmla="*/ 66675 w 1381125"/>
                <a:gd name="connsiteY34" fmla="*/ 2257425 h 2277341"/>
                <a:gd name="connsiteX35" fmla="*/ 0 w 1381125"/>
                <a:gd name="connsiteY35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276225 w 1381125"/>
                <a:gd name="connsiteY29" fmla="*/ 2171700 h 2277341"/>
                <a:gd name="connsiteX30" fmla="*/ 247650 w 1381125"/>
                <a:gd name="connsiteY30" fmla="*/ 2190750 h 2277341"/>
                <a:gd name="connsiteX31" fmla="*/ 200025 w 1381125"/>
                <a:gd name="connsiteY31" fmla="*/ 2209800 h 2277341"/>
                <a:gd name="connsiteX32" fmla="*/ 161925 w 1381125"/>
                <a:gd name="connsiteY32" fmla="*/ 2228850 h 2277341"/>
                <a:gd name="connsiteX33" fmla="*/ 66675 w 1381125"/>
                <a:gd name="connsiteY33" fmla="*/ 2257425 h 2277341"/>
                <a:gd name="connsiteX34" fmla="*/ 0 w 1381125"/>
                <a:gd name="connsiteY34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276225 w 1381125"/>
                <a:gd name="connsiteY29" fmla="*/ 2171700 h 2277341"/>
                <a:gd name="connsiteX30" fmla="*/ 200025 w 1381125"/>
                <a:gd name="connsiteY30" fmla="*/ 2209800 h 2277341"/>
                <a:gd name="connsiteX31" fmla="*/ 161925 w 1381125"/>
                <a:gd name="connsiteY31" fmla="*/ 2228850 h 2277341"/>
                <a:gd name="connsiteX32" fmla="*/ 66675 w 1381125"/>
                <a:gd name="connsiteY32" fmla="*/ 2257425 h 2277341"/>
                <a:gd name="connsiteX33" fmla="*/ 0 w 1381125"/>
                <a:gd name="connsiteY33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276225 w 1381125"/>
                <a:gd name="connsiteY29" fmla="*/ 2171700 h 2277341"/>
                <a:gd name="connsiteX30" fmla="*/ 200025 w 1381125"/>
                <a:gd name="connsiteY30" fmla="*/ 2209800 h 2277341"/>
                <a:gd name="connsiteX31" fmla="*/ 66675 w 1381125"/>
                <a:gd name="connsiteY31" fmla="*/ 2257425 h 2277341"/>
                <a:gd name="connsiteX32" fmla="*/ 0 w 1381125"/>
                <a:gd name="connsiteY3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476250 w 1381125"/>
                <a:gd name="connsiteY26" fmla="*/ 2028825 h 2277341"/>
                <a:gd name="connsiteX27" fmla="*/ 390525 w 1381125"/>
                <a:gd name="connsiteY27" fmla="*/ 2085975 h 2277341"/>
                <a:gd name="connsiteX28" fmla="*/ 276225 w 1381125"/>
                <a:gd name="connsiteY28" fmla="*/ 2171700 h 2277341"/>
                <a:gd name="connsiteX29" fmla="*/ 200025 w 1381125"/>
                <a:gd name="connsiteY29" fmla="*/ 2209800 h 2277341"/>
                <a:gd name="connsiteX30" fmla="*/ 66675 w 1381125"/>
                <a:gd name="connsiteY30" fmla="*/ 2257425 h 2277341"/>
                <a:gd name="connsiteX31" fmla="*/ 0 w 1381125"/>
                <a:gd name="connsiteY31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476250 w 1381125"/>
                <a:gd name="connsiteY25" fmla="*/ 2028825 h 2277341"/>
                <a:gd name="connsiteX26" fmla="*/ 390525 w 1381125"/>
                <a:gd name="connsiteY26" fmla="*/ 2085975 h 2277341"/>
                <a:gd name="connsiteX27" fmla="*/ 276225 w 1381125"/>
                <a:gd name="connsiteY27" fmla="*/ 2171700 h 2277341"/>
                <a:gd name="connsiteX28" fmla="*/ 200025 w 1381125"/>
                <a:gd name="connsiteY28" fmla="*/ 2209800 h 2277341"/>
                <a:gd name="connsiteX29" fmla="*/ 66675 w 1381125"/>
                <a:gd name="connsiteY29" fmla="*/ 2257425 h 2277341"/>
                <a:gd name="connsiteX30" fmla="*/ 0 w 1381125"/>
                <a:gd name="connsiteY30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476250 w 1381125"/>
                <a:gd name="connsiteY24" fmla="*/ 2028825 h 2277341"/>
                <a:gd name="connsiteX25" fmla="*/ 390525 w 1381125"/>
                <a:gd name="connsiteY25" fmla="*/ 2085975 h 2277341"/>
                <a:gd name="connsiteX26" fmla="*/ 276225 w 1381125"/>
                <a:gd name="connsiteY26" fmla="*/ 2171700 h 2277341"/>
                <a:gd name="connsiteX27" fmla="*/ 200025 w 1381125"/>
                <a:gd name="connsiteY27" fmla="*/ 2209800 h 2277341"/>
                <a:gd name="connsiteX28" fmla="*/ 66675 w 1381125"/>
                <a:gd name="connsiteY28" fmla="*/ 2257425 h 2277341"/>
                <a:gd name="connsiteX29" fmla="*/ 0 w 1381125"/>
                <a:gd name="connsiteY29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476250 w 1381125"/>
                <a:gd name="connsiteY23" fmla="*/ 2028825 h 2277341"/>
                <a:gd name="connsiteX24" fmla="*/ 390525 w 1381125"/>
                <a:gd name="connsiteY24" fmla="*/ 2085975 h 2277341"/>
                <a:gd name="connsiteX25" fmla="*/ 276225 w 1381125"/>
                <a:gd name="connsiteY25" fmla="*/ 2171700 h 2277341"/>
                <a:gd name="connsiteX26" fmla="*/ 200025 w 1381125"/>
                <a:gd name="connsiteY26" fmla="*/ 2209800 h 2277341"/>
                <a:gd name="connsiteX27" fmla="*/ 66675 w 1381125"/>
                <a:gd name="connsiteY27" fmla="*/ 2257425 h 2277341"/>
                <a:gd name="connsiteX28" fmla="*/ 0 w 1381125"/>
                <a:gd name="connsiteY28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723900 w 1381125"/>
                <a:gd name="connsiteY21" fmla="*/ 1828800 h 2277341"/>
                <a:gd name="connsiteX22" fmla="*/ 476250 w 1381125"/>
                <a:gd name="connsiteY22" fmla="*/ 2028825 h 2277341"/>
                <a:gd name="connsiteX23" fmla="*/ 390525 w 1381125"/>
                <a:gd name="connsiteY23" fmla="*/ 2085975 h 2277341"/>
                <a:gd name="connsiteX24" fmla="*/ 276225 w 1381125"/>
                <a:gd name="connsiteY24" fmla="*/ 2171700 h 2277341"/>
                <a:gd name="connsiteX25" fmla="*/ 200025 w 1381125"/>
                <a:gd name="connsiteY25" fmla="*/ 2209800 h 2277341"/>
                <a:gd name="connsiteX26" fmla="*/ 66675 w 1381125"/>
                <a:gd name="connsiteY26" fmla="*/ 2257425 h 2277341"/>
                <a:gd name="connsiteX27" fmla="*/ 0 w 1381125"/>
                <a:gd name="connsiteY27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723900 w 1381125"/>
                <a:gd name="connsiteY20" fmla="*/ 1828800 h 2277341"/>
                <a:gd name="connsiteX21" fmla="*/ 476250 w 1381125"/>
                <a:gd name="connsiteY21" fmla="*/ 2028825 h 2277341"/>
                <a:gd name="connsiteX22" fmla="*/ 390525 w 1381125"/>
                <a:gd name="connsiteY22" fmla="*/ 2085975 h 2277341"/>
                <a:gd name="connsiteX23" fmla="*/ 276225 w 1381125"/>
                <a:gd name="connsiteY23" fmla="*/ 2171700 h 2277341"/>
                <a:gd name="connsiteX24" fmla="*/ 200025 w 1381125"/>
                <a:gd name="connsiteY24" fmla="*/ 2209800 h 2277341"/>
                <a:gd name="connsiteX25" fmla="*/ 66675 w 1381125"/>
                <a:gd name="connsiteY25" fmla="*/ 2257425 h 2277341"/>
                <a:gd name="connsiteX26" fmla="*/ 0 w 1381125"/>
                <a:gd name="connsiteY26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723900 w 1381125"/>
                <a:gd name="connsiteY19" fmla="*/ 1828800 h 2277341"/>
                <a:gd name="connsiteX20" fmla="*/ 476250 w 1381125"/>
                <a:gd name="connsiteY20" fmla="*/ 2028825 h 2277341"/>
                <a:gd name="connsiteX21" fmla="*/ 390525 w 1381125"/>
                <a:gd name="connsiteY21" fmla="*/ 2085975 h 2277341"/>
                <a:gd name="connsiteX22" fmla="*/ 276225 w 1381125"/>
                <a:gd name="connsiteY22" fmla="*/ 2171700 h 2277341"/>
                <a:gd name="connsiteX23" fmla="*/ 200025 w 1381125"/>
                <a:gd name="connsiteY23" fmla="*/ 2209800 h 2277341"/>
                <a:gd name="connsiteX24" fmla="*/ 66675 w 1381125"/>
                <a:gd name="connsiteY24" fmla="*/ 2257425 h 2277341"/>
                <a:gd name="connsiteX25" fmla="*/ 0 w 1381125"/>
                <a:gd name="connsiteY25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085850 w 1381125"/>
                <a:gd name="connsiteY17" fmla="*/ 1343025 h 2277341"/>
                <a:gd name="connsiteX18" fmla="*/ 723900 w 1381125"/>
                <a:gd name="connsiteY18" fmla="*/ 1828800 h 2277341"/>
                <a:gd name="connsiteX19" fmla="*/ 476250 w 1381125"/>
                <a:gd name="connsiteY19" fmla="*/ 2028825 h 2277341"/>
                <a:gd name="connsiteX20" fmla="*/ 390525 w 1381125"/>
                <a:gd name="connsiteY20" fmla="*/ 2085975 h 2277341"/>
                <a:gd name="connsiteX21" fmla="*/ 276225 w 1381125"/>
                <a:gd name="connsiteY21" fmla="*/ 2171700 h 2277341"/>
                <a:gd name="connsiteX22" fmla="*/ 200025 w 1381125"/>
                <a:gd name="connsiteY22" fmla="*/ 2209800 h 2277341"/>
                <a:gd name="connsiteX23" fmla="*/ 66675 w 1381125"/>
                <a:gd name="connsiteY23" fmla="*/ 2257425 h 2277341"/>
                <a:gd name="connsiteX24" fmla="*/ 0 w 1381125"/>
                <a:gd name="connsiteY24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71575 w 1381125"/>
                <a:gd name="connsiteY13" fmla="*/ 1133475 h 2277341"/>
                <a:gd name="connsiteX14" fmla="*/ 1162050 w 1381125"/>
                <a:gd name="connsiteY14" fmla="*/ 1171575 h 2277341"/>
                <a:gd name="connsiteX15" fmla="*/ 1133475 w 1381125"/>
                <a:gd name="connsiteY15" fmla="*/ 1200150 h 2277341"/>
                <a:gd name="connsiteX16" fmla="*/ 1085850 w 1381125"/>
                <a:gd name="connsiteY16" fmla="*/ 1343025 h 2277341"/>
                <a:gd name="connsiteX17" fmla="*/ 723900 w 1381125"/>
                <a:gd name="connsiteY17" fmla="*/ 1828800 h 2277341"/>
                <a:gd name="connsiteX18" fmla="*/ 476250 w 1381125"/>
                <a:gd name="connsiteY18" fmla="*/ 2028825 h 2277341"/>
                <a:gd name="connsiteX19" fmla="*/ 390525 w 1381125"/>
                <a:gd name="connsiteY19" fmla="*/ 2085975 h 2277341"/>
                <a:gd name="connsiteX20" fmla="*/ 276225 w 1381125"/>
                <a:gd name="connsiteY20" fmla="*/ 2171700 h 2277341"/>
                <a:gd name="connsiteX21" fmla="*/ 200025 w 1381125"/>
                <a:gd name="connsiteY21" fmla="*/ 2209800 h 2277341"/>
                <a:gd name="connsiteX22" fmla="*/ 66675 w 1381125"/>
                <a:gd name="connsiteY22" fmla="*/ 2257425 h 2277341"/>
                <a:gd name="connsiteX23" fmla="*/ 0 w 1381125"/>
                <a:gd name="connsiteY23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71575 w 1381125"/>
                <a:gd name="connsiteY13" fmla="*/ 1133475 h 2277341"/>
                <a:gd name="connsiteX14" fmla="*/ 1162050 w 1381125"/>
                <a:gd name="connsiteY14" fmla="*/ 1171575 h 2277341"/>
                <a:gd name="connsiteX15" fmla="*/ 1085850 w 1381125"/>
                <a:gd name="connsiteY15" fmla="*/ 1343025 h 2277341"/>
                <a:gd name="connsiteX16" fmla="*/ 723900 w 1381125"/>
                <a:gd name="connsiteY16" fmla="*/ 1828800 h 2277341"/>
                <a:gd name="connsiteX17" fmla="*/ 476250 w 1381125"/>
                <a:gd name="connsiteY17" fmla="*/ 2028825 h 2277341"/>
                <a:gd name="connsiteX18" fmla="*/ 390525 w 1381125"/>
                <a:gd name="connsiteY18" fmla="*/ 2085975 h 2277341"/>
                <a:gd name="connsiteX19" fmla="*/ 276225 w 1381125"/>
                <a:gd name="connsiteY19" fmla="*/ 2171700 h 2277341"/>
                <a:gd name="connsiteX20" fmla="*/ 200025 w 1381125"/>
                <a:gd name="connsiteY20" fmla="*/ 2209800 h 2277341"/>
                <a:gd name="connsiteX21" fmla="*/ 66675 w 1381125"/>
                <a:gd name="connsiteY21" fmla="*/ 2257425 h 2277341"/>
                <a:gd name="connsiteX22" fmla="*/ 0 w 1381125"/>
                <a:gd name="connsiteY2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71575 w 1381125"/>
                <a:gd name="connsiteY13" fmla="*/ 1133475 h 2277341"/>
                <a:gd name="connsiteX14" fmla="*/ 1085850 w 1381125"/>
                <a:gd name="connsiteY14" fmla="*/ 1343025 h 2277341"/>
                <a:gd name="connsiteX15" fmla="*/ 723900 w 1381125"/>
                <a:gd name="connsiteY15" fmla="*/ 1828800 h 2277341"/>
                <a:gd name="connsiteX16" fmla="*/ 476250 w 1381125"/>
                <a:gd name="connsiteY16" fmla="*/ 2028825 h 2277341"/>
                <a:gd name="connsiteX17" fmla="*/ 390525 w 1381125"/>
                <a:gd name="connsiteY17" fmla="*/ 2085975 h 2277341"/>
                <a:gd name="connsiteX18" fmla="*/ 276225 w 1381125"/>
                <a:gd name="connsiteY18" fmla="*/ 2171700 h 2277341"/>
                <a:gd name="connsiteX19" fmla="*/ 200025 w 1381125"/>
                <a:gd name="connsiteY19" fmla="*/ 2209800 h 2277341"/>
                <a:gd name="connsiteX20" fmla="*/ 66675 w 1381125"/>
                <a:gd name="connsiteY20" fmla="*/ 2257425 h 2277341"/>
                <a:gd name="connsiteX21" fmla="*/ 0 w 1381125"/>
                <a:gd name="connsiteY21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47775 w 1381125"/>
                <a:gd name="connsiteY10" fmla="*/ 895350 h 2277341"/>
                <a:gd name="connsiteX11" fmla="*/ 1238250 w 1381125"/>
                <a:gd name="connsiteY11" fmla="*/ 962025 h 2277341"/>
                <a:gd name="connsiteX12" fmla="*/ 1171575 w 1381125"/>
                <a:gd name="connsiteY12" fmla="*/ 1133475 h 2277341"/>
                <a:gd name="connsiteX13" fmla="*/ 1085850 w 1381125"/>
                <a:gd name="connsiteY13" fmla="*/ 1343025 h 2277341"/>
                <a:gd name="connsiteX14" fmla="*/ 723900 w 1381125"/>
                <a:gd name="connsiteY14" fmla="*/ 1828800 h 2277341"/>
                <a:gd name="connsiteX15" fmla="*/ 476250 w 1381125"/>
                <a:gd name="connsiteY15" fmla="*/ 2028825 h 2277341"/>
                <a:gd name="connsiteX16" fmla="*/ 390525 w 1381125"/>
                <a:gd name="connsiteY16" fmla="*/ 2085975 h 2277341"/>
                <a:gd name="connsiteX17" fmla="*/ 276225 w 1381125"/>
                <a:gd name="connsiteY17" fmla="*/ 2171700 h 2277341"/>
                <a:gd name="connsiteX18" fmla="*/ 200025 w 1381125"/>
                <a:gd name="connsiteY18" fmla="*/ 2209800 h 2277341"/>
                <a:gd name="connsiteX19" fmla="*/ 66675 w 1381125"/>
                <a:gd name="connsiteY19" fmla="*/ 2257425 h 2277341"/>
                <a:gd name="connsiteX20" fmla="*/ 0 w 1381125"/>
                <a:gd name="connsiteY20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76350 w 1381125"/>
                <a:gd name="connsiteY8" fmla="*/ 771525 h 2277341"/>
                <a:gd name="connsiteX9" fmla="*/ 1247775 w 1381125"/>
                <a:gd name="connsiteY9" fmla="*/ 895350 h 2277341"/>
                <a:gd name="connsiteX10" fmla="*/ 1238250 w 1381125"/>
                <a:gd name="connsiteY10" fmla="*/ 962025 h 2277341"/>
                <a:gd name="connsiteX11" fmla="*/ 1171575 w 1381125"/>
                <a:gd name="connsiteY11" fmla="*/ 1133475 h 2277341"/>
                <a:gd name="connsiteX12" fmla="*/ 1085850 w 1381125"/>
                <a:gd name="connsiteY12" fmla="*/ 1343025 h 2277341"/>
                <a:gd name="connsiteX13" fmla="*/ 723900 w 1381125"/>
                <a:gd name="connsiteY13" fmla="*/ 1828800 h 2277341"/>
                <a:gd name="connsiteX14" fmla="*/ 476250 w 1381125"/>
                <a:gd name="connsiteY14" fmla="*/ 2028825 h 2277341"/>
                <a:gd name="connsiteX15" fmla="*/ 390525 w 1381125"/>
                <a:gd name="connsiteY15" fmla="*/ 2085975 h 2277341"/>
                <a:gd name="connsiteX16" fmla="*/ 276225 w 1381125"/>
                <a:gd name="connsiteY16" fmla="*/ 2171700 h 2277341"/>
                <a:gd name="connsiteX17" fmla="*/ 200025 w 1381125"/>
                <a:gd name="connsiteY17" fmla="*/ 2209800 h 2277341"/>
                <a:gd name="connsiteX18" fmla="*/ 66675 w 1381125"/>
                <a:gd name="connsiteY18" fmla="*/ 2257425 h 2277341"/>
                <a:gd name="connsiteX19" fmla="*/ 0 w 1381125"/>
                <a:gd name="connsiteY19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276350 w 1381125"/>
                <a:gd name="connsiteY7" fmla="*/ 771525 h 2277341"/>
                <a:gd name="connsiteX8" fmla="*/ 1247775 w 1381125"/>
                <a:gd name="connsiteY8" fmla="*/ 895350 h 2277341"/>
                <a:gd name="connsiteX9" fmla="*/ 1238250 w 1381125"/>
                <a:gd name="connsiteY9" fmla="*/ 962025 h 2277341"/>
                <a:gd name="connsiteX10" fmla="*/ 1171575 w 1381125"/>
                <a:gd name="connsiteY10" fmla="*/ 1133475 h 2277341"/>
                <a:gd name="connsiteX11" fmla="*/ 1085850 w 1381125"/>
                <a:gd name="connsiteY11" fmla="*/ 1343025 h 2277341"/>
                <a:gd name="connsiteX12" fmla="*/ 723900 w 1381125"/>
                <a:gd name="connsiteY12" fmla="*/ 1828800 h 2277341"/>
                <a:gd name="connsiteX13" fmla="*/ 476250 w 1381125"/>
                <a:gd name="connsiteY13" fmla="*/ 2028825 h 2277341"/>
                <a:gd name="connsiteX14" fmla="*/ 390525 w 1381125"/>
                <a:gd name="connsiteY14" fmla="*/ 2085975 h 2277341"/>
                <a:gd name="connsiteX15" fmla="*/ 276225 w 1381125"/>
                <a:gd name="connsiteY15" fmla="*/ 2171700 h 2277341"/>
                <a:gd name="connsiteX16" fmla="*/ 200025 w 1381125"/>
                <a:gd name="connsiteY16" fmla="*/ 2209800 h 2277341"/>
                <a:gd name="connsiteX17" fmla="*/ 66675 w 1381125"/>
                <a:gd name="connsiteY17" fmla="*/ 2257425 h 2277341"/>
                <a:gd name="connsiteX18" fmla="*/ 0 w 1381125"/>
                <a:gd name="connsiteY18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247775 w 1381125"/>
                <a:gd name="connsiteY7" fmla="*/ 895350 h 2277341"/>
                <a:gd name="connsiteX8" fmla="*/ 1238250 w 1381125"/>
                <a:gd name="connsiteY8" fmla="*/ 962025 h 2277341"/>
                <a:gd name="connsiteX9" fmla="*/ 1171575 w 1381125"/>
                <a:gd name="connsiteY9" fmla="*/ 1133475 h 2277341"/>
                <a:gd name="connsiteX10" fmla="*/ 1085850 w 1381125"/>
                <a:gd name="connsiteY10" fmla="*/ 1343025 h 2277341"/>
                <a:gd name="connsiteX11" fmla="*/ 723900 w 1381125"/>
                <a:gd name="connsiteY11" fmla="*/ 1828800 h 2277341"/>
                <a:gd name="connsiteX12" fmla="*/ 476250 w 1381125"/>
                <a:gd name="connsiteY12" fmla="*/ 2028825 h 2277341"/>
                <a:gd name="connsiteX13" fmla="*/ 390525 w 1381125"/>
                <a:gd name="connsiteY13" fmla="*/ 2085975 h 2277341"/>
                <a:gd name="connsiteX14" fmla="*/ 276225 w 1381125"/>
                <a:gd name="connsiteY14" fmla="*/ 2171700 h 2277341"/>
                <a:gd name="connsiteX15" fmla="*/ 200025 w 1381125"/>
                <a:gd name="connsiteY15" fmla="*/ 2209800 h 2277341"/>
                <a:gd name="connsiteX16" fmla="*/ 66675 w 1381125"/>
                <a:gd name="connsiteY16" fmla="*/ 2257425 h 2277341"/>
                <a:gd name="connsiteX17" fmla="*/ 0 w 1381125"/>
                <a:gd name="connsiteY17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23975 w 1381125"/>
                <a:gd name="connsiteY5" fmla="*/ 628650 h 2277341"/>
                <a:gd name="connsiteX6" fmla="*/ 1247775 w 1381125"/>
                <a:gd name="connsiteY6" fmla="*/ 895350 h 2277341"/>
                <a:gd name="connsiteX7" fmla="*/ 1238250 w 1381125"/>
                <a:gd name="connsiteY7" fmla="*/ 962025 h 2277341"/>
                <a:gd name="connsiteX8" fmla="*/ 1171575 w 1381125"/>
                <a:gd name="connsiteY8" fmla="*/ 1133475 h 2277341"/>
                <a:gd name="connsiteX9" fmla="*/ 1085850 w 1381125"/>
                <a:gd name="connsiteY9" fmla="*/ 1343025 h 2277341"/>
                <a:gd name="connsiteX10" fmla="*/ 723900 w 1381125"/>
                <a:gd name="connsiteY10" fmla="*/ 1828800 h 2277341"/>
                <a:gd name="connsiteX11" fmla="*/ 476250 w 1381125"/>
                <a:gd name="connsiteY11" fmla="*/ 2028825 h 2277341"/>
                <a:gd name="connsiteX12" fmla="*/ 390525 w 1381125"/>
                <a:gd name="connsiteY12" fmla="*/ 2085975 h 2277341"/>
                <a:gd name="connsiteX13" fmla="*/ 276225 w 1381125"/>
                <a:gd name="connsiteY13" fmla="*/ 2171700 h 2277341"/>
                <a:gd name="connsiteX14" fmla="*/ 200025 w 1381125"/>
                <a:gd name="connsiteY14" fmla="*/ 2209800 h 2277341"/>
                <a:gd name="connsiteX15" fmla="*/ 66675 w 1381125"/>
                <a:gd name="connsiteY15" fmla="*/ 2257425 h 2277341"/>
                <a:gd name="connsiteX16" fmla="*/ 0 w 1381125"/>
                <a:gd name="connsiteY16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343025 w 1381125"/>
                <a:gd name="connsiteY3" fmla="*/ 542925 h 2277341"/>
                <a:gd name="connsiteX4" fmla="*/ 1323975 w 1381125"/>
                <a:gd name="connsiteY4" fmla="*/ 628650 h 2277341"/>
                <a:gd name="connsiteX5" fmla="*/ 1247775 w 1381125"/>
                <a:gd name="connsiteY5" fmla="*/ 895350 h 2277341"/>
                <a:gd name="connsiteX6" fmla="*/ 1238250 w 1381125"/>
                <a:gd name="connsiteY6" fmla="*/ 962025 h 2277341"/>
                <a:gd name="connsiteX7" fmla="*/ 1171575 w 1381125"/>
                <a:gd name="connsiteY7" fmla="*/ 1133475 h 2277341"/>
                <a:gd name="connsiteX8" fmla="*/ 1085850 w 1381125"/>
                <a:gd name="connsiteY8" fmla="*/ 1343025 h 2277341"/>
                <a:gd name="connsiteX9" fmla="*/ 723900 w 1381125"/>
                <a:gd name="connsiteY9" fmla="*/ 1828800 h 2277341"/>
                <a:gd name="connsiteX10" fmla="*/ 476250 w 1381125"/>
                <a:gd name="connsiteY10" fmla="*/ 2028825 h 2277341"/>
                <a:gd name="connsiteX11" fmla="*/ 390525 w 1381125"/>
                <a:gd name="connsiteY11" fmla="*/ 2085975 h 2277341"/>
                <a:gd name="connsiteX12" fmla="*/ 276225 w 1381125"/>
                <a:gd name="connsiteY12" fmla="*/ 2171700 h 2277341"/>
                <a:gd name="connsiteX13" fmla="*/ 200025 w 1381125"/>
                <a:gd name="connsiteY13" fmla="*/ 2209800 h 2277341"/>
                <a:gd name="connsiteX14" fmla="*/ 66675 w 1381125"/>
                <a:gd name="connsiteY14" fmla="*/ 2257425 h 2277341"/>
                <a:gd name="connsiteX15" fmla="*/ 0 w 1381125"/>
                <a:gd name="connsiteY15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323975 w 1381125"/>
                <a:gd name="connsiteY3" fmla="*/ 628650 h 2277341"/>
                <a:gd name="connsiteX4" fmla="*/ 1247775 w 1381125"/>
                <a:gd name="connsiteY4" fmla="*/ 895350 h 2277341"/>
                <a:gd name="connsiteX5" fmla="*/ 1238250 w 1381125"/>
                <a:gd name="connsiteY5" fmla="*/ 962025 h 2277341"/>
                <a:gd name="connsiteX6" fmla="*/ 1171575 w 1381125"/>
                <a:gd name="connsiteY6" fmla="*/ 1133475 h 2277341"/>
                <a:gd name="connsiteX7" fmla="*/ 1085850 w 1381125"/>
                <a:gd name="connsiteY7" fmla="*/ 1343025 h 2277341"/>
                <a:gd name="connsiteX8" fmla="*/ 723900 w 1381125"/>
                <a:gd name="connsiteY8" fmla="*/ 1828800 h 2277341"/>
                <a:gd name="connsiteX9" fmla="*/ 476250 w 1381125"/>
                <a:gd name="connsiteY9" fmla="*/ 2028825 h 2277341"/>
                <a:gd name="connsiteX10" fmla="*/ 390525 w 1381125"/>
                <a:gd name="connsiteY10" fmla="*/ 2085975 h 2277341"/>
                <a:gd name="connsiteX11" fmla="*/ 276225 w 1381125"/>
                <a:gd name="connsiteY11" fmla="*/ 2171700 h 2277341"/>
                <a:gd name="connsiteX12" fmla="*/ 200025 w 1381125"/>
                <a:gd name="connsiteY12" fmla="*/ 2209800 h 2277341"/>
                <a:gd name="connsiteX13" fmla="*/ 66675 w 1381125"/>
                <a:gd name="connsiteY13" fmla="*/ 2257425 h 2277341"/>
                <a:gd name="connsiteX14" fmla="*/ 0 w 1381125"/>
                <a:gd name="connsiteY14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47775 w 1381125"/>
                <a:gd name="connsiteY3" fmla="*/ 895350 h 2277341"/>
                <a:gd name="connsiteX4" fmla="*/ 1238250 w 1381125"/>
                <a:gd name="connsiteY4" fmla="*/ 962025 h 2277341"/>
                <a:gd name="connsiteX5" fmla="*/ 1171575 w 1381125"/>
                <a:gd name="connsiteY5" fmla="*/ 1133475 h 2277341"/>
                <a:gd name="connsiteX6" fmla="*/ 1085850 w 1381125"/>
                <a:gd name="connsiteY6" fmla="*/ 1343025 h 2277341"/>
                <a:gd name="connsiteX7" fmla="*/ 723900 w 1381125"/>
                <a:gd name="connsiteY7" fmla="*/ 1828800 h 2277341"/>
                <a:gd name="connsiteX8" fmla="*/ 476250 w 1381125"/>
                <a:gd name="connsiteY8" fmla="*/ 2028825 h 2277341"/>
                <a:gd name="connsiteX9" fmla="*/ 390525 w 1381125"/>
                <a:gd name="connsiteY9" fmla="*/ 2085975 h 2277341"/>
                <a:gd name="connsiteX10" fmla="*/ 276225 w 1381125"/>
                <a:gd name="connsiteY10" fmla="*/ 2171700 h 2277341"/>
                <a:gd name="connsiteX11" fmla="*/ 200025 w 1381125"/>
                <a:gd name="connsiteY11" fmla="*/ 2209800 h 2277341"/>
                <a:gd name="connsiteX12" fmla="*/ 66675 w 1381125"/>
                <a:gd name="connsiteY12" fmla="*/ 2257425 h 2277341"/>
                <a:gd name="connsiteX13" fmla="*/ 0 w 1381125"/>
                <a:gd name="connsiteY13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47775 w 1381125"/>
                <a:gd name="connsiteY3" fmla="*/ 895350 h 2277341"/>
                <a:gd name="connsiteX4" fmla="*/ 1171575 w 1381125"/>
                <a:gd name="connsiteY4" fmla="*/ 1133475 h 2277341"/>
                <a:gd name="connsiteX5" fmla="*/ 1085850 w 1381125"/>
                <a:gd name="connsiteY5" fmla="*/ 1343025 h 2277341"/>
                <a:gd name="connsiteX6" fmla="*/ 723900 w 1381125"/>
                <a:gd name="connsiteY6" fmla="*/ 1828800 h 2277341"/>
                <a:gd name="connsiteX7" fmla="*/ 476250 w 1381125"/>
                <a:gd name="connsiteY7" fmla="*/ 2028825 h 2277341"/>
                <a:gd name="connsiteX8" fmla="*/ 390525 w 1381125"/>
                <a:gd name="connsiteY8" fmla="*/ 2085975 h 2277341"/>
                <a:gd name="connsiteX9" fmla="*/ 276225 w 1381125"/>
                <a:gd name="connsiteY9" fmla="*/ 2171700 h 2277341"/>
                <a:gd name="connsiteX10" fmla="*/ 200025 w 1381125"/>
                <a:gd name="connsiteY10" fmla="*/ 2209800 h 2277341"/>
                <a:gd name="connsiteX11" fmla="*/ 66675 w 1381125"/>
                <a:gd name="connsiteY11" fmla="*/ 2257425 h 2277341"/>
                <a:gd name="connsiteX12" fmla="*/ 0 w 1381125"/>
                <a:gd name="connsiteY1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76350 w 1381125"/>
                <a:gd name="connsiteY3" fmla="*/ 876300 h 2277341"/>
                <a:gd name="connsiteX4" fmla="*/ 1171575 w 1381125"/>
                <a:gd name="connsiteY4" fmla="*/ 1133475 h 2277341"/>
                <a:gd name="connsiteX5" fmla="*/ 1085850 w 1381125"/>
                <a:gd name="connsiteY5" fmla="*/ 1343025 h 2277341"/>
                <a:gd name="connsiteX6" fmla="*/ 723900 w 1381125"/>
                <a:gd name="connsiteY6" fmla="*/ 1828800 h 2277341"/>
                <a:gd name="connsiteX7" fmla="*/ 476250 w 1381125"/>
                <a:gd name="connsiteY7" fmla="*/ 2028825 h 2277341"/>
                <a:gd name="connsiteX8" fmla="*/ 390525 w 1381125"/>
                <a:gd name="connsiteY8" fmla="*/ 2085975 h 2277341"/>
                <a:gd name="connsiteX9" fmla="*/ 276225 w 1381125"/>
                <a:gd name="connsiteY9" fmla="*/ 2171700 h 2277341"/>
                <a:gd name="connsiteX10" fmla="*/ 200025 w 1381125"/>
                <a:gd name="connsiteY10" fmla="*/ 2209800 h 2277341"/>
                <a:gd name="connsiteX11" fmla="*/ 66675 w 1381125"/>
                <a:gd name="connsiteY11" fmla="*/ 2257425 h 2277341"/>
                <a:gd name="connsiteX12" fmla="*/ 0 w 1381125"/>
                <a:gd name="connsiteY1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76350 w 1381125"/>
                <a:gd name="connsiteY3" fmla="*/ 876300 h 2277341"/>
                <a:gd name="connsiteX4" fmla="*/ 1171575 w 1381125"/>
                <a:gd name="connsiteY4" fmla="*/ 1133475 h 2277341"/>
                <a:gd name="connsiteX5" fmla="*/ 1085850 w 1381125"/>
                <a:gd name="connsiteY5" fmla="*/ 1343025 h 2277341"/>
                <a:gd name="connsiteX6" fmla="*/ 723900 w 1381125"/>
                <a:gd name="connsiteY6" fmla="*/ 1828800 h 2277341"/>
                <a:gd name="connsiteX7" fmla="*/ 476250 w 1381125"/>
                <a:gd name="connsiteY7" fmla="*/ 2028825 h 2277341"/>
                <a:gd name="connsiteX8" fmla="*/ 390525 w 1381125"/>
                <a:gd name="connsiteY8" fmla="*/ 2085975 h 2277341"/>
                <a:gd name="connsiteX9" fmla="*/ 276225 w 1381125"/>
                <a:gd name="connsiteY9" fmla="*/ 2171700 h 2277341"/>
                <a:gd name="connsiteX10" fmla="*/ 66675 w 1381125"/>
                <a:gd name="connsiteY10" fmla="*/ 2257425 h 2277341"/>
                <a:gd name="connsiteX11" fmla="*/ 0 w 1381125"/>
                <a:gd name="connsiteY11" fmla="*/ 2276475 h 2277341"/>
                <a:gd name="connsiteX0" fmla="*/ 1381125 w 1381125"/>
                <a:gd name="connsiteY0" fmla="*/ 0 h 2276475"/>
                <a:gd name="connsiteX1" fmla="*/ 1371600 w 1381125"/>
                <a:gd name="connsiteY1" fmla="*/ 352425 h 2276475"/>
                <a:gd name="connsiteX2" fmla="*/ 1352550 w 1381125"/>
                <a:gd name="connsiteY2" fmla="*/ 504825 h 2276475"/>
                <a:gd name="connsiteX3" fmla="*/ 1276350 w 1381125"/>
                <a:gd name="connsiteY3" fmla="*/ 876300 h 2276475"/>
                <a:gd name="connsiteX4" fmla="*/ 1171575 w 1381125"/>
                <a:gd name="connsiteY4" fmla="*/ 1133475 h 2276475"/>
                <a:gd name="connsiteX5" fmla="*/ 1085850 w 1381125"/>
                <a:gd name="connsiteY5" fmla="*/ 1343025 h 2276475"/>
                <a:gd name="connsiteX6" fmla="*/ 723900 w 1381125"/>
                <a:gd name="connsiteY6" fmla="*/ 1828800 h 2276475"/>
                <a:gd name="connsiteX7" fmla="*/ 476250 w 1381125"/>
                <a:gd name="connsiteY7" fmla="*/ 2028825 h 2276475"/>
                <a:gd name="connsiteX8" fmla="*/ 390525 w 1381125"/>
                <a:gd name="connsiteY8" fmla="*/ 2085975 h 2276475"/>
                <a:gd name="connsiteX9" fmla="*/ 276225 w 1381125"/>
                <a:gd name="connsiteY9" fmla="*/ 2171700 h 2276475"/>
                <a:gd name="connsiteX10" fmla="*/ 0 w 1381125"/>
                <a:gd name="connsiteY10" fmla="*/ 2276475 h 2276475"/>
                <a:gd name="connsiteX0" fmla="*/ 1381125 w 1381125"/>
                <a:gd name="connsiteY0" fmla="*/ 0 h 2276475"/>
                <a:gd name="connsiteX1" fmla="*/ 1371600 w 1381125"/>
                <a:gd name="connsiteY1" fmla="*/ 352425 h 2276475"/>
                <a:gd name="connsiteX2" fmla="*/ 1352550 w 1381125"/>
                <a:gd name="connsiteY2" fmla="*/ 504825 h 2276475"/>
                <a:gd name="connsiteX3" fmla="*/ 1276350 w 1381125"/>
                <a:gd name="connsiteY3" fmla="*/ 876300 h 2276475"/>
                <a:gd name="connsiteX4" fmla="*/ 1171575 w 1381125"/>
                <a:gd name="connsiteY4" fmla="*/ 1133475 h 2276475"/>
                <a:gd name="connsiteX5" fmla="*/ 1085850 w 1381125"/>
                <a:gd name="connsiteY5" fmla="*/ 1343025 h 2276475"/>
                <a:gd name="connsiteX6" fmla="*/ 723900 w 1381125"/>
                <a:gd name="connsiteY6" fmla="*/ 1828800 h 2276475"/>
                <a:gd name="connsiteX7" fmla="*/ 476250 w 1381125"/>
                <a:gd name="connsiteY7" fmla="*/ 2028825 h 2276475"/>
                <a:gd name="connsiteX8" fmla="*/ 276225 w 1381125"/>
                <a:gd name="connsiteY8" fmla="*/ 2171700 h 2276475"/>
                <a:gd name="connsiteX9" fmla="*/ 0 w 1381125"/>
                <a:gd name="connsiteY9" fmla="*/ 2276475 h 2276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1125" h="2276475">
                  <a:moveTo>
                    <a:pt x="1381125" y="0"/>
                  </a:moveTo>
                  <a:cubicBezTo>
                    <a:pt x="1377950" y="117475"/>
                    <a:pt x="1376362" y="268288"/>
                    <a:pt x="1371600" y="352425"/>
                  </a:cubicBezTo>
                  <a:cubicBezTo>
                    <a:pt x="1366838" y="436562"/>
                    <a:pt x="1368425" y="417513"/>
                    <a:pt x="1352550" y="504825"/>
                  </a:cubicBezTo>
                  <a:cubicBezTo>
                    <a:pt x="1336675" y="592137"/>
                    <a:pt x="1306512" y="771525"/>
                    <a:pt x="1276350" y="876300"/>
                  </a:cubicBezTo>
                  <a:cubicBezTo>
                    <a:pt x="1246188" y="981075"/>
                    <a:pt x="1203325" y="1055688"/>
                    <a:pt x="1171575" y="1133475"/>
                  </a:cubicBezTo>
                  <a:cubicBezTo>
                    <a:pt x="1139825" y="1211262"/>
                    <a:pt x="1160462" y="1227138"/>
                    <a:pt x="1085850" y="1343025"/>
                  </a:cubicBezTo>
                  <a:cubicBezTo>
                    <a:pt x="1011238" y="1458912"/>
                    <a:pt x="825500" y="1714500"/>
                    <a:pt x="723900" y="1828800"/>
                  </a:cubicBezTo>
                  <a:cubicBezTo>
                    <a:pt x="622300" y="1943100"/>
                    <a:pt x="550863" y="1971675"/>
                    <a:pt x="476250" y="2028825"/>
                  </a:cubicBezTo>
                  <a:cubicBezTo>
                    <a:pt x="401638" y="2085975"/>
                    <a:pt x="355600" y="2130425"/>
                    <a:pt x="276225" y="2171700"/>
                  </a:cubicBezTo>
                  <a:cubicBezTo>
                    <a:pt x="196850" y="2212975"/>
                    <a:pt x="57547" y="2254647"/>
                    <a:pt x="0" y="227647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218"/>
              <a:endParaRPr lang="da-DK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0" name="Freeform: Shape 98">
              <a:extLst>
                <a:ext uri="{FF2B5EF4-FFF2-40B4-BE49-F238E27FC236}">
                  <a16:creationId xmlns:a16="http://schemas.microsoft.com/office/drawing/2014/main" id="{9E2CFC32-E50B-BECE-778B-6588DB30F015}"/>
                </a:ext>
              </a:extLst>
            </p:cNvPr>
            <p:cNvSpPr/>
            <p:nvPr/>
          </p:nvSpPr>
          <p:spPr>
            <a:xfrm>
              <a:off x="3397523" y="1888382"/>
              <a:ext cx="793477" cy="429608"/>
            </a:xfrm>
            <a:custGeom>
              <a:avLst/>
              <a:gdLst>
                <a:gd name="connsiteX0" fmla="*/ 272644 w 806044"/>
                <a:gd name="connsiteY0" fmla="*/ 28575 h 409575"/>
                <a:gd name="connsiteX1" fmla="*/ 110719 w 806044"/>
                <a:gd name="connsiteY1" fmla="*/ 9525 h 409575"/>
                <a:gd name="connsiteX2" fmla="*/ 24994 w 806044"/>
                <a:gd name="connsiteY2" fmla="*/ 0 h 409575"/>
                <a:gd name="connsiteX3" fmla="*/ 24994 w 806044"/>
                <a:gd name="connsiteY3" fmla="*/ 171450 h 409575"/>
                <a:gd name="connsiteX4" fmla="*/ 44044 w 806044"/>
                <a:gd name="connsiteY4" fmla="*/ 200025 h 409575"/>
                <a:gd name="connsiteX5" fmla="*/ 120244 w 806044"/>
                <a:gd name="connsiteY5" fmla="*/ 228600 h 409575"/>
                <a:gd name="connsiteX6" fmla="*/ 205969 w 806044"/>
                <a:gd name="connsiteY6" fmla="*/ 266700 h 409575"/>
                <a:gd name="connsiteX7" fmla="*/ 234544 w 806044"/>
                <a:gd name="connsiteY7" fmla="*/ 295275 h 409575"/>
                <a:gd name="connsiteX8" fmla="*/ 272644 w 806044"/>
                <a:gd name="connsiteY8" fmla="*/ 314325 h 409575"/>
                <a:gd name="connsiteX9" fmla="*/ 310744 w 806044"/>
                <a:gd name="connsiteY9" fmla="*/ 342900 h 409575"/>
                <a:gd name="connsiteX10" fmla="*/ 377419 w 806044"/>
                <a:gd name="connsiteY10" fmla="*/ 371475 h 409575"/>
                <a:gd name="connsiteX11" fmla="*/ 405994 w 806044"/>
                <a:gd name="connsiteY11" fmla="*/ 390525 h 409575"/>
                <a:gd name="connsiteX12" fmla="*/ 472669 w 806044"/>
                <a:gd name="connsiteY12" fmla="*/ 400050 h 409575"/>
                <a:gd name="connsiteX13" fmla="*/ 529819 w 806044"/>
                <a:gd name="connsiteY13" fmla="*/ 409575 h 409575"/>
                <a:gd name="connsiteX14" fmla="*/ 786994 w 806044"/>
                <a:gd name="connsiteY14" fmla="*/ 371475 h 409575"/>
                <a:gd name="connsiteX15" fmla="*/ 806044 w 806044"/>
                <a:gd name="connsiteY15" fmla="*/ 352425 h 409575"/>
                <a:gd name="connsiteX0" fmla="*/ 272644 w 806044"/>
                <a:gd name="connsiteY0" fmla="*/ 35318 h 416318"/>
                <a:gd name="connsiteX1" fmla="*/ 24994 w 806044"/>
                <a:gd name="connsiteY1" fmla="*/ 6743 h 416318"/>
                <a:gd name="connsiteX2" fmla="*/ 24994 w 806044"/>
                <a:gd name="connsiteY2" fmla="*/ 178193 h 416318"/>
                <a:gd name="connsiteX3" fmla="*/ 44044 w 806044"/>
                <a:gd name="connsiteY3" fmla="*/ 206768 h 416318"/>
                <a:gd name="connsiteX4" fmla="*/ 120244 w 806044"/>
                <a:gd name="connsiteY4" fmla="*/ 235343 h 416318"/>
                <a:gd name="connsiteX5" fmla="*/ 205969 w 806044"/>
                <a:gd name="connsiteY5" fmla="*/ 273443 h 416318"/>
                <a:gd name="connsiteX6" fmla="*/ 234544 w 806044"/>
                <a:gd name="connsiteY6" fmla="*/ 302018 h 416318"/>
                <a:gd name="connsiteX7" fmla="*/ 272644 w 806044"/>
                <a:gd name="connsiteY7" fmla="*/ 321068 h 416318"/>
                <a:gd name="connsiteX8" fmla="*/ 310744 w 806044"/>
                <a:gd name="connsiteY8" fmla="*/ 349643 h 416318"/>
                <a:gd name="connsiteX9" fmla="*/ 377419 w 806044"/>
                <a:gd name="connsiteY9" fmla="*/ 378218 h 416318"/>
                <a:gd name="connsiteX10" fmla="*/ 405994 w 806044"/>
                <a:gd name="connsiteY10" fmla="*/ 397268 h 416318"/>
                <a:gd name="connsiteX11" fmla="*/ 472669 w 806044"/>
                <a:gd name="connsiteY11" fmla="*/ 406793 h 416318"/>
                <a:gd name="connsiteX12" fmla="*/ 529819 w 806044"/>
                <a:gd name="connsiteY12" fmla="*/ 416318 h 416318"/>
                <a:gd name="connsiteX13" fmla="*/ 786994 w 806044"/>
                <a:gd name="connsiteY13" fmla="*/ 378218 h 416318"/>
                <a:gd name="connsiteX14" fmla="*/ 806044 w 806044"/>
                <a:gd name="connsiteY14" fmla="*/ 359168 h 416318"/>
                <a:gd name="connsiteX0" fmla="*/ 267874 w 801274"/>
                <a:gd name="connsiteY0" fmla="*/ 35318 h 416318"/>
                <a:gd name="connsiteX1" fmla="*/ 20224 w 801274"/>
                <a:gd name="connsiteY1" fmla="*/ 6743 h 416318"/>
                <a:gd name="connsiteX2" fmla="*/ 20224 w 801274"/>
                <a:gd name="connsiteY2" fmla="*/ 178193 h 416318"/>
                <a:gd name="connsiteX3" fmla="*/ 115474 w 801274"/>
                <a:gd name="connsiteY3" fmla="*/ 235343 h 416318"/>
                <a:gd name="connsiteX4" fmla="*/ 201199 w 801274"/>
                <a:gd name="connsiteY4" fmla="*/ 273443 h 416318"/>
                <a:gd name="connsiteX5" fmla="*/ 229774 w 801274"/>
                <a:gd name="connsiteY5" fmla="*/ 302018 h 416318"/>
                <a:gd name="connsiteX6" fmla="*/ 267874 w 801274"/>
                <a:gd name="connsiteY6" fmla="*/ 321068 h 416318"/>
                <a:gd name="connsiteX7" fmla="*/ 305974 w 801274"/>
                <a:gd name="connsiteY7" fmla="*/ 349643 h 416318"/>
                <a:gd name="connsiteX8" fmla="*/ 372649 w 801274"/>
                <a:gd name="connsiteY8" fmla="*/ 378218 h 416318"/>
                <a:gd name="connsiteX9" fmla="*/ 401224 w 801274"/>
                <a:gd name="connsiteY9" fmla="*/ 397268 h 416318"/>
                <a:gd name="connsiteX10" fmla="*/ 467899 w 801274"/>
                <a:gd name="connsiteY10" fmla="*/ 406793 h 416318"/>
                <a:gd name="connsiteX11" fmla="*/ 525049 w 801274"/>
                <a:gd name="connsiteY11" fmla="*/ 416318 h 416318"/>
                <a:gd name="connsiteX12" fmla="*/ 782224 w 801274"/>
                <a:gd name="connsiteY12" fmla="*/ 378218 h 416318"/>
                <a:gd name="connsiteX13" fmla="*/ 801274 w 801274"/>
                <a:gd name="connsiteY13" fmla="*/ 359168 h 416318"/>
                <a:gd name="connsiteX0" fmla="*/ 267874 w 801274"/>
                <a:gd name="connsiteY0" fmla="*/ 35318 h 416318"/>
                <a:gd name="connsiteX1" fmla="*/ 20224 w 801274"/>
                <a:gd name="connsiteY1" fmla="*/ 6743 h 416318"/>
                <a:gd name="connsiteX2" fmla="*/ 20224 w 801274"/>
                <a:gd name="connsiteY2" fmla="*/ 178193 h 416318"/>
                <a:gd name="connsiteX3" fmla="*/ 115474 w 801274"/>
                <a:gd name="connsiteY3" fmla="*/ 235343 h 416318"/>
                <a:gd name="connsiteX4" fmla="*/ 201199 w 801274"/>
                <a:gd name="connsiteY4" fmla="*/ 273443 h 416318"/>
                <a:gd name="connsiteX5" fmla="*/ 229774 w 801274"/>
                <a:gd name="connsiteY5" fmla="*/ 302018 h 416318"/>
                <a:gd name="connsiteX6" fmla="*/ 305974 w 801274"/>
                <a:gd name="connsiteY6" fmla="*/ 349643 h 416318"/>
                <a:gd name="connsiteX7" fmla="*/ 372649 w 801274"/>
                <a:gd name="connsiteY7" fmla="*/ 378218 h 416318"/>
                <a:gd name="connsiteX8" fmla="*/ 401224 w 801274"/>
                <a:gd name="connsiteY8" fmla="*/ 397268 h 416318"/>
                <a:gd name="connsiteX9" fmla="*/ 467899 w 801274"/>
                <a:gd name="connsiteY9" fmla="*/ 406793 h 416318"/>
                <a:gd name="connsiteX10" fmla="*/ 525049 w 801274"/>
                <a:gd name="connsiteY10" fmla="*/ 416318 h 416318"/>
                <a:gd name="connsiteX11" fmla="*/ 782224 w 801274"/>
                <a:gd name="connsiteY11" fmla="*/ 378218 h 416318"/>
                <a:gd name="connsiteX12" fmla="*/ 801274 w 801274"/>
                <a:gd name="connsiteY12" fmla="*/ 359168 h 416318"/>
                <a:gd name="connsiteX0" fmla="*/ 267874 w 801274"/>
                <a:gd name="connsiteY0" fmla="*/ 35318 h 416318"/>
                <a:gd name="connsiteX1" fmla="*/ 20224 w 801274"/>
                <a:gd name="connsiteY1" fmla="*/ 6743 h 416318"/>
                <a:gd name="connsiteX2" fmla="*/ 20224 w 801274"/>
                <a:gd name="connsiteY2" fmla="*/ 178193 h 416318"/>
                <a:gd name="connsiteX3" fmla="*/ 115474 w 801274"/>
                <a:gd name="connsiteY3" fmla="*/ 235343 h 416318"/>
                <a:gd name="connsiteX4" fmla="*/ 229774 w 801274"/>
                <a:gd name="connsiteY4" fmla="*/ 302018 h 416318"/>
                <a:gd name="connsiteX5" fmla="*/ 305974 w 801274"/>
                <a:gd name="connsiteY5" fmla="*/ 349643 h 416318"/>
                <a:gd name="connsiteX6" fmla="*/ 372649 w 801274"/>
                <a:gd name="connsiteY6" fmla="*/ 378218 h 416318"/>
                <a:gd name="connsiteX7" fmla="*/ 401224 w 801274"/>
                <a:gd name="connsiteY7" fmla="*/ 397268 h 416318"/>
                <a:gd name="connsiteX8" fmla="*/ 467899 w 801274"/>
                <a:gd name="connsiteY8" fmla="*/ 406793 h 416318"/>
                <a:gd name="connsiteX9" fmla="*/ 525049 w 801274"/>
                <a:gd name="connsiteY9" fmla="*/ 416318 h 416318"/>
                <a:gd name="connsiteX10" fmla="*/ 782224 w 801274"/>
                <a:gd name="connsiteY10" fmla="*/ 378218 h 416318"/>
                <a:gd name="connsiteX11" fmla="*/ 801274 w 801274"/>
                <a:gd name="connsiteY11" fmla="*/ 359168 h 416318"/>
                <a:gd name="connsiteX0" fmla="*/ 274324 w 807724"/>
                <a:gd name="connsiteY0" fmla="*/ 35318 h 416318"/>
                <a:gd name="connsiteX1" fmla="*/ 26674 w 807724"/>
                <a:gd name="connsiteY1" fmla="*/ 6743 h 416318"/>
                <a:gd name="connsiteX2" fmla="*/ 26674 w 807724"/>
                <a:gd name="connsiteY2" fmla="*/ 178193 h 416318"/>
                <a:gd name="connsiteX3" fmla="*/ 236224 w 807724"/>
                <a:gd name="connsiteY3" fmla="*/ 302018 h 416318"/>
                <a:gd name="connsiteX4" fmla="*/ 312424 w 807724"/>
                <a:gd name="connsiteY4" fmla="*/ 349643 h 416318"/>
                <a:gd name="connsiteX5" fmla="*/ 379099 w 807724"/>
                <a:gd name="connsiteY5" fmla="*/ 378218 h 416318"/>
                <a:gd name="connsiteX6" fmla="*/ 407674 w 807724"/>
                <a:gd name="connsiteY6" fmla="*/ 397268 h 416318"/>
                <a:gd name="connsiteX7" fmla="*/ 474349 w 807724"/>
                <a:gd name="connsiteY7" fmla="*/ 406793 h 416318"/>
                <a:gd name="connsiteX8" fmla="*/ 531499 w 807724"/>
                <a:gd name="connsiteY8" fmla="*/ 416318 h 416318"/>
                <a:gd name="connsiteX9" fmla="*/ 788674 w 807724"/>
                <a:gd name="connsiteY9" fmla="*/ 378218 h 416318"/>
                <a:gd name="connsiteX10" fmla="*/ 807724 w 807724"/>
                <a:gd name="connsiteY10" fmla="*/ 359168 h 416318"/>
                <a:gd name="connsiteX0" fmla="*/ 274324 w 807724"/>
                <a:gd name="connsiteY0" fmla="*/ 35318 h 416318"/>
                <a:gd name="connsiteX1" fmla="*/ 26674 w 807724"/>
                <a:gd name="connsiteY1" fmla="*/ 6743 h 416318"/>
                <a:gd name="connsiteX2" fmla="*/ 26674 w 807724"/>
                <a:gd name="connsiteY2" fmla="*/ 178193 h 416318"/>
                <a:gd name="connsiteX3" fmla="*/ 236224 w 807724"/>
                <a:gd name="connsiteY3" fmla="*/ 302018 h 416318"/>
                <a:gd name="connsiteX4" fmla="*/ 312424 w 807724"/>
                <a:gd name="connsiteY4" fmla="*/ 349643 h 416318"/>
                <a:gd name="connsiteX5" fmla="*/ 379099 w 807724"/>
                <a:gd name="connsiteY5" fmla="*/ 378218 h 416318"/>
                <a:gd name="connsiteX6" fmla="*/ 474349 w 807724"/>
                <a:gd name="connsiteY6" fmla="*/ 406793 h 416318"/>
                <a:gd name="connsiteX7" fmla="*/ 531499 w 807724"/>
                <a:gd name="connsiteY7" fmla="*/ 416318 h 416318"/>
                <a:gd name="connsiteX8" fmla="*/ 788674 w 807724"/>
                <a:gd name="connsiteY8" fmla="*/ 378218 h 416318"/>
                <a:gd name="connsiteX9" fmla="*/ 807724 w 807724"/>
                <a:gd name="connsiteY9" fmla="*/ 359168 h 416318"/>
                <a:gd name="connsiteX0" fmla="*/ 274324 w 807724"/>
                <a:gd name="connsiteY0" fmla="*/ 35318 h 416318"/>
                <a:gd name="connsiteX1" fmla="*/ 26674 w 807724"/>
                <a:gd name="connsiteY1" fmla="*/ 6743 h 416318"/>
                <a:gd name="connsiteX2" fmla="*/ 26674 w 807724"/>
                <a:gd name="connsiteY2" fmla="*/ 178193 h 416318"/>
                <a:gd name="connsiteX3" fmla="*/ 236224 w 807724"/>
                <a:gd name="connsiteY3" fmla="*/ 302018 h 416318"/>
                <a:gd name="connsiteX4" fmla="*/ 312424 w 807724"/>
                <a:gd name="connsiteY4" fmla="*/ 349643 h 416318"/>
                <a:gd name="connsiteX5" fmla="*/ 379099 w 807724"/>
                <a:gd name="connsiteY5" fmla="*/ 378218 h 416318"/>
                <a:gd name="connsiteX6" fmla="*/ 474349 w 807724"/>
                <a:gd name="connsiteY6" fmla="*/ 406793 h 416318"/>
                <a:gd name="connsiteX7" fmla="*/ 531499 w 807724"/>
                <a:gd name="connsiteY7" fmla="*/ 416318 h 416318"/>
                <a:gd name="connsiteX8" fmla="*/ 807724 w 807724"/>
                <a:gd name="connsiteY8" fmla="*/ 359168 h 416318"/>
                <a:gd name="connsiteX0" fmla="*/ 274324 w 807724"/>
                <a:gd name="connsiteY0" fmla="*/ 35318 h 416321"/>
                <a:gd name="connsiteX1" fmla="*/ 26674 w 807724"/>
                <a:gd name="connsiteY1" fmla="*/ 6743 h 416321"/>
                <a:gd name="connsiteX2" fmla="*/ 26674 w 807724"/>
                <a:gd name="connsiteY2" fmla="*/ 178193 h 416321"/>
                <a:gd name="connsiteX3" fmla="*/ 236224 w 807724"/>
                <a:gd name="connsiteY3" fmla="*/ 302018 h 416321"/>
                <a:gd name="connsiteX4" fmla="*/ 312424 w 807724"/>
                <a:gd name="connsiteY4" fmla="*/ 349643 h 416321"/>
                <a:gd name="connsiteX5" fmla="*/ 379099 w 807724"/>
                <a:gd name="connsiteY5" fmla="*/ 378218 h 416321"/>
                <a:gd name="connsiteX6" fmla="*/ 474349 w 807724"/>
                <a:gd name="connsiteY6" fmla="*/ 406793 h 416321"/>
                <a:gd name="connsiteX7" fmla="*/ 531499 w 807724"/>
                <a:gd name="connsiteY7" fmla="*/ 416318 h 416321"/>
                <a:gd name="connsiteX8" fmla="*/ 807724 w 807724"/>
                <a:gd name="connsiteY8" fmla="*/ 359168 h 416321"/>
                <a:gd name="connsiteX0" fmla="*/ 274324 w 807724"/>
                <a:gd name="connsiteY0" fmla="*/ 35318 h 416550"/>
                <a:gd name="connsiteX1" fmla="*/ 26674 w 807724"/>
                <a:gd name="connsiteY1" fmla="*/ 6743 h 416550"/>
                <a:gd name="connsiteX2" fmla="*/ 26674 w 807724"/>
                <a:gd name="connsiteY2" fmla="*/ 178193 h 416550"/>
                <a:gd name="connsiteX3" fmla="*/ 236224 w 807724"/>
                <a:gd name="connsiteY3" fmla="*/ 302018 h 416550"/>
                <a:gd name="connsiteX4" fmla="*/ 312424 w 807724"/>
                <a:gd name="connsiteY4" fmla="*/ 349643 h 416550"/>
                <a:gd name="connsiteX5" fmla="*/ 379099 w 807724"/>
                <a:gd name="connsiteY5" fmla="*/ 378218 h 416550"/>
                <a:gd name="connsiteX6" fmla="*/ 531499 w 807724"/>
                <a:gd name="connsiteY6" fmla="*/ 416318 h 416550"/>
                <a:gd name="connsiteX7" fmla="*/ 807724 w 807724"/>
                <a:gd name="connsiteY7" fmla="*/ 359168 h 416550"/>
                <a:gd name="connsiteX0" fmla="*/ 260902 w 794302"/>
                <a:gd name="connsiteY0" fmla="*/ 35318 h 416550"/>
                <a:gd name="connsiteX1" fmla="*/ 13252 w 794302"/>
                <a:gd name="connsiteY1" fmla="*/ 6743 h 416550"/>
                <a:gd name="connsiteX2" fmla="*/ 57702 w 794302"/>
                <a:gd name="connsiteY2" fmla="*/ 178193 h 416550"/>
                <a:gd name="connsiteX3" fmla="*/ 222802 w 794302"/>
                <a:gd name="connsiteY3" fmla="*/ 302018 h 416550"/>
                <a:gd name="connsiteX4" fmla="*/ 299002 w 794302"/>
                <a:gd name="connsiteY4" fmla="*/ 349643 h 416550"/>
                <a:gd name="connsiteX5" fmla="*/ 365677 w 794302"/>
                <a:gd name="connsiteY5" fmla="*/ 378218 h 416550"/>
                <a:gd name="connsiteX6" fmla="*/ 518077 w 794302"/>
                <a:gd name="connsiteY6" fmla="*/ 416318 h 416550"/>
                <a:gd name="connsiteX7" fmla="*/ 794302 w 794302"/>
                <a:gd name="connsiteY7" fmla="*/ 359168 h 416550"/>
                <a:gd name="connsiteX0" fmla="*/ 283127 w 794302"/>
                <a:gd name="connsiteY0" fmla="*/ 32495 h 416902"/>
                <a:gd name="connsiteX1" fmla="*/ 13252 w 794302"/>
                <a:gd name="connsiteY1" fmla="*/ 7095 h 416902"/>
                <a:gd name="connsiteX2" fmla="*/ 57702 w 794302"/>
                <a:gd name="connsiteY2" fmla="*/ 178545 h 416902"/>
                <a:gd name="connsiteX3" fmla="*/ 222802 w 794302"/>
                <a:gd name="connsiteY3" fmla="*/ 302370 h 416902"/>
                <a:gd name="connsiteX4" fmla="*/ 299002 w 794302"/>
                <a:gd name="connsiteY4" fmla="*/ 349995 h 416902"/>
                <a:gd name="connsiteX5" fmla="*/ 365677 w 794302"/>
                <a:gd name="connsiteY5" fmla="*/ 378570 h 416902"/>
                <a:gd name="connsiteX6" fmla="*/ 518077 w 794302"/>
                <a:gd name="connsiteY6" fmla="*/ 416670 h 416902"/>
                <a:gd name="connsiteX7" fmla="*/ 794302 w 794302"/>
                <a:gd name="connsiteY7" fmla="*/ 359520 h 416902"/>
                <a:gd name="connsiteX0" fmla="*/ 285241 w 796416"/>
                <a:gd name="connsiteY0" fmla="*/ 32495 h 416902"/>
                <a:gd name="connsiteX1" fmla="*/ 15366 w 796416"/>
                <a:gd name="connsiteY1" fmla="*/ 7095 h 416902"/>
                <a:gd name="connsiteX2" fmla="*/ 59816 w 796416"/>
                <a:gd name="connsiteY2" fmla="*/ 178545 h 416902"/>
                <a:gd name="connsiteX3" fmla="*/ 301116 w 796416"/>
                <a:gd name="connsiteY3" fmla="*/ 349995 h 416902"/>
                <a:gd name="connsiteX4" fmla="*/ 367791 w 796416"/>
                <a:gd name="connsiteY4" fmla="*/ 378570 h 416902"/>
                <a:gd name="connsiteX5" fmla="*/ 520191 w 796416"/>
                <a:gd name="connsiteY5" fmla="*/ 416670 h 416902"/>
                <a:gd name="connsiteX6" fmla="*/ 796416 w 796416"/>
                <a:gd name="connsiteY6" fmla="*/ 359520 h 416902"/>
                <a:gd name="connsiteX0" fmla="*/ 282302 w 793477"/>
                <a:gd name="connsiteY0" fmla="*/ 32495 h 417025"/>
                <a:gd name="connsiteX1" fmla="*/ 12427 w 793477"/>
                <a:gd name="connsiteY1" fmla="*/ 7095 h 417025"/>
                <a:gd name="connsiteX2" fmla="*/ 56877 w 793477"/>
                <a:gd name="connsiteY2" fmla="*/ 178545 h 417025"/>
                <a:gd name="connsiteX3" fmla="*/ 187052 w 793477"/>
                <a:gd name="connsiteY3" fmla="*/ 280145 h 417025"/>
                <a:gd name="connsiteX4" fmla="*/ 364852 w 793477"/>
                <a:gd name="connsiteY4" fmla="*/ 378570 h 417025"/>
                <a:gd name="connsiteX5" fmla="*/ 517252 w 793477"/>
                <a:gd name="connsiteY5" fmla="*/ 416670 h 417025"/>
                <a:gd name="connsiteX6" fmla="*/ 793477 w 793477"/>
                <a:gd name="connsiteY6" fmla="*/ 359520 h 417025"/>
                <a:gd name="connsiteX0" fmla="*/ 282302 w 793477"/>
                <a:gd name="connsiteY0" fmla="*/ 32495 h 429608"/>
                <a:gd name="connsiteX1" fmla="*/ 12427 w 793477"/>
                <a:gd name="connsiteY1" fmla="*/ 7095 h 429608"/>
                <a:gd name="connsiteX2" fmla="*/ 56877 w 793477"/>
                <a:gd name="connsiteY2" fmla="*/ 178545 h 429608"/>
                <a:gd name="connsiteX3" fmla="*/ 187052 w 793477"/>
                <a:gd name="connsiteY3" fmla="*/ 280145 h 429608"/>
                <a:gd name="connsiteX4" fmla="*/ 364852 w 793477"/>
                <a:gd name="connsiteY4" fmla="*/ 378570 h 429608"/>
                <a:gd name="connsiteX5" fmla="*/ 612502 w 793477"/>
                <a:gd name="connsiteY5" fmla="*/ 429370 h 429608"/>
                <a:gd name="connsiteX6" fmla="*/ 793477 w 793477"/>
                <a:gd name="connsiteY6" fmla="*/ 359520 h 42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477" h="429608">
                  <a:moveTo>
                    <a:pt x="282302" y="32495"/>
                  </a:moveTo>
                  <a:cubicBezTo>
                    <a:pt x="230708" y="26542"/>
                    <a:pt x="53702" y="-16717"/>
                    <a:pt x="12427" y="7095"/>
                  </a:cubicBezTo>
                  <a:cubicBezTo>
                    <a:pt x="-23773" y="79496"/>
                    <a:pt x="27773" y="133037"/>
                    <a:pt x="56877" y="178545"/>
                  </a:cubicBezTo>
                  <a:cubicBezTo>
                    <a:pt x="85981" y="224053"/>
                    <a:pt x="135723" y="246807"/>
                    <a:pt x="187052" y="280145"/>
                  </a:cubicBezTo>
                  <a:cubicBezTo>
                    <a:pt x="238381" y="313483"/>
                    <a:pt x="293944" y="353699"/>
                    <a:pt x="364852" y="378570"/>
                  </a:cubicBezTo>
                  <a:cubicBezTo>
                    <a:pt x="435760" y="403441"/>
                    <a:pt x="541065" y="432545"/>
                    <a:pt x="612502" y="429370"/>
                  </a:cubicBezTo>
                  <a:cubicBezTo>
                    <a:pt x="668064" y="421433"/>
                    <a:pt x="761330" y="441276"/>
                    <a:pt x="793477" y="35952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218"/>
              <a:endParaRPr lang="da-DK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</p:grpSp>
      <p:pic>
        <p:nvPicPr>
          <p:cNvPr id="67" name="Graphic 1069">
            <a:extLst>
              <a:ext uri="{FF2B5EF4-FFF2-40B4-BE49-F238E27FC236}">
                <a16:creationId xmlns:a16="http://schemas.microsoft.com/office/drawing/2014/main" id="{1C82E889-5943-2CE3-FCAB-1EDD308DB10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056737" y="5372176"/>
            <a:ext cx="661998" cy="387134"/>
          </a:xfrm>
          <a:prstGeom prst="rect">
            <a:avLst/>
          </a:prstGeom>
        </p:spPr>
      </p:pic>
      <p:cxnSp>
        <p:nvCxnSpPr>
          <p:cNvPr id="88" name="Lige pilforbindelse 87">
            <a:extLst>
              <a:ext uri="{FF2B5EF4-FFF2-40B4-BE49-F238E27FC236}">
                <a16:creationId xmlns:a16="http://schemas.microsoft.com/office/drawing/2014/main" id="{6EA11DB4-5C6A-F978-F808-272085BD53A8}"/>
              </a:ext>
            </a:extLst>
          </p:cNvPr>
          <p:cNvCxnSpPr>
            <a:cxnSpLocks/>
          </p:cNvCxnSpPr>
          <p:nvPr/>
        </p:nvCxnSpPr>
        <p:spPr>
          <a:xfrm>
            <a:off x="2217558" y="2243364"/>
            <a:ext cx="127789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Lige pilforbindelse 117">
            <a:extLst>
              <a:ext uri="{FF2B5EF4-FFF2-40B4-BE49-F238E27FC236}">
                <a16:creationId xmlns:a16="http://schemas.microsoft.com/office/drawing/2014/main" id="{0A6D1E08-477B-2192-A7AF-064771C81F2E}"/>
              </a:ext>
            </a:extLst>
          </p:cNvPr>
          <p:cNvCxnSpPr>
            <a:cxnSpLocks/>
          </p:cNvCxnSpPr>
          <p:nvPr/>
        </p:nvCxnSpPr>
        <p:spPr>
          <a:xfrm>
            <a:off x="2217558" y="3357651"/>
            <a:ext cx="127789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Lige pilforbindelse 118">
            <a:extLst>
              <a:ext uri="{FF2B5EF4-FFF2-40B4-BE49-F238E27FC236}">
                <a16:creationId xmlns:a16="http://schemas.microsoft.com/office/drawing/2014/main" id="{4EF9E20A-C64B-A64E-7A3B-01A91DFADD6B}"/>
              </a:ext>
            </a:extLst>
          </p:cNvPr>
          <p:cNvCxnSpPr>
            <a:cxnSpLocks/>
          </p:cNvCxnSpPr>
          <p:nvPr/>
        </p:nvCxnSpPr>
        <p:spPr>
          <a:xfrm flipV="1">
            <a:off x="2217558" y="4418701"/>
            <a:ext cx="1246126" cy="879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Lige pilforbindelse 119">
            <a:extLst>
              <a:ext uri="{FF2B5EF4-FFF2-40B4-BE49-F238E27FC236}">
                <a16:creationId xmlns:a16="http://schemas.microsoft.com/office/drawing/2014/main" id="{125F1FAD-D480-F064-F36C-6031B5BC6477}"/>
              </a:ext>
            </a:extLst>
          </p:cNvPr>
          <p:cNvCxnSpPr>
            <a:cxnSpLocks/>
          </p:cNvCxnSpPr>
          <p:nvPr/>
        </p:nvCxnSpPr>
        <p:spPr>
          <a:xfrm>
            <a:off x="2217558" y="5539877"/>
            <a:ext cx="1290727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Lige pilforbindelse 123">
            <a:extLst>
              <a:ext uri="{FF2B5EF4-FFF2-40B4-BE49-F238E27FC236}">
                <a16:creationId xmlns:a16="http://schemas.microsoft.com/office/drawing/2014/main" id="{54E4205C-B459-4A67-3CA9-BBD5B87A2F4E}"/>
              </a:ext>
            </a:extLst>
          </p:cNvPr>
          <p:cNvCxnSpPr>
            <a:cxnSpLocks/>
          </p:cNvCxnSpPr>
          <p:nvPr/>
        </p:nvCxnSpPr>
        <p:spPr>
          <a:xfrm>
            <a:off x="8723635" y="2253435"/>
            <a:ext cx="133310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Lige pilforbindelse 124">
            <a:extLst>
              <a:ext uri="{FF2B5EF4-FFF2-40B4-BE49-F238E27FC236}">
                <a16:creationId xmlns:a16="http://schemas.microsoft.com/office/drawing/2014/main" id="{E15B04D7-84BE-AF54-D87C-D5C5BE41E894}"/>
              </a:ext>
            </a:extLst>
          </p:cNvPr>
          <p:cNvCxnSpPr>
            <a:cxnSpLocks/>
          </p:cNvCxnSpPr>
          <p:nvPr/>
        </p:nvCxnSpPr>
        <p:spPr>
          <a:xfrm flipV="1">
            <a:off x="8696540" y="3411242"/>
            <a:ext cx="1309581" cy="1165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Lige pilforbindelse 125">
            <a:extLst>
              <a:ext uri="{FF2B5EF4-FFF2-40B4-BE49-F238E27FC236}">
                <a16:creationId xmlns:a16="http://schemas.microsoft.com/office/drawing/2014/main" id="{8B0F6471-13CB-5F20-4C02-213C70F480E0}"/>
              </a:ext>
            </a:extLst>
          </p:cNvPr>
          <p:cNvCxnSpPr>
            <a:cxnSpLocks/>
          </p:cNvCxnSpPr>
          <p:nvPr/>
        </p:nvCxnSpPr>
        <p:spPr>
          <a:xfrm>
            <a:off x="8714464" y="4364214"/>
            <a:ext cx="134227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4" name="Lige pilforbindelse 1023">
            <a:extLst>
              <a:ext uri="{FF2B5EF4-FFF2-40B4-BE49-F238E27FC236}">
                <a16:creationId xmlns:a16="http://schemas.microsoft.com/office/drawing/2014/main" id="{4144D4FA-1A59-399E-1836-B1566E9084DA}"/>
              </a:ext>
            </a:extLst>
          </p:cNvPr>
          <p:cNvCxnSpPr>
            <a:cxnSpLocks/>
          </p:cNvCxnSpPr>
          <p:nvPr/>
        </p:nvCxnSpPr>
        <p:spPr>
          <a:xfrm>
            <a:off x="8742912" y="5526028"/>
            <a:ext cx="1263209" cy="778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5" name="Billede 24">
            <a:extLst>
              <a:ext uri="{FF2B5EF4-FFF2-40B4-BE49-F238E27FC236}">
                <a16:creationId xmlns:a16="http://schemas.microsoft.com/office/drawing/2014/main" id="{BCA1A08A-A501-1EA8-CC0E-DE99961BE1B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270086" y="1862561"/>
            <a:ext cx="6409934" cy="3552661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D68A99E-FFB9-02DB-C318-30ADBBF6114A}"/>
              </a:ext>
            </a:extLst>
          </p:cNvPr>
          <p:cNvSpPr txBox="1"/>
          <p:nvPr/>
        </p:nvSpPr>
        <p:spPr>
          <a:xfrm>
            <a:off x="5626769" y="3651585"/>
            <a:ext cx="727911" cy="230832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900" b="1">
                <a:latin typeface="Verdana"/>
              </a:rPr>
              <a:t>Beboere</a:t>
            </a:r>
            <a:endParaRPr lang="en-US">
              <a:latin typeface="Verdana" panose="020B0604030504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452C60D-46CC-7A44-40EB-69BF64C2B72B}"/>
              </a:ext>
            </a:extLst>
          </p:cNvPr>
          <p:cNvSpPr txBox="1"/>
          <p:nvPr/>
        </p:nvSpPr>
        <p:spPr>
          <a:xfrm>
            <a:off x="4448779" y="3390899"/>
            <a:ext cx="1173980" cy="255389"/>
          </a:xfrm>
          <a:prstGeom prst="round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900" b="1">
                <a:latin typeface="Verdana"/>
              </a:rPr>
              <a:t>Ansatte</a:t>
            </a:r>
            <a:endParaRPr lang="en-US" sz="900">
              <a:latin typeface="Verdana" panose="020B0604030504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4578892-09D0-1434-2E97-73E62C1F2563}"/>
              </a:ext>
            </a:extLst>
          </p:cNvPr>
          <p:cNvSpPr txBox="1"/>
          <p:nvPr/>
        </p:nvSpPr>
        <p:spPr>
          <a:xfrm>
            <a:off x="6408821" y="3771899"/>
            <a:ext cx="1469858" cy="230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900" b="1">
                <a:latin typeface="Verdana"/>
              </a:rPr>
              <a:t>Beboerdemokrater</a:t>
            </a:r>
            <a:endParaRPr lang="en-US">
              <a:latin typeface="Verdana" panose="020B060403050404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3679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/>
      <p:bldP spid="115" grpId="0"/>
      <p:bldP spid="116" grpId="0"/>
      <p:bldP spid="117" grpId="0"/>
      <p:bldP spid="1030" grpId="0"/>
      <p:bldP spid="1031" grpId="0"/>
      <p:bldP spid="1032" grpId="0"/>
      <p:bldP spid="1033" grpId="0"/>
      <p:bldP spid="103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9FF854-1C1B-DEEE-C2DF-7D3A48A3B7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7" name="Rectangle 153">
            <a:extLst>
              <a:ext uri="{FF2B5EF4-FFF2-40B4-BE49-F238E27FC236}">
                <a16:creationId xmlns:a16="http://schemas.microsoft.com/office/drawing/2014/main" id="{01CD25E0-474C-A1BF-FB5F-4F61C6BEBA60}"/>
              </a:ext>
            </a:extLst>
          </p:cNvPr>
          <p:cNvSpPr/>
          <p:nvPr/>
        </p:nvSpPr>
        <p:spPr>
          <a:xfrm>
            <a:off x="398460" y="3171088"/>
            <a:ext cx="4799152" cy="846138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da-DK" sz="11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2F7FCB-403D-99E3-8AEA-2521D97AEA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2F7FCB-403D-99E3-8AEA-2521D97AE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FE3C6E9F-190C-3026-C63E-A000AE130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>
                <a:latin typeface="Verdana" panose="020B0604030504040204" pitchFamily="34" charset="0"/>
                <a:ea typeface="Verdana" panose="020B0604030504040204" pitchFamily="34" charset="0"/>
              </a:rPr>
              <a:t>Vores fælles data bor i Landsbyggefonden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A963BA7-DE98-44E5-F0A6-A5DA075C35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t>24</a:t>
            </a:fld>
            <a:endParaRPr lang="da-DK"/>
          </a:p>
        </p:txBody>
      </p:sp>
      <p:sp>
        <p:nvSpPr>
          <p:cNvPr id="1029" name="Text Placeholder 1028">
            <a:extLst>
              <a:ext uri="{FF2B5EF4-FFF2-40B4-BE49-F238E27FC236}">
                <a16:creationId xmlns:a16="http://schemas.microsoft.com/office/drawing/2014/main" id="{D5BCE5F4-3841-EE8E-C77E-FE9EAF4798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30" name="Text Placeholder 1029">
            <a:extLst>
              <a:ext uri="{FF2B5EF4-FFF2-40B4-BE49-F238E27FC236}">
                <a16:creationId xmlns:a16="http://schemas.microsoft.com/office/drawing/2014/main" id="{BDD189FB-EE1E-0C73-08AC-933A9B56F4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Alle målepunkterne dataunderstøttes, men med forskellige metoder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7FD70C39-CEED-2241-062A-DD2676E4004B}"/>
              </a:ext>
            </a:extLst>
          </p:cNvPr>
          <p:cNvSpPr/>
          <p:nvPr/>
        </p:nvSpPr>
        <p:spPr>
          <a:xfrm>
            <a:off x="398459" y="2190779"/>
            <a:ext cx="6353175" cy="601871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11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ores ESG data kommer fra en bred vifte af </a:t>
            </a:r>
            <a:r>
              <a:rPr lang="da-DK" sz="11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kilder: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FF1868E2-CD80-8794-D0D8-422A1230930E}"/>
              </a:ext>
            </a:extLst>
          </p:cNvPr>
          <p:cNvSpPr/>
          <p:nvPr/>
        </p:nvSpPr>
        <p:spPr>
          <a:xfrm>
            <a:off x="6888324" y="2190780"/>
            <a:ext cx="4760417" cy="624096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11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t Almene Datavarehus </a:t>
            </a:r>
            <a:r>
              <a:rPr lang="da-DK" sz="11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r en central platform, der samler, strukturerer og udstiller data til vores målepunkter….</a:t>
            </a:r>
          </a:p>
          <a:p>
            <a:r>
              <a:rPr lang="da-DK" sz="11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</a:t>
            </a:r>
            <a:r>
              <a:rPr lang="da-DK" sz="1100" b="0" i="0" u="none" strike="noStrike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g gør os i stand til at arbejde </a:t>
            </a:r>
            <a:r>
              <a:rPr lang="da-DK" sz="11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drevet med ESG</a:t>
            </a:r>
            <a:endParaRPr lang="da-DK" sz="1100" b="0" i="0" u="none" strike="noStrike"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B1C349E-9360-BB0B-67D0-BE2B1A30714B}"/>
              </a:ext>
            </a:extLst>
          </p:cNvPr>
          <p:cNvGrpSpPr/>
          <p:nvPr/>
        </p:nvGrpSpPr>
        <p:grpSpPr>
          <a:xfrm>
            <a:off x="4635818" y="3394949"/>
            <a:ext cx="379410" cy="432074"/>
            <a:chOff x="3395346" y="1880433"/>
            <a:chExt cx="1633885" cy="2089588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051995F-A00F-4625-78B8-61ADC865E43B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1F9F496-D92B-B342-77C3-0839AA002E5A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25A55C7-CC52-C6D6-3F0C-9F2860A6F565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CB6348B-BE8E-EECA-AA31-2B7C7DB2A4FE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da-DK" sz="1400">
                  <a:latin typeface="Verdana" panose="020B0604030504040204" pitchFamily="34" charset="0"/>
                  <a:ea typeface="Verdana" panose="020B0604030504040204" pitchFamily="34" charset="0"/>
                </a:rPr>
                <a:t>…</a:t>
              </a: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987E240-4269-84AF-D1C4-7973666CB404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9BADED9-EC9A-5FDA-0E2B-20B5BB2759F4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EAE186B-5112-0D58-D030-BFAFD10CC378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925624E-6308-8EDA-0843-EAD97408FCD6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777EDA7-FB8A-04A3-D90E-5B6CDE12EAFE}"/>
              </a:ext>
            </a:extLst>
          </p:cNvPr>
          <p:cNvGrpSpPr/>
          <p:nvPr/>
        </p:nvGrpSpPr>
        <p:grpSpPr>
          <a:xfrm>
            <a:off x="4104342" y="3395773"/>
            <a:ext cx="381594" cy="416084"/>
            <a:chOff x="3395346" y="1880433"/>
            <a:chExt cx="1633885" cy="2089588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12DB3BC-E5F5-6C43-BF08-3BFEA31F6936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E8A5D17-C66B-BB6C-176B-0DF63933A161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6119504-0303-3023-15B1-08D3456387C2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1EC716C-2D06-8EFC-D1C4-5814CD670562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da-DK" sz="1400">
                  <a:latin typeface="Verdana" panose="020B0604030504040204" pitchFamily="34" charset="0"/>
                  <a:ea typeface="Verdana" panose="020B0604030504040204" pitchFamily="34" charset="0"/>
                </a:rPr>
                <a:t>…</a:t>
              </a: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FD14BA0-0667-115A-B9EC-69C88A6EC318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A5F99E3-18DF-113D-BB0E-84F2DCB4BB67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4787ADB-A7D5-35F2-AF6E-723351386D83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357175E-46D3-286E-E9AF-E5076E95AE6C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EA29B91-3775-323F-81F2-AC7B9D558BC5}"/>
              </a:ext>
            </a:extLst>
          </p:cNvPr>
          <p:cNvGrpSpPr/>
          <p:nvPr/>
        </p:nvGrpSpPr>
        <p:grpSpPr>
          <a:xfrm>
            <a:off x="3575047" y="3394948"/>
            <a:ext cx="381594" cy="409287"/>
            <a:chOff x="3395346" y="1880433"/>
            <a:chExt cx="1633885" cy="2089588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E962BA29-AF43-6567-B07F-F5F43DA02B2F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BC96B58-DDC7-8AB8-92E0-50D641587A8B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2D02AEC-F231-5990-A878-C576B8426948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3153CA61-6E29-75D4-18A8-190C473AFAFF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FACCD0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da-DK" sz="1400">
                  <a:latin typeface="Verdana" panose="020B0604030504040204" pitchFamily="34" charset="0"/>
                  <a:ea typeface="Verdana" panose="020B0604030504040204" pitchFamily="34" charset="0"/>
                </a:rPr>
                <a:t>…</a:t>
              </a: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B658159-182B-4BBE-74A8-236930A037C6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E7779DD8-2BF0-3DEA-742B-86C16A116CC3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E6B662F-0427-A40B-2B1A-F3470E87AF18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C14D2465-42BC-A85D-B7B5-721AD2D15587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sp>
        <p:nvSpPr>
          <p:cNvPr id="152" name="Freeform: Shape 151">
            <a:extLst>
              <a:ext uri="{FF2B5EF4-FFF2-40B4-BE49-F238E27FC236}">
                <a16:creationId xmlns:a16="http://schemas.microsoft.com/office/drawing/2014/main" id="{AE611869-04FF-8D55-D384-B1C5F266D083}"/>
              </a:ext>
            </a:extLst>
          </p:cNvPr>
          <p:cNvSpPr/>
          <p:nvPr/>
        </p:nvSpPr>
        <p:spPr>
          <a:xfrm flipV="1">
            <a:off x="9387597" y="4469501"/>
            <a:ext cx="2199418" cy="594861"/>
          </a:xfrm>
          <a:custGeom>
            <a:avLst/>
            <a:gdLst>
              <a:gd name="connsiteX0" fmla="*/ 0 w 1032694"/>
              <a:gd name="connsiteY0" fmla="*/ 23748 h 628035"/>
              <a:gd name="connsiteX1" fmla="*/ 45720 w 1032694"/>
              <a:gd name="connsiteY1" fmla="*/ 16128 h 628035"/>
              <a:gd name="connsiteX2" fmla="*/ 202406 w 1032694"/>
              <a:gd name="connsiteY2" fmla="*/ 1841 h 628035"/>
              <a:gd name="connsiteX3" fmla="*/ 312420 w 1032694"/>
              <a:gd name="connsiteY3" fmla="*/ 61848 h 628035"/>
              <a:gd name="connsiteX4" fmla="*/ 411480 w 1032694"/>
              <a:gd name="connsiteY4" fmla="*/ 237108 h 628035"/>
              <a:gd name="connsiteX5" fmla="*/ 444341 w 1032694"/>
              <a:gd name="connsiteY5" fmla="*/ 431894 h 628035"/>
              <a:gd name="connsiteX6" fmla="*/ 422910 w 1032694"/>
              <a:gd name="connsiteY6" fmla="*/ 599533 h 628035"/>
              <a:gd name="connsiteX7" fmla="*/ 270986 w 1032694"/>
              <a:gd name="connsiteY7" fmla="*/ 608583 h 628035"/>
              <a:gd name="connsiteX8" fmla="*/ 228600 w 1032694"/>
              <a:gd name="connsiteY8" fmla="*/ 480948 h 628035"/>
              <a:gd name="connsiteX9" fmla="*/ 236220 w 1032694"/>
              <a:gd name="connsiteY9" fmla="*/ 320928 h 628035"/>
              <a:gd name="connsiteX10" fmla="*/ 396240 w 1032694"/>
              <a:gd name="connsiteY10" fmla="*/ 282828 h 628035"/>
              <a:gd name="connsiteX11" fmla="*/ 487680 w 1032694"/>
              <a:gd name="connsiteY11" fmla="*/ 305688 h 628035"/>
              <a:gd name="connsiteX12" fmla="*/ 576693 w 1032694"/>
              <a:gd name="connsiteY12" fmla="*/ 440317 h 628035"/>
              <a:gd name="connsiteX13" fmla="*/ 793708 w 1032694"/>
              <a:gd name="connsiteY13" fmla="*/ 530175 h 628035"/>
              <a:gd name="connsiteX14" fmla="*/ 1032694 w 1032694"/>
              <a:gd name="connsiteY14" fmla="*/ 523188 h 628035"/>
              <a:gd name="connsiteX15" fmla="*/ 754380 w 754380"/>
              <a:gd name="connsiteY15" fmla="*/ 430406 h 577091"/>
              <a:gd name="connsiteX16" fmla="*/ 754380 w 754380"/>
              <a:gd name="connsiteY16" fmla="*/ 430406 h 577091"/>
              <a:gd name="connsiteX17" fmla="*/ 754380 w 754380"/>
              <a:gd name="connsiteY17" fmla="*/ 430406 h 577091"/>
              <a:gd name="connsiteX18" fmla="*/ 754380 w 754380"/>
              <a:gd name="connsiteY18" fmla="*/ 430406 h 577091"/>
              <a:gd name="connsiteX19" fmla="*/ 754380 w 754380"/>
              <a:gd name="connsiteY19" fmla="*/ 428733 h 575418"/>
              <a:gd name="connsiteX20" fmla="*/ 754380 w 754380"/>
              <a:gd name="connsiteY20" fmla="*/ 428733 h 575418"/>
              <a:gd name="connsiteX21" fmla="*/ 754380 w 754380"/>
              <a:gd name="connsiteY21" fmla="*/ 441960 h 588645"/>
              <a:gd name="connsiteX22" fmla="*/ 754380 w 754380"/>
              <a:gd name="connsiteY22" fmla="*/ 441960 h 588645"/>
              <a:gd name="connsiteX23" fmla="*/ 754380 w 754380"/>
              <a:gd name="connsiteY23" fmla="*/ 441960 h 588645"/>
              <a:gd name="connsiteX24" fmla="*/ 754380 w 754380"/>
              <a:gd name="connsiteY24" fmla="*/ 441960 h 579120"/>
              <a:gd name="connsiteX25" fmla="*/ 754380 w 754380"/>
              <a:gd name="connsiteY25" fmla="*/ 441960 h 579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32694" h="628035">
                <a:moveTo>
                  <a:pt x="0" y="23748"/>
                </a:moveTo>
                <a:cubicBezTo>
                  <a:pt x="15240" y="21208"/>
                  <a:pt x="11986" y="19779"/>
                  <a:pt x="45720" y="16128"/>
                </a:cubicBezTo>
                <a:cubicBezTo>
                  <a:pt x="79454" y="12477"/>
                  <a:pt x="157956" y="-5779"/>
                  <a:pt x="202406" y="1841"/>
                </a:cubicBezTo>
                <a:cubicBezTo>
                  <a:pt x="246856" y="9461"/>
                  <a:pt x="281940" y="25018"/>
                  <a:pt x="312420" y="61848"/>
                </a:cubicBezTo>
                <a:cubicBezTo>
                  <a:pt x="342900" y="98678"/>
                  <a:pt x="389493" y="175434"/>
                  <a:pt x="411480" y="237108"/>
                </a:cubicBezTo>
                <a:cubicBezTo>
                  <a:pt x="433467" y="298782"/>
                  <a:pt x="442436" y="371490"/>
                  <a:pt x="444341" y="431894"/>
                </a:cubicBezTo>
                <a:cubicBezTo>
                  <a:pt x="446246" y="492298"/>
                  <a:pt x="451802" y="570085"/>
                  <a:pt x="422910" y="599533"/>
                </a:cubicBezTo>
                <a:cubicBezTo>
                  <a:pt x="394018" y="628981"/>
                  <a:pt x="316865" y="641285"/>
                  <a:pt x="270986" y="608583"/>
                </a:cubicBezTo>
                <a:cubicBezTo>
                  <a:pt x="248126" y="597153"/>
                  <a:pt x="234394" y="528890"/>
                  <a:pt x="228600" y="480948"/>
                </a:cubicBezTo>
                <a:cubicBezTo>
                  <a:pt x="222806" y="433006"/>
                  <a:pt x="208280" y="353948"/>
                  <a:pt x="236220" y="320928"/>
                </a:cubicBezTo>
                <a:cubicBezTo>
                  <a:pt x="264160" y="287908"/>
                  <a:pt x="354330" y="285368"/>
                  <a:pt x="396240" y="282828"/>
                </a:cubicBezTo>
                <a:cubicBezTo>
                  <a:pt x="438150" y="280288"/>
                  <a:pt x="457605" y="279440"/>
                  <a:pt x="487680" y="305688"/>
                </a:cubicBezTo>
                <a:cubicBezTo>
                  <a:pt x="517756" y="331936"/>
                  <a:pt x="525688" y="402903"/>
                  <a:pt x="576693" y="440317"/>
                </a:cubicBezTo>
                <a:cubicBezTo>
                  <a:pt x="627698" y="477731"/>
                  <a:pt x="756878" y="520015"/>
                  <a:pt x="793708" y="530175"/>
                </a:cubicBezTo>
                <a:cubicBezTo>
                  <a:pt x="858320" y="537928"/>
                  <a:pt x="981094" y="523188"/>
                  <a:pt x="1032694" y="523188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5D962795-6559-75CA-94A5-8AFEE7BCB941}"/>
              </a:ext>
            </a:extLst>
          </p:cNvPr>
          <p:cNvSpPr/>
          <p:nvPr/>
        </p:nvSpPr>
        <p:spPr>
          <a:xfrm rot="645858">
            <a:off x="11539933" y="4483927"/>
            <a:ext cx="94164" cy="165694"/>
          </a:xfrm>
          <a:custGeom>
            <a:avLst/>
            <a:gdLst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  <a:gd name="connsiteX4" fmla="*/ 26194 w 69056"/>
              <a:gd name="connsiteY4" fmla="*/ 123825 h 123825"/>
              <a:gd name="connsiteX5" fmla="*/ 11907 w 54769"/>
              <a:gd name="connsiteY5" fmla="*/ 114300 h 114300"/>
              <a:gd name="connsiteX6" fmla="*/ 11907 w 54769"/>
              <a:gd name="connsiteY6" fmla="*/ 114300 h 114300"/>
              <a:gd name="connsiteX7" fmla="*/ 11907 w 54769"/>
              <a:gd name="connsiteY7" fmla="*/ 114300 h 114300"/>
              <a:gd name="connsiteX8" fmla="*/ 11907 w 54769"/>
              <a:gd name="connsiteY8" fmla="*/ 114300 h 114300"/>
              <a:gd name="connsiteX9" fmla="*/ 11907 w 54769"/>
              <a:gd name="connsiteY9" fmla="*/ 114300 h 114300"/>
              <a:gd name="connsiteX10" fmla="*/ 11907 w 54769"/>
              <a:gd name="connsiteY10" fmla="*/ 114300 h 114300"/>
              <a:gd name="connsiteX11" fmla="*/ 11907 w 54769"/>
              <a:gd name="connsiteY11" fmla="*/ 114300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67" name="Freeform: Shape 166">
            <a:extLst>
              <a:ext uri="{FF2B5EF4-FFF2-40B4-BE49-F238E27FC236}">
                <a16:creationId xmlns:a16="http://schemas.microsoft.com/office/drawing/2014/main" id="{DCE98F40-CE6E-B786-CA87-67522050E669}"/>
              </a:ext>
            </a:extLst>
          </p:cNvPr>
          <p:cNvSpPr/>
          <p:nvPr/>
        </p:nvSpPr>
        <p:spPr>
          <a:xfrm>
            <a:off x="5197672" y="3551997"/>
            <a:ext cx="1916540" cy="818288"/>
          </a:xfrm>
          <a:custGeom>
            <a:avLst/>
            <a:gdLst>
              <a:gd name="connsiteX0" fmla="*/ 0 w 844062"/>
              <a:gd name="connsiteY0" fmla="*/ 0 h 964779"/>
              <a:gd name="connsiteX1" fmla="*/ 60290 w 844062"/>
              <a:gd name="connsiteY1" fmla="*/ 30145 h 964779"/>
              <a:gd name="connsiteX2" fmla="*/ 90435 w 844062"/>
              <a:gd name="connsiteY2" fmla="*/ 40194 h 964779"/>
              <a:gd name="connsiteX3" fmla="*/ 130629 w 844062"/>
              <a:gd name="connsiteY3" fmla="*/ 60290 h 964779"/>
              <a:gd name="connsiteX4" fmla="*/ 190919 w 844062"/>
              <a:gd name="connsiteY4" fmla="*/ 120580 h 964779"/>
              <a:gd name="connsiteX5" fmla="*/ 231112 w 844062"/>
              <a:gd name="connsiteY5" fmla="*/ 180871 h 964779"/>
              <a:gd name="connsiteX6" fmla="*/ 251209 w 844062"/>
              <a:gd name="connsiteY6" fmla="*/ 271306 h 964779"/>
              <a:gd name="connsiteX7" fmla="*/ 301451 w 844062"/>
              <a:gd name="connsiteY7" fmla="*/ 401934 h 964779"/>
              <a:gd name="connsiteX8" fmla="*/ 311499 w 844062"/>
              <a:gd name="connsiteY8" fmla="*/ 472273 h 964779"/>
              <a:gd name="connsiteX9" fmla="*/ 331596 w 844062"/>
              <a:gd name="connsiteY9" fmla="*/ 552660 h 964779"/>
              <a:gd name="connsiteX10" fmla="*/ 341644 w 844062"/>
              <a:gd name="connsiteY10" fmla="*/ 703385 h 964779"/>
              <a:gd name="connsiteX11" fmla="*/ 351693 w 844062"/>
              <a:gd name="connsiteY11" fmla="*/ 733530 h 964779"/>
              <a:gd name="connsiteX12" fmla="*/ 361741 w 844062"/>
              <a:gd name="connsiteY12" fmla="*/ 773723 h 964779"/>
              <a:gd name="connsiteX13" fmla="*/ 411983 w 844062"/>
              <a:gd name="connsiteY13" fmla="*/ 864158 h 964779"/>
              <a:gd name="connsiteX14" fmla="*/ 462224 w 844062"/>
              <a:gd name="connsiteY14" fmla="*/ 934497 h 964779"/>
              <a:gd name="connsiteX15" fmla="*/ 542611 w 844062"/>
              <a:gd name="connsiteY15" fmla="*/ 944545 h 964779"/>
              <a:gd name="connsiteX16" fmla="*/ 844062 w 844062"/>
              <a:gd name="connsiteY16" fmla="*/ 954594 h 964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44062" h="964778">
                <a:moveTo>
                  <a:pt x="0" y="0"/>
                </a:moveTo>
                <a:cubicBezTo>
                  <a:pt x="20097" y="10048"/>
                  <a:pt x="39758" y="21019"/>
                  <a:pt x="60290" y="30145"/>
                </a:cubicBezTo>
                <a:cubicBezTo>
                  <a:pt x="69969" y="34447"/>
                  <a:pt x="80699" y="36022"/>
                  <a:pt x="90435" y="40194"/>
                </a:cubicBezTo>
                <a:cubicBezTo>
                  <a:pt x="104203" y="46095"/>
                  <a:pt x="117231" y="53591"/>
                  <a:pt x="130629" y="60290"/>
                </a:cubicBezTo>
                <a:cubicBezTo>
                  <a:pt x="150726" y="80387"/>
                  <a:pt x="175154" y="96932"/>
                  <a:pt x="190919" y="120580"/>
                </a:cubicBezTo>
                <a:lnTo>
                  <a:pt x="231112" y="180871"/>
                </a:lnTo>
                <a:cubicBezTo>
                  <a:pt x="237811" y="211016"/>
                  <a:pt x="243252" y="241468"/>
                  <a:pt x="251209" y="271306"/>
                </a:cubicBezTo>
                <a:cubicBezTo>
                  <a:pt x="264462" y="321005"/>
                  <a:pt x="280916" y="354019"/>
                  <a:pt x="301451" y="401934"/>
                </a:cubicBezTo>
                <a:cubicBezTo>
                  <a:pt x="304800" y="425380"/>
                  <a:pt x="306854" y="449049"/>
                  <a:pt x="311499" y="472273"/>
                </a:cubicBezTo>
                <a:cubicBezTo>
                  <a:pt x="316916" y="499357"/>
                  <a:pt x="328024" y="525272"/>
                  <a:pt x="331596" y="552660"/>
                </a:cubicBezTo>
                <a:cubicBezTo>
                  <a:pt x="338109" y="602590"/>
                  <a:pt x="336083" y="653340"/>
                  <a:pt x="341644" y="703385"/>
                </a:cubicBezTo>
                <a:cubicBezTo>
                  <a:pt x="342814" y="713912"/>
                  <a:pt x="348783" y="723346"/>
                  <a:pt x="351693" y="733530"/>
                </a:cubicBezTo>
                <a:cubicBezTo>
                  <a:pt x="355487" y="746809"/>
                  <a:pt x="356892" y="760792"/>
                  <a:pt x="361741" y="773723"/>
                </a:cubicBezTo>
                <a:cubicBezTo>
                  <a:pt x="372862" y="803378"/>
                  <a:pt x="397222" y="837588"/>
                  <a:pt x="411983" y="864158"/>
                </a:cubicBezTo>
                <a:cubicBezTo>
                  <a:pt x="423094" y="884158"/>
                  <a:pt x="436040" y="924975"/>
                  <a:pt x="462224" y="934497"/>
                </a:cubicBezTo>
                <a:cubicBezTo>
                  <a:pt x="487602" y="943725"/>
                  <a:pt x="515815" y="941196"/>
                  <a:pt x="542611" y="944545"/>
                </a:cubicBezTo>
                <a:cubicBezTo>
                  <a:pt x="658550" y="983194"/>
                  <a:pt x="562164" y="954594"/>
                  <a:pt x="844062" y="954594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68" name="Freeform: Shape 167">
            <a:extLst>
              <a:ext uri="{FF2B5EF4-FFF2-40B4-BE49-F238E27FC236}">
                <a16:creationId xmlns:a16="http://schemas.microsoft.com/office/drawing/2014/main" id="{9C5B3250-E069-9F90-7A02-BA8191BC1802}"/>
              </a:ext>
            </a:extLst>
          </p:cNvPr>
          <p:cNvSpPr/>
          <p:nvPr/>
        </p:nvSpPr>
        <p:spPr>
          <a:xfrm flipH="1">
            <a:off x="5149249" y="4921764"/>
            <a:ext cx="1953649" cy="761730"/>
          </a:xfrm>
          <a:custGeom>
            <a:avLst/>
            <a:gdLst>
              <a:gd name="connsiteX0" fmla="*/ 0 w 844062"/>
              <a:gd name="connsiteY0" fmla="*/ 0 h 964779"/>
              <a:gd name="connsiteX1" fmla="*/ 60290 w 844062"/>
              <a:gd name="connsiteY1" fmla="*/ 30145 h 964779"/>
              <a:gd name="connsiteX2" fmla="*/ 90435 w 844062"/>
              <a:gd name="connsiteY2" fmla="*/ 40194 h 964779"/>
              <a:gd name="connsiteX3" fmla="*/ 130629 w 844062"/>
              <a:gd name="connsiteY3" fmla="*/ 60290 h 964779"/>
              <a:gd name="connsiteX4" fmla="*/ 269212 w 844062"/>
              <a:gd name="connsiteY4" fmla="*/ 142771 h 964779"/>
              <a:gd name="connsiteX5" fmla="*/ 301451 w 844062"/>
              <a:gd name="connsiteY5" fmla="*/ 401934 h 964779"/>
              <a:gd name="connsiteX6" fmla="*/ 311499 w 844062"/>
              <a:gd name="connsiteY6" fmla="*/ 472273 h 964779"/>
              <a:gd name="connsiteX7" fmla="*/ 331596 w 844062"/>
              <a:gd name="connsiteY7" fmla="*/ 552660 h 964779"/>
              <a:gd name="connsiteX8" fmla="*/ 341644 w 844062"/>
              <a:gd name="connsiteY8" fmla="*/ 703385 h 964779"/>
              <a:gd name="connsiteX9" fmla="*/ 351693 w 844062"/>
              <a:gd name="connsiteY9" fmla="*/ 733530 h 964779"/>
              <a:gd name="connsiteX10" fmla="*/ 361741 w 844062"/>
              <a:gd name="connsiteY10" fmla="*/ 773723 h 964779"/>
              <a:gd name="connsiteX11" fmla="*/ 411983 w 844062"/>
              <a:gd name="connsiteY11" fmla="*/ 864158 h 964779"/>
              <a:gd name="connsiteX12" fmla="*/ 462224 w 844062"/>
              <a:gd name="connsiteY12" fmla="*/ 934497 h 964779"/>
              <a:gd name="connsiteX13" fmla="*/ 542611 w 844062"/>
              <a:gd name="connsiteY13" fmla="*/ 944545 h 964779"/>
              <a:gd name="connsiteX14" fmla="*/ 844062 w 844062"/>
              <a:gd name="connsiteY14" fmla="*/ 954594 h 964779"/>
              <a:gd name="connsiteX15" fmla="*/ 844062 w 844062"/>
              <a:gd name="connsiteY15" fmla="*/ 954594 h 964779"/>
              <a:gd name="connsiteX16" fmla="*/ 844062 w 844062"/>
              <a:gd name="connsiteY16" fmla="*/ 954594 h 964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44062" h="964778">
                <a:moveTo>
                  <a:pt x="0" y="0"/>
                </a:moveTo>
                <a:cubicBezTo>
                  <a:pt x="20097" y="10048"/>
                  <a:pt x="39758" y="21019"/>
                  <a:pt x="60290" y="30145"/>
                </a:cubicBezTo>
                <a:cubicBezTo>
                  <a:pt x="69969" y="34447"/>
                  <a:pt x="80699" y="36022"/>
                  <a:pt x="90435" y="40194"/>
                </a:cubicBezTo>
                <a:cubicBezTo>
                  <a:pt x="104203" y="46095"/>
                  <a:pt x="117231" y="53591"/>
                  <a:pt x="130629" y="60290"/>
                </a:cubicBezTo>
                <a:cubicBezTo>
                  <a:pt x="154075" y="83736"/>
                  <a:pt x="249115" y="107602"/>
                  <a:pt x="269212" y="142771"/>
                </a:cubicBezTo>
                <a:cubicBezTo>
                  <a:pt x="297682" y="199712"/>
                  <a:pt x="294403" y="347017"/>
                  <a:pt x="301451" y="401934"/>
                </a:cubicBezTo>
                <a:cubicBezTo>
                  <a:pt x="304800" y="425380"/>
                  <a:pt x="306854" y="449049"/>
                  <a:pt x="311499" y="472273"/>
                </a:cubicBezTo>
                <a:cubicBezTo>
                  <a:pt x="316916" y="499357"/>
                  <a:pt x="328024" y="525272"/>
                  <a:pt x="331596" y="552660"/>
                </a:cubicBezTo>
                <a:cubicBezTo>
                  <a:pt x="338109" y="602590"/>
                  <a:pt x="336083" y="653340"/>
                  <a:pt x="341644" y="703385"/>
                </a:cubicBezTo>
                <a:cubicBezTo>
                  <a:pt x="342814" y="713912"/>
                  <a:pt x="348783" y="723346"/>
                  <a:pt x="351693" y="733530"/>
                </a:cubicBezTo>
                <a:cubicBezTo>
                  <a:pt x="355487" y="746809"/>
                  <a:pt x="356892" y="760792"/>
                  <a:pt x="361741" y="773723"/>
                </a:cubicBezTo>
                <a:cubicBezTo>
                  <a:pt x="372862" y="803378"/>
                  <a:pt x="397222" y="837588"/>
                  <a:pt x="411983" y="864158"/>
                </a:cubicBezTo>
                <a:cubicBezTo>
                  <a:pt x="423094" y="884158"/>
                  <a:pt x="436040" y="924975"/>
                  <a:pt x="462224" y="934497"/>
                </a:cubicBezTo>
                <a:cubicBezTo>
                  <a:pt x="487602" y="943725"/>
                  <a:pt x="515815" y="941196"/>
                  <a:pt x="542611" y="944545"/>
                </a:cubicBezTo>
                <a:cubicBezTo>
                  <a:pt x="658550" y="983194"/>
                  <a:pt x="562164" y="954594"/>
                  <a:pt x="844062" y="954594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69" name="Freeform: Shape 168">
            <a:extLst>
              <a:ext uri="{FF2B5EF4-FFF2-40B4-BE49-F238E27FC236}">
                <a16:creationId xmlns:a16="http://schemas.microsoft.com/office/drawing/2014/main" id="{4ECBF4C2-01D2-747F-76A9-D38357A53D4A}"/>
              </a:ext>
            </a:extLst>
          </p:cNvPr>
          <p:cNvSpPr/>
          <p:nvPr/>
        </p:nvSpPr>
        <p:spPr>
          <a:xfrm>
            <a:off x="5176925" y="4613195"/>
            <a:ext cx="1937287" cy="149142"/>
          </a:xfrm>
          <a:custGeom>
            <a:avLst/>
            <a:gdLst>
              <a:gd name="connsiteX0" fmla="*/ 0 w 844061"/>
              <a:gd name="connsiteY0" fmla="*/ 0 h 20097"/>
              <a:gd name="connsiteX1" fmla="*/ 301450 w 844061"/>
              <a:gd name="connsiteY1" fmla="*/ 10049 h 20097"/>
              <a:gd name="connsiteX2" fmla="*/ 331595 w 844061"/>
              <a:gd name="connsiteY2" fmla="*/ 20097 h 20097"/>
              <a:gd name="connsiteX3" fmla="*/ 844061 w 844061"/>
              <a:gd name="connsiteY3" fmla="*/ 10049 h 20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4061" h="20097">
                <a:moveTo>
                  <a:pt x="0" y="0"/>
                </a:moveTo>
                <a:cubicBezTo>
                  <a:pt x="100483" y="3350"/>
                  <a:pt x="201095" y="3967"/>
                  <a:pt x="301450" y="10049"/>
                </a:cubicBezTo>
                <a:cubicBezTo>
                  <a:pt x="312022" y="10690"/>
                  <a:pt x="321003" y="20097"/>
                  <a:pt x="331595" y="20097"/>
                </a:cubicBezTo>
                <a:cubicBezTo>
                  <a:pt x="502450" y="20097"/>
                  <a:pt x="673206" y="10049"/>
                  <a:pt x="844061" y="10049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70" name="Freeform: Shape 169">
            <a:extLst>
              <a:ext uri="{FF2B5EF4-FFF2-40B4-BE49-F238E27FC236}">
                <a16:creationId xmlns:a16="http://schemas.microsoft.com/office/drawing/2014/main" id="{5F27583F-7D6E-D82B-DFB2-B80172AB17C3}"/>
              </a:ext>
            </a:extLst>
          </p:cNvPr>
          <p:cNvSpPr/>
          <p:nvPr/>
        </p:nvSpPr>
        <p:spPr>
          <a:xfrm rot="645858">
            <a:off x="7110040" y="4595772"/>
            <a:ext cx="65458" cy="139368"/>
          </a:xfrm>
          <a:custGeom>
            <a:avLst/>
            <a:gdLst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  <a:gd name="connsiteX4" fmla="*/ 26194 w 69056"/>
              <a:gd name="connsiteY4" fmla="*/ 123825 h 123825"/>
              <a:gd name="connsiteX5" fmla="*/ 11907 w 54769"/>
              <a:gd name="connsiteY5" fmla="*/ 114300 h 114300"/>
              <a:gd name="connsiteX6" fmla="*/ 11907 w 54769"/>
              <a:gd name="connsiteY6" fmla="*/ 114300 h 114300"/>
              <a:gd name="connsiteX7" fmla="*/ 11907 w 54769"/>
              <a:gd name="connsiteY7" fmla="*/ 114300 h 114300"/>
              <a:gd name="connsiteX8" fmla="*/ 11907 w 54769"/>
              <a:gd name="connsiteY8" fmla="*/ 114300 h 114300"/>
              <a:gd name="connsiteX9" fmla="*/ 11907 w 54769"/>
              <a:gd name="connsiteY9" fmla="*/ 114300 h 114300"/>
              <a:gd name="connsiteX10" fmla="*/ 11907 w 54769"/>
              <a:gd name="connsiteY10" fmla="*/ 114300 h 114300"/>
              <a:gd name="connsiteX11" fmla="*/ 11907 w 54769"/>
              <a:gd name="connsiteY11" fmla="*/ 114300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71" name="Freeform: Shape 170">
            <a:extLst>
              <a:ext uri="{FF2B5EF4-FFF2-40B4-BE49-F238E27FC236}">
                <a16:creationId xmlns:a16="http://schemas.microsoft.com/office/drawing/2014/main" id="{3647A966-82F6-128E-11EE-8A32570B4C4B}"/>
              </a:ext>
            </a:extLst>
          </p:cNvPr>
          <p:cNvSpPr/>
          <p:nvPr/>
        </p:nvSpPr>
        <p:spPr>
          <a:xfrm rot="645858">
            <a:off x="7100145" y="4314696"/>
            <a:ext cx="65458" cy="139368"/>
          </a:xfrm>
          <a:custGeom>
            <a:avLst/>
            <a:gdLst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  <a:gd name="connsiteX4" fmla="*/ 26194 w 69056"/>
              <a:gd name="connsiteY4" fmla="*/ 123825 h 123825"/>
              <a:gd name="connsiteX5" fmla="*/ 11907 w 54769"/>
              <a:gd name="connsiteY5" fmla="*/ 114300 h 114300"/>
              <a:gd name="connsiteX6" fmla="*/ 11907 w 54769"/>
              <a:gd name="connsiteY6" fmla="*/ 114300 h 114300"/>
              <a:gd name="connsiteX7" fmla="*/ 11907 w 54769"/>
              <a:gd name="connsiteY7" fmla="*/ 114300 h 114300"/>
              <a:gd name="connsiteX8" fmla="*/ 11907 w 54769"/>
              <a:gd name="connsiteY8" fmla="*/ 114300 h 114300"/>
              <a:gd name="connsiteX9" fmla="*/ 11907 w 54769"/>
              <a:gd name="connsiteY9" fmla="*/ 114300 h 114300"/>
              <a:gd name="connsiteX10" fmla="*/ 11907 w 54769"/>
              <a:gd name="connsiteY10" fmla="*/ 114300 h 114300"/>
              <a:gd name="connsiteX11" fmla="*/ 11907 w 54769"/>
              <a:gd name="connsiteY11" fmla="*/ 114300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72" name="Freeform: Shape 171">
            <a:extLst>
              <a:ext uri="{FF2B5EF4-FFF2-40B4-BE49-F238E27FC236}">
                <a16:creationId xmlns:a16="http://schemas.microsoft.com/office/drawing/2014/main" id="{057BF0DD-3B84-0DB9-8F6C-0E7EDAED114B}"/>
              </a:ext>
            </a:extLst>
          </p:cNvPr>
          <p:cNvSpPr/>
          <p:nvPr/>
        </p:nvSpPr>
        <p:spPr>
          <a:xfrm rot="645858">
            <a:off x="7109934" y="4871830"/>
            <a:ext cx="65458" cy="139368"/>
          </a:xfrm>
          <a:custGeom>
            <a:avLst/>
            <a:gdLst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  <a:gd name="connsiteX4" fmla="*/ 26194 w 69056"/>
              <a:gd name="connsiteY4" fmla="*/ 123825 h 123825"/>
              <a:gd name="connsiteX5" fmla="*/ 11907 w 54769"/>
              <a:gd name="connsiteY5" fmla="*/ 114300 h 114300"/>
              <a:gd name="connsiteX6" fmla="*/ 11907 w 54769"/>
              <a:gd name="connsiteY6" fmla="*/ 114300 h 114300"/>
              <a:gd name="connsiteX7" fmla="*/ 11907 w 54769"/>
              <a:gd name="connsiteY7" fmla="*/ 114300 h 114300"/>
              <a:gd name="connsiteX8" fmla="*/ 11907 w 54769"/>
              <a:gd name="connsiteY8" fmla="*/ 114300 h 114300"/>
              <a:gd name="connsiteX9" fmla="*/ 11907 w 54769"/>
              <a:gd name="connsiteY9" fmla="*/ 114300 h 114300"/>
              <a:gd name="connsiteX10" fmla="*/ 11907 w 54769"/>
              <a:gd name="connsiteY10" fmla="*/ 114300 h 114300"/>
              <a:gd name="connsiteX11" fmla="*/ 11907 w 54769"/>
              <a:gd name="connsiteY11" fmla="*/ 114300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EB3C93A-6B58-BA13-A34D-AA85E39CBE62}"/>
              </a:ext>
            </a:extLst>
          </p:cNvPr>
          <p:cNvSpPr/>
          <p:nvPr/>
        </p:nvSpPr>
        <p:spPr>
          <a:xfrm>
            <a:off x="7337403" y="3656032"/>
            <a:ext cx="2028888" cy="280465"/>
          </a:xfrm>
          <a:custGeom>
            <a:avLst/>
            <a:gdLst>
              <a:gd name="connsiteX0" fmla="*/ 0 w 2889250"/>
              <a:gd name="connsiteY0" fmla="*/ 708815 h 721515"/>
              <a:gd name="connsiteX1" fmla="*/ 111125 w 2889250"/>
              <a:gd name="connsiteY1" fmla="*/ 645315 h 721515"/>
              <a:gd name="connsiteX2" fmla="*/ 352425 w 2889250"/>
              <a:gd name="connsiteY2" fmla="*/ 543715 h 721515"/>
              <a:gd name="connsiteX3" fmla="*/ 463550 w 2889250"/>
              <a:gd name="connsiteY3" fmla="*/ 486565 h 721515"/>
              <a:gd name="connsiteX4" fmla="*/ 612775 w 2889250"/>
              <a:gd name="connsiteY4" fmla="*/ 416715 h 721515"/>
              <a:gd name="connsiteX5" fmla="*/ 800100 w 2889250"/>
              <a:gd name="connsiteY5" fmla="*/ 324640 h 721515"/>
              <a:gd name="connsiteX6" fmla="*/ 898525 w 2889250"/>
              <a:gd name="connsiteY6" fmla="*/ 277015 h 721515"/>
              <a:gd name="connsiteX7" fmla="*/ 1079500 w 2889250"/>
              <a:gd name="connsiteY7" fmla="*/ 188115 h 721515"/>
              <a:gd name="connsiteX8" fmla="*/ 1181100 w 2889250"/>
              <a:gd name="connsiteY8" fmla="*/ 140490 h 721515"/>
              <a:gd name="connsiteX9" fmla="*/ 1327150 w 2889250"/>
              <a:gd name="connsiteY9" fmla="*/ 54765 h 721515"/>
              <a:gd name="connsiteX10" fmla="*/ 1416050 w 2889250"/>
              <a:gd name="connsiteY10" fmla="*/ 790 h 721515"/>
              <a:gd name="connsiteX11" fmla="*/ 1504950 w 2889250"/>
              <a:gd name="connsiteY11" fmla="*/ 29365 h 721515"/>
              <a:gd name="connsiteX12" fmla="*/ 1676400 w 2889250"/>
              <a:gd name="connsiteY12" fmla="*/ 118265 h 721515"/>
              <a:gd name="connsiteX13" fmla="*/ 1758950 w 2889250"/>
              <a:gd name="connsiteY13" fmla="*/ 153190 h 721515"/>
              <a:gd name="connsiteX14" fmla="*/ 1885950 w 2889250"/>
              <a:gd name="connsiteY14" fmla="*/ 229390 h 721515"/>
              <a:gd name="connsiteX15" fmla="*/ 1962150 w 2889250"/>
              <a:gd name="connsiteY15" fmla="*/ 264315 h 721515"/>
              <a:gd name="connsiteX16" fmla="*/ 2047875 w 2889250"/>
              <a:gd name="connsiteY16" fmla="*/ 302415 h 721515"/>
              <a:gd name="connsiteX17" fmla="*/ 2247900 w 2889250"/>
              <a:gd name="connsiteY17" fmla="*/ 407190 h 721515"/>
              <a:gd name="connsiteX18" fmla="*/ 2397125 w 2889250"/>
              <a:gd name="connsiteY18" fmla="*/ 477040 h 721515"/>
              <a:gd name="connsiteX19" fmla="*/ 2495550 w 2889250"/>
              <a:gd name="connsiteY19" fmla="*/ 521490 h 721515"/>
              <a:gd name="connsiteX20" fmla="*/ 2673350 w 2889250"/>
              <a:gd name="connsiteY20" fmla="*/ 604040 h 721515"/>
              <a:gd name="connsiteX21" fmla="*/ 2749550 w 2889250"/>
              <a:gd name="connsiteY21" fmla="*/ 638965 h 721515"/>
              <a:gd name="connsiteX22" fmla="*/ 2889250 w 2889250"/>
              <a:gd name="connsiteY22" fmla="*/ 721515 h 721515"/>
              <a:gd name="connsiteX23" fmla="*/ 0 w 2889250"/>
              <a:gd name="connsiteY23" fmla="*/ 708815 h 721515"/>
              <a:gd name="connsiteX24" fmla="*/ 2889250 w 2889250"/>
              <a:gd name="connsiteY24" fmla="*/ 721207 h 721207"/>
              <a:gd name="connsiteX25" fmla="*/ 2889250 w 2889250"/>
              <a:gd name="connsiteY25" fmla="*/ 721207 h 721207"/>
              <a:gd name="connsiteX26" fmla="*/ 2889250 w 2889250"/>
              <a:gd name="connsiteY26" fmla="*/ 721207 h 721207"/>
              <a:gd name="connsiteX27" fmla="*/ 2889250 w 2889250"/>
              <a:gd name="connsiteY27" fmla="*/ 721207 h 721207"/>
              <a:gd name="connsiteX28" fmla="*/ 2889250 w 2889250"/>
              <a:gd name="connsiteY28" fmla="*/ 721207 h 721207"/>
              <a:gd name="connsiteX29" fmla="*/ 2889250 w 2889250"/>
              <a:gd name="connsiteY29" fmla="*/ 721207 h 721207"/>
              <a:gd name="connsiteX30" fmla="*/ 2889250 w 2889250"/>
              <a:gd name="connsiteY30" fmla="*/ 721207 h 721207"/>
              <a:gd name="connsiteX31" fmla="*/ 2889250 w 2889250"/>
              <a:gd name="connsiteY31" fmla="*/ 721207 h 721207"/>
              <a:gd name="connsiteX32" fmla="*/ 2889250 w 2889250"/>
              <a:gd name="connsiteY32" fmla="*/ 722729 h 722729"/>
              <a:gd name="connsiteX33" fmla="*/ 2889250 w 2889250"/>
              <a:gd name="connsiteY33" fmla="*/ 722729 h 722729"/>
              <a:gd name="connsiteX34" fmla="*/ 2889250 w 2889250"/>
              <a:gd name="connsiteY34" fmla="*/ 722729 h 722729"/>
              <a:gd name="connsiteX35" fmla="*/ 2889250 w 2889250"/>
              <a:gd name="connsiteY35" fmla="*/ 722729 h 722729"/>
              <a:gd name="connsiteX36" fmla="*/ 2889250 w 2889250"/>
              <a:gd name="connsiteY36" fmla="*/ 722729 h 722729"/>
              <a:gd name="connsiteX37" fmla="*/ 2889250 w 2889250"/>
              <a:gd name="connsiteY37" fmla="*/ 722729 h 722729"/>
              <a:gd name="connsiteX38" fmla="*/ 2889250 w 2889250"/>
              <a:gd name="connsiteY38" fmla="*/ 722729 h 722729"/>
              <a:gd name="connsiteX39" fmla="*/ 2889250 w 2889264"/>
              <a:gd name="connsiteY39" fmla="*/ 722729 h 722729"/>
              <a:gd name="connsiteX40" fmla="*/ 2889250 w 2889264"/>
              <a:gd name="connsiteY40" fmla="*/ 722729 h 722729"/>
              <a:gd name="connsiteX41" fmla="*/ 2889250 w 2889264"/>
              <a:gd name="connsiteY41" fmla="*/ 722729 h 722729"/>
              <a:gd name="connsiteX42" fmla="*/ 2889250 w 2889264"/>
              <a:gd name="connsiteY42" fmla="*/ 722729 h 722729"/>
              <a:gd name="connsiteX43" fmla="*/ 2889250 w 2889264"/>
              <a:gd name="connsiteY43" fmla="*/ 722729 h 722729"/>
              <a:gd name="connsiteX44" fmla="*/ 2889250 w 2889264"/>
              <a:gd name="connsiteY44" fmla="*/ 722729 h 722729"/>
              <a:gd name="connsiteX45" fmla="*/ 2889250 w 2889264"/>
              <a:gd name="connsiteY45" fmla="*/ 722729 h 722729"/>
              <a:gd name="connsiteX46" fmla="*/ 2889250 w 2889264"/>
              <a:gd name="connsiteY46" fmla="*/ 722729 h 722729"/>
              <a:gd name="connsiteX47" fmla="*/ 2889250 w 2889264"/>
              <a:gd name="connsiteY47" fmla="*/ 722729 h 722729"/>
              <a:gd name="connsiteX48" fmla="*/ 2889250 w 2889264"/>
              <a:gd name="connsiteY48" fmla="*/ 722729 h 722729"/>
              <a:gd name="connsiteX49" fmla="*/ 2889250 w 2889264"/>
              <a:gd name="connsiteY49" fmla="*/ 722729 h 722729"/>
              <a:gd name="connsiteX50" fmla="*/ 2889250 w 2889264"/>
              <a:gd name="connsiteY50" fmla="*/ 722729 h 722729"/>
              <a:gd name="connsiteX51" fmla="*/ 2889250 w 2889264"/>
              <a:gd name="connsiteY51" fmla="*/ 722729 h 722729"/>
              <a:gd name="connsiteX52" fmla="*/ 2889250 w 2889264"/>
              <a:gd name="connsiteY52" fmla="*/ 722729 h 722729"/>
              <a:gd name="connsiteX53" fmla="*/ 2889250 w 2889264"/>
              <a:gd name="connsiteY53" fmla="*/ 722729 h 722729"/>
              <a:gd name="connsiteX54" fmla="*/ 2889250 w 2889264"/>
              <a:gd name="connsiteY54" fmla="*/ 722729 h 722729"/>
              <a:gd name="connsiteX55" fmla="*/ 2889250 w 2889264"/>
              <a:gd name="connsiteY55" fmla="*/ 722729 h 722729"/>
              <a:gd name="connsiteX56" fmla="*/ 2889250 w 2889264"/>
              <a:gd name="connsiteY56" fmla="*/ 722729 h 722729"/>
              <a:gd name="connsiteX57" fmla="*/ 2889250 w 2889264"/>
              <a:gd name="connsiteY57" fmla="*/ 722729 h 722729"/>
              <a:gd name="connsiteX58" fmla="*/ 2889250 w 2889264"/>
              <a:gd name="connsiteY58" fmla="*/ 722729 h 722729"/>
              <a:gd name="connsiteX59" fmla="*/ 2889250 w 2889264"/>
              <a:gd name="connsiteY59" fmla="*/ 722729 h 722729"/>
              <a:gd name="connsiteX60" fmla="*/ 2889250 w 2889264"/>
              <a:gd name="connsiteY60" fmla="*/ 722729 h 722729"/>
              <a:gd name="connsiteX61" fmla="*/ 2889250 w 2889264"/>
              <a:gd name="connsiteY61" fmla="*/ 722729 h 722729"/>
              <a:gd name="connsiteX62" fmla="*/ 2889250 w 2889264"/>
              <a:gd name="connsiteY62" fmla="*/ 722729 h 722729"/>
              <a:gd name="connsiteX63" fmla="*/ 2889250 w 2889264"/>
              <a:gd name="connsiteY63" fmla="*/ 722729 h 722729"/>
              <a:gd name="connsiteX64" fmla="*/ 2889250 w 2889264"/>
              <a:gd name="connsiteY64" fmla="*/ 722729 h 722729"/>
              <a:gd name="connsiteX65" fmla="*/ 2889250 w 2889264"/>
              <a:gd name="connsiteY65" fmla="*/ 722729 h 722729"/>
              <a:gd name="connsiteX66" fmla="*/ 2889250 w 2889264"/>
              <a:gd name="connsiteY66" fmla="*/ 722729 h 722729"/>
              <a:gd name="connsiteX67" fmla="*/ 2889250 w 2889264"/>
              <a:gd name="connsiteY67" fmla="*/ 722729 h 722729"/>
              <a:gd name="connsiteX68" fmla="*/ 2889250 w 2889264"/>
              <a:gd name="connsiteY68" fmla="*/ 722729 h 722729"/>
              <a:gd name="connsiteX69" fmla="*/ 2889250 w 2889264"/>
              <a:gd name="connsiteY69" fmla="*/ 722729 h 722729"/>
              <a:gd name="connsiteX70" fmla="*/ 2889250 w 2889264"/>
              <a:gd name="connsiteY70" fmla="*/ 722729 h 722729"/>
              <a:gd name="connsiteX71" fmla="*/ 2889250 w 2889264"/>
              <a:gd name="connsiteY71" fmla="*/ 722729 h 722729"/>
              <a:gd name="connsiteX72" fmla="*/ 2889250 w 2889264"/>
              <a:gd name="connsiteY72" fmla="*/ 722729 h 722729"/>
              <a:gd name="connsiteX73" fmla="*/ 2889250 w 2889264"/>
              <a:gd name="connsiteY73" fmla="*/ 722729 h 722729"/>
              <a:gd name="connsiteX74" fmla="*/ 2889250 w 2889264"/>
              <a:gd name="connsiteY74" fmla="*/ 722729 h 722729"/>
              <a:gd name="connsiteX75" fmla="*/ 2889250 w 2889264"/>
              <a:gd name="connsiteY75" fmla="*/ 722729 h 722729"/>
              <a:gd name="connsiteX76" fmla="*/ 2889250 w 2889264"/>
              <a:gd name="connsiteY76" fmla="*/ 722729 h 722729"/>
              <a:gd name="connsiteX77" fmla="*/ 2889250 w 2889264"/>
              <a:gd name="connsiteY77" fmla="*/ 722729 h 722729"/>
              <a:gd name="connsiteX78" fmla="*/ 2889250 w 2889264"/>
              <a:gd name="connsiteY78" fmla="*/ 722729 h 722729"/>
              <a:gd name="connsiteX79" fmla="*/ 2889250 w 2889264"/>
              <a:gd name="connsiteY79" fmla="*/ 722729 h 722729"/>
              <a:gd name="connsiteX80" fmla="*/ 2889250 w 2889264"/>
              <a:gd name="connsiteY80" fmla="*/ 722729 h 722729"/>
              <a:gd name="connsiteX81" fmla="*/ 2889250 w 2889264"/>
              <a:gd name="connsiteY81" fmla="*/ 733425 h 733425"/>
              <a:gd name="connsiteX82" fmla="*/ 2889250 w 2889264"/>
              <a:gd name="connsiteY82" fmla="*/ 733425 h 733425"/>
              <a:gd name="connsiteX83" fmla="*/ 2889250 w 2889264"/>
              <a:gd name="connsiteY83" fmla="*/ 733425 h 733425"/>
              <a:gd name="connsiteX84" fmla="*/ 2889250 w 2889264"/>
              <a:gd name="connsiteY84" fmla="*/ 733425 h 733425"/>
              <a:gd name="connsiteX85" fmla="*/ 2889250 w 2889264"/>
              <a:gd name="connsiteY85" fmla="*/ 733425 h 733425"/>
              <a:gd name="connsiteX86" fmla="*/ 2889250 w 2889264"/>
              <a:gd name="connsiteY86" fmla="*/ 733425 h 733425"/>
              <a:gd name="connsiteX87" fmla="*/ 2889250 w 2889264"/>
              <a:gd name="connsiteY87" fmla="*/ 733425 h 733425"/>
              <a:gd name="connsiteX88" fmla="*/ 2889250 w 2889264"/>
              <a:gd name="connsiteY88" fmla="*/ 733425 h 733425"/>
              <a:gd name="connsiteX89" fmla="*/ 2889250 w 2889264"/>
              <a:gd name="connsiteY89" fmla="*/ 733425 h 733425"/>
              <a:gd name="connsiteX90" fmla="*/ 2889250 w 2889264"/>
              <a:gd name="connsiteY90" fmla="*/ 733425 h 733425"/>
              <a:gd name="connsiteX91" fmla="*/ 2889250 w 2889264"/>
              <a:gd name="connsiteY91" fmla="*/ 733425 h 733425"/>
              <a:gd name="connsiteX92" fmla="*/ 2889250 w 2889264"/>
              <a:gd name="connsiteY92" fmla="*/ 733425 h 733425"/>
              <a:gd name="connsiteX93" fmla="*/ 2889250 w 2889264"/>
              <a:gd name="connsiteY93" fmla="*/ 733425 h 733425"/>
              <a:gd name="connsiteX94" fmla="*/ 2889250 w 2889264"/>
              <a:gd name="connsiteY94" fmla="*/ 733425 h 733425"/>
              <a:gd name="connsiteX95" fmla="*/ 2889250 w 2889264"/>
              <a:gd name="connsiteY95" fmla="*/ 733425 h 733425"/>
              <a:gd name="connsiteX96" fmla="*/ 2889250 w 2889264"/>
              <a:gd name="connsiteY96" fmla="*/ 733425 h 733425"/>
              <a:gd name="connsiteX97" fmla="*/ 2889250 w 2889264"/>
              <a:gd name="connsiteY97" fmla="*/ 733425 h 733425"/>
              <a:gd name="connsiteX98" fmla="*/ 2889250 w 2889264"/>
              <a:gd name="connsiteY98" fmla="*/ 733425 h 733425"/>
              <a:gd name="connsiteX99" fmla="*/ 2889250 w 2889264"/>
              <a:gd name="connsiteY99" fmla="*/ 733425 h 733425"/>
              <a:gd name="connsiteX100" fmla="*/ 2889250 w 2889264"/>
              <a:gd name="connsiteY100" fmla="*/ 733425 h 733425"/>
              <a:gd name="connsiteX101" fmla="*/ 2889250 w 2889264"/>
              <a:gd name="connsiteY101" fmla="*/ 733425 h 733425"/>
              <a:gd name="connsiteX102" fmla="*/ 2889250 w 2889264"/>
              <a:gd name="connsiteY102" fmla="*/ 733425 h 733425"/>
              <a:gd name="connsiteX103" fmla="*/ 2889250 w 2889264"/>
              <a:gd name="connsiteY103" fmla="*/ 733425 h 733425"/>
              <a:gd name="connsiteX104" fmla="*/ 2889250 w 2889264"/>
              <a:gd name="connsiteY104" fmla="*/ 733425 h 733425"/>
              <a:gd name="connsiteX105" fmla="*/ 2889250 w 2889264"/>
              <a:gd name="connsiteY105" fmla="*/ 733425 h 733425"/>
              <a:gd name="connsiteX106" fmla="*/ 2889250 w 2889264"/>
              <a:gd name="connsiteY106" fmla="*/ 733425 h 733425"/>
              <a:gd name="connsiteX107" fmla="*/ 2889250 w 2889264"/>
              <a:gd name="connsiteY107" fmla="*/ 733425 h 733425"/>
              <a:gd name="connsiteX108" fmla="*/ 2889250 w 2889264"/>
              <a:gd name="connsiteY108" fmla="*/ 733425 h 733425"/>
              <a:gd name="connsiteX109" fmla="*/ 2889250 w 2889264"/>
              <a:gd name="connsiteY109" fmla="*/ 733425 h 733425"/>
              <a:gd name="connsiteX110" fmla="*/ 2889250 w 2889264"/>
              <a:gd name="connsiteY110" fmla="*/ 733425 h 733425"/>
              <a:gd name="connsiteX111" fmla="*/ 2889250 w 2889264"/>
              <a:gd name="connsiteY111" fmla="*/ 733425 h 733425"/>
              <a:gd name="connsiteX112" fmla="*/ 2889250 w 2889264"/>
              <a:gd name="connsiteY112" fmla="*/ 733425 h 733425"/>
              <a:gd name="connsiteX113" fmla="*/ 2889250 w 2889264"/>
              <a:gd name="connsiteY113" fmla="*/ 733425 h 733425"/>
              <a:gd name="connsiteX114" fmla="*/ 2889250 w 2889264"/>
              <a:gd name="connsiteY114" fmla="*/ 733425 h 733425"/>
              <a:gd name="connsiteX115" fmla="*/ 2889250 w 2889264"/>
              <a:gd name="connsiteY115" fmla="*/ 733425 h 733425"/>
              <a:gd name="connsiteX116" fmla="*/ 2889250 w 2889264"/>
              <a:gd name="connsiteY116" fmla="*/ 733425 h 733425"/>
              <a:gd name="connsiteX117" fmla="*/ 2889250 w 2889264"/>
              <a:gd name="connsiteY117" fmla="*/ 733425 h 733425"/>
              <a:gd name="connsiteX118" fmla="*/ 2889250 w 2889264"/>
              <a:gd name="connsiteY118" fmla="*/ 733425 h 733425"/>
              <a:gd name="connsiteX119" fmla="*/ 2889250 w 2889264"/>
              <a:gd name="connsiteY119" fmla="*/ 733425 h 733425"/>
              <a:gd name="connsiteX120" fmla="*/ 2889250 w 2889264"/>
              <a:gd name="connsiteY120" fmla="*/ 733425 h 733425"/>
              <a:gd name="connsiteX121" fmla="*/ 2889250 w 2889264"/>
              <a:gd name="connsiteY121" fmla="*/ 733425 h 733425"/>
              <a:gd name="connsiteX122" fmla="*/ 2889250 w 2889264"/>
              <a:gd name="connsiteY122" fmla="*/ 733425 h 733425"/>
              <a:gd name="connsiteX123" fmla="*/ 2889250 w 2889264"/>
              <a:gd name="connsiteY123" fmla="*/ 733425 h 733425"/>
              <a:gd name="connsiteX124" fmla="*/ 2889250 w 2889264"/>
              <a:gd name="connsiteY124" fmla="*/ 733425 h 733425"/>
              <a:gd name="connsiteX125" fmla="*/ 2889250 w 2889264"/>
              <a:gd name="connsiteY125" fmla="*/ 733425 h 733425"/>
              <a:gd name="connsiteX126" fmla="*/ 2889250 w 2889264"/>
              <a:gd name="connsiteY126" fmla="*/ 733425 h 733425"/>
              <a:gd name="connsiteX127" fmla="*/ 2889250 w 2889264"/>
              <a:gd name="connsiteY127" fmla="*/ 733425 h 733425"/>
              <a:gd name="connsiteX128" fmla="*/ 2889250 w 2889264"/>
              <a:gd name="connsiteY128" fmla="*/ 733425 h 733425"/>
              <a:gd name="connsiteX129" fmla="*/ 2889250 w 2889264"/>
              <a:gd name="connsiteY129" fmla="*/ 733425 h 733425"/>
              <a:gd name="connsiteX130" fmla="*/ 2889250 w 2889264"/>
              <a:gd name="connsiteY130" fmla="*/ 733425 h 733425"/>
              <a:gd name="connsiteX131" fmla="*/ 2889250 w 2889264"/>
              <a:gd name="connsiteY131" fmla="*/ 733425 h 73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889250" h="721515">
                <a:moveTo>
                  <a:pt x="0" y="708815"/>
                </a:moveTo>
                <a:cubicBezTo>
                  <a:pt x="23151" y="695586"/>
                  <a:pt x="52388" y="672832"/>
                  <a:pt x="111125" y="645315"/>
                </a:cubicBezTo>
                <a:cubicBezTo>
                  <a:pt x="169863" y="617798"/>
                  <a:pt x="293688" y="570173"/>
                  <a:pt x="352425" y="543715"/>
                </a:cubicBezTo>
                <a:cubicBezTo>
                  <a:pt x="411162" y="517257"/>
                  <a:pt x="420158" y="507732"/>
                  <a:pt x="463550" y="486565"/>
                </a:cubicBezTo>
                <a:cubicBezTo>
                  <a:pt x="506942" y="465398"/>
                  <a:pt x="556683" y="443703"/>
                  <a:pt x="612775" y="416715"/>
                </a:cubicBezTo>
                <a:cubicBezTo>
                  <a:pt x="668867" y="389727"/>
                  <a:pt x="737658" y="355332"/>
                  <a:pt x="800100" y="324640"/>
                </a:cubicBezTo>
                <a:lnTo>
                  <a:pt x="898525" y="277015"/>
                </a:lnTo>
                <a:lnTo>
                  <a:pt x="1079500" y="188115"/>
                </a:lnTo>
                <a:cubicBezTo>
                  <a:pt x="1101196" y="178061"/>
                  <a:pt x="1139825" y="162715"/>
                  <a:pt x="1181100" y="140490"/>
                </a:cubicBezTo>
                <a:cubicBezTo>
                  <a:pt x="1222375" y="118265"/>
                  <a:pt x="1287992" y="78048"/>
                  <a:pt x="1327150" y="54765"/>
                </a:cubicBezTo>
                <a:cubicBezTo>
                  <a:pt x="1366308" y="31482"/>
                  <a:pt x="1386417" y="5023"/>
                  <a:pt x="1416050" y="790"/>
                </a:cubicBezTo>
                <a:cubicBezTo>
                  <a:pt x="1445683" y="-3443"/>
                  <a:pt x="1461558" y="9786"/>
                  <a:pt x="1504950" y="29365"/>
                </a:cubicBezTo>
                <a:cubicBezTo>
                  <a:pt x="1548342" y="48944"/>
                  <a:pt x="1634067" y="97627"/>
                  <a:pt x="1676400" y="118265"/>
                </a:cubicBezTo>
                <a:cubicBezTo>
                  <a:pt x="1718733" y="138903"/>
                  <a:pt x="1724025" y="134669"/>
                  <a:pt x="1758950" y="153190"/>
                </a:cubicBezTo>
                <a:cubicBezTo>
                  <a:pt x="1793875" y="171711"/>
                  <a:pt x="1852083" y="210869"/>
                  <a:pt x="1885950" y="229390"/>
                </a:cubicBezTo>
                <a:cubicBezTo>
                  <a:pt x="1919817" y="247911"/>
                  <a:pt x="1935163" y="252144"/>
                  <a:pt x="1962150" y="264315"/>
                </a:cubicBezTo>
                <a:cubicBezTo>
                  <a:pt x="1989138" y="276486"/>
                  <a:pt x="2000250" y="278603"/>
                  <a:pt x="2047875" y="302415"/>
                </a:cubicBezTo>
                <a:cubicBezTo>
                  <a:pt x="2095500" y="326228"/>
                  <a:pt x="2189692" y="378086"/>
                  <a:pt x="2247900" y="407190"/>
                </a:cubicBezTo>
                <a:cubicBezTo>
                  <a:pt x="2306108" y="436294"/>
                  <a:pt x="2355850" y="457990"/>
                  <a:pt x="2397125" y="477040"/>
                </a:cubicBezTo>
                <a:lnTo>
                  <a:pt x="2495550" y="521490"/>
                </a:lnTo>
                <a:lnTo>
                  <a:pt x="2673350" y="604040"/>
                </a:lnTo>
                <a:cubicBezTo>
                  <a:pt x="2715683" y="623619"/>
                  <a:pt x="2713567" y="619386"/>
                  <a:pt x="2749550" y="638965"/>
                </a:cubicBezTo>
                <a:cubicBezTo>
                  <a:pt x="2785533" y="658544"/>
                  <a:pt x="2860146" y="704317"/>
                  <a:pt x="2889250" y="721515"/>
                </a:cubicBezTo>
                <a:lnTo>
                  <a:pt x="0" y="708815"/>
                </a:lnTo>
                <a:close/>
              </a:path>
            </a:pathLst>
          </a:custGeom>
          <a:solidFill>
            <a:srgbClr val="97A2BB"/>
          </a:solidFill>
          <a:ln w="12700"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C3FEBDF-26F8-8308-A21B-EE125660C99B}"/>
              </a:ext>
            </a:extLst>
          </p:cNvPr>
          <p:cNvSpPr/>
          <p:nvPr/>
        </p:nvSpPr>
        <p:spPr>
          <a:xfrm>
            <a:off x="7313972" y="3929693"/>
            <a:ext cx="2079835" cy="2206185"/>
          </a:xfrm>
          <a:custGeom>
            <a:avLst/>
            <a:gdLst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28756 w 2961800"/>
              <a:gd name="connsiteY9" fmla="*/ 411396 h 2309562"/>
              <a:gd name="connsiteX10" fmla="*/ 2562256 w 2961800"/>
              <a:gd name="connsiteY10" fmla="*/ 406633 h 2309562"/>
              <a:gd name="connsiteX11" fmla="*/ 2600356 w 2961800"/>
              <a:gd name="connsiteY11" fmla="*/ 425683 h 2309562"/>
              <a:gd name="connsiteX12" fmla="*/ 2600356 w 2961800"/>
              <a:gd name="connsiteY12" fmla="*/ 616183 h 2309562"/>
              <a:gd name="connsiteX13" fmla="*/ 2590831 w 2961800"/>
              <a:gd name="connsiteY13" fmla="*/ 1178158 h 2309562"/>
              <a:gd name="connsiteX14" fmla="*/ 2595593 w 2961800"/>
              <a:gd name="connsiteY14" fmla="*/ 1211496 h 2309562"/>
              <a:gd name="connsiteX15" fmla="*/ 2598768 w 2961800"/>
              <a:gd name="connsiteY15" fmla="*/ 1516296 h 2309562"/>
              <a:gd name="connsiteX16" fmla="*/ 2605118 w 2961800"/>
              <a:gd name="connsiteY16" fmla="*/ 2068746 h 2309562"/>
              <a:gd name="connsiteX17" fmla="*/ 2606706 w 2961800"/>
              <a:gd name="connsiteY17" fmla="*/ 2205271 h 2309562"/>
              <a:gd name="connsiteX18" fmla="*/ 2614643 w 2961800"/>
              <a:gd name="connsiteY18" fmla="*/ 2294171 h 2309562"/>
              <a:gd name="connsiteX19" fmla="*/ 2841656 w 2961800"/>
              <a:gd name="connsiteY19" fmla="*/ 2305283 h 2309562"/>
              <a:gd name="connsiteX20" fmla="*/ 2957543 w 2961800"/>
              <a:gd name="connsiteY20" fmla="*/ 2284646 h 2309562"/>
              <a:gd name="connsiteX21" fmla="*/ 2938493 w 2961800"/>
              <a:gd name="connsiteY21" fmla="*/ 2183046 h 2309562"/>
              <a:gd name="connsiteX22" fmla="*/ 2946431 w 2961800"/>
              <a:gd name="connsiteY22" fmla="*/ 2010008 h 2309562"/>
              <a:gd name="connsiteX23" fmla="*/ 2952781 w 2961800"/>
              <a:gd name="connsiteY23" fmla="*/ 1806808 h 2309562"/>
              <a:gd name="connsiteX24" fmla="*/ 2943256 w 2961800"/>
              <a:gd name="connsiteY24" fmla="*/ 1368658 h 2309562"/>
              <a:gd name="connsiteX25" fmla="*/ 2938493 w 2961800"/>
              <a:gd name="connsiteY25" fmla="*/ 1082908 h 2309562"/>
              <a:gd name="connsiteX26" fmla="*/ 2938493 w 2961800"/>
              <a:gd name="connsiteY26" fmla="*/ 924158 h 2309562"/>
              <a:gd name="connsiteX27" fmla="*/ 2943256 w 2961800"/>
              <a:gd name="connsiteY27" fmla="*/ 573321 h 2309562"/>
              <a:gd name="connsiteX28" fmla="*/ 2948018 w 2961800"/>
              <a:gd name="connsiteY28" fmla="*/ 344721 h 2309562"/>
              <a:gd name="connsiteX29" fmla="*/ 2948018 w 2961800"/>
              <a:gd name="connsiteY29" fmla="*/ 36746 h 2309562"/>
              <a:gd name="connsiteX30" fmla="*/ 2838481 w 2961800"/>
              <a:gd name="connsiteY30" fmla="*/ 17696 h 2309562"/>
              <a:gd name="connsiteX31" fmla="*/ 2714656 w 2961800"/>
              <a:gd name="connsiteY31" fmla="*/ 11346 h 2309562"/>
              <a:gd name="connsiteX32" fmla="*/ 2371756 w 2961800"/>
              <a:gd name="connsiteY32" fmla="*/ 16108 h 2309562"/>
              <a:gd name="connsiteX33" fmla="*/ 1944718 w 2961800"/>
              <a:gd name="connsiteY33" fmla="*/ 20871 h 2309562"/>
              <a:gd name="connsiteX34" fmla="*/ 1795493 w 2961800"/>
              <a:gd name="connsiteY34" fmla="*/ 11346 h 2309562"/>
              <a:gd name="connsiteX35" fmla="*/ 1519268 w 2961800"/>
              <a:gd name="connsiteY35" fmla="*/ 6583 h 2309562"/>
              <a:gd name="connsiteX36" fmla="*/ 1085881 w 2961800"/>
              <a:gd name="connsiteY36" fmla="*/ 14521 h 2309562"/>
              <a:gd name="connsiteX37" fmla="*/ 176243 w 2961800"/>
              <a:gd name="connsiteY37" fmla="*/ 11346 h 2309562"/>
              <a:gd name="connsiteX38" fmla="*/ 28606 w 2961800"/>
              <a:gd name="connsiteY38" fmla="*/ 12933 h 2309562"/>
              <a:gd name="connsiteX39" fmla="*/ 14318 w 2961800"/>
              <a:gd name="connsiteY39" fmla="*/ 173271 h 2309562"/>
              <a:gd name="connsiteX40" fmla="*/ 4793 w 2961800"/>
              <a:gd name="connsiteY40" fmla="*/ 392346 h 2309562"/>
              <a:gd name="connsiteX41" fmla="*/ 31 w 2961800"/>
              <a:gd name="connsiteY41" fmla="*/ 801921 h 2309562"/>
              <a:gd name="connsiteX42" fmla="*/ 31 w 2961800"/>
              <a:gd name="connsiteY42" fmla="*/ 873358 h 2309562"/>
              <a:gd name="connsiteX43" fmla="*/ 4793 w 2961800"/>
              <a:gd name="connsiteY43" fmla="*/ 1159108 h 2309562"/>
              <a:gd name="connsiteX44" fmla="*/ 14318 w 2961800"/>
              <a:gd name="connsiteY44" fmla="*/ 1478196 h 2309562"/>
              <a:gd name="connsiteX45" fmla="*/ 6381 w 2961800"/>
              <a:gd name="connsiteY45" fmla="*/ 1846496 h 2309562"/>
              <a:gd name="connsiteX46" fmla="*/ 4793 w 2961800"/>
              <a:gd name="connsiteY46" fmla="*/ 2016358 h 2309562"/>
              <a:gd name="connsiteX47" fmla="*/ 14318 w 2961800"/>
              <a:gd name="connsiteY47" fmla="*/ 2240196 h 2309562"/>
              <a:gd name="connsiteX48" fmla="*/ 4793 w 2961800"/>
              <a:gd name="connsiteY48" fmla="*/ 2302108 h 2309562"/>
              <a:gd name="connsiteX49" fmla="*/ 4793 w 2961800"/>
              <a:gd name="connsiteY49" fmla="*/ 2302108 h 2309562"/>
              <a:gd name="connsiteX50" fmla="*/ 4793 w 2961800"/>
              <a:gd name="connsiteY50" fmla="*/ 2302108 h 2309562"/>
              <a:gd name="connsiteX51" fmla="*/ 4793 w 2961800"/>
              <a:gd name="connsiteY51" fmla="*/ 2302108 h 2309562"/>
              <a:gd name="connsiteX52" fmla="*/ 4793 w 2961800"/>
              <a:gd name="connsiteY52" fmla="*/ 2302108 h 2309562"/>
              <a:gd name="connsiteX53" fmla="*/ 4793 w 2961800"/>
              <a:gd name="connsiteY53" fmla="*/ 2302108 h 2309562"/>
              <a:gd name="connsiteX54" fmla="*/ 4793 w 2961800"/>
              <a:gd name="connsiteY54" fmla="*/ 2302108 h 2309562"/>
              <a:gd name="connsiteX55" fmla="*/ 4793 w 2961800"/>
              <a:gd name="connsiteY55" fmla="*/ 2301228 h 2308682"/>
              <a:gd name="connsiteX56" fmla="*/ 5327 w 2962334"/>
              <a:gd name="connsiteY56" fmla="*/ 2300287 h 2307741"/>
              <a:gd name="connsiteX57" fmla="*/ 10431 w 2967438"/>
              <a:gd name="connsiteY57" fmla="*/ 2300287 h 2307741"/>
              <a:gd name="connsiteX58" fmla="*/ 10431 w 2967438"/>
              <a:gd name="connsiteY58" fmla="*/ 2300287 h 2307741"/>
              <a:gd name="connsiteX59" fmla="*/ 10431 w 2967438"/>
              <a:gd name="connsiteY59" fmla="*/ 2300287 h 2305041"/>
              <a:gd name="connsiteX60" fmla="*/ 10431 w 2967438"/>
              <a:gd name="connsiteY60" fmla="*/ 2300287 h 2305041"/>
              <a:gd name="connsiteX61" fmla="*/ 10431 w 2967438"/>
              <a:gd name="connsiteY61" fmla="*/ 2300287 h 2305041"/>
              <a:gd name="connsiteX62" fmla="*/ 10431 w 2967438"/>
              <a:gd name="connsiteY62" fmla="*/ 2300287 h 2305041"/>
              <a:gd name="connsiteX63" fmla="*/ 10431 w 2967438"/>
              <a:gd name="connsiteY63" fmla="*/ 2300287 h 2305041"/>
              <a:gd name="connsiteX64" fmla="*/ 10431 w 2967438"/>
              <a:gd name="connsiteY64" fmla="*/ 2300287 h 2305041"/>
              <a:gd name="connsiteX65" fmla="*/ 14287 w 2971294"/>
              <a:gd name="connsiteY65" fmla="*/ 2300287 h 2305041"/>
              <a:gd name="connsiteX66" fmla="*/ 14287 w 2971294"/>
              <a:gd name="connsiteY66" fmla="*/ 2300287 h 2305041"/>
              <a:gd name="connsiteX67" fmla="*/ 14287 w 2971294"/>
              <a:gd name="connsiteY67" fmla="*/ 2300287 h 2305041"/>
              <a:gd name="connsiteX68" fmla="*/ 14287 w 2971294"/>
              <a:gd name="connsiteY68" fmla="*/ 2300287 h 2305041"/>
              <a:gd name="connsiteX69" fmla="*/ 14287 w 2971294"/>
              <a:gd name="connsiteY69" fmla="*/ 2300287 h 2305041"/>
              <a:gd name="connsiteX70" fmla="*/ 14287 w 2971294"/>
              <a:gd name="connsiteY70" fmla="*/ 2300287 h 2305041"/>
              <a:gd name="connsiteX71" fmla="*/ 14287 w 2971294"/>
              <a:gd name="connsiteY71" fmla="*/ 2300287 h 2305041"/>
              <a:gd name="connsiteX72" fmla="*/ 14287 w 2971294"/>
              <a:gd name="connsiteY72" fmla="*/ 2300287 h 2305041"/>
              <a:gd name="connsiteX73" fmla="*/ 14287 w 2971294"/>
              <a:gd name="connsiteY73" fmla="*/ 2300287 h 2305041"/>
              <a:gd name="connsiteX74" fmla="*/ 14287 w 2971294"/>
              <a:gd name="connsiteY74" fmla="*/ 2300287 h 2305041"/>
              <a:gd name="connsiteX75" fmla="*/ 14287 w 2971294"/>
              <a:gd name="connsiteY75" fmla="*/ 2300287 h 2305041"/>
              <a:gd name="connsiteX76" fmla="*/ 14287 w 2971294"/>
              <a:gd name="connsiteY76" fmla="*/ 2300287 h 2305041"/>
              <a:gd name="connsiteX77" fmla="*/ 14287 w 2971294"/>
              <a:gd name="connsiteY77" fmla="*/ 2300287 h 2305041"/>
              <a:gd name="connsiteX78" fmla="*/ 14287 w 2971294"/>
              <a:gd name="connsiteY78" fmla="*/ 2300287 h 2305041"/>
              <a:gd name="connsiteX79" fmla="*/ 14287 w 2971294"/>
              <a:gd name="connsiteY79" fmla="*/ 2300287 h 2305041"/>
              <a:gd name="connsiteX80" fmla="*/ 14287 w 2971294"/>
              <a:gd name="connsiteY80" fmla="*/ 2300287 h 2305041"/>
              <a:gd name="connsiteX81" fmla="*/ 14287 w 2971294"/>
              <a:gd name="connsiteY81" fmla="*/ 2300287 h 2305041"/>
              <a:gd name="connsiteX82" fmla="*/ 14287 w 2971294"/>
              <a:gd name="connsiteY82" fmla="*/ 2300287 h 2305041"/>
              <a:gd name="connsiteX83" fmla="*/ 14287 w 2971294"/>
              <a:gd name="connsiteY83" fmla="*/ 2300287 h 2305041"/>
              <a:gd name="connsiteX84" fmla="*/ 14287 w 2971294"/>
              <a:gd name="connsiteY84" fmla="*/ 2300287 h 2305041"/>
              <a:gd name="connsiteX85" fmla="*/ 14287 w 2971294"/>
              <a:gd name="connsiteY85" fmla="*/ 2300287 h 2305041"/>
              <a:gd name="connsiteX86" fmla="*/ 14287 w 2971294"/>
              <a:gd name="connsiteY86" fmla="*/ 2300287 h 2305041"/>
              <a:gd name="connsiteX87" fmla="*/ 14287 w 2971294"/>
              <a:gd name="connsiteY87" fmla="*/ 2300287 h 2305041"/>
              <a:gd name="connsiteX88" fmla="*/ 14287 w 2971294"/>
              <a:gd name="connsiteY88" fmla="*/ 2300287 h 2305041"/>
              <a:gd name="connsiteX89" fmla="*/ 14287 w 2971294"/>
              <a:gd name="connsiteY89" fmla="*/ 2300287 h 2305041"/>
              <a:gd name="connsiteX90" fmla="*/ 14287 w 2971294"/>
              <a:gd name="connsiteY90" fmla="*/ 2300287 h 2305041"/>
              <a:gd name="connsiteX91" fmla="*/ 14287 w 2971294"/>
              <a:gd name="connsiteY91" fmla="*/ 2300287 h 2305041"/>
              <a:gd name="connsiteX92" fmla="*/ 14287 w 2971294"/>
              <a:gd name="connsiteY92" fmla="*/ 2300287 h 2305041"/>
              <a:gd name="connsiteX93" fmla="*/ 14287 w 2962875"/>
              <a:gd name="connsiteY93" fmla="*/ 2300287 h 2314046"/>
              <a:gd name="connsiteX94" fmla="*/ 14287 w 2962875"/>
              <a:gd name="connsiteY94" fmla="*/ 2300287 h 2314046"/>
              <a:gd name="connsiteX95" fmla="*/ 14287 w 2962875"/>
              <a:gd name="connsiteY95" fmla="*/ 2300287 h 2313876"/>
              <a:gd name="connsiteX96" fmla="*/ 14287 w 2962317"/>
              <a:gd name="connsiteY96" fmla="*/ 2300287 h 2315988"/>
              <a:gd name="connsiteX97" fmla="*/ 14287 w 2963138"/>
              <a:gd name="connsiteY97" fmla="*/ 2300287 h 2313680"/>
              <a:gd name="connsiteX98" fmla="*/ 14287 w 2963138"/>
              <a:gd name="connsiteY98" fmla="*/ 2300287 h 2313680"/>
              <a:gd name="connsiteX99" fmla="*/ 14287 w 2963138"/>
              <a:gd name="connsiteY99" fmla="*/ 2300287 h 2313680"/>
              <a:gd name="connsiteX100" fmla="*/ 14287 w 2963138"/>
              <a:gd name="connsiteY100" fmla="*/ 2300287 h 2313680"/>
              <a:gd name="connsiteX101" fmla="*/ 14287 w 2963138"/>
              <a:gd name="connsiteY101" fmla="*/ 2300287 h 2313680"/>
              <a:gd name="connsiteX102" fmla="*/ 14287 w 2963138"/>
              <a:gd name="connsiteY102" fmla="*/ 2300287 h 2313680"/>
              <a:gd name="connsiteX103" fmla="*/ 14287 w 2963138"/>
              <a:gd name="connsiteY103" fmla="*/ 2300287 h 2313680"/>
              <a:gd name="connsiteX104" fmla="*/ 14287 w 2963138"/>
              <a:gd name="connsiteY104" fmla="*/ 2300287 h 2313680"/>
              <a:gd name="connsiteX105" fmla="*/ 14287 w 2963138"/>
              <a:gd name="connsiteY105" fmla="*/ 2300287 h 2313680"/>
              <a:gd name="connsiteX106" fmla="*/ 14287 w 2963138"/>
              <a:gd name="connsiteY106" fmla="*/ 2300287 h 2313680"/>
              <a:gd name="connsiteX107" fmla="*/ 14287 w 2963138"/>
              <a:gd name="connsiteY107" fmla="*/ 2300287 h 2313680"/>
              <a:gd name="connsiteX108" fmla="*/ 14287 w 2963138"/>
              <a:gd name="connsiteY108" fmla="*/ 2300287 h 2313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961800" h="2309562">
                <a:moveTo>
                  <a:pt x="4793" y="2302108"/>
                </a:moveTo>
                <a:cubicBezTo>
                  <a:pt x="61943" y="2311898"/>
                  <a:pt x="299274" y="2313220"/>
                  <a:pt x="357218" y="2298933"/>
                </a:cubicBezTo>
                <a:cubicBezTo>
                  <a:pt x="364362" y="2290996"/>
                  <a:pt x="352456" y="2334916"/>
                  <a:pt x="352456" y="2216383"/>
                </a:cubicBezTo>
                <a:cubicBezTo>
                  <a:pt x="352456" y="2097850"/>
                  <a:pt x="354837" y="1769502"/>
                  <a:pt x="357218" y="1587733"/>
                </a:cubicBezTo>
                <a:cubicBezTo>
                  <a:pt x="360393" y="1433746"/>
                  <a:pt x="362259" y="1279726"/>
                  <a:pt x="366743" y="1125771"/>
                </a:cubicBezTo>
                <a:cubicBezTo>
                  <a:pt x="367537" y="940034"/>
                  <a:pt x="361981" y="591577"/>
                  <a:pt x="361981" y="473308"/>
                </a:cubicBezTo>
                <a:cubicBezTo>
                  <a:pt x="361981" y="355039"/>
                  <a:pt x="353779" y="427535"/>
                  <a:pt x="366743" y="416158"/>
                </a:cubicBezTo>
                <a:cubicBezTo>
                  <a:pt x="379707" y="404781"/>
                  <a:pt x="431831" y="424096"/>
                  <a:pt x="515968" y="424096"/>
                </a:cubicBezTo>
                <a:cubicBezTo>
                  <a:pt x="600105" y="424096"/>
                  <a:pt x="752770" y="418275"/>
                  <a:pt x="871568" y="416158"/>
                </a:cubicBezTo>
                <a:cubicBezTo>
                  <a:pt x="990366" y="414041"/>
                  <a:pt x="946975" y="412984"/>
                  <a:pt x="1228756" y="411396"/>
                </a:cubicBezTo>
                <a:lnTo>
                  <a:pt x="2562256" y="406633"/>
                </a:lnTo>
                <a:cubicBezTo>
                  <a:pt x="2576262" y="408967"/>
                  <a:pt x="2594006" y="390758"/>
                  <a:pt x="2600356" y="425683"/>
                </a:cubicBezTo>
                <a:cubicBezTo>
                  <a:pt x="2606706" y="460608"/>
                  <a:pt x="2601943" y="490771"/>
                  <a:pt x="2600356" y="616183"/>
                </a:cubicBezTo>
                <a:cubicBezTo>
                  <a:pt x="2598769" y="741595"/>
                  <a:pt x="2591625" y="1078939"/>
                  <a:pt x="2590831" y="1178158"/>
                </a:cubicBezTo>
                <a:cubicBezTo>
                  <a:pt x="2590037" y="1277377"/>
                  <a:pt x="2594270" y="1155140"/>
                  <a:pt x="2595593" y="1211496"/>
                </a:cubicBezTo>
                <a:cubicBezTo>
                  <a:pt x="2596916" y="1267852"/>
                  <a:pt x="2597181" y="1373421"/>
                  <a:pt x="2598768" y="1516296"/>
                </a:cubicBezTo>
                <a:cubicBezTo>
                  <a:pt x="2600355" y="1659171"/>
                  <a:pt x="2603795" y="1953917"/>
                  <a:pt x="2605118" y="2068746"/>
                </a:cubicBezTo>
                <a:cubicBezTo>
                  <a:pt x="2606441" y="2183575"/>
                  <a:pt x="2605119" y="2167700"/>
                  <a:pt x="2606706" y="2205271"/>
                </a:cubicBezTo>
                <a:cubicBezTo>
                  <a:pt x="2608293" y="2242842"/>
                  <a:pt x="2575485" y="2277502"/>
                  <a:pt x="2614643" y="2294171"/>
                </a:cubicBezTo>
                <a:cubicBezTo>
                  <a:pt x="2653801" y="2310840"/>
                  <a:pt x="2784506" y="2306871"/>
                  <a:pt x="2841656" y="2305283"/>
                </a:cubicBezTo>
                <a:cubicBezTo>
                  <a:pt x="2898806" y="2303696"/>
                  <a:pt x="2941404" y="2305019"/>
                  <a:pt x="2957543" y="2284646"/>
                </a:cubicBezTo>
                <a:cubicBezTo>
                  <a:pt x="2973682" y="2264273"/>
                  <a:pt x="2938757" y="2232523"/>
                  <a:pt x="2938493" y="2183046"/>
                </a:cubicBezTo>
                <a:cubicBezTo>
                  <a:pt x="2938229" y="2133569"/>
                  <a:pt x="2944050" y="2072714"/>
                  <a:pt x="2946431" y="2010008"/>
                </a:cubicBezTo>
                <a:cubicBezTo>
                  <a:pt x="2948812" y="1947302"/>
                  <a:pt x="2953310" y="1913700"/>
                  <a:pt x="2952781" y="1806808"/>
                </a:cubicBezTo>
                <a:cubicBezTo>
                  <a:pt x="2952252" y="1699916"/>
                  <a:pt x="2944424" y="1428801"/>
                  <a:pt x="2943256" y="1368658"/>
                </a:cubicBezTo>
                <a:cubicBezTo>
                  <a:pt x="2941407" y="1273413"/>
                  <a:pt x="2939287" y="1156991"/>
                  <a:pt x="2938493" y="1082908"/>
                </a:cubicBezTo>
                <a:cubicBezTo>
                  <a:pt x="2937699" y="1008825"/>
                  <a:pt x="2937699" y="1009089"/>
                  <a:pt x="2938493" y="924158"/>
                </a:cubicBezTo>
                <a:cubicBezTo>
                  <a:pt x="2941668" y="853514"/>
                  <a:pt x="2938494" y="672540"/>
                  <a:pt x="2943256" y="573321"/>
                </a:cubicBezTo>
                <a:cubicBezTo>
                  <a:pt x="2945637" y="522521"/>
                  <a:pt x="2947224" y="434150"/>
                  <a:pt x="2948018" y="344721"/>
                </a:cubicBezTo>
                <a:cubicBezTo>
                  <a:pt x="2943256" y="274077"/>
                  <a:pt x="2951193" y="96277"/>
                  <a:pt x="2948018" y="36746"/>
                </a:cubicBezTo>
                <a:cubicBezTo>
                  <a:pt x="2937699" y="-23579"/>
                  <a:pt x="2877375" y="21929"/>
                  <a:pt x="2838481" y="17696"/>
                </a:cubicBezTo>
                <a:cubicBezTo>
                  <a:pt x="2799587" y="13463"/>
                  <a:pt x="2792443" y="11611"/>
                  <a:pt x="2714656" y="11346"/>
                </a:cubicBezTo>
                <a:cubicBezTo>
                  <a:pt x="2636869" y="11081"/>
                  <a:pt x="2486056" y="14521"/>
                  <a:pt x="2371756" y="16108"/>
                </a:cubicBezTo>
                <a:lnTo>
                  <a:pt x="1944718" y="20871"/>
                </a:lnTo>
                <a:cubicBezTo>
                  <a:pt x="1848674" y="20077"/>
                  <a:pt x="1866401" y="13727"/>
                  <a:pt x="1795493" y="11346"/>
                </a:cubicBezTo>
                <a:cubicBezTo>
                  <a:pt x="1724585" y="8965"/>
                  <a:pt x="1637537" y="6054"/>
                  <a:pt x="1519268" y="6583"/>
                </a:cubicBezTo>
                <a:cubicBezTo>
                  <a:pt x="1400999" y="7112"/>
                  <a:pt x="1239318" y="-7399"/>
                  <a:pt x="1085881" y="14521"/>
                </a:cubicBezTo>
                <a:lnTo>
                  <a:pt x="176243" y="11346"/>
                </a:lnTo>
                <a:cubicBezTo>
                  <a:pt x="132587" y="9229"/>
                  <a:pt x="55593" y="-14054"/>
                  <a:pt x="28606" y="12933"/>
                </a:cubicBezTo>
                <a:cubicBezTo>
                  <a:pt x="1619" y="39920"/>
                  <a:pt x="18287" y="110036"/>
                  <a:pt x="14318" y="173271"/>
                </a:cubicBezTo>
                <a:cubicBezTo>
                  <a:pt x="10349" y="236507"/>
                  <a:pt x="7174" y="287571"/>
                  <a:pt x="4793" y="392346"/>
                </a:cubicBezTo>
                <a:cubicBezTo>
                  <a:pt x="2412" y="497121"/>
                  <a:pt x="825" y="721752"/>
                  <a:pt x="31" y="801921"/>
                </a:cubicBezTo>
                <a:cubicBezTo>
                  <a:pt x="-763" y="882090"/>
                  <a:pt x="14485" y="728802"/>
                  <a:pt x="31" y="873358"/>
                </a:cubicBezTo>
                <a:cubicBezTo>
                  <a:pt x="1618" y="968608"/>
                  <a:pt x="2072" y="1063884"/>
                  <a:pt x="4793" y="1159108"/>
                </a:cubicBezTo>
                <a:cubicBezTo>
                  <a:pt x="7174" y="1259914"/>
                  <a:pt x="14053" y="1363631"/>
                  <a:pt x="14318" y="1478196"/>
                </a:cubicBezTo>
                <a:cubicBezTo>
                  <a:pt x="14583" y="1592761"/>
                  <a:pt x="7969" y="1756802"/>
                  <a:pt x="6381" y="1846496"/>
                </a:cubicBezTo>
                <a:cubicBezTo>
                  <a:pt x="4793" y="1936190"/>
                  <a:pt x="3470" y="1950741"/>
                  <a:pt x="4793" y="2016358"/>
                </a:cubicBezTo>
                <a:cubicBezTo>
                  <a:pt x="6116" y="2081975"/>
                  <a:pt x="14318" y="2192571"/>
                  <a:pt x="14318" y="2240196"/>
                </a:cubicBezTo>
                <a:cubicBezTo>
                  <a:pt x="14318" y="2287821"/>
                  <a:pt x="-1557" y="2292583"/>
                  <a:pt x="4793" y="2302108"/>
                </a:cubicBezTo>
                <a:close/>
              </a:path>
            </a:pathLst>
          </a:custGeom>
          <a:solidFill>
            <a:srgbClr val="E1EBE5"/>
          </a:solidFill>
          <a:ln w="12700"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7CD4DF0-192E-7AFD-DC13-0933A1CF96FC}"/>
              </a:ext>
            </a:extLst>
          </p:cNvPr>
          <p:cNvSpPr/>
          <p:nvPr/>
        </p:nvSpPr>
        <p:spPr>
          <a:xfrm>
            <a:off x="7337403" y="3656032"/>
            <a:ext cx="2028888" cy="280465"/>
          </a:xfrm>
          <a:custGeom>
            <a:avLst/>
            <a:gdLst>
              <a:gd name="connsiteX0" fmla="*/ 0 w 2889250"/>
              <a:gd name="connsiteY0" fmla="*/ 708815 h 721515"/>
              <a:gd name="connsiteX1" fmla="*/ 111125 w 2889250"/>
              <a:gd name="connsiteY1" fmla="*/ 645315 h 721515"/>
              <a:gd name="connsiteX2" fmla="*/ 352425 w 2889250"/>
              <a:gd name="connsiteY2" fmla="*/ 543715 h 721515"/>
              <a:gd name="connsiteX3" fmla="*/ 463550 w 2889250"/>
              <a:gd name="connsiteY3" fmla="*/ 486565 h 721515"/>
              <a:gd name="connsiteX4" fmla="*/ 612775 w 2889250"/>
              <a:gd name="connsiteY4" fmla="*/ 416715 h 721515"/>
              <a:gd name="connsiteX5" fmla="*/ 800100 w 2889250"/>
              <a:gd name="connsiteY5" fmla="*/ 324640 h 721515"/>
              <a:gd name="connsiteX6" fmla="*/ 898525 w 2889250"/>
              <a:gd name="connsiteY6" fmla="*/ 277015 h 721515"/>
              <a:gd name="connsiteX7" fmla="*/ 1079500 w 2889250"/>
              <a:gd name="connsiteY7" fmla="*/ 188115 h 721515"/>
              <a:gd name="connsiteX8" fmla="*/ 1181100 w 2889250"/>
              <a:gd name="connsiteY8" fmla="*/ 140490 h 721515"/>
              <a:gd name="connsiteX9" fmla="*/ 1327150 w 2889250"/>
              <a:gd name="connsiteY9" fmla="*/ 54765 h 721515"/>
              <a:gd name="connsiteX10" fmla="*/ 1416050 w 2889250"/>
              <a:gd name="connsiteY10" fmla="*/ 790 h 721515"/>
              <a:gd name="connsiteX11" fmla="*/ 1504950 w 2889250"/>
              <a:gd name="connsiteY11" fmla="*/ 29365 h 721515"/>
              <a:gd name="connsiteX12" fmla="*/ 1676400 w 2889250"/>
              <a:gd name="connsiteY12" fmla="*/ 118265 h 721515"/>
              <a:gd name="connsiteX13" fmla="*/ 1758950 w 2889250"/>
              <a:gd name="connsiteY13" fmla="*/ 153190 h 721515"/>
              <a:gd name="connsiteX14" fmla="*/ 1885950 w 2889250"/>
              <a:gd name="connsiteY14" fmla="*/ 229390 h 721515"/>
              <a:gd name="connsiteX15" fmla="*/ 1962150 w 2889250"/>
              <a:gd name="connsiteY15" fmla="*/ 264315 h 721515"/>
              <a:gd name="connsiteX16" fmla="*/ 2047875 w 2889250"/>
              <a:gd name="connsiteY16" fmla="*/ 302415 h 721515"/>
              <a:gd name="connsiteX17" fmla="*/ 2247900 w 2889250"/>
              <a:gd name="connsiteY17" fmla="*/ 407190 h 721515"/>
              <a:gd name="connsiteX18" fmla="*/ 2397125 w 2889250"/>
              <a:gd name="connsiteY18" fmla="*/ 477040 h 721515"/>
              <a:gd name="connsiteX19" fmla="*/ 2495550 w 2889250"/>
              <a:gd name="connsiteY19" fmla="*/ 521490 h 721515"/>
              <a:gd name="connsiteX20" fmla="*/ 2673350 w 2889250"/>
              <a:gd name="connsiteY20" fmla="*/ 604040 h 721515"/>
              <a:gd name="connsiteX21" fmla="*/ 2749550 w 2889250"/>
              <a:gd name="connsiteY21" fmla="*/ 638965 h 721515"/>
              <a:gd name="connsiteX22" fmla="*/ 2889250 w 2889250"/>
              <a:gd name="connsiteY22" fmla="*/ 721515 h 721515"/>
              <a:gd name="connsiteX23" fmla="*/ 2889250 w 2889250"/>
              <a:gd name="connsiteY23" fmla="*/ 721515 h 721515"/>
              <a:gd name="connsiteX24" fmla="*/ 2889250 w 2889250"/>
              <a:gd name="connsiteY24" fmla="*/ 721207 h 721207"/>
              <a:gd name="connsiteX25" fmla="*/ 2889250 w 2889250"/>
              <a:gd name="connsiteY25" fmla="*/ 721207 h 721207"/>
              <a:gd name="connsiteX26" fmla="*/ 2889250 w 2889250"/>
              <a:gd name="connsiteY26" fmla="*/ 721207 h 721207"/>
              <a:gd name="connsiteX27" fmla="*/ 2889250 w 2889250"/>
              <a:gd name="connsiteY27" fmla="*/ 721207 h 721207"/>
              <a:gd name="connsiteX28" fmla="*/ 2889250 w 2889250"/>
              <a:gd name="connsiteY28" fmla="*/ 721207 h 721207"/>
              <a:gd name="connsiteX29" fmla="*/ 2889250 w 2889250"/>
              <a:gd name="connsiteY29" fmla="*/ 721207 h 721207"/>
              <a:gd name="connsiteX30" fmla="*/ 2889250 w 2889250"/>
              <a:gd name="connsiteY30" fmla="*/ 721207 h 721207"/>
              <a:gd name="connsiteX31" fmla="*/ 2889250 w 2889250"/>
              <a:gd name="connsiteY31" fmla="*/ 721207 h 721207"/>
              <a:gd name="connsiteX32" fmla="*/ 2889250 w 2889250"/>
              <a:gd name="connsiteY32" fmla="*/ 722729 h 722729"/>
              <a:gd name="connsiteX33" fmla="*/ 2889250 w 2889250"/>
              <a:gd name="connsiteY33" fmla="*/ 722729 h 722729"/>
              <a:gd name="connsiteX34" fmla="*/ 2889250 w 2889250"/>
              <a:gd name="connsiteY34" fmla="*/ 722729 h 722729"/>
              <a:gd name="connsiteX35" fmla="*/ 2889250 w 2889250"/>
              <a:gd name="connsiteY35" fmla="*/ 722729 h 722729"/>
              <a:gd name="connsiteX36" fmla="*/ 2889250 w 2889250"/>
              <a:gd name="connsiteY36" fmla="*/ 722729 h 722729"/>
              <a:gd name="connsiteX37" fmla="*/ 2889250 w 2889250"/>
              <a:gd name="connsiteY37" fmla="*/ 722729 h 722729"/>
              <a:gd name="connsiteX38" fmla="*/ 2889250 w 2889250"/>
              <a:gd name="connsiteY38" fmla="*/ 722729 h 722729"/>
              <a:gd name="connsiteX39" fmla="*/ 2889250 w 2889264"/>
              <a:gd name="connsiteY39" fmla="*/ 722729 h 722729"/>
              <a:gd name="connsiteX40" fmla="*/ 2889250 w 2889264"/>
              <a:gd name="connsiteY40" fmla="*/ 722729 h 722729"/>
              <a:gd name="connsiteX41" fmla="*/ 2889250 w 2889264"/>
              <a:gd name="connsiteY41" fmla="*/ 722729 h 722729"/>
              <a:gd name="connsiteX42" fmla="*/ 2889250 w 2889264"/>
              <a:gd name="connsiteY42" fmla="*/ 722729 h 722729"/>
              <a:gd name="connsiteX43" fmla="*/ 2889250 w 2889264"/>
              <a:gd name="connsiteY43" fmla="*/ 722729 h 722729"/>
              <a:gd name="connsiteX44" fmla="*/ 2889250 w 2889264"/>
              <a:gd name="connsiteY44" fmla="*/ 722729 h 722729"/>
              <a:gd name="connsiteX45" fmla="*/ 2889250 w 2889264"/>
              <a:gd name="connsiteY45" fmla="*/ 722729 h 722729"/>
              <a:gd name="connsiteX46" fmla="*/ 2889250 w 2889264"/>
              <a:gd name="connsiteY46" fmla="*/ 722729 h 722729"/>
              <a:gd name="connsiteX47" fmla="*/ 2889250 w 2889264"/>
              <a:gd name="connsiteY47" fmla="*/ 722729 h 722729"/>
              <a:gd name="connsiteX48" fmla="*/ 2889250 w 2889264"/>
              <a:gd name="connsiteY48" fmla="*/ 722729 h 722729"/>
              <a:gd name="connsiteX49" fmla="*/ 2889250 w 2889264"/>
              <a:gd name="connsiteY49" fmla="*/ 722729 h 722729"/>
              <a:gd name="connsiteX50" fmla="*/ 2889250 w 2889264"/>
              <a:gd name="connsiteY50" fmla="*/ 722729 h 722729"/>
              <a:gd name="connsiteX51" fmla="*/ 2889250 w 2889264"/>
              <a:gd name="connsiteY51" fmla="*/ 722729 h 722729"/>
              <a:gd name="connsiteX52" fmla="*/ 2889250 w 2889264"/>
              <a:gd name="connsiteY52" fmla="*/ 722729 h 722729"/>
              <a:gd name="connsiteX53" fmla="*/ 2889250 w 2889264"/>
              <a:gd name="connsiteY53" fmla="*/ 722729 h 722729"/>
              <a:gd name="connsiteX54" fmla="*/ 2889250 w 2889264"/>
              <a:gd name="connsiteY54" fmla="*/ 722729 h 722729"/>
              <a:gd name="connsiteX55" fmla="*/ 2889250 w 2889264"/>
              <a:gd name="connsiteY55" fmla="*/ 722729 h 722729"/>
              <a:gd name="connsiteX56" fmla="*/ 2889250 w 2889264"/>
              <a:gd name="connsiteY56" fmla="*/ 722729 h 722729"/>
              <a:gd name="connsiteX57" fmla="*/ 2889250 w 2889264"/>
              <a:gd name="connsiteY57" fmla="*/ 722729 h 722729"/>
              <a:gd name="connsiteX58" fmla="*/ 2889250 w 2889264"/>
              <a:gd name="connsiteY58" fmla="*/ 722729 h 722729"/>
              <a:gd name="connsiteX59" fmla="*/ 2889250 w 2889264"/>
              <a:gd name="connsiteY59" fmla="*/ 722729 h 722729"/>
              <a:gd name="connsiteX60" fmla="*/ 2889250 w 2889264"/>
              <a:gd name="connsiteY60" fmla="*/ 722729 h 722729"/>
              <a:gd name="connsiteX61" fmla="*/ 2889250 w 2889264"/>
              <a:gd name="connsiteY61" fmla="*/ 722729 h 722729"/>
              <a:gd name="connsiteX62" fmla="*/ 2889250 w 2889264"/>
              <a:gd name="connsiteY62" fmla="*/ 722729 h 722729"/>
              <a:gd name="connsiteX63" fmla="*/ 2889250 w 2889264"/>
              <a:gd name="connsiteY63" fmla="*/ 722729 h 722729"/>
              <a:gd name="connsiteX64" fmla="*/ 2889250 w 2889264"/>
              <a:gd name="connsiteY64" fmla="*/ 722729 h 722729"/>
              <a:gd name="connsiteX65" fmla="*/ 2889250 w 2889264"/>
              <a:gd name="connsiteY65" fmla="*/ 722729 h 722729"/>
              <a:gd name="connsiteX66" fmla="*/ 2889250 w 2889264"/>
              <a:gd name="connsiteY66" fmla="*/ 722729 h 722729"/>
              <a:gd name="connsiteX67" fmla="*/ 2889250 w 2889264"/>
              <a:gd name="connsiteY67" fmla="*/ 722729 h 722729"/>
              <a:gd name="connsiteX68" fmla="*/ 2889250 w 2889264"/>
              <a:gd name="connsiteY68" fmla="*/ 722729 h 722729"/>
              <a:gd name="connsiteX69" fmla="*/ 2889250 w 2889264"/>
              <a:gd name="connsiteY69" fmla="*/ 722729 h 722729"/>
              <a:gd name="connsiteX70" fmla="*/ 2889250 w 2889264"/>
              <a:gd name="connsiteY70" fmla="*/ 722729 h 722729"/>
              <a:gd name="connsiteX71" fmla="*/ 2889250 w 2889264"/>
              <a:gd name="connsiteY71" fmla="*/ 722729 h 722729"/>
              <a:gd name="connsiteX72" fmla="*/ 2889250 w 2889264"/>
              <a:gd name="connsiteY72" fmla="*/ 722729 h 722729"/>
              <a:gd name="connsiteX73" fmla="*/ 2889250 w 2889264"/>
              <a:gd name="connsiteY73" fmla="*/ 722729 h 722729"/>
              <a:gd name="connsiteX74" fmla="*/ 2889250 w 2889264"/>
              <a:gd name="connsiteY74" fmla="*/ 722729 h 722729"/>
              <a:gd name="connsiteX75" fmla="*/ 2889250 w 2889264"/>
              <a:gd name="connsiteY75" fmla="*/ 722729 h 722729"/>
              <a:gd name="connsiteX76" fmla="*/ 2889250 w 2889264"/>
              <a:gd name="connsiteY76" fmla="*/ 722729 h 722729"/>
              <a:gd name="connsiteX77" fmla="*/ 2889250 w 2889264"/>
              <a:gd name="connsiteY77" fmla="*/ 722729 h 722729"/>
              <a:gd name="connsiteX78" fmla="*/ 2889250 w 2889264"/>
              <a:gd name="connsiteY78" fmla="*/ 722729 h 722729"/>
              <a:gd name="connsiteX79" fmla="*/ 2889250 w 2889264"/>
              <a:gd name="connsiteY79" fmla="*/ 722729 h 722729"/>
              <a:gd name="connsiteX80" fmla="*/ 2889250 w 2889264"/>
              <a:gd name="connsiteY80" fmla="*/ 722729 h 722729"/>
              <a:gd name="connsiteX81" fmla="*/ 2889250 w 2889264"/>
              <a:gd name="connsiteY81" fmla="*/ 733425 h 733425"/>
              <a:gd name="connsiteX82" fmla="*/ 2889250 w 2889264"/>
              <a:gd name="connsiteY82" fmla="*/ 733425 h 733425"/>
              <a:gd name="connsiteX83" fmla="*/ 2889250 w 2889264"/>
              <a:gd name="connsiteY83" fmla="*/ 733425 h 733425"/>
              <a:gd name="connsiteX84" fmla="*/ 2889250 w 2889264"/>
              <a:gd name="connsiteY84" fmla="*/ 733425 h 733425"/>
              <a:gd name="connsiteX85" fmla="*/ 2889250 w 2889264"/>
              <a:gd name="connsiteY85" fmla="*/ 733425 h 733425"/>
              <a:gd name="connsiteX86" fmla="*/ 2889250 w 2889264"/>
              <a:gd name="connsiteY86" fmla="*/ 733425 h 733425"/>
              <a:gd name="connsiteX87" fmla="*/ 2889250 w 2889264"/>
              <a:gd name="connsiteY87" fmla="*/ 733425 h 733425"/>
              <a:gd name="connsiteX88" fmla="*/ 2889250 w 2889264"/>
              <a:gd name="connsiteY88" fmla="*/ 733425 h 733425"/>
              <a:gd name="connsiteX89" fmla="*/ 2889250 w 2889264"/>
              <a:gd name="connsiteY89" fmla="*/ 733425 h 733425"/>
              <a:gd name="connsiteX90" fmla="*/ 2889250 w 2889264"/>
              <a:gd name="connsiteY90" fmla="*/ 733425 h 733425"/>
              <a:gd name="connsiteX91" fmla="*/ 2889250 w 2889264"/>
              <a:gd name="connsiteY91" fmla="*/ 733425 h 733425"/>
              <a:gd name="connsiteX92" fmla="*/ 2889250 w 2889264"/>
              <a:gd name="connsiteY92" fmla="*/ 733425 h 733425"/>
              <a:gd name="connsiteX93" fmla="*/ 2889250 w 2889264"/>
              <a:gd name="connsiteY93" fmla="*/ 733425 h 733425"/>
              <a:gd name="connsiteX94" fmla="*/ 2889250 w 2889264"/>
              <a:gd name="connsiteY94" fmla="*/ 733425 h 733425"/>
              <a:gd name="connsiteX95" fmla="*/ 2889250 w 2889264"/>
              <a:gd name="connsiteY95" fmla="*/ 733425 h 733425"/>
              <a:gd name="connsiteX96" fmla="*/ 2889250 w 2889264"/>
              <a:gd name="connsiteY96" fmla="*/ 733425 h 733425"/>
              <a:gd name="connsiteX97" fmla="*/ 2889250 w 2889264"/>
              <a:gd name="connsiteY97" fmla="*/ 733425 h 733425"/>
              <a:gd name="connsiteX98" fmla="*/ 2889250 w 2889264"/>
              <a:gd name="connsiteY98" fmla="*/ 733425 h 733425"/>
              <a:gd name="connsiteX99" fmla="*/ 2889250 w 2889264"/>
              <a:gd name="connsiteY99" fmla="*/ 733425 h 733425"/>
              <a:gd name="connsiteX100" fmla="*/ 2889250 w 2889264"/>
              <a:gd name="connsiteY100" fmla="*/ 733425 h 733425"/>
              <a:gd name="connsiteX101" fmla="*/ 2889250 w 2889264"/>
              <a:gd name="connsiteY101" fmla="*/ 733425 h 733425"/>
              <a:gd name="connsiteX102" fmla="*/ 2889250 w 2889264"/>
              <a:gd name="connsiteY102" fmla="*/ 733425 h 733425"/>
              <a:gd name="connsiteX103" fmla="*/ 2889250 w 2889264"/>
              <a:gd name="connsiteY103" fmla="*/ 733425 h 733425"/>
              <a:gd name="connsiteX104" fmla="*/ 2889250 w 2889264"/>
              <a:gd name="connsiteY104" fmla="*/ 733425 h 733425"/>
              <a:gd name="connsiteX105" fmla="*/ 2889250 w 2889264"/>
              <a:gd name="connsiteY105" fmla="*/ 733425 h 733425"/>
              <a:gd name="connsiteX106" fmla="*/ 2889250 w 2889264"/>
              <a:gd name="connsiteY106" fmla="*/ 733425 h 733425"/>
              <a:gd name="connsiteX107" fmla="*/ 2889250 w 2889264"/>
              <a:gd name="connsiteY107" fmla="*/ 733425 h 733425"/>
              <a:gd name="connsiteX108" fmla="*/ 2889250 w 2889264"/>
              <a:gd name="connsiteY108" fmla="*/ 733425 h 733425"/>
              <a:gd name="connsiteX109" fmla="*/ 2889250 w 2889264"/>
              <a:gd name="connsiteY109" fmla="*/ 733425 h 733425"/>
              <a:gd name="connsiteX110" fmla="*/ 2889250 w 2889264"/>
              <a:gd name="connsiteY110" fmla="*/ 733425 h 733425"/>
              <a:gd name="connsiteX111" fmla="*/ 2889250 w 2889264"/>
              <a:gd name="connsiteY111" fmla="*/ 733425 h 733425"/>
              <a:gd name="connsiteX112" fmla="*/ 2889250 w 2889264"/>
              <a:gd name="connsiteY112" fmla="*/ 733425 h 733425"/>
              <a:gd name="connsiteX113" fmla="*/ 2889250 w 2889264"/>
              <a:gd name="connsiteY113" fmla="*/ 733425 h 733425"/>
              <a:gd name="connsiteX114" fmla="*/ 2889250 w 2889264"/>
              <a:gd name="connsiteY114" fmla="*/ 733425 h 733425"/>
              <a:gd name="connsiteX115" fmla="*/ 2889250 w 2889264"/>
              <a:gd name="connsiteY115" fmla="*/ 733425 h 733425"/>
              <a:gd name="connsiteX116" fmla="*/ 2889250 w 2889264"/>
              <a:gd name="connsiteY116" fmla="*/ 733425 h 733425"/>
              <a:gd name="connsiteX117" fmla="*/ 2889250 w 2889264"/>
              <a:gd name="connsiteY117" fmla="*/ 733425 h 733425"/>
              <a:gd name="connsiteX118" fmla="*/ 2889250 w 2889264"/>
              <a:gd name="connsiteY118" fmla="*/ 733425 h 733425"/>
              <a:gd name="connsiteX119" fmla="*/ 2889250 w 2889264"/>
              <a:gd name="connsiteY119" fmla="*/ 733425 h 733425"/>
              <a:gd name="connsiteX120" fmla="*/ 2889250 w 2889264"/>
              <a:gd name="connsiteY120" fmla="*/ 733425 h 733425"/>
              <a:gd name="connsiteX121" fmla="*/ 2889250 w 2889264"/>
              <a:gd name="connsiteY121" fmla="*/ 733425 h 733425"/>
              <a:gd name="connsiteX122" fmla="*/ 2889250 w 2889264"/>
              <a:gd name="connsiteY122" fmla="*/ 733425 h 733425"/>
              <a:gd name="connsiteX123" fmla="*/ 2889250 w 2889264"/>
              <a:gd name="connsiteY123" fmla="*/ 733425 h 733425"/>
              <a:gd name="connsiteX124" fmla="*/ 2889250 w 2889264"/>
              <a:gd name="connsiteY124" fmla="*/ 733425 h 733425"/>
              <a:gd name="connsiteX125" fmla="*/ 2889250 w 2889264"/>
              <a:gd name="connsiteY125" fmla="*/ 733425 h 733425"/>
              <a:gd name="connsiteX126" fmla="*/ 2889250 w 2889264"/>
              <a:gd name="connsiteY126" fmla="*/ 733425 h 733425"/>
              <a:gd name="connsiteX127" fmla="*/ 2889250 w 2889264"/>
              <a:gd name="connsiteY127" fmla="*/ 733425 h 733425"/>
              <a:gd name="connsiteX128" fmla="*/ 2889250 w 2889264"/>
              <a:gd name="connsiteY128" fmla="*/ 733425 h 733425"/>
              <a:gd name="connsiteX129" fmla="*/ 2889250 w 2889264"/>
              <a:gd name="connsiteY129" fmla="*/ 733425 h 733425"/>
              <a:gd name="connsiteX130" fmla="*/ 2889250 w 2889264"/>
              <a:gd name="connsiteY130" fmla="*/ 733425 h 733425"/>
              <a:gd name="connsiteX131" fmla="*/ 2889250 w 2889264"/>
              <a:gd name="connsiteY131" fmla="*/ 733425 h 73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889250" h="721515">
                <a:moveTo>
                  <a:pt x="0" y="708815"/>
                </a:moveTo>
                <a:cubicBezTo>
                  <a:pt x="23151" y="695586"/>
                  <a:pt x="52388" y="672832"/>
                  <a:pt x="111125" y="645315"/>
                </a:cubicBezTo>
                <a:cubicBezTo>
                  <a:pt x="169863" y="617798"/>
                  <a:pt x="293688" y="570173"/>
                  <a:pt x="352425" y="543715"/>
                </a:cubicBezTo>
                <a:cubicBezTo>
                  <a:pt x="411162" y="517257"/>
                  <a:pt x="420158" y="507732"/>
                  <a:pt x="463550" y="486565"/>
                </a:cubicBezTo>
                <a:cubicBezTo>
                  <a:pt x="506942" y="465398"/>
                  <a:pt x="556683" y="443703"/>
                  <a:pt x="612775" y="416715"/>
                </a:cubicBezTo>
                <a:cubicBezTo>
                  <a:pt x="668867" y="389727"/>
                  <a:pt x="737658" y="355332"/>
                  <a:pt x="800100" y="324640"/>
                </a:cubicBezTo>
                <a:lnTo>
                  <a:pt x="898525" y="277015"/>
                </a:lnTo>
                <a:lnTo>
                  <a:pt x="1079500" y="188115"/>
                </a:lnTo>
                <a:cubicBezTo>
                  <a:pt x="1101196" y="178061"/>
                  <a:pt x="1139825" y="162715"/>
                  <a:pt x="1181100" y="140490"/>
                </a:cubicBezTo>
                <a:cubicBezTo>
                  <a:pt x="1222375" y="118265"/>
                  <a:pt x="1287992" y="78048"/>
                  <a:pt x="1327150" y="54765"/>
                </a:cubicBezTo>
                <a:cubicBezTo>
                  <a:pt x="1366308" y="31482"/>
                  <a:pt x="1386417" y="5023"/>
                  <a:pt x="1416050" y="790"/>
                </a:cubicBezTo>
                <a:cubicBezTo>
                  <a:pt x="1445683" y="-3443"/>
                  <a:pt x="1461558" y="9786"/>
                  <a:pt x="1504950" y="29365"/>
                </a:cubicBezTo>
                <a:cubicBezTo>
                  <a:pt x="1548342" y="48944"/>
                  <a:pt x="1634067" y="97627"/>
                  <a:pt x="1676400" y="118265"/>
                </a:cubicBezTo>
                <a:cubicBezTo>
                  <a:pt x="1718733" y="138903"/>
                  <a:pt x="1724025" y="134669"/>
                  <a:pt x="1758950" y="153190"/>
                </a:cubicBezTo>
                <a:cubicBezTo>
                  <a:pt x="1793875" y="171711"/>
                  <a:pt x="1852083" y="210869"/>
                  <a:pt x="1885950" y="229390"/>
                </a:cubicBezTo>
                <a:cubicBezTo>
                  <a:pt x="1919817" y="247911"/>
                  <a:pt x="1935163" y="252144"/>
                  <a:pt x="1962150" y="264315"/>
                </a:cubicBezTo>
                <a:cubicBezTo>
                  <a:pt x="1989138" y="276486"/>
                  <a:pt x="2000250" y="278603"/>
                  <a:pt x="2047875" y="302415"/>
                </a:cubicBezTo>
                <a:cubicBezTo>
                  <a:pt x="2095500" y="326228"/>
                  <a:pt x="2189692" y="378086"/>
                  <a:pt x="2247900" y="407190"/>
                </a:cubicBezTo>
                <a:cubicBezTo>
                  <a:pt x="2306108" y="436294"/>
                  <a:pt x="2355850" y="457990"/>
                  <a:pt x="2397125" y="477040"/>
                </a:cubicBezTo>
                <a:lnTo>
                  <a:pt x="2495550" y="521490"/>
                </a:lnTo>
                <a:lnTo>
                  <a:pt x="2673350" y="604040"/>
                </a:lnTo>
                <a:cubicBezTo>
                  <a:pt x="2715683" y="623619"/>
                  <a:pt x="2713567" y="619386"/>
                  <a:pt x="2749550" y="638965"/>
                </a:cubicBezTo>
                <a:cubicBezTo>
                  <a:pt x="2785533" y="658544"/>
                  <a:pt x="2860146" y="704317"/>
                  <a:pt x="2889250" y="721515"/>
                </a:cubicBezTo>
              </a:path>
            </a:pathLst>
          </a:cu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97C0BE-7764-D70E-B23E-3C6803124176}"/>
              </a:ext>
            </a:extLst>
          </p:cNvPr>
          <p:cNvSpPr/>
          <p:nvPr/>
        </p:nvSpPr>
        <p:spPr>
          <a:xfrm>
            <a:off x="7567748" y="4324800"/>
            <a:ext cx="1571004" cy="1804941"/>
          </a:xfrm>
          <a:prstGeom prst="rect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211" name="Freeform: Shape 210">
            <a:extLst>
              <a:ext uri="{FF2B5EF4-FFF2-40B4-BE49-F238E27FC236}">
                <a16:creationId xmlns:a16="http://schemas.microsoft.com/office/drawing/2014/main" id="{AC0434E0-6A51-189D-74CB-5882DCC771A0}"/>
              </a:ext>
            </a:extLst>
          </p:cNvPr>
          <p:cNvSpPr/>
          <p:nvPr/>
        </p:nvSpPr>
        <p:spPr>
          <a:xfrm>
            <a:off x="7313972" y="3929693"/>
            <a:ext cx="2079835" cy="2206185"/>
          </a:xfrm>
          <a:custGeom>
            <a:avLst/>
            <a:gdLst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28756 w 2961800"/>
              <a:gd name="connsiteY9" fmla="*/ 411396 h 2309562"/>
              <a:gd name="connsiteX10" fmla="*/ 2562256 w 2961800"/>
              <a:gd name="connsiteY10" fmla="*/ 406633 h 2309562"/>
              <a:gd name="connsiteX11" fmla="*/ 2600356 w 2961800"/>
              <a:gd name="connsiteY11" fmla="*/ 425683 h 2309562"/>
              <a:gd name="connsiteX12" fmla="*/ 2600356 w 2961800"/>
              <a:gd name="connsiteY12" fmla="*/ 616183 h 2309562"/>
              <a:gd name="connsiteX13" fmla="*/ 2590831 w 2961800"/>
              <a:gd name="connsiteY13" fmla="*/ 1178158 h 2309562"/>
              <a:gd name="connsiteX14" fmla="*/ 2595593 w 2961800"/>
              <a:gd name="connsiteY14" fmla="*/ 1211496 h 2309562"/>
              <a:gd name="connsiteX15" fmla="*/ 2598768 w 2961800"/>
              <a:gd name="connsiteY15" fmla="*/ 1516296 h 2309562"/>
              <a:gd name="connsiteX16" fmla="*/ 2605118 w 2961800"/>
              <a:gd name="connsiteY16" fmla="*/ 2068746 h 2309562"/>
              <a:gd name="connsiteX17" fmla="*/ 2606706 w 2961800"/>
              <a:gd name="connsiteY17" fmla="*/ 2205271 h 2309562"/>
              <a:gd name="connsiteX18" fmla="*/ 2614643 w 2961800"/>
              <a:gd name="connsiteY18" fmla="*/ 2294171 h 2309562"/>
              <a:gd name="connsiteX19" fmla="*/ 2841656 w 2961800"/>
              <a:gd name="connsiteY19" fmla="*/ 2305283 h 2309562"/>
              <a:gd name="connsiteX20" fmla="*/ 2957543 w 2961800"/>
              <a:gd name="connsiteY20" fmla="*/ 2284646 h 2309562"/>
              <a:gd name="connsiteX21" fmla="*/ 2938493 w 2961800"/>
              <a:gd name="connsiteY21" fmla="*/ 2183046 h 2309562"/>
              <a:gd name="connsiteX22" fmla="*/ 2946431 w 2961800"/>
              <a:gd name="connsiteY22" fmla="*/ 2010008 h 2309562"/>
              <a:gd name="connsiteX23" fmla="*/ 2952781 w 2961800"/>
              <a:gd name="connsiteY23" fmla="*/ 1806808 h 2309562"/>
              <a:gd name="connsiteX24" fmla="*/ 2943256 w 2961800"/>
              <a:gd name="connsiteY24" fmla="*/ 1368658 h 2309562"/>
              <a:gd name="connsiteX25" fmla="*/ 2938493 w 2961800"/>
              <a:gd name="connsiteY25" fmla="*/ 1082908 h 2309562"/>
              <a:gd name="connsiteX26" fmla="*/ 2938493 w 2961800"/>
              <a:gd name="connsiteY26" fmla="*/ 924158 h 2309562"/>
              <a:gd name="connsiteX27" fmla="*/ 2943256 w 2961800"/>
              <a:gd name="connsiteY27" fmla="*/ 573321 h 2309562"/>
              <a:gd name="connsiteX28" fmla="*/ 2948018 w 2961800"/>
              <a:gd name="connsiteY28" fmla="*/ 344721 h 2309562"/>
              <a:gd name="connsiteX29" fmla="*/ 2948018 w 2961800"/>
              <a:gd name="connsiteY29" fmla="*/ 36746 h 2309562"/>
              <a:gd name="connsiteX30" fmla="*/ 2838481 w 2961800"/>
              <a:gd name="connsiteY30" fmla="*/ 17696 h 2309562"/>
              <a:gd name="connsiteX31" fmla="*/ 2714656 w 2961800"/>
              <a:gd name="connsiteY31" fmla="*/ 11346 h 2309562"/>
              <a:gd name="connsiteX32" fmla="*/ 2371756 w 2961800"/>
              <a:gd name="connsiteY32" fmla="*/ 16108 h 2309562"/>
              <a:gd name="connsiteX33" fmla="*/ 1944718 w 2961800"/>
              <a:gd name="connsiteY33" fmla="*/ 20871 h 2309562"/>
              <a:gd name="connsiteX34" fmla="*/ 1795493 w 2961800"/>
              <a:gd name="connsiteY34" fmla="*/ 11346 h 2309562"/>
              <a:gd name="connsiteX35" fmla="*/ 1519268 w 2961800"/>
              <a:gd name="connsiteY35" fmla="*/ 6583 h 2309562"/>
              <a:gd name="connsiteX36" fmla="*/ 1085881 w 2961800"/>
              <a:gd name="connsiteY36" fmla="*/ 14521 h 2309562"/>
              <a:gd name="connsiteX37" fmla="*/ 176243 w 2961800"/>
              <a:gd name="connsiteY37" fmla="*/ 11346 h 2309562"/>
              <a:gd name="connsiteX38" fmla="*/ 28606 w 2961800"/>
              <a:gd name="connsiteY38" fmla="*/ 12933 h 2309562"/>
              <a:gd name="connsiteX39" fmla="*/ 14318 w 2961800"/>
              <a:gd name="connsiteY39" fmla="*/ 173271 h 2309562"/>
              <a:gd name="connsiteX40" fmla="*/ 4793 w 2961800"/>
              <a:gd name="connsiteY40" fmla="*/ 392346 h 2309562"/>
              <a:gd name="connsiteX41" fmla="*/ 31 w 2961800"/>
              <a:gd name="connsiteY41" fmla="*/ 801921 h 2309562"/>
              <a:gd name="connsiteX42" fmla="*/ 31 w 2961800"/>
              <a:gd name="connsiteY42" fmla="*/ 873358 h 2309562"/>
              <a:gd name="connsiteX43" fmla="*/ 4793 w 2961800"/>
              <a:gd name="connsiteY43" fmla="*/ 1159108 h 2309562"/>
              <a:gd name="connsiteX44" fmla="*/ 14318 w 2961800"/>
              <a:gd name="connsiteY44" fmla="*/ 1478196 h 2309562"/>
              <a:gd name="connsiteX45" fmla="*/ 6381 w 2961800"/>
              <a:gd name="connsiteY45" fmla="*/ 1846496 h 2309562"/>
              <a:gd name="connsiteX46" fmla="*/ 4793 w 2961800"/>
              <a:gd name="connsiteY46" fmla="*/ 2016358 h 2309562"/>
              <a:gd name="connsiteX47" fmla="*/ 14318 w 2961800"/>
              <a:gd name="connsiteY47" fmla="*/ 2240196 h 2309562"/>
              <a:gd name="connsiteX48" fmla="*/ 4793 w 2961800"/>
              <a:gd name="connsiteY48" fmla="*/ 2302108 h 2309562"/>
              <a:gd name="connsiteX49" fmla="*/ 4793 w 2961800"/>
              <a:gd name="connsiteY49" fmla="*/ 2302108 h 2309562"/>
              <a:gd name="connsiteX50" fmla="*/ 4793 w 2961800"/>
              <a:gd name="connsiteY50" fmla="*/ 2302108 h 2309562"/>
              <a:gd name="connsiteX51" fmla="*/ 4793 w 2961800"/>
              <a:gd name="connsiteY51" fmla="*/ 2302108 h 2309562"/>
              <a:gd name="connsiteX52" fmla="*/ 4793 w 2961800"/>
              <a:gd name="connsiteY52" fmla="*/ 2302108 h 2309562"/>
              <a:gd name="connsiteX53" fmla="*/ 4793 w 2961800"/>
              <a:gd name="connsiteY53" fmla="*/ 2302108 h 2309562"/>
              <a:gd name="connsiteX54" fmla="*/ 4793 w 2961800"/>
              <a:gd name="connsiteY54" fmla="*/ 2302108 h 2309562"/>
              <a:gd name="connsiteX55" fmla="*/ 4793 w 2961800"/>
              <a:gd name="connsiteY55" fmla="*/ 2301228 h 2308682"/>
              <a:gd name="connsiteX56" fmla="*/ 5327 w 2962334"/>
              <a:gd name="connsiteY56" fmla="*/ 2300287 h 2307741"/>
              <a:gd name="connsiteX57" fmla="*/ 10431 w 2967438"/>
              <a:gd name="connsiteY57" fmla="*/ 2300287 h 2307741"/>
              <a:gd name="connsiteX58" fmla="*/ 10431 w 2967438"/>
              <a:gd name="connsiteY58" fmla="*/ 2300287 h 2307741"/>
              <a:gd name="connsiteX59" fmla="*/ 10431 w 2967438"/>
              <a:gd name="connsiteY59" fmla="*/ 2300287 h 2305041"/>
              <a:gd name="connsiteX60" fmla="*/ 10431 w 2967438"/>
              <a:gd name="connsiteY60" fmla="*/ 2300287 h 2305041"/>
              <a:gd name="connsiteX61" fmla="*/ 10431 w 2967438"/>
              <a:gd name="connsiteY61" fmla="*/ 2300287 h 2305041"/>
              <a:gd name="connsiteX62" fmla="*/ 10431 w 2967438"/>
              <a:gd name="connsiteY62" fmla="*/ 2300287 h 2305041"/>
              <a:gd name="connsiteX63" fmla="*/ 10431 w 2967438"/>
              <a:gd name="connsiteY63" fmla="*/ 2300287 h 2305041"/>
              <a:gd name="connsiteX64" fmla="*/ 10431 w 2967438"/>
              <a:gd name="connsiteY64" fmla="*/ 2300287 h 2305041"/>
              <a:gd name="connsiteX65" fmla="*/ 14287 w 2971294"/>
              <a:gd name="connsiteY65" fmla="*/ 2300287 h 2305041"/>
              <a:gd name="connsiteX66" fmla="*/ 14287 w 2971294"/>
              <a:gd name="connsiteY66" fmla="*/ 2300287 h 2305041"/>
              <a:gd name="connsiteX67" fmla="*/ 14287 w 2971294"/>
              <a:gd name="connsiteY67" fmla="*/ 2300287 h 2305041"/>
              <a:gd name="connsiteX68" fmla="*/ 14287 w 2971294"/>
              <a:gd name="connsiteY68" fmla="*/ 2300287 h 2305041"/>
              <a:gd name="connsiteX69" fmla="*/ 14287 w 2971294"/>
              <a:gd name="connsiteY69" fmla="*/ 2300287 h 2305041"/>
              <a:gd name="connsiteX70" fmla="*/ 14287 w 2971294"/>
              <a:gd name="connsiteY70" fmla="*/ 2300287 h 2305041"/>
              <a:gd name="connsiteX71" fmla="*/ 14287 w 2971294"/>
              <a:gd name="connsiteY71" fmla="*/ 2300287 h 2305041"/>
              <a:gd name="connsiteX72" fmla="*/ 14287 w 2971294"/>
              <a:gd name="connsiteY72" fmla="*/ 2300287 h 2305041"/>
              <a:gd name="connsiteX73" fmla="*/ 14287 w 2971294"/>
              <a:gd name="connsiteY73" fmla="*/ 2300287 h 2305041"/>
              <a:gd name="connsiteX74" fmla="*/ 14287 w 2971294"/>
              <a:gd name="connsiteY74" fmla="*/ 2300287 h 2305041"/>
              <a:gd name="connsiteX75" fmla="*/ 14287 w 2971294"/>
              <a:gd name="connsiteY75" fmla="*/ 2300287 h 2305041"/>
              <a:gd name="connsiteX76" fmla="*/ 14287 w 2971294"/>
              <a:gd name="connsiteY76" fmla="*/ 2300287 h 2305041"/>
              <a:gd name="connsiteX77" fmla="*/ 14287 w 2971294"/>
              <a:gd name="connsiteY77" fmla="*/ 2300287 h 2305041"/>
              <a:gd name="connsiteX78" fmla="*/ 14287 w 2971294"/>
              <a:gd name="connsiteY78" fmla="*/ 2300287 h 2305041"/>
              <a:gd name="connsiteX79" fmla="*/ 14287 w 2971294"/>
              <a:gd name="connsiteY79" fmla="*/ 2300287 h 2305041"/>
              <a:gd name="connsiteX80" fmla="*/ 14287 w 2971294"/>
              <a:gd name="connsiteY80" fmla="*/ 2300287 h 2305041"/>
              <a:gd name="connsiteX81" fmla="*/ 14287 w 2971294"/>
              <a:gd name="connsiteY81" fmla="*/ 2300287 h 2305041"/>
              <a:gd name="connsiteX82" fmla="*/ 14287 w 2971294"/>
              <a:gd name="connsiteY82" fmla="*/ 2300287 h 2305041"/>
              <a:gd name="connsiteX83" fmla="*/ 14287 w 2971294"/>
              <a:gd name="connsiteY83" fmla="*/ 2300287 h 2305041"/>
              <a:gd name="connsiteX84" fmla="*/ 14287 w 2971294"/>
              <a:gd name="connsiteY84" fmla="*/ 2300287 h 2305041"/>
              <a:gd name="connsiteX85" fmla="*/ 14287 w 2971294"/>
              <a:gd name="connsiteY85" fmla="*/ 2300287 h 2305041"/>
              <a:gd name="connsiteX86" fmla="*/ 14287 w 2971294"/>
              <a:gd name="connsiteY86" fmla="*/ 2300287 h 2305041"/>
              <a:gd name="connsiteX87" fmla="*/ 14287 w 2971294"/>
              <a:gd name="connsiteY87" fmla="*/ 2300287 h 2305041"/>
              <a:gd name="connsiteX88" fmla="*/ 14287 w 2971294"/>
              <a:gd name="connsiteY88" fmla="*/ 2300287 h 2305041"/>
              <a:gd name="connsiteX89" fmla="*/ 14287 w 2971294"/>
              <a:gd name="connsiteY89" fmla="*/ 2300287 h 2305041"/>
              <a:gd name="connsiteX90" fmla="*/ 14287 w 2971294"/>
              <a:gd name="connsiteY90" fmla="*/ 2300287 h 2305041"/>
              <a:gd name="connsiteX91" fmla="*/ 14287 w 2971294"/>
              <a:gd name="connsiteY91" fmla="*/ 2300287 h 2305041"/>
              <a:gd name="connsiteX92" fmla="*/ 14287 w 2971294"/>
              <a:gd name="connsiteY92" fmla="*/ 2300287 h 2305041"/>
              <a:gd name="connsiteX93" fmla="*/ 14287 w 2962875"/>
              <a:gd name="connsiteY93" fmla="*/ 2300287 h 2314046"/>
              <a:gd name="connsiteX94" fmla="*/ 14287 w 2962875"/>
              <a:gd name="connsiteY94" fmla="*/ 2300287 h 2314046"/>
              <a:gd name="connsiteX95" fmla="*/ 14287 w 2962875"/>
              <a:gd name="connsiteY95" fmla="*/ 2300287 h 2313876"/>
              <a:gd name="connsiteX96" fmla="*/ 14287 w 2962317"/>
              <a:gd name="connsiteY96" fmla="*/ 2300287 h 2315988"/>
              <a:gd name="connsiteX97" fmla="*/ 14287 w 2963138"/>
              <a:gd name="connsiteY97" fmla="*/ 2300287 h 2313680"/>
              <a:gd name="connsiteX98" fmla="*/ 14287 w 2963138"/>
              <a:gd name="connsiteY98" fmla="*/ 2300287 h 2313680"/>
              <a:gd name="connsiteX99" fmla="*/ 14287 w 2963138"/>
              <a:gd name="connsiteY99" fmla="*/ 2300287 h 2313680"/>
              <a:gd name="connsiteX100" fmla="*/ 14287 w 2963138"/>
              <a:gd name="connsiteY100" fmla="*/ 2300287 h 2313680"/>
              <a:gd name="connsiteX101" fmla="*/ 14287 w 2963138"/>
              <a:gd name="connsiteY101" fmla="*/ 2300287 h 2313680"/>
              <a:gd name="connsiteX102" fmla="*/ 14287 w 2963138"/>
              <a:gd name="connsiteY102" fmla="*/ 2300287 h 2313680"/>
              <a:gd name="connsiteX103" fmla="*/ 14287 w 2963138"/>
              <a:gd name="connsiteY103" fmla="*/ 2300287 h 2313680"/>
              <a:gd name="connsiteX104" fmla="*/ 14287 w 2963138"/>
              <a:gd name="connsiteY104" fmla="*/ 2300287 h 2313680"/>
              <a:gd name="connsiteX105" fmla="*/ 14287 w 2963138"/>
              <a:gd name="connsiteY105" fmla="*/ 2300287 h 2313680"/>
              <a:gd name="connsiteX106" fmla="*/ 14287 w 2963138"/>
              <a:gd name="connsiteY106" fmla="*/ 2300287 h 2313680"/>
              <a:gd name="connsiteX107" fmla="*/ 14287 w 2963138"/>
              <a:gd name="connsiteY107" fmla="*/ 2300287 h 2313680"/>
              <a:gd name="connsiteX108" fmla="*/ 14287 w 2963138"/>
              <a:gd name="connsiteY108" fmla="*/ 2300287 h 2313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961800" h="2309562">
                <a:moveTo>
                  <a:pt x="4793" y="2302108"/>
                </a:moveTo>
                <a:cubicBezTo>
                  <a:pt x="61943" y="2311898"/>
                  <a:pt x="299274" y="2313220"/>
                  <a:pt x="357218" y="2298933"/>
                </a:cubicBezTo>
                <a:cubicBezTo>
                  <a:pt x="364362" y="2290996"/>
                  <a:pt x="352456" y="2334916"/>
                  <a:pt x="352456" y="2216383"/>
                </a:cubicBezTo>
                <a:cubicBezTo>
                  <a:pt x="352456" y="2097850"/>
                  <a:pt x="354837" y="1769502"/>
                  <a:pt x="357218" y="1587733"/>
                </a:cubicBezTo>
                <a:cubicBezTo>
                  <a:pt x="360393" y="1433746"/>
                  <a:pt x="362259" y="1279726"/>
                  <a:pt x="366743" y="1125771"/>
                </a:cubicBezTo>
                <a:cubicBezTo>
                  <a:pt x="367537" y="940034"/>
                  <a:pt x="361981" y="591577"/>
                  <a:pt x="361981" y="473308"/>
                </a:cubicBezTo>
                <a:cubicBezTo>
                  <a:pt x="361981" y="355039"/>
                  <a:pt x="353779" y="427535"/>
                  <a:pt x="366743" y="416158"/>
                </a:cubicBezTo>
                <a:cubicBezTo>
                  <a:pt x="379707" y="404781"/>
                  <a:pt x="431831" y="424096"/>
                  <a:pt x="515968" y="424096"/>
                </a:cubicBezTo>
                <a:cubicBezTo>
                  <a:pt x="600105" y="424096"/>
                  <a:pt x="752770" y="418275"/>
                  <a:pt x="871568" y="416158"/>
                </a:cubicBezTo>
                <a:cubicBezTo>
                  <a:pt x="990366" y="414041"/>
                  <a:pt x="946975" y="412984"/>
                  <a:pt x="1228756" y="411396"/>
                </a:cubicBezTo>
                <a:lnTo>
                  <a:pt x="2562256" y="406633"/>
                </a:lnTo>
                <a:cubicBezTo>
                  <a:pt x="2576262" y="408967"/>
                  <a:pt x="2594006" y="390758"/>
                  <a:pt x="2600356" y="425683"/>
                </a:cubicBezTo>
                <a:cubicBezTo>
                  <a:pt x="2606706" y="460608"/>
                  <a:pt x="2601943" y="490771"/>
                  <a:pt x="2600356" y="616183"/>
                </a:cubicBezTo>
                <a:cubicBezTo>
                  <a:pt x="2598769" y="741595"/>
                  <a:pt x="2591625" y="1078939"/>
                  <a:pt x="2590831" y="1178158"/>
                </a:cubicBezTo>
                <a:cubicBezTo>
                  <a:pt x="2590037" y="1277377"/>
                  <a:pt x="2594270" y="1155140"/>
                  <a:pt x="2595593" y="1211496"/>
                </a:cubicBezTo>
                <a:cubicBezTo>
                  <a:pt x="2596916" y="1267852"/>
                  <a:pt x="2597181" y="1373421"/>
                  <a:pt x="2598768" y="1516296"/>
                </a:cubicBezTo>
                <a:cubicBezTo>
                  <a:pt x="2600355" y="1659171"/>
                  <a:pt x="2603795" y="1953917"/>
                  <a:pt x="2605118" y="2068746"/>
                </a:cubicBezTo>
                <a:cubicBezTo>
                  <a:pt x="2606441" y="2183575"/>
                  <a:pt x="2605119" y="2167700"/>
                  <a:pt x="2606706" y="2205271"/>
                </a:cubicBezTo>
                <a:cubicBezTo>
                  <a:pt x="2608293" y="2242842"/>
                  <a:pt x="2575485" y="2277502"/>
                  <a:pt x="2614643" y="2294171"/>
                </a:cubicBezTo>
                <a:cubicBezTo>
                  <a:pt x="2653801" y="2310840"/>
                  <a:pt x="2784506" y="2306871"/>
                  <a:pt x="2841656" y="2305283"/>
                </a:cubicBezTo>
                <a:cubicBezTo>
                  <a:pt x="2898806" y="2303696"/>
                  <a:pt x="2941404" y="2305019"/>
                  <a:pt x="2957543" y="2284646"/>
                </a:cubicBezTo>
                <a:cubicBezTo>
                  <a:pt x="2973682" y="2264273"/>
                  <a:pt x="2938757" y="2232523"/>
                  <a:pt x="2938493" y="2183046"/>
                </a:cubicBezTo>
                <a:cubicBezTo>
                  <a:pt x="2938229" y="2133569"/>
                  <a:pt x="2944050" y="2072714"/>
                  <a:pt x="2946431" y="2010008"/>
                </a:cubicBezTo>
                <a:cubicBezTo>
                  <a:pt x="2948812" y="1947302"/>
                  <a:pt x="2953310" y="1913700"/>
                  <a:pt x="2952781" y="1806808"/>
                </a:cubicBezTo>
                <a:cubicBezTo>
                  <a:pt x="2952252" y="1699916"/>
                  <a:pt x="2944424" y="1428801"/>
                  <a:pt x="2943256" y="1368658"/>
                </a:cubicBezTo>
                <a:cubicBezTo>
                  <a:pt x="2941407" y="1273413"/>
                  <a:pt x="2939287" y="1156991"/>
                  <a:pt x="2938493" y="1082908"/>
                </a:cubicBezTo>
                <a:cubicBezTo>
                  <a:pt x="2937699" y="1008825"/>
                  <a:pt x="2937699" y="1009089"/>
                  <a:pt x="2938493" y="924158"/>
                </a:cubicBezTo>
                <a:cubicBezTo>
                  <a:pt x="2941668" y="853514"/>
                  <a:pt x="2938494" y="672540"/>
                  <a:pt x="2943256" y="573321"/>
                </a:cubicBezTo>
                <a:cubicBezTo>
                  <a:pt x="2945637" y="522521"/>
                  <a:pt x="2947224" y="434150"/>
                  <a:pt x="2948018" y="344721"/>
                </a:cubicBezTo>
                <a:cubicBezTo>
                  <a:pt x="2943256" y="274077"/>
                  <a:pt x="2951193" y="96277"/>
                  <a:pt x="2948018" y="36746"/>
                </a:cubicBezTo>
                <a:cubicBezTo>
                  <a:pt x="2937699" y="-23579"/>
                  <a:pt x="2877375" y="21929"/>
                  <a:pt x="2838481" y="17696"/>
                </a:cubicBezTo>
                <a:cubicBezTo>
                  <a:pt x="2799587" y="13463"/>
                  <a:pt x="2792443" y="11611"/>
                  <a:pt x="2714656" y="11346"/>
                </a:cubicBezTo>
                <a:cubicBezTo>
                  <a:pt x="2636869" y="11081"/>
                  <a:pt x="2486056" y="14521"/>
                  <a:pt x="2371756" y="16108"/>
                </a:cubicBezTo>
                <a:lnTo>
                  <a:pt x="1944718" y="20871"/>
                </a:lnTo>
                <a:cubicBezTo>
                  <a:pt x="1848674" y="20077"/>
                  <a:pt x="1866401" y="13727"/>
                  <a:pt x="1795493" y="11346"/>
                </a:cubicBezTo>
                <a:cubicBezTo>
                  <a:pt x="1724585" y="8965"/>
                  <a:pt x="1637537" y="6054"/>
                  <a:pt x="1519268" y="6583"/>
                </a:cubicBezTo>
                <a:cubicBezTo>
                  <a:pt x="1400999" y="7112"/>
                  <a:pt x="1239318" y="-7399"/>
                  <a:pt x="1085881" y="14521"/>
                </a:cubicBezTo>
                <a:lnTo>
                  <a:pt x="176243" y="11346"/>
                </a:lnTo>
                <a:cubicBezTo>
                  <a:pt x="132587" y="9229"/>
                  <a:pt x="55593" y="-14054"/>
                  <a:pt x="28606" y="12933"/>
                </a:cubicBezTo>
                <a:cubicBezTo>
                  <a:pt x="1619" y="39920"/>
                  <a:pt x="18287" y="110036"/>
                  <a:pt x="14318" y="173271"/>
                </a:cubicBezTo>
                <a:cubicBezTo>
                  <a:pt x="10349" y="236507"/>
                  <a:pt x="7174" y="287571"/>
                  <a:pt x="4793" y="392346"/>
                </a:cubicBezTo>
                <a:cubicBezTo>
                  <a:pt x="2412" y="497121"/>
                  <a:pt x="825" y="721752"/>
                  <a:pt x="31" y="801921"/>
                </a:cubicBezTo>
                <a:cubicBezTo>
                  <a:pt x="-763" y="882090"/>
                  <a:pt x="14485" y="728802"/>
                  <a:pt x="31" y="873358"/>
                </a:cubicBezTo>
                <a:cubicBezTo>
                  <a:pt x="1618" y="968608"/>
                  <a:pt x="2072" y="1063884"/>
                  <a:pt x="4793" y="1159108"/>
                </a:cubicBezTo>
                <a:cubicBezTo>
                  <a:pt x="7174" y="1259914"/>
                  <a:pt x="14053" y="1363631"/>
                  <a:pt x="14318" y="1478196"/>
                </a:cubicBezTo>
                <a:cubicBezTo>
                  <a:pt x="14583" y="1592761"/>
                  <a:pt x="7969" y="1756802"/>
                  <a:pt x="6381" y="1846496"/>
                </a:cubicBezTo>
                <a:cubicBezTo>
                  <a:pt x="4793" y="1936190"/>
                  <a:pt x="3470" y="1950741"/>
                  <a:pt x="4793" y="2016358"/>
                </a:cubicBezTo>
                <a:cubicBezTo>
                  <a:pt x="6116" y="2081975"/>
                  <a:pt x="14318" y="2192571"/>
                  <a:pt x="14318" y="2240196"/>
                </a:cubicBezTo>
                <a:cubicBezTo>
                  <a:pt x="14318" y="2287821"/>
                  <a:pt x="-1557" y="2292583"/>
                  <a:pt x="4793" y="2302108"/>
                </a:cubicBezTo>
                <a:close/>
              </a:path>
            </a:pathLst>
          </a:cu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212" name="Freeform: Shape 211">
            <a:extLst>
              <a:ext uri="{FF2B5EF4-FFF2-40B4-BE49-F238E27FC236}">
                <a16:creationId xmlns:a16="http://schemas.microsoft.com/office/drawing/2014/main" id="{92B154C4-3B39-B951-9150-0D9DAD981922}"/>
              </a:ext>
            </a:extLst>
          </p:cNvPr>
          <p:cNvSpPr/>
          <p:nvPr/>
        </p:nvSpPr>
        <p:spPr>
          <a:xfrm>
            <a:off x="7476721" y="4164017"/>
            <a:ext cx="1662031" cy="1996958"/>
          </a:xfrm>
          <a:custGeom>
            <a:avLst/>
            <a:gdLst>
              <a:gd name="connsiteX0" fmla="*/ 26850 w 2366825"/>
              <a:gd name="connsiteY0" fmla="*/ 31750 h 1972443"/>
              <a:gd name="connsiteX1" fmla="*/ 7800 w 2366825"/>
              <a:gd name="connsiteY1" fmla="*/ 377825 h 1972443"/>
              <a:gd name="connsiteX2" fmla="*/ 1450 w 2366825"/>
              <a:gd name="connsiteY2" fmla="*/ 520700 h 1972443"/>
              <a:gd name="connsiteX3" fmla="*/ 14150 w 2366825"/>
              <a:gd name="connsiteY3" fmla="*/ 882650 h 1972443"/>
              <a:gd name="connsiteX4" fmla="*/ 17325 w 2366825"/>
              <a:gd name="connsiteY4" fmla="*/ 1171575 h 1972443"/>
              <a:gd name="connsiteX5" fmla="*/ 20500 w 2366825"/>
              <a:gd name="connsiteY5" fmla="*/ 1568450 h 1972443"/>
              <a:gd name="connsiteX6" fmla="*/ 33200 w 2366825"/>
              <a:gd name="connsiteY6" fmla="*/ 1901825 h 1972443"/>
              <a:gd name="connsiteX7" fmla="*/ 179250 w 2366825"/>
              <a:gd name="connsiteY7" fmla="*/ 1968500 h 1972443"/>
              <a:gd name="connsiteX8" fmla="*/ 1160325 w 2366825"/>
              <a:gd name="connsiteY8" fmla="*/ 1949450 h 1972443"/>
              <a:gd name="connsiteX9" fmla="*/ 1690550 w 2366825"/>
              <a:gd name="connsiteY9" fmla="*/ 1968500 h 1972443"/>
              <a:gd name="connsiteX10" fmla="*/ 2100125 w 2366825"/>
              <a:gd name="connsiteY10" fmla="*/ 1962150 h 1972443"/>
              <a:gd name="connsiteX11" fmla="*/ 2335075 w 2366825"/>
              <a:gd name="connsiteY11" fmla="*/ 1949450 h 1972443"/>
              <a:gd name="connsiteX12" fmla="*/ 2363650 w 2366825"/>
              <a:gd name="connsiteY12" fmla="*/ 1901825 h 1972443"/>
              <a:gd name="connsiteX13" fmla="*/ 2366825 w 2366825"/>
              <a:gd name="connsiteY13" fmla="*/ 1755775 h 1972443"/>
              <a:gd name="connsiteX14" fmla="*/ 2354125 w 2366825"/>
              <a:gd name="connsiteY14" fmla="*/ 152400 h 1972443"/>
              <a:gd name="connsiteX15" fmla="*/ 2271575 w 2366825"/>
              <a:gd name="connsiteY15" fmla="*/ 12700 h 1972443"/>
              <a:gd name="connsiteX16" fmla="*/ 1563550 w 2366825"/>
              <a:gd name="connsiteY16" fmla="*/ 15875 h 1972443"/>
              <a:gd name="connsiteX17" fmla="*/ 449125 w 2366825"/>
              <a:gd name="connsiteY17" fmla="*/ 0 h 1972443"/>
              <a:gd name="connsiteX18" fmla="*/ 26850 w 2366825"/>
              <a:gd name="connsiteY18" fmla="*/ 31750 h 1972443"/>
              <a:gd name="connsiteX19" fmla="*/ 26850 w 2366825"/>
              <a:gd name="connsiteY19" fmla="*/ 31750 h 1972443"/>
              <a:gd name="connsiteX20" fmla="*/ 26850 w 2366825"/>
              <a:gd name="connsiteY20" fmla="*/ 151074 h 2091767"/>
              <a:gd name="connsiteX21" fmla="*/ 26850 w 2366825"/>
              <a:gd name="connsiteY21" fmla="*/ 117663 h 2058356"/>
              <a:gd name="connsiteX22" fmla="*/ 26850 w 2366825"/>
              <a:gd name="connsiteY22" fmla="*/ 57202 h 1997895"/>
              <a:gd name="connsiteX23" fmla="*/ 26850 w 2385887"/>
              <a:gd name="connsiteY23" fmla="*/ 57202 h 1997895"/>
              <a:gd name="connsiteX24" fmla="*/ 26850 w 2405631"/>
              <a:gd name="connsiteY24" fmla="*/ 57202 h 1997895"/>
              <a:gd name="connsiteX25" fmla="*/ 26850 w 2431321"/>
              <a:gd name="connsiteY25" fmla="*/ 57202 h 1997895"/>
              <a:gd name="connsiteX26" fmla="*/ 26850 w 2428675"/>
              <a:gd name="connsiteY26" fmla="*/ 57202 h 1997895"/>
              <a:gd name="connsiteX27" fmla="*/ 26850 w 2428675"/>
              <a:gd name="connsiteY27" fmla="*/ 57202 h 1997895"/>
              <a:gd name="connsiteX28" fmla="*/ 26850 w 2428675"/>
              <a:gd name="connsiteY28" fmla="*/ 57202 h 1997895"/>
              <a:gd name="connsiteX29" fmla="*/ 26850 w 2428675"/>
              <a:gd name="connsiteY29" fmla="*/ 57202 h 1997895"/>
              <a:gd name="connsiteX30" fmla="*/ 26850 w 2428675"/>
              <a:gd name="connsiteY30" fmla="*/ 57202 h 1997895"/>
              <a:gd name="connsiteX31" fmla="*/ 26850 w 2428675"/>
              <a:gd name="connsiteY31" fmla="*/ 57202 h 1997895"/>
              <a:gd name="connsiteX32" fmla="*/ 26850 w 2428675"/>
              <a:gd name="connsiteY32" fmla="*/ 57202 h 2003579"/>
              <a:gd name="connsiteX33" fmla="*/ 26850 w 2428675"/>
              <a:gd name="connsiteY33" fmla="*/ 57202 h 2003579"/>
              <a:gd name="connsiteX34" fmla="*/ 26850 w 2428675"/>
              <a:gd name="connsiteY34" fmla="*/ 57202 h 2003477"/>
              <a:gd name="connsiteX35" fmla="*/ 26850 w 2428675"/>
              <a:gd name="connsiteY35" fmla="*/ 57202 h 2006652"/>
              <a:gd name="connsiteX36" fmla="*/ 26850 w 2428675"/>
              <a:gd name="connsiteY36" fmla="*/ 57202 h 2038286"/>
              <a:gd name="connsiteX37" fmla="*/ 26850 w 2428675"/>
              <a:gd name="connsiteY37" fmla="*/ 57202 h 2038286"/>
              <a:gd name="connsiteX38" fmla="*/ 26850 w 2428675"/>
              <a:gd name="connsiteY38" fmla="*/ 57202 h 2038286"/>
              <a:gd name="connsiteX39" fmla="*/ 26850 w 2428675"/>
              <a:gd name="connsiteY39" fmla="*/ 57202 h 2038286"/>
              <a:gd name="connsiteX40" fmla="*/ 26850 w 2428675"/>
              <a:gd name="connsiteY40" fmla="*/ 57202 h 2038286"/>
              <a:gd name="connsiteX41" fmla="*/ 26850 w 2428675"/>
              <a:gd name="connsiteY41" fmla="*/ 57202 h 2038286"/>
              <a:gd name="connsiteX42" fmla="*/ 26850 w 2428675"/>
              <a:gd name="connsiteY42" fmla="*/ 57202 h 2038286"/>
              <a:gd name="connsiteX43" fmla="*/ 26725 w 2428550"/>
              <a:gd name="connsiteY43" fmla="*/ 57202 h 2038286"/>
              <a:gd name="connsiteX44" fmla="*/ 58767 w 2460592"/>
              <a:gd name="connsiteY44" fmla="*/ 57202 h 2038286"/>
              <a:gd name="connsiteX45" fmla="*/ 58288 w 2460113"/>
              <a:gd name="connsiteY45" fmla="*/ 57202 h 2038286"/>
              <a:gd name="connsiteX46" fmla="*/ 57150 w 2458975"/>
              <a:gd name="connsiteY46" fmla="*/ 57202 h 2038286"/>
              <a:gd name="connsiteX47" fmla="*/ 64926 w 2466751"/>
              <a:gd name="connsiteY47" fmla="*/ 57202 h 2038286"/>
              <a:gd name="connsiteX48" fmla="*/ 64926 w 2466751"/>
              <a:gd name="connsiteY48" fmla="*/ 57202 h 2038286"/>
              <a:gd name="connsiteX49" fmla="*/ 64926 w 2466751"/>
              <a:gd name="connsiteY49" fmla="*/ 57202 h 2038286"/>
              <a:gd name="connsiteX50" fmla="*/ 49051 w 2466751"/>
              <a:gd name="connsiteY50" fmla="*/ 41327 h 2038286"/>
              <a:gd name="connsiteX51" fmla="*/ 49051 w 2466751"/>
              <a:gd name="connsiteY51" fmla="*/ 41275 h 2038234"/>
              <a:gd name="connsiteX52" fmla="*/ 49051 w 2466751"/>
              <a:gd name="connsiteY52" fmla="*/ 65273 h 2062232"/>
              <a:gd name="connsiteX53" fmla="*/ 49051 w 2466751"/>
              <a:gd name="connsiteY53" fmla="*/ 65273 h 2062232"/>
              <a:gd name="connsiteX54" fmla="*/ 49051 w 2466751"/>
              <a:gd name="connsiteY54" fmla="*/ 65273 h 2062232"/>
              <a:gd name="connsiteX55" fmla="*/ 49051 w 2466751"/>
              <a:gd name="connsiteY55" fmla="*/ 65273 h 2062232"/>
              <a:gd name="connsiteX56" fmla="*/ 49051 w 2466751"/>
              <a:gd name="connsiteY56" fmla="*/ 65273 h 20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66825" h="1972443">
                <a:moveTo>
                  <a:pt x="26850" y="31750"/>
                </a:moveTo>
                <a:cubicBezTo>
                  <a:pt x="-14954" y="56621"/>
                  <a:pt x="10649" y="257204"/>
                  <a:pt x="7800" y="377825"/>
                </a:cubicBezTo>
                <a:cubicBezTo>
                  <a:pt x="1450" y="450321"/>
                  <a:pt x="5683" y="494771"/>
                  <a:pt x="1450" y="520700"/>
                </a:cubicBezTo>
                <a:cubicBezTo>
                  <a:pt x="-4900" y="606425"/>
                  <a:pt x="11504" y="774171"/>
                  <a:pt x="14150" y="882650"/>
                </a:cubicBezTo>
                <a:cubicBezTo>
                  <a:pt x="16796" y="991129"/>
                  <a:pt x="16267" y="1057275"/>
                  <a:pt x="17325" y="1171575"/>
                </a:cubicBezTo>
                <a:cubicBezTo>
                  <a:pt x="18383" y="1285875"/>
                  <a:pt x="17854" y="1446742"/>
                  <a:pt x="20500" y="1568450"/>
                </a:cubicBezTo>
                <a:cubicBezTo>
                  <a:pt x="23146" y="1690158"/>
                  <a:pt x="28967" y="1828800"/>
                  <a:pt x="33200" y="1901825"/>
                </a:cubicBezTo>
                <a:cubicBezTo>
                  <a:pt x="37351" y="1973437"/>
                  <a:pt x="31888" y="1961483"/>
                  <a:pt x="179250" y="1968500"/>
                </a:cubicBezTo>
                <a:cubicBezTo>
                  <a:pt x="411025" y="1983846"/>
                  <a:pt x="908442" y="1949450"/>
                  <a:pt x="1160325" y="1949450"/>
                </a:cubicBezTo>
                <a:cubicBezTo>
                  <a:pt x="1412208" y="1949450"/>
                  <a:pt x="1513808" y="1962150"/>
                  <a:pt x="1690550" y="1968500"/>
                </a:cubicBezTo>
                <a:lnTo>
                  <a:pt x="2100125" y="1962150"/>
                </a:lnTo>
                <a:cubicBezTo>
                  <a:pt x="2207546" y="1958975"/>
                  <a:pt x="2291154" y="1959504"/>
                  <a:pt x="2335075" y="1949450"/>
                </a:cubicBezTo>
                <a:cubicBezTo>
                  <a:pt x="2378996" y="1939396"/>
                  <a:pt x="2358358" y="1934104"/>
                  <a:pt x="2363650" y="1901825"/>
                </a:cubicBezTo>
                <a:cubicBezTo>
                  <a:pt x="2368942" y="1869546"/>
                  <a:pt x="2365175" y="1804442"/>
                  <a:pt x="2366825" y="1755775"/>
                </a:cubicBezTo>
                <a:cubicBezTo>
                  <a:pt x="2361533" y="1439333"/>
                  <a:pt x="2360518" y="443276"/>
                  <a:pt x="2354125" y="152400"/>
                </a:cubicBezTo>
                <a:cubicBezTo>
                  <a:pt x="2350950" y="7937"/>
                  <a:pt x="2352537" y="29104"/>
                  <a:pt x="2271575" y="12700"/>
                </a:cubicBezTo>
                <a:cubicBezTo>
                  <a:pt x="2140526" y="-13852"/>
                  <a:pt x="1866762" y="14817"/>
                  <a:pt x="1563550" y="15875"/>
                </a:cubicBezTo>
                <a:lnTo>
                  <a:pt x="449125" y="0"/>
                </a:lnTo>
                <a:cubicBezTo>
                  <a:pt x="193008" y="2646"/>
                  <a:pt x="68654" y="6879"/>
                  <a:pt x="26850" y="31750"/>
                </a:cubicBezTo>
                <a:close/>
              </a:path>
            </a:pathLst>
          </a:custGeom>
          <a:solidFill>
            <a:schemeClr val="bg1"/>
          </a:solidFill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pic>
        <p:nvPicPr>
          <p:cNvPr id="231" name="Graphic 230">
            <a:extLst>
              <a:ext uri="{FF2B5EF4-FFF2-40B4-BE49-F238E27FC236}">
                <a16:creationId xmlns:a16="http://schemas.microsoft.com/office/drawing/2014/main" id="{AA66F839-8BEE-AE0C-F7F2-301DEC5F51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03881" y="5746265"/>
            <a:ext cx="300066" cy="300066"/>
          </a:xfrm>
          <a:prstGeom prst="rect">
            <a:avLst/>
          </a:prstGeom>
        </p:spPr>
      </p:pic>
      <p:pic>
        <p:nvPicPr>
          <p:cNvPr id="232" name="Graphic 231">
            <a:extLst>
              <a:ext uri="{FF2B5EF4-FFF2-40B4-BE49-F238E27FC236}">
                <a16:creationId xmlns:a16="http://schemas.microsoft.com/office/drawing/2014/main" id="{6BBDB965-E379-2EA2-5DC0-41B3352EE0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34647" y="5071344"/>
            <a:ext cx="300066" cy="300066"/>
          </a:xfrm>
          <a:prstGeom prst="rect">
            <a:avLst/>
          </a:prstGeom>
        </p:spPr>
      </p:pic>
      <p:pic>
        <p:nvPicPr>
          <p:cNvPr id="228" name="Graphic 227">
            <a:extLst>
              <a:ext uri="{FF2B5EF4-FFF2-40B4-BE49-F238E27FC236}">
                <a16:creationId xmlns:a16="http://schemas.microsoft.com/office/drawing/2014/main" id="{E8F393B0-12D4-A004-95E6-5262C52D58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48154" y="4489573"/>
            <a:ext cx="300066" cy="300066"/>
          </a:xfrm>
          <a:prstGeom prst="rect">
            <a:avLst/>
          </a:prstGeom>
        </p:spPr>
      </p:pic>
      <p:pic>
        <p:nvPicPr>
          <p:cNvPr id="229" name="Graphic 228">
            <a:extLst>
              <a:ext uri="{FF2B5EF4-FFF2-40B4-BE49-F238E27FC236}">
                <a16:creationId xmlns:a16="http://schemas.microsoft.com/office/drawing/2014/main" id="{12267B69-ACDE-34D4-DFD9-5F689B2FA55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91675" y="5776649"/>
            <a:ext cx="300066" cy="300066"/>
          </a:xfrm>
          <a:prstGeom prst="rect">
            <a:avLst/>
          </a:prstGeom>
        </p:spPr>
      </p:pic>
      <p:pic>
        <p:nvPicPr>
          <p:cNvPr id="230" name="Graphic 229">
            <a:extLst>
              <a:ext uri="{FF2B5EF4-FFF2-40B4-BE49-F238E27FC236}">
                <a16:creationId xmlns:a16="http://schemas.microsoft.com/office/drawing/2014/main" id="{B0AB069E-E94E-A1C3-D4AD-C94A4633FD0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703530" y="4621697"/>
            <a:ext cx="300066" cy="300066"/>
          </a:xfrm>
          <a:prstGeom prst="rect">
            <a:avLst/>
          </a:prstGeom>
        </p:spPr>
      </p:pic>
      <p:pic>
        <p:nvPicPr>
          <p:cNvPr id="225" name="Graphic 224">
            <a:extLst>
              <a:ext uri="{FF2B5EF4-FFF2-40B4-BE49-F238E27FC236}">
                <a16:creationId xmlns:a16="http://schemas.microsoft.com/office/drawing/2014/main" id="{272FE756-8F8F-5F01-A096-32C951E3424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86997" y="5362789"/>
            <a:ext cx="300066" cy="300066"/>
          </a:xfrm>
          <a:prstGeom prst="rect">
            <a:avLst/>
          </a:prstGeom>
        </p:spPr>
      </p:pic>
      <p:pic>
        <p:nvPicPr>
          <p:cNvPr id="227" name="Graphic 226">
            <a:extLst>
              <a:ext uri="{FF2B5EF4-FFF2-40B4-BE49-F238E27FC236}">
                <a16:creationId xmlns:a16="http://schemas.microsoft.com/office/drawing/2014/main" id="{7076C526-604B-9F0A-9F50-875A78D5147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77099" y="4619108"/>
            <a:ext cx="300066" cy="300066"/>
          </a:xfrm>
          <a:prstGeom prst="rect">
            <a:avLst/>
          </a:prstGeom>
        </p:spPr>
      </p:pic>
      <p:pic>
        <p:nvPicPr>
          <p:cNvPr id="222" name="Graphic 221">
            <a:extLst>
              <a:ext uri="{FF2B5EF4-FFF2-40B4-BE49-F238E27FC236}">
                <a16:creationId xmlns:a16="http://schemas.microsoft.com/office/drawing/2014/main" id="{7BEA59F8-9CE0-BD34-906F-AC2426C3DBD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497691" y="5626616"/>
            <a:ext cx="300066" cy="300066"/>
          </a:xfrm>
          <a:prstGeom prst="rect">
            <a:avLst/>
          </a:prstGeom>
        </p:spPr>
      </p:pic>
      <p:pic>
        <p:nvPicPr>
          <p:cNvPr id="219" name="Graphic 218">
            <a:extLst>
              <a:ext uri="{FF2B5EF4-FFF2-40B4-BE49-F238E27FC236}">
                <a16:creationId xmlns:a16="http://schemas.microsoft.com/office/drawing/2014/main" id="{1FB0BCD4-00F3-A4BB-4292-11C931D988D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648071" y="4204332"/>
            <a:ext cx="300066" cy="300066"/>
          </a:xfrm>
          <a:prstGeom prst="rect">
            <a:avLst/>
          </a:prstGeom>
        </p:spPr>
      </p:pic>
      <p:pic>
        <p:nvPicPr>
          <p:cNvPr id="220" name="Graphic 219">
            <a:extLst>
              <a:ext uri="{FF2B5EF4-FFF2-40B4-BE49-F238E27FC236}">
                <a16:creationId xmlns:a16="http://schemas.microsoft.com/office/drawing/2014/main" id="{94DAA94C-8E25-F9FB-1E97-4E962768B92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203706" y="4246841"/>
            <a:ext cx="300066" cy="300066"/>
          </a:xfrm>
          <a:prstGeom prst="rect">
            <a:avLst/>
          </a:prstGeom>
        </p:spPr>
      </p:pic>
      <p:pic>
        <p:nvPicPr>
          <p:cNvPr id="221" name="Graphic 220">
            <a:extLst>
              <a:ext uri="{FF2B5EF4-FFF2-40B4-BE49-F238E27FC236}">
                <a16:creationId xmlns:a16="http://schemas.microsoft.com/office/drawing/2014/main" id="{5BCB410E-EC5F-041D-9E94-3D1D565DA4F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703530" y="4246841"/>
            <a:ext cx="300066" cy="300066"/>
          </a:xfrm>
          <a:prstGeom prst="rect">
            <a:avLst/>
          </a:prstGeom>
        </p:spPr>
      </p:pic>
      <p:sp>
        <p:nvSpPr>
          <p:cNvPr id="1068" name="Tekstfelt 1067">
            <a:extLst>
              <a:ext uri="{FF2B5EF4-FFF2-40B4-BE49-F238E27FC236}">
                <a16:creationId xmlns:a16="http://schemas.microsoft.com/office/drawing/2014/main" id="{9D4E94F3-E84C-608F-59A6-DACA9CC378A9}"/>
              </a:ext>
            </a:extLst>
          </p:cNvPr>
          <p:cNvSpPr txBox="1"/>
          <p:nvPr/>
        </p:nvSpPr>
        <p:spPr>
          <a:xfrm>
            <a:off x="500743" y="3287486"/>
            <a:ext cx="27540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00" b="1">
                <a:latin typeface="Verdana" panose="020B0604030504040204" pitchFamily="34" charset="0"/>
                <a:ea typeface="Verdana" panose="020B0604030504040204" pitchFamily="34" charset="0"/>
              </a:rPr>
              <a:t>Landsbyggefondens store database </a:t>
            </a:r>
            <a:r>
              <a:rPr lang="da-DK" sz="1000">
                <a:latin typeface="Verdana" panose="020B0604030504040204" pitchFamily="34" charset="0"/>
                <a:ea typeface="Verdana" panose="020B0604030504040204" pitchFamily="34" charset="0"/>
              </a:rPr>
              <a:t>med både offentligt data, regnskabsdata, særlige datakilder mv.</a:t>
            </a:r>
          </a:p>
          <a:p>
            <a:endParaRPr lang="da-DK" sz="1000"/>
          </a:p>
        </p:txBody>
      </p:sp>
      <p:sp>
        <p:nvSpPr>
          <p:cNvPr id="1069" name="Rectangle 153">
            <a:extLst>
              <a:ext uri="{FF2B5EF4-FFF2-40B4-BE49-F238E27FC236}">
                <a16:creationId xmlns:a16="http://schemas.microsoft.com/office/drawing/2014/main" id="{B753529C-3321-AB42-5956-F8C9E4CAA7B4}"/>
              </a:ext>
            </a:extLst>
          </p:cNvPr>
          <p:cNvSpPr/>
          <p:nvPr/>
        </p:nvSpPr>
        <p:spPr>
          <a:xfrm>
            <a:off x="398459" y="4164017"/>
            <a:ext cx="4799151" cy="892696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da-DK" sz="11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70" name="Tekstfelt 1069">
            <a:extLst>
              <a:ext uri="{FF2B5EF4-FFF2-40B4-BE49-F238E27FC236}">
                <a16:creationId xmlns:a16="http://schemas.microsoft.com/office/drawing/2014/main" id="{B9837669-40CD-A523-F1D0-C940008C1F42}"/>
              </a:ext>
            </a:extLst>
          </p:cNvPr>
          <p:cNvSpPr txBox="1"/>
          <p:nvPr/>
        </p:nvSpPr>
        <p:spPr>
          <a:xfrm>
            <a:off x="495286" y="4212186"/>
            <a:ext cx="3079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>
                <a:latin typeface="Verdana" panose="020B0604030504040204" pitchFamily="34" charset="0"/>
                <a:ea typeface="Verdana" panose="020B0604030504040204" pitchFamily="34" charset="0"/>
              </a:rPr>
              <a:t>Et brugervenligt </a:t>
            </a:r>
            <a:r>
              <a:rPr lang="da-DK" sz="1000" b="1">
                <a:latin typeface="Verdana" panose="020B0604030504040204" pitchFamily="34" charset="0"/>
                <a:ea typeface="Verdana" panose="020B0604030504040204" pitchFamily="34" charset="0"/>
              </a:rPr>
              <a:t>Egne Data Modul</a:t>
            </a:r>
            <a:r>
              <a:rPr lang="da-DK" sz="1000">
                <a:latin typeface="Verdana" panose="020B0604030504040204" pitchFamily="34" charset="0"/>
                <a:ea typeface="Verdana" panose="020B0604030504040204" pitchFamily="34" charset="0"/>
              </a:rPr>
              <a:t>, hvor boligorganisationerne kan indtaste de data, som kun de selv har adgang til, eksempelvis nøgletal for medarbejdere og governance praksis</a:t>
            </a:r>
          </a:p>
          <a:p>
            <a:endParaRPr lang="da-DK" sz="1000"/>
          </a:p>
        </p:txBody>
      </p:sp>
      <p:grpSp>
        <p:nvGrpSpPr>
          <p:cNvPr id="1076" name="Gruppe 1075">
            <a:extLst>
              <a:ext uri="{FF2B5EF4-FFF2-40B4-BE49-F238E27FC236}">
                <a16:creationId xmlns:a16="http://schemas.microsoft.com/office/drawing/2014/main" id="{FC9E1DCD-8CC4-5CB0-F566-A9D61A5BBA01}"/>
              </a:ext>
            </a:extLst>
          </p:cNvPr>
          <p:cNvGrpSpPr/>
          <p:nvPr/>
        </p:nvGrpSpPr>
        <p:grpSpPr>
          <a:xfrm>
            <a:off x="3774805" y="4198627"/>
            <a:ext cx="1091226" cy="846139"/>
            <a:chOff x="421888" y="5146939"/>
            <a:chExt cx="1313512" cy="972605"/>
          </a:xfrm>
        </p:grpSpPr>
        <p:grpSp>
          <p:nvGrpSpPr>
            <p:cNvPr id="233" name="Group 80">
              <a:extLst>
                <a:ext uri="{FF2B5EF4-FFF2-40B4-BE49-F238E27FC236}">
                  <a16:creationId xmlns:a16="http://schemas.microsoft.com/office/drawing/2014/main" id="{512B4AB9-C3F7-4505-F212-2803A6CCB1B5}"/>
                </a:ext>
              </a:extLst>
            </p:cNvPr>
            <p:cNvGrpSpPr/>
            <p:nvPr/>
          </p:nvGrpSpPr>
          <p:grpSpPr>
            <a:xfrm>
              <a:off x="421888" y="5146939"/>
              <a:ext cx="1313512" cy="972605"/>
              <a:chOff x="568143" y="2449513"/>
              <a:chExt cx="4839770" cy="3484739"/>
            </a:xfrm>
          </p:grpSpPr>
          <p:grpSp>
            <p:nvGrpSpPr>
              <p:cNvPr id="339" name="Group 81">
                <a:extLst>
                  <a:ext uri="{FF2B5EF4-FFF2-40B4-BE49-F238E27FC236}">
                    <a16:creationId xmlns:a16="http://schemas.microsoft.com/office/drawing/2014/main" id="{46DC13F0-4127-2DCB-B9CE-FE4A80ACE40C}"/>
                  </a:ext>
                </a:extLst>
              </p:cNvPr>
              <p:cNvGrpSpPr/>
              <p:nvPr/>
            </p:nvGrpSpPr>
            <p:grpSpPr>
              <a:xfrm>
                <a:off x="568143" y="2449513"/>
                <a:ext cx="4839770" cy="3484739"/>
                <a:chOff x="5825943" y="2209357"/>
                <a:chExt cx="4839770" cy="3484739"/>
              </a:xfrm>
            </p:grpSpPr>
            <p:sp>
              <p:nvSpPr>
                <p:cNvPr id="1062" name="Freeform: Shape 127">
                  <a:extLst>
                    <a:ext uri="{FF2B5EF4-FFF2-40B4-BE49-F238E27FC236}">
                      <a16:creationId xmlns:a16="http://schemas.microsoft.com/office/drawing/2014/main" id="{F44AEFA8-BC0D-D8BC-69A0-98F58B2C8E3C}"/>
                    </a:ext>
                  </a:extLst>
                </p:cNvPr>
                <p:cNvSpPr/>
                <p:nvPr/>
              </p:nvSpPr>
              <p:spPr>
                <a:xfrm>
                  <a:off x="7087743" y="4994509"/>
                  <a:ext cx="2316170" cy="699587"/>
                </a:xfrm>
                <a:custGeom>
                  <a:avLst/>
                  <a:gdLst>
                    <a:gd name="connsiteX0" fmla="*/ 1037649 w 2316170"/>
                    <a:gd name="connsiteY0" fmla="*/ 21198 h 699587"/>
                    <a:gd name="connsiteX1" fmla="*/ 1294824 w 2316170"/>
                    <a:gd name="connsiteY1" fmla="*/ 11673 h 699587"/>
                    <a:gd name="connsiteX2" fmla="*/ 1290062 w 2316170"/>
                    <a:gd name="connsiteY2" fmla="*/ 78348 h 699587"/>
                    <a:gd name="connsiteX3" fmla="*/ 1280537 w 2316170"/>
                    <a:gd name="connsiteY3" fmla="*/ 426010 h 699587"/>
                    <a:gd name="connsiteX4" fmla="*/ 1294824 w 2316170"/>
                    <a:gd name="connsiteY4" fmla="*/ 530785 h 699587"/>
                    <a:gd name="connsiteX5" fmla="*/ 1361499 w 2316170"/>
                    <a:gd name="connsiteY5" fmla="*/ 535548 h 699587"/>
                    <a:gd name="connsiteX6" fmla="*/ 1728212 w 2316170"/>
                    <a:gd name="connsiteY6" fmla="*/ 545073 h 699587"/>
                    <a:gd name="connsiteX7" fmla="*/ 1971099 w 2316170"/>
                    <a:gd name="connsiteY7" fmla="*/ 540310 h 699587"/>
                    <a:gd name="connsiteX8" fmla="*/ 2290187 w 2316170"/>
                    <a:gd name="connsiteY8" fmla="*/ 549835 h 699587"/>
                    <a:gd name="connsiteX9" fmla="*/ 2271137 w 2316170"/>
                    <a:gd name="connsiteY9" fmla="*/ 687948 h 699587"/>
                    <a:gd name="connsiteX10" fmla="*/ 1742499 w 2316170"/>
                    <a:gd name="connsiteY10" fmla="*/ 687948 h 699587"/>
                    <a:gd name="connsiteX11" fmla="*/ 1285299 w 2316170"/>
                    <a:gd name="connsiteY11" fmla="*/ 673660 h 699587"/>
                    <a:gd name="connsiteX12" fmla="*/ 23237 w 2316170"/>
                    <a:gd name="connsiteY12" fmla="*/ 654610 h 699587"/>
                    <a:gd name="connsiteX13" fmla="*/ 13712 w 2316170"/>
                    <a:gd name="connsiteY13" fmla="*/ 554598 h 699587"/>
                    <a:gd name="connsiteX14" fmla="*/ 123250 w 2316170"/>
                    <a:gd name="connsiteY14" fmla="*/ 516498 h 699587"/>
                    <a:gd name="connsiteX15" fmla="*/ 813812 w 2316170"/>
                    <a:gd name="connsiteY15" fmla="*/ 535548 h 699587"/>
                    <a:gd name="connsiteX16" fmla="*/ 999549 w 2316170"/>
                    <a:gd name="connsiteY16" fmla="*/ 530786 h 699587"/>
                    <a:gd name="connsiteX17" fmla="*/ 1037649 w 2316170"/>
                    <a:gd name="connsiteY17" fmla="*/ 430773 h 699587"/>
                    <a:gd name="connsiteX18" fmla="*/ 1028124 w 2316170"/>
                    <a:gd name="connsiteY18" fmla="*/ 216460 h 699587"/>
                    <a:gd name="connsiteX19" fmla="*/ 1037649 w 2316170"/>
                    <a:gd name="connsiteY19" fmla="*/ 21198 h 699587"/>
                    <a:gd name="connsiteX20" fmla="*/ 1042895 w 2344523"/>
                    <a:gd name="connsiteY20" fmla="*/ 21198 h 706212"/>
                    <a:gd name="connsiteX21" fmla="*/ 1042895 w 2344523"/>
                    <a:gd name="connsiteY21" fmla="*/ 21198 h 706998"/>
                    <a:gd name="connsiteX22" fmla="*/ 1030095 w 2331723"/>
                    <a:gd name="connsiteY22" fmla="*/ 21198 h 706998"/>
                    <a:gd name="connsiteX23" fmla="*/ 1030095 w 2331723"/>
                    <a:gd name="connsiteY23" fmla="*/ 21198 h 715055"/>
                    <a:gd name="connsiteX24" fmla="*/ 1030095 w 2331723"/>
                    <a:gd name="connsiteY24" fmla="*/ 21198 h 721285"/>
                    <a:gd name="connsiteX25" fmla="*/ 1030095 w 2331723"/>
                    <a:gd name="connsiteY25" fmla="*/ 21198 h 721285"/>
                    <a:gd name="connsiteX26" fmla="*/ 1030095 w 2331723"/>
                    <a:gd name="connsiteY26" fmla="*/ 21198 h 721285"/>
                    <a:gd name="connsiteX27" fmla="*/ 1030095 w 2331723"/>
                    <a:gd name="connsiteY27" fmla="*/ 21198 h 721285"/>
                    <a:gd name="connsiteX28" fmla="*/ 1030095 w 2325718"/>
                    <a:gd name="connsiteY28" fmla="*/ 21198 h 721285"/>
                    <a:gd name="connsiteX29" fmla="*/ 1030095 w 2325718"/>
                    <a:gd name="connsiteY29" fmla="*/ 21198 h 721285"/>
                    <a:gd name="connsiteX30" fmla="*/ 1030095 w 2325718"/>
                    <a:gd name="connsiteY30" fmla="*/ 21198 h 721285"/>
                    <a:gd name="connsiteX31" fmla="*/ 1030095 w 2316661"/>
                    <a:gd name="connsiteY31" fmla="*/ 21198 h 721285"/>
                    <a:gd name="connsiteX32" fmla="*/ 1030095 w 2306667"/>
                    <a:gd name="connsiteY32" fmla="*/ 21198 h 721285"/>
                    <a:gd name="connsiteX33" fmla="*/ 1030095 w 2308157"/>
                    <a:gd name="connsiteY33" fmla="*/ 21198 h 721285"/>
                    <a:gd name="connsiteX34" fmla="*/ 1030095 w 2316107"/>
                    <a:gd name="connsiteY34" fmla="*/ 21198 h 721285"/>
                    <a:gd name="connsiteX35" fmla="*/ 1030095 w 2315970"/>
                    <a:gd name="connsiteY35" fmla="*/ 21198 h 721285"/>
                    <a:gd name="connsiteX36" fmla="*/ 1030095 w 2315970"/>
                    <a:gd name="connsiteY36" fmla="*/ 21198 h 721285"/>
                    <a:gd name="connsiteX37" fmla="*/ 1030095 w 2315970"/>
                    <a:gd name="connsiteY37" fmla="*/ 21198 h 721285"/>
                    <a:gd name="connsiteX38" fmla="*/ 1030095 w 2315970"/>
                    <a:gd name="connsiteY38" fmla="*/ 21198 h 721285"/>
                    <a:gd name="connsiteX39" fmla="*/ 1030095 w 2315970"/>
                    <a:gd name="connsiteY39" fmla="*/ 21198 h 721285"/>
                    <a:gd name="connsiteX40" fmla="*/ 1030095 w 2315970"/>
                    <a:gd name="connsiteY40" fmla="*/ 21198 h 721285"/>
                    <a:gd name="connsiteX41" fmla="*/ 1030095 w 2315970"/>
                    <a:gd name="connsiteY41" fmla="*/ 21198 h 721285"/>
                    <a:gd name="connsiteX42" fmla="*/ 1030095 w 2315970"/>
                    <a:gd name="connsiteY42" fmla="*/ 21198 h 721285"/>
                    <a:gd name="connsiteX43" fmla="*/ 1030095 w 2315970"/>
                    <a:gd name="connsiteY43" fmla="*/ 15546 h 715633"/>
                    <a:gd name="connsiteX44" fmla="*/ 1030095 w 2315970"/>
                    <a:gd name="connsiteY44" fmla="*/ 15546 h 715633"/>
                    <a:gd name="connsiteX45" fmla="*/ 1030095 w 2315970"/>
                    <a:gd name="connsiteY45" fmla="*/ 15546 h 715633"/>
                    <a:gd name="connsiteX46" fmla="*/ 1030095 w 2315970"/>
                    <a:gd name="connsiteY46" fmla="*/ 15549 h 715636"/>
                    <a:gd name="connsiteX47" fmla="*/ 1020570 w 2315970"/>
                    <a:gd name="connsiteY47" fmla="*/ 1257 h 715632"/>
                    <a:gd name="connsiteX48" fmla="*/ 1006283 w 2315970"/>
                    <a:gd name="connsiteY48" fmla="*/ 5467 h 715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316170" h="699587">
                      <a:moveTo>
                        <a:pt x="1037649" y="21198"/>
                      </a:moveTo>
                      <a:cubicBezTo>
                        <a:pt x="1082099" y="-12933"/>
                        <a:pt x="1252755" y="2148"/>
                        <a:pt x="1294824" y="11673"/>
                      </a:cubicBezTo>
                      <a:cubicBezTo>
                        <a:pt x="1336893" y="21198"/>
                        <a:pt x="1292443" y="9292"/>
                        <a:pt x="1290062" y="78348"/>
                      </a:cubicBezTo>
                      <a:cubicBezTo>
                        <a:pt x="1287681" y="147404"/>
                        <a:pt x="1279743" y="350604"/>
                        <a:pt x="1280537" y="426010"/>
                      </a:cubicBezTo>
                      <a:cubicBezTo>
                        <a:pt x="1280774" y="432897"/>
                        <a:pt x="1290479" y="530475"/>
                        <a:pt x="1294824" y="530785"/>
                      </a:cubicBezTo>
                      <a:lnTo>
                        <a:pt x="1361499" y="535548"/>
                      </a:lnTo>
                      <a:lnTo>
                        <a:pt x="1728212" y="545073"/>
                      </a:lnTo>
                      <a:cubicBezTo>
                        <a:pt x="1809101" y="541281"/>
                        <a:pt x="1890137" y="541898"/>
                        <a:pt x="1971099" y="540310"/>
                      </a:cubicBezTo>
                      <a:cubicBezTo>
                        <a:pt x="2077462" y="543485"/>
                        <a:pt x="2240181" y="525229"/>
                        <a:pt x="2290187" y="549835"/>
                      </a:cubicBezTo>
                      <a:cubicBezTo>
                        <a:pt x="2340193" y="574441"/>
                        <a:pt x="2309191" y="674301"/>
                        <a:pt x="2271137" y="687948"/>
                      </a:cubicBezTo>
                      <a:cubicBezTo>
                        <a:pt x="2183700" y="719305"/>
                        <a:pt x="1906805" y="676042"/>
                        <a:pt x="1742499" y="687948"/>
                      </a:cubicBezTo>
                      <a:cubicBezTo>
                        <a:pt x="1578605" y="699824"/>
                        <a:pt x="1571843" y="679216"/>
                        <a:pt x="1285299" y="673660"/>
                      </a:cubicBezTo>
                      <a:lnTo>
                        <a:pt x="23237" y="654610"/>
                      </a:lnTo>
                      <a:cubicBezTo>
                        <a:pt x="-9307" y="663341"/>
                        <a:pt x="-2957" y="577617"/>
                        <a:pt x="13712" y="554598"/>
                      </a:cubicBezTo>
                      <a:cubicBezTo>
                        <a:pt x="30381" y="531579"/>
                        <a:pt x="-10100" y="519673"/>
                        <a:pt x="123250" y="516498"/>
                      </a:cubicBezTo>
                      <a:cubicBezTo>
                        <a:pt x="395067" y="546697"/>
                        <a:pt x="667762" y="533167"/>
                        <a:pt x="813812" y="535548"/>
                      </a:cubicBezTo>
                      <a:cubicBezTo>
                        <a:pt x="959862" y="537929"/>
                        <a:pt x="923349" y="533961"/>
                        <a:pt x="999549" y="530786"/>
                      </a:cubicBezTo>
                      <a:cubicBezTo>
                        <a:pt x="1036855" y="513323"/>
                        <a:pt x="1032887" y="483161"/>
                        <a:pt x="1037649" y="430773"/>
                      </a:cubicBezTo>
                      <a:cubicBezTo>
                        <a:pt x="1042411" y="378385"/>
                        <a:pt x="1028124" y="284722"/>
                        <a:pt x="1028124" y="216460"/>
                      </a:cubicBezTo>
                      <a:cubicBezTo>
                        <a:pt x="1028124" y="148198"/>
                        <a:pt x="993199" y="55329"/>
                        <a:pt x="1037649" y="21198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63" name="Freeform: Shape 128">
                  <a:extLst>
                    <a:ext uri="{FF2B5EF4-FFF2-40B4-BE49-F238E27FC236}">
                      <a16:creationId xmlns:a16="http://schemas.microsoft.com/office/drawing/2014/main" id="{85CF4B28-0CC6-2349-E69D-36F532965892}"/>
                    </a:ext>
                  </a:extLst>
                </p:cNvPr>
                <p:cNvSpPr/>
                <p:nvPr/>
              </p:nvSpPr>
              <p:spPr>
                <a:xfrm>
                  <a:off x="7087743" y="4994509"/>
                  <a:ext cx="2316170" cy="699587"/>
                </a:xfrm>
                <a:custGeom>
                  <a:avLst/>
                  <a:gdLst>
                    <a:gd name="connsiteX0" fmla="*/ 1037649 w 2316170"/>
                    <a:gd name="connsiteY0" fmla="*/ 21198 h 699587"/>
                    <a:gd name="connsiteX1" fmla="*/ 1294824 w 2316170"/>
                    <a:gd name="connsiteY1" fmla="*/ 11673 h 699587"/>
                    <a:gd name="connsiteX2" fmla="*/ 1290062 w 2316170"/>
                    <a:gd name="connsiteY2" fmla="*/ 78348 h 699587"/>
                    <a:gd name="connsiteX3" fmla="*/ 1280537 w 2316170"/>
                    <a:gd name="connsiteY3" fmla="*/ 426010 h 699587"/>
                    <a:gd name="connsiteX4" fmla="*/ 1294824 w 2316170"/>
                    <a:gd name="connsiteY4" fmla="*/ 530785 h 699587"/>
                    <a:gd name="connsiteX5" fmla="*/ 1361499 w 2316170"/>
                    <a:gd name="connsiteY5" fmla="*/ 535548 h 699587"/>
                    <a:gd name="connsiteX6" fmla="*/ 1728212 w 2316170"/>
                    <a:gd name="connsiteY6" fmla="*/ 545073 h 699587"/>
                    <a:gd name="connsiteX7" fmla="*/ 1971099 w 2316170"/>
                    <a:gd name="connsiteY7" fmla="*/ 540310 h 699587"/>
                    <a:gd name="connsiteX8" fmla="*/ 2290187 w 2316170"/>
                    <a:gd name="connsiteY8" fmla="*/ 549835 h 699587"/>
                    <a:gd name="connsiteX9" fmla="*/ 2271137 w 2316170"/>
                    <a:gd name="connsiteY9" fmla="*/ 687948 h 699587"/>
                    <a:gd name="connsiteX10" fmla="*/ 1742499 w 2316170"/>
                    <a:gd name="connsiteY10" fmla="*/ 687948 h 699587"/>
                    <a:gd name="connsiteX11" fmla="*/ 1285299 w 2316170"/>
                    <a:gd name="connsiteY11" fmla="*/ 673660 h 699587"/>
                    <a:gd name="connsiteX12" fmla="*/ 23237 w 2316170"/>
                    <a:gd name="connsiteY12" fmla="*/ 654610 h 699587"/>
                    <a:gd name="connsiteX13" fmla="*/ 13712 w 2316170"/>
                    <a:gd name="connsiteY13" fmla="*/ 554598 h 699587"/>
                    <a:gd name="connsiteX14" fmla="*/ 123250 w 2316170"/>
                    <a:gd name="connsiteY14" fmla="*/ 516498 h 699587"/>
                    <a:gd name="connsiteX15" fmla="*/ 813812 w 2316170"/>
                    <a:gd name="connsiteY15" fmla="*/ 535548 h 699587"/>
                    <a:gd name="connsiteX16" fmla="*/ 999549 w 2316170"/>
                    <a:gd name="connsiteY16" fmla="*/ 530786 h 699587"/>
                    <a:gd name="connsiteX17" fmla="*/ 1037649 w 2316170"/>
                    <a:gd name="connsiteY17" fmla="*/ 430773 h 699587"/>
                    <a:gd name="connsiteX18" fmla="*/ 1028124 w 2316170"/>
                    <a:gd name="connsiteY18" fmla="*/ 216460 h 699587"/>
                    <a:gd name="connsiteX19" fmla="*/ 1037649 w 2316170"/>
                    <a:gd name="connsiteY19" fmla="*/ 21198 h 699587"/>
                    <a:gd name="connsiteX20" fmla="*/ 1042895 w 2344523"/>
                    <a:gd name="connsiteY20" fmla="*/ 21198 h 706212"/>
                    <a:gd name="connsiteX21" fmla="*/ 1042895 w 2344523"/>
                    <a:gd name="connsiteY21" fmla="*/ 21198 h 706998"/>
                    <a:gd name="connsiteX22" fmla="*/ 1030095 w 2331723"/>
                    <a:gd name="connsiteY22" fmla="*/ 21198 h 706998"/>
                    <a:gd name="connsiteX23" fmla="*/ 1030095 w 2331723"/>
                    <a:gd name="connsiteY23" fmla="*/ 21198 h 715055"/>
                    <a:gd name="connsiteX24" fmla="*/ 1030095 w 2331723"/>
                    <a:gd name="connsiteY24" fmla="*/ 21198 h 721285"/>
                    <a:gd name="connsiteX25" fmla="*/ 1030095 w 2331723"/>
                    <a:gd name="connsiteY25" fmla="*/ 21198 h 721285"/>
                    <a:gd name="connsiteX26" fmla="*/ 1030095 w 2331723"/>
                    <a:gd name="connsiteY26" fmla="*/ 21198 h 721285"/>
                    <a:gd name="connsiteX27" fmla="*/ 1030095 w 2331723"/>
                    <a:gd name="connsiteY27" fmla="*/ 21198 h 721285"/>
                    <a:gd name="connsiteX28" fmla="*/ 1030095 w 2325718"/>
                    <a:gd name="connsiteY28" fmla="*/ 21198 h 721285"/>
                    <a:gd name="connsiteX29" fmla="*/ 1030095 w 2325718"/>
                    <a:gd name="connsiteY29" fmla="*/ 21198 h 721285"/>
                    <a:gd name="connsiteX30" fmla="*/ 1030095 w 2325718"/>
                    <a:gd name="connsiteY30" fmla="*/ 21198 h 721285"/>
                    <a:gd name="connsiteX31" fmla="*/ 1030095 w 2316661"/>
                    <a:gd name="connsiteY31" fmla="*/ 21198 h 721285"/>
                    <a:gd name="connsiteX32" fmla="*/ 1030095 w 2306667"/>
                    <a:gd name="connsiteY32" fmla="*/ 21198 h 721285"/>
                    <a:gd name="connsiteX33" fmla="*/ 1030095 w 2308157"/>
                    <a:gd name="connsiteY33" fmla="*/ 21198 h 721285"/>
                    <a:gd name="connsiteX34" fmla="*/ 1030095 w 2316107"/>
                    <a:gd name="connsiteY34" fmla="*/ 21198 h 721285"/>
                    <a:gd name="connsiteX35" fmla="*/ 1030095 w 2315970"/>
                    <a:gd name="connsiteY35" fmla="*/ 21198 h 721285"/>
                    <a:gd name="connsiteX36" fmla="*/ 1030095 w 2315970"/>
                    <a:gd name="connsiteY36" fmla="*/ 21198 h 721285"/>
                    <a:gd name="connsiteX37" fmla="*/ 1030095 w 2315970"/>
                    <a:gd name="connsiteY37" fmla="*/ 21198 h 721285"/>
                    <a:gd name="connsiteX38" fmla="*/ 1030095 w 2315970"/>
                    <a:gd name="connsiteY38" fmla="*/ 21198 h 721285"/>
                    <a:gd name="connsiteX39" fmla="*/ 1030095 w 2315970"/>
                    <a:gd name="connsiteY39" fmla="*/ 21198 h 721285"/>
                    <a:gd name="connsiteX40" fmla="*/ 1030095 w 2315970"/>
                    <a:gd name="connsiteY40" fmla="*/ 21198 h 721285"/>
                    <a:gd name="connsiteX41" fmla="*/ 1030095 w 2315970"/>
                    <a:gd name="connsiteY41" fmla="*/ 21198 h 721285"/>
                    <a:gd name="connsiteX42" fmla="*/ 1030095 w 2315970"/>
                    <a:gd name="connsiteY42" fmla="*/ 21198 h 721285"/>
                    <a:gd name="connsiteX43" fmla="*/ 1030095 w 2315970"/>
                    <a:gd name="connsiteY43" fmla="*/ 15546 h 715633"/>
                    <a:gd name="connsiteX44" fmla="*/ 1030095 w 2315970"/>
                    <a:gd name="connsiteY44" fmla="*/ 15546 h 715633"/>
                    <a:gd name="connsiteX45" fmla="*/ 1030095 w 2315970"/>
                    <a:gd name="connsiteY45" fmla="*/ 15546 h 715633"/>
                    <a:gd name="connsiteX46" fmla="*/ 1030095 w 2315970"/>
                    <a:gd name="connsiteY46" fmla="*/ 15549 h 715636"/>
                    <a:gd name="connsiteX47" fmla="*/ 1020570 w 2315970"/>
                    <a:gd name="connsiteY47" fmla="*/ 1257 h 715632"/>
                    <a:gd name="connsiteX48" fmla="*/ 1006283 w 2315970"/>
                    <a:gd name="connsiteY48" fmla="*/ 5467 h 715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316170" h="699587">
                      <a:moveTo>
                        <a:pt x="1037649" y="21198"/>
                      </a:moveTo>
                      <a:cubicBezTo>
                        <a:pt x="1082099" y="-12933"/>
                        <a:pt x="1252755" y="2148"/>
                        <a:pt x="1294824" y="11673"/>
                      </a:cubicBezTo>
                      <a:cubicBezTo>
                        <a:pt x="1336893" y="21198"/>
                        <a:pt x="1292443" y="9292"/>
                        <a:pt x="1290062" y="78348"/>
                      </a:cubicBezTo>
                      <a:cubicBezTo>
                        <a:pt x="1287681" y="147404"/>
                        <a:pt x="1279743" y="350604"/>
                        <a:pt x="1280537" y="426010"/>
                      </a:cubicBezTo>
                      <a:cubicBezTo>
                        <a:pt x="1280774" y="432897"/>
                        <a:pt x="1290479" y="530475"/>
                        <a:pt x="1294824" y="530785"/>
                      </a:cubicBezTo>
                      <a:lnTo>
                        <a:pt x="1361499" y="535548"/>
                      </a:lnTo>
                      <a:lnTo>
                        <a:pt x="1728212" y="545073"/>
                      </a:lnTo>
                      <a:cubicBezTo>
                        <a:pt x="1809101" y="541281"/>
                        <a:pt x="1890137" y="541898"/>
                        <a:pt x="1971099" y="540310"/>
                      </a:cubicBezTo>
                      <a:cubicBezTo>
                        <a:pt x="2077462" y="543485"/>
                        <a:pt x="2240181" y="525229"/>
                        <a:pt x="2290187" y="549835"/>
                      </a:cubicBezTo>
                      <a:cubicBezTo>
                        <a:pt x="2340193" y="574441"/>
                        <a:pt x="2309191" y="674301"/>
                        <a:pt x="2271137" y="687948"/>
                      </a:cubicBezTo>
                      <a:cubicBezTo>
                        <a:pt x="2183700" y="719305"/>
                        <a:pt x="1906805" y="676042"/>
                        <a:pt x="1742499" y="687948"/>
                      </a:cubicBezTo>
                      <a:cubicBezTo>
                        <a:pt x="1578605" y="699824"/>
                        <a:pt x="1571843" y="679216"/>
                        <a:pt x="1285299" y="673660"/>
                      </a:cubicBezTo>
                      <a:lnTo>
                        <a:pt x="23237" y="654610"/>
                      </a:lnTo>
                      <a:cubicBezTo>
                        <a:pt x="-9307" y="663341"/>
                        <a:pt x="-2957" y="577617"/>
                        <a:pt x="13712" y="554598"/>
                      </a:cubicBezTo>
                      <a:cubicBezTo>
                        <a:pt x="30381" y="531579"/>
                        <a:pt x="-10100" y="519673"/>
                        <a:pt x="123250" y="516498"/>
                      </a:cubicBezTo>
                      <a:cubicBezTo>
                        <a:pt x="395067" y="546697"/>
                        <a:pt x="667762" y="533167"/>
                        <a:pt x="813812" y="535548"/>
                      </a:cubicBezTo>
                      <a:cubicBezTo>
                        <a:pt x="959862" y="537929"/>
                        <a:pt x="923349" y="533961"/>
                        <a:pt x="999549" y="530786"/>
                      </a:cubicBezTo>
                      <a:cubicBezTo>
                        <a:pt x="1036855" y="513323"/>
                        <a:pt x="1032887" y="483161"/>
                        <a:pt x="1037649" y="430773"/>
                      </a:cubicBezTo>
                      <a:cubicBezTo>
                        <a:pt x="1042411" y="378385"/>
                        <a:pt x="1028124" y="284722"/>
                        <a:pt x="1028124" y="216460"/>
                      </a:cubicBezTo>
                      <a:cubicBezTo>
                        <a:pt x="1028124" y="148198"/>
                        <a:pt x="993199" y="55329"/>
                        <a:pt x="1037649" y="21198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64" name="Freeform: Shape 129">
                  <a:extLst>
                    <a:ext uri="{FF2B5EF4-FFF2-40B4-BE49-F238E27FC236}">
                      <a16:creationId xmlns:a16="http://schemas.microsoft.com/office/drawing/2014/main" id="{45DAFCF6-3AEB-96D3-3536-8A823D082538}"/>
                    </a:ext>
                  </a:extLst>
                </p:cNvPr>
                <p:cNvSpPr/>
                <p:nvPr/>
              </p:nvSpPr>
              <p:spPr>
                <a:xfrm>
                  <a:off x="5825943" y="2209357"/>
                  <a:ext cx="4839770" cy="2829294"/>
                </a:xfrm>
                <a:custGeom>
                  <a:avLst/>
                  <a:gdLst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  <a:gd name="connsiteX21" fmla="*/ 30012 w 4839770"/>
                    <a:gd name="connsiteY21" fmla="*/ 7573 h 2829294"/>
                    <a:gd name="connsiteX22" fmla="*/ 30012 w 4839770"/>
                    <a:gd name="connsiteY22" fmla="*/ 7573 h 2829294"/>
                    <a:gd name="connsiteX23" fmla="*/ 89494 w 4899252"/>
                    <a:gd name="connsiteY23" fmla="*/ 7573 h 2822848"/>
                    <a:gd name="connsiteX24" fmla="*/ 85732 w 4895490"/>
                    <a:gd name="connsiteY24" fmla="*/ 7573 h 2822848"/>
                    <a:gd name="connsiteX25" fmla="*/ 30011 w 4839769"/>
                    <a:gd name="connsiteY25" fmla="*/ 7573 h 2872940"/>
                    <a:gd name="connsiteX26" fmla="*/ 30011 w 4839769"/>
                    <a:gd name="connsiteY26" fmla="*/ 7573 h 2872940"/>
                    <a:gd name="connsiteX27" fmla="*/ 30011 w 4839769"/>
                    <a:gd name="connsiteY27" fmla="*/ 7573 h 2872940"/>
                    <a:gd name="connsiteX28" fmla="*/ 30011 w 4839769"/>
                    <a:gd name="connsiteY28" fmla="*/ 7573 h 2872940"/>
                    <a:gd name="connsiteX29" fmla="*/ 30011 w 4839769"/>
                    <a:gd name="connsiteY29" fmla="*/ 7573 h 2872940"/>
                    <a:gd name="connsiteX30" fmla="*/ 30011 w 4836961"/>
                    <a:gd name="connsiteY30" fmla="*/ 7573 h 2872940"/>
                    <a:gd name="connsiteX31" fmla="*/ 30011 w 4836961"/>
                    <a:gd name="connsiteY31" fmla="*/ 7573 h 2872940"/>
                    <a:gd name="connsiteX32" fmla="*/ 30011 w 4836961"/>
                    <a:gd name="connsiteY32" fmla="*/ 7573 h 2872940"/>
                    <a:gd name="connsiteX33" fmla="*/ 30011 w 4836961"/>
                    <a:gd name="connsiteY33" fmla="*/ 7573 h 2872940"/>
                    <a:gd name="connsiteX34" fmla="*/ 30011 w 4843311"/>
                    <a:gd name="connsiteY34" fmla="*/ 7573 h 2872940"/>
                    <a:gd name="connsiteX35" fmla="*/ 30011 w 4843311"/>
                    <a:gd name="connsiteY35" fmla="*/ 7573 h 2872940"/>
                    <a:gd name="connsiteX36" fmla="*/ 30011 w 4843311"/>
                    <a:gd name="connsiteY36" fmla="*/ 7573 h 2872940"/>
                    <a:gd name="connsiteX37" fmla="*/ 30011 w 4916906"/>
                    <a:gd name="connsiteY37" fmla="*/ 7573 h 2872940"/>
                    <a:gd name="connsiteX38" fmla="*/ 30011 w 4843311"/>
                    <a:gd name="connsiteY38" fmla="*/ 7573 h 2872940"/>
                    <a:gd name="connsiteX39" fmla="*/ 30011 w 4843311"/>
                    <a:gd name="connsiteY39" fmla="*/ 12700 h 2878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065" name="Freeform: Shape 130">
                  <a:extLst>
                    <a:ext uri="{FF2B5EF4-FFF2-40B4-BE49-F238E27FC236}">
                      <a16:creationId xmlns:a16="http://schemas.microsoft.com/office/drawing/2014/main" id="{0B0A02BF-97F2-7F0A-4AC8-F135F2362BE7}"/>
                    </a:ext>
                  </a:extLst>
                </p:cNvPr>
                <p:cNvSpPr/>
                <p:nvPr/>
              </p:nvSpPr>
              <p:spPr>
                <a:xfrm>
                  <a:off x="5825943" y="2209357"/>
                  <a:ext cx="4839770" cy="2829294"/>
                </a:xfrm>
                <a:custGeom>
                  <a:avLst/>
                  <a:gdLst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  <a:gd name="connsiteX21" fmla="*/ 30012 w 4839770"/>
                    <a:gd name="connsiteY21" fmla="*/ 7573 h 2829294"/>
                    <a:gd name="connsiteX22" fmla="*/ 30012 w 4839770"/>
                    <a:gd name="connsiteY22" fmla="*/ 7573 h 2829294"/>
                    <a:gd name="connsiteX23" fmla="*/ 89494 w 4899252"/>
                    <a:gd name="connsiteY23" fmla="*/ 7573 h 2822848"/>
                    <a:gd name="connsiteX24" fmla="*/ 85732 w 4895490"/>
                    <a:gd name="connsiteY24" fmla="*/ 7573 h 2822848"/>
                    <a:gd name="connsiteX25" fmla="*/ 30011 w 4839769"/>
                    <a:gd name="connsiteY25" fmla="*/ 7573 h 2872940"/>
                    <a:gd name="connsiteX26" fmla="*/ 30011 w 4839769"/>
                    <a:gd name="connsiteY26" fmla="*/ 7573 h 2872940"/>
                    <a:gd name="connsiteX27" fmla="*/ 30011 w 4839769"/>
                    <a:gd name="connsiteY27" fmla="*/ 7573 h 2872940"/>
                    <a:gd name="connsiteX28" fmla="*/ 30011 w 4839769"/>
                    <a:gd name="connsiteY28" fmla="*/ 7573 h 2872940"/>
                    <a:gd name="connsiteX29" fmla="*/ 30011 w 4839769"/>
                    <a:gd name="connsiteY29" fmla="*/ 7573 h 2872940"/>
                    <a:gd name="connsiteX30" fmla="*/ 30011 w 4836961"/>
                    <a:gd name="connsiteY30" fmla="*/ 7573 h 2872940"/>
                    <a:gd name="connsiteX31" fmla="*/ 30011 w 4836961"/>
                    <a:gd name="connsiteY31" fmla="*/ 7573 h 2872940"/>
                    <a:gd name="connsiteX32" fmla="*/ 30011 w 4836961"/>
                    <a:gd name="connsiteY32" fmla="*/ 7573 h 2872940"/>
                    <a:gd name="connsiteX33" fmla="*/ 30011 w 4836961"/>
                    <a:gd name="connsiteY33" fmla="*/ 7573 h 2872940"/>
                    <a:gd name="connsiteX34" fmla="*/ 30011 w 4843311"/>
                    <a:gd name="connsiteY34" fmla="*/ 7573 h 2872940"/>
                    <a:gd name="connsiteX35" fmla="*/ 30011 w 4843311"/>
                    <a:gd name="connsiteY35" fmla="*/ 7573 h 2872940"/>
                    <a:gd name="connsiteX36" fmla="*/ 30011 w 4843311"/>
                    <a:gd name="connsiteY36" fmla="*/ 7573 h 2872940"/>
                    <a:gd name="connsiteX37" fmla="*/ 30011 w 4916906"/>
                    <a:gd name="connsiteY37" fmla="*/ 7573 h 2872940"/>
                    <a:gd name="connsiteX38" fmla="*/ 30011 w 4843311"/>
                    <a:gd name="connsiteY38" fmla="*/ 7573 h 2872940"/>
                    <a:gd name="connsiteX39" fmla="*/ 30011 w 4843311"/>
                    <a:gd name="connsiteY39" fmla="*/ 12700 h 2878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66" name="Freeform: Shape 131">
                  <a:extLst>
                    <a:ext uri="{FF2B5EF4-FFF2-40B4-BE49-F238E27FC236}">
                      <a16:creationId xmlns:a16="http://schemas.microsoft.com/office/drawing/2014/main" id="{A94F193E-3AEA-4043-AF91-DFEF6351F1B8}"/>
                    </a:ext>
                  </a:extLst>
                </p:cNvPr>
                <p:cNvSpPr/>
                <p:nvPr/>
              </p:nvSpPr>
              <p:spPr>
                <a:xfrm>
                  <a:off x="5976394" y="2297310"/>
                  <a:ext cx="4538868" cy="2653389"/>
                </a:xfrm>
                <a:custGeom>
                  <a:avLst/>
                  <a:gdLst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  <a:gd name="connsiteX21" fmla="*/ 30012 w 4839770"/>
                    <a:gd name="connsiteY21" fmla="*/ 7573 h 2829294"/>
                    <a:gd name="connsiteX22" fmla="*/ 30012 w 4839770"/>
                    <a:gd name="connsiteY22" fmla="*/ 7573 h 2829294"/>
                    <a:gd name="connsiteX23" fmla="*/ 89494 w 4899252"/>
                    <a:gd name="connsiteY23" fmla="*/ 7573 h 2822848"/>
                    <a:gd name="connsiteX24" fmla="*/ 85732 w 4895490"/>
                    <a:gd name="connsiteY24" fmla="*/ 7573 h 2822848"/>
                    <a:gd name="connsiteX25" fmla="*/ 30011 w 4839769"/>
                    <a:gd name="connsiteY25" fmla="*/ 7573 h 2872940"/>
                    <a:gd name="connsiteX26" fmla="*/ 30011 w 4839769"/>
                    <a:gd name="connsiteY26" fmla="*/ 7573 h 2872940"/>
                    <a:gd name="connsiteX27" fmla="*/ 30011 w 4839769"/>
                    <a:gd name="connsiteY27" fmla="*/ 7573 h 2872940"/>
                    <a:gd name="connsiteX28" fmla="*/ 30011 w 4839769"/>
                    <a:gd name="connsiteY28" fmla="*/ 7573 h 2872940"/>
                    <a:gd name="connsiteX29" fmla="*/ 30011 w 4839769"/>
                    <a:gd name="connsiteY29" fmla="*/ 7573 h 2872940"/>
                    <a:gd name="connsiteX30" fmla="*/ 30011 w 4836961"/>
                    <a:gd name="connsiteY30" fmla="*/ 7573 h 2872940"/>
                    <a:gd name="connsiteX31" fmla="*/ 30011 w 4836961"/>
                    <a:gd name="connsiteY31" fmla="*/ 7573 h 2872940"/>
                    <a:gd name="connsiteX32" fmla="*/ 30011 w 4836961"/>
                    <a:gd name="connsiteY32" fmla="*/ 7573 h 2872940"/>
                    <a:gd name="connsiteX33" fmla="*/ 30011 w 4836961"/>
                    <a:gd name="connsiteY33" fmla="*/ 7573 h 2872940"/>
                    <a:gd name="connsiteX34" fmla="*/ 30011 w 4843311"/>
                    <a:gd name="connsiteY34" fmla="*/ 7573 h 2872940"/>
                    <a:gd name="connsiteX35" fmla="*/ 30011 w 4843311"/>
                    <a:gd name="connsiteY35" fmla="*/ 7573 h 2872940"/>
                    <a:gd name="connsiteX36" fmla="*/ 30011 w 4843311"/>
                    <a:gd name="connsiteY36" fmla="*/ 7573 h 2872940"/>
                    <a:gd name="connsiteX37" fmla="*/ 30011 w 4916906"/>
                    <a:gd name="connsiteY37" fmla="*/ 7573 h 2872940"/>
                    <a:gd name="connsiteX38" fmla="*/ 30011 w 4843311"/>
                    <a:gd name="connsiteY38" fmla="*/ 7573 h 2872940"/>
                    <a:gd name="connsiteX39" fmla="*/ 30011 w 4843311"/>
                    <a:gd name="connsiteY39" fmla="*/ 12700 h 2878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</p:grpSp>
          <p:grpSp>
            <p:nvGrpSpPr>
              <p:cNvPr id="340" name="Group 82">
                <a:extLst>
                  <a:ext uri="{FF2B5EF4-FFF2-40B4-BE49-F238E27FC236}">
                    <a16:creationId xmlns:a16="http://schemas.microsoft.com/office/drawing/2014/main" id="{2F9BF638-6CD9-1AAB-5C1B-E3BC416F0227}"/>
                  </a:ext>
                </a:extLst>
              </p:cNvPr>
              <p:cNvGrpSpPr/>
              <p:nvPr/>
            </p:nvGrpSpPr>
            <p:grpSpPr>
              <a:xfrm>
                <a:off x="881064" y="2870203"/>
                <a:ext cx="1613973" cy="2143013"/>
                <a:chOff x="7815263" y="2204990"/>
                <a:chExt cx="1643062" cy="2181634"/>
              </a:xfrm>
            </p:grpSpPr>
            <p:sp>
              <p:nvSpPr>
                <p:cNvPr id="344" name="Freeform: Shape 86">
                  <a:extLst>
                    <a:ext uri="{FF2B5EF4-FFF2-40B4-BE49-F238E27FC236}">
                      <a16:creationId xmlns:a16="http://schemas.microsoft.com/office/drawing/2014/main" id="{861C0253-5B25-CB78-C0CA-4316365C7C66}"/>
                    </a:ext>
                  </a:extLst>
                </p:cNvPr>
                <p:cNvSpPr/>
                <p:nvPr/>
              </p:nvSpPr>
              <p:spPr>
                <a:xfrm>
                  <a:off x="8162926" y="2204990"/>
                  <a:ext cx="857248" cy="177599"/>
                </a:xfrm>
                <a:custGeom>
                  <a:avLst/>
                  <a:gdLst>
                    <a:gd name="connsiteX0" fmla="*/ 0 w 857248"/>
                    <a:gd name="connsiteY0" fmla="*/ 176258 h 177599"/>
                    <a:gd name="connsiteX1" fmla="*/ 592931 w 857248"/>
                    <a:gd name="connsiteY1" fmla="*/ 164352 h 177599"/>
                    <a:gd name="connsiteX2" fmla="*/ 845344 w 857248"/>
                    <a:gd name="connsiteY2" fmla="*/ 176258 h 177599"/>
                    <a:gd name="connsiteX3" fmla="*/ 847726 w 857248"/>
                    <a:gd name="connsiteY3" fmla="*/ 28621 h 177599"/>
                    <a:gd name="connsiteX4" fmla="*/ 747713 w 857248"/>
                    <a:gd name="connsiteY4" fmla="*/ 4808 h 177599"/>
                    <a:gd name="connsiteX5" fmla="*/ 33338 w 857248"/>
                    <a:gd name="connsiteY5" fmla="*/ 46 h 177599"/>
                    <a:gd name="connsiteX6" fmla="*/ 9525 w 857248"/>
                    <a:gd name="connsiteY6" fmla="*/ 47671 h 177599"/>
                    <a:gd name="connsiteX7" fmla="*/ 14288 w 857248"/>
                    <a:gd name="connsiteY7" fmla="*/ 128634 h 177599"/>
                    <a:gd name="connsiteX8" fmla="*/ 0 w 857248"/>
                    <a:gd name="connsiteY8" fmla="*/ 176258 h 177599"/>
                    <a:gd name="connsiteX9" fmla="*/ 27850 w 880517"/>
                    <a:gd name="connsiteY9" fmla="*/ 178706 h 180047"/>
                    <a:gd name="connsiteX10" fmla="*/ 27850 w 873194"/>
                    <a:gd name="connsiteY10" fmla="*/ 178950 h 187022"/>
                    <a:gd name="connsiteX11" fmla="*/ 27850 w 889863"/>
                    <a:gd name="connsiteY11" fmla="*/ 178950 h 218061"/>
                    <a:gd name="connsiteX12" fmla="*/ 27850 w 889863"/>
                    <a:gd name="connsiteY12" fmla="*/ 178950 h 218061"/>
                    <a:gd name="connsiteX13" fmla="*/ 27850 w 889863"/>
                    <a:gd name="connsiteY13" fmla="*/ 178950 h 218061"/>
                    <a:gd name="connsiteX14" fmla="*/ 27850 w 889863"/>
                    <a:gd name="connsiteY14" fmla="*/ 178950 h 218061"/>
                    <a:gd name="connsiteX15" fmla="*/ 0 w 862013"/>
                    <a:gd name="connsiteY15" fmla="*/ 196076 h 235187"/>
                    <a:gd name="connsiteX16" fmla="*/ 0 w 862013"/>
                    <a:gd name="connsiteY16" fmla="*/ 196076 h 235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57248" h="177599">
                      <a:moveTo>
                        <a:pt x="0" y="176258"/>
                      </a:moveTo>
                      <a:cubicBezTo>
                        <a:pt x="94853" y="179830"/>
                        <a:pt x="452040" y="164352"/>
                        <a:pt x="592931" y="164352"/>
                      </a:cubicBezTo>
                      <a:cubicBezTo>
                        <a:pt x="733822" y="164352"/>
                        <a:pt x="842169" y="182608"/>
                        <a:pt x="845344" y="176258"/>
                      </a:cubicBezTo>
                      <a:cubicBezTo>
                        <a:pt x="856854" y="133792"/>
                        <a:pt x="863998" y="57196"/>
                        <a:pt x="847726" y="28621"/>
                      </a:cubicBezTo>
                      <a:cubicBezTo>
                        <a:pt x="831454" y="46"/>
                        <a:pt x="883444" y="9570"/>
                        <a:pt x="747713" y="4808"/>
                      </a:cubicBezTo>
                      <a:cubicBezTo>
                        <a:pt x="611982" y="46"/>
                        <a:pt x="155554" y="-142"/>
                        <a:pt x="33338" y="46"/>
                      </a:cubicBezTo>
                      <a:cubicBezTo>
                        <a:pt x="-7477" y="109"/>
                        <a:pt x="11118" y="43689"/>
                        <a:pt x="9525" y="47671"/>
                      </a:cubicBezTo>
                      <a:cubicBezTo>
                        <a:pt x="7937" y="71484"/>
                        <a:pt x="15876" y="107203"/>
                        <a:pt x="14288" y="128634"/>
                      </a:cubicBezTo>
                      <a:lnTo>
                        <a:pt x="0" y="176258"/>
                      </a:lnTo>
                      <a:close/>
                    </a:path>
                  </a:pathLst>
                </a:custGeom>
                <a:solidFill>
                  <a:srgbClr val="FBCCD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46" name="Freeform: Shape 88">
                  <a:extLst>
                    <a:ext uri="{FF2B5EF4-FFF2-40B4-BE49-F238E27FC236}">
                      <a16:creationId xmlns:a16="http://schemas.microsoft.com/office/drawing/2014/main" id="{E55FF5C5-38AC-2E78-F9BB-53E7FECCAD12}"/>
                    </a:ext>
                  </a:extLst>
                </p:cNvPr>
                <p:cNvSpPr/>
                <p:nvPr/>
              </p:nvSpPr>
              <p:spPr>
                <a:xfrm>
                  <a:off x="7815263" y="4376738"/>
                  <a:ext cx="1643062" cy="9886"/>
                </a:xfrm>
                <a:custGeom>
                  <a:avLst/>
                  <a:gdLst>
                    <a:gd name="connsiteX0" fmla="*/ 0 w 1643062"/>
                    <a:gd name="connsiteY0" fmla="*/ 0 h 9886"/>
                    <a:gd name="connsiteX1" fmla="*/ 28575 w 1643062"/>
                    <a:gd name="connsiteY1" fmla="*/ 4762 h 9886"/>
                    <a:gd name="connsiteX2" fmla="*/ 1643062 w 1643062"/>
                    <a:gd name="connsiteY2" fmla="*/ 9525 h 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43061" h="9886">
                      <a:moveTo>
                        <a:pt x="0" y="0"/>
                      </a:moveTo>
                      <a:cubicBezTo>
                        <a:pt x="9525" y="1587"/>
                        <a:pt x="18920" y="4628"/>
                        <a:pt x="28575" y="4762"/>
                      </a:cubicBezTo>
                      <a:cubicBezTo>
                        <a:pt x="538004" y="11837"/>
                        <a:pt x="1146714" y="9525"/>
                        <a:pt x="1643062" y="9525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47" name="Freeform: Shape 89">
                  <a:extLst>
                    <a:ext uri="{FF2B5EF4-FFF2-40B4-BE49-F238E27FC236}">
                      <a16:creationId xmlns:a16="http://schemas.microsoft.com/office/drawing/2014/main" id="{5C9BFA75-6B84-1994-6DA3-DC689A8CEE1B}"/>
                    </a:ext>
                  </a:extLst>
                </p:cNvPr>
                <p:cNvSpPr/>
                <p:nvPr/>
              </p:nvSpPr>
              <p:spPr>
                <a:xfrm>
                  <a:off x="8003464" y="2364919"/>
                  <a:ext cx="1185264" cy="2021530"/>
                </a:xfrm>
                <a:custGeom>
                  <a:avLst/>
                  <a:gdLst>
                    <a:gd name="connsiteX0" fmla="*/ 54685 w 1185264"/>
                    <a:gd name="connsiteY0" fmla="*/ 1983242 h 2021530"/>
                    <a:gd name="connsiteX1" fmla="*/ 259473 w 1185264"/>
                    <a:gd name="connsiteY1" fmla="*/ 2007054 h 2021530"/>
                    <a:gd name="connsiteX2" fmla="*/ 583323 w 1185264"/>
                    <a:gd name="connsiteY2" fmla="*/ 2011817 h 2021530"/>
                    <a:gd name="connsiteX3" fmla="*/ 659523 w 1185264"/>
                    <a:gd name="connsiteY3" fmla="*/ 2021342 h 2021530"/>
                    <a:gd name="connsiteX4" fmla="*/ 1145298 w 1185264"/>
                    <a:gd name="connsiteY4" fmla="*/ 1992767 h 2021530"/>
                    <a:gd name="connsiteX5" fmla="*/ 1154823 w 1185264"/>
                    <a:gd name="connsiteY5" fmla="*/ 1673679 h 2021530"/>
                    <a:gd name="connsiteX6" fmla="*/ 1159585 w 1185264"/>
                    <a:gd name="connsiteY6" fmla="*/ 849767 h 2021530"/>
                    <a:gd name="connsiteX7" fmla="*/ 1150060 w 1185264"/>
                    <a:gd name="connsiteY7" fmla="*/ 297317 h 2021530"/>
                    <a:gd name="connsiteX8" fmla="*/ 1159585 w 1185264"/>
                    <a:gd name="connsiteY8" fmla="*/ 40142 h 2021530"/>
                    <a:gd name="connsiteX9" fmla="*/ 1007185 w 1185264"/>
                    <a:gd name="connsiteY9" fmla="*/ 21092 h 2021530"/>
                    <a:gd name="connsiteX10" fmla="*/ 283285 w 1185264"/>
                    <a:gd name="connsiteY10" fmla="*/ 6804 h 2021530"/>
                    <a:gd name="connsiteX11" fmla="*/ 40398 w 1185264"/>
                    <a:gd name="connsiteY11" fmla="*/ 16329 h 2021530"/>
                    <a:gd name="connsiteX12" fmla="*/ 2298 w 1185264"/>
                    <a:gd name="connsiteY12" fmla="*/ 183017 h 2021530"/>
                    <a:gd name="connsiteX13" fmla="*/ 21348 w 1185264"/>
                    <a:gd name="connsiteY13" fmla="*/ 278267 h 2021530"/>
                    <a:gd name="connsiteX14" fmla="*/ 26110 w 1185264"/>
                    <a:gd name="connsiteY14" fmla="*/ 911679 h 2021530"/>
                    <a:gd name="connsiteX15" fmla="*/ 16585 w 1185264"/>
                    <a:gd name="connsiteY15" fmla="*/ 1168854 h 2021530"/>
                    <a:gd name="connsiteX16" fmla="*/ 54685 w 1185264"/>
                    <a:gd name="connsiteY16" fmla="*/ 1983242 h 2021530"/>
                    <a:gd name="connsiteX17" fmla="*/ 54685 w 1185264"/>
                    <a:gd name="connsiteY17" fmla="*/ 1980568 h 2018856"/>
                    <a:gd name="connsiteX18" fmla="*/ 33706 w 1183335"/>
                    <a:gd name="connsiteY18" fmla="*/ 2023430 h 2046039"/>
                    <a:gd name="connsiteX19" fmla="*/ 33706 w 1183335"/>
                    <a:gd name="connsiteY19" fmla="*/ 2023430 h 2046039"/>
                    <a:gd name="connsiteX20" fmla="*/ 33706 w 1194053"/>
                    <a:gd name="connsiteY20" fmla="*/ 2023430 h 2046039"/>
                    <a:gd name="connsiteX21" fmla="*/ 33706 w 1194053"/>
                    <a:gd name="connsiteY21" fmla="*/ 2023430 h 2046039"/>
                    <a:gd name="connsiteX22" fmla="*/ 33706 w 1194053"/>
                    <a:gd name="connsiteY22" fmla="*/ 2023430 h 2046039"/>
                    <a:gd name="connsiteX23" fmla="*/ 33706 w 1194053"/>
                    <a:gd name="connsiteY23" fmla="*/ 2023430 h 2046039"/>
                    <a:gd name="connsiteX24" fmla="*/ 33706 w 1201079"/>
                    <a:gd name="connsiteY24" fmla="*/ 2023430 h 2046039"/>
                    <a:gd name="connsiteX25" fmla="*/ 33706 w 1200519"/>
                    <a:gd name="connsiteY25" fmla="*/ 2023430 h 2046039"/>
                    <a:gd name="connsiteX26" fmla="*/ 33706 w 1207774"/>
                    <a:gd name="connsiteY26" fmla="*/ 2023430 h 2046039"/>
                    <a:gd name="connsiteX27" fmla="*/ 33706 w 1212804"/>
                    <a:gd name="connsiteY27" fmla="*/ 2023430 h 2046039"/>
                    <a:gd name="connsiteX28" fmla="*/ 33706 w 1211812"/>
                    <a:gd name="connsiteY28" fmla="*/ 2023430 h 2046039"/>
                    <a:gd name="connsiteX29" fmla="*/ 33706 w 1210220"/>
                    <a:gd name="connsiteY29" fmla="*/ 2023430 h 2046039"/>
                    <a:gd name="connsiteX30" fmla="*/ 33706 w 1210044"/>
                    <a:gd name="connsiteY30" fmla="*/ 2023430 h 2046039"/>
                    <a:gd name="connsiteX31" fmla="*/ 33706 w 1210044"/>
                    <a:gd name="connsiteY31" fmla="*/ 2023430 h 2046039"/>
                    <a:gd name="connsiteX32" fmla="*/ 33706 w 1210044"/>
                    <a:gd name="connsiteY32" fmla="*/ 2023430 h 2046039"/>
                    <a:gd name="connsiteX33" fmla="*/ 33706 w 1210044"/>
                    <a:gd name="connsiteY33" fmla="*/ 2023430 h 2046039"/>
                    <a:gd name="connsiteX34" fmla="*/ 33706 w 1210044"/>
                    <a:gd name="connsiteY34" fmla="*/ 2023430 h 2046039"/>
                    <a:gd name="connsiteX35" fmla="*/ 33706 w 1210044"/>
                    <a:gd name="connsiteY35" fmla="*/ 2023430 h 2046039"/>
                    <a:gd name="connsiteX36" fmla="*/ 33706 w 1210044"/>
                    <a:gd name="connsiteY36" fmla="*/ 2024166 h 2046775"/>
                    <a:gd name="connsiteX37" fmla="*/ 33706 w 1210044"/>
                    <a:gd name="connsiteY37" fmla="*/ 2033778 h 2056387"/>
                    <a:gd name="connsiteX38" fmla="*/ 33706 w 1210044"/>
                    <a:gd name="connsiteY38" fmla="*/ 2033587 h 2056196"/>
                    <a:gd name="connsiteX39" fmla="*/ 37004 w 1213342"/>
                    <a:gd name="connsiteY39" fmla="*/ 2033587 h 2056196"/>
                    <a:gd name="connsiteX40" fmla="*/ 52464 w 1228802"/>
                    <a:gd name="connsiteY40" fmla="*/ 2033587 h 2056196"/>
                    <a:gd name="connsiteX41" fmla="*/ 55029 w 1231367"/>
                    <a:gd name="connsiteY41" fmla="*/ 2033587 h 2056196"/>
                    <a:gd name="connsiteX42" fmla="*/ 55029 w 1231367"/>
                    <a:gd name="connsiteY42" fmla="*/ 2033587 h 2042526"/>
                    <a:gd name="connsiteX43" fmla="*/ 55029 w 1231367"/>
                    <a:gd name="connsiteY43" fmla="*/ 2033587 h 2042526"/>
                    <a:gd name="connsiteX44" fmla="*/ 55029 w 1231367"/>
                    <a:gd name="connsiteY44" fmla="*/ 2033587 h 2042526"/>
                    <a:gd name="connsiteX45" fmla="*/ 55029 w 1231367"/>
                    <a:gd name="connsiteY45" fmla="*/ 2033587 h 2042526"/>
                    <a:gd name="connsiteX46" fmla="*/ 55029 w 1231367"/>
                    <a:gd name="connsiteY46" fmla="*/ 2033587 h 2042526"/>
                    <a:gd name="connsiteX47" fmla="*/ 55029 w 1231367"/>
                    <a:gd name="connsiteY47" fmla="*/ 2033587 h 2042526"/>
                    <a:gd name="connsiteX48" fmla="*/ 58349 w 1234687"/>
                    <a:gd name="connsiteY48" fmla="*/ 2033587 h 2037016"/>
                    <a:gd name="connsiteX49" fmla="*/ 57326 w 1233664"/>
                    <a:gd name="connsiteY49" fmla="*/ 2033587 h 2037016"/>
                    <a:gd name="connsiteX50" fmla="*/ 57150 w 1233488"/>
                    <a:gd name="connsiteY50" fmla="*/ 2033587 h 2037016"/>
                    <a:gd name="connsiteX51" fmla="*/ 57150 w 1233488"/>
                    <a:gd name="connsiteY51" fmla="*/ 2033587 h 2035980"/>
                    <a:gd name="connsiteX52" fmla="*/ 57150 w 1233488"/>
                    <a:gd name="connsiteY52" fmla="*/ 2033587 h 2035862"/>
                    <a:gd name="connsiteX53" fmla="*/ 57150 w 1233488"/>
                    <a:gd name="connsiteY53" fmla="*/ 2033587 h 2068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85264" h="2021530">
                      <a:moveTo>
                        <a:pt x="54685" y="1983242"/>
                      </a:moveTo>
                      <a:cubicBezTo>
                        <a:pt x="147555" y="2011023"/>
                        <a:pt x="171367" y="2002292"/>
                        <a:pt x="259473" y="2007054"/>
                      </a:cubicBezTo>
                      <a:cubicBezTo>
                        <a:pt x="347579" y="2011816"/>
                        <a:pt x="516648" y="2009436"/>
                        <a:pt x="583323" y="2011817"/>
                      </a:cubicBezTo>
                      <a:cubicBezTo>
                        <a:pt x="649998" y="2014198"/>
                        <a:pt x="633946" y="2020319"/>
                        <a:pt x="659523" y="2021342"/>
                      </a:cubicBezTo>
                      <a:cubicBezTo>
                        <a:pt x="826210" y="2021342"/>
                        <a:pt x="1061178" y="2025679"/>
                        <a:pt x="1145298" y="1992767"/>
                      </a:cubicBezTo>
                      <a:cubicBezTo>
                        <a:pt x="1230608" y="1959389"/>
                        <a:pt x="1152442" y="1864179"/>
                        <a:pt x="1154823" y="1673679"/>
                      </a:cubicBezTo>
                      <a:cubicBezTo>
                        <a:pt x="1157204" y="1483179"/>
                        <a:pt x="1160379" y="1079161"/>
                        <a:pt x="1159585" y="849767"/>
                      </a:cubicBezTo>
                      <a:cubicBezTo>
                        <a:pt x="1158791" y="620373"/>
                        <a:pt x="1150060" y="432254"/>
                        <a:pt x="1150060" y="297317"/>
                      </a:cubicBezTo>
                      <a:cubicBezTo>
                        <a:pt x="1150060" y="162380"/>
                        <a:pt x="1183398" y="86180"/>
                        <a:pt x="1159585" y="40142"/>
                      </a:cubicBezTo>
                      <a:cubicBezTo>
                        <a:pt x="1135773" y="-5896"/>
                        <a:pt x="1153235" y="26648"/>
                        <a:pt x="1007185" y="21092"/>
                      </a:cubicBezTo>
                      <a:cubicBezTo>
                        <a:pt x="861135" y="15536"/>
                        <a:pt x="444416" y="7598"/>
                        <a:pt x="283285" y="6804"/>
                      </a:cubicBezTo>
                      <a:cubicBezTo>
                        <a:pt x="122154" y="6010"/>
                        <a:pt x="87229" y="-13040"/>
                        <a:pt x="40398" y="16329"/>
                      </a:cubicBezTo>
                      <a:cubicBezTo>
                        <a:pt x="-6433" y="45698"/>
                        <a:pt x="5473" y="139361"/>
                        <a:pt x="2298" y="183017"/>
                      </a:cubicBezTo>
                      <a:cubicBezTo>
                        <a:pt x="-877" y="226673"/>
                        <a:pt x="17379" y="156823"/>
                        <a:pt x="21348" y="278267"/>
                      </a:cubicBezTo>
                      <a:cubicBezTo>
                        <a:pt x="22935" y="489404"/>
                        <a:pt x="21650" y="700583"/>
                        <a:pt x="26110" y="911679"/>
                      </a:cubicBezTo>
                      <a:cubicBezTo>
                        <a:pt x="25316" y="1060110"/>
                        <a:pt x="22935" y="1091860"/>
                        <a:pt x="16585" y="1168854"/>
                      </a:cubicBezTo>
                      <a:cubicBezTo>
                        <a:pt x="14998" y="1345066"/>
                        <a:pt x="-38185" y="1955461"/>
                        <a:pt x="54685" y="1983242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48" name="Freeform: Shape 90">
                  <a:extLst>
                    <a:ext uri="{FF2B5EF4-FFF2-40B4-BE49-F238E27FC236}">
                      <a16:creationId xmlns:a16="http://schemas.microsoft.com/office/drawing/2014/main" id="{D412663A-848D-51E5-6A47-AB0819F0E04F}"/>
                    </a:ext>
                  </a:extLst>
                </p:cNvPr>
                <p:cNvSpPr/>
                <p:nvPr/>
              </p:nvSpPr>
              <p:spPr>
                <a:xfrm>
                  <a:off x="8162926" y="2204990"/>
                  <a:ext cx="857248" cy="176258"/>
                </a:xfrm>
                <a:custGeom>
                  <a:avLst/>
                  <a:gdLst>
                    <a:gd name="connsiteX0" fmla="*/ 845344 w 857248"/>
                    <a:gd name="connsiteY0" fmla="*/ 176258 h 176258"/>
                    <a:gd name="connsiteX1" fmla="*/ 847726 w 857248"/>
                    <a:gd name="connsiteY1" fmla="*/ 28621 h 176258"/>
                    <a:gd name="connsiteX2" fmla="*/ 747713 w 857248"/>
                    <a:gd name="connsiteY2" fmla="*/ 4808 h 176258"/>
                    <a:gd name="connsiteX3" fmla="*/ 33338 w 857248"/>
                    <a:gd name="connsiteY3" fmla="*/ 46 h 176258"/>
                    <a:gd name="connsiteX4" fmla="*/ 9525 w 857248"/>
                    <a:gd name="connsiteY4" fmla="*/ 47671 h 176258"/>
                    <a:gd name="connsiteX5" fmla="*/ 14288 w 857248"/>
                    <a:gd name="connsiteY5" fmla="*/ 128634 h 176258"/>
                    <a:gd name="connsiteX6" fmla="*/ 0 w 857248"/>
                    <a:gd name="connsiteY6" fmla="*/ 176258 h 176258"/>
                    <a:gd name="connsiteX7" fmla="*/ 0 w 857248"/>
                    <a:gd name="connsiteY7" fmla="*/ 176258 h 177599"/>
                    <a:gd name="connsiteX8" fmla="*/ 684371 w 857248"/>
                    <a:gd name="connsiteY8" fmla="*/ 255792 h 255792"/>
                    <a:gd name="connsiteX9" fmla="*/ 27850 w 880517"/>
                    <a:gd name="connsiteY9" fmla="*/ 178706 h 180047"/>
                    <a:gd name="connsiteX10" fmla="*/ 27850 w 873194"/>
                    <a:gd name="connsiteY10" fmla="*/ 178950 h 187022"/>
                    <a:gd name="connsiteX11" fmla="*/ 27850 w 889863"/>
                    <a:gd name="connsiteY11" fmla="*/ 178950 h 218061"/>
                    <a:gd name="connsiteX12" fmla="*/ 27850 w 889863"/>
                    <a:gd name="connsiteY12" fmla="*/ 178950 h 218061"/>
                    <a:gd name="connsiteX13" fmla="*/ 27850 w 889863"/>
                    <a:gd name="connsiteY13" fmla="*/ 178950 h 218061"/>
                    <a:gd name="connsiteX14" fmla="*/ 27850 w 889863"/>
                    <a:gd name="connsiteY14" fmla="*/ 178950 h 218061"/>
                    <a:gd name="connsiteX15" fmla="*/ 0 w 862013"/>
                    <a:gd name="connsiteY15" fmla="*/ 196076 h 235187"/>
                    <a:gd name="connsiteX16" fmla="*/ 0 w 862013"/>
                    <a:gd name="connsiteY16" fmla="*/ 196076 h 235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57248" h="176258">
                      <a:moveTo>
                        <a:pt x="845344" y="176258"/>
                      </a:moveTo>
                      <a:cubicBezTo>
                        <a:pt x="856854" y="133792"/>
                        <a:pt x="863998" y="57196"/>
                        <a:pt x="847726" y="28621"/>
                      </a:cubicBezTo>
                      <a:cubicBezTo>
                        <a:pt x="831454" y="46"/>
                        <a:pt x="883444" y="9570"/>
                        <a:pt x="747713" y="4808"/>
                      </a:cubicBezTo>
                      <a:cubicBezTo>
                        <a:pt x="611982" y="46"/>
                        <a:pt x="155554" y="-142"/>
                        <a:pt x="33338" y="46"/>
                      </a:cubicBezTo>
                      <a:cubicBezTo>
                        <a:pt x="-7477" y="109"/>
                        <a:pt x="11118" y="43689"/>
                        <a:pt x="9525" y="47671"/>
                      </a:cubicBezTo>
                      <a:cubicBezTo>
                        <a:pt x="7937" y="71484"/>
                        <a:pt x="15876" y="107203"/>
                        <a:pt x="14288" y="128634"/>
                      </a:cubicBezTo>
                      <a:lnTo>
                        <a:pt x="0" y="176258"/>
                      </a:ln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49" name="Freeform: Shape 91">
                  <a:extLst>
                    <a:ext uri="{FF2B5EF4-FFF2-40B4-BE49-F238E27FC236}">
                      <a16:creationId xmlns:a16="http://schemas.microsoft.com/office/drawing/2014/main" id="{7FF3FC5C-2EDA-E18F-E3E1-317A38100F85}"/>
                    </a:ext>
                  </a:extLst>
                </p:cNvPr>
                <p:cNvSpPr/>
                <p:nvPr/>
              </p:nvSpPr>
              <p:spPr>
                <a:xfrm>
                  <a:off x="8192367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50" name="Freeform: Shape 92">
                  <a:extLst>
                    <a:ext uri="{FF2B5EF4-FFF2-40B4-BE49-F238E27FC236}">
                      <a16:creationId xmlns:a16="http://schemas.microsoft.com/office/drawing/2014/main" id="{F88D5F9E-579D-6F05-7127-74C8D905AE3A}"/>
                    </a:ext>
                  </a:extLst>
                </p:cNvPr>
                <p:cNvSpPr/>
                <p:nvPr/>
              </p:nvSpPr>
              <p:spPr>
                <a:xfrm>
                  <a:off x="8475736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51" name="Freeform: Shape 93">
                  <a:extLst>
                    <a:ext uri="{FF2B5EF4-FFF2-40B4-BE49-F238E27FC236}">
                      <a16:creationId xmlns:a16="http://schemas.microsoft.com/office/drawing/2014/main" id="{BE62965B-F61E-8F3B-3A30-360DCDDDA83F}"/>
                    </a:ext>
                  </a:extLst>
                </p:cNvPr>
                <p:cNvSpPr/>
                <p:nvPr/>
              </p:nvSpPr>
              <p:spPr>
                <a:xfrm>
                  <a:off x="8761486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25" name="Freeform: Shape 94">
                  <a:extLst>
                    <a:ext uri="{FF2B5EF4-FFF2-40B4-BE49-F238E27FC236}">
                      <a16:creationId xmlns:a16="http://schemas.microsoft.com/office/drawing/2014/main" id="{0B9E1400-6BAF-C459-2C99-8E9CBF98DFC9}"/>
                    </a:ext>
                  </a:extLst>
                </p:cNvPr>
                <p:cNvSpPr/>
                <p:nvPr/>
              </p:nvSpPr>
              <p:spPr>
                <a:xfrm>
                  <a:off x="8192367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27" name="Freeform: Shape 95">
                  <a:extLst>
                    <a:ext uri="{FF2B5EF4-FFF2-40B4-BE49-F238E27FC236}">
                      <a16:creationId xmlns:a16="http://schemas.microsoft.com/office/drawing/2014/main" id="{568D72F1-DC23-3BDE-29F4-F3574D8797C7}"/>
                    </a:ext>
                  </a:extLst>
                </p:cNvPr>
                <p:cNvSpPr/>
                <p:nvPr/>
              </p:nvSpPr>
              <p:spPr>
                <a:xfrm>
                  <a:off x="8475736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28" name="Freeform: Shape 96">
                  <a:extLst>
                    <a:ext uri="{FF2B5EF4-FFF2-40B4-BE49-F238E27FC236}">
                      <a16:creationId xmlns:a16="http://schemas.microsoft.com/office/drawing/2014/main" id="{DF9AC608-507B-62BA-0F00-AB5996AA0028}"/>
                    </a:ext>
                  </a:extLst>
                </p:cNvPr>
                <p:cNvSpPr/>
                <p:nvPr/>
              </p:nvSpPr>
              <p:spPr>
                <a:xfrm>
                  <a:off x="8761486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1" name="Freeform: Shape 97">
                  <a:extLst>
                    <a:ext uri="{FF2B5EF4-FFF2-40B4-BE49-F238E27FC236}">
                      <a16:creationId xmlns:a16="http://schemas.microsoft.com/office/drawing/2014/main" id="{A843BA40-C693-4162-6067-5AA84B948BF9}"/>
                    </a:ext>
                  </a:extLst>
                </p:cNvPr>
                <p:cNvSpPr/>
                <p:nvPr/>
              </p:nvSpPr>
              <p:spPr>
                <a:xfrm>
                  <a:off x="8192367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2" name="Freeform: Shape 98">
                  <a:extLst>
                    <a:ext uri="{FF2B5EF4-FFF2-40B4-BE49-F238E27FC236}">
                      <a16:creationId xmlns:a16="http://schemas.microsoft.com/office/drawing/2014/main" id="{75C2B39B-0152-973C-E4D7-70DC0942764F}"/>
                    </a:ext>
                  </a:extLst>
                </p:cNvPr>
                <p:cNvSpPr/>
                <p:nvPr/>
              </p:nvSpPr>
              <p:spPr>
                <a:xfrm>
                  <a:off x="8475736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3" name="Freeform: Shape 99">
                  <a:extLst>
                    <a:ext uri="{FF2B5EF4-FFF2-40B4-BE49-F238E27FC236}">
                      <a16:creationId xmlns:a16="http://schemas.microsoft.com/office/drawing/2014/main" id="{BF3CCD96-D23A-9D87-0CCD-130BE76D2D19}"/>
                    </a:ext>
                  </a:extLst>
                </p:cNvPr>
                <p:cNvSpPr/>
                <p:nvPr/>
              </p:nvSpPr>
              <p:spPr>
                <a:xfrm>
                  <a:off x="8761486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4" name="Freeform: Shape 100">
                  <a:extLst>
                    <a:ext uri="{FF2B5EF4-FFF2-40B4-BE49-F238E27FC236}">
                      <a16:creationId xmlns:a16="http://schemas.microsoft.com/office/drawing/2014/main" id="{33100252-DC56-CD9B-8CA7-22AD8DCF0241}"/>
                    </a:ext>
                  </a:extLst>
                </p:cNvPr>
                <p:cNvSpPr/>
                <p:nvPr/>
              </p:nvSpPr>
              <p:spPr>
                <a:xfrm>
                  <a:off x="8192367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5" name="Freeform: Shape 101">
                  <a:extLst>
                    <a:ext uri="{FF2B5EF4-FFF2-40B4-BE49-F238E27FC236}">
                      <a16:creationId xmlns:a16="http://schemas.microsoft.com/office/drawing/2014/main" id="{84423A23-05E3-EF3F-8B72-9299A5D3898C}"/>
                    </a:ext>
                  </a:extLst>
                </p:cNvPr>
                <p:cNvSpPr/>
                <p:nvPr/>
              </p:nvSpPr>
              <p:spPr>
                <a:xfrm>
                  <a:off x="8475736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7" name="Freeform: Shape 102">
                  <a:extLst>
                    <a:ext uri="{FF2B5EF4-FFF2-40B4-BE49-F238E27FC236}">
                      <a16:creationId xmlns:a16="http://schemas.microsoft.com/office/drawing/2014/main" id="{CA558799-7541-33F1-6ECE-C7FD77C44389}"/>
                    </a:ext>
                  </a:extLst>
                </p:cNvPr>
                <p:cNvSpPr/>
                <p:nvPr/>
              </p:nvSpPr>
              <p:spPr>
                <a:xfrm>
                  <a:off x="8761486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8" name="Freeform: Shape 103">
                  <a:extLst>
                    <a:ext uri="{FF2B5EF4-FFF2-40B4-BE49-F238E27FC236}">
                      <a16:creationId xmlns:a16="http://schemas.microsoft.com/office/drawing/2014/main" id="{0B7FBB30-7D91-BD9F-C916-F4F0A439BBD4}"/>
                    </a:ext>
                  </a:extLst>
                </p:cNvPr>
                <p:cNvSpPr/>
                <p:nvPr/>
              </p:nvSpPr>
              <p:spPr>
                <a:xfrm>
                  <a:off x="8192367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9" name="Freeform: Shape 104">
                  <a:extLst>
                    <a:ext uri="{FF2B5EF4-FFF2-40B4-BE49-F238E27FC236}">
                      <a16:creationId xmlns:a16="http://schemas.microsoft.com/office/drawing/2014/main" id="{E931415E-FCCF-498D-F37F-4AA7525784C6}"/>
                    </a:ext>
                  </a:extLst>
                </p:cNvPr>
                <p:cNvSpPr/>
                <p:nvPr/>
              </p:nvSpPr>
              <p:spPr>
                <a:xfrm>
                  <a:off x="8475736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0" name="Freeform: Shape 105">
                  <a:extLst>
                    <a:ext uri="{FF2B5EF4-FFF2-40B4-BE49-F238E27FC236}">
                      <a16:creationId xmlns:a16="http://schemas.microsoft.com/office/drawing/2014/main" id="{11032840-D7A4-8DBE-BF22-5EE14C75AF50}"/>
                    </a:ext>
                  </a:extLst>
                </p:cNvPr>
                <p:cNvSpPr/>
                <p:nvPr/>
              </p:nvSpPr>
              <p:spPr>
                <a:xfrm>
                  <a:off x="8761486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1" name="Freeform: Shape 106">
                  <a:extLst>
                    <a:ext uri="{FF2B5EF4-FFF2-40B4-BE49-F238E27FC236}">
                      <a16:creationId xmlns:a16="http://schemas.microsoft.com/office/drawing/2014/main" id="{F2D27519-EA4E-0857-1784-11B34A8F2496}"/>
                    </a:ext>
                  </a:extLst>
                </p:cNvPr>
                <p:cNvSpPr/>
                <p:nvPr/>
              </p:nvSpPr>
              <p:spPr>
                <a:xfrm>
                  <a:off x="8192367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2" name="Freeform: Shape 107">
                  <a:extLst>
                    <a:ext uri="{FF2B5EF4-FFF2-40B4-BE49-F238E27FC236}">
                      <a16:creationId xmlns:a16="http://schemas.microsoft.com/office/drawing/2014/main" id="{C6C2FBB7-FBB1-FD54-E028-55517A7D38F6}"/>
                    </a:ext>
                  </a:extLst>
                </p:cNvPr>
                <p:cNvSpPr/>
                <p:nvPr/>
              </p:nvSpPr>
              <p:spPr>
                <a:xfrm>
                  <a:off x="8761486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3" name="Freeform: Shape 108">
                  <a:extLst>
                    <a:ext uri="{FF2B5EF4-FFF2-40B4-BE49-F238E27FC236}">
                      <a16:creationId xmlns:a16="http://schemas.microsoft.com/office/drawing/2014/main" id="{11603B81-D0DD-8F76-68B0-55F7F250BA79}"/>
                    </a:ext>
                  </a:extLst>
                </p:cNvPr>
                <p:cNvSpPr/>
                <p:nvPr/>
              </p:nvSpPr>
              <p:spPr>
                <a:xfrm>
                  <a:off x="8473232" y="4033947"/>
                  <a:ext cx="130302" cy="349935"/>
                </a:xfrm>
                <a:custGeom>
                  <a:avLst/>
                  <a:gdLst>
                    <a:gd name="connsiteX0" fmla="*/ 4096 w 130302"/>
                    <a:gd name="connsiteY0" fmla="*/ 349934 h 349935"/>
                    <a:gd name="connsiteX1" fmla="*/ 6477 w 130302"/>
                    <a:gd name="connsiteY1" fmla="*/ 140384 h 349935"/>
                    <a:gd name="connsiteX2" fmla="*/ 13620 w 130302"/>
                    <a:gd name="connsiteY2" fmla="*/ 2272 h 349935"/>
                    <a:gd name="connsiteX3" fmla="*/ 108872 w 130302"/>
                    <a:gd name="connsiteY3" fmla="*/ 4654 h 349935"/>
                    <a:gd name="connsiteX4" fmla="*/ 125539 w 130302"/>
                    <a:gd name="connsiteY4" fmla="*/ 54659 h 349935"/>
                    <a:gd name="connsiteX5" fmla="*/ 123159 w 130302"/>
                    <a:gd name="connsiteY5" fmla="*/ 218966 h 349935"/>
                    <a:gd name="connsiteX6" fmla="*/ 130302 w 130302"/>
                    <a:gd name="connsiteY6" fmla="*/ 349935 h 349935"/>
                    <a:gd name="connsiteX7" fmla="*/ 137446 w 137446"/>
                    <a:gd name="connsiteY7" fmla="*/ 352316 h 352316"/>
                    <a:gd name="connsiteX8" fmla="*/ 137670 w 137670"/>
                    <a:gd name="connsiteY8" fmla="*/ 352316 h 356165"/>
                    <a:gd name="connsiteX9" fmla="*/ 133350 w 133350"/>
                    <a:gd name="connsiteY9" fmla="*/ 365671 h 369520"/>
                    <a:gd name="connsiteX10" fmla="*/ 133350 w 133350"/>
                    <a:gd name="connsiteY10" fmla="*/ 365671 h 369520"/>
                    <a:gd name="connsiteX11" fmla="*/ 133350 w 133350"/>
                    <a:gd name="connsiteY11" fmla="*/ 368113 h 373676"/>
                    <a:gd name="connsiteX12" fmla="*/ 133350 w 133350"/>
                    <a:gd name="connsiteY12" fmla="*/ 368113 h 373676"/>
                    <a:gd name="connsiteX13" fmla="*/ 133350 w 133350"/>
                    <a:gd name="connsiteY13" fmla="*/ 368113 h 371621"/>
                    <a:gd name="connsiteX14" fmla="*/ 133350 w 133350"/>
                    <a:gd name="connsiteY14" fmla="*/ 368113 h 368263"/>
                    <a:gd name="connsiteX15" fmla="*/ 133350 w 133350"/>
                    <a:gd name="connsiteY15" fmla="*/ 368113 h 368113"/>
                    <a:gd name="connsiteX16" fmla="*/ 133350 w 133350"/>
                    <a:gd name="connsiteY16" fmla="*/ 368113 h 368113"/>
                    <a:gd name="connsiteX17" fmla="*/ 133350 w 133350"/>
                    <a:gd name="connsiteY17" fmla="*/ 368113 h 368113"/>
                    <a:gd name="connsiteX18" fmla="*/ 133350 w 133350"/>
                    <a:gd name="connsiteY18" fmla="*/ 368113 h 368113"/>
                    <a:gd name="connsiteX19" fmla="*/ 133350 w 133350"/>
                    <a:gd name="connsiteY19" fmla="*/ 368113 h 368113"/>
                    <a:gd name="connsiteX20" fmla="*/ 133350 w 133350"/>
                    <a:gd name="connsiteY20" fmla="*/ 368113 h 368113"/>
                    <a:gd name="connsiteX21" fmla="*/ 133350 w 133350"/>
                    <a:gd name="connsiteY21" fmla="*/ 368113 h 368113"/>
                    <a:gd name="connsiteX22" fmla="*/ 133350 w 133350"/>
                    <a:gd name="connsiteY22" fmla="*/ 368113 h 368113"/>
                    <a:gd name="connsiteX23" fmla="*/ 133350 w 133350"/>
                    <a:gd name="connsiteY23" fmla="*/ 368113 h 368113"/>
                    <a:gd name="connsiteX24" fmla="*/ 133350 w 133350"/>
                    <a:gd name="connsiteY24" fmla="*/ 368113 h 368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0302" h="349935">
                      <a:moveTo>
                        <a:pt x="4096" y="349934"/>
                      </a:moveTo>
                      <a:cubicBezTo>
                        <a:pt x="4592" y="306278"/>
                        <a:pt x="4890" y="198328"/>
                        <a:pt x="6477" y="140384"/>
                      </a:cubicBezTo>
                      <a:cubicBezTo>
                        <a:pt x="8064" y="82440"/>
                        <a:pt x="-13136" y="11605"/>
                        <a:pt x="13620" y="2272"/>
                      </a:cubicBezTo>
                      <a:cubicBezTo>
                        <a:pt x="30686" y="-3681"/>
                        <a:pt x="81884" y="3860"/>
                        <a:pt x="108872" y="4654"/>
                      </a:cubicBezTo>
                      <a:cubicBezTo>
                        <a:pt x="125144" y="6638"/>
                        <a:pt x="122364" y="49103"/>
                        <a:pt x="125539" y="54659"/>
                      </a:cubicBezTo>
                      <a:cubicBezTo>
                        <a:pt x="124746" y="109428"/>
                        <a:pt x="123952" y="164197"/>
                        <a:pt x="123159" y="218966"/>
                      </a:cubicBezTo>
                      <a:cubicBezTo>
                        <a:pt x="125143" y="268575"/>
                        <a:pt x="127326" y="322154"/>
                        <a:pt x="130302" y="349935"/>
                      </a:cubicBezTo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4" name="Freeform: Shape 109">
                  <a:extLst>
                    <a:ext uri="{FF2B5EF4-FFF2-40B4-BE49-F238E27FC236}">
                      <a16:creationId xmlns:a16="http://schemas.microsoft.com/office/drawing/2014/main" id="{0F9B7D0A-F138-0349-9D23-414767949F29}"/>
                    </a:ext>
                  </a:extLst>
                </p:cNvPr>
                <p:cNvSpPr/>
                <p:nvPr/>
              </p:nvSpPr>
              <p:spPr>
                <a:xfrm>
                  <a:off x="8251819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5" name="Freeform: Shape 110">
                  <a:extLst>
                    <a:ext uri="{FF2B5EF4-FFF2-40B4-BE49-F238E27FC236}">
                      <a16:creationId xmlns:a16="http://schemas.microsoft.com/office/drawing/2014/main" id="{CA9154EC-162F-9CA2-37F7-F0283A751B85}"/>
                    </a:ext>
                  </a:extLst>
                </p:cNvPr>
                <p:cNvSpPr/>
                <p:nvPr/>
              </p:nvSpPr>
              <p:spPr>
                <a:xfrm>
                  <a:off x="8535188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6" name="Freeform: Shape 111">
                  <a:extLst>
                    <a:ext uri="{FF2B5EF4-FFF2-40B4-BE49-F238E27FC236}">
                      <a16:creationId xmlns:a16="http://schemas.microsoft.com/office/drawing/2014/main" id="{0C1D071F-F71E-D16A-5A1F-5E46AA2175E3}"/>
                    </a:ext>
                  </a:extLst>
                </p:cNvPr>
                <p:cNvSpPr/>
                <p:nvPr/>
              </p:nvSpPr>
              <p:spPr>
                <a:xfrm>
                  <a:off x="8820938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7" name="Freeform: Shape 112">
                  <a:extLst>
                    <a:ext uri="{FF2B5EF4-FFF2-40B4-BE49-F238E27FC236}">
                      <a16:creationId xmlns:a16="http://schemas.microsoft.com/office/drawing/2014/main" id="{B4BCC4E9-D8E3-F069-413B-6D35B22446C1}"/>
                    </a:ext>
                  </a:extLst>
                </p:cNvPr>
                <p:cNvSpPr/>
                <p:nvPr/>
              </p:nvSpPr>
              <p:spPr>
                <a:xfrm>
                  <a:off x="8251819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8" name="Freeform: Shape 113">
                  <a:extLst>
                    <a:ext uri="{FF2B5EF4-FFF2-40B4-BE49-F238E27FC236}">
                      <a16:creationId xmlns:a16="http://schemas.microsoft.com/office/drawing/2014/main" id="{FD8AD6DF-2D0E-6B06-E884-F3AA6CBDF9DD}"/>
                    </a:ext>
                  </a:extLst>
                </p:cNvPr>
                <p:cNvSpPr/>
                <p:nvPr/>
              </p:nvSpPr>
              <p:spPr>
                <a:xfrm>
                  <a:off x="8535188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9" name="Freeform: Shape 114">
                  <a:extLst>
                    <a:ext uri="{FF2B5EF4-FFF2-40B4-BE49-F238E27FC236}">
                      <a16:creationId xmlns:a16="http://schemas.microsoft.com/office/drawing/2014/main" id="{2C0FA9F5-C8A9-E81E-4707-B4D5B1F4F99E}"/>
                    </a:ext>
                  </a:extLst>
                </p:cNvPr>
                <p:cNvSpPr/>
                <p:nvPr/>
              </p:nvSpPr>
              <p:spPr>
                <a:xfrm>
                  <a:off x="8820938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0" name="Freeform: Shape 115">
                  <a:extLst>
                    <a:ext uri="{FF2B5EF4-FFF2-40B4-BE49-F238E27FC236}">
                      <a16:creationId xmlns:a16="http://schemas.microsoft.com/office/drawing/2014/main" id="{C4FA602F-8203-72C2-E11F-6AD1D171C651}"/>
                    </a:ext>
                  </a:extLst>
                </p:cNvPr>
                <p:cNvSpPr/>
                <p:nvPr/>
              </p:nvSpPr>
              <p:spPr>
                <a:xfrm>
                  <a:off x="8251819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1" name="Freeform: Shape 116">
                  <a:extLst>
                    <a:ext uri="{FF2B5EF4-FFF2-40B4-BE49-F238E27FC236}">
                      <a16:creationId xmlns:a16="http://schemas.microsoft.com/office/drawing/2014/main" id="{3DCD6CD4-44B0-A982-2207-7A4763277DB2}"/>
                    </a:ext>
                  </a:extLst>
                </p:cNvPr>
                <p:cNvSpPr/>
                <p:nvPr/>
              </p:nvSpPr>
              <p:spPr>
                <a:xfrm>
                  <a:off x="8535188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2" name="Freeform: Shape 117">
                  <a:extLst>
                    <a:ext uri="{FF2B5EF4-FFF2-40B4-BE49-F238E27FC236}">
                      <a16:creationId xmlns:a16="http://schemas.microsoft.com/office/drawing/2014/main" id="{3B5CD77E-7933-EC33-F32F-7D2E00B2CD13}"/>
                    </a:ext>
                  </a:extLst>
                </p:cNvPr>
                <p:cNvSpPr/>
                <p:nvPr/>
              </p:nvSpPr>
              <p:spPr>
                <a:xfrm>
                  <a:off x="8820938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3" name="Freeform: Shape 118">
                  <a:extLst>
                    <a:ext uri="{FF2B5EF4-FFF2-40B4-BE49-F238E27FC236}">
                      <a16:creationId xmlns:a16="http://schemas.microsoft.com/office/drawing/2014/main" id="{666598ED-C377-890D-404C-24EF9DCEE57F}"/>
                    </a:ext>
                  </a:extLst>
                </p:cNvPr>
                <p:cNvSpPr/>
                <p:nvPr/>
              </p:nvSpPr>
              <p:spPr>
                <a:xfrm>
                  <a:off x="8251819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4" name="Freeform: Shape 119">
                  <a:extLst>
                    <a:ext uri="{FF2B5EF4-FFF2-40B4-BE49-F238E27FC236}">
                      <a16:creationId xmlns:a16="http://schemas.microsoft.com/office/drawing/2014/main" id="{D86444BD-E936-51B7-BB24-036CA1CABDC7}"/>
                    </a:ext>
                  </a:extLst>
                </p:cNvPr>
                <p:cNvSpPr/>
                <p:nvPr/>
              </p:nvSpPr>
              <p:spPr>
                <a:xfrm>
                  <a:off x="8535188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5" name="Freeform: Shape 120">
                  <a:extLst>
                    <a:ext uri="{FF2B5EF4-FFF2-40B4-BE49-F238E27FC236}">
                      <a16:creationId xmlns:a16="http://schemas.microsoft.com/office/drawing/2014/main" id="{C362C943-EFFC-A7E4-802D-42E5549B1204}"/>
                    </a:ext>
                  </a:extLst>
                </p:cNvPr>
                <p:cNvSpPr/>
                <p:nvPr/>
              </p:nvSpPr>
              <p:spPr>
                <a:xfrm>
                  <a:off x="8820938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6" name="Freeform: Shape 121">
                  <a:extLst>
                    <a:ext uri="{FF2B5EF4-FFF2-40B4-BE49-F238E27FC236}">
                      <a16:creationId xmlns:a16="http://schemas.microsoft.com/office/drawing/2014/main" id="{7933E77A-17AB-2604-D66C-081C318CBE92}"/>
                    </a:ext>
                  </a:extLst>
                </p:cNvPr>
                <p:cNvSpPr/>
                <p:nvPr/>
              </p:nvSpPr>
              <p:spPr>
                <a:xfrm>
                  <a:off x="8251819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7" name="Freeform: Shape 122">
                  <a:extLst>
                    <a:ext uri="{FF2B5EF4-FFF2-40B4-BE49-F238E27FC236}">
                      <a16:creationId xmlns:a16="http://schemas.microsoft.com/office/drawing/2014/main" id="{85C887F8-E311-0B1F-F719-58E2E127E0F0}"/>
                    </a:ext>
                  </a:extLst>
                </p:cNvPr>
                <p:cNvSpPr/>
                <p:nvPr/>
              </p:nvSpPr>
              <p:spPr>
                <a:xfrm>
                  <a:off x="8535188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8" name="Freeform: Shape 123">
                  <a:extLst>
                    <a:ext uri="{FF2B5EF4-FFF2-40B4-BE49-F238E27FC236}">
                      <a16:creationId xmlns:a16="http://schemas.microsoft.com/office/drawing/2014/main" id="{6D4C284C-69B4-3A0C-1F1F-FBD7EA8BB776}"/>
                    </a:ext>
                  </a:extLst>
                </p:cNvPr>
                <p:cNvSpPr/>
                <p:nvPr/>
              </p:nvSpPr>
              <p:spPr>
                <a:xfrm>
                  <a:off x="8820938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9" name="Freeform: Shape 124">
                  <a:extLst>
                    <a:ext uri="{FF2B5EF4-FFF2-40B4-BE49-F238E27FC236}">
                      <a16:creationId xmlns:a16="http://schemas.microsoft.com/office/drawing/2014/main" id="{4B23CAE0-ED53-7C0B-FEF5-FDB5849FA756}"/>
                    </a:ext>
                  </a:extLst>
                </p:cNvPr>
                <p:cNvSpPr/>
                <p:nvPr/>
              </p:nvSpPr>
              <p:spPr>
                <a:xfrm>
                  <a:off x="8251819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60" name="Freeform: Shape 125">
                  <a:extLst>
                    <a:ext uri="{FF2B5EF4-FFF2-40B4-BE49-F238E27FC236}">
                      <a16:creationId xmlns:a16="http://schemas.microsoft.com/office/drawing/2014/main" id="{3936E936-02EA-FF73-B70D-953850BF19C6}"/>
                    </a:ext>
                  </a:extLst>
                </p:cNvPr>
                <p:cNvSpPr/>
                <p:nvPr/>
              </p:nvSpPr>
              <p:spPr>
                <a:xfrm>
                  <a:off x="8820938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61" name="Freeform: Shape 126">
                  <a:extLst>
                    <a:ext uri="{FF2B5EF4-FFF2-40B4-BE49-F238E27FC236}">
                      <a16:creationId xmlns:a16="http://schemas.microsoft.com/office/drawing/2014/main" id="{5CE8D3AA-39C8-1552-9F42-B968E4821AAA}"/>
                    </a:ext>
                  </a:extLst>
                </p:cNvPr>
                <p:cNvSpPr/>
                <p:nvPr/>
              </p:nvSpPr>
              <p:spPr>
                <a:xfrm>
                  <a:off x="8532684" y="4033947"/>
                  <a:ext cx="130302" cy="349935"/>
                </a:xfrm>
                <a:custGeom>
                  <a:avLst/>
                  <a:gdLst>
                    <a:gd name="connsiteX0" fmla="*/ 4096 w 130302"/>
                    <a:gd name="connsiteY0" fmla="*/ 349934 h 349935"/>
                    <a:gd name="connsiteX1" fmla="*/ 6477 w 130302"/>
                    <a:gd name="connsiteY1" fmla="*/ 140384 h 349935"/>
                    <a:gd name="connsiteX2" fmla="*/ 13620 w 130302"/>
                    <a:gd name="connsiteY2" fmla="*/ 2272 h 349935"/>
                    <a:gd name="connsiteX3" fmla="*/ 108872 w 130302"/>
                    <a:gd name="connsiteY3" fmla="*/ 4654 h 349935"/>
                    <a:gd name="connsiteX4" fmla="*/ 125539 w 130302"/>
                    <a:gd name="connsiteY4" fmla="*/ 54659 h 349935"/>
                    <a:gd name="connsiteX5" fmla="*/ 123159 w 130302"/>
                    <a:gd name="connsiteY5" fmla="*/ 218966 h 349935"/>
                    <a:gd name="connsiteX6" fmla="*/ 130302 w 130302"/>
                    <a:gd name="connsiteY6" fmla="*/ 349935 h 349935"/>
                    <a:gd name="connsiteX7" fmla="*/ 137446 w 137446"/>
                    <a:gd name="connsiteY7" fmla="*/ 352316 h 352316"/>
                    <a:gd name="connsiteX8" fmla="*/ 137670 w 137670"/>
                    <a:gd name="connsiteY8" fmla="*/ 352316 h 356165"/>
                    <a:gd name="connsiteX9" fmla="*/ 133350 w 133350"/>
                    <a:gd name="connsiteY9" fmla="*/ 365671 h 369520"/>
                    <a:gd name="connsiteX10" fmla="*/ 133350 w 133350"/>
                    <a:gd name="connsiteY10" fmla="*/ 365671 h 369520"/>
                    <a:gd name="connsiteX11" fmla="*/ 133350 w 133350"/>
                    <a:gd name="connsiteY11" fmla="*/ 368113 h 373676"/>
                    <a:gd name="connsiteX12" fmla="*/ 133350 w 133350"/>
                    <a:gd name="connsiteY12" fmla="*/ 368113 h 373676"/>
                    <a:gd name="connsiteX13" fmla="*/ 133350 w 133350"/>
                    <a:gd name="connsiteY13" fmla="*/ 368113 h 371621"/>
                    <a:gd name="connsiteX14" fmla="*/ 133350 w 133350"/>
                    <a:gd name="connsiteY14" fmla="*/ 368113 h 368263"/>
                    <a:gd name="connsiteX15" fmla="*/ 133350 w 133350"/>
                    <a:gd name="connsiteY15" fmla="*/ 368113 h 368113"/>
                    <a:gd name="connsiteX16" fmla="*/ 133350 w 133350"/>
                    <a:gd name="connsiteY16" fmla="*/ 368113 h 368113"/>
                    <a:gd name="connsiteX17" fmla="*/ 133350 w 133350"/>
                    <a:gd name="connsiteY17" fmla="*/ 368113 h 368113"/>
                    <a:gd name="connsiteX18" fmla="*/ 133350 w 133350"/>
                    <a:gd name="connsiteY18" fmla="*/ 368113 h 368113"/>
                    <a:gd name="connsiteX19" fmla="*/ 133350 w 133350"/>
                    <a:gd name="connsiteY19" fmla="*/ 368113 h 368113"/>
                    <a:gd name="connsiteX20" fmla="*/ 133350 w 133350"/>
                    <a:gd name="connsiteY20" fmla="*/ 368113 h 368113"/>
                    <a:gd name="connsiteX21" fmla="*/ 133350 w 133350"/>
                    <a:gd name="connsiteY21" fmla="*/ 368113 h 368113"/>
                    <a:gd name="connsiteX22" fmla="*/ 133350 w 133350"/>
                    <a:gd name="connsiteY22" fmla="*/ 368113 h 368113"/>
                    <a:gd name="connsiteX23" fmla="*/ 133350 w 133350"/>
                    <a:gd name="connsiteY23" fmla="*/ 368113 h 368113"/>
                    <a:gd name="connsiteX24" fmla="*/ 133350 w 133350"/>
                    <a:gd name="connsiteY24" fmla="*/ 368113 h 368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0302" h="349935">
                      <a:moveTo>
                        <a:pt x="4096" y="349934"/>
                      </a:moveTo>
                      <a:cubicBezTo>
                        <a:pt x="4592" y="306278"/>
                        <a:pt x="4890" y="198328"/>
                        <a:pt x="6477" y="140384"/>
                      </a:cubicBezTo>
                      <a:cubicBezTo>
                        <a:pt x="8064" y="82440"/>
                        <a:pt x="-13136" y="11605"/>
                        <a:pt x="13620" y="2272"/>
                      </a:cubicBezTo>
                      <a:cubicBezTo>
                        <a:pt x="30686" y="-3681"/>
                        <a:pt x="81884" y="3860"/>
                        <a:pt x="108872" y="4654"/>
                      </a:cubicBezTo>
                      <a:cubicBezTo>
                        <a:pt x="125144" y="6638"/>
                        <a:pt x="122364" y="49103"/>
                        <a:pt x="125539" y="54659"/>
                      </a:cubicBezTo>
                      <a:cubicBezTo>
                        <a:pt x="124746" y="109428"/>
                        <a:pt x="123952" y="164197"/>
                        <a:pt x="123159" y="218966"/>
                      </a:cubicBezTo>
                      <a:cubicBezTo>
                        <a:pt x="125143" y="268575"/>
                        <a:pt x="127326" y="322154"/>
                        <a:pt x="130302" y="349935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341" name="Graphic 9">
                <a:extLst>
                  <a:ext uri="{FF2B5EF4-FFF2-40B4-BE49-F238E27FC236}">
                    <a16:creationId xmlns:a16="http://schemas.microsoft.com/office/drawing/2014/main" id="{9A8629C6-5F42-9BB8-0CD3-48F3037E54CA}"/>
                  </a:ext>
                </a:extLst>
              </p:cNvPr>
              <p:cNvSpPr/>
              <p:nvPr/>
            </p:nvSpPr>
            <p:spPr>
              <a:xfrm>
                <a:off x="2650822" y="3565081"/>
                <a:ext cx="611595" cy="609442"/>
              </a:xfrm>
              <a:custGeom>
                <a:avLst/>
                <a:gdLst>
                  <a:gd name="connsiteX0" fmla="*/ 1045115 w 2090225"/>
                  <a:gd name="connsiteY0" fmla="*/ 2082868 h 2082867"/>
                  <a:gd name="connsiteX1" fmla="*/ 2090226 w 2090225"/>
                  <a:gd name="connsiteY1" fmla="*/ 1041435 h 2082867"/>
                  <a:gd name="connsiteX2" fmla="*/ 1045115 w 2090225"/>
                  <a:gd name="connsiteY2" fmla="*/ 0 h 2082867"/>
                  <a:gd name="connsiteX3" fmla="*/ 0 w 2090225"/>
                  <a:gd name="connsiteY3" fmla="*/ 1041435 h 2082867"/>
                  <a:gd name="connsiteX4" fmla="*/ 1045115 w 2090225"/>
                  <a:gd name="connsiteY4" fmla="*/ 2082868 h 208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0225" h="2082867">
                    <a:moveTo>
                      <a:pt x="1045115" y="2082868"/>
                    </a:moveTo>
                    <a:cubicBezTo>
                      <a:pt x="1622314" y="2082868"/>
                      <a:pt x="2090226" y="1616600"/>
                      <a:pt x="2090226" y="1041435"/>
                    </a:cubicBezTo>
                    <a:cubicBezTo>
                      <a:pt x="2090226" y="466266"/>
                      <a:pt x="1622314" y="0"/>
                      <a:pt x="1045115" y="0"/>
                    </a:cubicBezTo>
                    <a:cubicBezTo>
                      <a:pt x="467913" y="0"/>
                      <a:pt x="0" y="466266"/>
                      <a:pt x="0" y="1041435"/>
                    </a:cubicBezTo>
                    <a:cubicBezTo>
                      <a:pt x="0" y="1616600"/>
                      <a:pt x="467913" y="2082868"/>
                      <a:pt x="1045115" y="2082868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5213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S</a:t>
                </a:r>
              </a:p>
            </p:txBody>
          </p:sp>
          <p:sp>
            <p:nvSpPr>
              <p:cNvPr id="342" name="Graphic 7">
                <a:extLst>
                  <a:ext uri="{FF2B5EF4-FFF2-40B4-BE49-F238E27FC236}">
                    <a16:creationId xmlns:a16="http://schemas.microsoft.com/office/drawing/2014/main" id="{282C3C5C-1B44-64EC-3828-1F6944AF18AC}"/>
                  </a:ext>
                </a:extLst>
              </p:cNvPr>
              <p:cNvSpPr/>
              <p:nvPr/>
            </p:nvSpPr>
            <p:spPr>
              <a:xfrm>
                <a:off x="2631470" y="2724249"/>
                <a:ext cx="650299" cy="650299"/>
              </a:xfrm>
              <a:custGeom>
                <a:avLst/>
                <a:gdLst>
                  <a:gd name="connsiteX0" fmla="*/ 1999914 w 2149254"/>
                  <a:gd name="connsiteY0" fmla="*/ 714081 h 2149255"/>
                  <a:gd name="connsiteX1" fmla="*/ 1435173 w 2149254"/>
                  <a:gd name="connsiteY1" fmla="*/ 149343 h 2149255"/>
                  <a:gd name="connsiteX2" fmla="*/ 714080 w 2149254"/>
                  <a:gd name="connsiteY2" fmla="*/ 149343 h 2149255"/>
                  <a:gd name="connsiteX3" fmla="*/ 149344 w 2149254"/>
                  <a:gd name="connsiteY3" fmla="*/ 714081 h 2149255"/>
                  <a:gd name="connsiteX4" fmla="*/ 149344 w 2149254"/>
                  <a:gd name="connsiteY4" fmla="*/ 1435174 h 2149255"/>
                  <a:gd name="connsiteX5" fmla="*/ 714080 w 2149254"/>
                  <a:gd name="connsiteY5" fmla="*/ 1999915 h 2149255"/>
                  <a:gd name="connsiteX6" fmla="*/ 1435173 w 2149254"/>
                  <a:gd name="connsiteY6" fmla="*/ 1999915 h 2149255"/>
                  <a:gd name="connsiteX7" fmla="*/ 1999914 w 2149254"/>
                  <a:gd name="connsiteY7" fmla="*/ 1435174 h 2149255"/>
                  <a:gd name="connsiteX8" fmla="*/ 1999914 w 2149254"/>
                  <a:gd name="connsiteY8" fmla="*/ 714081 h 2149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49254" h="2149255">
                    <a:moveTo>
                      <a:pt x="1999914" y="714081"/>
                    </a:moveTo>
                    <a:lnTo>
                      <a:pt x="1435173" y="149343"/>
                    </a:lnTo>
                    <a:cubicBezTo>
                      <a:pt x="1236052" y="-49781"/>
                      <a:pt x="913207" y="-49781"/>
                      <a:pt x="714080" y="149343"/>
                    </a:cubicBezTo>
                    <a:lnTo>
                      <a:pt x="149344" y="714081"/>
                    </a:lnTo>
                    <a:cubicBezTo>
                      <a:pt x="-49781" y="913208"/>
                      <a:pt x="-49781" y="1236053"/>
                      <a:pt x="149344" y="1435174"/>
                    </a:cubicBezTo>
                    <a:lnTo>
                      <a:pt x="714080" y="1999915"/>
                    </a:lnTo>
                    <a:cubicBezTo>
                      <a:pt x="913207" y="2199036"/>
                      <a:pt x="1236052" y="2199036"/>
                      <a:pt x="1435173" y="1999915"/>
                    </a:cubicBezTo>
                    <a:lnTo>
                      <a:pt x="1999914" y="1435174"/>
                    </a:lnTo>
                    <a:cubicBezTo>
                      <a:pt x="2199035" y="1236053"/>
                      <a:pt x="2199035" y="913208"/>
                      <a:pt x="1999914" y="714081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5212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E</a:t>
                </a:r>
              </a:p>
            </p:txBody>
          </p:sp>
          <p:sp>
            <p:nvSpPr>
              <p:cNvPr id="343" name="Graphic 5">
                <a:extLst>
                  <a:ext uri="{FF2B5EF4-FFF2-40B4-BE49-F238E27FC236}">
                    <a16:creationId xmlns:a16="http://schemas.microsoft.com/office/drawing/2014/main" id="{A00B750D-5919-0CA2-3638-F30E9ED00549}"/>
                  </a:ext>
                </a:extLst>
              </p:cNvPr>
              <p:cNvSpPr/>
              <p:nvPr/>
            </p:nvSpPr>
            <p:spPr>
              <a:xfrm>
                <a:off x="2670545" y="4365055"/>
                <a:ext cx="572149" cy="568076"/>
              </a:xfrm>
              <a:custGeom>
                <a:avLst/>
                <a:gdLst>
                  <a:gd name="connsiteX0" fmla="*/ 1540115 w 2068146"/>
                  <a:gd name="connsiteY0" fmla="*/ 109518 h 2053427"/>
                  <a:gd name="connsiteX1" fmla="*/ 882859 w 2068146"/>
                  <a:gd name="connsiteY1" fmla="*/ 6187 h 2053427"/>
                  <a:gd name="connsiteX2" fmla="*/ 356860 w 2068146"/>
                  <a:gd name="connsiteY2" fmla="*/ 272246 h 2053427"/>
                  <a:gd name="connsiteX3" fmla="*/ 54805 w 2068146"/>
                  <a:gd name="connsiteY3" fmla="*/ 861064 h 2053427"/>
                  <a:gd name="connsiteX4" fmla="*/ 147251 w 2068146"/>
                  <a:gd name="connsiteY4" fmla="*/ 1440064 h 2053427"/>
                  <a:gd name="connsiteX5" fmla="*/ 617883 w 2068146"/>
                  <a:gd name="connsiteY5" fmla="*/ 1907386 h 2053427"/>
                  <a:gd name="connsiteX6" fmla="*/ 1200983 w 2068146"/>
                  <a:gd name="connsiteY6" fmla="*/ 1999181 h 2053427"/>
                  <a:gd name="connsiteX7" fmla="*/ 1793969 w 2068146"/>
                  <a:gd name="connsiteY7" fmla="*/ 1699250 h 2053427"/>
                  <a:gd name="connsiteX8" fmla="*/ 2061914 w 2068146"/>
                  <a:gd name="connsiteY8" fmla="*/ 1176950 h 2053427"/>
                  <a:gd name="connsiteX9" fmla="*/ 1957854 w 2068146"/>
                  <a:gd name="connsiteY9" fmla="*/ 524316 h 2053427"/>
                  <a:gd name="connsiteX10" fmla="*/ 1540366 w 2068146"/>
                  <a:gd name="connsiteY10" fmla="*/ 109763 h 2053427"/>
                  <a:gd name="connsiteX11" fmla="*/ 1540115 w 2068146"/>
                  <a:gd name="connsiteY11" fmla="*/ 109518 h 205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68146" h="2053427">
                    <a:moveTo>
                      <a:pt x="1540115" y="109518"/>
                    </a:moveTo>
                    <a:lnTo>
                      <a:pt x="882859" y="6187"/>
                    </a:lnTo>
                    <a:cubicBezTo>
                      <a:pt x="668061" y="-27684"/>
                      <a:pt x="455732" y="79820"/>
                      <a:pt x="356860" y="272246"/>
                    </a:cubicBezTo>
                    <a:lnTo>
                      <a:pt x="54805" y="861064"/>
                    </a:lnTo>
                    <a:cubicBezTo>
                      <a:pt x="-44068" y="1053492"/>
                      <a:pt x="-6743" y="1287396"/>
                      <a:pt x="147251" y="1440064"/>
                    </a:cubicBezTo>
                    <a:lnTo>
                      <a:pt x="617883" y="1907386"/>
                    </a:lnTo>
                    <a:cubicBezTo>
                      <a:pt x="771631" y="2060049"/>
                      <a:pt x="1007193" y="2097111"/>
                      <a:pt x="1200983" y="1999181"/>
                    </a:cubicBezTo>
                    <a:lnTo>
                      <a:pt x="1793969" y="1699250"/>
                    </a:lnTo>
                    <a:cubicBezTo>
                      <a:pt x="1987764" y="1601069"/>
                      <a:pt x="2096029" y="1390235"/>
                      <a:pt x="2061914" y="1176950"/>
                    </a:cubicBezTo>
                    <a:lnTo>
                      <a:pt x="1957854" y="524316"/>
                    </a:lnTo>
                    <a:cubicBezTo>
                      <a:pt x="1923739" y="311026"/>
                      <a:pt x="1755409" y="143634"/>
                      <a:pt x="1540366" y="109763"/>
                    </a:cubicBezTo>
                    <a:lnTo>
                      <a:pt x="1540115" y="109518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5206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G</a:t>
                </a:r>
              </a:p>
            </p:txBody>
          </p:sp>
        </p:grpSp>
        <p:pic>
          <p:nvPicPr>
            <p:cNvPr id="1072" name="Billede 1071">
              <a:extLst>
                <a:ext uri="{FF2B5EF4-FFF2-40B4-BE49-F238E27FC236}">
                  <a16:creationId xmlns:a16="http://schemas.microsoft.com/office/drawing/2014/main" id="{C4B3554F-9D74-10F3-4430-F5A402F81A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97099" y="5203505"/>
              <a:ext cx="1146040" cy="697940"/>
            </a:xfrm>
            <a:prstGeom prst="rect">
              <a:avLst/>
            </a:prstGeom>
          </p:spPr>
        </p:pic>
      </p:grpSp>
      <p:pic>
        <p:nvPicPr>
          <p:cNvPr id="1075" name="Grafik 1074">
            <a:extLst>
              <a:ext uri="{FF2B5EF4-FFF2-40B4-BE49-F238E27FC236}">
                <a16:creationId xmlns:a16="http://schemas.microsoft.com/office/drawing/2014/main" id="{B964C0B3-41C9-0FC2-B643-96BC5033EB7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682006" y="4656957"/>
            <a:ext cx="414513" cy="414513"/>
          </a:xfrm>
          <a:prstGeom prst="rect">
            <a:avLst/>
          </a:prstGeom>
        </p:spPr>
      </p:pic>
      <p:sp>
        <p:nvSpPr>
          <p:cNvPr id="1077" name="Rectangle 153">
            <a:extLst>
              <a:ext uri="{FF2B5EF4-FFF2-40B4-BE49-F238E27FC236}">
                <a16:creationId xmlns:a16="http://schemas.microsoft.com/office/drawing/2014/main" id="{26459D3F-EB30-A1DF-B8A8-27D36FDE2B61}"/>
              </a:ext>
            </a:extLst>
          </p:cNvPr>
          <p:cNvSpPr/>
          <p:nvPr/>
        </p:nvSpPr>
        <p:spPr>
          <a:xfrm>
            <a:off x="398460" y="5196808"/>
            <a:ext cx="4809702" cy="892696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da-DK" sz="11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78" name="Tekstfelt 1077">
            <a:extLst>
              <a:ext uri="{FF2B5EF4-FFF2-40B4-BE49-F238E27FC236}">
                <a16:creationId xmlns:a16="http://schemas.microsoft.com/office/drawing/2014/main" id="{5FD6391E-1F6B-0179-0EA6-BB551B686293}"/>
              </a:ext>
            </a:extLst>
          </p:cNvPr>
          <p:cNvSpPr txBox="1"/>
          <p:nvPr/>
        </p:nvSpPr>
        <p:spPr>
          <a:xfrm>
            <a:off x="495286" y="5227849"/>
            <a:ext cx="323667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000">
                <a:latin typeface="Verdana" panose="020B0604030504040204" pitchFamily="34" charset="0"/>
                <a:ea typeface="Verdana" panose="020B0604030504040204" pitchFamily="34" charset="0"/>
              </a:rPr>
              <a:t>Dataindsamling via en </a:t>
            </a:r>
            <a:r>
              <a:rPr lang="da-DK" sz="1000" b="1">
                <a:latin typeface="Verdana" panose="020B0604030504040204" pitchFamily="34" charset="0"/>
                <a:ea typeface="Verdana" panose="020B0604030504040204" pitchFamily="34" charset="0"/>
              </a:rPr>
              <a:t>national beboermåling</a:t>
            </a:r>
            <a:r>
              <a:rPr lang="da-DK" sz="1000">
                <a:latin typeface="Verdana" panose="020B0604030504040204" pitchFamily="34" charset="0"/>
                <a:ea typeface="Verdana" panose="020B0604030504040204" pitchFamily="34" charset="0"/>
              </a:rPr>
              <a:t>, hvor en repræsentativ stikprøve af beboerne i organisationen spørges ind til målepunkter, som kun de kan svare på</a:t>
            </a:r>
          </a:p>
          <a:p>
            <a:endParaRPr lang="da-DK" sz="1000"/>
          </a:p>
        </p:txBody>
      </p:sp>
      <p:pic>
        <p:nvPicPr>
          <p:cNvPr id="1079" name="Grafik 1078">
            <a:extLst>
              <a:ext uri="{FF2B5EF4-FFF2-40B4-BE49-F238E27FC236}">
                <a16:creationId xmlns:a16="http://schemas.microsoft.com/office/drawing/2014/main" id="{0A348BD1-476E-4E06-9D52-DE85CCF898B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765899" y="5391227"/>
            <a:ext cx="351618" cy="351618"/>
          </a:xfrm>
          <a:prstGeom prst="rect">
            <a:avLst/>
          </a:prstGeom>
        </p:spPr>
      </p:pic>
      <p:pic>
        <p:nvPicPr>
          <p:cNvPr id="1080" name="Graphic 17">
            <a:extLst>
              <a:ext uri="{FF2B5EF4-FFF2-40B4-BE49-F238E27FC236}">
                <a16:creationId xmlns:a16="http://schemas.microsoft.com/office/drawing/2014/main" id="{9AFB06ED-265B-72E3-86FC-DC8D6730D58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641313" y="4800928"/>
            <a:ext cx="283568" cy="283568"/>
          </a:xfrm>
          <a:prstGeom prst="rect">
            <a:avLst/>
          </a:prstGeom>
        </p:spPr>
      </p:pic>
      <p:pic>
        <p:nvPicPr>
          <p:cNvPr id="1081" name="Grafik 1080">
            <a:extLst>
              <a:ext uri="{FF2B5EF4-FFF2-40B4-BE49-F238E27FC236}">
                <a16:creationId xmlns:a16="http://schemas.microsoft.com/office/drawing/2014/main" id="{3F9C1C74-8C58-CF2D-4EBC-048F3D82249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068278" y="5771671"/>
            <a:ext cx="283569" cy="283569"/>
          </a:xfrm>
          <a:prstGeom prst="rect">
            <a:avLst/>
          </a:prstGeom>
        </p:spPr>
      </p:pic>
      <p:pic>
        <p:nvPicPr>
          <p:cNvPr id="1082" name="Grafik 1081">
            <a:extLst>
              <a:ext uri="{FF2B5EF4-FFF2-40B4-BE49-F238E27FC236}">
                <a16:creationId xmlns:a16="http://schemas.microsoft.com/office/drawing/2014/main" id="{FE641070-145D-F0D7-683E-72BEA04C762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583337" y="5198412"/>
            <a:ext cx="365001" cy="365001"/>
          </a:xfrm>
          <a:prstGeom prst="rect">
            <a:avLst/>
          </a:prstGeom>
        </p:spPr>
      </p:pic>
      <p:pic>
        <p:nvPicPr>
          <p:cNvPr id="1085" name="Grafik 1084">
            <a:extLst>
              <a:ext uri="{FF2B5EF4-FFF2-40B4-BE49-F238E27FC236}">
                <a16:creationId xmlns:a16="http://schemas.microsoft.com/office/drawing/2014/main" id="{06E04F96-D49B-56AA-6E6E-99FE573FB221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756261" y="4870492"/>
            <a:ext cx="343478" cy="343478"/>
          </a:xfrm>
          <a:prstGeom prst="rect">
            <a:avLst/>
          </a:prstGeom>
        </p:spPr>
      </p:pic>
      <p:pic>
        <p:nvPicPr>
          <p:cNvPr id="1086" name="Grafik 1085">
            <a:extLst>
              <a:ext uri="{FF2B5EF4-FFF2-40B4-BE49-F238E27FC236}">
                <a16:creationId xmlns:a16="http://schemas.microsoft.com/office/drawing/2014/main" id="{F4B585AF-E7E3-D443-B5D4-33E2B4A261A9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8173291" y="5486674"/>
            <a:ext cx="338172" cy="338172"/>
          </a:xfrm>
          <a:prstGeom prst="rect">
            <a:avLst/>
          </a:prstGeom>
        </p:spPr>
      </p:pic>
      <p:pic>
        <p:nvPicPr>
          <p:cNvPr id="1087" name="Grafik 1086">
            <a:extLst>
              <a:ext uri="{FF2B5EF4-FFF2-40B4-BE49-F238E27FC236}">
                <a16:creationId xmlns:a16="http://schemas.microsoft.com/office/drawing/2014/main" id="{4E6B72D7-D9FF-6510-6AB4-08652F1BB396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7946573" y="4406163"/>
            <a:ext cx="336658" cy="336658"/>
          </a:xfrm>
          <a:prstGeom prst="rect">
            <a:avLst/>
          </a:prstGeom>
        </p:spPr>
      </p:pic>
      <p:pic>
        <p:nvPicPr>
          <p:cNvPr id="1088" name="Grafik 1087">
            <a:extLst>
              <a:ext uri="{FF2B5EF4-FFF2-40B4-BE49-F238E27FC236}">
                <a16:creationId xmlns:a16="http://schemas.microsoft.com/office/drawing/2014/main" id="{49B36E54-DB9C-0B47-A7A0-6B1C536BAF5A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541433" y="5305448"/>
            <a:ext cx="337874" cy="337874"/>
          </a:xfrm>
          <a:prstGeom prst="rect">
            <a:avLst/>
          </a:prstGeom>
        </p:spPr>
      </p:pic>
      <p:pic>
        <p:nvPicPr>
          <p:cNvPr id="1089" name="Grafik 1088">
            <a:extLst>
              <a:ext uri="{FF2B5EF4-FFF2-40B4-BE49-F238E27FC236}">
                <a16:creationId xmlns:a16="http://schemas.microsoft.com/office/drawing/2014/main" id="{A1D3B508-D71F-5481-7C4A-213242EB4E4D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8268319" y="4960809"/>
            <a:ext cx="340629" cy="340629"/>
          </a:xfrm>
          <a:prstGeom prst="rect">
            <a:avLst/>
          </a:prstGeom>
        </p:spPr>
      </p:pic>
      <p:pic>
        <p:nvPicPr>
          <p:cNvPr id="1109" name="Billede 1108">
            <a:extLst>
              <a:ext uri="{FF2B5EF4-FFF2-40B4-BE49-F238E27FC236}">
                <a16:creationId xmlns:a16="http://schemas.microsoft.com/office/drawing/2014/main" id="{0ADC4FAB-E032-93AD-4FF5-0E67739E77F8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 rot="20684350">
            <a:off x="4278541" y="5256328"/>
            <a:ext cx="387624" cy="7962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949116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5ACCE-3D98-C505-179D-9B76A4B7B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627941-79D2-578B-DDA2-5615361410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627941-79D2-578B-DDA2-561536141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C9C6AD52-08E9-270E-0C0E-34626C7E0DED}"/>
              </a:ext>
            </a:extLst>
          </p:cNvPr>
          <p:cNvSpPr>
            <a:spLocks/>
          </p:cNvSpPr>
          <p:nvPr/>
        </p:nvSpPr>
        <p:spPr>
          <a:xfrm>
            <a:off x="282207" y="1854727"/>
            <a:ext cx="5704936" cy="4513713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rgbClr val="0059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0000" tIns="45720" rIns="91440" bIns="45720" rtlCol="0" anchor="ctr"/>
          <a:lstStyle/>
          <a:p>
            <a:pPr fontAlgn="t">
              <a:spcBef>
                <a:spcPts val="600"/>
              </a:spcBef>
            </a:pPr>
            <a:endParaRPr lang="da-DK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2014D31-FC0B-2C2B-E4A8-8A77406A720C}"/>
              </a:ext>
            </a:extLst>
          </p:cNvPr>
          <p:cNvSpPr>
            <a:spLocks/>
          </p:cNvSpPr>
          <p:nvPr/>
        </p:nvSpPr>
        <p:spPr>
          <a:xfrm>
            <a:off x="6520543" y="1804669"/>
            <a:ext cx="5389250" cy="2936517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rgbClr val="0059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0000" tIns="45720" rIns="91440" bIns="45720" rtlCol="0" anchor="ctr"/>
          <a:lstStyle/>
          <a:p>
            <a:pPr fontAlgn="t">
              <a:spcBef>
                <a:spcPts val="600"/>
              </a:spcBef>
            </a:pPr>
            <a:endParaRPr lang="da-DK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Rectangle: Rounded Corners 62">
            <a:extLst>
              <a:ext uri="{FF2B5EF4-FFF2-40B4-BE49-F238E27FC236}">
                <a16:creationId xmlns:a16="http://schemas.microsoft.com/office/drawing/2014/main" id="{DF7BB8B2-F938-94E0-8A57-B8C595D8448A}"/>
              </a:ext>
            </a:extLst>
          </p:cNvPr>
          <p:cNvSpPr/>
          <p:nvPr/>
        </p:nvSpPr>
        <p:spPr>
          <a:xfrm>
            <a:off x="959497" y="1796828"/>
            <a:ext cx="4350356" cy="26150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entralt data via Landsbyggefonde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>
                <a:solidFill>
                  <a:srgbClr val="0059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kumimoji="0" lang="da-DK" sz="1200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og er ikke alt klar endnu)</a:t>
            </a:r>
          </a:p>
        </p:txBody>
      </p:sp>
      <p:sp>
        <p:nvSpPr>
          <p:cNvPr id="30" name="Rectangle: Rounded Corners 62">
            <a:extLst>
              <a:ext uri="{FF2B5EF4-FFF2-40B4-BE49-F238E27FC236}">
                <a16:creationId xmlns:a16="http://schemas.microsoft.com/office/drawing/2014/main" id="{AE65C518-A2E3-A8E0-AD4E-AA0781C2DC00}"/>
              </a:ext>
            </a:extLst>
          </p:cNvPr>
          <p:cNvSpPr/>
          <p:nvPr/>
        </p:nvSpPr>
        <p:spPr>
          <a:xfrm>
            <a:off x="7414943" y="1702713"/>
            <a:ext cx="3600450" cy="29484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/>
                <a:ea typeface="Verdana"/>
              </a:rPr>
              <a:t>Egne Data modul + vejledning</a:t>
            </a:r>
          </a:p>
        </p:txBody>
      </p:sp>
      <p:sp>
        <p:nvSpPr>
          <p:cNvPr id="37" name="Flowchart: Alternate Process 30">
            <a:extLst>
              <a:ext uri="{FF2B5EF4-FFF2-40B4-BE49-F238E27FC236}">
                <a16:creationId xmlns:a16="http://schemas.microsoft.com/office/drawing/2014/main" id="{823CD99C-4B81-51FE-0834-1A25E9B29B3C}"/>
              </a:ext>
            </a:extLst>
          </p:cNvPr>
          <p:cNvSpPr/>
          <p:nvPr/>
        </p:nvSpPr>
        <p:spPr>
          <a:xfrm>
            <a:off x="905144" y="2265801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Klimaaftryk</a:t>
            </a:r>
          </a:p>
        </p:txBody>
      </p:sp>
      <p:sp>
        <p:nvSpPr>
          <p:cNvPr id="41" name="Flowchart: Alternate Process 30">
            <a:extLst>
              <a:ext uri="{FF2B5EF4-FFF2-40B4-BE49-F238E27FC236}">
                <a16:creationId xmlns:a16="http://schemas.microsoft.com/office/drawing/2014/main" id="{437F802F-0F72-D889-2547-CCB90511C31E}"/>
              </a:ext>
            </a:extLst>
          </p:cNvPr>
          <p:cNvSpPr/>
          <p:nvPr/>
        </p:nvSpPr>
        <p:spPr>
          <a:xfrm>
            <a:off x="905144" y="2565467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nergiforbrug</a:t>
            </a:r>
          </a:p>
        </p:txBody>
      </p:sp>
      <p:sp>
        <p:nvSpPr>
          <p:cNvPr id="42" name="Flowchart: Alternate Process 30">
            <a:extLst>
              <a:ext uri="{FF2B5EF4-FFF2-40B4-BE49-F238E27FC236}">
                <a16:creationId xmlns:a16="http://schemas.microsoft.com/office/drawing/2014/main" id="{E88BCF2E-5A05-C6DC-6187-A1F186CB8454}"/>
              </a:ext>
            </a:extLst>
          </p:cNvPr>
          <p:cNvSpPr/>
          <p:nvPr/>
        </p:nvSpPr>
        <p:spPr>
          <a:xfrm>
            <a:off x="912931" y="2832860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nergimærkning</a:t>
            </a:r>
          </a:p>
        </p:txBody>
      </p:sp>
      <p:sp>
        <p:nvSpPr>
          <p:cNvPr id="50" name="Flowchart: Alternate Process 30">
            <a:extLst>
              <a:ext uri="{FF2B5EF4-FFF2-40B4-BE49-F238E27FC236}">
                <a16:creationId xmlns:a16="http://schemas.microsoft.com/office/drawing/2014/main" id="{8B4CECDE-315D-3ACC-4DB9-618F00A47E98}"/>
              </a:ext>
            </a:extLst>
          </p:cNvPr>
          <p:cNvSpPr/>
          <p:nvPr/>
        </p:nvSpPr>
        <p:spPr>
          <a:xfrm>
            <a:off x="905144" y="3119697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årbarhed for klimaændringer </a:t>
            </a:r>
          </a:p>
        </p:txBody>
      </p:sp>
      <p:sp>
        <p:nvSpPr>
          <p:cNvPr id="78" name="Flowchart: Alternate Process 30">
            <a:extLst>
              <a:ext uri="{FF2B5EF4-FFF2-40B4-BE49-F238E27FC236}">
                <a16:creationId xmlns:a16="http://schemas.microsoft.com/office/drawing/2014/main" id="{47661D45-3C01-3EFF-F67C-36F7580C8B82}"/>
              </a:ext>
            </a:extLst>
          </p:cNvPr>
          <p:cNvSpPr/>
          <p:nvPr/>
        </p:nvSpPr>
        <p:spPr>
          <a:xfrm>
            <a:off x="7730279" y="5578543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iodiversitet (metode ikke udviklet)</a:t>
            </a:r>
          </a:p>
        </p:txBody>
      </p:sp>
      <p:sp>
        <p:nvSpPr>
          <p:cNvPr id="94" name="Flowchart: Alternate Process 30">
            <a:extLst>
              <a:ext uri="{FF2B5EF4-FFF2-40B4-BE49-F238E27FC236}">
                <a16:creationId xmlns:a16="http://schemas.microsoft.com/office/drawing/2014/main" id="{99B5D913-89F2-908D-D13A-EE1DED39B66F}"/>
              </a:ext>
            </a:extLst>
          </p:cNvPr>
          <p:cNvSpPr/>
          <p:nvPr/>
        </p:nvSpPr>
        <p:spPr>
          <a:xfrm>
            <a:off x="7760976" y="5894354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35995" bIns="45720" rtlCol="0" anchor="ctr"/>
          <a:lstStyle/>
          <a:p>
            <a:pPr defTabSz="914309"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/>
              </a:rPr>
              <a:t>Affald</a:t>
            </a:r>
            <a:r>
              <a:rPr lang="da-DK" sz="1000" b="1">
                <a:solidFill>
                  <a:schemeClr val="tx1"/>
                </a:solidFill>
                <a:latin typeface="Verdana"/>
                <a:ea typeface="Verdana"/>
              </a:rPr>
              <a:t> (metode ikke udviklet)</a:t>
            </a:r>
            <a:endParaRPr kumimoji="0" lang="da-DK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CA45CD8E-E64E-7C16-0A0B-4E06E0A36896}"/>
              </a:ext>
            </a:extLst>
          </p:cNvPr>
          <p:cNvGrpSpPr/>
          <p:nvPr/>
        </p:nvGrpSpPr>
        <p:grpSpPr>
          <a:xfrm>
            <a:off x="661033" y="2264140"/>
            <a:ext cx="211713" cy="237646"/>
            <a:chOff x="352088" y="2235494"/>
            <a:chExt cx="323837" cy="363503"/>
          </a:xfrm>
        </p:grpSpPr>
        <p:sp>
          <p:nvSpPr>
            <p:cNvPr id="126" name="Freeform: Shape 328">
              <a:extLst>
                <a:ext uri="{FF2B5EF4-FFF2-40B4-BE49-F238E27FC236}">
                  <a16:creationId xmlns:a16="http://schemas.microsoft.com/office/drawing/2014/main" id="{090F9C80-D2EB-0381-8516-05FA80906727}"/>
                </a:ext>
              </a:extLst>
            </p:cNvPr>
            <p:cNvSpPr/>
            <p:nvPr/>
          </p:nvSpPr>
          <p:spPr>
            <a:xfrm>
              <a:off x="356051" y="2295547"/>
              <a:ext cx="304349" cy="303450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34" name="Graphic 133">
              <a:extLst>
                <a:ext uri="{FF2B5EF4-FFF2-40B4-BE49-F238E27FC236}">
                  <a16:creationId xmlns:a16="http://schemas.microsoft.com/office/drawing/2014/main" id="{F8ADDE20-3457-B3E9-0465-783531B93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52088" y="2235494"/>
              <a:ext cx="323837" cy="267517"/>
            </a:xfrm>
            <a:prstGeom prst="rect">
              <a:avLst/>
            </a:prstGeom>
          </p:spPr>
        </p:pic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D04DB684-D485-02DB-8B22-B15C22DCB0F4}"/>
              </a:ext>
            </a:extLst>
          </p:cNvPr>
          <p:cNvGrpSpPr/>
          <p:nvPr/>
        </p:nvGrpSpPr>
        <p:grpSpPr>
          <a:xfrm>
            <a:off x="663368" y="2553332"/>
            <a:ext cx="206428" cy="232967"/>
            <a:chOff x="356051" y="3110159"/>
            <a:chExt cx="315753" cy="356346"/>
          </a:xfrm>
        </p:grpSpPr>
        <p:sp>
          <p:nvSpPr>
            <p:cNvPr id="130" name="Freeform: Shape 328">
              <a:extLst>
                <a:ext uri="{FF2B5EF4-FFF2-40B4-BE49-F238E27FC236}">
                  <a16:creationId xmlns:a16="http://schemas.microsoft.com/office/drawing/2014/main" id="{C17AFB6C-FD44-6E31-B4DF-7B64F83ED337}"/>
                </a:ext>
              </a:extLst>
            </p:cNvPr>
            <p:cNvSpPr/>
            <p:nvPr/>
          </p:nvSpPr>
          <p:spPr>
            <a:xfrm>
              <a:off x="356051" y="3163055"/>
              <a:ext cx="304349" cy="303450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35" name="Graphic 134">
              <a:extLst>
                <a:ext uri="{FF2B5EF4-FFF2-40B4-BE49-F238E27FC236}">
                  <a16:creationId xmlns:a16="http://schemas.microsoft.com/office/drawing/2014/main" id="{E3E4778A-0C33-9D19-71DA-F8A4D5739F4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6415" y="3110159"/>
              <a:ext cx="315389" cy="312573"/>
            </a:xfrm>
            <a:prstGeom prst="rect">
              <a:avLst/>
            </a:prstGeom>
          </p:spPr>
        </p:pic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66C2B74-D873-4DAD-4F1F-005130626CD6}"/>
              </a:ext>
            </a:extLst>
          </p:cNvPr>
          <p:cNvGrpSpPr/>
          <p:nvPr/>
        </p:nvGrpSpPr>
        <p:grpSpPr>
          <a:xfrm>
            <a:off x="678185" y="3115290"/>
            <a:ext cx="202173" cy="258613"/>
            <a:chOff x="351156" y="4579299"/>
            <a:chExt cx="309244" cy="395575"/>
          </a:xfrm>
        </p:grpSpPr>
        <p:sp>
          <p:nvSpPr>
            <p:cNvPr id="132" name="Freeform: Shape 328">
              <a:extLst>
                <a:ext uri="{FF2B5EF4-FFF2-40B4-BE49-F238E27FC236}">
                  <a16:creationId xmlns:a16="http://schemas.microsoft.com/office/drawing/2014/main" id="{B9C6870C-05D7-F148-48CA-9AC7FF31B36D}"/>
                </a:ext>
              </a:extLst>
            </p:cNvPr>
            <p:cNvSpPr/>
            <p:nvPr/>
          </p:nvSpPr>
          <p:spPr>
            <a:xfrm>
              <a:off x="356051" y="4671424"/>
              <a:ext cx="304349" cy="303450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36" name="Graphic 135">
              <a:extLst>
                <a:ext uri="{FF2B5EF4-FFF2-40B4-BE49-F238E27FC236}">
                  <a16:creationId xmlns:a16="http://schemas.microsoft.com/office/drawing/2014/main" id="{B68BF7AB-E9D4-6847-5016-527315B379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51156" y="4579299"/>
              <a:ext cx="275965" cy="323837"/>
            </a:xfrm>
            <a:prstGeom prst="rect">
              <a:avLst/>
            </a:prstGeom>
          </p:spPr>
        </p:pic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EE8A54A3-0BC4-BE3C-3D47-3FE69B0E16F5}"/>
              </a:ext>
            </a:extLst>
          </p:cNvPr>
          <p:cNvGrpSpPr/>
          <p:nvPr/>
        </p:nvGrpSpPr>
        <p:grpSpPr>
          <a:xfrm>
            <a:off x="7491263" y="5577532"/>
            <a:ext cx="201523" cy="207761"/>
            <a:chOff x="356051" y="5251050"/>
            <a:chExt cx="308251" cy="317793"/>
          </a:xfrm>
        </p:grpSpPr>
        <p:sp>
          <p:nvSpPr>
            <p:cNvPr id="133" name="Freeform: Shape 328">
              <a:extLst>
                <a:ext uri="{FF2B5EF4-FFF2-40B4-BE49-F238E27FC236}">
                  <a16:creationId xmlns:a16="http://schemas.microsoft.com/office/drawing/2014/main" id="{608FE165-77BC-E75C-1A35-0C3D17C0516A}"/>
                </a:ext>
              </a:extLst>
            </p:cNvPr>
            <p:cNvSpPr/>
            <p:nvPr/>
          </p:nvSpPr>
          <p:spPr>
            <a:xfrm>
              <a:off x="356051" y="5265393"/>
              <a:ext cx="304349" cy="303450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37" name="Graphic 136">
              <a:extLst>
                <a:ext uri="{FF2B5EF4-FFF2-40B4-BE49-F238E27FC236}">
                  <a16:creationId xmlns:a16="http://schemas.microsoft.com/office/drawing/2014/main" id="{FC4110D5-85A6-2826-30D0-E79109B4B2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57361" y="5251050"/>
              <a:ext cx="306941" cy="315389"/>
            </a:xfrm>
            <a:prstGeom prst="rect">
              <a:avLst/>
            </a:prstGeom>
          </p:spPr>
        </p:pic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F4E3C563-47E1-FF3E-3B54-0E559C24D4FB}"/>
              </a:ext>
            </a:extLst>
          </p:cNvPr>
          <p:cNvGrpSpPr/>
          <p:nvPr/>
        </p:nvGrpSpPr>
        <p:grpSpPr>
          <a:xfrm>
            <a:off x="680420" y="2837584"/>
            <a:ext cx="168316" cy="200946"/>
            <a:chOff x="356051" y="3823582"/>
            <a:chExt cx="304349" cy="363351"/>
          </a:xfrm>
        </p:grpSpPr>
        <p:sp>
          <p:nvSpPr>
            <p:cNvPr id="131" name="Freeform: Shape 328">
              <a:extLst>
                <a:ext uri="{FF2B5EF4-FFF2-40B4-BE49-F238E27FC236}">
                  <a16:creationId xmlns:a16="http://schemas.microsoft.com/office/drawing/2014/main" id="{AE634AEF-10AE-EBD1-B042-B13D8487F90D}"/>
                </a:ext>
              </a:extLst>
            </p:cNvPr>
            <p:cNvSpPr/>
            <p:nvPr/>
          </p:nvSpPr>
          <p:spPr>
            <a:xfrm>
              <a:off x="356051" y="3883483"/>
              <a:ext cx="304349" cy="303450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38" name="Grafik 20">
              <a:extLst>
                <a:ext uri="{FF2B5EF4-FFF2-40B4-BE49-F238E27FC236}">
                  <a16:creationId xmlns:a16="http://schemas.microsoft.com/office/drawing/2014/main" id="{FE173F4E-C228-5061-1775-4B128DA1D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62338" y="3823582"/>
              <a:ext cx="298062" cy="349767"/>
            </a:xfrm>
            <a:prstGeom prst="rect">
              <a:avLst/>
            </a:prstGeom>
          </p:spPr>
        </p:pic>
      </p:grpSp>
      <p:sp>
        <p:nvSpPr>
          <p:cNvPr id="145" name="Flowchart: Alternate Process 30">
            <a:extLst>
              <a:ext uri="{FF2B5EF4-FFF2-40B4-BE49-F238E27FC236}">
                <a16:creationId xmlns:a16="http://schemas.microsoft.com/office/drawing/2014/main" id="{F7326C85-46CB-851F-A2E1-74C23BA2AE56}"/>
              </a:ext>
            </a:extLst>
          </p:cNvPr>
          <p:cNvSpPr/>
          <p:nvPr/>
        </p:nvSpPr>
        <p:spPr>
          <a:xfrm>
            <a:off x="7414943" y="2339471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35995" bIns="45720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b="1">
                <a:solidFill>
                  <a:schemeClr val="tx1"/>
                </a:solidFill>
                <a:latin typeface="Verdana"/>
                <a:ea typeface="Verdana"/>
              </a:rPr>
              <a:t>Medarbejdersammensætning</a:t>
            </a:r>
            <a:endParaRPr kumimoji="0" lang="da-DK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46" name="Flowchart: Alternate Process 30">
            <a:extLst>
              <a:ext uri="{FF2B5EF4-FFF2-40B4-BE49-F238E27FC236}">
                <a16:creationId xmlns:a16="http://schemas.microsoft.com/office/drawing/2014/main" id="{FC145DD4-DE92-062C-7970-FE25B99921D6}"/>
              </a:ext>
            </a:extLst>
          </p:cNvPr>
          <p:cNvSpPr/>
          <p:nvPr/>
        </p:nvSpPr>
        <p:spPr>
          <a:xfrm>
            <a:off x="7414943" y="2650415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edarbejdertrivsel</a:t>
            </a:r>
          </a:p>
        </p:txBody>
      </p:sp>
      <p:sp>
        <p:nvSpPr>
          <p:cNvPr id="156" name="Flowchart: Alternate Process 30">
            <a:extLst>
              <a:ext uri="{FF2B5EF4-FFF2-40B4-BE49-F238E27FC236}">
                <a16:creationId xmlns:a16="http://schemas.microsoft.com/office/drawing/2014/main" id="{830C799B-5863-0ACE-FF64-F3DF54D08BAB}"/>
              </a:ext>
            </a:extLst>
          </p:cNvPr>
          <p:cNvSpPr/>
          <p:nvPr/>
        </p:nvSpPr>
        <p:spPr>
          <a:xfrm>
            <a:off x="926143" y="3381213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lmenboligers betalbarhed</a:t>
            </a:r>
          </a:p>
        </p:txBody>
      </p:sp>
      <p:sp>
        <p:nvSpPr>
          <p:cNvPr id="157" name="Flowchart: Alternate Process 30">
            <a:extLst>
              <a:ext uri="{FF2B5EF4-FFF2-40B4-BE49-F238E27FC236}">
                <a16:creationId xmlns:a16="http://schemas.microsoft.com/office/drawing/2014/main" id="{6AB03297-4E55-1A12-A809-0B7A06C6CA96}"/>
              </a:ext>
            </a:extLst>
          </p:cNvPr>
          <p:cNvSpPr/>
          <p:nvPr/>
        </p:nvSpPr>
        <p:spPr>
          <a:xfrm>
            <a:off x="931332" y="3685231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ndel af almene boliger i området</a:t>
            </a:r>
          </a:p>
        </p:txBody>
      </p:sp>
      <p:sp>
        <p:nvSpPr>
          <p:cNvPr id="158" name="Flowchart: Alternate Process 30">
            <a:extLst>
              <a:ext uri="{FF2B5EF4-FFF2-40B4-BE49-F238E27FC236}">
                <a16:creationId xmlns:a16="http://schemas.microsoft.com/office/drawing/2014/main" id="{391CC9A9-5263-B308-7283-5AF051885BE9}"/>
              </a:ext>
            </a:extLst>
          </p:cNvPr>
          <p:cNvSpPr/>
          <p:nvPr/>
        </p:nvSpPr>
        <p:spPr>
          <a:xfrm>
            <a:off x="905144" y="3968135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dgang til services</a:t>
            </a:r>
          </a:p>
        </p:txBody>
      </p:sp>
      <p:sp>
        <p:nvSpPr>
          <p:cNvPr id="169" name="Flowchart: Alternate Process 30">
            <a:extLst>
              <a:ext uri="{FF2B5EF4-FFF2-40B4-BE49-F238E27FC236}">
                <a16:creationId xmlns:a16="http://schemas.microsoft.com/office/drawing/2014/main" id="{5B03096E-1E19-2220-F4F5-AD82120980E0}"/>
              </a:ext>
            </a:extLst>
          </p:cNvPr>
          <p:cNvSpPr/>
          <p:nvPr/>
        </p:nvSpPr>
        <p:spPr>
          <a:xfrm>
            <a:off x="919442" y="5576192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eboerdemokrati</a:t>
            </a:r>
            <a:endParaRPr kumimoji="0" lang="da-DK" sz="8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0" name="Flowchart: Alternate Process 30">
            <a:extLst>
              <a:ext uri="{FF2B5EF4-FFF2-40B4-BE49-F238E27FC236}">
                <a16:creationId xmlns:a16="http://schemas.microsoft.com/office/drawing/2014/main" id="{6DC67E82-B41E-B8E1-E890-F3B6C9946E87}"/>
              </a:ext>
            </a:extLst>
          </p:cNvPr>
          <p:cNvSpPr/>
          <p:nvPr/>
        </p:nvSpPr>
        <p:spPr>
          <a:xfrm>
            <a:off x="915920" y="5924475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rivillighed</a:t>
            </a:r>
          </a:p>
        </p:txBody>
      </p:sp>
      <p:sp>
        <p:nvSpPr>
          <p:cNvPr id="172" name="Flowchart: Alternate Process 30">
            <a:extLst>
              <a:ext uri="{FF2B5EF4-FFF2-40B4-BE49-F238E27FC236}">
                <a16:creationId xmlns:a16="http://schemas.microsoft.com/office/drawing/2014/main" id="{BBCE9A2D-9592-43FF-FC0D-22C66D036CE4}"/>
              </a:ext>
            </a:extLst>
          </p:cNvPr>
          <p:cNvSpPr/>
          <p:nvPr/>
        </p:nvSpPr>
        <p:spPr>
          <a:xfrm>
            <a:off x="923707" y="5236547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Økonomistyring</a:t>
            </a:r>
          </a:p>
        </p:txBody>
      </p:sp>
      <p:sp>
        <p:nvSpPr>
          <p:cNvPr id="173" name="Flowchart: Alternate Process 30">
            <a:extLst>
              <a:ext uri="{FF2B5EF4-FFF2-40B4-BE49-F238E27FC236}">
                <a16:creationId xmlns:a16="http://schemas.microsoft.com/office/drawing/2014/main" id="{9F9B3520-2890-2C78-0CAE-637882B97368}"/>
              </a:ext>
            </a:extLst>
          </p:cNvPr>
          <p:cNvSpPr/>
          <p:nvPr/>
        </p:nvSpPr>
        <p:spPr>
          <a:xfrm>
            <a:off x="7359111" y="4155798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verholdelse af regulering</a:t>
            </a:r>
          </a:p>
        </p:txBody>
      </p:sp>
      <p:sp>
        <p:nvSpPr>
          <p:cNvPr id="175" name="Flowchart: Alternate Process 30">
            <a:extLst>
              <a:ext uri="{FF2B5EF4-FFF2-40B4-BE49-F238E27FC236}">
                <a16:creationId xmlns:a16="http://schemas.microsoft.com/office/drawing/2014/main" id="{03D83C95-6300-770A-CAA6-8B998DF095D3}"/>
              </a:ext>
            </a:extLst>
          </p:cNvPr>
          <p:cNvSpPr/>
          <p:nvPr/>
        </p:nvSpPr>
        <p:spPr>
          <a:xfrm>
            <a:off x="7364585" y="3266938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olitikker og praksis</a:t>
            </a:r>
          </a:p>
        </p:txBody>
      </p:sp>
      <p:sp>
        <p:nvSpPr>
          <p:cNvPr id="176" name="Flowchart: Alternate Process 30">
            <a:extLst>
              <a:ext uri="{FF2B5EF4-FFF2-40B4-BE49-F238E27FC236}">
                <a16:creationId xmlns:a16="http://schemas.microsoft.com/office/drawing/2014/main" id="{50E8258B-ECA0-E0EE-1419-6AEBCF8CFE07}"/>
              </a:ext>
            </a:extLst>
          </p:cNvPr>
          <p:cNvSpPr/>
          <p:nvPr/>
        </p:nvSpPr>
        <p:spPr>
          <a:xfrm>
            <a:off x="7387592" y="3562981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ociale klausuler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A5EE9003-3259-E87A-0938-7AAC2E72779A}"/>
              </a:ext>
            </a:extLst>
          </p:cNvPr>
          <p:cNvGrpSpPr/>
          <p:nvPr/>
        </p:nvGrpSpPr>
        <p:grpSpPr>
          <a:xfrm>
            <a:off x="634030" y="3365019"/>
            <a:ext cx="269289" cy="294139"/>
            <a:chOff x="4391901" y="3636579"/>
            <a:chExt cx="302012" cy="329881"/>
          </a:xfrm>
        </p:grpSpPr>
        <p:sp>
          <p:nvSpPr>
            <p:cNvPr id="177" name="Freeform: Shape 327">
              <a:extLst>
                <a:ext uri="{FF2B5EF4-FFF2-40B4-BE49-F238E27FC236}">
                  <a16:creationId xmlns:a16="http://schemas.microsoft.com/office/drawing/2014/main" id="{499AA3A1-3E1B-11C9-9797-879C7A8F558A}"/>
                </a:ext>
              </a:extLst>
            </p:cNvPr>
            <p:cNvSpPr/>
            <p:nvPr/>
          </p:nvSpPr>
          <p:spPr>
            <a:xfrm>
              <a:off x="4417394" y="3725526"/>
              <a:ext cx="242648" cy="240934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80" name="Graphic 50">
              <a:extLst>
                <a:ext uri="{FF2B5EF4-FFF2-40B4-BE49-F238E27FC236}">
                  <a16:creationId xmlns:a16="http://schemas.microsoft.com/office/drawing/2014/main" id="{CFE1A4F7-B28A-0ACD-4125-EA199193BB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4391901" y="3636579"/>
              <a:ext cx="302012" cy="302011"/>
            </a:xfrm>
            <a:prstGeom prst="rect">
              <a:avLst/>
            </a:prstGeom>
          </p:spPr>
        </p:pic>
      </p:grpSp>
      <p:sp>
        <p:nvSpPr>
          <p:cNvPr id="178" name="Freeform: Shape 327">
            <a:extLst>
              <a:ext uri="{FF2B5EF4-FFF2-40B4-BE49-F238E27FC236}">
                <a16:creationId xmlns:a16="http://schemas.microsoft.com/office/drawing/2014/main" id="{BDF90E60-7A87-1580-8358-22811F46DABF}"/>
              </a:ext>
            </a:extLst>
          </p:cNvPr>
          <p:cNvSpPr/>
          <p:nvPr/>
        </p:nvSpPr>
        <p:spPr>
          <a:xfrm>
            <a:off x="646874" y="3713480"/>
            <a:ext cx="216357" cy="214829"/>
          </a:xfrm>
          <a:custGeom>
            <a:avLst/>
            <a:gdLst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944902 w 4469152"/>
              <a:gd name="connsiteY150" fmla="*/ 476250 h 4496940"/>
              <a:gd name="connsiteX151" fmla="*/ 1087777 w 4469152"/>
              <a:gd name="connsiteY151" fmla="*/ 409575 h 4496940"/>
              <a:gd name="connsiteX152" fmla="*/ 1202077 w 4469152"/>
              <a:gd name="connsiteY152" fmla="*/ 314325 h 4496940"/>
              <a:gd name="connsiteX153" fmla="*/ 1268752 w 4469152"/>
              <a:gd name="connsiteY153" fmla="*/ 285750 h 4496940"/>
              <a:gd name="connsiteX154" fmla="*/ 1411627 w 4469152"/>
              <a:gd name="connsiteY154" fmla="*/ 190500 h 4496940"/>
              <a:gd name="connsiteX155" fmla="*/ 1449727 w 4469152"/>
              <a:gd name="connsiteY155" fmla="*/ 161925 h 4496940"/>
              <a:gd name="connsiteX156" fmla="*/ 1525927 w 4469152"/>
              <a:gd name="connsiteY156" fmla="*/ 152400 h 4496940"/>
              <a:gd name="connsiteX157" fmla="*/ 1583077 w 4469152"/>
              <a:gd name="connsiteY157" fmla="*/ 142875 h 4496940"/>
              <a:gd name="connsiteX158" fmla="*/ 1716427 w 4469152"/>
              <a:gd name="connsiteY158" fmla="*/ 123825 h 4496940"/>
              <a:gd name="connsiteX159" fmla="*/ 1811677 w 4469152"/>
              <a:gd name="connsiteY159" fmla="*/ 114300 h 4496940"/>
              <a:gd name="connsiteX160" fmla="*/ 1859302 w 4469152"/>
              <a:gd name="connsiteY160" fmla="*/ 104775 h 4496940"/>
              <a:gd name="connsiteX161" fmla="*/ 1916452 w 4469152"/>
              <a:gd name="connsiteY161" fmla="*/ 95250 h 4496940"/>
              <a:gd name="connsiteX162" fmla="*/ 2030752 w 4469152"/>
              <a:gd name="connsiteY162" fmla="*/ 66675 h 4496940"/>
              <a:gd name="connsiteX163" fmla="*/ 2097427 w 4469152"/>
              <a:gd name="connsiteY163" fmla="*/ 47625 h 4496940"/>
              <a:gd name="connsiteX164" fmla="*/ 2164102 w 4469152"/>
              <a:gd name="connsiteY164" fmla="*/ 38100 h 4496940"/>
              <a:gd name="connsiteX165" fmla="*/ 2392702 w 4469152"/>
              <a:gd name="connsiteY165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087777 w 4469152"/>
              <a:gd name="connsiteY150" fmla="*/ 409575 h 4496940"/>
              <a:gd name="connsiteX151" fmla="*/ 1202077 w 4469152"/>
              <a:gd name="connsiteY151" fmla="*/ 314325 h 4496940"/>
              <a:gd name="connsiteX152" fmla="*/ 1268752 w 4469152"/>
              <a:gd name="connsiteY152" fmla="*/ 285750 h 4496940"/>
              <a:gd name="connsiteX153" fmla="*/ 1411627 w 4469152"/>
              <a:gd name="connsiteY153" fmla="*/ 190500 h 4496940"/>
              <a:gd name="connsiteX154" fmla="*/ 1449727 w 4469152"/>
              <a:gd name="connsiteY154" fmla="*/ 161925 h 4496940"/>
              <a:gd name="connsiteX155" fmla="*/ 1525927 w 4469152"/>
              <a:gd name="connsiteY155" fmla="*/ 152400 h 4496940"/>
              <a:gd name="connsiteX156" fmla="*/ 1583077 w 4469152"/>
              <a:gd name="connsiteY156" fmla="*/ 142875 h 4496940"/>
              <a:gd name="connsiteX157" fmla="*/ 1716427 w 4469152"/>
              <a:gd name="connsiteY157" fmla="*/ 123825 h 4496940"/>
              <a:gd name="connsiteX158" fmla="*/ 1811677 w 4469152"/>
              <a:gd name="connsiteY158" fmla="*/ 114300 h 4496940"/>
              <a:gd name="connsiteX159" fmla="*/ 1859302 w 4469152"/>
              <a:gd name="connsiteY159" fmla="*/ 104775 h 4496940"/>
              <a:gd name="connsiteX160" fmla="*/ 1916452 w 4469152"/>
              <a:gd name="connsiteY160" fmla="*/ 95250 h 4496940"/>
              <a:gd name="connsiteX161" fmla="*/ 2030752 w 4469152"/>
              <a:gd name="connsiteY161" fmla="*/ 66675 h 4496940"/>
              <a:gd name="connsiteX162" fmla="*/ 2097427 w 4469152"/>
              <a:gd name="connsiteY162" fmla="*/ 47625 h 4496940"/>
              <a:gd name="connsiteX163" fmla="*/ 2164102 w 4469152"/>
              <a:gd name="connsiteY163" fmla="*/ 38100 h 4496940"/>
              <a:gd name="connsiteX164" fmla="*/ 2392702 w 4469152"/>
              <a:gd name="connsiteY164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02077 w 4469152"/>
              <a:gd name="connsiteY150" fmla="*/ 314325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68752 w 4469152"/>
              <a:gd name="connsiteY150" fmla="*/ 285750 h 4496940"/>
              <a:gd name="connsiteX151" fmla="*/ 1411627 w 4469152"/>
              <a:gd name="connsiteY151" fmla="*/ 190500 h 4496940"/>
              <a:gd name="connsiteX152" fmla="*/ 1449727 w 4469152"/>
              <a:gd name="connsiteY152" fmla="*/ 161925 h 4496940"/>
              <a:gd name="connsiteX153" fmla="*/ 1525927 w 4469152"/>
              <a:gd name="connsiteY153" fmla="*/ 152400 h 4496940"/>
              <a:gd name="connsiteX154" fmla="*/ 1583077 w 4469152"/>
              <a:gd name="connsiteY154" fmla="*/ 142875 h 4496940"/>
              <a:gd name="connsiteX155" fmla="*/ 1716427 w 4469152"/>
              <a:gd name="connsiteY155" fmla="*/ 123825 h 4496940"/>
              <a:gd name="connsiteX156" fmla="*/ 1811677 w 4469152"/>
              <a:gd name="connsiteY156" fmla="*/ 114300 h 4496940"/>
              <a:gd name="connsiteX157" fmla="*/ 1859302 w 4469152"/>
              <a:gd name="connsiteY157" fmla="*/ 104775 h 4496940"/>
              <a:gd name="connsiteX158" fmla="*/ 1916452 w 4469152"/>
              <a:gd name="connsiteY158" fmla="*/ 95250 h 4496940"/>
              <a:gd name="connsiteX159" fmla="*/ 2030752 w 4469152"/>
              <a:gd name="connsiteY159" fmla="*/ 66675 h 4496940"/>
              <a:gd name="connsiteX160" fmla="*/ 2097427 w 4469152"/>
              <a:gd name="connsiteY160" fmla="*/ 47625 h 4496940"/>
              <a:gd name="connsiteX161" fmla="*/ 2164102 w 4469152"/>
              <a:gd name="connsiteY161" fmla="*/ 38100 h 4496940"/>
              <a:gd name="connsiteX162" fmla="*/ 2392702 w 4469152"/>
              <a:gd name="connsiteY162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167152 w 4469152"/>
              <a:gd name="connsiteY150" fmla="*/ 311150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40577 w 4519952"/>
              <a:gd name="connsiteY46" fmla="*/ 1762125 h 4496940"/>
              <a:gd name="connsiteX47" fmla="*/ 4459627 w 4519952"/>
              <a:gd name="connsiteY47" fmla="*/ 1828800 h 4496940"/>
              <a:gd name="connsiteX48" fmla="*/ 4519952 w 4519952"/>
              <a:gd name="connsiteY48" fmla="*/ 2181225 h 4496940"/>
              <a:gd name="connsiteX49" fmla="*/ 4440577 w 4519952"/>
              <a:gd name="connsiteY49" fmla="*/ 2876550 h 4496940"/>
              <a:gd name="connsiteX50" fmla="*/ 4383427 w 4519952"/>
              <a:gd name="connsiteY50" fmla="*/ 2990850 h 4496940"/>
              <a:gd name="connsiteX51" fmla="*/ 4354852 w 4519952"/>
              <a:gd name="connsiteY51" fmla="*/ 3057525 h 4496940"/>
              <a:gd name="connsiteX52" fmla="*/ 4335802 w 4519952"/>
              <a:gd name="connsiteY52" fmla="*/ 3095625 h 4496940"/>
              <a:gd name="connsiteX53" fmla="*/ 4278652 w 4519952"/>
              <a:gd name="connsiteY53" fmla="*/ 3248025 h 4496940"/>
              <a:gd name="connsiteX54" fmla="*/ 4259602 w 4519952"/>
              <a:gd name="connsiteY54" fmla="*/ 3276600 h 4496940"/>
              <a:gd name="connsiteX55" fmla="*/ 4221502 w 4519952"/>
              <a:gd name="connsiteY55" fmla="*/ 3333750 h 4496940"/>
              <a:gd name="connsiteX56" fmla="*/ 4211977 w 4519952"/>
              <a:gd name="connsiteY56" fmla="*/ 3362325 h 4496940"/>
              <a:gd name="connsiteX57" fmla="*/ 4183402 w 4519952"/>
              <a:gd name="connsiteY57" fmla="*/ 3400425 h 4496940"/>
              <a:gd name="connsiteX58" fmla="*/ 4164352 w 4519952"/>
              <a:gd name="connsiteY58" fmla="*/ 3429000 h 4496940"/>
              <a:gd name="connsiteX59" fmla="*/ 4088152 w 4519952"/>
              <a:gd name="connsiteY59" fmla="*/ 3495675 h 4496940"/>
              <a:gd name="connsiteX60" fmla="*/ 4059577 w 4519952"/>
              <a:gd name="connsiteY60" fmla="*/ 3533775 h 4496940"/>
              <a:gd name="connsiteX61" fmla="*/ 4002427 w 4519952"/>
              <a:gd name="connsiteY61" fmla="*/ 3600450 h 4496940"/>
              <a:gd name="connsiteX62" fmla="*/ 3983377 w 4519952"/>
              <a:gd name="connsiteY62" fmla="*/ 3629025 h 4496940"/>
              <a:gd name="connsiteX63" fmla="*/ 3954802 w 4519952"/>
              <a:gd name="connsiteY63" fmla="*/ 3648075 h 4496940"/>
              <a:gd name="connsiteX64" fmla="*/ 3907177 w 4519952"/>
              <a:gd name="connsiteY64" fmla="*/ 3686175 h 4496940"/>
              <a:gd name="connsiteX65" fmla="*/ 3869077 w 4519952"/>
              <a:gd name="connsiteY65" fmla="*/ 3724275 h 4496940"/>
              <a:gd name="connsiteX66" fmla="*/ 3792877 w 4519952"/>
              <a:gd name="connsiteY66" fmla="*/ 3781425 h 4496940"/>
              <a:gd name="connsiteX67" fmla="*/ 3783352 w 4519952"/>
              <a:gd name="connsiteY67" fmla="*/ 3810000 h 4496940"/>
              <a:gd name="connsiteX68" fmla="*/ 3745252 w 4519952"/>
              <a:gd name="connsiteY68" fmla="*/ 3819525 h 4496940"/>
              <a:gd name="connsiteX69" fmla="*/ 3678577 w 4519952"/>
              <a:gd name="connsiteY69" fmla="*/ 3848100 h 4496940"/>
              <a:gd name="connsiteX70" fmla="*/ 3659527 w 4519952"/>
              <a:gd name="connsiteY70" fmla="*/ 3971925 h 4496940"/>
              <a:gd name="connsiteX71" fmla="*/ 3630952 w 4519952"/>
              <a:gd name="connsiteY71" fmla="*/ 4010025 h 4496940"/>
              <a:gd name="connsiteX72" fmla="*/ 3621427 w 4519952"/>
              <a:gd name="connsiteY72" fmla="*/ 4038600 h 4496940"/>
              <a:gd name="connsiteX73" fmla="*/ 3554752 w 4519952"/>
              <a:gd name="connsiteY73" fmla="*/ 4095750 h 4496940"/>
              <a:gd name="connsiteX74" fmla="*/ 3516652 w 4519952"/>
              <a:gd name="connsiteY74" fmla="*/ 4114800 h 4496940"/>
              <a:gd name="connsiteX75" fmla="*/ 3497602 w 4519952"/>
              <a:gd name="connsiteY75" fmla="*/ 4143375 h 4496940"/>
              <a:gd name="connsiteX76" fmla="*/ 3383302 w 4519952"/>
              <a:gd name="connsiteY76" fmla="*/ 4210050 h 4496940"/>
              <a:gd name="connsiteX77" fmla="*/ 3335677 w 4519952"/>
              <a:gd name="connsiteY77" fmla="*/ 4238625 h 4496940"/>
              <a:gd name="connsiteX78" fmla="*/ 3288052 w 4519952"/>
              <a:gd name="connsiteY78" fmla="*/ 4248150 h 4496940"/>
              <a:gd name="connsiteX79" fmla="*/ 3240427 w 4519952"/>
              <a:gd name="connsiteY79" fmla="*/ 4267200 h 4496940"/>
              <a:gd name="connsiteX80" fmla="*/ 3068977 w 4519952"/>
              <a:gd name="connsiteY80" fmla="*/ 4286250 h 4496940"/>
              <a:gd name="connsiteX81" fmla="*/ 2935627 w 4519952"/>
              <a:gd name="connsiteY81" fmla="*/ 4333875 h 4496940"/>
              <a:gd name="connsiteX82" fmla="*/ 2811802 w 4519952"/>
              <a:gd name="connsiteY82" fmla="*/ 4371975 h 4496940"/>
              <a:gd name="connsiteX83" fmla="*/ 2745127 w 4519952"/>
              <a:gd name="connsiteY83" fmla="*/ 4410075 h 4496940"/>
              <a:gd name="connsiteX84" fmla="*/ 2697502 w 4519952"/>
              <a:gd name="connsiteY84" fmla="*/ 4429125 h 4496940"/>
              <a:gd name="connsiteX85" fmla="*/ 2640352 w 4519952"/>
              <a:gd name="connsiteY85" fmla="*/ 4457700 h 4496940"/>
              <a:gd name="connsiteX86" fmla="*/ 2583202 w 4519952"/>
              <a:gd name="connsiteY86" fmla="*/ 4467225 h 4496940"/>
              <a:gd name="connsiteX87" fmla="*/ 2545102 w 4519952"/>
              <a:gd name="connsiteY87" fmla="*/ 4486275 h 4496940"/>
              <a:gd name="connsiteX88" fmla="*/ 2306977 w 4519952"/>
              <a:gd name="connsiteY88" fmla="*/ 4476750 h 4496940"/>
              <a:gd name="connsiteX89" fmla="*/ 2202202 w 4519952"/>
              <a:gd name="connsiteY89" fmla="*/ 4457700 h 4496940"/>
              <a:gd name="connsiteX90" fmla="*/ 2126002 w 4519952"/>
              <a:gd name="connsiteY90" fmla="*/ 4429125 h 4496940"/>
              <a:gd name="connsiteX91" fmla="*/ 1935502 w 4519952"/>
              <a:gd name="connsiteY91" fmla="*/ 4400550 h 4496940"/>
              <a:gd name="connsiteX92" fmla="*/ 1821202 w 4519952"/>
              <a:gd name="connsiteY92" fmla="*/ 4371975 h 4496940"/>
              <a:gd name="connsiteX93" fmla="*/ 1754527 w 4519952"/>
              <a:gd name="connsiteY93" fmla="*/ 4352925 h 4496940"/>
              <a:gd name="connsiteX94" fmla="*/ 1687852 w 4519952"/>
              <a:gd name="connsiteY94" fmla="*/ 4343400 h 4496940"/>
              <a:gd name="connsiteX95" fmla="*/ 1573552 w 4519952"/>
              <a:gd name="connsiteY95" fmla="*/ 4305300 h 4496940"/>
              <a:gd name="connsiteX96" fmla="*/ 1402102 w 4519952"/>
              <a:gd name="connsiteY96" fmla="*/ 4276725 h 4496940"/>
              <a:gd name="connsiteX97" fmla="*/ 1287802 w 4519952"/>
              <a:gd name="connsiteY97" fmla="*/ 4229100 h 4496940"/>
              <a:gd name="connsiteX98" fmla="*/ 1221127 w 4519952"/>
              <a:gd name="connsiteY98" fmla="*/ 4200525 h 4496940"/>
              <a:gd name="connsiteX99" fmla="*/ 1144927 w 4519952"/>
              <a:gd name="connsiteY99" fmla="*/ 4171950 h 4496940"/>
              <a:gd name="connsiteX100" fmla="*/ 1087777 w 4519952"/>
              <a:gd name="connsiteY100" fmla="*/ 4143375 h 4496940"/>
              <a:gd name="connsiteX101" fmla="*/ 1030627 w 4519952"/>
              <a:gd name="connsiteY101" fmla="*/ 4124325 h 4496940"/>
              <a:gd name="connsiteX102" fmla="*/ 925852 w 4519952"/>
              <a:gd name="connsiteY102" fmla="*/ 4067175 h 4496940"/>
              <a:gd name="connsiteX103" fmla="*/ 830602 w 4519952"/>
              <a:gd name="connsiteY103" fmla="*/ 3981450 h 4496940"/>
              <a:gd name="connsiteX104" fmla="*/ 763927 w 4519952"/>
              <a:gd name="connsiteY104" fmla="*/ 3914775 h 4496940"/>
              <a:gd name="connsiteX105" fmla="*/ 725827 w 4519952"/>
              <a:gd name="connsiteY105" fmla="*/ 3876675 h 4496940"/>
              <a:gd name="connsiteX106" fmla="*/ 697252 w 4519952"/>
              <a:gd name="connsiteY106" fmla="*/ 3838575 h 4496940"/>
              <a:gd name="connsiteX107" fmla="*/ 640102 w 4519952"/>
              <a:gd name="connsiteY107" fmla="*/ 3781425 h 4496940"/>
              <a:gd name="connsiteX108" fmla="*/ 611527 w 4519952"/>
              <a:gd name="connsiteY108" fmla="*/ 3733800 h 4496940"/>
              <a:gd name="connsiteX109" fmla="*/ 554377 w 4519952"/>
              <a:gd name="connsiteY109" fmla="*/ 3657600 h 4496940"/>
              <a:gd name="connsiteX110" fmla="*/ 525802 w 4519952"/>
              <a:gd name="connsiteY110" fmla="*/ 3609975 h 4496940"/>
              <a:gd name="connsiteX111" fmla="*/ 497227 w 4519952"/>
              <a:gd name="connsiteY111" fmla="*/ 3552825 h 4496940"/>
              <a:gd name="connsiteX112" fmla="*/ 440077 w 4519952"/>
              <a:gd name="connsiteY112" fmla="*/ 3495675 h 4496940"/>
              <a:gd name="connsiteX113" fmla="*/ 411502 w 4519952"/>
              <a:gd name="connsiteY113" fmla="*/ 3448050 h 4496940"/>
              <a:gd name="connsiteX114" fmla="*/ 278152 w 4519952"/>
              <a:gd name="connsiteY114" fmla="*/ 3257550 h 4496940"/>
              <a:gd name="connsiteX115" fmla="*/ 249577 w 4519952"/>
              <a:gd name="connsiteY115" fmla="*/ 3200400 h 4496940"/>
              <a:gd name="connsiteX116" fmla="*/ 240052 w 4519952"/>
              <a:gd name="connsiteY116" fmla="*/ 3162300 h 4496940"/>
              <a:gd name="connsiteX117" fmla="*/ 221002 w 4519952"/>
              <a:gd name="connsiteY117" fmla="*/ 3105150 h 4496940"/>
              <a:gd name="connsiteX118" fmla="*/ 173377 w 4519952"/>
              <a:gd name="connsiteY118" fmla="*/ 3019425 h 4496940"/>
              <a:gd name="connsiteX119" fmla="*/ 144802 w 4519952"/>
              <a:gd name="connsiteY119" fmla="*/ 2924175 h 4496940"/>
              <a:gd name="connsiteX120" fmla="*/ 68602 w 4519952"/>
              <a:gd name="connsiteY120" fmla="*/ 2724150 h 4496940"/>
              <a:gd name="connsiteX121" fmla="*/ 49552 w 4519952"/>
              <a:gd name="connsiteY121" fmla="*/ 2638425 h 4496940"/>
              <a:gd name="connsiteX122" fmla="*/ 40027 w 4519952"/>
              <a:gd name="connsiteY122" fmla="*/ 2562225 h 4496940"/>
              <a:gd name="connsiteX123" fmla="*/ 30502 w 4519952"/>
              <a:gd name="connsiteY123" fmla="*/ 2514600 h 4496940"/>
              <a:gd name="connsiteX124" fmla="*/ 11452 w 4519952"/>
              <a:gd name="connsiteY124" fmla="*/ 2400300 h 4496940"/>
              <a:gd name="connsiteX125" fmla="*/ 20977 w 4519952"/>
              <a:gd name="connsiteY125" fmla="*/ 1905000 h 4496940"/>
              <a:gd name="connsiteX126" fmla="*/ 30502 w 4519952"/>
              <a:gd name="connsiteY126" fmla="*/ 1838325 h 4496940"/>
              <a:gd name="connsiteX127" fmla="*/ 49552 w 4519952"/>
              <a:gd name="connsiteY127" fmla="*/ 1781175 h 4496940"/>
              <a:gd name="connsiteX128" fmla="*/ 59077 w 4519952"/>
              <a:gd name="connsiteY128" fmla="*/ 1743075 h 4496940"/>
              <a:gd name="connsiteX129" fmla="*/ 78127 w 4519952"/>
              <a:gd name="connsiteY129" fmla="*/ 1685925 h 4496940"/>
              <a:gd name="connsiteX130" fmla="*/ 87652 w 4519952"/>
              <a:gd name="connsiteY130" fmla="*/ 1638300 h 4496940"/>
              <a:gd name="connsiteX131" fmla="*/ 106702 w 4519952"/>
              <a:gd name="connsiteY131" fmla="*/ 1590675 h 4496940"/>
              <a:gd name="connsiteX132" fmla="*/ 135277 w 4519952"/>
              <a:gd name="connsiteY132" fmla="*/ 1504950 h 4496940"/>
              <a:gd name="connsiteX133" fmla="*/ 154327 w 4519952"/>
              <a:gd name="connsiteY133" fmla="*/ 1419225 h 4496940"/>
              <a:gd name="connsiteX134" fmla="*/ 230527 w 4519952"/>
              <a:gd name="connsiteY134" fmla="*/ 1276350 h 4496940"/>
              <a:gd name="connsiteX135" fmla="*/ 240052 w 4519952"/>
              <a:gd name="connsiteY135" fmla="*/ 1247775 h 4496940"/>
              <a:gd name="connsiteX136" fmla="*/ 268627 w 4519952"/>
              <a:gd name="connsiteY136" fmla="*/ 1200150 h 4496940"/>
              <a:gd name="connsiteX137" fmla="*/ 287677 w 4519952"/>
              <a:gd name="connsiteY137" fmla="*/ 1152525 h 4496940"/>
              <a:gd name="connsiteX138" fmla="*/ 316252 w 4519952"/>
              <a:gd name="connsiteY138" fmla="*/ 1114425 h 4496940"/>
              <a:gd name="connsiteX139" fmla="*/ 363877 w 4519952"/>
              <a:gd name="connsiteY139" fmla="*/ 1038225 h 4496940"/>
              <a:gd name="connsiteX140" fmla="*/ 382927 w 4519952"/>
              <a:gd name="connsiteY140" fmla="*/ 1009650 h 4496940"/>
              <a:gd name="connsiteX141" fmla="*/ 440077 w 4519952"/>
              <a:gd name="connsiteY141" fmla="*/ 904875 h 4496940"/>
              <a:gd name="connsiteX142" fmla="*/ 478177 w 4519952"/>
              <a:gd name="connsiteY142" fmla="*/ 857250 h 4496940"/>
              <a:gd name="connsiteX143" fmla="*/ 497227 w 4519952"/>
              <a:gd name="connsiteY143" fmla="*/ 828675 h 4496940"/>
              <a:gd name="connsiteX144" fmla="*/ 535327 w 4519952"/>
              <a:gd name="connsiteY144" fmla="*/ 800100 h 4496940"/>
              <a:gd name="connsiteX145" fmla="*/ 602002 w 4519952"/>
              <a:gd name="connsiteY145" fmla="*/ 733425 h 4496940"/>
              <a:gd name="connsiteX146" fmla="*/ 668677 w 4519952"/>
              <a:gd name="connsiteY146" fmla="*/ 676275 h 4496940"/>
              <a:gd name="connsiteX147" fmla="*/ 697252 w 4519952"/>
              <a:gd name="connsiteY147" fmla="*/ 657225 h 4496940"/>
              <a:gd name="connsiteX148" fmla="*/ 840127 w 4519952"/>
              <a:gd name="connsiteY148" fmla="*/ 533400 h 4496940"/>
              <a:gd name="connsiteX149" fmla="*/ 887752 w 4519952"/>
              <a:gd name="connsiteY149" fmla="*/ 504825 h 4496940"/>
              <a:gd name="connsiteX150" fmla="*/ 1167152 w 4519952"/>
              <a:gd name="connsiteY150" fmla="*/ 311150 h 4496940"/>
              <a:gd name="connsiteX151" fmla="*/ 1268752 w 4519952"/>
              <a:gd name="connsiteY151" fmla="*/ 285750 h 4496940"/>
              <a:gd name="connsiteX152" fmla="*/ 1411627 w 4519952"/>
              <a:gd name="connsiteY152" fmla="*/ 190500 h 4496940"/>
              <a:gd name="connsiteX153" fmla="*/ 1449727 w 4519952"/>
              <a:gd name="connsiteY153" fmla="*/ 161925 h 4496940"/>
              <a:gd name="connsiteX154" fmla="*/ 1525927 w 4519952"/>
              <a:gd name="connsiteY154" fmla="*/ 152400 h 4496940"/>
              <a:gd name="connsiteX155" fmla="*/ 1583077 w 4519952"/>
              <a:gd name="connsiteY155" fmla="*/ 142875 h 4496940"/>
              <a:gd name="connsiteX156" fmla="*/ 1716427 w 4519952"/>
              <a:gd name="connsiteY156" fmla="*/ 123825 h 4496940"/>
              <a:gd name="connsiteX157" fmla="*/ 1811677 w 4519952"/>
              <a:gd name="connsiteY157" fmla="*/ 114300 h 4496940"/>
              <a:gd name="connsiteX158" fmla="*/ 1859302 w 4519952"/>
              <a:gd name="connsiteY158" fmla="*/ 104775 h 4496940"/>
              <a:gd name="connsiteX159" fmla="*/ 1916452 w 4519952"/>
              <a:gd name="connsiteY159" fmla="*/ 95250 h 4496940"/>
              <a:gd name="connsiteX160" fmla="*/ 2030752 w 4519952"/>
              <a:gd name="connsiteY160" fmla="*/ 66675 h 4496940"/>
              <a:gd name="connsiteX161" fmla="*/ 2097427 w 4519952"/>
              <a:gd name="connsiteY161" fmla="*/ 47625 h 4496940"/>
              <a:gd name="connsiteX162" fmla="*/ 2164102 w 4519952"/>
              <a:gd name="connsiteY162" fmla="*/ 38100 h 4496940"/>
              <a:gd name="connsiteX163" fmla="*/ 2392702 w 45199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59627 w 4519952"/>
              <a:gd name="connsiteY46" fmla="*/ 1828800 h 4496940"/>
              <a:gd name="connsiteX47" fmla="*/ 4519952 w 4519952"/>
              <a:gd name="connsiteY47" fmla="*/ 2181225 h 4496940"/>
              <a:gd name="connsiteX48" fmla="*/ 4440577 w 4519952"/>
              <a:gd name="connsiteY48" fmla="*/ 2876550 h 4496940"/>
              <a:gd name="connsiteX49" fmla="*/ 4383427 w 4519952"/>
              <a:gd name="connsiteY49" fmla="*/ 2990850 h 4496940"/>
              <a:gd name="connsiteX50" fmla="*/ 4354852 w 4519952"/>
              <a:gd name="connsiteY50" fmla="*/ 3057525 h 4496940"/>
              <a:gd name="connsiteX51" fmla="*/ 4335802 w 4519952"/>
              <a:gd name="connsiteY51" fmla="*/ 3095625 h 4496940"/>
              <a:gd name="connsiteX52" fmla="*/ 4278652 w 4519952"/>
              <a:gd name="connsiteY52" fmla="*/ 3248025 h 4496940"/>
              <a:gd name="connsiteX53" fmla="*/ 4259602 w 4519952"/>
              <a:gd name="connsiteY53" fmla="*/ 3276600 h 4496940"/>
              <a:gd name="connsiteX54" fmla="*/ 4221502 w 4519952"/>
              <a:gd name="connsiteY54" fmla="*/ 3333750 h 4496940"/>
              <a:gd name="connsiteX55" fmla="*/ 4211977 w 4519952"/>
              <a:gd name="connsiteY55" fmla="*/ 3362325 h 4496940"/>
              <a:gd name="connsiteX56" fmla="*/ 4183402 w 4519952"/>
              <a:gd name="connsiteY56" fmla="*/ 3400425 h 4496940"/>
              <a:gd name="connsiteX57" fmla="*/ 4164352 w 4519952"/>
              <a:gd name="connsiteY57" fmla="*/ 3429000 h 4496940"/>
              <a:gd name="connsiteX58" fmla="*/ 4088152 w 4519952"/>
              <a:gd name="connsiteY58" fmla="*/ 3495675 h 4496940"/>
              <a:gd name="connsiteX59" fmla="*/ 4059577 w 4519952"/>
              <a:gd name="connsiteY59" fmla="*/ 3533775 h 4496940"/>
              <a:gd name="connsiteX60" fmla="*/ 4002427 w 4519952"/>
              <a:gd name="connsiteY60" fmla="*/ 3600450 h 4496940"/>
              <a:gd name="connsiteX61" fmla="*/ 3983377 w 4519952"/>
              <a:gd name="connsiteY61" fmla="*/ 3629025 h 4496940"/>
              <a:gd name="connsiteX62" fmla="*/ 3954802 w 4519952"/>
              <a:gd name="connsiteY62" fmla="*/ 3648075 h 4496940"/>
              <a:gd name="connsiteX63" fmla="*/ 3907177 w 4519952"/>
              <a:gd name="connsiteY63" fmla="*/ 3686175 h 4496940"/>
              <a:gd name="connsiteX64" fmla="*/ 3869077 w 4519952"/>
              <a:gd name="connsiteY64" fmla="*/ 3724275 h 4496940"/>
              <a:gd name="connsiteX65" fmla="*/ 3792877 w 4519952"/>
              <a:gd name="connsiteY65" fmla="*/ 3781425 h 4496940"/>
              <a:gd name="connsiteX66" fmla="*/ 3783352 w 4519952"/>
              <a:gd name="connsiteY66" fmla="*/ 3810000 h 4496940"/>
              <a:gd name="connsiteX67" fmla="*/ 3745252 w 4519952"/>
              <a:gd name="connsiteY67" fmla="*/ 3819525 h 4496940"/>
              <a:gd name="connsiteX68" fmla="*/ 3678577 w 4519952"/>
              <a:gd name="connsiteY68" fmla="*/ 3848100 h 4496940"/>
              <a:gd name="connsiteX69" fmla="*/ 3659527 w 4519952"/>
              <a:gd name="connsiteY69" fmla="*/ 3971925 h 4496940"/>
              <a:gd name="connsiteX70" fmla="*/ 3630952 w 4519952"/>
              <a:gd name="connsiteY70" fmla="*/ 4010025 h 4496940"/>
              <a:gd name="connsiteX71" fmla="*/ 3621427 w 4519952"/>
              <a:gd name="connsiteY71" fmla="*/ 4038600 h 4496940"/>
              <a:gd name="connsiteX72" fmla="*/ 3554752 w 4519952"/>
              <a:gd name="connsiteY72" fmla="*/ 4095750 h 4496940"/>
              <a:gd name="connsiteX73" fmla="*/ 3516652 w 4519952"/>
              <a:gd name="connsiteY73" fmla="*/ 4114800 h 4496940"/>
              <a:gd name="connsiteX74" fmla="*/ 3497602 w 4519952"/>
              <a:gd name="connsiteY74" fmla="*/ 4143375 h 4496940"/>
              <a:gd name="connsiteX75" fmla="*/ 3383302 w 4519952"/>
              <a:gd name="connsiteY75" fmla="*/ 4210050 h 4496940"/>
              <a:gd name="connsiteX76" fmla="*/ 3335677 w 4519952"/>
              <a:gd name="connsiteY76" fmla="*/ 4238625 h 4496940"/>
              <a:gd name="connsiteX77" fmla="*/ 3288052 w 4519952"/>
              <a:gd name="connsiteY77" fmla="*/ 4248150 h 4496940"/>
              <a:gd name="connsiteX78" fmla="*/ 3240427 w 4519952"/>
              <a:gd name="connsiteY78" fmla="*/ 4267200 h 4496940"/>
              <a:gd name="connsiteX79" fmla="*/ 3068977 w 4519952"/>
              <a:gd name="connsiteY79" fmla="*/ 4286250 h 4496940"/>
              <a:gd name="connsiteX80" fmla="*/ 2935627 w 4519952"/>
              <a:gd name="connsiteY80" fmla="*/ 4333875 h 4496940"/>
              <a:gd name="connsiteX81" fmla="*/ 2811802 w 4519952"/>
              <a:gd name="connsiteY81" fmla="*/ 4371975 h 4496940"/>
              <a:gd name="connsiteX82" fmla="*/ 2745127 w 4519952"/>
              <a:gd name="connsiteY82" fmla="*/ 4410075 h 4496940"/>
              <a:gd name="connsiteX83" fmla="*/ 2697502 w 4519952"/>
              <a:gd name="connsiteY83" fmla="*/ 4429125 h 4496940"/>
              <a:gd name="connsiteX84" fmla="*/ 2640352 w 4519952"/>
              <a:gd name="connsiteY84" fmla="*/ 4457700 h 4496940"/>
              <a:gd name="connsiteX85" fmla="*/ 2583202 w 4519952"/>
              <a:gd name="connsiteY85" fmla="*/ 4467225 h 4496940"/>
              <a:gd name="connsiteX86" fmla="*/ 2545102 w 4519952"/>
              <a:gd name="connsiteY86" fmla="*/ 4486275 h 4496940"/>
              <a:gd name="connsiteX87" fmla="*/ 2306977 w 4519952"/>
              <a:gd name="connsiteY87" fmla="*/ 4476750 h 4496940"/>
              <a:gd name="connsiteX88" fmla="*/ 2202202 w 4519952"/>
              <a:gd name="connsiteY88" fmla="*/ 4457700 h 4496940"/>
              <a:gd name="connsiteX89" fmla="*/ 2126002 w 4519952"/>
              <a:gd name="connsiteY89" fmla="*/ 4429125 h 4496940"/>
              <a:gd name="connsiteX90" fmla="*/ 1935502 w 4519952"/>
              <a:gd name="connsiteY90" fmla="*/ 4400550 h 4496940"/>
              <a:gd name="connsiteX91" fmla="*/ 1821202 w 4519952"/>
              <a:gd name="connsiteY91" fmla="*/ 4371975 h 4496940"/>
              <a:gd name="connsiteX92" fmla="*/ 1754527 w 4519952"/>
              <a:gd name="connsiteY92" fmla="*/ 4352925 h 4496940"/>
              <a:gd name="connsiteX93" fmla="*/ 1687852 w 4519952"/>
              <a:gd name="connsiteY93" fmla="*/ 4343400 h 4496940"/>
              <a:gd name="connsiteX94" fmla="*/ 1573552 w 4519952"/>
              <a:gd name="connsiteY94" fmla="*/ 4305300 h 4496940"/>
              <a:gd name="connsiteX95" fmla="*/ 1402102 w 4519952"/>
              <a:gd name="connsiteY95" fmla="*/ 4276725 h 4496940"/>
              <a:gd name="connsiteX96" fmla="*/ 1287802 w 4519952"/>
              <a:gd name="connsiteY96" fmla="*/ 4229100 h 4496940"/>
              <a:gd name="connsiteX97" fmla="*/ 1221127 w 4519952"/>
              <a:gd name="connsiteY97" fmla="*/ 4200525 h 4496940"/>
              <a:gd name="connsiteX98" fmla="*/ 1144927 w 4519952"/>
              <a:gd name="connsiteY98" fmla="*/ 4171950 h 4496940"/>
              <a:gd name="connsiteX99" fmla="*/ 1087777 w 4519952"/>
              <a:gd name="connsiteY99" fmla="*/ 4143375 h 4496940"/>
              <a:gd name="connsiteX100" fmla="*/ 1030627 w 4519952"/>
              <a:gd name="connsiteY100" fmla="*/ 4124325 h 4496940"/>
              <a:gd name="connsiteX101" fmla="*/ 925852 w 4519952"/>
              <a:gd name="connsiteY101" fmla="*/ 4067175 h 4496940"/>
              <a:gd name="connsiteX102" fmla="*/ 830602 w 4519952"/>
              <a:gd name="connsiteY102" fmla="*/ 3981450 h 4496940"/>
              <a:gd name="connsiteX103" fmla="*/ 763927 w 4519952"/>
              <a:gd name="connsiteY103" fmla="*/ 3914775 h 4496940"/>
              <a:gd name="connsiteX104" fmla="*/ 725827 w 4519952"/>
              <a:gd name="connsiteY104" fmla="*/ 3876675 h 4496940"/>
              <a:gd name="connsiteX105" fmla="*/ 697252 w 4519952"/>
              <a:gd name="connsiteY105" fmla="*/ 3838575 h 4496940"/>
              <a:gd name="connsiteX106" fmla="*/ 640102 w 4519952"/>
              <a:gd name="connsiteY106" fmla="*/ 3781425 h 4496940"/>
              <a:gd name="connsiteX107" fmla="*/ 611527 w 4519952"/>
              <a:gd name="connsiteY107" fmla="*/ 3733800 h 4496940"/>
              <a:gd name="connsiteX108" fmla="*/ 554377 w 4519952"/>
              <a:gd name="connsiteY108" fmla="*/ 3657600 h 4496940"/>
              <a:gd name="connsiteX109" fmla="*/ 525802 w 4519952"/>
              <a:gd name="connsiteY109" fmla="*/ 3609975 h 4496940"/>
              <a:gd name="connsiteX110" fmla="*/ 497227 w 4519952"/>
              <a:gd name="connsiteY110" fmla="*/ 3552825 h 4496940"/>
              <a:gd name="connsiteX111" fmla="*/ 440077 w 4519952"/>
              <a:gd name="connsiteY111" fmla="*/ 3495675 h 4496940"/>
              <a:gd name="connsiteX112" fmla="*/ 411502 w 4519952"/>
              <a:gd name="connsiteY112" fmla="*/ 3448050 h 4496940"/>
              <a:gd name="connsiteX113" fmla="*/ 278152 w 4519952"/>
              <a:gd name="connsiteY113" fmla="*/ 3257550 h 4496940"/>
              <a:gd name="connsiteX114" fmla="*/ 249577 w 4519952"/>
              <a:gd name="connsiteY114" fmla="*/ 3200400 h 4496940"/>
              <a:gd name="connsiteX115" fmla="*/ 240052 w 4519952"/>
              <a:gd name="connsiteY115" fmla="*/ 3162300 h 4496940"/>
              <a:gd name="connsiteX116" fmla="*/ 221002 w 4519952"/>
              <a:gd name="connsiteY116" fmla="*/ 3105150 h 4496940"/>
              <a:gd name="connsiteX117" fmla="*/ 173377 w 4519952"/>
              <a:gd name="connsiteY117" fmla="*/ 3019425 h 4496940"/>
              <a:gd name="connsiteX118" fmla="*/ 144802 w 4519952"/>
              <a:gd name="connsiteY118" fmla="*/ 2924175 h 4496940"/>
              <a:gd name="connsiteX119" fmla="*/ 68602 w 4519952"/>
              <a:gd name="connsiteY119" fmla="*/ 2724150 h 4496940"/>
              <a:gd name="connsiteX120" fmla="*/ 49552 w 4519952"/>
              <a:gd name="connsiteY120" fmla="*/ 2638425 h 4496940"/>
              <a:gd name="connsiteX121" fmla="*/ 40027 w 4519952"/>
              <a:gd name="connsiteY121" fmla="*/ 2562225 h 4496940"/>
              <a:gd name="connsiteX122" fmla="*/ 30502 w 4519952"/>
              <a:gd name="connsiteY122" fmla="*/ 2514600 h 4496940"/>
              <a:gd name="connsiteX123" fmla="*/ 11452 w 4519952"/>
              <a:gd name="connsiteY123" fmla="*/ 2400300 h 4496940"/>
              <a:gd name="connsiteX124" fmla="*/ 20977 w 4519952"/>
              <a:gd name="connsiteY124" fmla="*/ 1905000 h 4496940"/>
              <a:gd name="connsiteX125" fmla="*/ 30502 w 4519952"/>
              <a:gd name="connsiteY125" fmla="*/ 1838325 h 4496940"/>
              <a:gd name="connsiteX126" fmla="*/ 49552 w 4519952"/>
              <a:gd name="connsiteY126" fmla="*/ 1781175 h 4496940"/>
              <a:gd name="connsiteX127" fmla="*/ 59077 w 4519952"/>
              <a:gd name="connsiteY127" fmla="*/ 1743075 h 4496940"/>
              <a:gd name="connsiteX128" fmla="*/ 78127 w 4519952"/>
              <a:gd name="connsiteY128" fmla="*/ 1685925 h 4496940"/>
              <a:gd name="connsiteX129" fmla="*/ 87652 w 4519952"/>
              <a:gd name="connsiteY129" fmla="*/ 1638300 h 4496940"/>
              <a:gd name="connsiteX130" fmla="*/ 106702 w 4519952"/>
              <a:gd name="connsiteY130" fmla="*/ 1590675 h 4496940"/>
              <a:gd name="connsiteX131" fmla="*/ 135277 w 4519952"/>
              <a:gd name="connsiteY131" fmla="*/ 1504950 h 4496940"/>
              <a:gd name="connsiteX132" fmla="*/ 154327 w 4519952"/>
              <a:gd name="connsiteY132" fmla="*/ 1419225 h 4496940"/>
              <a:gd name="connsiteX133" fmla="*/ 230527 w 4519952"/>
              <a:gd name="connsiteY133" fmla="*/ 1276350 h 4496940"/>
              <a:gd name="connsiteX134" fmla="*/ 240052 w 4519952"/>
              <a:gd name="connsiteY134" fmla="*/ 1247775 h 4496940"/>
              <a:gd name="connsiteX135" fmla="*/ 268627 w 4519952"/>
              <a:gd name="connsiteY135" fmla="*/ 1200150 h 4496940"/>
              <a:gd name="connsiteX136" fmla="*/ 287677 w 4519952"/>
              <a:gd name="connsiteY136" fmla="*/ 1152525 h 4496940"/>
              <a:gd name="connsiteX137" fmla="*/ 316252 w 4519952"/>
              <a:gd name="connsiteY137" fmla="*/ 1114425 h 4496940"/>
              <a:gd name="connsiteX138" fmla="*/ 363877 w 4519952"/>
              <a:gd name="connsiteY138" fmla="*/ 1038225 h 4496940"/>
              <a:gd name="connsiteX139" fmla="*/ 382927 w 4519952"/>
              <a:gd name="connsiteY139" fmla="*/ 1009650 h 4496940"/>
              <a:gd name="connsiteX140" fmla="*/ 440077 w 4519952"/>
              <a:gd name="connsiteY140" fmla="*/ 904875 h 4496940"/>
              <a:gd name="connsiteX141" fmla="*/ 478177 w 4519952"/>
              <a:gd name="connsiteY141" fmla="*/ 857250 h 4496940"/>
              <a:gd name="connsiteX142" fmla="*/ 497227 w 4519952"/>
              <a:gd name="connsiteY142" fmla="*/ 828675 h 4496940"/>
              <a:gd name="connsiteX143" fmla="*/ 535327 w 4519952"/>
              <a:gd name="connsiteY143" fmla="*/ 800100 h 4496940"/>
              <a:gd name="connsiteX144" fmla="*/ 602002 w 4519952"/>
              <a:gd name="connsiteY144" fmla="*/ 733425 h 4496940"/>
              <a:gd name="connsiteX145" fmla="*/ 668677 w 4519952"/>
              <a:gd name="connsiteY145" fmla="*/ 676275 h 4496940"/>
              <a:gd name="connsiteX146" fmla="*/ 697252 w 4519952"/>
              <a:gd name="connsiteY146" fmla="*/ 657225 h 4496940"/>
              <a:gd name="connsiteX147" fmla="*/ 840127 w 4519952"/>
              <a:gd name="connsiteY147" fmla="*/ 533400 h 4496940"/>
              <a:gd name="connsiteX148" fmla="*/ 887752 w 4519952"/>
              <a:gd name="connsiteY148" fmla="*/ 504825 h 4496940"/>
              <a:gd name="connsiteX149" fmla="*/ 1167152 w 4519952"/>
              <a:gd name="connsiteY149" fmla="*/ 311150 h 4496940"/>
              <a:gd name="connsiteX150" fmla="*/ 1268752 w 4519952"/>
              <a:gd name="connsiteY150" fmla="*/ 285750 h 4496940"/>
              <a:gd name="connsiteX151" fmla="*/ 1411627 w 4519952"/>
              <a:gd name="connsiteY151" fmla="*/ 190500 h 4496940"/>
              <a:gd name="connsiteX152" fmla="*/ 1449727 w 4519952"/>
              <a:gd name="connsiteY152" fmla="*/ 161925 h 4496940"/>
              <a:gd name="connsiteX153" fmla="*/ 1525927 w 4519952"/>
              <a:gd name="connsiteY153" fmla="*/ 152400 h 4496940"/>
              <a:gd name="connsiteX154" fmla="*/ 1583077 w 4519952"/>
              <a:gd name="connsiteY154" fmla="*/ 142875 h 4496940"/>
              <a:gd name="connsiteX155" fmla="*/ 1716427 w 4519952"/>
              <a:gd name="connsiteY155" fmla="*/ 123825 h 4496940"/>
              <a:gd name="connsiteX156" fmla="*/ 1811677 w 4519952"/>
              <a:gd name="connsiteY156" fmla="*/ 114300 h 4496940"/>
              <a:gd name="connsiteX157" fmla="*/ 1859302 w 4519952"/>
              <a:gd name="connsiteY157" fmla="*/ 104775 h 4496940"/>
              <a:gd name="connsiteX158" fmla="*/ 1916452 w 4519952"/>
              <a:gd name="connsiteY158" fmla="*/ 95250 h 4496940"/>
              <a:gd name="connsiteX159" fmla="*/ 2030752 w 4519952"/>
              <a:gd name="connsiteY159" fmla="*/ 66675 h 4496940"/>
              <a:gd name="connsiteX160" fmla="*/ 2097427 w 4519952"/>
              <a:gd name="connsiteY160" fmla="*/ 47625 h 4496940"/>
              <a:gd name="connsiteX161" fmla="*/ 2164102 w 4519952"/>
              <a:gd name="connsiteY161" fmla="*/ 38100 h 4496940"/>
              <a:gd name="connsiteX162" fmla="*/ 2392702 w 4519952"/>
              <a:gd name="connsiteY162" fmla="*/ 28575 h 4496940"/>
              <a:gd name="connsiteX0" fmla="*/ 2297452 w 4519983"/>
              <a:gd name="connsiteY0" fmla="*/ 0 h 4496940"/>
              <a:gd name="connsiteX1" fmla="*/ 2421277 w 4519983"/>
              <a:gd name="connsiteY1" fmla="*/ 28575 h 4496940"/>
              <a:gd name="connsiteX2" fmla="*/ 2497477 w 4519983"/>
              <a:gd name="connsiteY2" fmla="*/ 47625 h 4496940"/>
              <a:gd name="connsiteX3" fmla="*/ 2754652 w 4519983"/>
              <a:gd name="connsiteY3" fmla="*/ 66675 h 4496940"/>
              <a:gd name="connsiteX4" fmla="*/ 2830852 w 4519983"/>
              <a:gd name="connsiteY4" fmla="*/ 76200 h 4496940"/>
              <a:gd name="connsiteX5" fmla="*/ 2916577 w 4519983"/>
              <a:gd name="connsiteY5" fmla="*/ 85725 h 4496940"/>
              <a:gd name="connsiteX6" fmla="*/ 2973727 w 4519983"/>
              <a:gd name="connsiteY6" fmla="*/ 114300 h 4496940"/>
              <a:gd name="connsiteX7" fmla="*/ 3011827 w 4519983"/>
              <a:gd name="connsiteY7" fmla="*/ 123825 h 4496940"/>
              <a:gd name="connsiteX8" fmla="*/ 3135652 w 4519983"/>
              <a:gd name="connsiteY8" fmla="*/ 171450 h 4496940"/>
              <a:gd name="connsiteX9" fmla="*/ 3173752 w 4519983"/>
              <a:gd name="connsiteY9" fmla="*/ 190500 h 4496940"/>
              <a:gd name="connsiteX10" fmla="*/ 3240427 w 4519983"/>
              <a:gd name="connsiteY10" fmla="*/ 228600 h 4496940"/>
              <a:gd name="connsiteX11" fmla="*/ 3269002 w 4519983"/>
              <a:gd name="connsiteY11" fmla="*/ 238125 h 4496940"/>
              <a:gd name="connsiteX12" fmla="*/ 3297577 w 4519983"/>
              <a:gd name="connsiteY12" fmla="*/ 257175 h 4496940"/>
              <a:gd name="connsiteX13" fmla="*/ 3326152 w 4519983"/>
              <a:gd name="connsiteY13" fmla="*/ 266700 h 4496940"/>
              <a:gd name="connsiteX14" fmla="*/ 3354727 w 4519983"/>
              <a:gd name="connsiteY14" fmla="*/ 285750 h 4496940"/>
              <a:gd name="connsiteX15" fmla="*/ 3421402 w 4519983"/>
              <a:gd name="connsiteY15" fmla="*/ 323850 h 4496940"/>
              <a:gd name="connsiteX16" fmla="*/ 3469027 w 4519983"/>
              <a:gd name="connsiteY16" fmla="*/ 361950 h 4496940"/>
              <a:gd name="connsiteX17" fmla="*/ 3516652 w 4519983"/>
              <a:gd name="connsiteY17" fmla="*/ 390525 h 4496940"/>
              <a:gd name="connsiteX18" fmla="*/ 3545227 w 4519983"/>
              <a:gd name="connsiteY18" fmla="*/ 419100 h 4496940"/>
              <a:gd name="connsiteX19" fmla="*/ 3602377 w 4519983"/>
              <a:gd name="connsiteY19" fmla="*/ 457200 h 4496940"/>
              <a:gd name="connsiteX20" fmla="*/ 3630952 w 4519983"/>
              <a:gd name="connsiteY20" fmla="*/ 485775 h 4496940"/>
              <a:gd name="connsiteX21" fmla="*/ 3678577 w 4519983"/>
              <a:gd name="connsiteY21" fmla="*/ 504825 h 4496940"/>
              <a:gd name="connsiteX22" fmla="*/ 3745252 w 4519983"/>
              <a:gd name="connsiteY22" fmla="*/ 542925 h 4496940"/>
              <a:gd name="connsiteX23" fmla="*/ 3811927 w 4519983"/>
              <a:gd name="connsiteY23" fmla="*/ 581025 h 4496940"/>
              <a:gd name="connsiteX24" fmla="*/ 3840502 w 4519983"/>
              <a:gd name="connsiteY24" fmla="*/ 600075 h 4496940"/>
              <a:gd name="connsiteX25" fmla="*/ 3869077 w 4519983"/>
              <a:gd name="connsiteY25" fmla="*/ 628650 h 4496940"/>
              <a:gd name="connsiteX26" fmla="*/ 3907177 w 4519983"/>
              <a:gd name="connsiteY26" fmla="*/ 647700 h 4496940"/>
              <a:gd name="connsiteX27" fmla="*/ 3935752 w 4519983"/>
              <a:gd name="connsiteY27" fmla="*/ 676275 h 4496940"/>
              <a:gd name="connsiteX28" fmla="*/ 3992902 w 4519983"/>
              <a:gd name="connsiteY28" fmla="*/ 714375 h 4496940"/>
              <a:gd name="connsiteX29" fmla="*/ 4050052 w 4519983"/>
              <a:gd name="connsiteY29" fmla="*/ 790575 h 4496940"/>
              <a:gd name="connsiteX30" fmla="*/ 4078627 w 4519983"/>
              <a:gd name="connsiteY30" fmla="*/ 838200 h 4496940"/>
              <a:gd name="connsiteX31" fmla="*/ 4107202 w 4519983"/>
              <a:gd name="connsiteY31" fmla="*/ 876300 h 4496940"/>
              <a:gd name="connsiteX32" fmla="*/ 4116727 w 4519983"/>
              <a:gd name="connsiteY32" fmla="*/ 904875 h 4496940"/>
              <a:gd name="connsiteX33" fmla="*/ 4135777 w 4519983"/>
              <a:gd name="connsiteY33" fmla="*/ 933450 h 4496940"/>
              <a:gd name="connsiteX34" fmla="*/ 4164352 w 4519983"/>
              <a:gd name="connsiteY34" fmla="*/ 990600 h 4496940"/>
              <a:gd name="connsiteX35" fmla="*/ 4173877 w 4519983"/>
              <a:gd name="connsiteY35" fmla="*/ 1019175 h 4496940"/>
              <a:gd name="connsiteX36" fmla="*/ 4192927 w 4519983"/>
              <a:gd name="connsiteY36" fmla="*/ 1057275 h 4496940"/>
              <a:gd name="connsiteX37" fmla="*/ 4202452 w 4519983"/>
              <a:gd name="connsiteY37" fmla="*/ 1085850 h 4496940"/>
              <a:gd name="connsiteX38" fmla="*/ 4250077 w 4519983"/>
              <a:gd name="connsiteY38" fmla="*/ 1143000 h 4496940"/>
              <a:gd name="connsiteX39" fmla="*/ 4259602 w 4519983"/>
              <a:gd name="connsiteY39" fmla="*/ 1190625 h 4496940"/>
              <a:gd name="connsiteX40" fmla="*/ 4307227 w 4519983"/>
              <a:gd name="connsiteY40" fmla="*/ 1266825 h 4496940"/>
              <a:gd name="connsiteX41" fmla="*/ 4345327 w 4519983"/>
              <a:gd name="connsiteY41" fmla="*/ 1362075 h 4496940"/>
              <a:gd name="connsiteX42" fmla="*/ 4373902 w 4519983"/>
              <a:gd name="connsiteY42" fmla="*/ 1428750 h 4496940"/>
              <a:gd name="connsiteX43" fmla="*/ 4392952 w 4519983"/>
              <a:gd name="connsiteY43" fmla="*/ 1552575 h 4496940"/>
              <a:gd name="connsiteX44" fmla="*/ 4402477 w 4519983"/>
              <a:gd name="connsiteY44" fmla="*/ 1590675 h 4496940"/>
              <a:gd name="connsiteX45" fmla="*/ 4431052 w 4519983"/>
              <a:gd name="connsiteY45" fmla="*/ 1685925 h 4496940"/>
              <a:gd name="connsiteX46" fmla="*/ 4519952 w 4519983"/>
              <a:gd name="connsiteY46" fmla="*/ 2181225 h 4496940"/>
              <a:gd name="connsiteX47" fmla="*/ 4440577 w 4519983"/>
              <a:gd name="connsiteY47" fmla="*/ 2876550 h 4496940"/>
              <a:gd name="connsiteX48" fmla="*/ 4383427 w 4519983"/>
              <a:gd name="connsiteY48" fmla="*/ 2990850 h 4496940"/>
              <a:gd name="connsiteX49" fmla="*/ 4354852 w 4519983"/>
              <a:gd name="connsiteY49" fmla="*/ 3057525 h 4496940"/>
              <a:gd name="connsiteX50" fmla="*/ 4335802 w 4519983"/>
              <a:gd name="connsiteY50" fmla="*/ 3095625 h 4496940"/>
              <a:gd name="connsiteX51" fmla="*/ 4278652 w 4519983"/>
              <a:gd name="connsiteY51" fmla="*/ 3248025 h 4496940"/>
              <a:gd name="connsiteX52" fmla="*/ 4259602 w 4519983"/>
              <a:gd name="connsiteY52" fmla="*/ 3276600 h 4496940"/>
              <a:gd name="connsiteX53" fmla="*/ 4221502 w 4519983"/>
              <a:gd name="connsiteY53" fmla="*/ 3333750 h 4496940"/>
              <a:gd name="connsiteX54" fmla="*/ 4211977 w 4519983"/>
              <a:gd name="connsiteY54" fmla="*/ 3362325 h 4496940"/>
              <a:gd name="connsiteX55" fmla="*/ 4183402 w 4519983"/>
              <a:gd name="connsiteY55" fmla="*/ 3400425 h 4496940"/>
              <a:gd name="connsiteX56" fmla="*/ 4164352 w 4519983"/>
              <a:gd name="connsiteY56" fmla="*/ 3429000 h 4496940"/>
              <a:gd name="connsiteX57" fmla="*/ 4088152 w 4519983"/>
              <a:gd name="connsiteY57" fmla="*/ 3495675 h 4496940"/>
              <a:gd name="connsiteX58" fmla="*/ 4059577 w 4519983"/>
              <a:gd name="connsiteY58" fmla="*/ 3533775 h 4496940"/>
              <a:gd name="connsiteX59" fmla="*/ 4002427 w 4519983"/>
              <a:gd name="connsiteY59" fmla="*/ 3600450 h 4496940"/>
              <a:gd name="connsiteX60" fmla="*/ 3983377 w 4519983"/>
              <a:gd name="connsiteY60" fmla="*/ 3629025 h 4496940"/>
              <a:gd name="connsiteX61" fmla="*/ 3954802 w 4519983"/>
              <a:gd name="connsiteY61" fmla="*/ 3648075 h 4496940"/>
              <a:gd name="connsiteX62" fmla="*/ 3907177 w 4519983"/>
              <a:gd name="connsiteY62" fmla="*/ 3686175 h 4496940"/>
              <a:gd name="connsiteX63" fmla="*/ 3869077 w 4519983"/>
              <a:gd name="connsiteY63" fmla="*/ 3724275 h 4496940"/>
              <a:gd name="connsiteX64" fmla="*/ 3792877 w 4519983"/>
              <a:gd name="connsiteY64" fmla="*/ 3781425 h 4496940"/>
              <a:gd name="connsiteX65" fmla="*/ 3783352 w 4519983"/>
              <a:gd name="connsiteY65" fmla="*/ 3810000 h 4496940"/>
              <a:gd name="connsiteX66" fmla="*/ 3745252 w 4519983"/>
              <a:gd name="connsiteY66" fmla="*/ 3819525 h 4496940"/>
              <a:gd name="connsiteX67" fmla="*/ 3678577 w 4519983"/>
              <a:gd name="connsiteY67" fmla="*/ 3848100 h 4496940"/>
              <a:gd name="connsiteX68" fmla="*/ 3659527 w 4519983"/>
              <a:gd name="connsiteY68" fmla="*/ 3971925 h 4496940"/>
              <a:gd name="connsiteX69" fmla="*/ 3630952 w 4519983"/>
              <a:gd name="connsiteY69" fmla="*/ 4010025 h 4496940"/>
              <a:gd name="connsiteX70" fmla="*/ 3621427 w 4519983"/>
              <a:gd name="connsiteY70" fmla="*/ 4038600 h 4496940"/>
              <a:gd name="connsiteX71" fmla="*/ 3554752 w 4519983"/>
              <a:gd name="connsiteY71" fmla="*/ 4095750 h 4496940"/>
              <a:gd name="connsiteX72" fmla="*/ 3516652 w 4519983"/>
              <a:gd name="connsiteY72" fmla="*/ 4114800 h 4496940"/>
              <a:gd name="connsiteX73" fmla="*/ 3497602 w 4519983"/>
              <a:gd name="connsiteY73" fmla="*/ 4143375 h 4496940"/>
              <a:gd name="connsiteX74" fmla="*/ 3383302 w 4519983"/>
              <a:gd name="connsiteY74" fmla="*/ 4210050 h 4496940"/>
              <a:gd name="connsiteX75" fmla="*/ 3335677 w 4519983"/>
              <a:gd name="connsiteY75" fmla="*/ 4238625 h 4496940"/>
              <a:gd name="connsiteX76" fmla="*/ 3288052 w 4519983"/>
              <a:gd name="connsiteY76" fmla="*/ 4248150 h 4496940"/>
              <a:gd name="connsiteX77" fmla="*/ 3240427 w 4519983"/>
              <a:gd name="connsiteY77" fmla="*/ 4267200 h 4496940"/>
              <a:gd name="connsiteX78" fmla="*/ 3068977 w 4519983"/>
              <a:gd name="connsiteY78" fmla="*/ 4286250 h 4496940"/>
              <a:gd name="connsiteX79" fmla="*/ 2935627 w 4519983"/>
              <a:gd name="connsiteY79" fmla="*/ 4333875 h 4496940"/>
              <a:gd name="connsiteX80" fmla="*/ 2811802 w 4519983"/>
              <a:gd name="connsiteY80" fmla="*/ 4371975 h 4496940"/>
              <a:gd name="connsiteX81" fmla="*/ 2745127 w 4519983"/>
              <a:gd name="connsiteY81" fmla="*/ 4410075 h 4496940"/>
              <a:gd name="connsiteX82" fmla="*/ 2697502 w 4519983"/>
              <a:gd name="connsiteY82" fmla="*/ 4429125 h 4496940"/>
              <a:gd name="connsiteX83" fmla="*/ 2640352 w 4519983"/>
              <a:gd name="connsiteY83" fmla="*/ 4457700 h 4496940"/>
              <a:gd name="connsiteX84" fmla="*/ 2583202 w 4519983"/>
              <a:gd name="connsiteY84" fmla="*/ 4467225 h 4496940"/>
              <a:gd name="connsiteX85" fmla="*/ 2545102 w 4519983"/>
              <a:gd name="connsiteY85" fmla="*/ 4486275 h 4496940"/>
              <a:gd name="connsiteX86" fmla="*/ 2306977 w 4519983"/>
              <a:gd name="connsiteY86" fmla="*/ 4476750 h 4496940"/>
              <a:gd name="connsiteX87" fmla="*/ 2202202 w 4519983"/>
              <a:gd name="connsiteY87" fmla="*/ 4457700 h 4496940"/>
              <a:gd name="connsiteX88" fmla="*/ 2126002 w 4519983"/>
              <a:gd name="connsiteY88" fmla="*/ 4429125 h 4496940"/>
              <a:gd name="connsiteX89" fmla="*/ 1935502 w 4519983"/>
              <a:gd name="connsiteY89" fmla="*/ 4400550 h 4496940"/>
              <a:gd name="connsiteX90" fmla="*/ 1821202 w 4519983"/>
              <a:gd name="connsiteY90" fmla="*/ 4371975 h 4496940"/>
              <a:gd name="connsiteX91" fmla="*/ 1754527 w 4519983"/>
              <a:gd name="connsiteY91" fmla="*/ 4352925 h 4496940"/>
              <a:gd name="connsiteX92" fmla="*/ 1687852 w 4519983"/>
              <a:gd name="connsiteY92" fmla="*/ 4343400 h 4496940"/>
              <a:gd name="connsiteX93" fmla="*/ 1573552 w 4519983"/>
              <a:gd name="connsiteY93" fmla="*/ 4305300 h 4496940"/>
              <a:gd name="connsiteX94" fmla="*/ 1402102 w 4519983"/>
              <a:gd name="connsiteY94" fmla="*/ 4276725 h 4496940"/>
              <a:gd name="connsiteX95" fmla="*/ 1287802 w 4519983"/>
              <a:gd name="connsiteY95" fmla="*/ 4229100 h 4496940"/>
              <a:gd name="connsiteX96" fmla="*/ 1221127 w 4519983"/>
              <a:gd name="connsiteY96" fmla="*/ 4200525 h 4496940"/>
              <a:gd name="connsiteX97" fmla="*/ 1144927 w 4519983"/>
              <a:gd name="connsiteY97" fmla="*/ 4171950 h 4496940"/>
              <a:gd name="connsiteX98" fmla="*/ 1087777 w 4519983"/>
              <a:gd name="connsiteY98" fmla="*/ 4143375 h 4496940"/>
              <a:gd name="connsiteX99" fmla="*/ 1030627 w 4519983"/>
              <a:gd name="connsiteY99" fmla="*/ 4124325 h 4496940"/>
              <a:gd name="connsiteX100" fmla="*/ 925852 w 4519983"/>
              <a:gd name="connsiteY100" fmla="*/ 4067175 h 4496940"/>
              <a:gd name="connsiteX101" fmla="*/ 830602 w 4519983"/>
              <a:gd name="connsiteY101" fmla="*/ 3981450 h 4496940"/>
              <a:gd name="connsiteX102" fmla="*/ 763927 w 4519983"/>
              <a:gd name="connsiteY102" fmla="*/ 3914775 h 4496940"/>
              <a:gd name="connsiteX103" fmla="*/ 725827 w 4519983"/>
              <a:gd name="connsiteY103" fmla="*/ 3876675 h 4496940"/>
              <a:gd name="connsiteX104" fmla="*/ 697252 w 4519983"/>
              <a:gd name="connsiteY104" fmla="*/ 3838575 h 4496940"/>
              <a:gd name="connsiteX105" fmla="*/ 640102 w 4519983"/>
              <a:gd name="connsiteY105" fmla="*/ 3781425 h 4496940"/>
              <a:gd name="connsiteX106" fmla="*/ 611527 w 4519983"/>
              <a:gd name="connsiteY106" fmla="*/ 3733800 h 4496940"/>
              <a:gd name="connsiteX107" fmla="*/ 554377 w 4519983"/>
              <a:gd name="connsiteY107" fmla="*/ 3657600 h 4496940"/>
              <a:gd name="connsiteX108" fmla="*/ 525802 w 4519983"/>
              <a:gd name="connsiteY108" fmla="*/ 3609975 h 4496940"/>
              <a:gd name="connsiteX109" fmla="*/ 497227 w 4519983"/>
              <a:gd name="connsiteY109" fmla="*/ 3552825 h 4496940"/>
              <a:gd name="connsiteX110" fmla="*/ 440077 w 4519983"/>
              <a:gd name="connsiteY110" fmla="*/ 3495675 h 4496940"/>
              <a:gd name="connsiteX111" fmla="*/ 411502 w 4519983"/>
              <a:gd name="connsiteY111" fmla="*/ 3448050 h 4496940"/>
              <a:gd name="connsiteX112" fmla="*/ 278152 w 4519983"/>
              <a:gd name="connsiteY112" fmla="*/ 3257550 h 4496940"/>
              <a:gd name="connsiteX113" fmla="*/ 249577 w 4519983"/>
              <a:gd name="connsiteY113" fmla="*/ 3200400 h 4496940"/>
              <a:gd name="connsiteX114" fmla="*/ 240052 w 4519983"/>
              <a:gd name="connsiteY114" fmla="*/ 3162300 h 4496940"/>
              <a:gd name="connsiteX115" fmla="*/ 221002 w 4519983"/>
              <a:gd name="connsiteY115" fmla="*/ 3105150 h 4496940"/>
              <a:gd name="connsiteX116" fmla="*/ 173377 w 4519983"/>
              <a:gd name="connsiteY116" fmla="*/ 3019425 h 4496940"/>
              <a:gd name="connsiteX117" fmla="*/ 144802 w 4519983"/>
              <a:gd name="connsiteY117" fmla="*/ 2924175 h 4496940"/>
              <a:gd name="connsiteX118" fmla="*/ 68602 w 4519983"/>
              <a:gd name="connsiteY118" fmla="*/ 2724150 h 4496940"/>
              <a:gd name="connsiteX119" fmla="*/ 49552 w 4519983"/>
              <a:gd name="connsiteY119" fmla="*/ 2638425 h 4496940"/>
              <a:gd name="connsiteX120" fmla="*/ 40027 w 4519983"/>
              <a:gd name="connsiteY120" fmla="*/ 2562225 h 4496940"/>
              <a:gd name="connsiteX121" fmla="*/ 30502 w 4519983"/>
              <a:gd name="connsiteY121" fmla="*/ 2514600 h 4496940"/>
              <a:gd name="connsiteX122" fmla="*/ 11452 w 4519983"/>
              <a:gd name="connsiteY122" fmla="*/ 2400300 h 4496940"/>
              <a:gd name="connsiteX123" fmla="*/ 20977 w 4519983"/>
              <a:gd name="connsiteY123" fmla="*/ 1905000 h 4496940"/>
              <a:gd name="connsiteX124" fmla="*/ 30502 w 4519983"/>
              <a:gd name="connsiteY124" fmla="*/ 1838325 h 4496940"/>
              <a:gd name="connsiteX125" fmla="*/ 49552 w 4519983"/>
              <a:gd name="connsiteY125" fmla="*/ 1781175 h 4496940"/>
              <a:gd name="connsiteX126" fmla="*/ 59077 w 4519983"/>
              <a:gd name="connsiteY126" fmla="*/ 1743075 h 4496940"/>
              <a:gd name="connsiteX127" fmla="*/ 78127 w 4519983"/>
              <a:gd name="connsiteY127" fmla="*/ 1685925 h 4496940"/>
              <a:gd name="connsiteX128" fmla="*/ 87652 w 4519983"/>
              <a:gd name="connsiteY128" fmla="*/ 1638300 h 4496940"/>
              <a:gd name="connsiteX129" fmla="*/ 106702 w 4519983"/>
              <a:gd name="connsiteY129" fmla="*/ 1590675 h 4496940"/>
              <a:gd name="connsiteX130" fmla="*/ 135277 w 4519983"/>
              <a:gd name="connsiteY130" fmla="*/ 1504950 h 4496940"/>
              <a:gd name="connsiteX131" fmla="*/ 154327 w 4519983"/>
              <a:gd name="connsiteY131" fmla="*/ 1419225 h 4496940"/>
              <a:gd name="connsiteX132" fmla="*/ 230527 w 4519983"/>
              <a:gd name="connsiteY132" fmla="*/ 1276350 h 4496940"/>
              <a:gd name="connsiteX133" fmla="*/ 240052 w 4519983"/>
              <a:gd name="connsiteY133" fmla="*/ 1247775 h 4496940"/>
              <a:gd name="connsiteX134" fmla="*/ 268627 w 4519983"/>
              <a:gd name="connsiteY134" fmla="*/ 1200150 h 4496940"/>
              <a:gd name="connsiteX135" fmla="*/ 287677 w 4519983"/>
              <a:gd name="connsiteY135" fmla="*/ 1152525 h 4496940"/>
              <a:gd name="connsiteX136" fmla="*/ 316252 w 4519983"/>
              <a:gd name="connsiteY136" fmla="*/ 1114425 h 4496940"/>
              <a:gd name="connsiteX137" fmla="*/ 363877 w 4519983"/>
              <a:gd name="connsiteY137" fmla="*/ 1038225 h 4496940"/>
              <a:gd name="connsiteX138" fmla="*/ 382927 w 4519983"/>
              <a:gd name="connsiteY138" fmla="*/ 1009650 h 4496940"/>
              <a:gd name="connsiteX139" fmla="*/ 440077 w 4519983"/>
              <a:gd name="connsiteY139" fmla="*/ 904875 h 4496940"/>
              <a:gd name="connsiteX140" fmla="*/ 478177 w 4519983"/>
              <a:gd name="connsiteY140" fmla="*/ 857250 h 4496940"/>
              <a:gd name="connsiteX141" fmla="*/ 497227 w 4519983"/>
              <a:gd name="connsiteY141" fmla="*/ 828675 h 4496940"/>
              <a:gd name="connsiteX142" fmla="*/ 535327 w 4519983"/>
              <a:gd name="connsiteY142" fmla="*/ 800100 h 4496940"/>
              <a:gd name="connsiteX143" fmla="*/ 602002 w 4519983"/>
              <a:gd name="connsiteY143" fmla="*/ 733425 h 4496940"/>
              <a:gd name="connsiteX144" fmla="*/ 668677 w 4519983"/>
              <a:gd name="connsiteY144" fmla="*/ 676275 h 4496940"/>
              <a:gd name="connsiteX145" fmla="*/ 697252 w 4519983"/>
              <a:gd name="connsiteY145" fmla="*/ 657225 h 4496940"/>
              <a:gd name="connsiteX146" fmla="*/ 840127 w 4519983"/>
              <a:gd name="connsiteY146" fmla="*/ 533400 h 4496940"/>
              <a:gd name="connsiteX147" fmla="*/ 887752 w 4519983"/>
              <a:gd name="connsiteY147" fmla="*/ 504825 h 4496940"/>
              <a:gd name="connsiteX148" fmla="*/ 1167152 w 4519983"/>
              <a:gd name="connsiteY148" fmla="*/ 311150 h 4496940"/>
              <a:gd name="connsiteX149" fmla="*/ 1268752 w 4519983"/>
              <a:gd name="connsiteY149" fmla="*/ 285750 h 4496940"/>
              <a:gd name="connsiteX150" fmla="*/ 1411627 w 4519983"/>
              <a:gd name="connsiteY150" fmla="*/ 190500 h 4496940"/>
              <a:gd name="connsiteX151" fmla="*/ 1449727 w 4519983"/>
              <a:gd name="connsiteY151" fmla="*/ 161925 h 4496940"/>
              <a:gd name="connsiteX152" fmla="*/ 1525927 w 4519983"/>
              <a:gd name="connsiteY152" fmla="*/ 152400 h 4496940"/>
              <a:gd name="connsiteX153" fmla="*/ 1583077 w 4519983"/>
              <a:gd name="connsiteY153" fmla="*/ 142875 h 4496940"/>
              <a:gd name="connsiteX154" fmla="*/ 1716427 w 4519983"/>
              <a:gd name="connsiteY154" fmla="*/ 123825 h 4496940"/>
              <a:gd name="connsiteX155" fmla="*/ 1811677 w 4519983"/>
              <a:gd name="connsiteY155" fmla="*/ 114300 h 4496940"/>
              <a:gd name="connsiteX156" fmla="*/ 1859302 w 4519983"/>
              <a:gd name="connsiteY156" fmla="*/ 104775 h 4496940"/>
              <a:gd name="connsiteX157" fmla="*/ 1916452 w 4519983"/>
              <a:gd name="connsiteY157" fmla="*/ 95250 h 4496940"/>
              <a:gd name="connsiteX158" fmla="*/ 2030752 w 4519983"/>
              <a:gd name="connsiteY158" fmla="*/ 66675 h 4496940"/>
              <a:gd name="connsiteX159" fmla="*/ 2097427 w 4519983"/>
              <a:gd name="connsiteY159" fmla="*/ 47625 h 4496940"/>
              <a:gd name="connsiteX160" fmla="*/ 2164102 w 4519983"/>
              <a:gd name="connsiteY160" fmla="*/ 38100 h 4496940"/>
              <a:gd name="connsiteX161" fmla="*/ 2392702 w 4519983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335802 w 4519987"/>
              <a:gd name="connsiteY50" fmla="*/ 3095625 h 4496940"/>
              <a:gd name="connsiteX51" fmla="*/ 4278652 w 4519987"/>
              <a:gd name="connsiteY51" fmla="*/ 3248025 h 4496940"/>
              <a:gd name="connsiteX52" fmla="*/ 4259602 w 4519987"/>
              <a:gd name="connsiteY52" fmla="*/ 3276600 h 4496940"/>
              <a:gd name="connsiteX53" fmla="*/ 4221502 w 4519987"/>
              <a:gd name="connsiteY53" fmla="*/ 3333750 h 4496940"/>
              <a:gd name="connsiteX54" fmla="*/ 4211977 w 4519987"/>
              <a:gd name="connsiteY54" fmla="*/ 3362325 h 4496940"/>
              <a:gd name="connsiteX55" fmla="*/ 4183402 w 4519987"/>
              <a:gd name="connsiteY55" fmla="*/ 3400425 h 4496940"/>
              <a:gd name="connsiteX56" fmla="*/ 4164352 w 4519987"/>
              <a:gd name="connsiteY56" fmla="*/ 3429000 h 4496940"/>
              <a:gd name="connsiteX57" fmla="*/ 4088152 w 4519987"/>
              <a:gd name="connsiteY57" fmla="*/ 3495675 h 4496940"/>
              <a:gd name="connsiteX58" fmla="*/ 4059577 w 4519987"/>
              <a:gd name="connsiteY58" fmla="*/ 3533775 h 4496940"/>
              <a:gd name="connsiteX59" fmla="*/ 4002427 w 4519987"/>
              <a:gd name="connsiteY59" fmla="*/ 3600450 h 4496940"/>
              <a:gd name="connsiteX60" fmla="*/ 3983377 w 4519987"/>
              <a:gd name="connsiteY60" fmla="*/ 3629025 h 4496940"/>
              <a:gd name="connsiteX61" fmla="*/ 3954802 w 4519987"/>
              <a:gd name="connsiteY61" fmla="*/ 3648075 h 4496940"/>
              <a:gd name="connsiteX62" fmla="*/ 3907177 w 4519987"/>
              <a:gd name="connsiteY62" fmla="*/ 3686175 h 4496940"/>
              <a:gd name="connsiteX63" fmla="*/ 3869077 w 4519987"/>
              <a:gd name="connsiteY63" fmla="*/ 3724275 h 4496940"/>
              <a:gd name="connsiteX64" fmla="*/ 3792877 w 4519987"/>
              <a:gd name="connsiteY64" fmla="*/ 3781425 h 4496940"/>
              <a:gd name="connsiteX65" fmla="*/ 3783352 w 4519987"/>
              <a:gd name="connsiteY65" fmla="*/ 3810000 h 4496940"/>
              <a:gd name="connsiteX66" fmla="*/ 3745252 w 4519987"/>
              <a:gd name="connsiteY66" fmla="*/ 3819525 h 4496940"/>
              <a:gd name="connsiteX67" fmla="*/ 3678577 w 4519987"/>
              <a:gd name="connsiteY67" fmla="*/ 3848100 h 4496940"/>
              <a:gd name="connsiteX68" fmla="*/ 3659527 w 4519987"/>
              <a:gd name="connsiteY68" fmla="*/ 3971925 h 4496940"/>
              <a:gd name="connsiteX69" fmla="*/ 3630952 w 4519987"/>
              <a:gd name="connsiteY69" fmla="*/ 4010025 h 4496940"/>
              <a:gd name="connsiteX70" fmla="*/ 3621427 w 4519987"/>
              <a:gd name="connsiteY70" fmla="*/ 4038600 h 4496940"/>
              <a:gd name="connsiteX71" fmla="*/ 3554752 w 4519987"/>
              <a:gd name="connsiteY71" fmla="*/ 4095750 h 4496940"/>
              <a:gd name="connsiteX72" fmla="*/ 3516652 w 4519987"/>
              <a:gd name="connsiteY72" fmla="*/ 4114800 h 4496940"/>
              <a:gd name="connsiteX73" fmla="*/ 3497602 w 4519987"/>
              <a:gd name="connsiteY73" fmla="*/ 4143375 h 4496940"/>
              <a:gd name="connsiteX74" fmla="*/ 3383302 w 4519987"/>
              <a:gd name="connsiteY74" fmla="*/ 4210050 h 4496940"/>
              <a:gd name="connsiteX75" fmla="*/ 3335677 w 4519987"/>
              <a:gd name="connsiteY75" fmla="*/ 4238625 h 4496940"/>
              <a:gd name="connsiteX76" fmla="*/ 3288052 w 4519987"/>
              <a:gd name="connsiteY76" fmla="*/ 4248150 h 4496940"/>
              <a:gd name="connsiteX77" fmla="*/ 3240427 w 4519987"/>
              <a:gd name="connsiteY77" fmla="*/ 4267200 h 4496940"/>
              <a:gd name="connsiteX78" fmla="*/ 3068977 w 4519987"/>
              <a:gd name="connsiteY78" fmla="*/ 4286250 h 4496940"/>
              <a:gd name="connsiteX79" fmla="*/ 2935627 w 4519987"/>
              <a:gd name="connsiteY79" fmla="*/ 4333875 h 4496940"/>
              <a:gd name="connsiteX80" fmla="*/ 2811802 w 4519987"/>
              <a:gd name="connsiteY80" fmla="*/ 4371975 h 4496940"/>
              <a:gd name="connsiteX81" fmla="*/ 2745127 w 4519987"/>
              <a:gd name="connsiteY81" fmla="*/ 4410075 h 4496940"/>
              <a:gd name="connsiteX82" fmla="*/ 2697502 w 4519987"/>
              <a:gd name="connsiteY82" fmla="*/ 4429125 h 4496940"/>
              <a:gd name="connsiteX83" fmla="*/ 2640352 w 4519987"/>
              <a:gd name="connsiteY83" fmla="*/ 4457700 h 4496940"/>
              <a:gd name="connsiteX84" fmla="*/ 2583202 w 4519987"/>
              <a:gd name="connsiteY84" fmla="*/ 4467225 h 4496940"/>
              <a:gd name="connsiteX85" fmla="*/ 2545102 w 4519987"/>
              <a:gd name="connsiteY85" fmla="*/ 4486275 h 4496940"/>
              <a:gd name="connsiteX86" fmla="*/ 2306977 w 4519987"/>
              <a:gd name="connsiteY86" fmla="*/ 4476750 h 4496940"/>
              <a:gd name="connsiteX87" fmla="*/ 2202202 w 4519987"/>
              <a:gd name="connsiteY87" fmla="*/ 4457700 h 4496940"/>
              <a:gd name="connsiteX88" fmla="*/ 2126002 w 4519987"/>
              <a:gd name="connsiteY88" fmla="*/ 4429125 h 4496940"/>
              <a:gd name="connsiteX89" fmla="*/ 1935502 w 4519987"/>
              <a:gd name="connsiteY89" fmla="*/ 4400550 h 4496940"/>
              <a:gd name="connsiteX90" fmla="*/ 1821202 w 4519987"/>
              <a:gd name="connsiteY90" fmla="*/ 4371975 h 4496940"/>
              <a:gd name="connsiteX91" fmla="*/ 1754527 w 4519987"/>
              <a:gd name="connsiteY91" fmla="*/ 4352925 h 4496940"/>
              <a:gd name="connsiteX92" fmla="*/ 1687852 w 4519987"/>
              <a:gd name="connsiteY92" fmla="*/ 4343400 h 4496940"/>
              <a:gd name="connsiteX93" fmla="*/ 1573552 w 4519987"/>
              <a:gd name="connsiteY93" fmla="*/ 4305300 h 4496940"/>
              <a:gd name="connsiteX94" fmla="*/ 1402102 w 4519987"/>
              <a:gd name="connsiteY94" fmla="*/ 4276725 h 4496940"/>
              <a:gd name="connsiteX95" fmla="*/ 1287802 w 4519987"/>
              <a:gd name="connsiteY95" fmla="*/ 4229100 h 4496940"/>
              <a:gd name="connsiteX96" fmla="*/ 1221127 w 4519987"/>
              <a:gd name="connsiteY96" fmla="*/ 4200525 h 4496940"/>
              <a:gd name="connsiteX97" fmla="*/ 1144927 w 4519987"/>
              <a:gd name="connsiteY97" fmla="*/ 4171950 h 4496940"/>
              <a:gd name="connsiteX98" fmla="*/ 1087777 w 4519987"/>
              <a:gd name="connsiteY98" fmla="*/ 4143375 h 4496940"/>
              <a:gd name="connsiteX99" fmla="*/ 1030627 w 4519987"/>
              <a:gd name="connsiteY99" fmla="*/ 4124325 h 4496940"/>
              <a:gd name="connsiteX100" fmla="*/ 925852 w 4519987"/>
              <a:gd name="connsiteY100" fmla="*/ 4067175 h 4496940"/>
              <a:gd name="connsiteX101" fmla="*/ 830602 w 4519987"/>
              <a:gd name="connsiteY101" fmla="*/ 3981450 h 4496940"/>
              <a:gd name="connsiteX102" fmla="*/ 763927 w 4519987"/>
              <a:gd name="connsiteY102" fmla="*/ 3914775 h 4496940"/>
              <a:gd name="connsiteX103" fmla="*/ 725827 w 4519987"/>
              <a:gd name="connsiteY103" fmla="*/ 3876675 h 4496940"/>
              <a:gd name="connsiteX104" fmla="*/ 697252 w 4519987"/>
              <a:gd name="connsiteY104" fmla="*/ 3838575 h 4496940"/>
              <a:gd name="connsiteX105" fmla="*/ 640102 w 4519987"/>
              <a:gd name="connsiteY105" fmla="*/ 3781425 h 4496940"/>
              <a:gd name="connsiteX106" fmla="*/ 611527 w 4519987"/>
              <a:gd name="connsiteY106" fmla="*/ 3733800 h 4496940"/>
              <a:gd name="connsiteX107" fmla="*/ 554377 w 4519987"/>
              <a:gd name="connsiteY107" fmla="*/ 3657600 h 4496940"/>
              <a:gd name="connsiteX108" fmla="*/ 525802 w 4519987"/>
              <a:gd name="connsiteY108" fmla="*/ 3609975 h 4496940"/>
              <a:gd name="connsiteX109" fmla="*/ 497227 w 4519987"/>
              <a:gd name="connsiteY109" fmla="*/ 3552825 h 4496940"/>
              <a:gd name="connsiteX110" fmla="*/ 440077 w 4519987"/>
              <a:gd name="connsiteY110" fmla="*/ 3495675 h 4496940"/>
              <a:gd name="connsiteX111" fmla="*/ 411502 w 4519987"/>
              <a:gd name="connsiteY111" fmla="*/ 3448050 h 4496940"/>
              <a:gd name="connsiteX112" fmla="*/ 278152 w 4519987"/>
              <a:gd name="connsiteY112" fmla="*/ 3257550 h 4496940"/>
              <a:gd name="connsiteX113" fmla="*/ 249577 w 4519987"/>
              <a:gd name="connsiteY113" fmla="*/ 3200400 h 4496940"/>
              <a:gd name="connsiteX114" fmla="*/ 240052 w 4519987"/>
              <a:gd name="connsiteY114" fmla="*/ 3162300 h 4496940"/>
              <a:gd name="connsiteX115" fmla="*/ 221002 w 4519987"/>
              <a:gd name="connsiteY115" fmla="*/ 3105150 h 4496940"/>
              <a:gd name="connsiteX116" fmla="*/ 173377 w 4519987"/>
              <a:gd name="connsiteY116" fmla="*/ 3019425 h 4496940"/>
              <a:gd name="connsiteX117" fmla="*/ 144802 w 4519987"/>
              <a:gd name="connsiteY117" fmla="*/ 2924175 h 4496940"/>
              <a:gd name="connsiteX118" fmla="*/ 68602 w 4519987"/>
              <a:gd name="connsiteY118" fmla="*/ 2724150 h 4496940"/>
              <a:gd name="connsiteX119" fmla="*/ 49552 w 4519987"/>
              <a:gd name="connsiteY119" fmla="*/ 2638425 h 4496940"/>
              <a:gd name="connsiteX120" fmla="*/ 40027 w 4519987"/>
              <a:gd name="connsiteY120" fmla="*/ 2562225 h 4496940"/>
              <a:gd name="connsiteX121" fmla="*/ 30502 w 4519987"/>
              <a:gd name="connsiteY121" fmla="*/ 2514600 h 4496940"/>
              <a:gd name="connsiteX122" fmla="*/ 11452 w 4519987"/>
              <a:gd name="connsiteY122" fmla="*/ 2400300 h 4496940"/>
              <a:gd name="connsiteX123" fmla="*/ 20977 w 4519987"/>
              <a:gd name="connsiteY123" fmla="*/ 1905000 h 4496940"/>
              <a:gd name="connsiteX124" fmla="*/ 30502 w 4519987"/>
              <a:gd name="connsiteY124" fmla="*/ 1838325 h 4496940"/>
              <a:gd name="connsiteX125" fmla="*/ 49552 w 4519987"/>
              <a:gd name="connsiteY125" fmla="*/ 1781175 h 4496940"/>
              <a:gd name="connsiteX126" fmla="*/ 59077 w 4519987"/>
              <a:gd name="connsiteY126" fmla="*/ 1743075 h 4496940"/>
              <a:gd name="connsiteX127" fmla="*/ 78127 w 4519987"/>
              <a:gd name="connsiteY127" fmla="*/ 1685925 h 4496940"/>
              <a:gd name="connsiteX128" fmla="*/ 87652 w 4519987"/>
              <a:gd name="connsiteY128" fmla="*/ 1638300 h 4496940"/>
              <a:gd name="connsiteX129" fmla="*/ 106702 w 4519987"/>
              <a:gd name="connsiteY129" fmla="*/ 1590675 h 4496940"/>
              <a:gd name="connsiteX130" fmla="*/ 135277 w 4519987"/>
              <a:gd name="connsiteY130" fmla="*/ 1504950 h 4496940"/>
              <a:gd name="connsiteX131" fmla="*/ 154327 w 4519987"/>
              <a:gd name="connsiteY131" fmla="*/ 1419225 h 4496940"/>
              <a:gd name="connsiteX132" fmla="*/ 230527 w 4519987"/>
              <a:gd name="connsiteY132" fmla="*/ 1276350 h 4496940"/>
              <a:gd name="connsiteX133" fmla="*/ 240052 w 4519987"/>
              <a:gd name="connsiteY133" fmla="*/ 1247775 h 4496940"/>
              <a:gd name="connsiteX134" fmla="*/ 268627 w 4519987"/>
              <a:gd name="connsiteY134" fmla="*/ 1200150 h 4496940"/>
              <a:gd name="connsiteX135" fmla="*/ 287677 w 4519987"/>
              <a:gd name="connsiteY135" fmla="*/ 1152525 h 4496940"/>
              <a:gd name="connsiteX136" fmla="*/ 316252 w 4519987"/>
              <a:gd name="connsiteY136" fmla="*/ 1114425 h 4496940"/>
              <a:gd name="connsiteX137" fmla="*/ 363877 w 4519987"/>
              <a:gd name="connsiteY137" fmla="*/ 1038225 h 4496940"/>
              <a:gd name="connsiteX138" fmla="*/ 382927 w 4519987"/>
              <a:gd name="connsiteY138" fmla="*/ 1009650 h 4496940"/>
              <a:gd name="connsiteX139" fmla="*/ 440077 w 4519987"/>
              <a:gd name="connsiteY139" fmla="*/ 904875 h 4496940"/>
              <a:gd name="connsiteX140" fmla="*/ 478177 w 4519987"/>
              <a:gd name="connsiteY140" fmla="*/ 857250 h 4496940"/>
              <a:gd name="connsiteX141" fmla="*/ 497227 w 4519987"/>
              <a:gd name="connsiteY141" fmla="*/ 828675 h 4496940"/>
              <a:gd name="connsiteX142" fmla="*/ 535327 w 4519987"/>
              <a:gd name="connsiteY142" fmla="*/ 800100 h 4496940"/>
              <a:gd name="connsiteX143" fmla="*/ 602002 w 4519987"/>
              <a:gd name="connsiteY143" fmla="*/ 733425 h 4496940"/>
              <a:gd name="connsiteX144" fmla="*/ 668677 w 4519987"/>
              <a:gd name="connsiteY144" fmla="*/ 676275 h 4496940"/>
              <a:gd name="connsiteX145" fmla="*/ 697252 w 4519987"/>
              <a:gd name="connsiteY145" fmla="*/ 657225 h 4496940"/>
              <a:gd name="connsiteX146" fmla="*/ 840127 w 4519987"/>
              <a:gd name="connsiteY146" fmla="*/ 533400 h 4496940"/>
              <a:gd name="connsiteX147" fmla="*/ 887752 w 4519987"/>
              <a:gd name="connsiteY147" fmla="*/ 504825 h 4496940"/>
              <a:gd name="connsiteX148" fmla="*/ 1167152 w 4519987"/>
              <a:gd name="connsiteY148" fmla="*/ 311150 h 4496940"/>
              <a:gd name="connsiteX149" fmla="*/ 1268752 w 4519987"/>
              <a:gd name="connsiteY149" fmla="*/ 285750 h 4496940"/>
              <a:gd name="connsiteX150" fmla="*/ 1411627 w 4519987"/>
              <a:gd name="connsiteY150" fmla="*/ 190500 h 4496940"/>
              <a:gd name="connsiteX151" fmla="*/ 1449727 w 4519987"/>
              <a:gd name="connsiteY151" fmla="*/ 161925 h 4496940"/>
              <a:gd name="connsiteX152" fmla="*/ 1525927 w 4519987"/>
              <a:gd name="connsiteY152" fmla="*/ 152400 h 4496940"/>
              <a:gd name="connsiteX153" fmla="*/ 1583077 w 4519987"/>
              <a:gd name="connsiteY153" fmla="*/ 142875 h 4496940"/>
              <a:gd name="connsiteX154" fmla="*/ 1716427 w 4519987"/>
              <a:gd name="connsiteY154" fmla="*/ 123825 h 4496940"/>
              <a:gd name="connsiteX155" fmla="*/ 1811677 w 4519987"/>
              <a:gd name="connsiteY155" fmla="*/ 114300 h 4496940"/>
              <a:gd name="connsiteX156" fmla="*/ 1859302 w 4519987"/>
              <a:gd name="connsiteY156" fmla="*/ 104775 h 4496940"/>
              <a:gd name="connsiteX157" fmla="*/ 1916452 w 4519987"/>
              <a:gd name="connsiteY157" fmla="*/ 95250 h 4496940"/>
              <a:gd name="connsiteX158" fmla="*/ 2030752 w 4519987"/>
              <a:gd name="connsiteY158" fmla="*/ 66675 h 4496940"/>
              <a:gd name="connsiteX159" fmla="*/ 2097427 w 4519987"/>
              <a:gd name="connsiteY159" fmla="*/ 47625 h 4496940"/>
              <a:gd name="connsiteX160" fmla="*/ 2164102 w 4519987"/>
              <a:gd name="connsiteY160" fmla="*/ 38100 h 4496940"/>
              <a:gd name="connsiteX161" fmla="*/ 2392702 w 4519987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278652 w 4519987"/>
              <a:gd name="connsiteY50" fmla="*/ 3248025 h 4496940"/>
              <a:gd name="connsiteX51" fmla="*/ 4259602 w 4519987"/>
              <a:gd name="connsiteY51" fmla="*/ 3276600 h 4496940"/>
              <a:gd name="connsiteX52" fmla="*/ 4221502 w 4519987"/>
              <a:gd name="connsiteY52" fmla="*/ 3333750 h 4496940"/>
              <a:gd name="connsiteX53" fmla="*/ 4211977 w 4519987"/>
              <a:gd name="connsiteY53" fmla="*/ 3362325 h 4496940"/>
              <a:gd name="connsiteX54" fmla="*/ 4183402 w 4519987"/>
              <a:gd name="connsiteY54" fmla="*/ 3400425 h 4496940"/>
              <a:gd name="connsiteX55" fmla="*/ 4164352 w 4519987"/>
              <a:gd name="connsiteY55" fmla="*/ 3429000 h 4496940"/>
              <a:gd name="connsiteX56" fmla="*/ 4088152 w 4519987"/>
              <a:gd name="connsiteY56" fmla="*/ 3495675 h 4496940"/>
              <a:gd name="connsiteX57" fmla="*/ 4059577 w 4519987"/>
              <a:gd name="connsiteY57" fmla="*/ 3533775 h 4496940"/>
              <a:gd name="connsiteX58" fmla="*/ 4002427 w 4519987"/>
              <a:gd name="connsiteY58" fmla="*/ 3600450 h 4496940"/>
              <a:gd name="connsiteX59" fmla="*/ 3983377 w 4519987"/>
              <a:gd name="connsiteY59" fmla="*/ 3629025 h 4496940"/>
              <a:gd name="connsiteX60" fmla="*/ 3954802 w 4519987"/>
              <a:gd name="connsiteY60" fmla="*/ 3648075 h 4496940"/>
              <a:gd name="connsiteX61" fmla="*/ 3907177 w 4519987"/>
              <a:gd name="connsiteY61" fmla="*/ 3686175 h 4496940"/>
              <a:gd name="connsiteX62" fmla="*/ 3869077 w 4519987"/>
              <a:gd name="connsiteY62" fmla="*/ 3724275 h 4496940"/>
              <a:gd name="connsiteX63" fmla="*/ 3792877 w 4519987"/>
              <a:gd name="connsiteY63" fmla="*/ 3781425 h 4496940"/>
              <a:gd name="connsiteX64" fmla="*/ 3783352 w 4519987"/>
              <a:gd name="connsiteY64" fmla="*/ 3810000 h 4496940"/>
              <a:gd name="connsiteX65" fmla="*/ 3745252 w 4519987"/>
              <a:gd name="connsiteY65" fmla="*/ 3819525 h 4496940"/>
              <a:gd name="connsiteX66" fmla="*/ 3678577 w 4519987"/>
              <a:gd name="connsiteY66" fmla="*/ 3848100 h 4496940"/>
              <a:gd name="connsiteX67" fmla="*/ 3659527 w 4519987"/>
              <a:gd name="connsiteY67" fmla="*/ 3971925 h 4496940"/>
              <a:gd name="connsiteX68" fmla="*/ 3630952 w 4519987"/>
              <a:gd name="connsiteY68" fmla="*/ 4010025 h 4496940"/>
              <a:gd name="connsiteX69" fmla="*/ 3621427 w 4519987"/>
              <a:gd name="connsiteY69" fmla="*/ 4038600 h 4496940"/>
              <a:gd name="connsiteX70" fmla="*/ 3554752 w 4519987"/>
              <a:gd name="connsiteY70" fmla="*/ 4095750 h 4496940"/>
              <a:gd name="connsiteX71" fmla="*/ 3516652 w 4519987"/>
              <a:gd name="connsiteY71" fmla="*/ 4114800 h 4496940"/>
              <a:gd name="connsiteX72" fmla="*/ 3497602 w 4519987"/>
              <a:gd name="connsiteY72" fmla="*/ 4143375 h 4496940"/>
              <a:gd name="connsiteX73" fmla="*/ 3383302 w 4519987"/>
              <a:gd name="connsiteY73" fmla="*/ 4210050 h 4496940"/>
              <a:gd name="connsiteX74" fmla="*/ 3335677 w 4519987"/>
              <a:gd name="connsiteY74" fmla="*/ 4238625 h 4496940"/>
              <a:gd name="connsiteX75" fmla="*/ 3288052 w 4519987"/>
              <a:gd name="connsiteY75" fmla="*/ 4248150 h 4496940"/>
              <a:gd name="connsiteX76" fmla="*/ 3240427 w 4519987"/>
              <a:gd name="connsiteY76" fmla="*/ 4267200 h 4496940"/>
              <a:gd name="connsiteX77" fmla="*/ 3068977 w 4519987"/>
              <a:gd name="connsiteY77" fmla="*/ 4286250 h 4496940"/>
              <a:gd name="connsiteX78" fmla="*/ 2935627 w 4519987"/>
              <a:gd name="connsiteY78" fmla="*/ 4333875 h 4496940"/>
              <a:gd name="connsiteX79" fmla="*/ 2811802 w 4519987"/>
              <a:gd name="connsiteY79" fmla="*/ 4371975 h 4496940"/>
              <a:gd name="connsiteX80" fmla="*/ 2745127 w 4519987"/>
              <a:gd name="connsiteY80" fmla="*/ 4410075 h 4496940"/>
              <a:gd name="connsiteX81" fmla="*/ 2697502 w 4519987"/>
              <a:gd name="connsiteY81" fmla="*/ 4429125 h 4496940"/>
              <a:gd name="connsiteX82" fmla="*/ 2640352 w 4519987"/>
              <a:gd name="connsiteY82" fmla="*/ 4457700 h 4496940"/>
              <a:gd name="connsiteX83" fmla="*/ 2583202 w 4519987"/>
              <a:gd name="connsiteY83" fmla="*/ 4467225 h 4496940"/>
              <a:gd name="connsiteX84" fmla="*/ 2545102 w 4519987"/>
              <a:gd name="connsiteY84" fmla="*/ 4486275 h 4496940"/>
              <a:gd name="connsiteX85" fmla="*/ 2306977 w 4519987"/>
              <a:gd name="connsiteY85" fmla="*/ 4476750 h 4496940"/>
              <a:gd name="connsiteX86" fmla="*/ 2202202 w 4519987"/>
              <a:gd name="connsiteY86" fmla="*/ 4457700 h 4496940"/>
              <a:gd name="connsiteX87" fmla="*/ 2126002 w 4519987"/>
              <a:gd name="connsiteY87" fmla="*/ 4429125 h 4496940"/>
              <a:gd name="connsiteX88" fmla="*/ 1935502 w 4519987"/>
              <a:gd name="connsiteY88" fmla="*/ 4400550 h 4496940"/>
              <a:gd name="connsiteX89" fmla="*/ 1821202 w 4519987"/>
              <a:gd name="connsiteY89" fmla="*/ 4371975 h 4496940"/>
              <a:gd name="connsiteX90" fmla="*/ 1754527 w 4519987"/>
              <a:gd name="connsiteY90" fmla="*/ 4352925 h 4496940"/>
              <a:gd name="connsiteX91" fmla="*/ 1687852 w 4519987"/>
              <a:gd name="connsiteY91" fmla="*/ 4343400 h 4496940"/>
              <a:gd name="connsiteX92" fmla="*/ 1573552 w 4519987"/>
              <a:gd name="connsiteY92" fmla="*/ 4305300 h 4496940"/>
              <a:gd name="connsiteX93" fmla="*/ 1402102 w 4519987"/>
              <a:gd name="connsiteY93" fmla="*/ 4276725 h 4496940"/>
              <a:gd name="connsiteX94" fmla="*/ 1287802 w 4519987"/>
              <a:gd name="connsiteY94" fmla="*/ 4229100 h 4496940"/>
              <a:gd name="connsiteX95" fmla="*/ 1221127 w 4519987"/>
              <a:gd name="connsiteY95" fmla="*/ 4200525 h 4496940"/>
              <a:gd name="connsiteX96" fmla="*/ 1144927 w 4519987"/>
              <a:gd name="connsiteY96" fmla="*/ 4171950 h 4496940"/>
              <a:gd name="connsiteX97" fmla="*/ 1087777 w 4519987"/>
              <a:gd name="connsiteY97" fmla="*/ 4143375 h 4496940"/>
              <a:gd name="connsiteX98" fmla="*/ 1030627 w 4519987"/>
              <a:gd name="connsiteY98" fmla="*/ 4124325 h 4496940"/>
              <a:gd name="connsiteX99" fmla="*/ 925852 w 4519987"/>
              <a:gd name="connsiteY99" fmla="*/ 4067175 h 4496940"/>
              <a:gd name="connsiteX100" fmla="*/ 830602 w 4519987"/>
              <a:gd name="connsiteY100" fmla="*/ 3981450 h 4496940"/>
              <a:gd name="connsiteX101" fmla="*/ 763927 w 4519987"/>
              <a:gd name="connsiteY101" fmla="*/ 3914775 h 4496940"/>
              <a:gd name="connsiteX102" fmla="*/ 725827 w 4519987"/>
              <a:gd name="connsiteY102" fmla="*/ 3876675 h 4496940"/>
              <a:gd name="connsiteX103" fmla="*/ 697252 w 4519987"/>
              <a:gd name="connsiteY103" fmla="*/ 3838575 h 4496940"/>
              <a:gd name="connsiteX104" fmla="*/ 640102 w 4519987"/>
              <a:gd name="connsiteY104" fmla="*/ 3781425 h 4496940"/>
              <a:gd name="connsiteX105" fmla="*/ 611527 w 4519987"/>
              <a:gd name="connsiteY105" fmla="*/ 3733800 h 4496940"/>
              <a:gd name="connsiteX106" fmla="*/ 554377 w 4519987"/>
              <a:gd name="connsiteY106" fmla="*/ 3657600 h 4496940"/>
              <a:gd name="connsiteX107" fmla="*/ 525802 w 4519987"/>
              <a:gd name="connsiteY107" fmla="*/ 3609975 h 4496940"/>
              <a:gd name="connsiteX108" fmla="*/ 497227 w 4519987"/>
              <a:gd name="connsiteY108" fmla="*/ 3552825 h 4496940"/>
              <a:gd name="connsiteX109" fmla="*/ 440077 w 4519987"/>
              <a:gd name="connsiteY109" fmla="*/ 3495675 h 4496940"/>
              <a:gd name="connsiteX110" fmla="*/ 411502 w 4519987"/>
              <a:gd name="connsiteY110" fmla="*/ 3448050 h 4496940"/>
              <a:gd name="connsiteX111" fmla="*/ 278152 w 4519987"/>
              <a:gd name="connsiteY111" fmla="*/ 3257550 h 4496940"/>
              <a:gd name="connsiteX112" fmla="*/ 249577 w 4519987"/>
              <a:gd name="connsiteY112" fmla="*/ 3200400 h 4496940"/>
              <a:gd name="connsiteX113" fmla="*/ 240052 w 4519987"/>
              <a:gd name="connsiteY113" fmla="*/ 3162300 h 4496940"/>
              <a:gd name="connsiteX114" fmla="*/ 221002 w 4519987"/>
              <a:gd name="connsiteY114" fmla="*/ 3105150 h 4496940"/>
              <a:gd name="connsiteX115" fmla="*/ 173377 w 4519987"/>
              <a:gd name="connsiteY115" fmla="*/ 3019425 h 4496940"/>
              <a:gd name="connsiteX116" fmla="*/ 144802 w 4519987"/>
              <a:gd name="connsiteY116" fmla="*/ 2924175 h 4496940"/>
              <a:gd name="connsiteX117" fmla="*/ 68602 w 4519987"/>
              <a:gd name="connsiteY117" fmla="*/ 2724150 h 4496940"/>
              <a:gd name="connsiteX118" fmla="*/ 49552 w 4519987"/>
              <a:gd name="connsiteY118" fmla="*/ 2638425 h 4496940"/>
              <a:gd name="connsiteX119" fmla="*/ 40027 w 4519987"/>
              <a:gd name="connsiteY119" fmla="*/ 2562225 h 4496940"/>
              <a:gd name="connsiteX120" fmla="*/ 30502 w 4519987"/>
              <a:gd name="connsiteY120" fmla="*/ 2514600 h 4496940"/>
              <a:gd name="connsiteX121" fmla="*/ 11452 w 4519987"/>
              <a:gd name="connsiteY121" fmla="*/ 2400300 h 4496940"/>
              <a:gd name="connsiteX122" fmla="*/ 20977 w 4519987"/>
              <a:gd name="connsiteY122" fmla="*/ 1905000 h 4496940"/>
              <a:gd name="connsiteX123" fmla="*/ 30502 w 4519987"/>
              <a:gd name="connsiteY123" fmla="*/ 1838325 h 4496940"/>
              <a:gd name="connsiteX124" fmla="*/ 49552 w 4519987"/>
              <a:gd name="connsiteY124" fmla="*/ 1781175 h 4496940"/>
              <a:gd name="connsiteX125" fmla="*/ 59077 w 4519987"/>
              <a:gd name="connsiteY125" fmla="*/ 1743075 h 4496940"/>
              <a:gd name="connsiteX126" fmla="*/ 78127 w 4519987"/>
              <a:gd name="connsiteY126" fmla="*/ 1685925 h 4496940"/>
              <a:gd name="connsiteX127" fmla="*/ 87652 w 4519987"/>
              <a:gd name="connsiteY127" fmla="*/ 1638300 h 4496940"/>
              <a:gd name="connsiteX128" fmla="*/ 106702 w 4519987"/>
              <a:gd name="connsiteY128" fmla="*/ 1590675 h 4496940"/>
              <a:gd name="connsiteX129" fmla="*/ 135277 w 4519987"/>
              <a:gd name="connsiteY129" fmla="*/ 1504950 h 4496940"/>
              <a:gd name="connsiteX130" fmla="*/ 154327 w 4519987"/>
              <a:gd name="connsiteY130" fmla="*/ 1419225 h 4496940"/>
              <a:gd name="connsiteX131" fmla="*/ 230527 w 4519987"/>
              <a:gd name="connsiteY131" fmla="*/ 1276350 h 4496940"/>
              <a:gd name="connsiteX132" fmla="*/ 240052 w 4519987"/>
              <a:gd name="connsiteY132" fmla="*/ 1247775 h 4496940"/>
              <a:gd name="connsiteX133" fmla="*/ 268627 w 4519987"/>
              <a:gd name="connsiteY133" fmla="*/ 1200150 h 4496940"/>
              <a:gd name="connsiteX134" fmla="*/ 287677 w 4519987"/>
              <a:gd name="connsiteY134" fmla="*/ 1152525 h 4496940"/>
              <a:gd name="connsiteX135" fmla="*/ 316252 w 4519987"/>
              <a:gd name="connsiteY135" fmla="*/ 1114425 h 4496940"/>
              <a:gd name="connsiteX136" fmla="*/ 363877 w 4519987"/>
              <a:gd name="connsiteY136" fmla="*/ 1038225 h 4496940"/>
              <a:gd name="connsiteX137" fmla="*/ 382927 w 4519987"/>
              <a:gd name="connsiteY137" fmla="*/ 1009650 h 4496940"/>
              <a:gd name="connsiteX138" fmla="*/ 440077 w 4519987"/>
              <a:gd name="connsiteY138" fmla="*/ 904875 h 4496940"/>
              <a:gd name="connsiteX139" fmla="*/ 478177 w 4519987"/>
              <a:gd name="connsiteY139" fmla="*/ 857250 h 4496940"/>
              <a:gd name="connsiteX140" fmla="*/ 497227 w 4519987"/>
              <a:gd name="connsiteY140" fmla="*/ 828675 h 4496940"/>
              <a:gd name="connsiteX141" fmla="*/ 535327 w 4519987"/>
              <a:gd name="connsiteY141" fmla="*/ 800100 h 4496940"/>
              <a:gd name="connsiteX142" fmla="*/ 602002 w 4519987"/>
              <a:gd name="connsiteY142" fmla="*/ 733425 h 4496940"/>
              <a:gd name="connsiteX143" fmla="*/ 668677 w 4519987"/>
              <a:gd name="connsiteY143" fmla="*/ 676275 h 4496940"/>
              <a:gd name="connsiteX144" fmla="*/ 697252 w 4519987"/>
              <a:gd name="connsiteY144" fmla="*/ 657225 h 4496940"/>
              <a:gd name="connsiteX145" fmla="*/ 840127 w 4519987"/>
              <a:gd name="connsiteY145" fmla="*/ 533400 h 4496940"/>
              <a:gd name="connsiteX146" fmla="*/ 887752 w 4519987"/>
              <a:gd name="connsiteY146" fmla="*/ 504825 h 4496940"/>
              <a:gd name="connsiteX147" fmla="*/ 1167152 w 4519987"/>
              <a:gd name="connsiteY147" fmla="*/ 311150 h 4496940"/>
              <a:gd name="connsiteX148" fmla="*/ 1268752 w 4519987"/>
              <a:gd name="connsiteY148" fmla="*/ 285750 h 4496940"/>
              <a:gd name="connsiteX149" fmla="*/ 1411627 w 4519987"/>
              <a:gd name="connsiteY149" fmla="*/ 190500 h 4496940"/>
              <a:gd name="connsiteX150" fmla="*/ 1449727 w 4519987"/>
              <a:gd name="connsiteY150" fmla="*/ 161925 h 4496940"/>
              <a:gd name="connsiteX151" fmla="*/ 1525927 w 4519987"/>
              <a:gd name="connsiteY151" fmla="*/ 152400 h 4496940"/>
              <a:gd name="connsiteX152" fmla="*/ 1583077 w 4519987"/>
              <a:gd name="connsiteY152" fmla="*/ 142875 h 4496940"/>
              <a:gd name="connsiteX153" fmla="*/ 1716427 w 4519987"/>
              <a:gd name="connsiteY153" fmla="*/ 123825 h 4496940"/>
              <a:gd name="connsiteX154" fmla="*/ 1811677 w 4519987"/>
              <a:gd name="connsiteY154" fmla="*/ 114300 h 4496940"/>
              <a:gd name="connsiteX155" fmla="*/ 1859302 w 4519987"/>
              <a:gd name="connsiteY155" fmla="*/ 104775 h 4496940"/>
              <a:gd name="connsiteX156" fmla="*/ 1916452 w 4519987"/>
              <a:gd name="connsiteY156" fmla="*/ 95250 h 4496940"/>
              <a:gd name="connsiteX157" fmla="*/ 2030752 w 4519987"/>
              <a:gd name="connsiteY157" fmla="*/ 66675 h 4496940"/>
              <a:gd name="connsiteX158" fmla="*/ 2097427 w 4519987"/>
              <a:gd name="connsiteY158" fmla="*/ 47625 h 4496940"/>
              <a:gd name="connsiteX159" fmla="*/ 2164102 w 4519987"/>
              <a:gd name="connsiteY159" fmla="*/ 38100 h 4496940"/>
              <a:gd name="connsiteX160" fmla="*/ 2392702 w 4519987"/>
              <a:gd name="connsiteY16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278652 w 4519987"/>
              <a:gd name="connsiteY49" fmla="*/ 3248025 h 4496940"/>
              <a:gd name="connsiteX50" fmla="*/ 4259602 w 4519987"/>
              <a:gd name="connsiteY50" fmla="*/ 3276600 h 4496940"/>
              <a:gd name="connsiteX51" fmla="*/ 4221502 w 4519987"/>
              <a:gd name="connsiteY51" fmla="*/ 3333750 h 4496940"/>
              <a:gd name="connsiteX52" fmla="*/ 4211977 w 4519987"/>
              <a:gd name="connsiteY52" fmla="*/ 3362325 h 4496940"/>
              <a:gd name="connsiteX53" fmla="*/ 4183402 w 4519987"/>
              <a:gd name="connsiteY53" fmla="*/ 3400425 h 4496940"/>
              <a:gd name="connsiteX54" fmla="*/ 4164352 w 4519987"/>
              <a:gd name="connsiteY54" fmla="*/ 3429000 h 4496940"/>
              <a:gd name="connsiteX55" fmla="*/ 4088152 w 4519987"/>
              <a:gd name="connsiteY55" fmla="*/ 3495675 h 4496940"/>
              <a:gd name="connsiteX56" fmla="*/ 4059577 w 4519987"/>
              <a:gd name="connsiteY56" fmla="*/ 3533775 h 4496940"/>
              <a:gd name="connsiteX57" fmla="*/ 4002427 w 4519987"/>
              <a:gd name="connsiteY57" fmla="*/ 3600450 h 4496940"/>
              <a:gd name="connsiteX58" fmla="*/ 3983377 w 4519987"/>
              <a:gd name="connsiteY58" fmla="*/ 3629025 h 4496940"/>
              <a:gd name="connsiteX59" fmla="*/ 3954802 w 4519987"/>
              <a:gd name="connsiteY59" fmla="*/ 3648075 h 4496940"/>
              <a:gd name="connsiteX60" fmla="*/ 3907177 w 4519987"/>
              <a:gd name="connsiteY60" fmla="*/ 3686175 h 4496940"/>
              <a:gd name="connsiteX61" fmla="*/ 3869077 w 4519987"/>
              <a:gd name="connsiteY61" fmla="*/ 3724275 h 4496940"/>
              <a:gd name="connsiteX62" fmla="*/ 3792877 w 4519987"/>
              <a:gd name="connsiteY62" fmla="*/ 3781425 h 4496940"/>
              <a:gd name="connsiteX63" fmla="*/ 3783352 w 4519987"/>
              <a:gd name="connsiteY63" fmla="*/ 3810000 h 4496940"/>
              <a:gd name="connsiteX64" fmla="*/ 3745252 w 4519987"/>
              <a:gd name="connsiteY64" fmla="*/ 3819525 h 4496940"/>
              <a:gd name="connsiteX65" fmla="*/ 3678577 w 4519987"/>
              <a:gd name="connsiteY65" fmla="*/ 3848100 h 4496940"/>
              <a:gd name="connsiteX66" fmla="*/ 3659527 w 4519987"/>
              <a:gd name="connsiteY66" fmla="*/ 3971925 h 4496940"/>
              <a:gd name="connsiteX67" fmla="*/ 3630952 w 4519987"/>
              <a:gd name="connsiteY67" fmla="*/ 4010025 h 4496940"/>
              <a:gd name="connsiteX68" fmla="*/ 3621427 w 4519987"/>
              <a:gd name="connsiteY68" fmla="*/ 4038600 h 4496940"/>
              <a:gd name="connsiteX69" fmla="*/ 3554752 w 4519987"/>
              <a:gd name="connsiteY69" fmla="*/ 4095750 h 4496940"/>
              <a:gd name="connsiteX70" fmla="*/ 3516652 w 4519987"/>
              <a:gd name="connsiteY70" fmla="*/ 4114800 h 4496940"/>
              <a:gd name="connsiteX71" fmla="*/ 3497602 w 4519987"/>
              <a:gd name="connsiteY71" fmla="*/ 4143375 h 4496940"/>
              <a:gd name="connsiteX72" fmla="*/ 3383302 w 4519987"/>
              <a:gd name="connsiteY72" fmla="*/ 4210050 h 4496940"/>
              <a:gd name="connsiteX73" fmla="*/ 3335677 w 4519987"/>
              <a:gd name="connsiteY73" fmla="*/ 4238625 h 4496940"/>
              <a:gd name="connsiteX74" fmla="*/ 3288052 w 4519987"/>
              <a:gd name="connsiteY74" fmla="*/ 4248150 h 4496940"/>
              <a:gd name="connsiteX75" fmla="*/ 3240427 w 4519987"/>
              <a:gd name="connsiteY75" fmla="*/ 4267200 h 4496940"/>
              <a:gd name="connsiteX76" fmla="*/ 3068977 w 4519987"/>
              <a:gd name="connsiteY76" fmla="*/ 4286250 h 4496940"/>
              <a:gd name="connsiteX77" fmla="*/ 2935627 w 4519987"/>
              <a:gd name="connsiteY77" fmla="*/ 4333875 h 4496940"/>
              <a:gd name="connsiteX78" fmla="*/ 2811802 w 4519987"/>
              <a:gd name="connsiteY78" fmla="*/ 4371975 h 4496940"/>
              <a:gd name="connsiteX79" fmla="*/ 2745127 w 4519987"/>
              <a:gd name="connsiteY79" fmla="*/ 4410075 h 4496940"/>
              <a:gd name="connsiteX80" fmla="*/ 2697502 w 4519987"/>
              <a:gd name="connsiteY80" fmla="*/ 4429125 h 4496940"/>
              <a:gd name="connsiteX81" fmla="*/ 2640352 w 4519987"/>
              <a:gd name="connsiteY81" fmla="*/ 4457700 h 4496940"/>
              <a:gd name="connsiteX82" fmla="*/ 2583202 w 4519987"/>
              <a:gd name="connsiteY82" fmla="*/ 4467225 h 4496940"/>
              <a:gd name="connsiteX83" fmla="*/ 2545102 w 4519987"/>
              <a:gd name="connsiteY83" fmla="*/ 4486275 h 4496940"/>
              <a:gd name="connsiteX84" fmla="*/ 2306977 w 4519987"/>
              <a:gd name="connsiteY84" fmla="*/ 4476750 h 4496940"/>
              <a:gd name="connsiteX85" fmla="*/ 2202202 w 4519987"/>
              <a:gd name="connsiteY85" fmla="*/ 4457700 h 4496940"/>
              <a:gd name="connsiteX86" fmla="*/ 2126002 w 4519987"/>
              <a:gd name="connsiteY86" fmla="*/ 4429125 h 4496940"/>
              <a:gd name="connsiteX87" fmla="*/ 1935502 w 4519987"/>
              <a:gd name="connsiteY87" fmla="*/ 4400550 h 4496940"/>
              <a:gd name="connsiteX88" fmla="*/ 1821202 w 4519987"/>
              <a:gd name="connsiteY88" fmla="*/ 4371975 h 4496940"/>
              <a:gd name="connsiteX89" fmla="*/ 1754527 w 4519987"/>
              <a:gd name="connsiteY89" fmla="*/ 4352925 h 4496940"/>
              <a:gd name="connsiteX90" fmla="*/ 1687852 w 4519987"/>
              <a:gd name="connsiteY90" fmla="*/ 4343400 h 4496940"/>
              <a:gd name="connsiteX91" fmla="*/ 1573552 w 4519987"/>
              <a:gd name="connsiteY91" fmla="*/ 4305300 h 4496940"/>
              <a:gd name="connsiteX92" fmla="*/ 1402102 w 4519987"/>
              <a:gd name="connsiteY92" fmla="*/ 4276725 h 4496940"/>
              <a:gd name="connsiteX93" fmla="*/ 1287802 w 4519987"/>
              <a:gd name="connsiteY93" fmla="*/ 4229100 h 4496940"/>
              <a:gd name="connsiteX94" fmla="*/ 1221127 w 4519987"/>
              <a:gd name="connsiteY94" fmla="*/ 4200525 h 4496940"/>
              <a:gd name="connsiteX95" fmla="*/ 1144927 w 4519987"/>
              <a:gd name="connsiteY95" fmla="*/ 4171950 h 4496940"/>
              <a:gd name="connsiteX96" fmla="*/ 1087777 w 4519987"/>
              <a:gd name="connsiteY96" fmla="*/ 4143375 h 4496940"/>
              <a:gd name="connsiteX97" fmla="*/ 1030627 w 4519987"/>
              <a:gd name="connsiteY97" fmla="*/ 4124325 h 4496940"/>
              <a:gd name="connsiteX98" fmla="*/ 925852 w 4519987"/>
              <a:gd name="connsiteY98" fmla="*/ 4067175 h 4496940"/>
              <a:gd name="connsiteX99" fmla="*/ 830602 w 4519987"/>
              <a:gd name="connsiteY99" fmla="*/ 3981450 h 4496940"/>
              <a:gd name="connsiteX100" fmla="*/ 763927 w 4519987"/>
              <a:gd name="connsiteY100" fmla="*/ 3914775 h 4496940"/>
              <a:gd name="connsiteX101" fmla="*/ 725827 w 4519987"/>
              <a:gd name="connsiteY101" fmla="*/ 3876675 h 4496940"/>
              <a:gd name="connsiteX102" fmla="*/ 697252 w 4519987"/>
              <a:gd name="connsiteY102" fmla="*/ 3838575 h 4496940"/>
              <a:gd name="connsiteX103" fmla="*/ 640102 w 4519987"/>
              <a:gd name="connsiteY103" fmla="*/ 3781425 h 4496940"/>
              <a:gd name="connsiteX104" fmla="*/ 611527 w 4519987"/>
              <a:gd name="connsiteY104" fmla="*/ 3733800 h 4496940"/>
              <a:gd name="connsiteX105" fmla="*/ 554377 w 4519987"/>
              <a:gd name="connsiteY105" fmla="*/ 3657600 h 4496940"/>
              <a:gd name="connsiteX106" fmla="*/ 525802 w 4519987"/>
              <a:gd name="connsiteY106" fmla="*/ 3609975 h 4496940"/>
              <a:gd name="connsiteX107" fmla="*/ 497227 w 4519987"/>
              <a:gd name="connsiteY107" fmla="*/ 3552825 h 4496940"/>
              <a:gd name="connsiteX108" fmla="*/ 440077 w 4519987"/>
              <a:gd name="connsiteY108" fmla="*/ 3495675 h 4496940"/>
              <a:gd name="connsiteX109" fmla="*/ 411502 w 4519987"/>
              <a:gd name="connsiteY109" fmla="*/ 3448050 h 4496940"/>
              <a:gd name="connsiteX110" fmla="*/ 278152 w 4519987"/>
              <a:gd name="connsiteY110" fmla="*/ 3257550 h 4496940"/>
              <a:gd name="connsiteX111" fmla="*/ 249577 w 4519987"/>
              <a:gd name="connsiteY111" fmla="*/ 3200400 h 4496940"/>
              <a:gd name="connsiteX112" fmla="*/ 240052 w 4519987"/>
              <a:gd name="connsiteY112" fmla="*/ 3162300 h 4496940"/>
              <a:gd name="connsiteX113" fmla="*/ 221002 w 4519987"/>
              <a:gd name="connsiteY113" fmla="*/ 3105150 h 4496940"/>
              <a:gd name="connsiteX114" fmla="*/ 173377 w 4519987"/>
              <a:gd name="connsiteY114" fmla="*/ 3019425 h 4496940"/>
              <a:gd name="connsiteX115" fmla="*/ 144802 w 4519987"/>
              <a:gd name="connsiteY115" fmla="*/ 2924175 h 4496940"/>
              <a:gd name="connsiteX116" fmla="*/ 68602 w 4519987"/>
              <a:gd name="connsiteY116" fmla="*/ 2724150 h 4496940"/>
              <a:gd name="connsiteX117" fmla="*/ 49552 w 4519987"/>
              <a:gd name="connsiteY117" fmla="*/ 2638425 h 4496940"/>
              <a:gd name="connsiteX118" fmla="*/ 40027 w 4519987"/>
              <a:gd name="connsiteY118" fmla="*/ 2562225 h 4496940"/>
              <a:gd name="connsiteX119" fmla="*/ 30502 w 4519987"/>
              <a:gd name="connsiteY119" fmla="*/ 2514600 h 4496940"/>
              <a:gd name="connsiteX120" fmla="*/ 11452 w 4519987"/>
              <a:gd name="connsiteY120" fmla="*/ 2400300 h 4496940"/>
              <a:gd name="connsiteX121" fmla="*/ 20977 w 4519987"/>
              <a:gd name="connsiteY121" fmla="*/ 1905000 h 4496940"/>
              <a:gd name="connsiteX122" fmla="*/ 30502 w 4519987"/>
              <a:gd name="connsiteY122" fmla="*/ 1838325 h 4496940"/>
              <a:gd name="connsiteX123" fmla="*/ 49552 w 4519987"/>
              <a:gd name="connsiteY123" fmla="*/ 1781175 h 4496940"/>
              <a:gd name="connsiteX124" fmla="*/ 59077 w 4519987"/>
              <a:gd name="connsiteY124" fmla="*/ 1743075 h 4496940"/>
              <a:gd name="connsiteX125" fmla="*/ 78127 w 4519987"/>
              <a:gd name="connsiteY125" fmla="*/ 1685925 h 4496940"/>
              <a:gd name="connsiteX126" fmla="*/ 87652 w 4519987"/>
              <a:gd name="connsiteY126" fmla="*/ 1638300 h 4496940"/>
              <a:gd name="connsiteX127" fmla="*/ 106702 w 4519987"/>
              <a:gd name="connsiteY127" fmla="*/ 1590675 h 4496940"/>
              <a:gd name="connsiteX128" fmla="*/ 135277 w 4519987"/>
              <a:gd name="connsiteY128" fmla="*/ 1504950 h 4496940"/>
              <a:gd name="connsiteX129" fmla="*/ 154327 w 4519987"/>
              <a:gd name="connsiteY129" fmla="*/ 1419225 h 4496940"/>
              <a:gd name="connsiteX130" fmla="*/ 230527 w 4519987"/>
              <a:gd name="connsiteY130" fmla="*/ 1276350 h 4496940"/>
              <a:gd name="connsiteX131" fmla="*/ 240052 w 4519987"/>
              <a:gd name="connsiteY131" fmla="*/ 1247775 h 4496940"/>
              <a:gd name="connsiteX132" fmla="*/ 268627 w 4519987"/>
              <a:gd name="connsiteY132" fmla="*/ 1200150 h 4496940"/>
              <a:gd name="connsiteX133" fmla="*/ 287677 w 4519987"/>
              <a:gd name="connsiteY133" fmla="*/ 1152525 h 4496940"/>
              <a:gd name="connsiteX134" fmla="*/ 316252 w 4519987"/>
              <a:gd name="connsiteY134" fmla="*/ 1114425 h 4496940"/>
              <a:gd name="connsiteX135" fmla="*/ 363877 w 4519987"/>
              <a:gd name="connsiteY135" fmla="*/ 1038225 h 4496940"/>
              <a:gd name="connsiteX136" fmla="*/ 382927 w 4519987"/>
              <a:gd name="connsiteY136" fmla="*/ 1009650 h 4496940"/>
              <a:gd name="connsiteX137" fmla="*/ 440077 w 4519987"/>
              <a:gd name="connsiteY137" fmla="*/ 904875 h 4496940"/>
              <a:gd name="connsiteX138" fmla="*/ 478177 w 4519987"/>
              <a:gd name="connsiteY138" fmla="*/ 857250 h 4496940"/>
              <a:gd name="connsiteX139" fmla="*/ 497227 w 4519987"/>
              <a:gd name="connsiteY139" fmla="*/ 828675 h 4496940"/>
              <a:gd name="connsiteX140" fmla="*/ 535327 w 4519987"/>
              <a:gd name="connsiteY140" fmla="*/ 800100 h 4496940"/>
              <a:gd name="connsiteX141" fmla="*/ 602002 w 4519987"/>
              <a:gd name="connsiteY141" fmla="*/ 733425 h 4496940"/>
              <a:gd name="connsiteX142" fmla="*/ 668677 w 4519987"/>
              <a:gd name="connsiteY142" fmla="*/ 676275 h 4496940"/>
              <a:gd name="connsiteX143" fmla="*/ 697252 w 4519987"/>
              <a:gd name="connsiteY143" fmla="*/ 657225 h 4496940"/>
              <a:gd name="connsiteX144" fmla="*/ 840127 w 4519987"/>
              <a:gd name="connsiteY144" fmla="*/ 533400 h 4496940"/>
              <a:gd name="connsiteX145" fmla="*/ 887752 w 4519987"/>
              <a:gd name="connsiteY145" fmla="*/ 504825 h 4496940"/>
              <a:gd name="connsiteX146" fmla="*/ 1167152 w 4519987"/>
              <a:gd name="connsiteY146" fmla="*/ 311150 h 4496940"/>
              <a:gd name="connsiteX147" fmla="*/ 1268752 w 4519987"/>
              <a:gd name="connsiteY147" fmla="*/ 285750 h 4496940"/>
              <a:gd name="connsiteX148" fmla="*/ 1411627 w 4519987"/>
              <a:gd name="connsiteY148" fmla="*/ 190500 h 4496940"/>
              <a:gd name="connsiteX149" fmla="*/ 1449727 w 4519987"/>
              <a:gd name="connsiteY149" fmla="*/ 161925 h 4496940"/>
              <a:gd name="connsiteX150" fmla="*/ 1525927 w 4519987"/>
              <a:gd name="connsiteY150" fmla="*/ 152400 h 4496940"/>
              <a:gd name="connsiteX151" fmla="*/ 1583077 w 4519987"/>
              <a:gd name="connsiteY151" fmla="*/ 142875 h 4496940"/>
              <a:gd name="connsiteX152" fmla="*/ 1716427 w 4519987"/>
              <a:gd name="connsiteY152" fmla="*/ 123825 h 4496940"/>
              <a:gd name="connsiteX153" fmla="*/ 1811677 w 4519987"/>
              <a:gd name="connsiteY153" fmla="*/ 114300 h 4496940"/>
              <a:gd name="connsiteX154" fmla="*/ 1859302 w 4519987"/>
              <a:gd name="connsiteY154" fmla="*/ 104775 h 4496940"/>
              <a:gd name="connsiteX155" fmla="*/ 1916452 w 4519987"/>
              <a:gd name="connsiteY155" fmla="*/ 95250 h 4496940"/>
              <a:gd name="connsiteX156" fmla="*/ 2030752 w 4519987"/>
              <a:gd name="connsiteY156" fmla="*/ 66675 h 4496940"/>
              <a:gd name="connsiteX157" fmla="*/ 2097427 w 4519987"/>
              <a:gd name="connsiteY157" fmla="*/ 47625 h 4496940"/>
              <a:gd name="connsiteX158" fmla="*/ 2164102 w 4519987"/>
              <a:gd name="connsiteY158" fmla="*/ 38100 h 4496940"/>
              <a:gd name="connsiteX159" fmla="*/ 2392702 w 4519987"/>
              <a:gd name="connsiteY15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50052 w 4519987"/>
              <a:gd name="connsiteY28" fmla="*/ 790575 h 4496940"/>
              <a:gd name="connsiteX29" fmla="*/ 4078627 w 4519987"/>
              <a:gd name="connsiteY29" fmla="*/ 838200 h 4496940"/>
              <a:gd name="connsiteX30" fmla="*/ 4107202 w 4519987"/>
              <a:gd name="connsiteY30" fmla="*/ 876300 h 4496940"/>
              <a:gd name="connsiteX31" fmla="*/ 4116727 w 4519987"/>
              <a:gd name="connsiteY31" fmla="*/ 904875 h 4496940"/>
              <a:gd name="connsiteX32" fmla="*/ 4135777 w 4519987"/>
              <a:gd name="connsiteY32" fmla="*/ 933450 h 4496940"/>
              <a:gd name="connsiteX33" fmla="*/ 4164352 w 4519987"/>
              <a:gd name="connsiteY33" fmla="*/ 990600 h 4496940"/>
              <a:gd name="connsiteX34" fmla="*/ 4173877 w 4519987"/>
              <a:gd name="connsiteY34" fmla="*/ 1019175 h 4496940"/>
              <a:gd name="connsiteX35" fmla="*/ 4192927 w 4519987"/>
              <a:gd name="connsiteY35" fmla="*/ 1057275 h 4496940"/>
              <a:gd name="connsiteX36" fmla="*/ 4202452 w 4519987"/>
              <a:gd name="connsiteY36" fmla="*/ 1085850 h 4496940"/>
              <a:gd name="connsiteX37" fmla="*/ 4250077 w 4519987"/>
              <a:gd name="connsiteY37" fmla="*/ 1143000 h 4496940"/>
              <a:gd name="connsiteX38" fmla="*/ 4259602 w 4519987"/>
              <a:gd name="connsiteY38" fmla="*/ 1190625 h 4496940"/>
              <a:gd name="connsiteX39" fmla="*/ 4307227 w 4519987"/>
              <a:gd name="connsiteY39" fmla="*/ 1266825 h 4496940"/>
              <a:gd name="connsiteX40" fmla="*/ 4345327 w 4519987"/>
              <a:gd name="connsiteY40" fmla="*/ 1362075 h 4496940"/>
              <a:gd name="connsiteX41" fmla="*/ 4373902 w 4519987"/>
              <a:gd name="connsiteY41" fmla="*/ 1428750 h 4496940"/>
              <a:gd name="connsiteX42" fmla="*/ 4392952 w 4519987"/>
              <a:gd name="connsiteY42" fmla="*/ 1552575 h 4496940"/>
              <a:gd name="connsiteX43" fmla="*/ 4402477 w 4519987"/>
              <a:gd name="connsiteY43" fmla="*/ 1590675 h 4496940"/>
              <a:gd name="connsiteX44" fmla="*/ 4431052 w 4519987"/>
              <a:gd name="connsiteY44" fmla="*/ 1685925 h 4496940"/>
              <a:gd name="connsiteX45" fmla="*/ 4519952 w 4519987"/>
              <a:gd name="connsiteY45" fmla="*/ 2181225 h 4496940"/>
              <a:gd name="connsiteX46" fmla="*/ 4446927 w 4519987"/>
              <a:gd name="connsiteY46" fmla="*/ 2768600 h 4496940"/>
              <a:gd name="connsiteX47" fmla="*/ 4383427 w 4519987"/>
              <a:gd name="connsiteY47" fmla="*/ 2990850 h 4496940"/>
              <a:gd name="connsiteX48" fmla="*/ 4278652 w 4519987"/>
              <a:gd name="connsiteY48" fmla="*/ 3248025 h 4496940"/>
              <a:gd name="connsiteX49" fmla="*/ 4259602 w 4519987"/>
              <a:gd name="connsiteY49" fmla="*/ 3276600 h 4496940"/>
              <a:gd name="connsiteX50" fmla="*/ 4221502 w 4519987"/>
              <a:gd name="connsiteY50" fmla="*/ 3333750 h 4496940"/>
              <a:gd name="connsiteX51" fmla="*/ 4211977 w 4519987"/>
              <a:gd name="connsiteY51" fmla="*/ 3362325 h 4496940"/>
              <a:gd name="connsiteX52" fmla="*/ 4183402 w 4519987"/>
              <a:gd name="connsiteY52" fmla="*/ 3400425 h 4496940"/>
              <a:gd name="connsiteX53" fmla="*/ 4164352 w 4519987"/>
              <a:gd name="connsiteY53" fmla="*/ 3429000 h 4496940"/>
              <a:gd name="connsiteX54" fmla="*/ 4088152 w 4519987"/>
              <a:gd name="connsiteY54" fmla="*/ 3495675 h 4496940"/>
              <a:gd name="connsiteX55" fmla="*/ 4059577 w 4519987"/>
              <a:gd name="connsiteY55" fmla="*/ 3533775 h 4496940"/>
              <a:gd name="connsiteX56" fmla="*/ 4002427 w 4519987"/>
              <a:gd name="connsiteY56" fmla="*/ 3600450 h 4496940"/>
              <a:gd name="connsiteX57" fmla="*/ 3983377 w 4519987"/>
              <a:gd name="connsiteY57" fmla="*/ 3629025 h 4496940"/>
              <a:gd name="connsiteX58" fmla="*/ 3954802 w 4519987"/>
              <a:gd name="connsiteY58" fmla="*/ 3648075 h 4496940"/>
              <a:gd name="connsiteX59" fmla="*/ 3907177 w 4519987"/>
              <a:gd name="connsiteY59" fmla="*/ 3686175 h 4496940"/>
              <a:gd name="connsiteX60" fmla="*/ 3869077 w 4519987"/>
              <a:gd name="connsiteY60" fmla="*/ 3724275 h 4496940"/>
              <a:gd name="connsiteX61" fmla="*/ 3792877 w 4519987"/>
              <a:gd name="connsiteY61" fmla="*/ 3781425 h 4496940"/>
              <a:gd name="connsiteX62" fmla="*/ 3783352 w 4519987"/>
              <a:gd name="connsiteY62" fmla="*/ 3810000 h 4496940"/>
              <a:gd name="connsiteX63" fmla="*/ 3745252 w 4519987"/>
              <a:gd name="connsiteY63" fmla="*/ 3819525 h 4496940"/>
              <a:gd name="connsiteX64" fmla="*/ 3678577 w 4519987"/>
              <a:gd name="connsiteY64" fmla="*/ 3848100 h 4496940"/>
              <a:gd name="connsiteX65" fmla="*/ 3659527 w 4519987"/>
              <a:gd name="connsiteY65" fmla="*/ 3971925 h 4496940"/>
              <a:gd name="connsiteX66" fmla="*/ 3630952 w 4519987"/>
              <a:gd name="connsiteY66" fmla="*/ 4010025 h 4496940"/>
              <a:gd name="connsiteX67" fmla="*/ 3621427 w 4519987"/>
              <a:gd name="connsiteY67" fmla="*/ 4038600 h 4496940"/>
              <a:gd name="connsiteX68" fmla="*/ 3554752 w 4519987"/>
              <a:gd name="connsiteY68" fmla="*/ 4095750 h 4496940"/>
              <a:gd name="connsiteX69" fmla="*/ 3516652 w 4519987"/>
              <a:gd name="connsiteY69" fmla="*/ 4114800 h 4496940"/>
              <a:gd name="connsiteX70" fmla="*/ 3497602 w 4519987"/>
              <a:gd name="connsiteY70" fmla="*/ 4143375 h 4496940"/>
              <a:gd name="connsiteX71" fmla="*/ 3383302 w 4519987"/>
              <a:gd name="connsiteY71" fmla="*/ 4210050 h 4496940"/>
              <a:gd name="connsiteX72" fmla="*/ 3335677 w 4519987"/>
              <a:gd name="connsiteY72" fmla="*/ 4238625 h 4496940"/>
              <a:gd name="connsiteX73" fmla="*/ 3288052 w 4519987"/>
              <a:gd name="connsiteY73" fmla="*/ 4248150 h 4496940"/>
              <a:gd name="connsiteX74" fmla="*/ 3240427 w 4519987"/>
              <a:gd name="connsiteY74" fmla="*/ 4267200 h 4496940"/>
              <a:gd name="connsiteX75" fmla="*/ 3068977 w 4519987"/>
              <a:gd name="connsiteY75" fmla="*/ 4286250 h 4496940"/>
              <a:gd name="connsiteX76" fmla="*/ 2935627 w 4519987"/>
              <a:gd name="connsiteY76" fmla="*/ 4333875 h 4496940"/>
              <a:gd name="connsiteX77" fmla="*/ 2811802 w 4519987"/>
              <a:gd name="connsiteY77" fmla="*/ 4371975 h 4496940"/>
              <a:gd name="connsiteX78" fmla="*/ 2745127 w 4519987"/>
              <a:gd name="connsiteY78" fmla="*/ 4410075 h 4496940"/>
              <a:gd name="connsiteX79" fmla="*/ 2697502 w 4519987"/>
              <a:gd name="connsiteY79" fmla="*/ 4429125 h 4496940"/>
              <a:gd name="connsiteX80" fmla="*/ 2640352 w 4519987"/>
              <a:gd name="connsiteY80" fmla="*/ 4457700 h 4496940"/>
              <a:gd name="connsiteX81" fmla="*/ 2583202 w 4519987"/>
              <a:gd name="connsiteY81" fmla="*/ 4467225 h 4496940"/>
              <a:gd name="connsiteX82" fmla="*/ 2545102 w 4519987"/>
              <a:gd name="connsiteY82" fmla="*/ 4486275 h 4496940"/>
              <a:gd name="connsiteX83" fmla="*/ 2306977 w 4519987"/>
              <a:gd name="connsiteY83" fmla="*/ 4476750 h 4496940"/>
              <a:gd name="connsiteX84" fmla="*/ 2202202 w 4519987"/>
              <a:gd name="connsiteY84" fmla="*/ 4457700 h 4496940"/>
              <a:gd name="connsiteX85" fmla="*/ 2126002 w 4519987"/>
              <a:gd name="connsiteY85" fmla="*/ 4429125 h 4496940"/>
              <a:gd name="connsiteX86" fmla="*/ 1935502 w 4519987"/>
              <a:gd name="connsiteY86" fmla="*/ 4400550 h 4496940"/>
              <a:gd name="connsiteX87" fmla="*/ 1821202 w 4519987"/>
              <a:gd name="connsiteY87" fmla="*/ 4371975 h 4496940"/>
              <a:gd name="connsiteX88" fmla="*/ 1754527 w 4519987"/>
              <a:gd name="connsiteY88" fmla="*/ 4352925 h 4496940"/>
              <a:gd name="connsiteX89" fmla="*/ 1687852 w 4519987"/>
              <a:gd name="connsiteY89" fmla="*/ 4343400 h 4496940"/>
              <a:gd name="connsiteX90" fmla="*/ 1573552 w 4519987"/>
              <a:gd name="connsiteY90" fmla="*/ 4305300 h 4496940"/>
              <a:gd name="connsiteX91" fmla="*/ 1402102 w 4519987"/>
              <a:gd name="connsiteY91" fmla="*/ 4276725 h 4496940"/>
              <a:gd name="connsiteX92" fmla="*/ 1287802 w 4519987"/>
              <a:gd name="connsiteY92" fmla="*/ 4229100 h 4496940"/>
              <a:gd name="connsiteX93" fmla="*/ 1221127 w 4519987"/>
              <a:gd name="connsiteY93" fmla="*/ 4200525 h 4496940"/>
              <a:gd name="connsiteX94" fmla="*/ 1144927 w 4519987"/>
              <a:gd name="connsiteY94" fmla="*/ 4171950 h 4496940"/>
              <a:gd name="connsiteX95" fmla="*/ 1087777 w 4519987"/>
              <a:gd name="connsiteY95" fmla="*/ 4143375 h 4496940"/>
              <a:gd name="connsiteX96" fmla="*/ 1030627 w 4519987"/>
              <a:gd name="connsiteY96" fmla="*/ 4124325 h 4496940"/>
              <a:gd name="connsiteX97" fmla="*/ 925852 w 4519987"/>
              <a:gd name="connsiteY97" fmla="*/ 4067175 h 4496940"/>
              <a:gd name="connsiteX98" fmla="*/ 830602 w 4519987"/>
              <a:gd name="connsiteY98" fmla="*/ 3981450 h 4496940"/>
              <a:gd name="connsiteX99" fmla="*/ 763927 w 4519987"/>
              <a:gd name="connsiteY99" fmla="*/ 3914775 h 4496940"/>
              <a:gd name="connsiteX100" fmla="*/ 725827 w 4519987"/>
              <a:gd name="connsiteY100" fmla="*/ 3876675 h 4496940"/>
              <a:gd name="connsiteX101" fmla="*/ 697252 w 4519987"/>
              <a:gd name="connsiteY101" fmla="*/ 3838575 h 4496940"/>
              <a:gd name="connsiteX102" fmla="*/ 640102 w 4519987"/>
              <a:gd name="connsiteY102" fmla="*/ 3781425 h 4496940"/>
              <a:gd name="connsiteX103" fmla="*/ 611527 w 4519987"/>
              <a:gd name="connsiteY103" fmla="*/ 3733800 h 4496940"/>
              <a:gd name="connsiteX104" fmla="*/ 554377 w 4519987"/>
              <a:gd name="connsiteY104" fmla="*/ 3657600 h 4496940"/>
              <a:gd name="connsiteX105" fmla="*/ 525802 w 4519987"/>
              <a:gd name="connsiteY105" fmla="*/ 3609975 h 4496940"/>
              <a:gd name="connsiteX106" fmla="*/ 497227 w 4519987"/>
              <a:gd name="connsiteY106" fmla="*/ 3552825 h 4496940"/>
              <a:gd name="connsiteX107" fmla="*/ 440077 w 4519987"/>
              <a:gd name="connsiteY107" fmla="*/ 3495675 h 4496940"/>
              <a:gd name="connsiteX108" fmla="*/ 411502 w 4519987"/>
              <a:gd name="connsiteY108" fmla="*/ 3448050 h 4496940"/>
              <a:gd name="connsiteX109" fmla="*/ 278152 w 4519987"/>
              <a:gd name="connsiteY109" fmla="*/ 3257550 h 4496940"/>
              <a:gd name="connsiteX110" fmla="*/ 249577 w 4519987"/>
              <a:gd name="connsiteY110" fmla="*/ 3200400 h 4496940"/>
              <a:gd name="connsiteX111" fmla="*/ 240052 w 4519987"/>
              <a:gd name="connsiteY111" fmla="*/ 3162300 h 4496940"/>
              <a:gd name="connsiteX112" fmla="*/ 221002 w 4519987"/>
              <a:gd name="connsiteY112" fmla="*/ 3105150 h 4496940"/>
              <a:gd name="connsiteX113" fmla="*/ 173377 w 4519987"/>
              <a:gd name="connsiteY113" fmla="*/ 3019425 h 4496940"/>
              <a:gd name="connsiteX114" fmla="*/ 144802 w 4519987"/>
              <a:gd name="connsiteY114" fmla="*/ 2924175 h 4496940"/>
              <a:gd name="connsiteX115" fmla="*/ 68602 w 4519987"/>
              <a:gd name="connsiteY115" fmla="*/ 2724150 h 4496940"/>
              <a:gd name="connsiteX116" fmla="*/ 49552 w 4519987"/>
              <a:gd name="connsiteY116" fmla="*/ 2638425 h 4496940"/>
              <a:gd name="connsiteX117" fmla="*/ 40027 w 4519987"/>
              <a:gd name="connsiteY117" fmla="*/ 2562225 h 4496940"/>
              <a:gd name="connsiteX118" fmla="*/ 30502 w 4519987"/>
              <a:gd name="connsiteY118" fmla="*/ 2514600 h 4496940"/>
              <a:gd name="connsiteX119" fmla="*/ 11452 w 4519987"/>
              <a:gd name="connsiteY119" fmla="*/ 2400300 h 4496940"/>
              <a:gd name="connsiteX120" fmla="*/ 20977 w 4519987"/>
              <a:gd name="connsiteY120" fmla="*/ 1905000 h 4496940"/>
              <a:gd name="connsiteX121" fmla="*/ 30502 w 4519987"/>
              <a:gd name="connsiteY121" fmla="*/ 1838325 h 4496940"/>
              <a:gd name="connsiteX122" fmla="*/ 49552 w 4519987"/>
              <a:gd name="connsiteY122" fmla="*/ 1781175 h 4496940"/>
              <a:gd name="connsiteX123" fmla="*/ 59077 w 4519987"/>
              <a:gd name="connsiteY123" fmla="*/ 1743075 h 4496940"/>
              <a:gd name="connsiteX124" fmla="*/ 78127 w 4519987"/>
              <a:gd name="connsiteY124" fmla="*/ 1685925 h 4496940"/>
              <a:gd name="connsiteX125" fmla="*/ 87652 w 4519987"/>
              <a:gd name="connsiteY125" fmla="*/ 1638300 h 4496940"/>
              <a:gd name="connsiteX126" fmla="*/ 106702 w 4519987"/>
              <a:gd name="connsiteY126" fmla="*/ 1590675 h 4496940"/>
              <a:gd name="connsiteX127" fmla="*/ 135277 w 4519987"/>
              <a:gd name="connsiteY127" fmla="*/ 1504950 h 4496940"/>
              <a:gd name="connsiteX128" fmla="*/ 154327 w 4519987"/>
              <a:gd name="connsiteY128" fmla="*/ 1419225 h 4496940"/>
              <a:gd name="connsiteX129" fmla="*/ 230527 w 4519987"/>
              <a:gd name="connsiteY129" fmla="*/ 1276350 h 4496940"/>
              <a:gd name="connsiteX130" fmla="*/ 240052 w 4519987"/>
              <a:gd name="connsiteY130" fmla="*/ 1247775 h 4496940"/>
              <a:gd name="connsiteX131" fmla="*/ 268627 w 4519987"/>
              <a:gd name="connsiteY131" fmla="*/ 1200150 h 4496940"/>
              <a:gd name="connsiteX132" fmla="*/ 287677 w 4519987"/>
              <a:gd name="connsiteY132" fmla="*/ 1152525 h 4496940"/>
              <a:gd name="connsiteX133" fmla="*/ 316252 w 4519987"/>
              <a:gd name="connsiteY133" fmla="*/ 1114425 h 4496940"/>
              <a:gd name="connsiteX134" fmla="*/ 363877 w 4519987"/>
              <a:gd name="connsiteY134" fmla="*/ 1038225 h 4496940"/>
              <a:gd name="connsiteX135" fmla="*/ 382927 w 4519987"/>
              <a:gd name="connsiteY135" fmla="*/ 1009650 h 4496940"/>
              <a:gd name="connsiteX136" fmla="*/ 440077 w 4519987"/>
              <a:gd name="connsiteY136" fmla="*/ 904875 h 4496940"/>
              <a:gd name="connsiteX137" fmla="*/ 478177 w 4519987"/>
              <a:gd name="connsiteY137" fmla="*/ 857250 h 4496940"/>
              <a:gd name="connsiteX138" fmla="*/ 497227 w 4519987"/>
              <a:gd name="connsiteY138" fmla="*/ 828675 h 4496940"/>
              <a:gd name="connsiteX139" fmla="*/ 535327 w 4519987"/>
              <a:gd name="connsiteY139" fmla="*/ 800100 h 4496940"/>
              <a:gd name="connsiteX140" fmla="*/ 602002 w 4519987"/>
              <a:gd name="connsiteY140" fmla="*/ 733425 h 4496940"/>
              <a:gd name="connsiteX141" fmla="*/ 668677 w 4519987"/>
              <a:gd name="connsiteY141" fmla="*/ 676275 h 4496940"/>
              <a:gd name="connsiteX142" fmla="*/ 697252 w 4519987"/>
              <a:gd name="connsiteY142" fmla="*/ 657225 h 4496940"/>
              <a:gd name="connsiteX143" fmla="*/ 840127 w 4519987"/>
              <a:gd name="connsiteY143" fmla="*/ 533400 h 4496940"/>
              <a:gd name="connsiteX144" fmla="*/ 887752 w 4519987"/>
              <a:gd name="connsiteY144" fmla="*/ 504825 h 4496940"/>
              <a:gd name="connsiteX145" fmla="*/ 1167152 w 4519987"/>
              <a:gd name="connsiteY145" fmla="*/ 311150 h 4496940"/>
              <a:gd name="connsiteX146" fmla="*/ 1268752 w 4519987"/>
              <a:gd name="connsiteY146" fmla="*/ 285750 h 4496940"/>
              <a:gd name="connsiteX147" fmla="*/ 1411627 w 4519987"/>
              <a:gd name="connsiteY147" fmla="*/ 190500 h 4496940"/>
              <a:gd name="connsiteX148" fmla="*/ 1449727 w 4519987"/>
              <a:gd name="connsiteY148" fmla="*/ 161925 h 4496940"/>
              <a:gd name="connsiteX149" fmla="*/ 1525927 w 4519987"/>
              <a:gd name="connsiteY149" fmla="*/ 152400 h 4496940"/>
              <a:gd name="connsiteX150" fmla="*/ 1583077 w 4519987"/>
              <a:gd name="connsiteY150" fmla="*/ 142875 h 4496940"/>
              <a:gd name="connsiteX151" fmla="*/ 1716427 w 4519987"/>
              <a:gd name="connsiteY151" fmla="*/ 123825 h 4496940"/>
              <a:gd name="connsiteX152" fmla="*/ 1811677 w 4519987"/>
              <a:gd name="connsiteY152" fmla="*/ 114300 h 4496940"/>
              <a:gd name="connsiteX153" fmla="*/ 1859302 w 4519987"/>
              <a:gd name="connsiteY153" fmla="*/ 104775 h 4496940"/>
              <a:gd name="connsiteX154" fmla="*/ 1916452 w 4519987"/>
              <a:gd name="connsiteY154" fmla="*/ 95250 h 4496940"/>
              <a:gd name="connsiteX155" fmla="*/ 2030752 w 4519987"/>
              <a:gd name="connsiteY155" fmla="*/ 66675 h 4496940"/>
              <a:gd name="connsiteX156" fmla="*/ 2097427 w 4519987"/>
              <a:gd name="connsiteY156" fmla="*/ 47625 h 4496940"/>
              <a:gd name="connsiteX157" fmla="*/ 2164102 w 4519987"/>
              <a:gd name="connsiteY157" fmla="*/ 38100 h 4496940"/>
              <a:gd name="connsiteX158" fmla="*/ 2392702 w 4519987"/>
              <a:gd name="connsiteY15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16727 w 4519987"/>
              <a:gd name="connsiteY30" fmla="*/ 904875 h 4496940"/>
              <a:gd name="connsiteX31" fmla="*/ 4135777 w 4519987"/>
              <a:gd name="connsiteY31" fmla="*/ 933450 h 4496940"/>
              <a:gd name="connsiteX32" fmla="*/ 4164352 w 4519987"/>
              <a:gd name="connsiteY32" fmla="*/ 990600 h 4496940"/>
              <a:gd name="connsiteX33" fmla="*/ 4173877 w 4519987"/>
              <a:gd name="connsiteY33" fmla="*/ 1019175 h 4496940"/>
              <a:gd name="connsiteX34" fmla="*/ 4192927 w 4519987"/>
              <a:gd name="connsiteY34" fmla="*/ 1057275 h 4496940"/>
              <a:gd name="connsiteX35" fmla="*/ 4202452 w 4519987"/>
              <a:gd name="connsiteY35" fmla="*/ 1085850 h 4496940"/>
              <a:gd name="connsiteX36" fmla="*/ 4250077 w 4519987"/>
              <a:gd name="connsiteY36" fmla="*/ 1143000 h 4496940"/>
              <a:gd name="connsiteX37" fmla="*/ 4259602 w 4519987"/>
              <a:gd name="connsiteY37" fmla="*/ 1190625 h 4496940"/>
              <a:gd name="connsiteX38" fmla="*/ 4307227 w 4519987"/>
              <a:gd name="connsiteY38" fmla="*/ 1266825 h 4496940"/>
              <a:gd name="connsiteX39" fmla="*/ 4345327 w 4519987"/>
              <a:gd name="connsiteY39" fmla="*/ 1362075 h 4496940"/>
              <a:gd name="connsiteX40" fmla="*/ 4373902 w 4519987"/>
              <a:gd name="connsiteY40" fmla="*/ 1428750 h 4496940"/>
              <a:gd name="connsiteX41" fmla="*/ 4392952 w 4519987"/>
              <a:gd name="connsiteY41" fmla="*/ 1552575 h 4496940"/>
              <a:gd name="connsiteX42" fmla="*/ 4402477 w 4519987"/>
              <a:gd name="connsiteY42" fmla="*/ 1590675 h 4496940"/>
              <a:gd name="connsiteX43" fmla="*/ 4431052 w 4519987"/>
              <a:gd name="connsiteY43" fmla="*/ 1685925 h 4496940"/>
              <a:gd name="connsiteX44" fmla="*/ 4519952 w 4519987"/>
              <a:gd name="connsiteY44" fmla="*/ 2181225 h 4496940"/>
              <a:gd name="connsiteX45" fmla="*/ 4446927 w 4519987"/>
              <a:gd name="connsiteY45" fmla="*/ 2768600 h 4496940"/>
              <a:gd name="connsiteX46" fmla="*/ 4383427 w 4519987"/>
              <a:gd name="connsiteY46" fmla="*/ 2990850 h 4496940"/>
              <a:gd name="connsiteX47" fmla="*/ 4278652 w 4519987"/>
              <a:gd name="connsiteY47" fmla="*/ 3248025 h 4496940"/>
              <a:gd name="connsiteX48" fmla="*/ 4259602 w 4519987"/>
              <a:gd name="connsiteY48" fmla="*/ 3276600 h 4496940"/>
              <a:gd name="connsiteX49" fmla="*/ 4221502 w 4519987"/>
              <a:gd name="connsiteY49" fmla="*/ 3333750 h 4496940"/>
              <a:gd name="connsiteX50" fmla="*/ 4211977 w 4519987"/>
              <a:gd name="connsiteY50" fmla="*/ 3362325 h 4496940"/>
              <a:gd name="connsiteX51" fmla="*/ 4183402 w 4519987"/>
              <a:gd name="connsiteY51" fmla="*/ 3400425 h 4496940"/>
              <a:gd name="connsiteX52" fmla="*/ 4164352 w 4519987"/>
              <a:gd name="connsiteY52" fmla="*/ 3429000 h 4496940"/>
              <a:gd name="connsiteX53" fmla="*/ 4088152 w 4519987"/>
              <a:gd name="connsiteY53" fmla="*/ 3495675 h 4496940"/>
              <a:gd name="connsiteX54" fmla="*/ 4059577 w 4519987"/>
              <a:gd name="connsiteY54" fmla="*/ 3533775 h 4496940"/>
              <a:gd name="connsiteX55" fmla="*/ 4002427 w 4519987"/>
              <a:gd name="connsiteY55" fmla="*/ 3600450 h 4496940"/>
              <a:gd name="connsiteX56" fmla="*/ 3983377 w 4519987"/>
              <a:gd name="connsiteY56" fmla="*/ 3629025 h 4496940"/>
              <a:gd name="connsiteX57" fmla="*/ 3954802 w 4519987"/>
              <a:gd name="connsiteY57" fmla="*/ 3648075 h 4496940"/>
              <a:gd name="connsiteX58" fmla="*/ 3907177 w 4519987"/>
              <a:gd name="connsiteY58" fmla="*/ 3686175 h 4496940"/>
              <a:gd name="connsiteX59" fmla="*/ 3869077 w 4519987"/>
              <a:gd name="connsiteY59" fmla="*/ 3724275 h 4496940"/>
              <a:gd name="connsiteX60" fmla="*/ 3792877 w 4519987"/>
              <a:gd name="connsiteY60" fmla="*/ 3781425 h 4496940"/>
              <a:gd name="connsiteX61" fmla="*/ 3783352 w 4519987"/>
              <a:gd name="connsiteY61" fmla="*/ 3810000 h 4496940"/>
              <a:gd name="connsiteX62" fmla="*/ 3745252 w 4519987"/>
              <a:gd name="connsiteY62" fmla="*/ 3819525 h 4496940"/>
              <a:gd name="connsiteX63" fmla="*/ 3678577 w 4519987"/>
              <a:gd name="connsiteY63" fmla="*/ 3848100 h 4496940"/>
              <a:gd name="connsiteX64" fmla="*/ 3659527 w 4519987"/>
              <a:gd name="connsiteY64" fmla="*/ 3971925 h 4496940"/>
              <a:gd name="connsiteX65" fmla="*/ 3630952 w 4519987"/>
              <a:gd name="connsiteY65" fmla="*/ 4010025 h 4496940"/>
              <a:gd name="connsiteX66" fmla="*/ 3621427 w 4519987"/>
              <a:gd name="connsiteY66" fmla="*/ 4038600 h 4496940"/>
              <a:gd name="connsiteX67" fmla="*/ 3554752 w 4519987"/>
              <a:gd name="connsiteY67" fmla="*/ 4095750 h 4496940"/>
              <a:gd name="connsiteX68" fmla="*/ 3516652 w 4519987"/>
              <a:gd name="connsiteY68" fmla="*/ 4114800 h 4496940"/>
              <a:gd name="connsiteX69" fmla="*/ 3497602 w 4519987"/>
              <a:gd name="connsiteY69" fmla="*/ 4143375 h 4496940"/>
              <a:gd name="connsiteX70" fmla="*/ 3383302 w 4519987"/>
              <a:gd name="connsiteY70" fmla="*/ 4210050 h 4496940"/>
              <a:gd name="connsiteX71" fmla="*/ 3335677 w 4519987"/>
              <a:gd name="connsiteY71" fmla="*/ 4238625 h 4496940"/>
              <a:gd name="connsiteX72" fmla="*/ 3288052 w 4519987"/>
              <a:gd name="connsiteY72" fmla="*/ 4248150 h 4496940"/>
              <a:gd name="connsiteX73" fmla="*/ 3240427 w 4519987"/>
              <a:gd name="connsiteY73" fmla="*/ 4267200 h 4496940"/>
              <a:gd name="connsiteX74" fmla="*/ 3068977 w 4519987"/>
              <a:gd name="connsiteY74" fmla="*/ 4286250 h 4496940"/>
              <a:gd name="connsiteX75" fmla="*/ 2935627 w 4519987"/>
              <a:gd name="connsiteY75" fmla="*/ 4333875 h 4496940"/>
              <a:gd name="connsiteX76" fmla="*/ 2811802 w 4519987"/>
              <a:gd name="connsiteY76" fmla="*/ 4371975 h 4496940"/>
              <a:gd name="connsiteX77" fmla="*/ 2745127 w 4519987"/>
              <a:gd name="connsiteY77" fmla="*/ 4410075 h 4496940"/>
              <a:gd name="connsiteX78" fmla="*/ 2697502 w 4519987"/>
              <a:gd name="connsiteY78" fmla="*/ 4429125 h 4496940"/>
              <a:gd name="connsiteX79" fmla="*/ 2640352 w 4519987"/>
              <a:gd name="connsiteY79" fmla="*/ 4457700 h 4496940"/>
              <a:gd name="connsiteX80" fmla="*/ 2583202 w 4519987"/>
              <a:gd name="connsiteY80" fmla="*/ 4467225 h 4496940"/>
              <a:gd name="connsiteX81" fmla="*/ 2545102 w 4519987"/>
              <a:gd name="connsiteY81" fmla="*/ 4486275 h 4496940"/>
              <a:gd name="connsiteX82" fmla="*/ 2306977 w 4519987"/>
              <a:gd name="connsiteY82" fmla="*/ 4476750 h 4496940"/>
              <a:gd name="connsiteX83" fmla="*/ 2202202 w 4519987"/>
              <a:gd name="connsiteY83" fmla="*/ 4457700 h 4496940"/>
              <a:gd name="connsiteX84" fmla="*/ 2126002 w 4519987"/>
              <a:gd name="connsiteY84" fmla="*/ 4429125 h 4496940"/>
              <a:gd name="connsiteX85" fmla="*/ 1935502 w 4519987"/>
              <a:gd name="connsiteY85" fmla="*/ 4400550 h 4496940"/>
              <a:gd name="connsiteX86" fmla="*/ 1821202 w 4519987"/>
              <a:gd name="connsiteY86" fmla="*/ 4371975 h 4496940"/>
              <a:gd name="connsiteX87" fmla="*/ 1754527 w 4519987"/>
              <a:gd name="connsiteY87" fmla="*/ 4352925 h 4496940"/>
              <a:gd name="connsiteX88" fmla="*/ 1687852 w 4519987"/>
              <a:gd name="connsiteY88" fmla="*/ 4343400 h 4496940"/>
              <a:gd name="connsiteX89" fmla="*/ 1573552 w 4519987"/>
              <a:gd name="connsiteY89" fmla="*/ 4305300 h 4496940"/>
              <a:gd name="connsiteX90" fmla="*/ 1402102 w 4519987"/>
              <a:gd name="connsiteY90" fmla="*/ 4276725 h 4496940"/>
              <a:gd name="connsiteX91" fmla="*/ 1287802 w 4519987"/>
              <a:gd name="connsiteY91" fmla="*/ 4229100 h 4496940"/>
              <a:gd name="connsiteX92" fmla="*/ 1221127 w 4519987"/>
              <a:gd name="connsiteY92" fmla="*/ 4200525 h 4496940"/>
              <a:gd name="connsiteX93" fmla="*/ 1144927 w 4519987"/>
              <a:gd name="connsiteY93" fmla="*/ 4171950 h 4496940"/>
              <a:gd name="connsiteX94" fmla="*/ 1087777 w 4519987"/>
              <a:gd name="connsiteY94" fmla="*/ 4143375 h 4496940"/>
              <a:gd name="connsiteX95" fmla="*/ 1030627 w 4519987"/>
              <a:gd name="connsiteY95" fmla="*/ 4124325 h 4496940"/>
              <a:gd name="connsiteX96" fmla="*/ 925852 w 4519987"/>
              <a:gd name="connsiteY96" fmla="*/ 4067175 h 4496940"/>
              <a:gd name="connsiteX97" fmla="*/ 830602 w 4519987"/>
              <a:gd name="connsiteY97" fmla="*/ 3981450 h 4496940"/>
              <a:gd name="connsiteX98" fmla="*/ 763927 w 4519987"/>
              <a:gd name="connsiteY98" fmla="*/ 3914775 h 4496940"/>
              <a:gd name="connsiteX99" fmla="*/ 725827 w 4519987"/>
              <a:gd name="connsiteY99" fmla="*/ 3876675 h 4496940"/>
              <a:gd name="connsiteX100" fmla="*/ 697252 w 4519987"/>
              <a:gd name="connsiteY100" fmla="*/ 3838575 h 4496940"/>
              <a:gd name="connsiteX101" fmla="*/ 640102 w 4519987"/>
              <a:gd name="connsiteY101" fmla="*/ 3781425 h 4496940"/>
              <a:gd name="connsiteX102" fmla="*/ 611527 w 4519987"/>
              <a:gd name="connsiteY102" fmla="*/ 3733800 h 4496940"/>
              <a:gd name="connsiteX103" fmla="*/ 554377 w 4519987"/>
              <a:gd name="connsiteY103" fmla="*/ 3657600 h 4496940"/>
              <a:gd name="connsiteX104" fmla="*/ 525802 w 4519987"/>
              <a:gd name="connsiteY104" fmla="*/ 3609975 h 4496940"/>
              <a:gd name="connsiteX105" fmla="*/ 497227 w 4519987"/>
              <a:gd name="connsiteY105" fmla="*/ 3552825 h 4496940"/>
              <a:gd name="connsiteX106" fmla="*/ 440077 w 4519987"/>
              <a:gd name="connsiteY106" fmla="*/ 3495675 h 4496940"/>
              <a:gd name="connsiteX107" fmla="*/ 411502 w 4519987"/>
              <a:gd name="connsiteY107" fmla="*/ 3448050 h 4496940"/>
              <a:gd name="connsiteX108" fmla="*/ 278152 w 4519987"/>
              <a:gd name="connsiteY108" fmla="*/ 3257550 h 4496940"/>
              <a:gd name="connsiteX109" fmla="*/ 249577 w 4519987"/>
              <a:gd name="connsiteY109" fmla="*/ 3200400 h 4496940"/>
              <a:gd name="connsiteX110" fmla="*/ 240052 w 4519987"/>
              <a:gd name="connsiteY110" fmla="*/ 3162300 h 4496940"/>
              <a:gd name="connsiteX111" fmla="*/ 221002 w 4519987"/>
              <a:gd name="connsiteY111" fmla="*/ 3105150 h 4496940"/>
              <a:gd name="connsiteX112" fmla="*/ 173377 w 4519987"/>
              <a:gd name="connsiteY112" fmla="*/ 3019425 h 4496940"/>
              <a:gd name="connsiteX113" fmla="*/ 144802 w 4519987"/>
              <a:gd name="connsiteY113" fmla="*/ 2924175 h 4496940"/>
              <a:gd name="connsiteX114" fmla="*/ 68602 w 4519987"/>
              <a:gd name="connsiteY114" fmla="*/ 2724150 h 4496940"/>
              <a:gd name="connsiteX115" fmla="*/ 49552 w 4519987"/>
              <a:gd name="connsiteY115" fmla="*/ 2638425 h 4496940"/>
              <a:gd name="connsiteX116" fmla="*/ 40027 w 4519987"/>
              <a:gd name="connsiteY116" fmla="*/ 2562225 h 4496940"/>
              <a:gd name="connsiteX117" fmla="*/ 30502 w 4519987"/>
              <a:gd name="connsiteY117" fmla="*/ 2514600 h 4496940"/>
              <a:gd name="connsiteX118" fmla="*/ 11452 w 4519987"/>
              <a:gd name="connsiteY118" fmla="*/ 2400300 h 4496940"/>
              <a:gd name="connsiteX119" fmla="*/ 20977 w 4519987"/>
              <a:gd name="connsiteY119" fmla="*/ 1905000 h 4496940"/>
              <a:gd name="connsiteX120" fmla="*/ 30502 w 4519987"/>
              <a:gd name="connsiteY120" fmla="*/ 1838325 h 4496940"/>
              <a:gd name="connsiteX121" fmla="*/ 49552 w 4519987"/>
              <a:gd name="connsiteY121" fmla="*/ 1781175 h 4496940"/>
              <a:gd name="connsiteX122" fmla="*/ 59077 w 4519987"/>
              <a:gd name="connsiteY122" fmla="*/ 1743075 h 4496940"/>
              <a:gd name="connsiteX123" fmla="*/ 78127 w 4519987"/>
              <a:gd name="connsiteY123" fmla="*/ 1685925 h 4496940"/>
              <a:gd name="connsiteX124" fmla="*/ 87652 w 4519987"/>
              <a:gd name="connsiteY124" fmla="*/ 1638300 h 4496940"/>
              <a:gd name="connsiteX125" fmla="*/ 106702 w 4519987"/>
              <a:gd name="connsiteY125" fmla="*/ 1590675 h 4496940"/>
              <a:gd name="connsiteX126" fmla="*/ 135277 w 4519987"/>
              <a:gd name="connsiteY126" fmla="*/ 1504950 h 4496940"/>
              <a:gd name="connsiteX127" fmla="*/ 154327 w 4519987"/>
              <a:gd name="connsiteY127" fmla="*/ 1419225 h 4496940"/>
              <a:gd name="connsiteX128" fmla="*/ 230527 w 4519987"/>
              <a:gd name="connsiteY128" fmla="*/ 1276350 h 4496940"/>
              <a:gd name="connsiteX129" fmla="*/ 240052 w 4519987"/>
              <a:gd name="connsiteY129" fmla="*/ 1247775 h 4496940"/>
              <a:gd name="connsiteX130" fmla="*/ 268627 w 4519987"/>
              <a:gd name="connsiteY130" fmla="*/ 1200150 h 4496940"/>
              <a:gd name="connsiteX131" fmla="*/ 287677 w 4519987"/>
              <a:gd name="connsiteY131" fmla="*/ 1152525 h 4496940"/>
              <a:gd name="connsiteX132" fmla="*/ 316252 w 4519987"/>
              <a:gd name="connsiteY132" fmla="*/ 1114425 h 4496940"/>
              <a:gd name="connsiteX133" fmla="*/ 363877 w 4519987"/>
              <a:gd name="connsiteY133" fmla="*/ 1038225 h 4496940"/>
              <a:gd name="connsiteX134" fmla="*/ 382927 w 4519987"/>
              <a:gd name="connsiteY134" fmla="*/ 1009650 h 4496940"/>
              <a:gd name="connsiteX135" fmla="*/ 440077 w 4519987"/>
              <a:gd name="connsiteY135" fmla="*/ 904875 h 4496940"/>
              <a:gd name="connsiteX136" fmla="*/ 478177 w 4519987"/>
              <a:gd name="connsiteY136" fmla="*/ 857250 h 4496940"/>
              <a:gd name="connsiteX137" fmla="*/ 497227 w 4519987"/>
              <a:gd name="connsiteY137" fmla="*/ 828675 h 4496940"/>
              <a:gd name="connsiteX138" fmla="*/ 535327 w 4519987"/>
              <a:gd name="connsiteY138" fmla="*/ 800100 h 4496940"/>
              <a:gd name="connsiteX139" fmla="*/ 602002 w 4519987"/>
              <a:gd name="connsiteY139" fmla="*/ 733425 h 4496940"/>
              <a:gd name="connsiteX140" fmla="*/ 668677 w 4519987"/>
              <a:gd name="connsiteY140" fmla="*/ 676275 h 4496940"/>
              <a:gd name="connsiteX141" fmla="*/ 697252 w 4519987"/>
              <a:gd name="connsiteY141" fmla="*/ 657225 h 4496940"/>
              <a:gd name="connsiteX142" fmla="*/ 840127 w 4519987"/>
              <a:gd name="connsiteY142" fmla="*/ 533400 h 4496940"/>
              <a:gd name="connsiteX143" fmla="*/ 887752 w 4519987"/>
              <a:gd name="connsiteY143" fmla="*/ 504825 h 4496940"/>
              <a:gd name="connsiteX144" fmla="*/ 1167152 w 4519987"/>
              <a:gd name="connsiteY144" fmla="*/ 311150 h 4496940"/>
              <a:gd name="connsiteX145" fmla="*/ 1268752 w 4519987"/>
              <a:gd name="connsiteY145" fmla="*/ 285750 h 4496940"/>
              <a:gd name="connsiteX146" fmla="*/ 1411627 w 4519987"/>
              <a:gd name="connsiteY146" fmla="*/ 190500 h 4496940"/>
              <a:gd name="connsiteX147" fmla="*/ 1449727 w 4519987"/>
              <a:gd name="connsiteY147" fmla="*/ 161925 h 4496940"/>
              <a:gd name="connsiteX148" fmla="*/ 1525927 w 4519987"/>
              <a:gd name="connsiteY148" fmla="*/ 152400 h 4496940"/>
              <a:gd name="connsiteX149" fmla="*/ 1583077 w 4519987"/>
              <a:gd name="connsiteY149" fmla="*/ 142875 h 4496940"/>
              <a:gd name="connsiteX150" fmla="*/ 1716427 w 4519987"/>
              <a:gd name="connsiteY150" fmla="*/ 123825 h 4496940"/>
              <a:gd name="connsiteX151" fmla="*/ 1811677 w 4519987"/>
              <a:gd name="connsiteY151" fmla="*/ 114300 h 4496940"/>
              <a:gd name="connsiteX152" fmla="*/ 1859302 w 4519987"/>
              <a:gd name="connsiteY152" fmla="*/ 104775 h 4496940"/>
              <a:gd name="connsiteX153" fmla="*/ 1916452 w 4519987"/>
              <a:gd name="connsiteY153" fmla="*/ 95250 h 4496940"/>
              <a:gd name="connsiteX154" fmla="*/ 2030752 w 4519987"/>
              <a:gd name="connsiteY154" fmla="*/ 66675 h 4496940"/>
              <a:gd name="connsiteX155" fmla="*/ 2097427 w 4519987"/>
              <a:gd name="connsiteY155" fmla="*/ 47625 h 4496940"/>
              <a:gd name="connsiteX156" fmla="*/ 2164102 w 4519987"/>
              <a:gd name="connsiteY156" fmla="*/ 38100 h 4496940"/>
              <a:gd name="connsiteX157" fmla="*/ 2392702 w 4519987"/>
              <a:gd name="connsiteY15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35777 w 4519987"/>
              <a:gd name="connsiteY30" fmla="*/ 933450 h 4496940"/>
              <a:gd name="connsiteX31" fmla="*/ 4164352 w 4519987"/>
              <a:gd name="connsiteY31" fmla="*/ 990600 h 4496940"/>
              <a:gd name="connsiteX32" fmla="*/ 4173877 w 4519987"/>
              <a:gd name="connsiteY32" fmla="*/ 1019175 h 4496940"/>
              <a:gd name="connsiteX33" fmla="*/ 4192927 w 4519987"/>
              <a:gd name="connsiteY33" fmla="*/ 1057275 h 4496940"/>
              <a:gd name="connsiteX34" fmla="*/ 4202452 w 4519987"/>
              <a:gd name="connsiteY34" fmla="*/ 1085850 h 4496940"/>
              <a:gd name="connsiteX35" fmla="*/ 4250077 w 4519987"/>
              <a:gd name="connsiteY35" fmla="*/ 1143000 h 4496940"/>
              <a:gd name="connsiteX36" fmla="*/ 4259602 w 4519987"/>
              <a:gd name="connsiteY36" fmla="*/ 1190625 h 4496940"/>
              <a:gd name="connsiteX37" fmla="*/ 4307227 w 4519987"/>
              <a:gd name="connsiteY37" fmla="*/ 1266825 h 4496940"/>
              <a:gd name="connsiteX38" fmla="*/ 4345327 w 4519987"/>
              <a:gd name="connsiteY38" fmla="*/ 1362075 h 4496940"/>
              <a:gd name="connsiteX39" fmla="*/ 4373902 w 4519987"/>
              <a:gd name="connsiteY39" fmla="*/ 1428750 h 4496940"/>
              <a:gd name="connsiteX40" fmla="*/ 4392952 w 4519987"/>
              <a:gd name="connsiteY40" fmla="*/ 1552575 h 4496940"/>
              <a:gd name="connsiteX41" fmla="*/ 4402477 w 4519987"/>
              <a:gd name="connsiteY41" fmla="*/ 1590675 h 4496940"/>
              <a:gd name="connsiteX42" fmla="*/ 4431052 w 4519987"/>
              <a:gd name="connsiteY42" fmla="*/ 1685925 h 4496940"/>
              <a:gd name="connsiteX43" fmla="*/ 4519952 w 4519987"/>
              <a:gd name="connsiteY43" fmla="*/ 2181225 h 4496940"/>
              <a:gd name="connsiteX44" fmla="*/ 4446927 w 4519987"/>
              <a:gd name="connsiteY44" fmla="*/ 2768600 h 4496940"/>
              <a:gd name="connsiteX45" fmla="*/ 4383427 w 4519987"/>
              <a:gd name="connsiteY45" fmla="*/ 2990850 h 4496940"/>
              <a:gd name="connsiteX46" fmla="*/ 4278652 w 4519987"/>
              <a:gd name="connsiteY46" fmla="*/ 3248025 h 4496940"/>
              <a:gd name="connsiteX47" fmla="*/ 4259602 w 4519987"/>
              <a:gd name="connsiteY47" fmla="*/ 3276600 h 4496940"/>
              <a:gd name="connsiteX48" fmla="*/ 4221502 w 4519987"/>
              <a:gd name="connsiteY48" fmla="*/ 3333750 h 4496940"/>
              <a:gd name="connsiteX49" fmla="*/ 4211977 w 4519987"/>
              <a:gd name="connsiteY49" fmla="*/ 3362325 h 4496940"/>
              <a:gd name="connsiteX50" fmla="*/ 4183402 w 4519987"/>
              <a:gd name="connsiteY50" fmla="*/ 3400425 h 4496940"/>
              <a:gd name="connsiteX51" fmla="*/ 4164352 w 4519987"/>
              <a:gd name="connsiteY51" fmla="*/ 3429000 h 4496940"/>
              <a:gd name="connsiteX52" fmla="*/ 4088152 w 4519987"/>
              <a:gd name="connsiteY52" fmla="*/ 3495675 h 4496940"/>
              <a:gd name="connsiteX53" fmla="*/ 4059577 w 4519987"/>
              <a:gd name="connsiteY53" fmla="*/ 3533775 h 4496940"/>
              <a:gd name="connsiteX54" fmla="*/ 4002427 w 4519987"/>
              <a:gd name="connsiteY54" fmla="*/ 3600450 h 4496940"/>
              <a:gd name="connsiteX55" fmla="*/ 3983377 w 4519987"/>
              <a:gd name="connsiteY55" fmla="*/ 3629025 h 4496940"/>
              <a:gd name="connsiteX56" fmla="*/ 3954802 w 4519987"/>
              <a:gd name="connsiteY56" fmla="*/ 3648075 h 4496940"/>
              <a:gd name="connsiteX57" fmla="*/ 3907177 w 4519987"/>
              <a:gd name="connsiteY57" fmla="*/ 3686175 h 4496940"/>
              <a:gd name="connsiteX58" fmla="*/ 3869077 w 4519987"/>
              <a:gd name="connsiteY58" fmla="*/ 3724275 h 4496940"/>
              <a:gd name="connsiteX59" fmla="*/ 3792877 w 4519987"/>
              <a:gd name="connsiteY59" fmla="*/ 3781425 h 4496940"/>
              <a:gd name="connsiteX60" fmla="*/ 3783352 w 4519987"/>
              <a:gd name="connsiteY60" fmla="*/ 3810000 h 4496940"/>
              <a:gd name="connsiteX61" fmla="*/ 3745252 w 4519987"/>
              <a:gd name="connsiteY61" fmla="*/ 3819525 h 4496940"/>
              <a:gd name="connsiteX62" fmla="*/ 3678577 w 4519987"/>
              <a:gd name="connsiteY62" fmla="*/ 3848100 h 4496940"/>
              <a:gd name="connsiteX63" fmla="*/ 3659527 w 4519987"/>
              <a:gd name="connsiteY63" fmla="*/ 3971925 h 4496940"/>
              <a:gd name="connsiteX64" fmla="*/ 3630952 w 4519987"/>
              <a:gd name="connsiteY64" fmla="*/ 4010025 h 4496940"/>
              <a:gd name="connsiteX65" fmla="*/ 3621427 w 4519987"/>
              <a:gd name="connsiteY65" fmla="*/ 4038600 h 4496940"/>
              <a:gd name="connsiteX66" fmla="*/ 3554752 w 4519987"/>
              <a:gd name="connsiteY66" fmla="*/ 4095750 h 4496940"/>
              <a:gd name="connsiteX67" fmla="*/ 3516652 w 4519987"/>
              <a:gd name="connsiteY67" fmla="*/ 4114800 h 4496940"/>
              <a:gd name="connsiteX68" fmla="*/ 3497602 w 4519987"/>
              <a:gd name="connsiteY68" fmla="*/ 4143375 h 4496940"/>
              <a:gd name="connsiteX69" fmla="*/ 3383302 w 4519987"/>
              <a:gd name="connsiteY69" fmla="*/ 4210050 h 4496940"/>
              <a:gd name="connsiteX70" fmla="*/ 3335677 w 4519987"/>
              <a:gd name="connsiteY70" fmla="*/ 4238625 h 4496940"/>
              <a:gd name="connsiteX71" fmla="*/ 3288052 w 4519987"/>
              <a:gd name="connsiteY71" fmla="*/ 4248150 h 4496940"/>
              <a:gd name="connsiteX72" fmla="*/ 3240427 w 4519987"/>
              <a:gd name="connsiteY72" fmla="*/ 4267200 h 4496940"/>
              <a:gd name="connsiteX73" fmla="*/ 3068977 w 4519987"/>
              <a:gd name="connsiteY73" fmla="*/ 4286250 h 4496940"/>
              <a:gd name="connsiteX74" fmla="*/ 2935627 w 4519987"/>
              <a:gd name="connsiteY74" fmla="*/ 4333875 h 4496940"/>
              <a:gd name="connsiteX75" fmla="*/ 2811802 w 4519987"/>
              <a:gd name="connsiteY75" fmla="*/ 4371975 h 4496940"/>
              <a:gd name="connsiteX76" fmla="*/ 2745127 w 4519987"/>
              <a:gd name="connsiteY76" fmla="*/ 4410075 h 4496940"/>
              <a:gd name="connsiteX77" fmla="*/ 2697502 w 4519987"/>
              <a:gd name="connsiteY77" fmla="*/ 4429125 h 4496940"/>
              <a:gd name="connsiteX78" fmla="*/ 2640352 w 4519987"/>
              <a:gd name="connsiteY78" fmla="*/ 4457700 h 4496940"/>
              <a:gd name="connsiteX79" fmla="*/ 2583202 w 4519987"/>
              <a:gd name="connsiteY79" fmla="*/ 4467225 h 4496940"/>
              <a:gd name="connsiteX80" fmla="*/ 2545102 w 4519987"/>
              <a:gd name="connsiteY80" fmla="*/ 4486275 h 4496940"/>
              <a:gd name="connsiteX81" fmla="*/ 2306977 w 4519987"/>
              <a:gd name="connsiteY81" fmla="*/ 4476750 h 4496940"/>
              <a:gd name="connsiteX82" fmla="*/ 2202202 w 4519987"/>
              <a:gd name="connsiteY82" fmla="*/ 4457700 h 4496940"/>
              <a:gd name="connsiteX83" fmla="*/ 2126002 w 4519987"/>
              <a:gd name="connsiteY83" fmla="*/ 4429125 h 4496940"/>
              <a:gd name="connsiteX84" fmla="*/ 1935502 w 4519987"/>
              <a:gd name="connsiteY84" fmla="*/ 4400550 h 4496940"/>
              <a:gd name="connsiteX85" fmla="*/ 1821202 w 4519987"/>
              <a:gd name="connsiteY85" fmla="*/ 4371975 h 4496940"/>
              <a:gd name="connsiteX86" fmla="*/ 1754527 w 4519987"/>
              <a:gd name="connsiteY86" fmla="*/ 4352925 h 4496940"/>
              <a:gd name="connsiteX87" fmla="*/ 1687852 w 4519987"/>
              <a:gd name="connsiteY87" fmla="*/ 4343400 h 4496940"/>
              <a:gd name="connsiteX88" fmla="*/ 1573552 w 4519987"/>
              <a:gd name="connsiteY88" fmla="*/ 4305300 h 4496940"/>
              <a:gd name="connsiteX89" fmla="*/ 1402102 w 4519987"/>
              <a:gd name="connsiteY89" fmla="*/ 4276725 h 4496940"/>
              <a:gd name="connsiteX90" fmla="*/ 1287802 w 4519987"/>
              <a:gd name="connsiteY90" fmla="*/ 4229100 h 4496940"/>
              <a:gd name="connsiteX91" fmla="*/ 1221127 w 4519987"/>
              <a:gd name="connsiteY91" fmla="*/ 4200525 h 4496940"/>
              <a:gd name="connsiteX92" fmla="*/ 1144927 w 4519987"/>
              <a:gd name="connsiteY92" fmla="*/ 4171950 h 4496940"/>
              <a:gd name="connsiteX93" fmla="*/ 1087777 w 4519987"/>
              <a:gd name="connsiteY93" fmla="*/ 4143375 h 4496940"/>
              <a:gd name="connsiteX94" fmla="*/ 1030627 w 4519987"/>
              <a:gd name="connsiteY94" fmla="*/ 4124325 h 4496940"/>
              <a:gd name="connsiteX95" fmla="*/ 925852 w 4519987"/>
              <a:gd name="connsiteY95" fmla="*/ 4067175 h 4496940"/>
              <a:gd name="connsiteX96" fmla="*/ 830602 w 4519987"/>
              <a:gd name="connsiteY96" fmla="*/ 3981450 h 4496940"/>
              <a:gd name="connsiteX97" fmla="*/ 763927 w 4519987"/>
              <a:gd name="connsiteY97" fmla="*/ 3914775 h 4496940"/>
              <a:gd name="connsiteX98" fmla="*/ 725827 w 4519987"/>
              <a:gd name="connsiteY98" fmla="*/ 3876675 h 4496940"/>
              <a:gd name="connsiteX99" fmla="*/ 697252 w 4519987"/>
              <a:gd name="connsiteY99" fmla="*/ 3838575 h 4496940"/>
              <a:gd name="connsiteX100" fmla="*/ 640102 w 4519987"/>
              <a:gd name="connsiteY100" fmla="*/ 3781425 h 4496940"/>
              <a:gd name="connsiteX101" fmla="*/ 611527 w 4519987"/>
              <a:gd name="connsiteY101" fmla="*/ 3733800 h 4496940"/>
              <a:gd name="connsiteX102" fmla="*/ 554377 w 4519987"/>
              <a:gd name="connsiteY102" fmla="*/ 3657600 h 4496940"/>
              <a:gd name="connsiteX103" fmla="*/ 525802 w 4519987"/>
              <a:gd name="connsiteY103" fmla="*/ 3609975 h 4496940"/>
              <a:gd name="connsiteX104" fmla="*/ 497227 w 4519987"/>
              <a:gd name="connsiteY104" fmla="*/ 3552825 h 4496940"/>
              <a:gd name="connsiteX105" fmla="*/ 440077 w 4519987"/>
              <a:gd name="connsiteY105" fmla="*/ 3495675 h 4496940"/>
              <a:gd name="connsiteX106" fmla="*/ 411502 w 4519987"/>
              <a:gd name="connsiteY106" fmla="*/ 3448050 h 4496940"/>
              <a:gd name="connsiteX107" fmla="*/ 278152 w 4519987"/>
              <a:gd name="connsiteY107" fmla="*/ 3257550 h 4496940"/>
              <a:gd name="connsiteX108" fmla="*/ 249577 w 4519987"/>
              <a:gd name="connsiteY108" fmla="*/ 3200400 h 4496940"/>
              <a:gd name="connsiteX109" fmla="*/ 240052 w 4519987"/>
              <a:gd name="connsiteY109" fmla="*/ 3162300 h 4496940"/>
              <a:gd name="connsiteX110" fmla="*/ 221002 w 4519987"/>
              <a:gd name="connsiteY110" fmla="*/ 3105150 h 4496940"/>
              <a:gd name="connsiteX111" fmla="*/ 173377 w 4519987"/>
              <a:gd name="connsiteY111" fmla="*/ 3019425 h 4496940"/>
              <a:gd name="connsiteX112" fmla="*/ 144802 w 4519987"/>
              <a:gd name="connsiteY112" fmla="*/ 2924175 h 4496940"/>
              <a:gd name="connsiteX113" fmla="*/ 68602 w 4519987"/>
              <a:gd name="connsiteY113" fmla="*/ 2724150 h 4496940"/>
              <a:gd name="connsiteX114" fmla="*/ 49552 w 4519987"/>
              <a:gd name="connsiteY114" fmla="*/ 2638425 h 4496940"/>
              <a:gd name="connsiteX115" fmla="*/ 40027 w 4519987"/>
              <a:gd name="connsiteY115" fmla="*/ 2562225 h 4496940"/>
              <a:gd name="connsiteX116" fmla="*/ 30502 w 4519987"/>
              <a:gd name="connsiteY116" fmla="*/ 2514600 h 4496940"/>
              <a:gd name="connsiteX117" fmla="*/ 11452 w 4519987"/>
              <a:gd name="connsiteY117" fmla="*/ 2400300 h 4496940"/>
              <a:gd name="connsiteX118" fmla="*/ 20977 w 4519987"/>
              <a:gd name="connsiteY118" fmla="*/ 1905000 h 4496940"/>
              <a:gd name="connsiteX119" fmla="*/ 30502 w 4519987"/>
              <a:gd name="connsiteY119" fmla="*/ 1838325 h 4496940"/>
              <a:gd name="connsiteX120" fmla="*/ 49552 w 4519987"/>
              <a:gd name="connsiteY120" fmla="*/ 1781175 h 4496940"/>
              <a:gd name="connsiteX121" fmla="*/ 59077 w 4519987"/>
              <a:gd name="connsiteY121" fmla="*/ 1743075 h 4496940"/>
              <a:gd name="connsiteX122" fmla="*/ 78127 w 4519987"/>
              <a:gd name="connsiteY122" fmla="*/ 1685925 h 4496940"/>
              <a:gd name="connsiteX123" fmla="*/ 87652 w 4519987"/>
              <a:gd name="connsiteY123" fmla="*/ 1638300 h 4496940"/>
              <a:gd name="connsiteX124" fmla="*/ 106702 w 4519987"/>
              <a:gd name="connsiteY124" fmla="*/ 1590675 h 4496940"/>
              <a:gd name="connsiteX125" fmla="*/ 135277 w 4519987"/>
              <a:gd name="connsiteY125" fmla="*/ 1504950 h 4496940"/>
              <a:gd name="connsiteX126" fmla="*/ 154327 w 4519987"/>
              <a:gd name="connsiteY126" fmla="*/ 1419225 h 4496940"/>
              <a:gd name="connsiteX127" fmla="*/ 230527 w 4519987"/>
              <a:gd name="connsiteY127" fmla="*/ 1276350 h 4496940"/>
              <a:gd name="connsiteX128" fmla="*/ 240052 w 4519987"/>
              <a:gd name="connsiteY128" fmla="*/ 1247775 h 4496940"/>
              <a:gd name="connsiteX129" fmla="*/ 268627 w 4519987"/>
              <a:gd name="connsiteY129" fmla="*/ 1200150 h 4496940"/>
              <a:gd name="connsiteX130" fmla="*/ 287677 w 4519987"/>
              <a:gd name="connsiteY130" fmla="*/ 1152525 h 4496940"/>
              <a:gd name="connsiteX131" fmla="*/ 316252 w 4519987"/>
              <a:gd name="connsiteY131" fmla="*/ 1114425 h 4496940"/>
              <a:gd name="connsiteX132" fmla="*/ 363877 w 4519987"/>
              <a:gd name="connsiteY132" fmla="*/ 1038225 h 4496940"/>
              <a:gd name="connsiteX133" fmla="*/ 382927 w 4519987"/>
              <a:gd name="connsiteY133" fmla="*/ 1009650 h 4496940"/>
              <a:gd name="connsiteX134" fmla="*/ 440077 w 4519987"/>
              <a:gd name="connsiteY134" fmla="*/ 904875 h 4496940"/>
              <a:gd name="connsiteX135" fmla="*/ 478177 w 4519987"/>
              <a:gd name="connsiteY135" fmla="*/ 857250 h 4496940"/>
              <a:gd name="connsiteX136" fmla="*/ 497227 w 4519987"/>
              <a:gd name="connsiteY136" fmla="*/ 828675 h 4496940"/>
              <a:gd name="connsiteX137" fmla="*/ 535327 w 4519987"/>
              <a:gd name="connsiteY137" fmla="*/ 800100 h 4496940"/>
              <a:gd name="connsiteX138" fmla="*/ 602002 w 4519987"/>
              <a:gd name="connsiteY138" fmla="*/ 733425 h 4496940"/>
              <a:gd name="connsiteX139" fmla="*/ 668677 w 4519987"/>
              <a:gd name="connsiteY139" fmla="*/ 676275 h 4496940"/>
              <a:gd name="connsiteX140" fmla="*/ 697252 w 4519987"/>
              <a:gd name="connsiteY140" fmla="*/ 657225 h 4496940"/>
              <a:gd name="connsiteX141" fmla="*/ 840127 w 4519987"/>
              <a:gd name="connsiteY141" fmla="*/ 533400 h 4496940"/>
              <a:gd name="connsiteX142" fmla="*/ 887752 w 4519987"/>
              <a:gd name="connsiteY142" fmla="*/ 504825 h 4496940"/>
              <a:gd name="connsiteX143" fmla="*/ 1167152 w 4519987"/>
              <a:gd name="connsiteY143" fmla="*/ 311150 h 4496940"/>
              <a:gd name="connsiteX144" fmla="*/ 1268752 w 4519987"/>
              <a:gd name="connsiteY144" fmla="*/ 285750 h 4496940"/>
              <a:gd name="connsiteX145" fmla="*/ 1411627 w 4519987"/>
              <a:gd name="connsiteY145" fmla="*/ 190500 h 4496940"/>
              <a:gd name="connsiteX146" fmla="*/ 1449727 w 4519987"/>
              <a:gd name="connsiteY146" fmla="*/ 161925 h 4496940"/>
              <a:gd name="connsiteX147" fmla="*/ 1525927 w 4519987"/>
              <a:gd name="connsiteY147" fmla="*/ 152400 h 4496940"/>
              <a:gd name="connsiteX148" fmla="*/ 1583077 w 4519987"/>
              <a:gd name="connsiteY148" fmla="*/ 142875 h 4496940"/>
              <a:gd name="connsiteX149" fmla="*/ 1716427 w 4519987"/>
              <a:gd name="connsiteY149" fmla="*/ 123825 h 4496940"/>
              <a:gd name="connsiteX150" fmla="*/ 1811677 w 4519987"/>
              <a:gd name="connsiteY150" fmla="*/ 114300 h 4496940"/>
              <a:gd name="connsiteX151" fmla="*/ 1859302 w 4519987"/>
              <a:gd name="connsiteY151" fmla="*/ 104775 h 4496940"/>
              <a:gd name="connsiteX152" fmla="*/ 1916452 w 4519987"/>
              <a:gd name="connsiteY152" fmla="*/ 95250 h 4496940"/>
              <a:gd name="connsiteX153" fmla="*/ 2030752 w 4519987"/>
              <a:gd name="connsiteY153" fmla="*/ 66675 h 4496940"/>
              <a:gd name="connsiteX154" fmla="*/ 2097427 w 4519987"/>
              <a:gd name="connsiteY154" fmla="*/ 47625 h 4496940"/>
              <a:gd name="connsiteX155" fmla="*/ 2164102 w 4519987"/>
              <a:gd name="connsiteY155" fmla="*/ 38100 h 4496940"/>
              <a:gd name="connsiteX156" fmla="*/ 2392702 w 4519987"/>
              <a:gd name="connsiteY15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35777 w 4519987"/>
              <a:gd name="connsiteY29" fmla="*/ 933450 h 4496940"/>
              <a:gd name="connsiteX30" fmla="*/ 4164352 w 4519987"/>
              <a:gd name="connsiteY30" fmla="*/ 990600 h 4496940"/>
              <a:gd name="connsiteX31" fmla="*/ 4173877 w 4519987"/>
              <a:gd name="connsiteY31" fmla="*/ 1019175 h 4496940"/>
              <a:gd name="connsiteX32" fmla="*/ 4192927 w 4519987"/>
              <a:gd name="connsiteY32" fmla="*/ 1057275 h 4496940"/>
              <a:gd name="connsiteX33" fmla="*/ 4202452 w 4519987"/>
              <a:gd name="connsiteY33" fmla="*/ 1085850 h 4496940"/>
              <a:gd name="connsiteX34" fmla="*/ 4250077 w 4519987"/>
              <a:gd name="connsiteY34" fmla="*/ 1143000 h 4496940"/>
              <a:gd name="connsiteX35" fmla="*/ 4259602 w 4519987"/>
              <a:gd name="connsiteY35" fmla="*/ 1190625 h 4496940"/>
              <a:gd name="connsiteX36" fmla="*/ 4307227 w 4519987"/>
              <a:gd name="connsiteY36" fmla="*/ 1266825 h 4496940"/>
              <a:gd name="connsiteX37" fmla="*/ 4345327 w 4519987"/>
              <a:gd name="connsiteY37" fmla="*/ 1362075 h 4496940"/>
              <a:gd name="connsiteX38" fmla="*/ 4373902 w 4519987"/>
              <a:gd name="connsiteY38" fmla="*/ 1428750 h 4496940"/>
              <a:gd name="connsiteX39" fmla="*/ 4392952 w 4519987"/>
              <a:gd name="connsiteY39" fmla="*/ 1552575 h 4496940"/>
              <a:gd name="connsiteX40" fmla="*/ 4402477 w 4519987"/>
              <a:gd name="connsiteY40" fmla="*/ 1590675 h 4496940"/>
              <a:gd name="connsiteX41" fmla="*/ 4431052 w 4519987"/>
              <a:gd name="connsiteY41" fmla="*/ 1685925 h 4496940"/>
              <a:gd name="connsiteX42" fmla="*/ 4519952 w 4519987"/>
              <a:gd name="connsiteY42" fmla="*/ 2181225 h 4496940"/>
              <a:gd name="connsiteX43" fmla="*/ 4446927 w 4519987"/>
              <a:gd name="connsiteY43" fmla="*/ 2768600 h 4496940"/>
              <a:gd name="connsiteX44" fmla="*/ 4383427 w 4519987"/>
              <a:gd name="connsiteY44" fmla="*/ 2990850 h 4496940"/>
              <a:gd name="connsiteX45" fmla="*/ 4278652 w 4519987"/>
              <a:gd name="connsiteY45" fmla="*/ 3248025 h 4496940"/>
              <a:gd name="connsiteX46" fmla="*/ 4259602 w 4519987"/>
              <a:gd name="connsiteY46" fmla="*/ 3276600 h 4496940"/>
              <a:gd name="connsiteX47" fmla="*/ 4221502 w 4519987"/>
              <a:gd name="connsiteY47" fmla="*/ 3333750 h 4496940"/>
              <a:gd name="connsiteX48" fmla="*/ 4211977 w 4519987"/>
              <a:gd name="connsiteY48" fmla="*/ 3362325 h 4496940"/>
              <a:gd name="connsiteX49" fmla="*/ 4183402 w 4519987"/>
              <a:gd name="connsiteY49" fmla="*/ 3400425 h 4496940"/>
              <a:gd name="connsiteX50" fmla="*/ 4164352 w 4519987"/>
              <a:gd name="connsiteY50" fmla="*/ 3429000 h 4496940"/>
              <a:gd name="connsiteX51" fmla="*/ 4088152 w 4519987"/>
              <a:gd name="connsiteY51" fmla="*/ 3495675 h 4496940"/>
              <a:gd name="connsiteX52" fmla="*/ 4059577 w 4519987"/>
              <a:gd name="connsiteY52" fmla="*/ 3533775 h 4496940"/>
              <a:gd name="connsiteX53" fmla="*/ 4002427 w 4519987"/>
              <a:gd name="connsiteY53" fmla="*/ 3600450 h 4496940"/>
              <a:gd name="connsiteX54" fmla="*/ 3983377 w 4519987"/>
              <a:gd name="connsiteY54" fmla="*/ 3629025 h 4496940"/>
              <a:gd name="connsiteX55" fmla="*/ 3954802 w 4519987"/>
              <a:gd name="connsiteY55" fmla="*/ 3648075 h 4496940"/>
              <a:gd name="connsiteX56" fmla="*/ 3907177 w 4519987"/>
              <a:gd name="connsiteY56" fmla="*/ 3686175 h 4496940"/>
              <a:gd name="connsiteX57" fmla="*/ 3869077 w 4519987"/>
              <a:gd name="connsiteY57" fmla="*/ 3724275 h 4496940"/>
              <a:gd name="connsiteX58" fmla="*/ 3792877 w 4519987"/>
              <a:gd name="connsiteY58" fmla="*/ 3781425 h 4496940"/>
              <a:gd name="connsiteX59" fmla="*/ 3783352 w 4519987"/>
              <a:gd name="connsiteY59" fmla="*/ 3810000 h 4496940"/>
              <a:gd name="connsiteX60" fmla="*/ 3745252 w 4519987"/>
              <a:gd name="connsiteY60" fmla="*/ 3819525 h 4496940"/>
              <a:gd name="connsiteX61" fmla="*/ 3678577 w 4519987"/>
              <a:gd name="connsiteY61" fmla="*/ 3848100 h 4496940"/>
              <a:gd name="connsiteX62" fmla="*/ 3659527 w 4519987"/>
              <a:gd name="connsiteY62" fmla="*/ 3971925 h 4496940"/>
              <a:gd name="connsiteX63" fmla="*/ 3630952 w 4519987"/>
              <a:gd name="connsiteY63" fmla="*/ 4010025 h 4496940"/>
              <a:gd name="connsiteX64" fmla="*/ 3621427 w 4519987"/>
              <a:gd name="connsiteY64" fmla="*/ 4038600 h 4496940"/>
              <a:gd name="connsiteX65" fmla="*/ 3554752 w 4519987"/>
              <a:gd name="connsiteY65" fmla="*/ 4095750 h 4496940"/>
              <a:gd name="connsiteX66" fmla="*/ 3516652 w 4519987"/>
              <a:gd name="connsiteY66" fmla="*/ 4114800 h 4496940"/>
              <a:gd name="connsiteX67" fmla="*/ 3497602 w 4519987"/>
              <a:gd name="connsiteY67" fmla="*/ 4143375 h 4496940"/>
              <a:gd name="connsiteX68" fmla="*/ 3383302 w 4519987"/>
              <a:gd name="connsiteY68" fmla="*/ 4210050 h 4496940"/>
              <a:gd name="connsiteX69" fmla="*/ 3335677 w 4519987"/>
              <a:gd name="connsiteY69" fmla="*/ 4238625 h 4496940"/>
              <a:gd name="connsiteX70" fmla="*/ 3288052 w 4519987"/>
              <a:gd name="connsiteY70" fmla="*/ 4248150 h 4496940"/>
              <a:gd name="connsiteX71" fmla="*/ 3240427 w 4519987"/>
              <a:gd name="connsiteY71" fmla="*/ 4267200 h 4496940"/>
              <a:gd name="connsiteX72" fmla="*/ 3068977 w 4519987"/>
              <a:gd name="connsiteY72" fmla="*/ 4286250 h 4496940"/>
              <a:gd name="connsiteX73" fmla="*/ 2935627 w 4519987"/>
              <a:gd name="connsiteY73" fmla="*/ 4333875 h 4496940"/>
              <a:gd name="connsiteX74" fmla="*/ 2811802 w 4519987"/>
              <a:gd name="connsiteY74" fmla="*/ 4371975 h 4496940"/>
              <a:gd name="connsiteX75" fmla="*/ 2745127 w 4519987"/>
              <a:gd name="connsiteY75" fmla="*/ 4410075 h 4496940"/>
              <a:gd name="connsiteX76" fmla="*/ 2697502 w 4519987"/>
              <a:gd name="connsiteY76" fmla="*/ 4429125 h 4496940"/>
              <a:gd name="connsiteX77" fmla="*/ 2640352 w 4519987"/>
              <a:gd name="connsiteY77" fmla="*/ 4457700 h 4496940"/>
              <a:gd name="connsiteX78" fmla="*/ 2583202 w 4519987"/>
              <a:gd name="connsiteY78" fmla="*/ 4467225 h 4496940"/>
              <a:gd name="connsiteX79" fmla="*/ 2545102 w 4519987"/>
              <a:gd name="connsiteY79" fmla="*/ 4486275 h 4496940"/>
              <a:gd name="connsiteX80" fmla="*/ 2306977 w 4519987"/>
              <a:gd name="connsiteY80" fmla="*/ 4476750 h 4496940"/>
              <a:gd name="connsiteX81" fmla="*/ 2202202 w 4519987"/>
              <a:gd name="connsiteY81" fmla="*/ 4457700 h 4496940"/>
              <a:gd name="connsiteX82" fmla="*/ 2126002 w 4519987"/>
              <a:gd name="connsiteY82" fmla="*/ 4429125 h 4496940"/>
              <a:gd name="connsiteX83" fmla="*/ 1935502 w 4519987"/>
              <a:gd name="connsiteY83" fmla="*/ 4400550 h 4496940"/>
              <a:gd name="connsiteX84" fmla="*/ 1821202 w 4519987"/>
              <a:gd name="connsiteY84" fmla="*/ 4371975 h 4496940"/>
              <a:gd name="connsiteX85" fmla="*/ 1754527 w 4519987"/>
              <a:gd name="connsiteY85" fmla="*/ 4352925 h 4496940"/>
              <a:gd name="connsiteX86" fmla="*/ 1687852 w 4519987"/>
              <a:gd name="connsiteY86" fmla="*/ 4343400 h 4496940"/>
              <a:gd name="connsiteX87" fmla="*/ 1573552 w 4519987"/>
              <a:gd name="connsiteY87" fmla="*/ 4305300 h 4496940"/>
              <a:gd name="connsiteX88" fmla="*/ 1402102 w 4519987"/>
              <a:gd name="connsiteY88" fmla="*/ 4276725 h 4496940"/>
              <a:gd name="connsiteX89" fmla="*/ 1287802 w 4519987"/>
              <a:gd name="connsiteY89" fmla="*/ 4229100 h 4496940"/>
              <a:gd name="connsiteX90" fmla="*/ 1221127 w 4519987"/>
              <a:gd name="connsiteY90" fmla="*/ 4200525 h 4496940"/>
              <a:gd name="connsiteX91" fmla="*/ 1144927 w 4519987"/>
              <a:gd name="connsiteY91" fmla="*/ 4171950 h 4496940"/>
              <a:gd name="connsiteX92" fmla="*/ 1087777 w 4519987"/>
              <a:gd name="connsiteY92" fmla="*/ 4143375 h 4496940"/>
              <a:gd name="connsiteX93" fmla="*/ 1030627 w 4519987"/>
              <a:gd name="connsiteY93" fmla="*/ 4124325 h 4496940"/>
              <a:gd name="connsiteX94" fmla="*/ 925852 w 4519987"/>
              <a:gd name="connsiteY94" fmla="*/ 4067175 h 4496940"/>
              <a:gd name="connsiteX95" fmla="*/ 830602 w 4519987"/>
              <a:gd name="connsiteY95" fmla="*/ 3981450 h 4496940"/>
              <a:gd name="connsiteX96" fmla="*/ 763927 w 4519987"/>
              <a:gd name="connsiteY96" fmla="*/ 3914775 h 4496940"/>
              <a:gd name="connsiteX97" fmla="*/ 725827 w 4519987"/>
              <a:gd name="connsiteY97" fmla="*/ 3876675 h 4496940"/>
              <a:gd name="connsiteX98" fmla="*/ 697252 w 4519987"/>
              <a:gd name="connsiteY98" fmla="*/ 3838575 h 4496940"/>
              <a:gd name="connsiteX99" fmla="*/ 640102 w 4519987"/>
              <a:gd name="connsiteY99" fmla="*/ 3781425 h 4496940"/>
              <a:gd name="connsiteX100" fmla="*/ 611527 w 4519987"/>
              <a:gd name="connsiteY100" fmla="*/ 3733800 h 4496940"/>
              <a:gd name="connsiteX101" fmla="*/ 554377 w 4519987"/>
              <a:gd name="connsiteY101" fmla="*/ 3657600 h 4496940"/>
              <a:gd name="connsiteX102" fmla="*/ 525802 w 4519987"/>
              <a:gd name="connsiteY102" fmla="*/ 3609975 h 4496940"/>
              <a:gd name="connsiteX103" fmla="*/ 497227 w 4519987"/>
              <a:gd name="connsiteY103" fmla="*/ 3552825 h 4496940"/>
              <a:gd name="connsiteX104" fmla="*/ 440077 w 4519987"/>
              <a:gd name="connsiteY104" fmla="*/ 3495675 h 4496940"/>
              <a:gd name="connsiteX105" fmla="*/ 411502 w 4519987"/>
              <a:gd name="connsiteY105" fmla="*/ 3448050 h 4496940"/>
              <a:gd name="connsiteX106" fmla="*/ 278152 w 4519987"/>
              <a:gd name="connsiteY106" fmla="*/ 3257550 h 4496940"/>
              <a:gd name="connsiteX107" fmla="*/ 249577 w 4519987"/>
              <a:gd name="connsiteY107" fmla="*/ 3200400 h 4496940"/>
              <a:gd name="connsiteX108" fmla="*/ 240052 w 4519987"/>
              <a:gd name="connsiteY108" fmla="*/ 3162300 h 4496940"/>
              <a:gd name="connsiteX109" fmla="*/ 221002 w 4519987"/>
              <a:gd name="connsiteY109" fmla="*/ 3105150 h 4496940"/>
              <a:gd name="connsiteX110" fmla="*/ 173377 w 4519987"/>
              <a:gd name="connsiteY110" fmla="*/ 3019425 h 4496940"/>
              <a:gd name="connsiteX111" fmla="*/ 144802 w 4519987"/>
              <a:gd name="connsiteY111" fmla="*/ 2924175 h 4496940"/>
              <a:gd name="connsiteX112" fmla="*/ 68602 w 4519987"/>
              <a:gd name="connsiteY112" fmla="*/ 2724150 h 4496940"/>
              <a:gd name="connsiteX113" fmla="*/ 49552 w 4519987"/>
              <a:gd name="connsiteY113" fmla="*/ 2638425 h 4496940"/>
              <a:gd name="connsiteX114" fmla="*/ 40027 w 4519987"/>
              <a:gd name="connsiteY114" fmla="*/ 2562225 h 4496940"/>
              <a:gd name="connsiteX115" fmla="*/ 30502 w 4519987"/>
              <a:gd name="connsiteY115" fmla="*/ 2514600 h 4496940"/>
              <a:gd name="connsiteX116" fmla="*/ 11452 w 4519987"/>
              <a:gd name="connsiteY116" fmla="*/ 2400300 h 4496940"/>
              <a:gd name="connsiteX117" fmla="*/ 20977 w 4519987"/>
              <a:gd name="connsiteY117" fmla="*/ 1905000 h 4496940"/>
              <a:gd name="connsiteX118" fmla="*/ 30502 w 4519987"/>
              <a:gd name="connsiteY118" fmla="*/ 1838325 h 4496940"/>
              <a:gd name="connsiteX119" fmla="*/ 49552 w 4519987"/>
              <a:gd name="connsiteY119" fmla="*/ 1781175 h 4496940"/>
              <a:gd name="connsiteX120" fmla="*/ 59077 w 4519987"/>
              <a:gd name="connsiteY120" fmla="*/ 1743075 h 4496940"/>
              <a:gd name="connsiteX121" fmla="*/ 78127 w 4519987"/>
              <a:gd name="connsiteY121" fmla="*/ 1685925 h 4496940"/>
              <a:gd name="connsiteX122" fmla="*/ 87652 w 4519987"/>
              <a:gd name="connsiteY122" fmla="*/ 1638300 h 4496940"/>
              <a:gd name="connsiteX123" fmla="*/ 106702 w 4519987"/>
              <a:gd name="connsiteY123" fmla="*/ 1590675 h 4496940"/>
              <a:gd name="connsiteX124" fmla="*/ 135277 w 4519987"/>
              <a:gd name="connsiteY124" fmla="*/ 1504950 h 4496940"/>
              <a:gd name="connsiteX125" fmla="*/ 154327 w 4519987"/>
              <a:gd name="connsiteY125" fmla="*/ 1419225 h 4496940"/>
              <a:gd name="connsiteX126" fmla="*/ 230527 w 4519987"/>
              <a:gd name="connsiteY126" fmla="*/ 1276350 h 4496940"/>
              <a:gd name="connsiteX127" fmla="*/ 240052 w 4519987"/>
              <a:gd name="connsiteY127" fmla="*/ 1247775 h 4496940"/>
              <a:gd name="connsiteX128" fmla="*/ 268627 w 4519987"/>
              <a:gd name="connsiteY128" fmla="*/ 1200150 h 4496940"/>
              <a:gd name="connsiteX129" fmla="*/ 287677 w 4519987"/>
              <a:gd name="connsiteY129" fmla="*/ 1152525 h 4496940"/>
              <a:gd name="connsiteX130" fmla="*/ 316252 w 4519987"/>
              <a:gd name="connsiteY130" fmla="*/ 1114425 h 4496940"/>
              <a:gd name="connsiteX131" fmla="*/ 363877 w 4519987"/>
              <a:gd name="connsiteY131" fmla="*/ 1038225 h 4496940"/>
              <a:gd name="connsiteX132" fmla="*/ 382927 w 4519987"/>
              <a:gd name="connsiteY132" fmla="*/ 1009650 h 4496940"/>
              <a:gd name="connsiteX133" fmla="*/ 440077 w 4519987"/>
              <a:gd name="connsiteY133" fmla="*/ 904875 h 4496940"/>
              <a:gd name="connsiteX134" fmla="*/ 478177 w 4519987"/>
              <a:gd name="connsiteY134" fmla="*/ 857250 h 4496940"/>
              <a:gd name="connsiteX135" fmla="*/ 497227 w 4519987"/>
              <a:gd name="connsiteY135" fmla="*/ 828675 h 4496940"/>
              <a:gd name="connsiteX136" fmla="*/ 535327 w 4519987"/>
              <a:gd name="connsiteY136" fmla="*/ 800100 h 4496940"/>
              <a:gd name="connsiteX137" fmla="*/ 602002 w 4519987"/>
              <a:gd name="connsiteY137" fmla="*/ 733425 h 4496940"/>
              <a:gd name="connsiteX138" fmla="*/ 668677 w 4519987"/>
              <a:gd name="connsiteY138" fmla="*/ 676275 h 4496940"/>
              <a:gd name="connsiteX139" fmla="*/ 697252 w 4519987"/>
              <a:gd name="connsiteY139" fmla="*/ 657225 h 4496940"/>
              <a:gd name="connsiteX140" fmla="*/ 840127 w 4519987"/>
              <a:gd name="connsiteY140" fmla="*/ 533400 h 4496940"/>
              <a:gd name="connsiteX141" fmla="*/ 887752 w 4519987"/>
              <a:gd name="connsiteY141" fmla="*/ 504825 h 4496940"/>
              <a:gd name="connsiteX142" fmla="*/ 1167152 w 4519987"/>
              <a:gd name="connsiteY142" fmla="*/ 311150 h 4496940"/>
              <a:gd name="connsiteX143" fmla="*/ 1268752 w 4519987"/>
              <a:gd name="connsiteY143" fmla="*/ 285750 h 4496940"/>
              <a:gd name="connsiteX144" fmla="*/ 1411627 w 4519987"/>
              <a:gd name="connsiteY144" fmla="*/ 190500 h 4496940"/>
              <a:gd name="connsiteX145" fmla="*/ 1449727 w 4519987"/>
              <a:gd name="connsiteY145" fmla="*/ 161925 h 4496940"/>
              <a:gd name="connsiteX146" fmla="*/ 1525927 w 4519987"/>
              <a:gd name="connsiteY146" fmla="*/ 152400 h 4496940"/>
              <a:gd name="connsiteX147" fmla="*/ 1583077 w 4519987"/>
              <a:gd name="connsiteY147" fmla="*/ 142875 h 4496940"/>
              <a:gd name="connsiteX148" fmla="*/ 1716427 w 4519987"/>
              <a:gd name="connsiteY148" fmla="*/ 123825 h 4496940"/>
              <a:gd name="connsiteX149" fmla="*/ 1811677 w 4519987"/>
              <a:gd name="connsiteY149" fmla="*/ 114300 h 4496940"/>
              <a:gd name="connsiteX150" fmla="*/ 1859302 w 4519987"/>
              <a:gd name="connsiteY150" fmla="*/ 104775 h 4496940"/>
              <a:gd name="connsiteX151" fmla="*/ 1916452 w 4519987"/>
              <a:gd name="connsiteY151" fmla="*/ 95250 h 4496940"/>
              <a:gd name="connsiteX152" fmla="*/ 2030752 w 4519987"/>
              <a:gd name="connsiteY152" fmla="*/ 66675 h 4496940"/>
              <a:gd name="connsiteX153" fmla="*/ 2097427 w 4519987"/>
              <a:gd name="connsiteY153" fmla="*/ 47625 h 4496940"/>
              <a:gd name="connsiteX154" fmla="*/ 2164102 w 4519987"/>
              <a:gd name="connsiteY154" fmla="*/ 38100 h 4496940"/>
              <a:gd name="connsiteX155" fmla="*/ 2392702 w 4519987"/>
              <a:gd name="connsiteY15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907177 w 4519987"/>
              <a:gd name="connsiteY25" fmla="*/ 647700 h 4496940"/>
              <a:gd name="connsiteX26" fmla="*/ 3935752 w 4519987"/>
              <a:gd name="connsiteY26" fmla="*/ 676275 h 4496940"/>
              <a:gd name="connsiteX27" fmla="*/ 4078627 w 4519987"/>
              <a:gd name="connsiteY27" fmla="*/ 838200 h 4496940"/>
              <a:gd name="connsiteX28" fmla="*/ 4135777 w 4519987"/>
              <a:gd name="connsiteY28" fmla="*/ 933450 h 4496940"/>
              <a:gd name="connsiteX29" fmla="*/ 4164352 w 4519987"/>
              <a:gd name="connsiteY29" fmla="*/ 990600 h 4496940"/>
              <a:gd name="connsiteX30" fmla="*/ 4173877 w 4519987"/>
              <a:gd name="connsiteY30" fmla="*/ 1019175 h 4496940"/>
              <a:gd name="connsiteX31" fmla="*/ 4192927 w 4519987"/>
              <a:gd name="connsiteY31" fmla="*/ 1057275 h 4496940"/>
              <a:gd name="connsiteX32" fmla="*/ 4202452 w 4519987"/>
              <a:gd name="connsiteY32" fmla="*/ 1085850 h 4496940"/>
              <a:gd name="connsiteX33" fmla="*/ 4250077 w 4519987"/>
              <a:gd name="connsiteY33" fmla="*/ 1143000 h 4496940"/>
              <a:gd name="connsiteX34" fmla="*/ 4259602 w 4519987"/>
              <a:gd name="connsiteY34" fmla="*/ 1190625 h 4496940"/>
              <a:gd name="connsiteX35" fmla="*/ 4307227 w 4519987"/>
              <a:gd name="connsiteY35" fmla="*/ 1266825 h 4496940"/>
              <a:gd name="connsiteX36" fmla="*/ 4345327 w 4519987"/>
              <a:gd name="connsiteY36" fmla="*/ 1362075 h 4496940"/>
              <a:gd name="connsiteX37" fmla="*/ 4373902 w 4519987"/>
              <a:gd name="connsiteY37" fmla="*/ 1428750 h 4496940"/>
              <a:gd name="connsiteX38" fmla="*/ 4392952 w 4519987"/>
              <a:gd name="connsiteY38" fmla="*/ 1552575 h 4496940"/>
              <a:gd name="connsiteX39" fmla="*/ 4402477 w 4519987"/>
              <a:gd name="connsiteY39" fmla="*/ 1590675 h 4496940"/>
              <a:gd name="connsiteX40" fmla="*/ 4431052 w 4519987"/>
              <a:gd name="connsiteY40" fmla="*/ 1685925 h 4496940"/>
              <a:gd name="connsiteX41" fmla="*/ 4519952 w 4519987"/>
              <a:gd name="connsiteY41" fmla="*/ 2181225 h 4496940"/>
              <a:gd name="connsiteX42" fmla="*/ 4446927 w 4519987"/>
              <a:gd name="connsiteY42" fmla="*/ 2768600 h 4496940"/>
              <a:gd name="connsiteX43" fmla="*/ 4383427 w 4519987"/>
              <a:gd name="connsiteY43" fmla="*/ 2990850 h 4496940"/>
              <a:gd name="connsiteX44" fmla="*/ 4278652 w 4519987"/>
              <a:gd name="connsiteY44" fmla="*/ 3248025 h 4496940"/>
              <a:gd name="connsiteX45" fmla="*/ 4259602 w 4519987"/>
              <a:gd name="connsiteY45" fmla="*/ 3276600 h 4496940"/>
              <a:gd name="connsiteX46" fmla="*/ 4221502 w 4519987"/>
              <a:gd name="connsiteY46" fmla="*/ 3333750 h 4496940"/>
              <a:gd name="connsiteX47" fmla="*/ 4211977 w 4519987"/>
              <a:gd name="connsiteY47" fmla="*/ 3362325 h 4496940"/>
              <a:gd name="connsiteX48" fmla="*/ 4183402 w 4519987"/>
              <a:gd name="connsiteY48" fmla="*/ 3400425 h 4496940"/>
              <a:gd name="connsiteX49" fmla="*/ 4164352 w 4519987"/>
              <a:gd name="connsiteY49" fmla="*/ 3429000 h 4496940"/>
              <a:gd name="connsiteX50" fmla="*/ 4088152 w 4519987"/>
              <a:gd name="connsiteY50" fmla="*/ 3495675 h 4496940"/>
              <a:gd name="connsiteX51" fmla="*/ 4059577 w 4519987"/>
              <a:gd name="connsiteY51" fmla="*/ 3533775 h 4496940"/>
              <a:gd name="connsiteX52" fmla="*/ 4002427 w 4519987"/>
              <a:gd name="connsiteY52" fmla="*/ 3600450 h 4496940"/>
              <a:gd name="connsiteX53" fmla="*/ 3983377 w 4519987"/>
              <a:gd name="connsiteY53" fmla="*/ 3629025 h 4496940"/>
              <a:gd name="connsiteX54" fmla="*/ 3954802 w 4519987"/>
              <a:gd name="connsiteY54" fmla="*/ 3648075 h 4496940"/>
              <a:gd name="connsiteX55" fmla="*/ 3907177 w 4519987"/>
              <a:gd name="connsiteY55" fmla="*/ 3686175 h 4496940"/>
              <a:gd name="connsiteX56" fmla="*/ 3869077 w 4519987"/>
              <a:gd name="connsiteY56" fmla="*/ 3724275 h 4496940"/>
              <a:gd name="connsiteX57" fmla="*/ 3792877 w 4519987"/>
              <a:gd name="connsiteY57" fmla="*/ 3781425 h 4496940"/>
              <a:gd name="connsiteX58" fmla="*/ 3783352 w 4519987"/>
              <a:gd name="connsiteY58" fmla="*/ 3810000 h 4496940"/>
              <a:gd name="connsiteX59" fmla="*/ 3745252 w 4519987"/>
              <a:gd name="connsiteY59" fmla="*/ 3819525 h 4496940"/>
              <a:gd name="connsiteX60" fmla="*/ 3678577 w 4519987"/>
              <a:gd name="connsiteY60" fmla="*/ 3848100 h 4496940"/>
              <a:gd name="connsiteX61" fmla="*/ 3659527 w 4519987"/>
              <a:gd name="connsiteY61" fmla="*/ 3971925 h 4496940"/>
              <a:gd name="connsiteX62" fmla="*/ 3630952 w 4519987"/>
              <a:gd name="connsiteY62" fmla="*/ 4010025 h 4496940"/>
              <a:gd name="connsiteX63" fmla="*/ 3621427 w 4519987"/>
              <a:gd name="connsiteY63" fmla="*/ 4038600 h 4496940"/>
              <a:gd name="connsiteX64" fmla="*/ 3554752 w 4519987"/>
              <a:gd name="connsiteY64" fmla="*/ 4095750 h 4496940"/>
              <a:gd name="connsiteX65" fmla="*/ 3516652 w 4519987"/>
              <a:gd name="connsiteY65" fmla="*/ 4114800 h 4496940"/>
              <a:gd name="connsiteX66" fmla="*/ 3497602 w 4519987"/>
              <a:gd name="connsiteY66" fmla="*/ 4143375 h 4496940"/>
              <a:gd name="connsiteX67" fmla="*/ 3383302 w 4519987"/>
              <a:gd name="connsiteY67" fmla="*/ 4210050 h 4496940"/>
              <a:gd name="connsiteX68" fmla="*/ 3335677 w 4519987"/>
              <a:gd name="connsiteY68" fmla="*/ 4238625 h 4496940"/>
              <a:gd name="connsiteX69" fmla="*/ 3288052 w 4519987"/>
              <a:gd name="connsiteY69" fmla="*/ 4248150 h 4496940"/>
              <a:gd name="connsiteX70" fmla="*/ 3240427 w 4519987"/>
              <a:gd name="connsiteY70" fmla="*/ 4267200 h 4496940"/>
              <a:gd name="connsiteX71" fmla="*/ 3068977 w 4519987"/>
              <a:gd name="connsiteY71" fmla="*/ 4286250 h 4496940"/>
              <a:gd name="connsiteX72" fmla="*/ 2935627 w 4519987"/>
              <a:gd name="connsiteY72" fmla="*/ 4333875 h 4496940"/>
              <a:gd name="connsiteX73" fmla="*/ 2811802 w 4519987"/>
              <a:gd name="connsiteY73" fmla="*/ 4371975 h 4496940"/>
              <a:gd name="connsiteX74" fmla="*/ 2745127 w 4519987"/>
              <a:gd name="connsiteY74" fmla="*/ 4410075 h 4496940"/>
              <a:gd name="connsiteX75" fmla="*/ 2697502 w 4519987"/>
              <a:gd name="connsiteY75" fmla="*/ 4429125 h 4496940"/>
              <a:gd name="connsiteX76" fmla="*/ 2640352 w 4519987"/>
              <a:gd name="connsiteY76" fmla="*/ 4457700 h 4496940"/>
              <a:gd name="connsiteX77" fmla="*/ 2583202 w 4519987"/>
              <a:gd name="connsiteY77" fmla="*/ 4467225 h 4496940"/>
              <a:gd name="connsiteX78" fmla="*/ 2545102 w 4519987"/>
              <a:gd name="connsiteY78" fmla="*/ 4486275 h 4496940"/>
              <a:gd name="connsiteX79" fmla="*/ 2306977 w 4519987"/>
              <a:gd name="connsiteY79" fmla="*/ 4476750 h 4496940"/>
              <a:gd name="connsiteX80" fmla="*/ 2202202 w 4519987"/>
              <a:gd name="connsiteY80" fmla="*/ 4457700 h 4496940"/>
              <a:gd name="connsiteX81" fmla="*/ 2126002 w 4519987"/>
              <a:gd name="connsiteY81" fmla="*/ 4429125 h 4496940"/>
              <a:gd name="connsiteX82" fmla="*/ 1935502 w 4519987"/>
              <a:gd name="connsiteY82" fmla="*/ 4400550 h 4496940"/>
              <a:gd name="connsiteX83" fmla="*/ 1821202 w 4519987"/>
              <a:gd name="connsiteY83" fmla="*/ 4371975 h 4496940"/>
              <a:gd name="connsiteX84" fmla="*/ 1754527 w 4519987"/>
              <a:gd name="connsiteY84" fmla="*/ 4352925 h 4496940"/>
              <a:gd name="connsiteX85" fmla="*/ 1687852 w 4519987"/>
              <a:gd name="connsiteY85" fmla="*/ 4343400 h 4496940"/>
              <a:gd name="connsiteX86" fmla="*/ 1573552 w 4519987"/>
              <a:gd name="connsiteY86" fmla="*/ 4305300 h 4496940"/>
              <a:gd name="connsiteX87" fmla="*/ 1402102 w 4519987"/>
              <a:gd name="connsiteY87" fmla="*/ 4276725 h 4496940"/>
              <a:gd name="connsiteX88" fmla="*/ 1287802 w 4519987"/>
              <a:gd name="connsiteY88" fmla="*/ 4229100 h 4496940"/>
              <a:gd name="connsiteX89" fmla="*/ 1221127 w 4519987"/>
              <a:gd name="connsiteY89" fmla="*/ 4200525 h 4496940"/>
              <a:gd name="connsiteX90" fmla="*/ 1144927 w 4519987"/>
              <a:gd name="connsiteY90" fmla="*/ 4171950 h 4496940"/>
              <a:gd name="connsiteX91" fmla="*/ 1087777 w 4519987"/>
              <a:gd name="connsiteY91" fmla="*/ 4143375 h 4496940"/>
              <a:gd name="connsiteX92" fmla="*/ 1030627 w 4519987"/>
              <a:gd name="connsiteY92" fmla="*/ 4124325 h 4496940"/>
              <a:gd name="connsiteX93" fmla="*/ 925852 w 4519987"/>
              <a:gd name="connsiteY93" fmla="*/ 4067175 h 4496940"/>
              <a:gd name="connsiteX94" fmla="*/ 830602 w 4519987"/>
              <a:gd name="connsiteY94" fmla="*/ 3981450 h 4496940"/>
              <a:gd name="connsiteX95" fmla="*/ 763927 w 4519987"/>
              <a:gd name="connsiteY95" fmla="*/ 3914775 h 4496940"/>
              <a:gd name="connsiteX96" fmla="*/ 725827 w 4519987"/>
              <a:gd name="connsiteY96" fmla="*/ 3876675 h 4496940"/>
              <a:gd name="connsiteX97" fmla="*/ 697252 w 4519987"/>
              <a:gd name="connsiteY97" fmla="*/ 3838575 h 4496940"/>
              <a:gd name="connsiteX98" fmla="*/ 640102 w 4519987"/>
              <a:gd name="connsiteY98" fmla="*/ 3781425 h 4496940"/>
              <a:gd name="connsiteX99" fmla="*/ 611527 w 4519987"/>
              <a:gd name="connsiteY99" fmla="*/ 3733800 h 4496940"/>
              <a:gd name="connsiteX100" fmla="*/ 554377 w 4519987"/>
              <a:gd name="connsiteY100" fmla="*/ 3657600 h 4496940"/>
              <a:gd name="connsiteX101" fmla="*/ 525802 w 4519987"/>
              <a:gd name="connsiteY101" fmla="*/ 3609975 h 4496940"/>
              <a:gd name="connsiteX102" fmla="*/ 497227 w 4519987"/>
              <a:gd name="connsiteY102" fmla="*/ 3552825 h 4496940"/>
              <a:gd name="connsiteX103" fmla="*/ 440077 w 4519987"/>
              <a:gd name="connsiteY103" fmla="*/ 3495675 h 4496940"/>
              <a:gd name="connsiteX104" fmla="*/ 411502 w 4519987"/>
              <a:gd name="connsiteY104" fmla="*/ 3448050 h 4496940"/>
              <a:gd name="connsiteX105" fmla="*/ 278152 w 4519987"/>
              <a:gd name="connsiteY105" fmla="*/ 3257550 h 4496940"/>
              <a:gd name="connsiteX106" fmla="*/ 249577 w 4519987"/>
              <a:gd name="connsiteY106" fmla="*/ 3200400 h 4496940"/>
              <a:gd name="connsiteX107" fmla="*/ 240052 w 4519987"/>
              <a:gd name="connsiteY107" fmla="*/ 3162300 h 4496940"/>
              <a:gd name="connsiteX108" fmla="*/ 221002 w 4519987"/>
              <a:gd name="connsiteY108" fmla="*/ 3105150 h 4496940"/>
              <a:gd name="connsiteX109" fmla="*/ 173377 w 4519987"/>
              <a:gd name="connsiteY109" fmla="*/ 3019425 h 4496940"/>
              <a:gd name="connsiteX110" fmla="*/ 144802 w 4519987"/>
              <a:gd name="connsiteY110" fmla="*/ 2924175 h 4496940"/>
              <a:gd name="connsiteX111" fmla="*/ 68602 w 4519987"/>
              <a:gd name="connsiteY111" fmla="*/ 2724150 h 4496940"/>
              <a:gd name="connsiteX112" fmla="*/ 49552 w 4519987"/>
              <a:gd name="connsiteY112" fmla="*/ 2638425 h 4496940"/>
              <a:gd name="connsiteX113" fmla="*/ 40027 w 4519987"/>
              <a:gd name="connsiteY113" fmla="*/ 2562225 h 4496940"/>
              <a:gd name="connsiteX114" fmla="*/ 30502 w 4519987"/>
              <a:gd name="connsiteY114" fmla="*/ 2514600 h 4496940"/>
              <a:gd name="connsiteX115" fmla="*/ 11452 w 4519987"/>
              <a:gd name="connsiteY115" fmla="*/ 2400300 h 4496940"/>
              <a:gd name="connsiteX116" fmla="*/ 20977 w 4519987"/>
              <a:gd name="connsiteY116" fmla="*/ 1905000 h 4496940"/>
              <a:gd name="connsiteX117" fmla="*/ 30502 w 4519987"/>
              <a:gd name="connsiteY117" fmla="*/ 1838325 h 4496940"/>
              <a:gd name="connsiteX118" fmla="*/ 49552 w 4519987"/>
              <a:gd name="connsiteY118" fmla="*/ 1781175 h 4496940"/>
              <a:gd name="connsiteX119" fmla="*/ 59077 w 4519987"/>
              <a:gd name="connsiteY119" fmla="*/ 1743075 h 4496940"/>
              <a:gd name="connsiteX120" fmla="*/ 78127 w 4519987"/>
              <a:gd name="connsiteY120" fmla="*/ 1685925 h 4496940"/>
              <a:gd name="connsiteX121" fmla="*/ 87652 w 4519987"/>
              <a:gd name="connsiteY121" fmla="*/ 1638300 h 4496940"/>
              <a:gd name="connsiteX122" fmla="*/ 106702 w 4519987"/>
              <a:gd name="connsiteY122" fmla="*/ 1590675 h 4496940"/>
              <a:gd name="connsiteX123" fmla="*/ 135277 w 4519987"/>
              <a:gd name="connsiteY123" fmla="*/ 1504950 h 4496940"/>
              <a:gd name="connsiteX124" fmla="*/ 154327 w 4519987"/>
              <a:gd name="connsiteY124" fmla="*/ 1419225 h 4496940"/>
              <a:gd name="connsiteX125" fmla="*/ 230527 w 4519987"/>
              <a:gd name="connsiteY125" fmla="*/ 1276350 h 4496940"/>
              <a:gd name="connsiteX126" fmla="*/ 240052 w 4519987"/>
              <a:gd name="connsiteY126" fmla="*/ 1247775 h 4496940"/>
              <a:gd name="connsiteX127" fmla="*/ 268627 w 4519987"/>
              <a:gd name="connsiteY127" fmla="*/ 1200150 h 4496940"/>
              <a:gd name="connsiteX128" fmla="*/ 287677 w 4519987"/>
              <a:gd name="connsiteY128" fmla="*/ 1152525 h 4496940"/>
              <a:gd name="connsiteX129" fmla="*/ 316252 w 4519987"/>
              <a:gd name="connsiteY129" fmla="*/ 1114425 h 4496940"/>
              <a:gd name="connsiteX130" fmla="*/ 363877 w 4519987"/>
              <a:gd name="connsiteY130" fmla="*/ 1038225 h 4496940"/>
              <a:gd name="connsiteX131" fmla="*/ 382927 w 4519987"/>
              <a:gd name="connsiteY131" fmla="*/ 1009650 h 4496940"/>
              <a:gd name="connsiteX132" fmla="*/ 440077 w 4519987"/>
              <a:gd name="connsiteY132" fmla="*/ 904875 h 4496940"/>
              <a:gd name="connsiteX133" fmla="*/ 478177 w 4519987"/>
              <a:gd name="connsiteY133" fmla="*/ 857250 h 4496940"/>
              <a:gd name="connsiteX134" fmla="*/ 497227 w 4519987"/>
              <a:gd name="connsiteY134" fmla="*/ 828675 h 4496940"/>
              <a:gd name="connsiteX135" fmla="*/ 535327 w 4519987"/>
              <a:gd name="connsiteY135" fmla="*/ 800100 h 4496940"/>
              <a:gd name="connsiteX136" fmla="*/ 602002 w 4519987"/>
              <a:gd name="connsiteY136" fmla="*/ 733425 h 4496940"/>
              <a:gd name="connsiteX137" fmla="*/ 668677 w 4519987"/>
              <a:gd name="connsiteY137" fmla="*/ 676275 h 4496940"/>
              <a:gd name="connsiteX138" fmla="*/ 697252 w 4519987"/>
              <a:gd name="connsiteY138" fmla="*/ 657225 h 4496940"/>
              <a:gd name="connsiteX139" fmla="*/ 840127 w 4519987"/>
              <a:gd name="connsiteY139" fmla="*/ 533400 h 4496940"/>
              <a:gd name="connsiteX140" fmla="*/ 887752 w 4519987"/>
              <a:gd name="connsiteY140" fmla="*/ 504825 h 4496940"/>
              <a:gd name="connsiteX141" fmla="*/ 1167152 w 4519987"/>
              <a:gd name="connsiteY141" fmla="*/ 311150 h 4496940"/>
              <a:gd name="connsiteX142" fmla="*/ 1268752 w 4519987"/>
              <a:gd name="connsiteY142" fmla="*/ 285750 h 4496940"/>
              <a:gd name="connsiteX143" fmla="*/ 1411627 w 4519987"/>
              <a:gd name="connsiteY143" fmla="*/ 190500 h 4496940"/>
              <a:gd name="connsiteX144" fmla="*/ 1449727 w 4519987"/>
              <a:gd name="connsiteY144" fmla="*/ 161925 h 4496940"/>
              <a:gd name="connsiteX145" fmla="*/ 1525927 w 4519987"/>
              <a:gd name="connsiteY145" fmla="*/ 152400 h 4496940"/>
              <a:gd name="connsiteX146" fmla="*/ 1583077 w 4519987"/>
              <a:gd name="connsiteY146" fmla="*/ 142875 h 4496940"/>
              <a:gd name="connsiteX147" fmla="*/ 1716427 w 4519987"/>
              <a:gd name="connsiteY147" fmla="*/ 123825 h 4496940"/>
              <a:gd name="connsiteX148" fmla="*/ 1811677 w 4519987"/>
              <a:gd name="connsiteY148" fmla="*/ 114300 h 4496940"/>
              <a:gd name="connsiteX149" fmla="*/ 1859302 w 4519987"/>
              <a:gd name="connsiteY149" fmla="*/ 104775 h 4496940"/>
              <a:gd name="connsiteX150" fmla="*/ 1916452 w 4519987"/>
              <a:gd name="connsiteY150" fmla="*/ 95250 h 4496940"/>
              <a:gd name="connsiteX151" fmla="*/ 2030752 w 4519987"/>
              <a:gd name="connsiteY151" fmla="*/ 66675 h 4496940"/>
              <a:gd name="connsiteX152" fmla="*/ 2097427 w 4519987"/>
              <a:gd name="connsiteY152" fmla="*/ 47625 h 4496940"/>
              <a:gd name="connsiteX153" fmla="*/ 2164102 w 4519987"/>
              <a:gd name="connsiteY153" fmla="*/ 38100 h 4496940"/>
              <a:gd name="connsiteX154" fmla="*/ 2392702 w 4519987"/>
              <a:gd name="connsiteY15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907177 w 4519987"/>
              <a:gd name="connsiteY24" fmla="*/ 647700 h 4496940"/>
              <a:gd name="connsiteX25" fmla="*/ 3935752 w 4519987"/>
              <a:gd name="connsiteY25" fmla="*/ 676275 h 4496940"/>
              <a:gd name="connsiteX26" fmla="*/ 4078627 w 4519987"/>
              <a:gd name="connsiteY26" fmla="*/ 838200 h 4496940"/>
              <a:gd name="connsiteX27" fmla="*/ 4135777 w 4519987"/>
              <a:gd name="connsiteY27" fmla="*/ 933450 h 4496940"/>
              <a:gd name="connsiteX28" fmla="*/ 4164352 w 4519987"/>
              <a:gd name="connsiteY28" fmla="*/ 990600 h 4496940"/>
              <a:gd name="connsiteX29" fmla="*/ 4173877 w 4519987"/>
              <a:gd name="connsiteY29" fmla="*/ 1019175 h 4496940"/>
              <a:gd name="connsiteX30" fmla="*/ 4192927 w 4519987"/>
              <a:gd name="connsiteY30" fmla="*/ 1057275 h 4496940"/>
              <a:gd name="connsiteX31" fmla="*/ 4202452 w 4519987"/>
              <a:gd name="connsiteY31" fmla="*/ 1085850 h 4496940"/>
              <a:gd name="connsiteX32" fmla="*/ 4250077 w 4519987"/>
              <a:gd name="connsiteY32" fmla="*/ 1143000 h 4496940"/>
              <a:gd name="connsiteX33" fmla="*/ 4259602 w 4519987"/>
              <a:gd name="connsiteY33" fmla="*/ 1190625 h 4496940"/>
              <a:gd name="connsiteX34" fmla="*/ 4307227 w 4519987"/>
              <a:gd name="connsiteY34" fmla="*/ 1266825 h 4496940"/>
              <a:gd name="connsiteX35" fmla="*/ 4345327 w 4519987"/>
              <a:gd name="connsiteY35" fmla="*/ 1362075 h 4496940"/>
              <a:gd name="connsiteX36" fmla="*/ 4373902 w 4519987"/>
              <a:gd name="connsiteY36" fmla="*/ 1428750 h 4496940"/>
              <a:gd name="connsiteX37" fmla="*/ 4392952 w 4519987"/>
              <a:gd name="connsiteY37" fmla="*/ 1552575 h 4496940"/>
              <a:gd name="connsiteX38" fmla="*/ 4402477 w 4519987"/>
              <a:gd name="connsiteY38" fmla="*/ 1590675 h 4496940"/>
              <a:gd name="connsiteX39" fmla="*/ 4431052 w 4519987"/>
              <a:gd name="connsiteY39" fmla="*/ 1685925 h 4496940"/>
              <a:gd name="connsiteX40" fmla="*/ 4519952 w 4519987"/>
              <a:gd name="connsiteY40" fmla="*/ 2181225 h 4496940"/>
              <a:gd name="connsiteX41" fmla="*/ 4446927 w 4519987"/>
              <a:gd name="connsiteY41" fmla="*/ 2768600 h 4496940"/>
              <a:gd name="connsiteX42" fmla="*/ 4383427 w 4519987"/>
              <a:gd name="connsiteY42" fmla="*/ 2990850 h 4496940"/>
              <a:gd name="connsiteX43" fmla="*/ 4278652 w 4519987"/>
              <a:gd name="connsiteY43" fmla="*/ 3248025 h 4496940"/>
              <a:gd name="connsiteX44" fmla="*/ 4259602 w 4519987"/>
              <a:gd name="connsiteY44" fmla="*/ 3276600 h 4496940"/>
              <a:gd name="connsiteX45" fmla="*/ 4221502 w 4519987"/>
              <a:gd name="connsiteY45" fmla="*/ 3333750 h 4496940"/>
              <a:gd name="connsiteX46" fmla="*/ 4211977 w 4519987"/>
              <a:gd name="connsiteY46" fmla="*/ 3362325 h 4496940"/>
              <a:gd name="connsiteX47" fmla="*/ 4183402 w 4519987"/>
              <a:gd name="connsiteY47" fmla="*/ 3400425 h 4496940"/>
              <a:gd name="connsiteX48" fmla="*/ 4164352 w 4519987"/>
              <a:gd name="connsiteY48" fmla="*/ 3429000 h 4496940"/>
              <a:gd name="connsiteX49" fmla="*/ 4088152 w 4519987"/>
              <a:gd name="connsiteY49" fmla="*/ 3495675 h 4496940"/>
              <a:gd name="connsiteX50" fmla="*/ 4059577 w 4519987"/>
              <a:gd name="connsiteY50" fmla="*/ 3533775 h 4496940"/>
              <a:gd name="connsiteX51" fmla="*/ 4002427 w 4519987"/>
              <a:gd name="connsiteY51" fmla="*/ 3600450 h 4496940"/>
              <a:gd name="connsiteX52" fmla="*/ 3983377 w 4519987"/>
              <a:gd name="connsiteY52" fmla="*/ 3629025 h 4496940"/>
              <a:gd name="connsiteX53" fmla="*/ 3954802 w 4519987"/>
              <a:gd name="connsiteY53" fmla="*/ 3648075 h 4496940"/>
              <a:gd name="connsiteX54" fmla="*/ 3907177 w 4519987"/>
              <a:gd name="connsiteY54" fmla="*/ 3686175 h 4496940"/>
              <a:gd name="connsiteX55" fmla="*/ 3869077 w 4519987"/>
              <a:gd name="connsiteY55" fmla="*/ 3724275 h 4496940"/>
              <a:gd name="connsiteX56" fmla="*/ 3792877 w 4519987"/>
              <a:gd name="connsiteY56" fmla="*/ 3781425 h 4496940"/>
              <a:gd name="connsiteX57" fmla="*/ 3783352 w 4519987"/>
              <a:gd name="connsiteY57" fmla="*/ 3810000 h 4496940"/>
              <a:gd name="connsiteX58" fmla="*/ 3745252 w 4519987"/>
              <a:gd name="connsiteY58" fmla="*/ 3819525 h 4496940"/>
              <a:gd name="connsiteX59" fmla="*/ 3678577 w 4519987"/>
              <a:gd name="connsiteY59" fmla="*/ 3848100 h 4496940"/>
              <a:gd name="connsiteX60" fmla="*/ 3659527 w 4519987"/>
              <a:gd name="connsiteY60" fmla="*/ 3971925 h 4496940"/>
              <a:gd name="connsiteX61" fmla="*/ 3630952 w 4519987"/>
              <a:gd name="connsiteY61" fmla="*/ 4010025 h 4496940"/>
              <a:gd name="connsiteX62" fmla="*/ 3621427 w 4519987"/>
              <a:gd name="connsiteY62" fmla="*/ 4038600 h 4496940"/>
              <a:gd name="connsiteX63" fmla="*/ 3554752 w 4519987"/>
              <a:gd name="connsiteY63" fmla="*/ 4095750 h 4496940"/>
              <a:gd name="connsiteX64" fmla="*/ 3516652 w 4519987"/>
              <a:gd name="connsiteY64" fmla="*/ 4114800 h 4496940"/>
              <a:gd name="connsiteX65" fmla="*/ 3497602 w 4519987"/>
              <a:gd name="connsiteY65" fmla="*/ 4143375 h 4496940"/>
              <a:gd name="connsiteX66" fmla="*/ 3383302 w 4519987"/>
              <a:gd name="connsiteY66" fmla="*/ 4210050 h 4496940"/>
              <a:gd name="connsiteX67" fmla="*/ 3335677 w 4519987"/>
              <a:gd name="connsiteY67" fmla="*/ 4238625 h 4496940"/>
              <a:gd name="connsiteX68" fmla="*/ 3288052 w 4519987"/>
              <a:gd name="connsiteY68" fmla="*/ 4248150 h 4496940"/>
              <a:gd name="connsiteX69" fmla="*/ 3240427 w 4519987"/>
              <a:gd name="connsiteY69" fmla="*/ 4267200 h 4496940"/>
              <a:gd name="connsiteX70" fmla="*/ 3068977 w 4519987"/>
              <a:gd name="connsiteY70" fmla="*/ 4286250 h 4496940"/>
              <a:gd name="connsiteX71" fmla="*/ 2935627 w 4519987"/>
              <a:gd name="connsiteY71" fmla="*/ 4333875 h 4496940"/>
              <a:gd name="connsiteX72" fmla="*/ 2811802 w 4519987"/>
              <a:gd name="connsiteY72" fmla="*/ 4371975 h 4496940"/>
              <a:gd name="connsiteX73" fmla="*/ 2745127 w 4519987"/>
              <a:gd name="connsiteY73" fmla="*/ 4410075 h 4496940"/>
              <a:gd name="connsiteX74" fmla="*/ 2697502 w 4519987"/>
              <a:gd name="connsiteY74" fmla="*/ 4429125 h 4496940"/>
              <a:gd name="connsiteX75" fmla="*/ 2640352 w 4519987"/>
              <a:gd name="connsiteY75" fmla="*/ 4457700 h 4496940"/>
              <a:gd name="connsiteX76" fmla="*/ 2583202 w 4519987"/>
              <a:gd name="connsiteY76" fmla="*/ 4467225 h 4496940"/>
              <a:gd name="connsiteX77" fmla="*/ 2545102 w 4519987"/>
              <a:gd name="connsiteY77" fmla="*/ 4486275 h 4496940"/>
              <a:gd name="connsiteX78" fmla="*/ 2306977 w 4519987"/>
              <a:gd name="connsiteY78" fmla="*/ 4476750 h 4496940"/>
              <a:gd name="connsiteX79" fmla="*/ 2202202 w 4519987"/>
              <a:gd name="connsiteY79" fmla="*/ 4457700 h 4496940"/>
              <a:gd name="connsiteX80" fmla="*/ 2126002 w 4519987"/>
              <a:gd name="connsiteY80" fmla="*/ 4429125 h 4496940"/>
              <a:gd name="connsiteX81" fmla="*/ 1935502 w 4519987"/>
              <a:gd name="connsiteY81" fmla="*/ 4400550 h 4496940"/>
              <a:gd name="connsiteX82" fmla="*/ 1821202 w 4519987"/>
              <a:gd name="connsiteY82" fmla="*/ 4371975 h 4496940"/>
              <a:gd name="connsiteX83" fmla="*/ 1754527 w 4519987"/>
              <a:gd name="connsiteY83" fmla="*/ 4352925 h 4496940"/>
              <a:gd name="connsiteX84" fmla="*/ 1687852 w 4519987"/>
              <a:gd name="connsiteY84" fmla="*/ 4343400 h 4496940"/>
              <a:gd name="connsiteX85" fmla="*/ 1573552 w 4519987"/>
              <a:gd name="connsiteY85" fmla="*/ 4305300 h 4496940"/>
              <a:gd name="connsiteX86" fmla="*/ 1402102 w 4519987"/>
              <a:gd name="connsiteY86" fmla="*/ 4276725 h 4496940"/>
              <a:gd name="connsiteX87" fmla="*/ 1287802 w 4519987"/>
              <a:gd name="connsiteY87" fmla="*/ 4229100 h 4496940"/>
              <a:gd name="connsiteX88" fmla="*/ 1221127 w 4519987"/>
              <a:gd name="connsiteY88" fmla="*/ 4200525 h 4496940"/>
              <a:gd name="connsiteX89" fmla="*/ 1144927 w 4519987"/>
              <a:gd name="connsiteY89" fmla="*/ 4171950 h 4496940"/>
              <a:gd name="connsiteX90" fmla="*/ 1087777 w 4519987"/>
              <a:gd name="connsiteY90" fmla="*/ 4143375 h 4496940"/>
              <a:gd name="connsiteX91" fmla="*/ 1030627 w 4519987"/>
              <a:gd name="connsiteY91" fmla="*/ 4124325 h 4496940"/>
              <a:gd name="connsiteX92" fmla="*/ 925852 w 4519987"/>
              <a:gd name="connsiteY92" fmla="*/ 4067175 h 4496940"/>
              <a:gd name="connsiteX93" fmla="*/ 830602 w 4519987"/>
              <a:gd name="connsiteY93" fmla="*/ 3981450 h 4496940"/>
              <a:gd name="connsiteX94" fmla="*/ 763927 w 4519987"/>
              <a:gd name="connsiteY94" fmla="*/ 3914775 h 4496940"/>
              <a:gd name="connsiteX95" fmla="*/ 725827 w 4519987"/>
              <a:gd name="connsiteY95" fmla="*/ 3876675 h 4496940"/>
              <a:gd name="connsiteX96" fmla="*/ 697252 w 4519987"/>
              <a:gd name="connsiteY96" fmla="*/ 3838575 h 4496940"/>
              <a:gd name="connsiteX97" fmla="*/ 640102 w 4519987"/>
              <a:gd name="connsiteY97" fmla="*/ 3781425 h 4496940"/>
              <a:gd name="connsiteX98" fmla="*/ 611527 w 4519987"/>
              <a:gd name="connsiteY98" fmla="*/ 3733800 h 4496940"/>
              <a:gd name="connsiteX99" fmla="*/ 554377 w 4519987"/>
              <a:gd name="connsiteY99" fmla="*/ 3657600 h 4496940"/>
              <a:gd name="connsiteX100" fmla="*/ 525802 w 4519987"/>
              <a:gd name="connsiteY100" fmla="*/ 3609975 h 4496940"/>
              <a:gd name="connsiteX101" fmla="*/ 497227 w 4519987"/>
              <a:gd name="connsiteY101" fmla="*/ 3552825 h 4496940"/>
              <a:gd name="connsiteX102" fmla="*/ 440077 w 4519987"/>
              <a:gd name="connsiteY102" fmla="*/ 3495675 h 4496940"/>
              <a:gd name="connsiteX103" fmla="*/ 411502 w 4519987"/>
              <a:gd name="connsiteY103" fmla="*/ 3448050 h 4496940"/>
              <a:gd name="connsiteX104" fmla="*/ 278152 w 4519987"/>
              <a:gd name="connsiteY104" fmla="*/ 3257550 h 4496940"/>
              <a:gd name="connsiteX105" fmla="*/ 249577 w 4519987"/>
              <a:gd name="connsiteY105" fmla="*/ 3200400 h 4496940"/>
              <a:gd name="connsiteX106" fmla="*/ 240052 w 4519987"/>
              <a:gd name="connsiteY106" fmla="*/ 3162300 h 4496940"/>
              <a:gd name="connsiteX107" fmla="*/ 221002 w 4519987"/>
              <a:gd name="connsiteY107" fmla="*/ 3105150 h 4496940"/>
              <a:gd name="connsiteX108" fmla="*/ 173377 w 4519987"/>
              <a:gd name="connsiteY108" fmla="*/ 3019425 h 4496940"/>
              <a:gd name="connsiteX109" fmla="*/ 144802 w 4519987"/>
              <a:gd name="connsiteY109" fmla="*/ 2924175 h 4496940"/>
              <a:gd name="connsiteX110" fmla="*/ 68602 w 4519987"/>
              <a:gd name="connsiteY110" fmla="*/ 2724150 h 4496940"/>
              <a:gd name="connsiteX111" fmla="*/ 49552 w 4519987"/>
              <a:gd name="connsiteY111" fmla="*/ 2638425 h 4496940"/>
              <a:gd name="connsiteX112" fmla="*/ 40027 w 4519987"/>
              <a:gd name="connsiteY112" fmla="*/ 2562225 h 4496940"/>
              <a:gd name="connsiteX113" fmla="*/ 30502 w 4519987"/>
              <a:gd name="connsiteY113" fmla="*/ 2514600 h 4496940"/>
              <a:gd name="connsiteX114" fmla="*/ 11452 w 4519987"/>
              <a:gd name="connsiteY114" fmla="*/ 2400300 h 4496940"/>
              <a:gd name="connsiteX115" fmla="*/ 20977 w 4519987"/>
              <a:gd name="connsiteY115" fmla="*/ 1905000 h 4496940"/>
              <a:gd name="connsiteX116" fmla="*/ 30502 w 4519987"/>
              <a:gd name="connsiteY116" fmla="*/ 1838325 h 4496940"/>
              <a:gd name="connsiteX117" fmla="*/ 49552 w 4519987"/>
              <a:gd name="connsiteY117" fmla="*/ 1781175 h 4496940"/>
              <a:gd name="connsiteX118" fmla="*/ 59077 w 4519987"/>
              <a:gd name="connsiteY118" fmla="*/ 1743075 h 4496940"/>
              <a:gd name="connsiteX119" fmla="*/ 78127 w 4519987"/>
              <a:gd name="connsiteY119" fmla="*/ 1685925 h 4496940"/>
              <a:gd name="connsiteX120" fmla="*/ 87652 w 4519987"/>
              <a:gd name="connsiteY120" fmla="*/ 1638300 h 4496940"/>
              <a:gd name="connsiteX121" fmla="*/ 106702 w 4519987"/>
              <a:gd name="connsiteY121" fmla="*/ 1590675 h 4496940"/>
              <a:gd name="connsiteX122" fmla="*/ 135277 w 4519987"/>
              <a:gd name="connsiteY122" fmla="*/ 1504950 h 4496940"/>
              <a:gd name="connsiteX123" fmla="*/ 154327 w 4519987"/>
              <a:gd name="connsiteY123" fmla="*/ 1419225 h 4496940"/>
              <a:gd name="connsiteX124" fmla="*/ 230527 w 4519987"/>
              <a:gd name="connsiteY124" fmla="*/ 1276350 h 4496940"/>
              <a:gd name="connsiteX125" fmla="*/ 240052 w 4519987"/>
              <a:gd name="connsiteY125" fmla="*/ 1247775 h 4496940"/>
              <a:gd name="connsiteX126" fmla="*/ 268627 w 4519987"/>
              <a:gd name="connsiteY126" fmla="*/ 1200150 h 4496940"/>
              <a:gd name="connsiteX127" fmla="*/ 287677 w 4519987"/>
              <a:gd name="connsiteY127" fmla="*/ 1152525 h 4496940"/>
              <a:gd name="connsiteX128" fmla="*/ 316252 w 4519987"/>
              <a:gd name="connsiteY128" fmla="*/ 1114425 h 4496940"/>
              <a:gd name="connsiteX129" fmla="*/ 363877 w 4519987"/>
              <a:gd name="connsiteY129" fmla="*/ 1038225 h 4496940"/>
              <a:gd name="connsiteX130" fmla="*/ 382927 w 4519987"/>
              <a:gd name="connsiteY130" fmla="*/ 1009650 h 4496940"/>
              <a:gd name="connsiteX131" fmla="*/ 440077 w 4519987"/>
              <a:gd name="connsiteY131" fmla="*/ 904875 h 4496940"/>
              <a:gd name="connsiteX132" fmla="*/ 478177 w 4519987"/>
              <a:gd name="connsiteY132" fmla="*/ 857250 h 4496940"/>
              <a:gd name="connsiteX133" fmla="*/ 497227 w 4519987"/>
              <a:gd name="connsiteY133" fmla="*/ 828675 h 4496940"/>
              <a:gd name="connsiteX134" fmla="*/ 535327 w 4519987"/>
              <a:gd name="connsiteY134" fmla="*/ 800100 h 4496940"/>
              <a:gd name="connsiteX135" fmla="*/ 602002 w 4519987"/>
              <a:gd name="connsiteY135" fmla="*/ 733425 h 4496940"/>
              <a:gd name="connsiteX136" fmla="*/ 668677 w 4519987"/>
              <a:gd name="connsiteY136" fmla="*/ 676275 h 4496940"/>
              <a:gd name="connsiteX137" fmla="*/ 697252 w 4519987"/>
              <a:gd name="connsiteY137" fmla="*/ 657225 h 4496940"/>
              <a:gd name="connsiteX138" fmla="*/ 840127 w 4519987"/>
              <a:gd name="connsiteY138" fmla="*/ 533400 h 4496940"/>
              <a:gd name="connsiteX139" fmla="*/ 887752 w 4519987"/>
              <a:gd name="connsiteY139" fmla="*/ 504825 h 4496940"/>
              <a:gd name="connsiteX140" fmla="*/ 1167152 w 4519987"/>
              <a:gd name="connsiteY140" fmla="*/ 311150 h 4496940"/>
              <a:gd name="connsiteX141" fmla="*/ 1268752 w 4519987"/>
              <a:gd name="connsiteY141" fmla="*/ 285750 h 4496940"/>
              <a:gd name="connsiteX142" fmla="*/ 1411627 w 4519987"/>
              <a:gd name="connsiteY142" fmla="*/ 190500 h 4496940"/>
              <a:gd name="connsiteX143" fmla="*/ 1449727 w 4519987"/>
              <a:gd name="connsiteY143" fmla="*/ 161925 h 4496940"/>
              <a:gd name="connsiteX144" fmla="*/ 1525927 w 4519987"/>
              <a:gd name="connsiteY144" fmla="*/ 152400 h 4496940"/>
              <a:gd name="connsiteX145" fmla="*/ 1583077 w 4519987"/>
              <a:gd name="connsiteY145" fmla="*/ 142875 h 4496940"/>
              <a:gd name="connsiteX146" fmla="*/ 1716427 w 4519987"/>
              <a:gd name="connsiteY146" fmla="*/ 123825 h 4496940"/>
              <a:gd name="connsiteX147" fmla="*/ 1811677 w 4519987"/>
              <a:gd name="connsiteY147" fmla="*/ 114300 h 4496940"/>
              <a:gd name="connsiteX148" fmla="*/ 1859302 w 4519987"/>
              <a:gd name="connsiteY148" fmla="*/ 104775 h 4496940"/>
              <a:gd name="connsiteX149" fmla="*/ 1916452 w 4519987"/>
              <a:gd name="connsiteY149" fmla="*/ 95250 h 4496940"/>
              <a:gd name="connsiteX150" fmla="*/ 2030752 w 4519987"/>
              <a:gd name="connsiteY150" fmla="*/ 66675 h 4496940"/>
              <a:gd name="connsiteX151" fmla="*/ 2097427 w 4519987"/>
              <a:gd name="connsiteY151" fmla="*/ 47625 h 4496940"/>
              <a:gd name="connsiteX152" fmla="*/ 2164102 w 4519987"/>
              <a:gd name="connsiteY152" fmla="*/ 38100 h 4496940"/>
              <a:gd name="connsiteX153" fmla="*/ 2392702 w 4519987"/>
              <a:gd name="connsiteY15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678577 w 4519987"/>
              <a:gd name="connsiteY20" fmla="*/ 504825 h 4496940"/>
              <a:gd name="connsiteX21" fmla="*/ 3745252 w 4519987"/>
              <a:gd name="connsiteY21" fmla="*/ 542925 h 4496940"/>
              <a:gd name="connsiteX22" fmla="*/ 3811927 w 4519987"/>
              <a:gd name="connsiteY22" fmla="*/ 581025 h 4496940"/>
              <a:gd name="connsiteX23" fmla="*/ 3907177 w 4519987"/>
              <a:gd name="connsiteY23" fmla="*/ 647700 h 4496940"/>
              <a:gd name="connsiteX24" fmla="*/ 3935752 w 4519987"/>
              <a:gd name="connsiteY24" fmla="*/ 676275 h 4496940"/>
              <a:gd name="connsiteX25" fmla="*/ 4078627 w 4519987"/>
              <a:gd name="connsiteY25" fmla="*/ 838200 h 4496940"/>
              <a:gd name="connsiteX26" fmla="*/ 4135777 w 4519987"/>
              <a:gd name="connsiteY26" fmla="*/ 933450 h 4496940"/>
              <a:gd name="connsiteX27" fmla="*/ 4164352 w 4519987"/>
              <a:gd name="connsiteY27" fmla="*/ 990600 h 4496940"/>
              <a:gd name="connsiteX28" fmla="*/ 4173877 w 4519987"/>
              <a:gd name="connsiteY28" fmla="*/ 1019175 h 4496940"/>
              <a:gd name="connsiteX29" fmla="*/ 4192927 w 4519987"/>
              <a:gd name="connsiteY29" fmla="*/ 1057275 h 4496940"/>
              <a:gd name="connsiteX30" fmla="*/ 4202452 w 4519987"/>
              <a:gd name="connsiteY30" fmla="*/ 1085850 h 4496940"/>
              <a:gd name="connsiteX31" fmla="*/ 4250077 w 4519987"/>
              <a:gd name="connsiteY31" fmla="*/ 1143000 h 4496940"/>
              <a:gd name="connsiteX32" fmla="*/ 4259602 w 4519987"/>
              <a:gd name="connsiteY32" fmla="*/ 1190625 h 4496940"/>
              <a:gd name="connsiteX33" fmla="*/ 4307227 w 4519987"/>
              <a:gd name="connsiteY33" fmla="*/ 1266825 h 4496940"/>
              <a:gd name="connsiteX34" fmla="*/ 4345327 w 4519987"/>
              <a:gd name="connsiteY34" fmla="*/ 1362075 h 4496940"/>
              <a:gd name="connsiteX35" fmla="*/ 4373902 w 4519987"/>
              <a:gd name="connsiteY35" fmla="*/ 1428750 h 4496940"/>
              <a:gd name="connsiteX36" fmla="*/ 4392952 w 4519987"/>
              <a:gd name="connsiteY36" fmla="*/ 1552575 h 4496940"/>
              <a:gd name="connsiteX37" fmla="*/ 4402477 w 4519987"/>
              <a:gd name="connsiteY37" fmla="*/ 1590675 h 4496940"/>
              <a:gd name="connsiteX38" fmla="*/ 4431052 w 4519987"/>
              <a:gd name="connsiteY38" fmla="*/ 1685925 h 4496940"/>
              <a:gd name="connsiteX39" fmla="*/ 4519952 w 4519987"/>
              <a:gd name="connsiteY39" fmla="*/ 2181225 h 4496940"/>
              <a:gd name="connsiteX40" fmla="*/ 4446927 w 4519987"/>
              <a:gd name="connsiteY40" fmla="*/ 2768600 h 4496940"/>
              <a:gd name="connsiteX41" fmla="*/ 4383427 w 4519987"/>
              <a:gd name="connsiteY41" fmla="*/ 2990850 h 4496940"/>
              <a:gd name="connsiteX42" fmla="*/ 4278652 w 4519987"/>
              <a:gd name="connsiteY42" fmla="*/ 3248025 h 4496940"/>
              <a:gd name="connsiteX43" fmla="*/ 4259602 w 4519987"/>
              <a:gd name="connsiteY43" fmla="*/ 3276600 h 4496940"/>
              <a:gd name="connsiteX44" fmla="*/ 4221502 w 4519987"/>
              <a:gd name="connsiteY44" fmla="*/ 3333750 h 4496940"/>
              <a:gd name="connsiteX45" fmla="*/ 4211977 w 4519987"/>
              <a:gd name="connsiteY45" fmla="*/ 3362325 h 4496940"/>
              <a:gd name="connsiteX46" fmla="*/ 4183402 w 4519987"/>
              <a:gd name="connsiteY46" fmla="*/ 3400425 h 4496940"/>
              <a:gd name="connsiteX47" fmla="*/ 4164352 w 4519987"/>
              <a:gd name="connsiteY47" fmla="*/ 3429000 h 4496940"/>
              <a:gd name="connsiteX48" fmla="*/ 4088152 w 4519987"/>
              <a:gd name="connsiteY48" fmla="*/ 3495675 h 4496940"/>
              <a:gd name="connsiteX49" fmla="*/ 4059577 w 4519987"/>
              <a:gd name="connsiteY49" fmla="*/ 3533775 h 4496940"/>
              <a:gd name="connsiteX50" fmla="*/ 4002427 w 4519987"/>
              <a:gd name="connsiteY50" fmla="*/ 3600450 h 4496940"/>
              <a:gd name="connsiteX51" fmla="*/ 3983377 w 4519987"/>
              <a:gd name="connsiteY51" fmla="*/ 3629025 h 4496940"/>
              <a:gd name="connsiteX52" fmla="*/ 3954802 w 4519987"/>
              <a:gd name="connsiteY52" fmla="*/ 3648075 h 4496940"/>
              <a:gd name="connsiteX53" fmla="*/ 3907177 w 4519987"/>
              <a:gd name="connsiteY53" fmla="*/ 3686175 h 4496940"/>
              <a:gd name="connsiteX54" fmla="*/ 3869077 w 4519987"/>
              <a:gd name="connsiteY54" fmla="*/ 3724275 h 4496940"/>
              <a:gd name="connsiteX55" fmla="*/ 3792877 w 4519987"/>
              <a:gd name="connsiteY55" fmla="*/ 3781425 h 4496940"/>
              <a:gd name="connsiteX56" fmla="*/ 3783352 w 4519987"/>
              <a:gd name="connsiteY56" fmla="*/ 3810000 h 4496940"/>
              <a:gd name="connsiteX57" fmla="*/ 3745252 w 4519987"/>
              <a:gd name="connsiteY57" fmla="*/ 3819525 h 4496940"/>
              <a:gd name="connsiteX58" fmla="*/ 3678577 w 4519987"/>
              <a:gd name="connsiteY58" fmla="*/ 3848100 h 4496940"/>
              <a:gd name="connsiteX59" fmla="*/ 3659527 w 4519987"/>
              <a:gd name="connsiteY59" fmla="*/ 3971925 h 4496940"/>
              <a:gd name="connsiteX60" fmla="*/ 3630952 w 4519987"/>
              <a:gd name="connsiteY60" fmla="*/ 4010025 h 4496940"/>
              <a:gd name="connsiteX61" fmla="*/ 3621427 w 4519987"/>
              <a:gd name="connsiteY61" fmla="*/ 4038600 h 4496940"/>
              <a:gd name="connsiteX62" fmla="*/ 3554752 w 4519987"/>
              <a:gd name="connsiteY62" fmla="*/ 4095750 h 4496940"/>
              <a:gd name="connsiteX63" fmla="*/ 3516652 w 4519987"/>
              <a:gd name="connsiteY63" fmla="*/ 4114800 h 4496940"/>
              <a:gd name="connsiteX64" fmla="*/ 3497602 w 4519987"/>
              <a:gd name="connsiteY64" fmla="*/ 4143375 h 4496940"/>
              <a:gd name="connsiteX65" fmla="*/ 3383302 w 4519987"/>
              <a:gd name="connsiteY65" fmla="*/ 4210050 h 4496940"/>
              <a:gd name="connsiteX66" fmla="*/ 3335677 w 4519987"/>
              <a:gd name="connsiteY66" fmla="*/ 4238625 h 4496940"/>
              <a:gd name="connsiteX67" fmla="*/ 3288052 w 4519987"/>
              <a:gd name="connsiteY67" fmla="*/ 4248150 h 4496940"/>
              <a:gd name="connsiteX68" fmla="*/ 3240427 w 4519987"/>
              <a:gd name="connsiteY68" fmla="*/ 4267200 h 4496940"/>
              <a:gd name="connsiteX69" fmla="*/ 3068977 w 4519987"/>
              <a:gd name="connsiteY69" fmla="*/ 4286250 h 4496940"/>
              <a:gd name="connsiteX70" fmla="*/ 2935627 w 4519987"/>
              <a:gd name="connsiteY70" fmla="*/ 4333875 h 4496940"/>
              <a:gd name="connsiteX71" fmla="*/ 2811802 w 4519987"/>
              <a:gd name="connsiteY71" fmla="*/ 4371975 h 4496940"/>
              <a:gd name="connsiteX72" fmla="*/ 2745127 w 4519987"/>
              <a:gd name="connsiteY72" fmla="*/ 4410075 h 4496940"/>
              <a:gd name="connsiteX73" fmla="*/ 2697502 w 4519987"/>
              <a:gd name="connsiteY73" fmla="*/ 4429125 h 4496940"/>
              <a:gd name="connsiteX74" fmla="*/ 2640352 w 4519987"/>
              <a:gd name="connsiteY74" fmla="*/ 4457700 h 4496940"/>
              <a:gd name="connsiteX75" fmla="*/ 2583202 w 4519987"/>
              <a:gd name="connsiteY75" fmla="*/ 4467225 h 4496940"/>
              <a:gd name="connsiteX76" fmla="*/ 2545102 w 4519987"/>
              <a:gd name="connsiteY76" fmla="*/ 4486275 h 4496940"/>
              <a:gd name="connsiteX77" fmla="*/ 2306977 w 4519987"/>
              <a:gd name="connsiteY77" fmla="*/ 4476750 h 4496940"/>
              <a:gd name="connsiteX78" fmla="*/ 2202202 w 4519987"/>
              <a:gd name="connsiteY78" fmla="*/ 4457700 h 4496940"/>
              <a:gd name="connsiteX79" fmla="*/ 2126002 w 4519987"/>
              <a:gd name="connsiteY79" fmla="*/ 4429125 h 4496940"/>
              <a:gd name="connsiteX80" fmla="*/ 1935502 w 4519987"/>
              <a:gd name="connsiteY80" fmla="*/ 4400550 h 4496940"/>
              <a:gd name="connsiteX81" fmla="*/ 1821202 w 4519987"/>
              <a:gd name="connsiteY81" fmla="*/ 4371975 h 4496940"/>
              <a:gd name="connsiteX82" fmla="*/ 1754527 w 4519987"/>
              <a:gd name="connsiteY82" fmla="*/ 4352925 h 4496940"/>
              <a:gd name="connsiteX83" fmla="*/ 1687852 w 4519987"/>
              <a:gd name="connsiteY83" fmla="*/ 4343400 h 4496940"/>
              <a:gd name="connsiteX84" fmla="*/ 1573552 w 4519987"/>
              <a:gd name="connsiteY84" fmla="*/ 4305300 h 4496940"/>
              <a:gd name="connsiteX85" fmla="*/ 1402102 w 4519987"/>
              <a:gd name="connsiteY85" fmla="*/ 4276725 h 4496940"/>
              <a:gd name="connsiteX86" fmla="*/ 1287802 w 4519987"/>
              <a:gd name="connsiteY86" fmla="*/ 4229100 h 4496940"/>
              <a:gd name="connsiteX87" fmla="*/ 1221127 w 4519987"/>
              <a:gd name="connsiteY87" fmla="*/ 4200525 h 4496940"/>
              <a:gd name="connsiteX88" fmla="*/ 1144927 w 4519987"/>
              <a:gd name="connsiteY88" fmla="*/ 4171950 h 4496940"/>
              <a:gd name="connsiteX89" fmla="*/ 1087777 w 4519987"/>
              <a:gd name="connsiteY89" fmla="*/ 4143375 h 4496940"/>
              <a:gd name="connsiteX90" fmla="*/ 1030627 w 4519987"/>
              <a:gd name="connsiteY90" fmla="*/ 4124325 h 4496940"/>
              <a:gd name="connsiteX91" fmla="*/ 925852 w 4519987"/>
              <a:gd name="connsiteY91" fmla="*/ 4067175 h 4496940"/>
              <a:gd name="connsiteX92" fmla="*/ 830602 w 4519987"/>
              <a:gd name="connsiteY92" fmla="*/ 3981450 h 4496940"/>
              <a:gd name="connsiteX93" fmla="*/ 763927 w 4519987"/>
              <a:gd name="connsiteY93" fmla="*/ 3914775 h 4496940"/>
              <a:gd name="connsiteX94" fmla="*/ 725827 w 4519987"/>
              <a:gd name="connsiteY94" fmla="*/ 3876675 h 4496940"/>
              <a:gd name="connsiteX95" fmla="*/ 697252 w 4519987"/>
              <a:gd name="connsiteY95" fmla="*/ 3838575 h 4496940"/>
              <a:gd name="connsiteX96" fmla="*/ 640102 w 4519987"/>
              <a:gd name="connsiteY96" fmla="*/ 3781425 h 4496940"/>
              <a:gd name="connsiteX97" fmla="*/ 611527 w 4519987"/>
              <a:gd name="connsiteY97" fmla="*/ 3733800 h 4496940"/>
              <a:gd name="connsiteX98" fmla="*/ 554377 w 4519987"/>
              <a:gd name="connsiteY98" fmla="*/ 3657600 h 4496940"/>
              <a:gd name="connsiteX99" fmla="*/ 525802 w 4519987"/>
              <a:gd name="connsiteY99" fmla="*/ 3609975 h 4496940"/>
              <a:gd name="connsiteX100" fmla="*/ 497227 w 4519987"/>
              <a:gd name="connsiteY100" fmla="*/ 3552825 h 4496940"/>
              <a:gd name="connsiteX101" fmla="*/ 440077 w 4519987"/>
              <a:gd name="connsiteY101" fmla="*/ 3495675 h 4496940"/>
              <a:gd name="connsiteX102" fmla="*/ 411502 w 4519987"/>
              <a:gd name="connsiteY102" fmla="*/ 3448050 h 4496940"/>
              <a:gd name="connsiteX103" fmla="*/ 278152 w 4519987"/>
              <a:gd name="connsiteY103" fmla="*/ 3257550 h 4496940"/>
              <a:gd name="connsiteX104" fmla="*/ 249577 w 4519987"/>
              <a:gd name="connsiteY104" fmla="*/ 3200400 h 4496940"/>
              <a:gd name="connsiteX105" fmla="*/ 240052 w 4519987"/>
              <a:gd name="connsiteY105" fmla="*/ 3162300 h 4496940"/>
              <a:gd name="connsiteX106" fmla="*/ 221002 w 4519987"/>
              <a:gd name="connsiteY106" fmla="*/ 3105150 h 4496940"/>
              <a:gd name="connsiteX107" fmla="*/ 173377 w 4519987"/>
              <a:gd name="connsiteY107" fmla="*/ 3019425 h 4496940"/>
              <a:gd name="connsiteX108" fmla="*/ 144802 w 4519987"/>
              <a:gd name="connsiteY108" fmla="*/ 2924175 h 4496940"/>
              <a:gd name="connsiteX109" fmla="*/ 68602 w 4519987"/>
              <a:gd name="connsiteY109" fmla="*/ 2724150 h 4496940"/>
              <a:gd name="connsiteX110" fmla="*/ 49552 w 4519987"/>
              <a:gd name="connsiteY110" fmla="*/ 2638425 h 4496940"/>
              <a:gd name="connsiteX111" fmla="*/ 40027 w 4519987"/>
              <a:gd name="connsiteY111" fmla="*/ 2562225 h 4496940"/>
              <a:gd name="connsiteX112" fmla="*/ 30502 w 4519987"/>
              <a:gd name="connsiteY112" fmla="*/ 2514600 h 4496940"/>
              <a:gd name="connsiteX113" fmla="*/ 11452 w 4519987"/>
              <a:gd name="connsiteY113" fmla="*/ 2400300 h 4496940"/>
              <a:gd name="connsiteX114" fmla="*/ 20977 w 4519987"/>
              <a:gd name="connsiteY114" fmla="*/ 1905000 h 4496940"/>
              <a:gd name="connsiteX115" fmla="*/ 30502 w 4519987"/>
              <a:gd name="connsiteY115" fmla="*/ 1838325 h 4496940"/>
              <a:gd name="connsiteX116" fmla="*/ 49552 w 4519987"/>
              <a:gd name="connsiteY116" fmla="*/ 1781175 h 4496940"/>
              <a:gd name="connsiteX117" fmla="*/ 59077 w 4519987"/>
              <a:gd name="connsiteY117" fmla="*/ 1743075 h 4496940"/>
              <a:gd name="connsiteX118" fmla="*/ 78127 w 4519987"/>
              <a:gd name="connsiteY118" fmla="*/ 1685925 h 4496940"/>
              <a:gd name="connsiteX119" fmla="*/ 87652 w 4519987"/>
              <a:gd name="connsiteY119" fmla="*/ 1638300 h 4496940"/>
              <a:gd name="connsiteX120" fmla="*/ 106702 w 4519987"/>
              <a:gd name="connsiteY120" fmla="*/ 1590675 h 4496940"/>
              <a:gd name="connsiteX121" fmla="*/ 135277 w 4519987"/>
              <a:gd name="connsiteY121" fmla="*/ 1504950 h 4496940"/>
              <a:gd name="connsiteX122" fmla="*/ 154327 w 4519987"/>
              <a:gd name="connsiteY122" fmla="*/ 1419225 h 4496940"/>
              <a:gd name="connsiteX123" fmla="*/ 230527 w 4519987"/>
              <a:gd name="connsiteY123" fmla="*/ 1276350 h 4496940"/>
              <a:gd name="connsiteX124" fmla="*/ 240052 w 4519987"/>
              <a:gd name="connsiteY124" fmla="*/ 1247775 h 4496940"/>
              <a:gd name="connsiteX125" fmla="*/ 268627 w 4519987"/>
              <a:gd name="connsiteY125" fmla="*/ 1200150 h 4496940"/>
              <a:gd name="connsiteX126" fmla="*/ 287677 w 4519987"/>
              <a:gd name="connsiteY126" fmla="*/ 1152525 h 4496940"/>
              <a:gd name="connsiteX127" fmla="*/ 316252 w 4519987"/>
              <a:gd name="connsiteY127" fmla="*/ 1114425 h 4496940"/>
              <a:gd name="connsiteX128" fmla="*/ 363877 w 4519987"/>
              <a:gd name="connsiteY128" fmla="*/ 1038225 h 4496940"/>
              <a:gd name="connsiteX129" fmla="*/ 382927 w 4519987"/>
              <a:gd name="connsiteY129" fmla="*/ 1009650 h 4496940"/>
              <a:gd name="connsiteX130" fmla="*/ 440077 w 4519987"/>
              <a:gd name="connsiteY130" fmla="*/ 904875 h 4496940"/>
              <a:gd name="connsiteX131" fmla="*/ 478177 w 4519987"/>
              <a:gd name="connsiteY131" fmla="*/ 857250 h 4496940"/>
              <a:gd name="connsiteX132" fmla="*/ 497227 w 4519987"/>
              <a:gd name="connsiteY132" fmla="*/ 828675 h 4496940"/>
              <a:gd name="connsiteX133" fmla="*/ 535327 w 4519987"/>
              <a:gd name="connsiteY133" fmla="*/ 800100 h 4496940"/>
              <a:gd name="connsiteX134" fmla="*/ 602002 w 4519987"/>
              <a:gd name="connsiteY134" fmla="*/ 733425 h 4496940"/>
              <a:gd name="connsiteX135" fmla="*/ 668677 w 4519987"/>
              <a:gd name="connsiteY135" fmla="*/ 676275 h 4496940"/>
              <a:gd name="connsiteX136" fmla="*/ 697252 w 4519987"/>
              <a:gd name="connsiteY136" fmla="*/ 657225 h 4496940"/>
              <a:gd name="connsiteX137" fmla="*/ 840127 w 4519987"/>
              <a:gd name="connsiteY137" fmla="*/ 533400 h 4496940"/>
              <a:gd name="connsiteX138" fmla="*/ 887752 w 4519987"/>
              <a:gd name="connsiteY138" fmla="*/ 504825 h 4496940"/>
              <a:gd name="connsiteX139" fmla="*/ 1167152 w 4519987"/>
              <a:gd name="connsiteY139" fmla="*/ 311150 h 4496940"/>
              <a:gd name="connsiteX140" fmla="*/ 1268752 w 4519987"/>
              <a:gd name="connsiteY140" fmla="*/ 285750 h 4496940"/>
              <a:gd name="connsiteX141" fmla="*/ 1411627 w 4519987"/>
              <a:gd name="connsiteY141" fmla="*/ 190500 h 4496940"/>
              <a:gd name="connsiteX142" fmla="*/ 1449727 w 4519987"/>
              <a:gd name="connsiteY142" fmla="*/ 161925 h 4496940"/>
              <a:gd name="connsiteX143" fmla="*/ 1525927 w 4519987"/>
              <a:gd name="connsiteY143" fmla="*/ 152400 h 4496940"/>
              <a:gd name="connsiteX144" fmla="*/ 1583077 w 4519987"/>
              <a:gd name="connsiteY144" fmla="*/ 142875 h 4496940"/>
              <a:gd name="connsiteX145" fmla="*/ 1716427 w 4519987"/>
              <a:gd name="connsiteY145" fmla="*/ 123825 h 4496940"/>
              <a:gd name="connsiteX146" fmla="*/ 1811677 w 4519987"/>
              <a:gd name="connsiteY146" fmla="*/ 114300 h 4496940"/>
              <a:gd name="connsiteX147" fmla="*/ 1859302 w 4519987"/>
              <a:gd name="connsiteY147" fmla="*/ 104775 h 4496940"/>
              <a:gd name="connsiteX148" fmla="*/ 1916452 w 4519987"/>
              <a:gd name="connsiteY148" fmla="*/ 95250 h 4496940"/>
              <a:gd name="connsiteX149" fmla="*/ 2030752 w 4519987"/>
              <a:gd name="connsiteY149" fmla="*/ 66675 h 4496940"/>
              <a:gd name="connsiteX150" fmla="*/ 2097427 w 4519987"/>
              <a:gd name="connsiteY150" fmla="*/ 47625 h 4496940"/>
              <a:gd name="connsiteX151" fmla="*/ 2164102 w 4519987"/>
              <a:gd name="connsiteY151" fmla="*/ 38100 h 4496940"/>
              <a:gd name="connsiteX152" fmla="*/ 2392702 w 4519987"/>
              <a:gd name="connsiteY15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745252 w 4519987"/>
              <a:gd name="connsiteY20" fmla="*/ 542925 h 4496940"/>
              <a:gd name="connsiteX21" fmla="*/ 3811927 w 4519987"/>
              <a:gd name="connsiteY21" fmla="*/ 581025 h 4496940"/>
              <a:gd name="connsiteX22" fmla="*/ 3907177 w 4519987"/>
              <a:gd name="connsiteY22" fmla="*/ 647700 h 4496940"/>
              <a:gd name="connsiteX23" fmla="*/ 3935752 w 4519987"/>
              <a:gd name="connsiteY23" fmla="*/ 676275 h 4496940"/>
              <a:gd name="connsiteX24" fmla="*/ 4078627 w 4519987"/>
              <a:gd name="connsiteY24" fmla="*/ 838200 h 4496940"/>
              <a:gd name="connsiteX25" fmla="*/ 4135777 w 4519987"/>
              <a:gd name="connsiteY25" fmla="*/ 933450 h 4496940"/>
              <a:gd name="connsiteX26" fmla="*/ 4164352 w 4519987"/>
              <a:gd name="connsiteY26" fmla="*/ 990600 h 4496940"/>
              <a:gd name="connsiteX27" fmla="*/ 4173877 w 4519987"/>
              <a:gd name="connsiteY27" fmla="*/ 1019175 h 4496940"/>
              <a:gd name="connsiteX28" fmla="*/ 4192927 w 4519987"/>
              <a:gd name="connsiteY28" fmla="*/ 1057275 h 4496940"/>
              <a:gd name="connsiteX29" fmla="*/ 4202452 w 4519987"/>
              <a:gd name="connsiteY29" fmla="*/ 1085850 h 4496940"/>
              <a:gd name="connsiteX30" fmla="*/ 4250077 w 4519987"/>
              <a:gd name="connsiteY30" fmla="*/ 1143000 h 4496940"/>
              <a:gd name="connsiteX31" fmla="*/ 4259602 w 4519987"/>
              <a:gd name="connsiteY31" fmla="*/ 1190625 h 4496940"/>
              <a:gd name="connsiteX32" fmla="*/ 4307227 w 4519987"/>
              <a:gd name="connsiteY32" fmla="*/ 1266825 h 4496940"/>
              <a:gd name="connsiteX33" fmla="*/ 4345327 w 4519987"/>
              <a:gd name="connsiteY33" fmla="*/ 1362075 h 4496940"/>
              <a:gd name="connsiteX34" fmla="*/ 4373902 w 4519987"/>
              <a:gd name="connsiteY34" fmla="*/ 1428750 h 4496940"/>
              <a:gd name="connsiteX35" fmla="*/ 4392952 w 4519987"/>
              <a:gd name="connsiteY35" fmla="*/ 1552575 h 4496940"/>
              <a:gd name="connsiteX36" fmla="*/ 4402477 w 4519987"/>
              <a:gd name="connsiteY36" fmla="*/ 1590675 h 4496940"/>
              <a:gd name="connsiteX37" fmla="*/ 4431052 w 4519987"/>
              <a:gd name="connsiteY37" fmla="*/ 1685925 h 4496940"/>
              <a:gd name="connsiteX38" fmla="*/ 4519952 w 4519987"/>
              <a:gd name="connsiteY38" fmla="*/ 2181225 h 4496940"/>
              <a:gd name="connsiteX39" fmla="*/ 4446927 w 4519987"/>
              <a:gd name="connsiteY39" fmla="*/ 2768600 h 4496940"/>
              <a:gd name="connsiteX40" fmla="*/ 4383427 w 4519987"/>
              <a:gd name="connsiteY40" fmla="*/ 2990850 h 4496940"/>
              <a:gd name="connsiteX41" fmla="*/ 4278652 w 4519987"/>
              <a:gd name="connsiteY41" fmla="*/ 3248025 h 4496940"/>
              <a:gd name="connsiteX42" fmla="*/ 4259602 w 4519987"/>
              <a:gd name="connsiteY42" fmla="*/ 3276600 h 4496940"/>
              <a:gd name="connsiteX43" fmla="*/ 4221502 w 4519987"/>
              <a:gd name="connsiteY43" fmla="*/ 3333750 h 4496940"/>
              <a:gd name="connsiteX44" fmla="*/ 4211977 w 4519987"/>
              <a:gd name="connsiteY44" fmla="*/ 3362325 h 4496940"/>
              <a:gd name="connsiteX45" fmla="*/ 4183402 w 4519987"/>
              <a:gd name="connsiteY45" fmla="*/ 3400425 h 4496940"/>
              <a:gd name="connsiteX46" fmla="*/ 4164352 w 4519987"/>
              <a:gd name="connsiteY46" fmla="*/ 3429000 h 4496940"/>
              <a:gd name="connsiteX47" fmla="*/ 4088152 w 4519987"/>
              <a:gd name="connsiteY47" fmla="*/ 3495675 h 4496940"/>
              <a:gd name="connsiteX48" fmla="*/ 4059577 w 4519987"/>
              <a:gd name="connsiteY48" fmla="*/ 3533775 h 4496940"/>
              <a:gd name="connsiteX49" fmla="*/ 4002427 w 4519987"/>
              <a:gd name="connsiteY49" fmla="*/ 3600450 h 4496940"/>
              <a:gd name="connsiteX50" fmla="*/ 3983377 w 4519987"/>
              <a:gd name="connsiteY50" fmla="*/ 3629025 h 4496940"/>
              <a:gd name="connsiteX51" fmla="*/ 3954802 w 4519987"/>
              <a:gd name="connsiteY51" fmla="*/ 3648075 h 4496940"/>
              <a:gd name="connsiteX52" fmla="*/ 3907177 w 4519987"/>
              <a:gd name="connsiteY52" fmla="*/ 3686175 h 4496940"/>
              <a:gd name="connsiteX53" fmla="*/ 3869077 w 4519987"/>
              <a:gd name="connsiteY53" fmla="*/ 3724275 h 4496940"/>
              <a:gd name="connsiteX54" fmla="*/ 3792877 w 4519987"/>
              <a:gd name="connsiteY54" fmla="*/ 3781425 h 4496940"/>
              <a:gd name="connsiteX55" fmla="*/ 3783352 w 4519987"/>
              <a:gd name="connsiteY55" fmla="*/ 3810000 h 4496940"/>
              <a:gd name="connsiteX56" fmla="*/ 3745252 w 4519987"/>
              <a:gd name="connsiteY56" fmla="*/ 3819525 h 4496940"/>
              <a:gd name="connsiteX57" fmla="*/ 3678577 w 4519987"/>
              <a:gd name="connsiteY57" fmla="*/ 3848100 h 4496940"/>
              <a:gd name="connsiteX58" fmla="*/ 3659527 w 4519987"/>
              <a:gd name="connsiteY58" fmla="*/ 3971925 h 4496940"/>
              <a:gd name="connsiteX59" fmla="*/ 3630952 w 4519987"/>
              <a:gd name="connsiteY59" fmla="*/ 4010025 h 4496940"/>
              <a:gd name="connsiteX60" fmla="*/ 3621427 w 4519987"/>
              <a:gd name="connsiteY60" fmla="*/ 4038600 h 4496940"/>
              <a:gd name="connsiteX61" fmla="*/ 3554752 w 4519987"/>
              <a:gd name="connsiteY61" fmla="*/ 4095750 h 4496940"/>
              <a:gd name="connsiteX62" fmla="*/ 3516652 w 4519987"/>
              <a:gd name="connsiteY62" fmla="*/ 4114800 h 4496940"/>
              <a:gd name="connsiteX63" fmla="*/ 3497602 w 4519987"/>
              <a:gd name="connsiteY63" fmla="*/ 4143375 h 4496940"/>
              <a:gd name="connsiteX64" fmla="*/ 3383302 w 4519987"/>
              <a:gd name="connsiteY64" fmla="*/ 4210050 h 4496940"/>
              <a:gd name="connsiteX65" fmla="*/ 3335677 w 4519987"/>
              <a:gd name="connsiteY65" fmla="*/ 4238625 h 4496940"/>
              <a:gd name="connsiteX66" fmla="*/ 3288052 w 4519987"/>
              <a:gd name="connsiteY66" fmla="*/ 4248150 h 4496940"/>
              <a:gd name="connsiteX67" fmla="*/ 3240427 w 4519987"/>
              <a:gd name="connsiteY67" fmla="*/ 4267200 h 4496940"/>
              <a:gd name="connsiteX68" fmla="*/ 3068977 w 4519987"/>
              <a:gd name="connsiteY68" fmla="*/ 4286250 h 4496940"/>
              <a:gd name="connsiteX69" fmla="*/ 2935627 w 4519987"/>
              <a:gd name="connsiteY69" fmla="*/ 4333875 h 4496940"/>
              <a:gd name="connsiteX70" fmla="*/ 2811802 w 4519987"/>
              <a:gd name="connsiteY70" fmla="*/ 4371975 h 4496940"/>
              <a:gd name="connsiteX71" fmla="*/ 2745127 w 4519987"/>
              <a:gd name="connsiteY71" fmla="*/ 4410075 h 4496940"/>
              <a:gd name="connsiteX72" fmla="*/ 2697502 w 4519987"/>
              <a:gd name="connsiteY72" fmla="*/ 4429125 h 4496940"/>
              <a:gd name="connsiteX73" fmla="*/ 2640352 w 4519987"/>
              <a:gd name="connsiteY73" fmla="*/ 4457700 h 4496940"/>
              <a:gd name="connsiteX74" fmla="*/ 2583202 w 4519987"/>
              <a:gd name="connsiteY74" fmla="*/ 4467225 h 4496940"/>
              <a:gd name="connsiteX75" fmla="*/ 2545102 w 4519987"/>
              <a:gd name="connsiteY75" fmla="*/ 4486275 h 4496940"/>
              <a:gd name="connsiteX76" fmla="*/ 2306977 w 4519987"/>
              <a:gd name="connsiteY76" fmla="*/ 4476750 h 4496940"/>
              <a:gd name="connsiteX77" fmla="*/ 2202202 w 4519987"/>
              <a:gd name="connsiteY77" fmla="*/ 4457700 h 4496940"/>
              <a:gd name="connsiteX78" fmla="*/ 2126002 w 4519987"/>
              <a:gd name="connsiteY78" fmla="*/ 4429125 h 4496940"/>
              <a:gd name="connsiteX79" fmla="*/ 1935502 w 4519987"/>
              <a:gd name="connsiteY79" fmla="*/ 4400550 h 4496940"/>
              <a:gd name="connsiteX80" fmla="*/ 1821202 w 4519987"/>
              <a:gd name="connsiteY80" fmla="*/ 4371975 h 4496940"/>
              <a:gd name="connsiteX81" fmla="*/ 1754527 w 4519987"/>
              <a:gd name="connsiteY81" fmla="*/ 4352925 h 4496940"/>
              <a:gd name="connsiteX82" fmla="*/ 1687852 w 4519987"/>
              <a:gd name="connsiteY82" fmla="*/ 4343400 h 4496940"/>
              <a:gd name="connsiteX83" fmla="*/ 1573552 w 4519987"/>
              <a:gd name="connsiteY83" fmla="*/ 4305300 h 4496940"/>
              <a:gd name="connsiteX84" fmla="*/ 1402102 w 4519987"/>
              <a:gd name="connsiteY84" fmla="*/ 4276725 h 4496940"/>
              <a:gd name="connsiteX85" fmla="*/ 1287802 w 4519987"/>
              <a:gd name="connsiteY85" fmla="*/ 4229100 h 4496940"/>
              <a:gd name="connsiteX86" fmla="*/ 1221127 w 4519987"/>
              <a:gd name="connsiteY86" fmla="*/ 4200525 h 4496940"/>
              <a:gd name="connsiteX87" fmla="*/ 1144927 w 4519987"/>
              <a:gd name="connsiteY87" fmla="*/ 4171950 h 4496940"/>
              <a:gd name="connsiteX88" fmla="*/ 1087777 w 4519987"/>
              <a:gd name="connsiteY88" fmla="*/ 4143375 h 4496940"/>
              <a:gd name="connsiteX89" fmla="*/ 1030627 w 4519987"/>
              <a:gd name="connsiteY89" fmla="*/ 4124325 h 4496940"/>
              <a:gd name="connsiteX90" fmla="*/ 925852 w 4519987"/>
              <a:gd name="connsiteY90" fmla="*/ 4067175 h 4496940"/>
              <a:gd name="connsiteX91" fmla="*/ 830602 w 4519987"/>
              <a:gd name="connsiteY91" fmla="*/ 3981450 h 4496940"/>
              <a:gd name="connsiteX92" fmla="*/ 763927 w 4519987"/>
              <a:gd name="connsiteY92" fmla="*/ 3914775 h 4496940"/>
              <a:gd name="connsiteX93" fmla="*/ 725827 w 4519987"/>
              <a:gd name="connsiteY93" fmla="*/ 3876675 h 4496940"/>
              <a:gd name="connsiteX94" fmla="*/ 697252 w 4519987"/>
              <a:gd name="connsiteY94" fmla="*/ 3838575 h 4496940"/>
              <a:gd name="connsiteX95" fmla="*/ 640102 w 4519987"/>
              <a:gd name="connsiteY95" fmla="*/ 3781425 h 4496940"/>
              <a:gd name="connsiteX96" fmla="*/ 611527 w 4519987"/>
              <a:gd name="connsiteY96" fmla="*/ 3733800 h 4496940"/>
              <a:gd name="connsiteX97" fmla="*/ 554377 w 4519987"/>
              <a:gd name="connsiteY97" fmla="*/ 3657600 h 4496940"/>
              <a:gd name="connsiteX98" fmla="*/ 525802 w 4519987"/>
              <a:gd name="connsiteY98" fmla="*/ 3609975 h 4496940"/>
              <a:gd name="connsiteX99" fmla="*/ 497227 w 4519987"/>
              <a:gd name="connsiteY99" fmla="*/ 3552825 h 4496940"/>
              <a:gd name="connsiteX100" fmla="*/ 440077 w 4519987"/>
              <a:gd name="connsiteY100" fmla="*/ 3495675 h 4496940"/>
              <a:gd name="connsiteX101" fmla="*/ 411502 w 4519987"/>
              <a:gd name="connsiteY101" fmla="*/ 3448050 h 4496940"/>
              <a:gd name="connsiteX102" fmla="*/ 278152 w 4519987"/>
              <a:gd name="connsiteY102" fmla="*/ 3257550 h 4496940"/>
              <a:gd name="connsiteX103" fmla="*/ 249577 w 4519987"/>
              <a:gd name="connsiteY103" fmla="*/ 3200400 h 4496940"/>
              <a:gd name="connsiteX104" fmla="*/ 240052 w 4519987"/>
              <a:gd name="connsiteY104" fmla="*/ 3162300 h 4496940"/>
              <a:gd name="connsiteX105" fmla="*/ 221002 w 4519987"/>
              <a:gd name="connsiteY105" fmla="*/ 3105150 h 4496940"/>
              <a:gd name="connsiteX106" fmla="*/ 173377 w 4519987"/>
              <a:gd name="connsiteY106" fmla="*/ 3019425 h 4496940"/>
              <a:gd name="connsiteX107" fmla="*/ 144802 w 4519987"/>
              <a:gd name="connsiteY107" fmla="*/ 2924175 h 4496940"/>
              <a:gd name="connsiteX108" fmla="*/ 68602 w 4519987"/>
              <a:gd name="connsiteY108" fmla="*/ 2724150 h 4496940"/>
              <a:gd name="connsiteX109" fmla="*/ 49552 w 4519987"/>
              <a:gd name="connsiteY109" fmla="*/ 2638425 h 4496940"/>
              <a:gd name="connsiteX110" fmla="*/ 40027 w 4519987"/>
              <a:gd name="connsiteY110" fmla="*/ 2562225 h 4496940"/>
              <a:gd name="connsiteX111" fmla="*/ 30502 w 4519987"/>
              <a:gd name="connsiteY111" fmla="*/ 2514600 h 4496940"/>
              <a:gd name="connsiteX112" fmla="*/ 11452 w 4519987"/>
              <a:gd name="connsiteY112" fmla="*/ 2400300 h 4496940"/>
              <a:gd name="connsiteX113" fmla="*/ 20977 w 4519987"/>
              <a:gd name="connsiteY113" fmla="*/ 1905000 h 4496940"/>
              <a:gd name="connsiteX114" fmla="*/ 30502 w 4519987"/>
              <a:gd name="connsiteY114" fmla="*/ 1838325 h 4496940"/>
              <a:gd name="connsiteX115" fmla="*/ 49552 w 4519987"/>
              <a:gd name="connsiteY115" fmla="*/ 1781175 h 4496940"/>
              <a:gd name="connsiteX116" fmla="*/ 59077 w 4519987"/>
              <a:gd name="connsiteY116" fmla="*/ 1743075 h 4496940"/>
              <a:gd name="connsiteX117" fmla="*/ 78127 w 4519987"/>
              <a:gd name="connsiteY117" fmla="*/ 1685925 h 4496940"/>
              <a:gd name="connsiteX118" fmla="*/ 87652 w 4519987"/>
              <a:gd name="connsiteY118" fmla="*/ 1638300 h 4496940"/>
              <a:gd name="connsiteX119" fmla="*/ 106702 w 4519987"/>
              <a:gd name="connsiteY119" fmla="*/ 1590675 h 4496940"/>
              <a:gd name="connsiteX120" fmla="*/ 135277 w 4519987"/>
              <a:gd name="connsiteY120" fmla="*/ 1504950 h 4496940"/>
              <a:gd name="connsiteX121" fmla="*/ 154327 w 4519987"/>
              <a:gd name="connsiteY121" fmla="*/ 1419225 h 4496940"/>
              <a:gd name="connsiteX122" fmla="*/ 230527 w 4519987"/>
              <a:gd name="connsiteY122" fmla="*/ 1276350 h 4496940"/>
              <a:gd name="connsiteX123" fmla="*/ 240052 w 4519987"/>
              <a:gd name="connsiteY123" fmla="*/ 1247775 h 4496940"/>
              <a:gd name="connsiteX124" fmla="*/ 268627 w 4519987"/>
              <a:gd name="connsiteY124" fmla="*/ 1200150 h 4496940"/>
              <a:gd name="connsiteX125" fmla="*/ 287677 w 4519987"/>
              <a:gd name="connsiteY125" fmla="*/ 1152525 h 4496940"/>
              <a:gd name="connsiteX126" fmla="*/ 316252 w 4519987"/>
              <a:gd name="connsiteY126" fmla="*/ 1114425 h 4496940"/>
              <a:gd name="connsiteX127" fmla="*/ 363877 w 4519987"/>
              <a:gd name="connsiteY127" fmla="*/ 1038225 h 4496940"/>
              <a:gd name="connsiteX128" fmla="*/ 382927 w 4519987"/>
              <a:gd name="connsiteY128" fmla="*/ 1009650 h 4496940"/>
              <a:gd name="connsiteX129" fmla="*/ 440077 w 4519987"/>
              <a:gd name="connsiteY129" fmla="*/ 904875 h 4496940"/>
              <a:gd name="connsiteX130" fmla="*/ 478177 w 4519987"/>
              <a:gd name="connsiteY130" fmla="*/ 857250 h 4496940"/>
              <a:gd name="connsiteX131" fmla="*/ 497227 w 4519987"/>
              <a:gd name="connsiteY131" fmla="*/ 828675 h 4496940"/>
              <a:gd name="connsiteX132" fmla="*/ 535327 w 4519987"/>
              <a:gd name="connsiteY132" fmla="*/ 800100 h 4496940"/>
              <a:gd name="connsiteX133" fmla="*/ 602002 w 4519987"/>
              <a:gd name="connsiteY133" fmla="*/ 733425 h 4496940"/>
              <a:gd name="connsiteX134" fmla="*/ 668677 w 4519987"/>
              <a:gd name="connsiteY134" fmla="*/ 676275 h 4496940"/>
              <a:gd name="connsiteX135" fmla="*/ 697252 w 4519987"/>
              <a:gd name="connsiteY135" fmla="*/ 657225 h 4496940"/>
              <a:gd name="connsiteX136" fmla="*/ 840127 w 4519987"/>
              <a:gd name="connsiteY136" fmla="*/ 533400 h 4496940"/>
              <a:gd name="connsiteX137" fmla="*/ 887752 w 4519987"/>
              <a:gd name="connsiteY137" fmla="*/ 504825 h 4496940"/>
              <a:gd name="connsiteX138" fmla="*/ 1167152 w 4519987"/>
              <a:gd name="connsiteY138" fmla="*/ 311150 h 4496940"/>
              <a:gd name="connsiteX139" fmla="*/ 1268752 w 4519987"/>
              <a:gd name="connsiteY139" fmla="*/ 285750 h 4496940"/>
              <a:gd name="connsiteX140" fmla="*/ 1411627 w 4519987"/>
              <a:gd name="connsiteY140" fmla="*/ 190500 h 4496940"/>
              <a:gd name="connsiteX141" fmla="*/ 1449727 w 4519987"/>
              <a:gd name="connsiteY141" fmla="*/ 161925 h 4496940"/>
              <a:gd name="connsiteX142" fmla="*/ 1525927 w 4519987"/>
              <a:gd name="connsiteY142" fmla="*/ 152400 h 4496940"/>
              <a:gd name="connsiteX143" fmla="*/ 1583077 w 4519987"/>
              <a:gd name="connsiteY143" fmla="*/ 142875 h 4496940"/>
              <a:gd name="connsiteX144" fmla="*/ 1716427 w 4519987"/>
              <a:gd name="connsiteY144" fmla="*/ 123825 h 4496940"/>
              <a:gd name="connsiteX145" fmla="*/ 1811677 w 4519987"/>
              <a:gd name="connsiteY145" fmla="*/ 114300 h 4496940"/>
              <a:gd name="connsiteX146" fmla="*/ 1859302 w 4519987"/>
              <a:gd name="connsiteY146" fmla="*/ 104775 h 4496940"/>
              <a:gd name="connsiteX147" fmla="*/ 1916452 w 4519987"/>
              <a:gd name="connsiteY147" fmla="*/ 95250 h 4496940"/>
              <a:gd name="connsiteX148" fmla="*/ 2030752 w 4519987"/>
              <a:gd name="connsiteY148" fmla="*/ 66675 h 4496940"/>
              <a:gd name="connsiteX149" fmla="*/ 2097427 w 4519987"/>
              <a:gd name="connsiteY149" fmla="*/ 47625 h 4496940"/>
              <a:gd name="connsiteX150" fmla="*/ 2164102 w 4519987"/>
              <a:gd name="connsiteY150" fmla="*/ 38100 h 4496940"/>
              <a:gd name="connsiteX151" fmla="*/ 2392702 w 4519987"/>
              <a:gd name="connsiteY15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3935752 w 4519987"/>
              <a:gd name="connsiteY22" fmla="*/ 676275 h 4496940"/>
              <a:gd name="connsiteX23" fmla="*/ 4078627 w 4519987"/>
              <a:gd name="connsiteY23" fmla="*/ 838200 h 4496940"/>
              <a:gd name="connsiteX24" fmla="*/ 4135777 w 4519987"/>
              <a:gd name="connsiteY24" fmla="*/ 933450 h 4496940"/>
              <a:gd name="connsiteX25" fmla="*/ 4164352 w 4519987"/>
              <a:gd name="connsiteY25" fmla="*/ 990600 h 4496940"/>
              <a:gd name="connsiteX26" fmla="*/ 4173877 w 4519987"/>
              <a:gd name="connsiteY26" fmla="*/ 1019175 h 4496940"/>
              <a:gd name="connsiteX27" fmla="*/ 4192927 w 4519987"/>
              <a:gd name="connsiteY27" fmla="*/ 1057275 h 4496940"/>
              <a:gd name="connsiteX28" fmla="*/ 4202452 w 4519987"/>
              <a:gd name="connsiteY28" fmla="*/ 1085850 h 4496940"/>
              <a:gd name="connsiteX29" fmla="*/ 4250077 w 4519987"/>
              <a:gd name="connsiteY29" fmla="*/ 1143000 h 4496940"/>
              <a:gd name="connsiteX30" fmla="*/ 4259602 w 4519987"/>
              <a:gd name="connsiteY30" fmla="*/ 1190625 h 4496940"/>
              <a:gd name="connsiteX31" fmla="*/ 4307227 w 4519987"/>
              <a:gd name="connsiteY31" fmla="*/ 1266825 h 4496940"/>
              <a:gd name="connsiteX32" fmla="*/ 4345327 w 4519987"/>
              <a:gd name="connsiteY32" fmla="*/ 1362075 h 4496940"/>
              <a:gd name="connsiteX33" fmla="*/ 4373902 w 4519987"/>
              <a:gd name="connsiteY33" fmla="*/ 1428750 h 4496940"/>
              <a:gd name="connsiteX34" fmla="*/ 4392952 w 4519987"/>
              <a:gd name="connsiteY34" fmla="*/ 1552575 h 4496940"/>
              <a:gd name="connsiteX35" fmla="*/ 4402477 w 4519987"/>
              <a:gd name="connsiteY35" fmla="*/ 1590675 h 4496940"/>
              <a:gd name="connsiteX36" fmla="*/ 4431052 w 4519987"/>
              <a:gd name="connsiteY36" fmla="*/ 1685925 h 4496940"/>
              <a:gd name="connsiteX37" fmla="*/ 4519952 w 4519987"/>
              <a:gd name="connsiteY37" fmla="*/ 2181225 h 4496940"/>
              <a:gd name="connsiteX38" fmla="*/ 4446927 w 4519987"/>
              <a:gd name="connsiteY38" fmla="*/ 2768600 h 4496940"/>
              <a:gd name="connsiteX39" fmla="*/ 4383427 w 4519987"/>
              <a:gd name="connsiteY39" fmla="*/ 2990850 h 4496940"/>
              <a:gd name="connsiteX40" fmla="*/ 4278652 w 4519987"/>
              <a:gd name="connsiteY40" fmla="*/ 3248025 h 4496940"/>
              <a:gd name="connsiteX41" fmla="*/ 4259602 w 4519987"/>
              <a:gd name="connsiteY41" fmla="*/ 3276600 h 4496940"/>
              <a:gd name="connsiteX42" fmla="*/ 4221502 w 4519987"/>
              <a:gd name="connsiteY42" fmla="*/ 3333750 h 4496940"/>
              <a:gd name="connsiteX43" fmla="*/ 4211977 w 4519987"/>
              <a:gd name="connsiteY43" fmla="*/ 3362325 h 4496940"/>
              <a:gd name="connsiteX44" fmla="*/ 4183402 w 4519987"/>
              <a:gd name="connsiteY44" fmla="*/ 3400425 h 4496940"/>
              <a:gd name="connsiteX45" fmla="*/ 4164352 w 4519987"/>
              <a:gd name="connsiteY45" fmla="*/ 3429000 h 4496940"/>
              <a:gd name="connsiteX46" fmla="*/ 4088152 w 4519987"/>
              <a:gd name="connsiteY46" fmla="*/ 3495675 h 4496940"/>
              <a:gd name="connsiteX47" fmla="*/ 4059577 w 4519987"/>
              <a:gd name="connsiteY47" fmla="*/ 3533775 h 4496940"/>
              <a:gd name="connsiteX48" fmla="*/ 4002427 w 4519987"/>
              <a:gd name="connsiteY48" fmla="*/ 3600450 h 4496940"/>
              <a:gd name="connsiteX49" fmla="*/ 3983377 w 4519987"/>
              <a:gd name="connsiteY49" fmla="*/ 3629025 h 4496940"/>
              <a:gd name="connsiteX50" fmla="*/ 3954802 w 4519987"/>
              <a:gd name="connsiteY50" fmla="*/ 3648075 h 4496940"/>
              <a:gd name="connsiteX51" fmla="*/ 3907177 w 4519987"/>
              <a:gd name="connsiteY51" fmla="*/ 3686175 h 4496940"/>
              <a:gd name="connsiteX52" fmla="*/ 3869077 w 4519987"/>
              <a:gd name="connsiteY52" fmla="*/ 3724275 h 4496940"/>
              <a:gd name="connsiteX53" fmla="*/ 3792877 w 4519987"/>
              <a:gd name="connsiteY53" fmla="*/ 3781425 h 4496940"/>
              <a:gd name="connsiteX54" fmla="*/ 3783352 w 4519987"/>
              <a:gd name="connsiteY54" fmla="*/ 3810000 h 4496940"/>
              <a:gd name="connsiteX55" fmla="*/ 3745252 w 4519987"/>
              <a:gd name="connsiteY55" fmla="*/ 3819525 h 4496940"/>
              <a:gd name="connsiteX56" fmla="*/ 3678577 w 4519987"/>
              <a:gd name="connsiteY56" fmla="*/ 3848100 h 4496940"/>
              <a:gd name="connsiteX57" fmla="*/ 3659527 w 4519987"/>
              <a:gd name="connsiteY57" fmla="*/ 3971925 h 4496940"/>
              <a:gd name="connsiteX58" fmla="*/ 3630952 w 4519987"/>
              <a:gd name="connsiteY58" fmla="*/ 4010025 h 4496940"/>
              <a:gd name="connsiteX59" fmla="*/ 3621427 w 4519987"/>
              <a:gd name="connsiteY59" fmla="*/ 4038600 h 4496940"/>
              <a:gd name="connsiteX60" fmla="*/ 3554752 w 4519987"/>
              <a:gd name="connsiteY60" fmla="*/ 4095750 h 4496940"/>
              <a:gd name="connsiteX61" fmla="*/ 3516652 w 4519987"/>
              <a:gd name="connsiteY61" fmla="*/ 4114800 h 4496940"/>
              <a:gd name="connsiteX62" fmla="*/ 3497602 w 4519987"/>
              <a:gd name="connsiteY62" fmla="*/ 4143375 h 4496940"/>
              <a:gd name="connsiteX63" fmla="*/ 3383302 w 4519987"/>
              <a:gd name="connsiteY63" fmla="*/ 4210050 h 4496940"/>
              <a:gd name="connsiteX64" fmla="*/ 3335677 w 4519987"/>
              <a:gd name="connsiteY64" fmla="*/ 4238625 h 4496940"/>
              <a:gd name="connsiteX65" fmla="*/ 3288052 w 4519987"/>
              <a:gd name="connsiteY65" fmla="*/ 4248150 h 4496940"/>
              <a:gd name="connsiteX66" fmla="*/ 3240427 w 4519987"/>
              <a:gd name="connsiteY66" fmla="*/ 4267200 h 4496940"/>
              <a:gd name="connsiteX67" fmla="*/ 3068977 w 4519987"/>
              <a:gd name="connsiteY67" fmla="*/ 4286250 h 4496940"/>
              <a:gd name="connsiteX68" fmla="*/ 2935627 w 4519987"/>
              <a:gd name="connsiteY68" fmla="*/ 4333875 h 4496940"/>
              <a:gd name="connsiteX69" fmla="*/ 2811802 w 4519987"/>
              <a:gd name="connsiteY69" fmla="*/ 4371975 h 4496940"/>
              <a:gd name="connsiteX70" fmla="*/ 2745127 w 4519987"/>
              <a:gd name="connsiteY70" fmla="*/ 4410075 h 4496940"/>
              <a:gd name="connsiteX71" fmla="*/ 2697502 w 4519987"/>
              <a:gd name="connsiteY71" fmla="*/ 4429125 h 4496940"/>
              <a:gd name="connsiteX72" fmla="*/ 2640352 w 4519987"/>
              <a:gd name="connsiteY72" fmla="*/ 4457700 h 4496940"/>
              <a:gd name="connsiteX73" fmla="*/ 2583202 w 4519987"/>
              <a:gd name="connsiteY73" fmla="*/ 4467225 h 4496940"/>
              <a:gd name="connsiteX74" fmla="*/ 2545102 w 4519987"/>
              <a:gd name="connsiteY74" fmla="*/ 4486275 h 4496940"/>
              <a:gd name="connsiteX75" fmla="*/ 2306977 w 4519987"/>
              <a:gd name="connsiteY75" fmla="*/ 4476750 h 4496940"/>
              <a:gd name="connsiteX76" fmla="*/ 2202202 w 4519987"/>
              <a:gd name="connsiteY76" fmla="*/ 4457700 h 4496940"/>
              <a:gd name="connsiteX77" fmla="*/ 2126002 w 4519987"/>
              <a:gd name="connsiteY77" fmla="*/ 4429125 h 4496940"/>
              <a:gd name="connsiteX78" fmla="*/ 1935502 w 4519987"/>
              <a:gd name="connsiteY78" fmla="*/ 4400550 h 4496940"/>
              <a:gd name="connsiteX79" fmla="*/ 1821202 w 4519987"/>
              <a:gd name="connsiteY79" fmla="*/ 4371975 h 4496940"/>
              <a:gd name="connsiteX80" fmla="*/ 1754527 w 4519987"/>
              <a:gd name="connsiteY80" fmla="*/ 4352925 h 4496940"/>
              <a:gd name="connsiteX81" fmla="*/ 1687852 w 4519987"/>
              <a:gd name="connsiteY81" fmla="*/ 4343400 h 4496940"/>
              <a:gd name="connsiteX82" fmla="*/ 1573552 w 4519987"/>
              <a:gd name="connsiteY82" fmla="*/ 4305300 h 4496940"/>
              <a:gd name="connsiteX83" fmla="*/ 1402102 w 4519987"/>
              <a:gd name="connsiteY83" fmla="*/ 4276725 h 4496940"/>
              <a:gd name="connsiteX84" fmla="*/ 1287802 w 4519987"/>
              <a:gd name="connsiteY84" fmla="*/ 4229100 h 4496940"/>
              <a:gd name="connsiteX85" fmla="*/ 1221127 w 4519987"/>
              <a:gd name="connsiteY85" fmla="*/ 4200525 h 4496940"/>
              <a:gd name="connsiteX86" fmla="*/ 1144927 w 4519987"/>
              <a:gd name="connsiteY86" fmla="*/ 4171950 h 4496940"/>
              <a:gd name="connsiteX87" fmla="*/ 1087777 w 4519987"/>
              <a:gd name="connsiteY87" fmla="*/ 4143375 h 4496940"/>
              <a:gd name="connsiteX88" fmla="*/ 1030627 w 4519987"/>
              <a:gd name="connsiteY88" fmla="*/ 4124325 h 4496940"/>
              <a:gd name="connsiteX89" fmla="*/ 925852 w 4519987"/>
              <a:gd name="connsiteY89" fmla="*/ 4067175 h 4496940"/>
              <a:gd name="connsiteX90" fmla="*/ 830602 w 4519987"/>
              <a:gd name="connsiteY90" fmla="*/ 3981450 h 4496940"/>
              <a:gd name="connsiteX91" fmla="*/ 763927 w 4519987"/>
              <a:gd name="connsiteY91" fmla="*/ 3914775 h 4496940"/>
              <a:gd name="connsiteX92" fmla="*/ 725827 w 4519987"/>
              <a:gd name="connsiteY92" fmla="*/ 3876675 h 4496940"/>
              <a:gd name="connsiteX93" fmla="*/ 697252 w 4519987"/>
              <a:gd name="connsiteY93" fmla="*/ 3838575 h 4496940"/>
              <a:gd name="connsiteX94" fmla="*/ 640102 w 4519987"/>
              <a:gd name="connsiteY94" fmla="*/ 3781425 h 4496940"/>
              <a:gd name="connsiteX95" fmla="*/ 611527 w 4519987"/>
              <a:gd name="connsiteY95" fmla="*/ 3733800 h 4496940"/>
              <a:gd name="connsiteX96" fmla="*/ 554377 w 4519987"/>
              <a:gd name="connsiteY96" fmla="*/ 3657600 h 4496940"/>
              <a:gd name="connsiteX97" fmla="*/ 525802 w 4519987"/>
              <a:gd name="connsiteY97" fmla="*/ 3609975 h 4496940"/>
              <a:gd name="connsiteX98" fmla="*/ 497227 w 4519987"/>
              <a:gd name="connsiteY98" fmla="*/ 3552825 h 4496940"/>
              <a:gd name="connsiteX99" fmla="*/ 440077 w 4519987"/>
              <a:gd name="connsiteY99" fmla="*/ 3495675 h 4496940"/>
              <a:gd name="connsiteX100" fmla="*/ 411502 w 4519987"/>
              <a:gd name="connsiteY100" fmla="*/ 3448050 h 4496940"/>
              <a:gd name="connsiteX101" fmla="*/ 278152 w 4519987"/>
              <a:gd name="connsiteY101" fmla="*/ 3257550 h 4496940"/>
              <a:gd name="connsiteX102" fmla="*/ 249577 w 4519987"/>
              <a:gd name="connsiteY102" fmla="*/ 3200400 h 4496940"/>
              <a:gd name="connsiteX103" fmla="*/ 240052 w 4519987"/>
              <a:gd name="connsiteY103" fmla="*/ 3162300 h 4496940"/>
              <a:gd name="connsiteX104" fmla="*/ 221002 w 4519987"/>
              <a:gd name="connsiteY104" fmla="*/ 3105150 h 4496940"/>
              <a:gd name="connsiteX105" fmla="*/ 173377 w 4519987"/>
              <a:gd name="connsiteY105" fmla="*/ 3019425 h 4496940"/>
              <a:gd name="connsiteX106" fmla="*/ 144802 w 4519987"/>
              <a:gd name="connsiteY106" fmla="*/ 2924175 h 4496940"/>
              <a:gd name="connsiteX107" fmla="*/ 68602 w 4519987"/>
              <a:gd name="connsiteY107" fmla="*/ 2724150 h 4496940"/>
              <a:gd name="connsiteX108" fmla="*/ 49552 w 4519987"/>
              <a:gd name="connsiteY108" fmla="*/ 2638425 h 4496940"/>
              <a:gd name="connsiteX109" fmla="*/ 40027 w 4519987"/>
              <a:gd name="connsiteY109" fmla="*/ 2562225 h 4496940"/>
              <a:gd name="connsiteX110" fmla="*/ 30502 w 4519987"/>
              <a:gd name="connsiteY110" fmla="*/ 2514600 h 4496940"/>
              <a:gd name="connsiteX111" fmla="*/ 11452 w 4519987"/>
              <a:gd name="connsiteY111" fmla="*/ 2400300 h 4496940"/>
              <a:gd name="connsiteX112" fmla="*/ 20977 w 4519987"/>
              <a:gd name="connsiteY112" fmla="*/ 1905000 h 4496940"/>
              <a:gd name="connsiteX113" fmla="*/ 30502 w 4519987"/>
              <a:gd name="connsiteY113" fmla="*/ 1838325 h 4496940"/>
              <a:gd name="connsiteX114" fmla="*/ 49552 w 4519987"/>
              <a:gd name="connsiteY114" fmla="*/ 1781175 h 4496940"/>
              <a:gd name="connsiteX115" fmla="*/ 59077 w 4519987"/>
              <a:gd name="connsiteY115" fmla="*/ 1743075 h 4496940"/>
              <a:gd name="connsiteX116" fmla="*/ 78127 w 4519987"/>
              <a:gd name="connsiteY116" fmla="*/ 1685925 h 4496940"/>
              <a:gd name="connsiteX117" fmla="*/ 87652 w 4519987"/>
              <a:gd name="connsiteY117" fmla="*/ 1638300 h 4496940"/>
              <a:gd name="connsiteX118" fmla="*/ 106702 w 4519987"/>
              <a:gd name="connsiteY118" fmla="*/ 1590675 h 4496940"/>
              <a:gd name="connsiteX119" fmla="*/ 135277 w 4519987"/>
              <a:gd name="connsiteY119" fmla="*/ 1504950 h 4496940"/>
              <a:gd name="connsiteX120" fmla="*/ 154327 w 4519987"/>
              <a:gd name="connsiteY120" fmla="*/ 1419225 h 4496940"/>
              <a:gd name="connsiteX121" fmla="*/ 230527 w 4519987"/>
              <a:gd name="connsiteY121" fmla="*/ 1276350 h 4496940"/>
              <a:gd name="connsiteX122" fmla="*/ 240052 w 4519987"/>
              <a:gd name="connsiteY122" fmla="*/ 1247775 h 4496940"/>
              <a:gd name="connsiteX123" fmla="*/ 268627 w 4519987"/>
              <a:gd name="connsiteY123" fmla="*/ 1200150 h 4496940"/>
              <a:gd name="connsiteX124" fmla="*/ 287677 w 4519987"/>
              <a:gd name="connsiteY124" fmla="*/ 1152525 h 4496940"/>
              <a:gd name="connsiteX125" fmla="*/ 316252 w 4519987"/>
              <a:gd name="connsiteY125" fmla="*/ 1114425 h 4496940"/>
              <a:gd name="connsiteX126" fmla="*/ 363877 w 4519987"/>
              <a:gd name="connsiteY126" fmla="*/ 1038225 h 4496940"/>
              <a:gd name="connsiteX127" fmla="*/ 382927 w 4519987"/>
              <a:gd name="connsiteY127" fmla="*/ 1009650 h 4496940"/>
              <a:gd name="connsiteX128" fmla="*/ 440077 w 4519987"/>
              <a:gd name="connsiteY128" fmla="*/ 904875 h 4496940"/>
              <a:gd name="connsiteX129" fmla="*/ 478177 w 4519987"/>
              <a:gd name="connsiteY129" fmla="*/ 857250 h 4496940"/>
              <a:gd name="connsiteX130" fmla="*/ 497227 w 4519987"/>
              <a:gd name="connsiteY130" fmla="*/ 828675 h 4496940"/>
              <a:gd name="connsiteX131" fmla="*/ 535327 w 4519987"/>
              <a:gd name="connsiteY131" fmla="*/ 800100 h 4496940"/>
              <a:gd name="connsiteX132" fmla="*/ 602002 w 4519987"/>
              <a:gd name="connsiteY132" fmla="*/ 733425 h 4496940"/>
              <a:gd name="connsiteX133" fmla="*/ 668677 w 4519987"/>
              <a:gd name="connsiteY133" fmla="*/ 676275 h 4496940"/>
              <a:gd name="connsiteX134" fmla="*/ 697252 w 4519987"/>
              <a:gd name="connsiteY134" fmla="*/ 657225 h 4496940"/>
              <a:gd name="connsiteX135" fmla="*/ 840127 w 4519987"/>
              <a:gd name="connsiteY135" fmla="*/ 533400 h 4496940"/>
              <a:gd name="connsiteX136" fmla="*/ 887752 w 4519987"/>
              <a:gd name="connsiteY136" fmla="*/ 504825 h 4496940"/>
              <a:gd name="connsiteX137" fmla="*/ 1167152 w 4519987"/>
              <a:gd name="connsiteY137" fmla="*/ 311150 h 4496940"/>
              <a:gd name="connsiteX138" fmla="*/ 1268752 w 4519987"/>
              <a:gd name="connsiteY138" fmla="*/ 285750 h 4496940"/>
              <a:gd name="connsiteX139" fmla="*/ 1411627 w 4519987"/>
              <a:gd name="connsiteY139" fmla="*/ 190500 h 4496940"/>
              <a:gd name="connsiteX140" fmla="*/ 1449727 w 4519987"/>
              <a:gd name="connsiteY140" fmla="*/ 161925 h 4496940"/>
              <a:gd name="connsiteX141" fmla="*/ 1525927 w 4519987"/>
              <a:gd name="connsiteY141" fmla="*/ 152400 h 4496940"/>
              <a:gd name="connsiteX142" fmla="*/ 1583077 w 4519987"/>
              <a:gd name="connsiteY142" fmla="*/ 142875 h 4496940"/>
              <a:gd name="connsiteX143" fmla="*/ 1716427 w 4519987"/>
              <a:gd name="connsiteY143" fmla="*/ 123825 h 4496940"/>
              <a:gd name="connsiteX144" fmla="*/ 1811677 w 4519987"/>
              <a:gd name="connsiteY144" fmla="*/ 114300 h 4496940"/>
              <a:gd name="connsiteX145" fmla="*/ 1859302 w 4519987"/>
              <a:gd name="connsiteY145" fmla="*/ 104775 h 4496940"/>
              <a:gd name="connsiteX146" fmla="*/ 1916452 w 4519987"/>
              <a:gd name="connsiteY146" fmla="*/ 95250 h 4496940"/>
              <a:gd name="connsiteX147" fmla="*/ 2030752 w 4519987"/>
              <a:gd name="connsiteY147" fmla="*/ 66675 h 4496940"/>
              <a:gd name="connsiteX148" fmla="*/ 2097427 w 4519987"/>
              <a:gd name="connsiteY148" fmla="*/ 47625 h 4496940"/>
              <a:gd name="connsiteX149" fmla="*/ 2164102 w 4519987"/>
              <a:gd name="connsiteY149" fmla="*/ 38100 h 4496940"/>
              <a:gd name="connsiteX150" fmla="*/ 2392702 w 4519987"/>
              <a:gd name="connsiteY15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4078627 w 4519987"/>
              <a:gd name="connsiteY22" fmla="*/ 838200 h 4496940"/>
              <a:gd name="connsiteX23" fmla="*/ 4135777 w 4519987"/>
              <a:gd name="connsiteY23" fmla="*/ 933450 h 4496940"/>
              <a:gd name="connsiteX24" fmla="*/ 4164352 w 4519987"/>
              <a:gd name="connsiteY24" fmla="*/ 990600 h 4496940"/>
              <a:gd name="connsiteX25" fmla="*/ 4173877 w 4519987"/>
              <a:gd name="connsiteY25" fmla="*/ 1019175 h 4496940"/>
              <a:gd name="connsiteX26" fmla="*/ 4192927 w 4519987"/>
              <a:gd name="connsiteY26" fmla="*/ 1057275 h 4496940"/>
              <a:gd name="connsiteX27" fmla="*/ 4202452 w 4519987"/>
              <a:gd name="connsiteY27" fmla="*/ 1085850 h 4496940"/>
              <a:gd name="connsiteX28" fmla="*/ 4250077 w 4519987"/>
              <a:gd name="connsiteY28" fmla="*/ 1143000 h 4496940"/>
              <a:gd name="connsiteX29" fmla="*/ 4259602 w 4519987"/>
              <a:gd name="connsiteY29" fmla="*/ 1190625 h 4496940"/>
              <a:gd name="connsiteX30" fmla="*/ 4307227 w 4519987"/>
              <a:gd name="connsiteY30" fmla="*/ 1266825 h 4496940"/>
              <a:gd name="connsiteX31" fmla="*/ 4345327 w 4519987"/>
              <a:gd name="connsiteY31" fmla="*/ 1362075 h 4496940"/>
              <a:gd name="connsiteX32" fmla="*/ 4373902 w 4519987"/>
              <a:gd name="connsiteY32" fmla="*/ 1428750 h 4496940"/>
              <a:gd name="connsiteX33" fmla="*/ 4392952 w 4519987"/>
              <a:gd name="connsiteY33" fmla="*/ 1552575 h 4496940"/>
              <a:gd name="connsiteX34" fmla="*/ 4402477 w 4519987"/>
              <a:gd name="connsiteY34" fmla="*/ 1590675 h 4496940"/>
              <a:gd name="connsiteX35" fmla="*/ 4431052 w 4519987"/>
              <a:gd name="connsiteY35" fmla="*/ 1685925 h 4496940"/>
              <a:gd name="connsiteX36" fmla="*/ 4519952 w 4519987"/>
              <a:gd name="connsiteY36" fmla="*/ 2181225 h 4496940"/>
              <a:gd name="connsiteX37" fmla="*/ 4446927 w 4519987"/>
              <a:gd name="connsiteY37" fmla="*/ 2768600 h 4496940"/>
              <a:gd name="connsiteX38" fmla="*/ 4383427 w 4519987"/>
              <a:gd name="connsiteY38" fmla="*/ 2990850 h 4496940"/>
              <a:gd name="connsiteX39" fmla="*/ 4278652 w 4519987"/>
              <a:gd name="connsiteY39" fmla="*/ 3248025 h 4496940"/>
              <a:gd name="connsiteX40" fmla="*/ 4259602 w 4519987"/>
              <a:gd name="connsiteY40" fmla="*/ 3276600 h 4496940"/>
              <a:gd name="connsiteX41" fmla="*/ 4221502 w 4519987"/>
              <a:gd name="connsiteY41" fmla="*/ 3333750 h 4496940"/>
              <a:gd name="connsiteX42" fmla="*/ 4211977 w 4519987"/>
              <a:gd name="connsiteY42" fmla="*/ 3362325 h 4496940"/>
              <a:gd name="connsiteX43" fmla="*/ 4183402 w 4519987"/>
              <a:gd name="connsiteY43" fmla="*/ 3400425 h 4496940"/>
              <a:gd name="connsiteX44" fmla="*/ 4164352 w 4519987"/>
              <a:gd name="connsiteY44" fmla="*/ 3429000 h 4496940"/>
              <a:gd name="connsiteX45" fmla="*/ 4088152 w 4519987"/>
              <a:gd name="connsiteY45" fmla="*/ 3495675 h 4496940"/>
              <a:gd name="connsiteX46" fmla="*/ 4059577 w 4519987"/>
              <a:gd name="connsiteY46" fmla="*/ 3533775 h 4496940"/>
              <a:gd name="connsiteX47" fmla="*/ 4002427 w 4519987"/>
              <a:gd name="connsiteY47" fmla="*/ 3600450 h 4496940"/>
              <a:gd name="connsiteX48" fmla="*/ 3983377 w 4519987"/>
              <a:gd name="connsiteY48" fmla="*/ 3629025 h 4496940"/>
              <a:gd name="connsiteX49" fmla="*/ 3954802 w 4519987"/>
              <a:gd name="connsiteY49" fmla="*/ 3648075 h 4496940"/>
              <a:gd name="connsiteX50" fmla="*/ 3907177 w 4519987"/>
              <a:gd name="connsiteY50" fmla="*/ 3686175 h 4496940"/>
              <a:gd name="connsiteX51" fmla="*/ 3869077 w 4519987"/>
              <a:gd name="connsiteY51" fmla="*/ 3724275 h 4496940"/>
              <a:gd name="connsiteX52" fmla="*/ 3792877 w 4519987"/>
              <a:gd name="connsiteY52" fmla="*/ 3781425 h 4496940"/>
              <a:gd name="connsiteX53" fmla="*/ 3783352 w 4519987"/>
              <a:gd name="connsiteY53" fmla="*/ 3810000 h 4496940"/>
              <a:gd name="connsiteX54" fmla="*/ 3745252 w 4519987"/>
              <a:gd name="connsiteY54" fmla="*/ 3819525 h 4496940"/>
              <a:gd name="connsiteX55" fmla="*/ 3678577 w 4519987"/>
              <a:gd name="connsiteY55" fmla="*/ 3848100 h 4496940"/>
              <a:gd name="connsiteX56" fmla="*/ 3659527 w 4519987"/>
              <a:gd name="connsiteY56" fmla="*/ 3971925 h 4496940"/>
              <a:gd name="connsiteX57" fmla="*/ 3630952 w 4519987"/>
              <a:gd name="connsiteY57" fmla="*/ 4010025 h 4496940"/>
              <a:gd name="connsiteX58" fmla="*/ 3621427 w 4519987"/>
              <a:gd name="connsiteY58" fmla="*/ 4038600 h 4496940"/>
              <a:gd name="connsiteX59" fmla="*/ 3554752 w 4519987"/>
              <a:gd name="connsiteY59" fmla="*/ 4095750 h 4496940"/>
              <a:gd name="connsiteX60" fmla="*/ 3516652 w 4519987"/>
              <a:gd name="connsiteY60" fmla="*/ 4114800 h 4496940"/>
              <a:gd name="connsiteX61" fmla="*/ 3497602 w 4519987"/>
              <a:gd name="connsiteY61" fmla="*/ 4143375 h 4496940"/>
              <a:gd name="connsiteX62" fmla="*/ 3383302 w 4519987"/>
              <a:gd name="connsiteY62" fmla="*/ 4210050 h 4496940"/>
              <a:gd name="connsiteX63" fmla="*/ 3335677 w 4519987"/>
              <a:gd name="connsiteY63" fmla="*/ 4238625 h 4496940"/>
              <a:gd name="connsiteX64" fmla="*/ 3288052 w 4519987"/>
              <a:gd name="connsiteY64" fmla="*/ 4248150 h 4496940"/>
              <a:gd name="connsiteX65" fmla="*/ 3240427 w 4519987"/>
              <a:gd name="connsiteY65" fmla="*/ 4267200 h 4496940"/>
              <a:gd name="connsiteX66" fmla="*/ 3068977 w 4519987"/>
              <a:gd name="connsiteY66" fmla="*/ 4286250 h 4496940"/>
              <a:gd name="connsiteX67" fmla="*/ 2935627 w 4519987"/>
              <a:gd name="connsiteY67" fmla="*/ 4333875 h 4496940"/>
              <a:gd name="connsiteX68" fmla="*/ 2811802 w 4519987"/>
              <a:gd name="connsiteY68" fmla="*/ 4371975 h 4496940"/>
              <a:gd name="connsiteX69" fmla="*/ 2745127 w 4519987"/>
              <a:gd name="connsiteY69" fmla="*/ 4410075 h 4496940"/>
              <a:gd name="connsiteX70" fmla="*/ 2697502 w 4519987"/>
              <a:gd name="connsiteY70" fmla="*/ 4429125 h 4496940"/>
              <a:gd name="connsiteX71" fmla="*/ 2640352 w 4519987"/>
              <a:gd name="connsiteY71" fmla="*/ 4457700 h 4496940"/>
              <a:gd name="connsiteX72" fmla="*/ 2583202 w 4519987"/>
              <a:gd name="connsiteY72" fmla="*/ 4467225 h 4496940"/>
              <a:gd name="connsiteX73" fmla="*/ 2545102 w 4519987"/>
              <a:gd name="connsiteY73" fmla="*/ 4486275 h 4496940"/>
              <a:gd name="connsiteX74" fmla="*/ 2306977 w 4519987"/>
              <a:gd name="connsiteY74" fmla="*/ 4476750 h 4496940"/>
              <a:gd name="connsiteX75" fmla="*/ 2202202 w 4519987"/>
              <a:gd name="connsiteY75" fmla="*/ 4457700 h 4496940"/>
              <a:gd name="connsiteX76" fmla="*/ 2126002 w 4519987"/>
              <a:gd name="connsiteY76" fmla="*/ 4429125 h 4496940"/>
              <a:gd name="connsiteX77" fmla="*/ 1935502 w 4519987"/>
              <a:gd name="connsiteY77" fmla="*/ 4400550 h 4496940"/>
              <a:gd name="connsiteX78" fmla="*/ 1821202 w 4519987"/>
              <a:gd name="connsiteY78" fmla="*/ 4371975 h 4496940"/>
              <a:gd name="connsiteX79" fmla="*/ 1754527 w 4519987"/>
              <a:gd name="connsiteY79" fmla="*/ 4352925 h 4496940"/>
              <a:gd name="connsiteX80" fmla="*/ 1687852 w 4519987"/>
              <a:gd name="connsiteY80" fmla="*/ 4343400 h 4496940"/>
              <a:gd name="connsiteX81" fmla="*/ 1573552 w 4519987"/>
              <a:gd name="connsiteY81" fmla="*/ 4305300 h 4496940"/>
              <a:gd name="connsiteX82" fmla="*/ 1402102 w 4519987"/>
              <a:gd name="connsiteY82" fmla="*/ 4276725 h 4496940"/>
              <a:gd name="connsiteX83" fmla="*/ 1287802 w 4519987"/>
              <a:gd name="connsiteY83" fmla="*/ 4229100 h 4496940"/>
              <a:gd name="connsiteX84" fmla="*/ 1221127 w 4519987"/>
              <a:gd name="connsiteY84" fmla="*/ 4200525 h 4496940"/>
              <a:gd name="connsiteX85" fmla="*/ 1144927 w 4519987"/>
              <a:gd name="connsiteY85" fmla="*/ 4171950 h 4496940"/>
              <a:gd name="connsiteX86" fmla="*/ 1087777 w 4519987"/>
              <a:gd name="connsiteY86" fmla="*/ 4143375 h 4496940"/>
              <a:gd name="connsiteX87" fmla="*/ 1030627 w 4519987"/>
              <a:gd name="connsiteY87" fmla="*/ 4124325 h 4496940"/>
              <a:gd name="connsiteX88" fmla="*/ 925852 w 4519987"/>
              <a:gd name="connsiteY88" fmla="*/ 4067175 h 4496940"/>
              <a:gd name="connsiteX89" fmla="*/ 830602 w 4519987"/>
              <a:gd name="connsiteY89" fmla="*/ 3981450 h 4496940"/>
              <a:gd name="connsiteX90" fmla="*/ 763927 w 4519987"/>
              <a:gd name="connsiteY90" fmla="*/ 3914775 h 4496940"/>
              <a:gd name="connsiteX91" fmla="*/ 725827 w 4519987"/>
              <a:gd name="connsiteY91" fmla="*/ 3876675 h 4496940"/>
              <a:gd name="connsiteX92" fmla="*/ 697252 w 4519987"/>
              <a:gd name="connsiteY92" fmla="*/ 3838575 h 4496940"/>
              <a:gd name="connsiteX93" fmla="*/ 640102 w 4519987"/>
              <a:gd name="connsiteY93" fmla="*/ 3781425 h 4496940"/>
              <a:gd name="connsiteX94" fmla="*/ 611527 w 4519987"/>
              <a:gd name="connsiteY94" fmla="*/ 3733800 h 4496940"/>
              <a:gd name="connsiteX95" fmla="*/ 554377 w 4519987"/>
              <a:gd name="connsiteY95" fmla="*/ 3657600 h 4496940"/>
              <a:gd name="connsiteX96" fmla="*/ 525802 w 4519987"/>
              <a:gd name="connsiteY96" fmla="*/ 3609975 h 4496940"/>
              <a:gd name="connsiteX97" fmla="*/ 497227 w 4519987"/>
              <a:gd name="connsiteY97" fmla="*/ 3552825 h 4496940"/>
              <a:gd name="connsiteX98" fmla="*/ 440077 w 4519987"/>
              <a:gd name="connsiteY98" fmla="*/ 3495675 h 4496940"/>
              <a:gd name="connsiteX99" fmla="*/ 411502 w 4519987"/>
              <a:gd name="connsiteY99" fmla="*/ 3448050 h 4496940"/>
              <a:gd name="connsiteX100" fmla="*/ 278152 w 4519987"/>
              <a:gd name="connsiteY100" fmla="*/ 3257550 h 4496940"/>
              <a:gd name="connsiteX101" fmla="*/ 249577 w 4519987"/>
              <a:gd name="connsiteY101" fmla="*/ 3200400 h 4496940"/>
              <a:gd name="connsiteX102" fmla="*/ 240052 w 4519987"/>
              <a:gd name="connsiteY102" fmla="*/ 3162300 h 4496940"/>
              <a:gd name="connsiteX103" fmla="*/ 221002 w 4519987"/>
              <a:gd name="connsiteY103" fmla="*/ 3105150 h 4496940"/>
              <a:gd name="connsiteX104" fmla="*/ 173377 w 4519987"/>
              <a:gd name="connsiteY104" fmla="*/ 3019425 h 4496940"/>
              <a:gd name="connsiteX105" fmla="*/ 144802 w 4519987"/>
              <a:gd name="connsiteY105" fmla="*/ 2924175 h 4496940"/>
              <a:gd name="connsiteX106" fmla="*/ 68602 w 4519987"/>
              <a:gd name="connsiteY106" fmla="*/ 2724150 h 4496940"/>
              <a:gd name="connsiteX107" fmla="*/ 49552 w 4519987"/>
              <a:gd name="connsiteY107" fmla="*/ 2638425 h 4496940"/>
              <a:gd name="connsiteX108" fmla="*/ 40027 w 4519987"/>
              <a:gd name="connsiteY108" fmla="*/ 2562225 h 4496940"/>
              <a:gd name="connsiteX109" fmla="*/ 30502 w 4519987"/>
              <a:gd name="connsiteY109" fmla="*/ 2514600 h 4496940"/>
              <a:gd name="connsiteX110" fmla="*/ 11452 w 4519987"/>
              <a:gd name="connsiteY110" fmla="*/ 2400300 h 4496940"/>
              <a:gd name="connsiteX111" fmla="*/ 20977 w 4519987"/>
              <a:gd name="connsiteY111" fmla="*/ 1905000 h 4496940"/>
              <a:gd name="connsiteX112" fmla="*/ 30502 w 4519987"/>
              <a:gd name="connsiteY112" fmla="*/ 1838325 h 4496940"/>
              <a:gd name="connsiteX113" fmla="*/ 49552 w 4519987"/>
              <a:gd name="connsiteY113" fmla="*/ 1781175 h 4496940"/>
              <a:gd name="connsiteX114" fmla="*/ 59077 w 4519987"/>
              <a:gd name="connsiteY114" fmla="*/ 1743075 h 4496940"/>
              <a:gd name="connsiteX115" fmla="*/ 78127 w 4519987"/>
              <a:gd name="connsiteY115" fmla="*/ 1685925 h 4496940"/>
              <a:gd name="connsiteX116" fmla="*/ 87652 w 4519987"/>
              <a:gd name="connsiteY116" fmla="*/ 1638300 h 4496940"/>
              <a:gd name="connsiteX117" fmla="*/ 106702 w 4519987"/>
              <a:gd name="connsiteY117" fmla="*/ 1590675 h 4496940"/>
              <a:gd name="connsiteX118" fmla="*/ 135277 w 4519987"/>
              <a:gd name="connsiteY118" fmla="*/ 1504950 h 4496940"/>
              <a:gd name="connsiteX119" fmla="*/ 154327 w 4519987"/>
              <a:gd name="connsiteY119" fmla="*/ 1419225 h 4496940"/>
              <a:gd name="connsiteX120" fmla="*/ 230527 w 4519987"/>
              <a:gd name="connsiteY120" fmla="*/ 1276350 h 4496940"/>
              <a:gd name="connsiteX121" fmla="*/ 240052 w 4519987"/>
              <a:gd name="connsiteY121" fmla="*/ 1247775 h 4496940"/>
              <a:gd name="connsiteX122" fmla="*/ 268627 w 4519987"/>
              <a:gd name="connsiteY122" fmla="*/ 1200150 h 4496940"/>
              <a:gd name="connsiteX123" fmla="*/ 287677 w 4519987"/>
              <a:gd name="connsiteY123" fmla="*/ 1152525 h 4496940"/>
              <a:gd name="connsiteX124" fmla="*/ 316252 w 4519987"/>
              <a:gd name="connsiteY124" fmla="*/ 1114425 h 4496940"/>
              <a:gd name="connsiteX125" fmla="*/ 363877 w 4519987"/>
              <a:gd name="connsiteY125" fmla="*/ 1038225 h 4496940"/>
              <a:gd name="connsiteX126" fmla="*/ 382927 w 4519987"/>
              <a:gd name="connsiteY126" fmla="*/ 1009650 h 4496940"/>
              <a:gd name="connsiteX127" fmla="*/ 440077 w 4519987"/>
              <a:gd name="connsiteY127" fmla="*/ 904875 h 4496940"/>
              <a:gd name="connsiteX128" fmla="*/ 478177 w 4519987"/>
              <a:gd name="connsiteY128" fmla="*/ 857250 h 4496940"/>
              <a:gd name="connsiteX129" fmla="*/ 497227 w 4519987"/>
              <a:gd name="connsiteY129" fmla="*/ 828675 h 4496940"/>
              <a:gd name="connsiteX130" fmla="*/ 535327 w 4519987"/>
              <a:gd name="connsiteY130" fmla="*/ 800100 h 4496940"/>
              <a:gd name="connsiteX131" fmla="*/ 602002 w 4519987"/>
              <a:gd name="connsiteY131" fmla="*/ 733425 h 4496940"/>
              <a:gd name="connsiteX132" fmla="*/ 668677 w 4519987"/>
              <a:gd name="connsiteY132" fmla="*/ 676275 h 4496940"/>
              <a:gd name="connsiteX133" fmla="*/ 697252 w 4519987"/>
              <a:gd name="connsiteY133" fmla="*/ 657225 h 4496940"/>
              <a:gd name="connsiteX134" fmla="*/ 840127 w 4519987"/>
              <a:gd name="connsiteY134" fmla="*/ 533400 h 4496940"/>
              <a:gd name="connsiteX135" fmla="*/ 887752 w 4519987"/>
              <a:gd name="connsiteY135" fmla="*/ 504825 h 4496940"/>
              <a:gd name="connsiteX136" fmla="*/ 1167152 w 4519987"/>
              <a:gd name="connsiteY136" fmla="*/ 311150 h 4496940"/>
              <a:gd name="connsiteX137" fmla="*/ 1268752 w 4519987"/>
              <a:gd name="connsiteY137" fmla="*/ 285750 h 4496940"/>
              <a:gd name="connsiteX138" fmla="*/ 1411627 w 4519987"/>
              <a:gd name="connsiteY138" fmla="*/ 190500 h 4496940"/>
              <a:gd name="connsiteX139" fmla="*/ 1449727 w 4519987"/>
              <a:gd name="connsiteY139" fmla="*/ 161925 h 4496940"/>
              <a:gd name="connsiteX140" fmla="*/ 1525927 w 4519987"/>
              <a:gd name="connsiteY140" fmla="*/ 152400 h 4496940"/>
              <a:gd name="connsiteX141" fmla="*/ 1583077 w 4519987"/>
              <a:gd name="connsiteY141" fmla="*/ 142875 h 4496940"/>
              <a:gd name="connsiteX142" fmla="*/ 1716427 w 4519987"/>
              <a:gd name="connsiteY142" fmla="*/ 123825 h 4496940"/>
              <a:gd name="connsiteX143" fmla="*/ 1811677 w 4519987"/>
              <a:gd name="connsiteY143" fmla="*/ 114300 h 4496940"/>
              <a:gd name="connsiteX144" fmla="*/ 1859302 w 4519987"/>
              <a:gd name="connsiteY144" fmla="*/ 104775 h 4496940"/>
              <a:gd name="connsiteX145" fmla="*/ 1916452 w 4519987"/>
              <a:gd name="connsiteY145" fmla="*/ 95250 h 4496940"/>
              <a:gd name="connsiteX146" fmla="*/ 2030752 w 4519987"/>
              <a:gd name="connsiteY146" fmla="*/ 66675 h 4496940"/>
              <a:gd name="connsiteX147" fmla="*/ 2097427 w 4519987"/>
              <a:gd name="connsiteY147" fmla="*/ 47625 h 4496940"/>
              <a:gd name="connsiteX148" fmla="*/ 2164102 w 4519987"/>
              <a:gd name="connsiteY148" fmla="*/ 38100 h 4496940"/>
              <a:gd name="connsiteX149" fmla="*/ 2392702 w 4519987"/>
              <a:gd name="connsiteY14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78627 w 4519987"/>
              <a:gd name="connsiteY21" fmla="*/ 838200 h 4496940"/>
              <a:gd name="connsiteX22" fmla="*/ 4135777 w 4519987"/>
              <a:gd name="connsiteY22" fmla="*/ 933450 h 4496940"/>
              <a:gd name="connsiteX23" fmla="*/ 4164352 w 4519987"/>
              <a:gd name="connsiteY23" fmla="*/ 990600 h 4496940"/>
              <a:gd name="connsiteX24" fmla="*/ 4173877 w 4519987"/>
              <a:gd name="connsiteY24" fmla="*/ 1019175 h 4496940"/>
              <a:gd name="connsiteX25" fmla="*/ 4192927 w 4519987"/>
              <a:gd name="connsiteY25" fmla="*/ 1057275 h 4496940"/>
              <a:gd name="connsiteX26" fmla="*/ 4202452 w 4519987"/>
              <a:gd name="connsiteY26" fmla="*/ 1085850 h 4496940"/>
              <a:gd name="connsiteX27" fmla="*/ 4250077 w 4519987"/>
              <a:gd name="connsiteY27" fmla="*/ 1143000 h 4496940"/>
              <a:gd name="connsiteX28" fmla="*/ 4259602 w 4519987"/>
              <a:gd name="connsiteY28" fmla="*/ 1190625 h 4496940"/>
              <a:gd name="connsiteX29" fmla="*/ 4307227 w 4519987"/>
              <a:gd name="connsiteY29" fmla="*/ 1266825 h 4496940"/>
              <a:gd name="connsiteX30" fmla="*/ 4345327 w 4519987"/>
              <a:gd name="connsiteY30" fmla="*/ 1362075 h 4496940"/>
              <a:gd name="connsiteX31" fmla="*/ 4373902 w 4519987"/>
              <a:gd name="connsiteY31" fmla="*/ 1428750 h 4496940"/>
              <a:gd name="connsiteX32" fmla="*/ 4392952 w 4519987"/>
              <a:gd name="connsiteY32" fmla="*/ 1552575 h 4496940"/>
              <a:gd name="connsiteX33" fmla="*/ 4402477 w 4519987"/>
              <a:gd name="connsiteY33" fmla="*/ 1590675 h 4496940"/>
              <a:gd name="connsiteX34" fmla="*/ 4431052 w 4519987"/>
              <a:gd name="connsiteY34" fmla="*/ 1685925 h 4496940"/>
              <a:gd name="connsiteX35" fmla="*/ 4519952 w 4519987"/>
              <a:gd name="connsiteY35" fmla="*/ 2181225 h 4496940"/>
              <a:gd name="connsiteX36" fmla="*/ 4446927 w 4519987"/>
              <a:gd name="connsiteY36" fmla="*/ 2768600 h 4496940"/>
              <a:gd name="connsiteX37" fmla="*/ 4383427 w 4519987"/>
              <a:gd name="connsiteY37" fmla="*/ 2990850 h 4496940"/>
              <a:gd name="connsiteX38" fmla="*/ 4278652 w 4519987"/>
              <a:gd name="connsiteY38" fmla="*/ 3248025 h 4496940"/>
              <a:gd name="connsiteX39" fmla="*/ 4259602 w 4519987"/>
              <a:gd name="connsiteY39" fmla="*/ 3276600 h 4496940"/>
              <a:gd name="connsiteX40" fmla="*/ 4221502 w 4519987"/>
              <a:gd name="connsiteY40" fmla="*/ 3333750 h 4496940"/>
              <a:gd name="connsiteX41" fmla="*/ 4211977 w 4519987"/>
              <a:gd name="connsiteY41" fmla="*/ 3362325 h 4496940"/>
              <a:gd name="connsiteX42" fmla="*/ 4183402 w 4519987"/>
              <a:gd name="connsiteY42" fmla="*/ 3400425 h 4496940"/>
              <a:gd name="connsiteX43" fmla="*/ 4164352 w 4519987"/>
              <a:gd name="connsiteY43" fmla="*/ 3429000 h 4496940"/>
              <a:gd name="connsiteX44" fmla="*/ 4088152 w 4519987"/>
              <a:gd name="connsiteY44" fmla="*/ 3495675 h 4496940"/>
              <a:gd name="connsiteX45" fmla="*/ 4059577 w 4519987"/>
              <a:gd name="connsiteY45" fmla="*/ 3533775 h 4496940"/>
              <a:gd name="connsiteX46" fmla="*/ 4002427 w 4519987"/>
              <a:gd name="connsiteY46" fmla="*/ 3600450 h 4496940"/>
              <a:gd name="connsiteX47" fmla="*/ 3983377 w 4519987"/>
              <a:gd name="connsiteY47" fmla="*/ 3629025 h 4496940"/>
              <a:gd name="connsiteX48" fmla="*/ 3954802 w 4519987"/>
              <a:gd name="connsiteY48" fmla="*/ 3648075 h 4496940"/>
              <a:gd name="connsiteX49" fmla="*/ 3907177 w 4519987"/>
              <a:gd name="connsiteY49" fmla="*/ 3686175 h 4496940"/>
              <a:gd name="connsiteX50" fmla="*/ 3869077 w 4519987"/>
              <a:gd name="connsiteY50" fmla="*/ 3724275 h 4496940"/>
              <a:gd name="connsiteX51" fmla="*/ 3792877 w 4519987"/>
              <a:gd name="connsiteY51" fmla="*/ 3781425 h 4496940"/>
              <a:gd name="connsiteX52" fmla="*/ 3783352 w 4519987"/>
              <a:gd name="connsiteY52" fmla="*/ 3810000 h 4496940"/>
              <a:gd name="connsiteX53" fmla="*/ 3745252 w 4519987"/>
              <a:gd name="connsiteY53" fmla="*/ 3819525 h 4496940"/>
              <a:gd name="connsiteX54" fmla="*/ 3678577 w 4519987"/>
              <a:gd name="connsiteY54" fmla="*/ 3848100 h 4496940"/>
              <a:gd name="connsiteX55" fmla="*/ 3659527 w 4519987"/>
              <a:gd name="connsiteY55" fmla="*/ 3971925 h 4496940"/>
              <a:gd name="connsiteX56" fmla="*/ 3630952 w 4519987"/>
              <a:gd name="connsiteY56" fmla="*/ 4010025 h 4496940"/>
              <a:gd name="connsiteX57" fmla="*/ 3621427 w 4519987"/>
              <a:gd name="connsiteY57" fmla="*/ 4038600 h 4496940"/>
              <a:gd name="connsiteX58" fmla="*/ 3554752 w 4519987"/>
              <a:gd name="connsiteY58" fmla="*/ 4095750 h 4496940"/>
              <a:gd name="connsiteX59" fmla="*/ 3516652 w 4519987"/>
              <a:gd name="connsiteY59" fmla="*/ 4114800 h 4496940"/>
              <a:gd name="connsiteX60" fmla="*/ 3497602 w 4519987"/>
              <a:gd name="connsiteY60" fmla="*/ 4143375 h 4496940"/>
              <a:gd name="connsiteX61" fmla="*/ 3383302 w 4519987"/>
              <a:gd name="connsiteY61" fmla="*/ 4210050 h 4496940"/>
              <a:gd name="connsiteX62" fmla="*/ 3335677 w 4519987"/>
              <a:gd name="connsiteY62" fmla="*/ 4238625 h 4496940"/>
              <a:gd name="connsiteX63" fmla="*/ 3288052 w 4519987"/>
              <a:gd name="connsiteY63" fmla="*/ 4248150 h 4496940"/>
              <a:gd name="connsiteX64" fmla="*/ 3240427 w 4519987"/>
              <a:gd name="connsiteY64" fmla="*/ 4267200 h 4496940"/>
              <a:gd name="connsiteX65" fmla="*/ 3068977 w 4519987"/>
              <a:gd name="connsiteY65" fmla="*/ 4286250 h 4496940"/>
              <a:gd name="connsiteX66" fmla="*/ 2935627 w 4519987"/>
              <a:gd name="connsiteY66" fmla="*/ 4333875 h 4496940"/>
              <a:gd name="connsiteX67" fmla="*/ 2811802 w 4519987"/>
              <a:gd name="connsiteY67" fmla="*/ 4371975 h 4496940"/>
              <a:gd name="connsiteX68" fmla="*/ 2745127 w 4519987"/>
              <a:gd name="connsiteY68" fmla="*/ 4410075 h 4496940"/>
              <a:gd name="connsiteX69" fmla="*/ 2697502 w 4519987"/>
              <a:gd name="connsiteY69" fmla="*/ 4429125 h 4496940"/>
              <a:gd name="connsiteX70" fmla="*/ 2640352 w 4519987"/>
              <a:gd name="connsiteY70" fmla="*/ 4457700 h 4496940"/>
              <a:gd name="connsiteX71" fmla="*/ 2583202 w 4519987"/>
              <a:gd name="connsiteY71" fmla="*/ 4467225 h 4496940"/>
              <a:gd name="connsiteX72" fmla="*/ 2545102 w 4519987"/>
              <a:gd name="connsiteY72" fmla="*/ 4486275 h 4496940"/>
              <a:gd name="connsiteX73" fmla="*/ 2306977 w 4519987"/>
              <a:gd name="connsiteY73" fmla="*/ 4476750 h 4496940"/>
              <a:gd name="connsiteX74" fmla="*/ 2202202 w 4519987"/>
              <a:gd name="connsiteY74" fmla="*/ 4457700 h 4496940"/>
              <a:gd name="connsiteX75" fmla="*/ 2126002 w 4519987"/>
              <a:gd name="connsiteY75" fmla="*/ 4429125 h 4496940"/>
              <a:gd name="connsiteX76" fmla="*/ 1935502 w 4519987"/>
              <a:gd name="connsiteY76" fmla="*/ 4400550 h 4496940"/>
              <a:gd name="connsiteX77" fmla="*/ 1821202 w 4519987"/>
              <a:gd name="connsiteY77" fmla="*/ 4371975 h 4496940"/>
              <a:gd name="connsiteX78" fmla="*/ 1754527 w 4519987"/>
              <a:gd name="connsiteY78" fmla="*/ 4352925 h 4496940"/>
              <a:gd name="connsiteX79" fmla="*/ 1687852 w 4519987"/>
              <a:gd name="connsiteY79" fmla="*/ 4343400 h 4496940"/>
              <a:gd name="connsiteX80" fmla="*/ 1573552 w 4519987"/>
              <a:gd name="connsiteY80" fmla="*/ 4305300 h 4496940"/>
              <a:gd name="connsiteX81" fmla="*/ 1402102 w 4519987"/>
              <a:gd name="connsiteY81" fmla="*/ 4276725 h 4496940"/>
              <a:gd name="connsiteX82" fmla="*/ 1287802 w 4519987"/>
              <a:gd name="connsiteY82" fmla="*/ 4229100 h 4496940"/>
              <a:gd name="connsiteX83" fmla="*/ 1221127 w 4519987"/>
              <a:gd name="connsiteY83" fmla="*/ 4200525 h 4496940"/>
              <a:gd name="connsiteX84" fmla="*/ 1144927 w 4519987"/>
              <a:gd name="connsiteY84" fmla="*/ 4171950 h 4496940"/>
              <a:gd name="connsiteX85" fmla="*/ 1087777 w 4519987"/>
              <a:gd name="connsiteY85" fmla="*/ 4143375 h 4496940"/>
              <a:gd name="connsiteX86" fmla="*/ 1030627 w 4519987"/>
              <a:gd name="connsiteY86" fmla="*/ 4124325 h 4496940"/>
              <a:gd name="connsiteX87" fmla="*/ 925852 w 4519987"/>
              <a:gd name="connsiteY87" fmla="*/ 4067175 h 4496940"/>
              <a:gd name="connsiteX88" fmla="*/ 830602 w 4519987"/>
              <a:gd name="connsiteY88" fmla="*/ 3981450 h 4496940"/>
              <a:gd name="connsiteX89" fmla="*/ 763927 w 4519987"/>
              <a:gd name="connsiteY89" fmla="*/ 3914775 h 4496940"/>
              <a:gd name="connsiteX90" fmla="*/ 725827 w 4519987"/>
              <a:gd name="connsiteY90" fmla="*/ 3876675 h 4496940"/>
              <a:gd name="connsiteX91" fmla="*/ 697252 w 4519987"/>
              <a:gd name="connsiteY91" fmla="*/ 3838575 h 4496940"/>
              <a:gd name="connsiteX92" fmla="*/ 640102 w 4519987"/>
              <a:gd name="connsiteY92" fmla="*/ 3781425 h 4496940"/>
              <a:gd name="connsiteX93" fmla="*/ 611527 w 4519987"/>
              <a:gd name="connsiteY93" fmla="*/ 3733800 h 4496940"/>
              <a:gd name="connsiteX94" fmla="*/ 554377 w 4519987"/>
              <a:gd name="connsiteY94" fmla="*/ 3657600 h 4496940"/>
              <a:gd name="connsiteX95" fmla="*/ 525802 w 4519987"/>
              <a:gd name="connsiteY95" fmla="*/ 3609975 h 4496940"/>
              <a:gd name="connsiteX96" fmla="*/ 497227 w 4519987"/>
              <a:gd name="connsiteY96" fmla="*/ 3552825 h 4496940"/>
              <a:gd name="connsiteX97" fmla="*/ 440077 w 4519987"/>
              <a:gd name="connsiteY97" fmla="*/ 3495675 h 4496940"/>
              <a:gd name="connsiteX98" fmla="*/ 411502 w 4519987"/>
              <a:gd name="connsiteY98" fmla="*/ 3448050 h 4496940"/>
              <a:gd name="connsiteX99" fmla="*/ 278152 w 4519987"/>
              <a:gd name="connsiteY99" fmla="*/ 3257550 h 4496940"/>
              <a:gd name="connsiteX100" fmla="*/ 249577 w 4519987"/>
              <a:gd name="connsiteY100" fmla="*/ 3200400 h 4496940"/>
              <a:gd name="connsiteX101" fmla="*/ 240052 w 4519987"/>
              <a:gd name="connsiteY101" fmla="*/ 3162300 h 4496940"/>
              <a:gd name="connsiteX102" fmla="*/ 221002 w 4519987"/>
              <a:gd name="connsiteY102" fmla="*/ 3105150 h 4496940"/>
              <a:gd name="connsiteX103" fmla="*/ 173377 w 4519987"/>
              <a:gd name="connsiteY103" fmla="*/ 3019425 h 4496940"/>
              <a:gd name="connsiteX104" fmla="*/ 144802 w 4519987"/>
              <a:gd name="connsiteY104" fmla="*/ 2924175 h 4496940"/>
              <a:gd name="connsiteX105" fmla="*/ 68602 w 4519987"/>
              <a:gd name="connsiteY105" fmla="*/ 2724150 h 4496940"/>
              <a:gd name="connsiteX106" fmla="*/ 49552 w 4519987"/>
              <a:gd name="connsiteY106" fmla="*/ 2638425 h 4496940"/>
              <a:gd name="connsiteX107" fmla="*/ 40027 w 4519987"/>
              <a:gd name="connsiteY107" fmla="*/ 2562225 h 4496940"/>
              <a:gd name="connsiteX108" fmla="*/ 30502 w 4519987"/>
              <a:gd name="connsiteY108" fmla="*/ 2514600 h 4496940"/>
              <a:gd name="connsiteX109" fmla="*/ 11452 w 4519987"/>
              <a:gd name="connsiteY109" fmla="*/ 2400300 h 4496940"/>
              <a:gd name="connsiteX110" fmla="*/ 20977 w 4519987"/>
              <a:gd name="connsiteY110" fmla="*/ 1905000 h 4496940"/>
              <a:gd name="connsiteX111" fmla="*/ 30502 w 4519987"/>
              <a:gd name="connsiteY111" fmla="*/ 1838325 h 4496940"/>
              <a:gd name="connsiteX112" fmla="*/ 49552 w 4519987"/>
              <a:gd name="connsiteY112" fmla="*/ 1781175 h 4496940"/>
              <a:gd name="connsiteX113" fmla="*/ 59077 w 4519987"/>
              <a:gd name="connsiteY113" fmla="*/ 1743075 h 4496940"/>
              <a:gd name="connsiteX114" fmla="*/ 78127 w 4519987"/>
              <a:gd name="connsiteY114" fmla="*/ 1685925 h 4496940"/>
              <a:gd name="connsiteX115" fmla="*/ 87652 w 4519987"/>
              <a:gd name="connsiteY115" fmla="*/ 1638300 h 4496940"/>
              <a:gd name="connsiteX116" fmla="*/ 106702 w 4519987"/>
              <a:gd name="connsiteY116" fmla="*/ 1590675 h 4496940"/>
              <a:gd name="connsiteX117" fmla="*/ 135277 w 4519987"/>
              <a:gd name="connsiteY117" fmla="*/ 1504950 h 4496940"/>
              <a:gd name="connsiteX118" fmla="*/ 154327 w 4519987"/>
              <a:gd name="connsiteY118" fmla="*/ 1419225 h 4496940"/>
              <a:gd name="connsiteX119" fmla="*/ 230527 w 4519987"/>
              <a:gd name="connsiteY119" fmla="*/ 1276350 h 4496940"/>
              <a:gd name="connsiteX120" fmla="*/ 240052 w 4519987"/>
              <a:gd name="connsiteY120" fmla="*/ 1247775 h 4496940"/>
              <a:gd name="connsiteX121" fmla="*/ 268627 w 4519987"/>
              <a:gd name="connsiteY121" fmla="*/ 1200150 h 4496940"/>
              <a:gd name="connsiteX122" fmla="*/ 287677 w 4519987"/>
              <a:gd name="connsiteY122" fmla="*/ 1152525 h 4496940"/>
              <a:gd name="connsiteX123" fmla="*/ 316252 w 4519987"/>
              <a:gd name="connsiteY123" fmla="*/ 1114425 h 4496940"/>
              <a:gd name="connsiteX124" fmla="*/ 363877 w 4519987"/>
              <a:gd name="connsiteY124" fmla="*/ 1038225 h 4496940"/>
              <a:gd name="connsiteX125" fmla="*/ 382927 w 4519987"/>
              <a:gd name="connsiteY125" fmla="*/ 1009650 h 4496940"/>
              <a:gd name="connsiteX126" fmla="*/ 440077 w 4519987"/>
              <a:gd name="connsiteY126" fmla="*/ 904875 h 4496940"/>
              <a:gd name="connsiteX127" fmla="*/ 478177 w 4519987"/>
              <a:gd name="connsiteY127" fmla="*/ 857250 h 4496940"/>
              <a:gd name="connsiteX128" fmla="*/ 497227 w 4519987"/>
              <a:gd name="connsiteY128" fmla="*/ 828675 h 4496940"/>
              <a:gd name="connsiteX129" fmla="*/ 535327 w 4519987"/>
              <a:gd name="connsiteY129" fmla="*/ 800100 h 4496940"/>
              <a:gd name="connsiteX130" fmla="*/ 602002 w 4519987"/>
              <a:gd name="connsiteY130" fmla="*/ 733425 h 4496940"/>
              <a:gd name="connsiteX131" fmla="*/ 668677 w 4519987"/>
              <a:gd name="connsiteY131" fmla="*/ 676275 h 4496940"/>
              <a:gd name="connsiteX132" fmla="*/ 697252 w 4519987"/>
              <a:gd name="connsiteY132" fmla="*/ 657225 h 4496940"/>
              <a:gd name="connsiteX133" fmla="*/ 840127 w 4519987"/>
              <a:gd name="connsiteY133" fmla="*/ 533400 h 4496940"/>
              <a:gd name="connsiteX134" fmla="*/ 887752 w 4519987"/>
              <a:gd name="connsiteY134" fmla="*/ 504825 h 4496940"/>
              <a:gd name="connsiteX135" fmla="*/ 1167152 w 4519987"/>
              <a:gd name="connsiteY135" fmla="*/ 311150 h 4496940"/>
              <a:gd name="connsiteX136" fmla="*/ 1268752 w 4519987"/>
              <a:gd name="connsiteY136" fmla="*/ 285750 h 4496940"/>
              <a:gd name="connsiteX137" fmla="*/ 1411627 w 4519987"/>
              <a:gd name="connsiteY137" fmla="*/ 190500 h 4496940"/>
              <a:gd name="connsiteX138" fmla="*/ 1449727 w 4519987"/>
              <a:gd name="connsiteY138" fmla="*/ 161925 h 4496940"/>
              <a:gd name="connsiteX139" fmla="*/ 1525927 w 4519987"/>
              <a:gd name="connsiteY139" fmla="*/ 152400 h 4496940"/>
              <a:gd name="connsiteX140" fmla="*/ 1583077 w 4519987"/>
              <a:gd name="connsiteY140" fmla="*/ 142875 h 4496940"/>
              <a:gd name="connsiteX141" fmla="*/ 1716427 w 4519987"/>
              <a:gd name="connsiteY141" fmla="*/ 123825 h 4496940"/>
              <a:gd name="connsiteX142" fmla="*/ 1811677 w 4519987"/>
              <a:gd name="connsiteY142" fmla="*/ 114300 h 4496940"/>
              <a:gd name="connsiteX143" fmla="*/ 1859302 w 4519987"/>
              <a:gd name="connsiteY143" fmla="*/ 104775 h 4496940"/>
              <a:gd name="connsiteX144" fmla="*/ 1916452 w 4519987"/>
              <a:gd name="connsiteY144" fmla="*/ 95250 h 4496940"/>
              <a:gd name="connsiteX145" fmla="*/ 2030752 w 4519987"/>
              <a:gd name="connsiteY145" fmla="*/ 66675 h 4496940"/>
              <a:gd name="connsiteX146" fmla="*/ 2097427 w 4519987"/>
              <a:gd name="connsiteY146" fmla="*/ 47625 h 4496940"/>
              <a:gd name="connsiteX147" fmla="*/ 2164102 w 4519987"/>
              <a:gd name="connsiteY147" fmla="*/ 38100 h 4496940"/>
              <a:gd name="connsiteX148" fmla="*/ 2392702 w 4519987"/>
              <a:gd name="connsiteY14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135777 w 4519987"/>
              <a:gd name="connsiteY21" fmla="*/ 9334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02452 w 4519987"/>
              <a:gd name="connsiteY24" fmla="*/ 1085850 h 4496940"/>
              <a:gd name="connsiteX25" fmla="*/ 4250077 w 4519987"/>
              <a:gd name="connsiteY25" fmla="*/ 1143000 h 4496940"/>
              <a:gd name="connsiteX26" fmla="*/ 4259602 w 4519987"/>
              <a:gd name="connsiteY26" fmla="*/ 1190625 h 4496940"/>
              <a:gd name="connsiteX27" fmla="*/ 4307227 w 4519987"/>
              <a:gd name="connsiteY27" fmla="*/ 1266825 h 4496940"/>
              <a:gd name="connsiteX28" fmla="*/ 4345327 w 4519987"/>
              <a:gd name="connsiteY28" fmla="*/ 1362075 h 4496940"/>
              <a:gd name="connsiteX29" fmla="*/ 4373902 w 4519987"/>
              <a:gd name="connsiteY29" fmla="*/ 1428750 h 4496940"/>
              <a:gd name="connsiteX30" fmla="*/ 4392952 w 4519987"/>
              <a:gd name="connsiteY30" fmla="*/ 1552575 h 4496940"/>
              <a:gd name="connsiteX31" fmla="*/ 4402477 w 4519987"/>
              <a:gd name="connsiteY31" fmla="*/ 1590675 h 4496940"/>
              <a:gd name="connsiteX32" fmla="*/ 4431052 w 4519987"/>
              <a:gd name="connsiteY32" fmla="*/ 1685925 h 4496940"/>
              <a:gd name="connsiteX33" fmla="*/ 4519952 w 4519987"/>
              <a:gd name="connsiteY33" fmla="*/ 2181225 h 4496940"/>
              <a:gd name="connsiteX34" fmla="*/ 4446927 w 4519987"/>
              <a:gd name="connsiteY34" fmla="*/ 2768600 h 4496940"/>
              <a:gd name="connsiteX35" fmla="*/ 4383427 w 4519987"/>
              <a:gd name="connsiteY35" fmla="*/ 2990850 h 4496940"/>
              <a:gd name="connsiteX36" fmla="*/ 4278652 w 4519987"/>
              <a:gd name="connsiteY36" fmla="*/ 3248025 h 4496940"/>
              <a:gd name="connsiteX37" fmla="*/ 4259602 w 4519987"/>
              <a:gd name="connsiteY37" fmla="*/ 3276600 h 4496940"/>
              <a:gd name="connsiteX38" fmla="*/ 4221502 w 4519987"/>
              <a:gd name="connsiteY38" fmla="*/ 3333750 h 4496940"/>
              <a:gd name="connsiteX39" fmla="*/ 4211977 w 4519987"/>
              <a:gd name="connsiteY39" fmla="*/ 3362325 h 4496940"/>
              <a:gd name="connsiteX40" fmla="*/ 4183402 w 4519987"/>
              <a:gd name="connsiteY40" fmla="*/ 3400425 h 4496940"/>
              <a:gd name="connsiteX41" fmla="*/ 4164352 w 4519987"/>
              <a:gd name="connsiteY41" fmla="*/ 3429000 h 4496940"/>
              <a:gd name="connsiteX42" fmla="*/ 4088152 w 4519987"/>
              <a:gd name="connsiteY42" fmla="*/ 3495675 h 4496940"/>
              <a:gd name="connsiteX43" fmla="*/ 4059577 w 4519987"/>
              <a:gd name="connsiteY43" fmla="*/ 3533775 h 4496940"/>
              <a:gd name="connsiteX44" fmla="*/ 4002427 w 4519987"/>
              <a:gd name="connsiteY44" fmla="*/ 3600450 h 4496940"/>
              <a:gd name="connsiteX45" fmla="*/ 3983377 w 4519987"/>
              <a:gd name="connsiteY45" fmla="*/ 3629025 h 4496940"/>
              <a:gd name="connsiteX46" fmla="*/ 3954802 w 4519987"/>
              <a:gd name="connsiteY46" fmla="*/ 3648075 h 4496940"/>
              <a:gd name="connsiteX47" fmla="*/ 3907177 w 4519987"/>
              <a:gd name="connsiteY47" fmla="*/ 3686175 h 4496940"/>
              <a:gd name="connsiteX48" fmla="*/ 3869077 w 4519987"/>
              <a:gd name="connsiteY48" fmla="*/ 3724275 h 4496940"/>
              <a:gd name="connsiteX49" fmla="*/ 3792877 w 4519987"/>
              <a:gd name="connsiteY49" fmla="*/ 3781425 h 4496940"/>
              <a:gd name="connsiteX50" fmla="*/ 3783352 w 4519987"/>
              <a:gd name="connsiteY50" fmla="*/ 3810000 h 4496940"/>
              <a:gd name="connsiteX51" fmla="*/ 3745252 w 4519987"/>
              <a:gd name="connsiteY51" fmla="*/ 3819525 h 4496940"/>
              <a:gd name="connsiteX52" fmla="*/ 3678577 w 4519987"/>
              <a:gd name="connsiteY52" fmla="*/ 3848100 h 4496940"/>
              <a:gd name="connsiteX53" fmla="*/ 3659527 w 4519987"/>
              <a:gd name="connsiteY53" fmla="*/ 3971925 h 4496940"/>
              <a:gd name="connsiteX54" fmla="*/ 3630952 w 4519987"/>
              <a:gd name="connsiteY54" fmla="*/ 4010025 h 4496940"/>
              <a:gd name="connsiteX55" fmla="*/ 3621427 w 4519987"/>
              <a:gd name="connsiteY55" fmla="*/ 4038600 h 4496940"/>
              <a:gd name="connsiteX56" fmla="*/ 3554752 w 4519987"/>
              <a:gd name="connsiteY56" fmla="*/ 4095750 h 4496940"/>
              <a:gd name="connsiteX57" fmla="*/ 3516652 w 4519987"/>
              <a:gd name="connsiteY57" fmla="*/ 4114800 h 4496940"/>
              <a:gd name="connsiteX58" fmla="*/ 3497602 w 4519987"/>
              <a:gd name="connsiteY58" fmla="*/ 4143375 h 4496940"/>
              <a:gd name="connsiteX59" fmla="*/ 3383302 w 4519987"/>
              <a:gd name="connsiteY59" fmla="*/ 4210050 h 4496940"/>
              <a:gd name="connsiteX60" fmla="*/ 3335677 w 4519987"/>
              <a:gd name="connsiteY60" fmla="*/ 4238625 h 4496940"/>
              <a:gd name="connsiteX61" fmla="*/ 3288052 w 4519987"/>
              <a:gd name="connsiteY61" fmla="*/ 4248150 h 4496940"/>
              <a:gd name="connsiteX62" fmla="*/ 3240427 w 4519987"/>
              <a:gd name="connsiteY62" fmla="*/ 4267200 h 4496940"/>
              <a:gd name="connsiteX63" fmla="*/ 3068977 w 4519987"/>
              <a:gd name="connsiteY63" fmla="*/ 4286250 h 4496940"/>
              <a:gd name="connsiteX64" fmla="*/ 2935627 w 4519987"/>
              <a:gd name="connsiteY64" fmla="*/ 4333875 h 4496940"/>
              <a:gd name="connsiteX65" fmla="*/ 2811802 w 4519987"/>
              <a:gd name="connsiteY65" fmla="*/ 4371975 h 4496940"/>
              <a:gd name="connsiteX66" fmla="*/ 2745127 w 4519987"/>
              <a:gd name="connsiteY66" fmla="*/ 4410075 h 4496940"/>
              <a:gd name="connsiteX67" fmla="*/ 2697502 w 4519987"/>
              <a:gd name="connsiteY67" fmla="*/ 4429125 h 4496940"/>
              <a:gd name="connsiteX68" fmla="*/ 2640352 w 4519987"/>
              <a:gd name="connsiteY68" fmla="*/ 4457700 h 4496940"/>
              <a:gd name="connsiteX69" fmla="*/ 2583202 w 4519987"/>
              <a:gd name="connsiteY69" fmla="*/ 4467225 h 4496940"/>
              <a:gd name="connsiteX70" fmla="*/ 2545102 w 4519987"/>
              <a:gd name="connsiteY70" fmla="*/ 4486275 h 4496940"/>
              <a:gd name="connsiteX71" fmla="*/ 2306977 w 4519987"/>
              <a:gd name="connsiteY71" fmla="*/ 4476750 h 4496940"/>
              <a:gd name="connsiteX72" fmla="*/ 2202202 w 4519987"/>
              <a:gd name="connsiteY72" fmla="*/ 4457700 h 4496940"/>
              <a:gd name="connsiteX73" fmla="*/ 2126002 w 4519987"/>
              <a:gd name="connsiteY73" fmla="*/ 4429125 h 4496940"/>
              <a:gd name="connsiteX74" fmla="*/ 1935502 w 4519987"/>
              <a:gd name="connsiteY74" fmla="*/ 4400550 h 4496940"/>
              <a:gd name="connsiteX75" fmla="*/ 1821202 w 4519987"/>
              <a:gd name="connsiteY75" fmla="*/ 4371975 h 4496940"/>
              <a:gd name="connsiteX76" fmla="*/ 1754527 w 4519987"/>
              <a:gd name="connsiteY76" fmla="*/ 4352925 h 4496940"/>
              <a:gd name="connsiteX77" fmla="*/ 1687852 w 4519987"/>
              <a:gd name="connsiteY77" fmla="*/ 4343400 h 4496940"/>
              <a:gd name="connsiteX78" fmla="*/ 1573552 w 4519987"/>
              <a:gd name="connsiteY78" fmla="*/ 4305300 h 4496940"/>
              <a:gd name="connsiteX79" fmla="*/ 1402102 w 4519987"/>
              <a:gd name="connsiteY79" fmla="*/ 4276725 h 4496940"/>
              <a:gd name="connsiteX80" fmla="*/ 1287802 w 4519987"/>
              <a:gd name="connsiteY80" fmla="*/ 4229100 h 4496940"/>
              <a:gd name="connsiteX81" fmla="*/ 1221127 w 4519987"/>
              <a:gd name="connsiteY81" fmla="*/ 4200525 h 4496940"/>
              <a:gd name="connsiteX82" fmla="*/ 1144927 w 4519987"/>
              <a:gd name="connsiteY82" fmla="*/ 4171950 h 4496940"/>
              <a:gd name="connsiteX83" fmla="*/ 1087777 w 4519987"/>
              <a:gd name="connsiteY83" fmla="*/ 4143375 h 4496940"/>
              <a:gd name="connsiteX84" fmla="*/ 1030627 w 4519987"/>
              <a:gd name="connsiteY84" fmla="*/ 4124325 h 4496940"/>
              <a:gd name="connsiteX85" fmla="*/ 925852 w 4519987"/>
              <a:gd name="connsiteY85" fmla="*/ 4067175 h 4496940"/>
              <a:gd name="connsiteX86" fmla="*/ 830602 w 4519987"/>
              <a:gd name="connsiteY86" fmla="*/ 3981450 h 4496940"/>
              <a:gd name="connsiteX87" fmla="*/ 763927 w 4519987"/>
              <a:gd name="connsiteY87" fmla="*/ 3914775 h 4496940"/>
              <a:gd name="connsiteX88" fmla="*/ 725827 w 4519987"/>
              <a:gd name="connsiteY88" fmla="*/ 3876675 h 4496940"/>
              <a:gd name="connsiteX89" fmla="*/ 697252 w 4519987"/>
              <a:gd name="connsiteY89" fmla="*/ 3838575 h 4496940"/>
              <a:gd name="connsiteX90" fmla="*/ 640102 w 4519987"/>
              <a:gd name="connsiteY90" fmla="*/ 3781425 h 4496940"/>
              <a:gd name="connsiteX91" fmla="*/ 611527 w 4519987"/>
              <a:gd name="connsiteY91" fmla="*/ 3733800 h 4496940"/>
              <a:gd name="connsiteX92" fmla="*/ 554377 w 4519987"/>
              <a:gd name="connsiteY92" fmla="*/ 3657600 h 4496940"/>
              <a:gd name="connsiteX93" fmla="*/ 525802 w 4519987"/>
              <a:gd name="connsiteY93" fmla="*/ 3609975 h 4496940"/>
              <a:gd name="connsiteX94" fmla="*/ 497227 w 4519987"/>
              <a:gd name="connsiteY94" fmla="*/ 3552825 h 4496940"/>
              <a:gd name="connsiteX95" fmla="*/ 440077 w 4519987"/>
              <a:gd name="connsiteY95" fmla="*/ 3495675 h 4496940"/>
              <a:gd name="connsiteX96" fmla="*/ 411502 w 4519987"/>
              <a:gd name="connsiteY96" fmla="*/ 3448050 h 4496940"/>
              <a:gd name="connsiteX97" fmla="*/ 278152 w 4519987"/>
              <a:gd name="connsiteY97" fmla="*/ 3257550 h 4496940"/>
              <a:gd name="connsiteX98" fmla="*/ 249577 w 4519987"/>
              <a:gd name="connsiteY98" fmla="*/ 3200400 h 4496940"/>
              <a:gd name="connsiteX99" fmla="*/ 240052 w 4519987"/>
              <a:gd name="connsiteY99" fmla="*/ 3162300 h 4496940"/>
              <a:gd name="connsiteX100" fmla="*/ 221002 w 4519987"/>
              <a:gd name="connsiteY100" fmla="*/ 3105150 h 4496940"/>
              <a:gd name="connsiteX101" fmla="*/ 173377 w 4519987"/>
              <a:gd name="connsiteY101" fmla="*/ 3019425 h 4496940"/>
              <a:gd name="connsiteX102" fmla="*/ 144802 w 4519987"/>
              <a:gd name="connsiteY102" fmla="*/ 2924175 h 4496940"/>
              <a:gd name="connsiteX103" fmla="*/ 68602 w 4519987"/>
              <a:gd name="connsiteY103" fmla="*/ 2724150 h 4496940"/>
              <a:gd name="connsiteX104" fmla="*/ 49552 w 4519987"/>
              <a:gd name="connsiteY104" fmla="*/ 2638425 h 4496940"/>
              <a:gd name="connsiteX105" fmla="*/ 40027 w 4519987"/>
              <a:gd name="connsiteY105" fmla="*/ 2562225 h 4496940"/>
              <a:gd name="connsiteX106" fmla="*/ 30502 w 4519987"/>
              <a:gd name="connsiteY106" fmla="*/ 2514600 h 4496940"/>
              <a:gd name="connsiteX107" fmla="*/ 11452 w 4519987"/>
              <a:gd name="connsiteY107" fmla="*/ 2400300 h 4496940"/>
              <a:gd name="connsiteX108" fmla="*/ 20977 w 4519987"/>
              <a:gd name="connsiteY108" fmla="*/ 1905000 h 4496940"/>
              <a:gd name="connsiteX109" fmla="*/ 30502 w 4519987"/>
              <a:gd name="connsiteY109" fmla="*/ 1838325 h 4496940"/>
              <a:gd name="connsiteX110" fmla="*/ 49552 w 4519987"/>
              <a:gd name="connsiteY110" fmla="*/ 1781175 h 4496940"/>
              <a:gd name="connsiteX111" fmla="*/ 59077 w 4519987"/>
              <a:gd name="connsiteY111" fmla="*/ 1743075 h 4496940"/>
              <a:gd name="connsiteX112" fmla="*/ 78127 w 4519987"/>
              <a:gd name="connsiteY112" fmla="*/ 1685925 h 4496940"/>
              <a:gd name="connsiteX113" fmla="*/ 87652 w 4519987"/>
              <a:gd name="connsiteY113" fmla="*/ 1638300 h 4496940"/>
              <a:gd name="connsiteX114" fmla="*/ 106702 w 4519987"/>
              <a:gd name="connsiteY114" fmla="*/ 1590675 h 4496940"/>
              <a:gd name="connsiteX115" fmla="*/ 135277 w 4519987"/>
              <a:gd name="connsiteY115" fmla="*/ 1504950 h 4496940"/>
              <a:gd name="connsiteX116" fmla="*/ 154327 w 4519987"/>
              <a:gd name="connsiteY116" fmla="*/ 1419225 h 4496940"/>
              <a:gd name="connsiteX117" fmla="*/ 230527 w 4519987"/>
              <a:gd name="connsiteY117" fmla="*/ 1276350 h 4496940"/>
              <a:gd name="connsiteX118" fmla="*/ 240052 w 4519987"/>
              <a:gd name="connsiteY118" fmla="*/ 1247775 h 4496940"/>
              <a:gd name="connsiteX119" fmla="*/ 268627 w 4519987"/>
              <a:gd name="connsiteY119" fmla="*/ 1200150 h 4496940"/>
              <a:gd name="connsiteX120" fmla="*/ 287677 w 4519987"/>
              <a:gd name="connsiteY120" fmla="*/ 1152525 h 4496940"/>
              <a:gd name="connsiteX121" fmla="*/ 316252 w 4519987"/>
              <a:gd name="connsiteY121" fmla="*/ 1114425 h 4496940"/>
              <a:gd name="connsiteX122" fmla="*/ 363877 w 4519987"/>
              <a:gd name="connsiteY122" fmla="*/ 1038225 h 4496940"/>
              <a:gd name="connsiteX123" fmla="*/ 382927 w 4519987"/>
              <a:gd name="connsiteY123" fmla="*/ 1009650 h 4496940"/>
              <a:gd name="connsiteX124" fmla="*/ 440077 w 4519987"/>
              <a:gd name="connsiteY124" fmla="*/ 904875 h 4496940"/>
              <a:gd name="connsiteX125" fmla="*/ 478177 w 4519987"/>
              <a:gd name="connsiteY125" fmla="*/ 857250 h 4496940"/>
              <a:gd name="connsiteX126" fmla="*/ 497227 w 4519987"/>
              <a:gd name="connsiteY126" fmla="*/ 828675 h 4496940"/>
              <a:gd name="connsiteX127" fmla="*/ 535327 w 4519987"/>
              <a:gd name="connsiteY127" fmla="*/ 800100 h 4496940"/>
              <a:gd name="connsiteX128" fmla="*/ 602002 w 4519987"/>
              <a:gd name="connsiteY128" fmla="*/ 733425 h 4496940"/>
              <a:gd name="connsiteX129" fmla="*/ 668677 w 4519987"/>
              <a:gd name="connsiteY129" fmla="*/ 676275 h 4496940"/>
              <a:gd name="connsiteX130" fmla="*/ 697252 w 4519987"/>
              <a:gd name="connsiteY130" fmla="*/ 657225 h 4496940"/>
              <a:gd name="connsiteX131" fmla="*/ 840127 w 4519987"/>
              <a:gd name="connsiteY131" fmla="*/ 533400 h 4496940"/>
              <a:gd name="connsiteX132" fmla="*/ 887752 w 4519987"/>
              <a:gd name="connsiteY132" fmla="*/ 504825 h 4496940"/>
              <a:gd name="connsiteX133" fmla="*/ 1167152 w 4519987"/>
              <a:gd name="connsiteY133" fmla="*/ 311150 h 4496940"/>
              <a:gd name="connsiteX134" fmla="*/ 1268752 w 4519987"/>
              <a:gd name="connsiteY134" fmla="*/ 285750 h 4496940"/>
              <a:gd name="connsiteX135" fmla="*/ 1411627 w 4519987"/>
              <a:gd name="connsiteY135" fmla="*/ 190500 h 4496940"/>
              <a:gd name="connsiteX136" fmla="*/ 1449727 w 4519987"/>
              <a:gd name="connsiteY136" fmla="*/ 161925 h 4496940"/>
              <a:gd name="connsiteX137" fmla="*/ 1525927 w 4519987"/>
              <a:gd name="connsiteY137" fmla="*/ 152400 h 4496940"/>
              <a:gd name="connsiteX138" fmla="*/ 1583077 w 4519987"/>
              <a:gd name="connsiteY138" fmla="*/ 142875 h 4496940"/>
              <a:gd name="connsiteX139" fmla="*/ 1716427 w 4519987"/>
              <a:gd name="connsiteY139" fmla="*/ 123825 h 4496940"/>
              <a:gd name="connsiteX140" fmla="*/ 1811677 w 4519987"/>
              <a:gd name="connsiteY140" fmla="*/ 114300 h 4496940"/>
              <a:gd name="connsiteX141" fmla="*/ 1859302 w 4519987"/>
              <a:gd name="connsiteY141" fmla="*/ 104775 h 4496940"/>
              <a:gd name="connsiteX142" fmla="*/ 1916452 w 4519987"/>
              <a:gd name="connsiteY142" fmla="*/ 95250 h 4496940"/>
              <a:gd name="connsiteX143" fmla="*/ 2030752 w 4519987"/>
              <a:gd name="connsiteY143" fmla="*/ 66675 h 4496940"/>
              <a:gd name="connsiteX144" fmla="*/ 2097427 w 4519987"/>
              <a:gd name="connsiteY144" fmla="*/ 47625 h 4496940"/>
              <a:gd name="connsiteX145" fmla="*/ 2164102 w 4519987"/>
              <a:gd name="connsiteY145" fmla="*/ 38100 h 4496940"/>
              <a:gd name="connsiteX146" fmla="*/ 2392702 w 4519987"/>
              <a:gd name="connsiteY14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50077 w 4519987"/>
              <a:gd name="connsiteY24" fmla="*/ 1143000 h 4496940"/>
              <a:gd name="connsiteX25" fmla="*/ 4259602 w 4519987"/>
              <a:gd name="connsiteY25" fmla="*/ 1190625 h 4496940"/>
              <a:gd name="connsiteX26" fmla="*/ 4307227 w 4519987"/>
              <a:gd name="connsiteY26" fmla="*/ 1266825 h 4496940"/>
              <a:gd name="connsiteX27" fmla="*/ 4345327 w 4519987"/>
              <a:gd name="connsiteY27" fmla="*/ 1362075 h 4496940"/>
              <a:gd name="connsiteX28" fmla="*/ 4373902 w 4519987"/>
              <a:gd name="connsiteY28" fmla="*/ 1428750 h 4496940"/>
              <a:gd name="connsiteX29" fmla="*/ 4392952 w 4519987"/>
              <a:gd name="connsiteY29" fmla="*/ 1552575 h 4496940"/>
              <a:gd name="connsiteX30" fmla="*/ 4402477 w 4519987"/>
              <a:gd name="connsiteY30" fmla="*/ 1590675 h 4496940"/>
              <a:gd name="connsiteX31" fmla="*/ 4431052 w 4519987"/>
              <a:gd name="connsiteY31" fmla="*/ 1685925 h 4496940"/>
              <a:gd name="connsiteX32" fmla="*/ 4519952 w 4519987"/>
              <a:gd name="connsiteY32" fmla="*/ 2181225 h 4496940"/>
              <a:gd name="connsiteX33" fmla="*/ 4446927 w 4519987"/>
              <a:gd name="connsiteY33" fmla="*/ 2768600 h 4496940"/>
              <a:gd name="connsiteX34" fmla="*/ 4383427 w 4519987"/>
              <a:gd name="connsiteY34" fmla="*/ 2990850 h 4496940"/>
              <a:gd name="connsiteX35" fmla="*/ 4278652 w 4519987"/>
              <a:gd name="connsiteY35" fmla="*/ 3248025 h 4496940"/>
              <a:gd name="connsiteX36" fmla="*/ 4259602 w 4519987"/>
              <a:gd name="connsiteY36" fmla="*/ 3276600 h 4496940"/>
              <a:gd name="connsiteX37" fmla="*/ 4221502 w 4519987"/>
              <a:gd name="connsiteY37" fmla="*/ 3333750 h 4496940"/>
              <a:gd name="connsiteX38" fmla="*/ 4211977 w 4519987"/>
              <a:gd name="connsiteY38" fmla="*/ 3362325 h 4496940"/>
              <a:gd name="connsiteX39" fmla="*/ 4183402 w 4519987"/>
              <a:gd name="connsiteY39" fmla="*/ 3400425 h 4496940"/>
              <a:gd name="connsiteX40" fmla="*/ 4164352 w 4519987"/>
              <a:gd name="connsiteY40" fmla="*/ 3429000 h 4496940"/>
              <a:gd name="connsiteX41" fmla="*/ 4088152 w 4519987"/>
              <a:gd name="connsiteY41" fmla="*/ 3495675 h 4496940"/>
              <a:gd name="connsiteX42" fmla="*/ 4059577 w 4519987"/>
              <a:gd name="connsiteY42" fmla="*/ 3533775 h 4496940"/>
              <a:gd name="connsiteX43" fmla="*/ 4002427 w 4519987"/>
              <a:gd name="connsiteY43" fmla="*/ 3600450 h 4496940"/>
              <a:gd name="connsiteX44" fmla="*/ 3983377 w 4519987"/>
              <a:gd name="connsiteY44" fmla="*/ 3629025 h 4496940"/>
              <a:gd name="connsiteX45" fmla="*/ 3954802 w 4519987"/>
              <a:gd name="connsiteY45" fmla="*/ 3648075 h 4496940"/>
              <a:gd name="connsiteX46" fmla="*/ 3907177 w 4519987"/>
              <a:gd name="connsiteY46" fmla="*/ 3686175 h 4496940"/>
              <a:gd name="connsiteX47" fmla="*/ 3869077 w 4519987"/>
              <a:gd name="connsiteY47" fmla="*/ 3724275 h 4496940"/>
              <a:gd name="connsiteX48" fmla="*/ 3792877 w 4519987"/>
              <a:gd name="connsiteY48" fmla="*/ 3781425 h 4496940"/>
              <a:gd name="connsiteX49" fmla="*/ 3783352 w 4519987"/>
              <a:gd name="connsiteY49" fmla="*/ 3810000 h 4496940"/>
              <a:gd name="connsiteX50" fmla="*/ 3745252 w 4519987"/>
              <a:gd name="connsiteY50" fmla="*/ 3819525 h 4496940"/>
              <a:gd name="connsiteX51" fmla="*/ 3678577 w 4519987"/>
              <a:gd name="connsiteY51" fmla="*/ 3848100 h 4496940"/>
              <a:gd name="connsiteX52" fmla="*/ 3659527 w 4519987"/>
              <a:gd name="connsiteY52" fmla="*/ 3971925 h 4496940"/>
              <a:gd name="connsiteX53" fmla="*/ 3630952 w 4519987"/>
              <a:gd name="connsiteY53" fmla="*/ 4010025 h 4496940"/>
              <a:gd name="connsiteX54" fmla="*/ 3621427 w 4519987"/>
              <a:gd name="connsiteY54" fmla="*/ 4038600 h 4496940"/>
              <a:gd name="connsiteX55" fmla="*/ 3554752 w 4519987"/>
              <a:gd name="connsiteY55" fmla="*/ 4095750 h 4496940"/>
              <a:gd name="connsiteX56" fmla="*/ 3516652 w 4519987"/>
              <a:gd name="connsiteY56" fmla="*/ 4114800 h 4496940"/>
              <a:gd name="connsiteX57" fmla="*/ 3497602 w 4519987"/>
              <a:gd name="connsiteY57" fmla="*/ 4143375 h 4496940"/>
              <a:gd name="connsiteX58" fmla="*/ 3383302 w 4519987"/>
              <a:gd name="connsiteY58" fmla="*/ 4210050 h 4496940"/>
              <a:gd name="connsiteX59" fmla="*/ 3335677 w 4519987"/>
              <a:gd name="connsiteY59" fmla="*/ 4238625 h 4496940"/>
              <a:gd name="connsiteX60" fmla="*/ 3288052 w 4519987"/>
              <a:gd name="connsiteY60" fmla="*/ 4248150 h 4496940"/>
              <a:gd name="connsiteX61" fmla="*/ 3240427 w 4519987"/>
              <a:gd name="connsiteY61" fmla="*/ 4267200 h 4496940"/>
              <a:gd name="connsiteX62" fmla="*/ 3068977 w 4519987"/>
              <a:gd name="connsiteY62" fmla="*/ 4286250 h 4496940"/>
              <a:gd name="connsiteX63" fmla="*/ 2935627 w 4519987"/>
              <a:gd name="connsiteY63" fmla="*/ 4333875 h 4496940"/>
              <a:gd name="connsiteX64" fmla="*/ 2811802 w 4519987"/>
              <a:gd name="connsiteY64" fmla="*/ 4371975 h 4496940"/>
              <a:gd name="connsiteX65" fmla="*/ 2745127 w 4519987"/>
              <a:gd name="connsiteY65" fmla="*/ 4410075 h 4496940"/>
              <a:gd name="connsiteX66" fmla="*/ 2697502 w 4519987"/>
              <a:gd name="connsiteY66" fmla="*/ 4429125 h 4496940"/>
              <a:gd name="connsiteX67" fmla="*/ 2640352 w 4519987"/>
              <a:gd name="connsiteY67" fmla="*/ 4457700 h 4496940"/>
              <a:gd name="connsiteX68" fmla="*/ 2583202 w 4519987"/>
              <a:gd name="connsiteY68" fmla="*/ 4467225 h 4496940"/>
              <a:gd name="connsiteX69" fmla="*/ 2545102 w 4519987"/>
              <a:gd name="connsiteY69" fmla="*/ 4486275 h 4496940"/>
              <a:gd name="connsiteX70" fmla="*/ 2306977 w 4519987"/>
              <a:gd name="connsiteY70" fmla="*/ 4476750 h 4496940"/>
              <a:gd name="connsiteX71" fmla="*/ 2202202 w 4519987"/>
              <a:gd name="connsiteY71" fmla="*/ 4457700 h 4496940"/>
              <a:gd name="connsiteX72" fmla="*/ 2126002 w 4519987"/>
              <a:gd name="connsiteY72" fmla="*/ 4429125 h 4496940"/>
              <a:gd name="connsiteX73" fmla="*/ 1935502 w 4519987"/>
              <a:gd name="connsiteY73" fmla="*/ 4400550 h 4496940"/>
              <a:gd name="connsiteX74" fmla="*/ 1821202 w 4519987"/>
              <a:gd name="connsiteY74" fmla="*/ 4371975 h 4496940"/>
              <a:gd name="connsiteX75" fmla="*/ 1754527 w 4519987"/>
              <a:gd name="connsiteY75" fmla="*/ 4352925 h 4496940"/>
              <a:gd name="connsiteX76" fmla="*/ 1687852 w 4519987"/>
              <a:gd name="connsiteY76" fmla="*/ 4343400 h 4496940"/>
              <a:gd name="connsiteX77" fmla="*/ 1573552 w 4519987"/>
              <a:gd name="connsiteY77" fmla="*/ 4305300 h 4496940"/>
              <a:gd name="connsiteX78" fmla="*/ 1402102 w 4519987"/>
              <a:gd name="connsiteY78" fmla="*/ 4276725 h 4496940"/>
              <a:gd name="connsiteX79" fmla="*/ 1287802 w 4519987"/>
              <a:gd name="connsiteY79" fmla="*/ 4229100 h 4496940"/>
              <a:gd name="connsiteX80" fmla="*/ 1221127 w 4519987"/>
              <a:gd name="connsiteY80" fmla="*/ 4200525 h 4496940"/>
              <a:gd name="connsiteX81" fmla="*/ 1144927 w 4519987"/>
              <a:gd name="connsiteY81" fmla="*/ 4171950 h 4496940"/>
              <a:gd name="connsiteX82" fmla="*/ 1087777 w 4519987"/>
              <a:gd name="connsiteY82" fmla="*/ 4143375 h 4496940"/>
              <a:gd name="connsiteX83" fmla="*/ 1030627 w 4519987"/>
              <a:gd name="connsiteY83" fmla="*/ 4124325 h 4496940"/>
              <a:gd name="connsiteX84" fmla="*/ 925852 w 4519987"/>
              <a:gd name="connsiteY84" fmla="*/ 4067175 h 4496940"/>
              <a:gd name="connsiteX85" fmla="*/ 830602 w 4519987"/>
              <a:gd name="connsiteY85" fmla="*/ 3981450 h 4496940"/>
              <a:gd name="connsiteX86" fmla="*/ 763927 w 4519987"/>
              <a:gd name="connsiteY86" fmla="*/ 3914775 h 4496940"/>
              <a:gd name="connsiteX87" fmla="*/ 725827 w 4519987"/>
              <a:gd name="connsiteY87" fmla="*/ 3876675 h 4496940"/>
              <a:gd name="connsiteX88" fmla="*/ 697252 w 4519987"/>
              <a:gd name="connsiteY88" fmla="*/ 3838575 h 4496940"/>
              <a:gd name="connsiteX89" fmla="*/ 640102 w 4519987"/>
              <a:gd name="connsiteY89" fmla="*/ 3781425 h 4496940"/>
              <a:gd name="connsiteX90" fmla="*/ 611527 w 4519987"/>
              <a:gd name="connsiteY90" fmla="*/ 3733800 h 4496940"/>
              <a:gd name="connsiteX91" fmla="*/ 554377 w 4519987"/>
              <a:gd name="connsiteY91" fmla="*/ 3657600 h 4496940"/>
              <a:gd name="connsiteX92" fmla="*/ 525802 w 4519987"/>
              <a:gd name="connsiteY92" fmla="*/ 3609975 h 4496940"/>
              <a:gd name="connsiteX93" fmla="*/ 497227 w 4519987"/>
              <a:gd name="connsiteY93" fmla="*/ 3552825 h 4496940"/>
              <a:gd name="connsiteX94" fmla="*/ 440077 w 4519987"/>
              <a:gd name="connsiteY94" fmla="*/ 3495675 h 4496940"/>
              <a:gd name="connsiteX95" fmla="*/ 411502 w 4519987"/>
              <a:gd name="connsiteY95" fmla="*/ 3448050 h 4496940"/>
              <a:gd name="connsiteX96" fmla="*/ 278152 w 4519987"/>
              <a:gd name="connsiteY96" fmla="*/ 3257550 h 4496940"/>
              <a:gd name="connsiteX97" fmla="*/ 249577 w 4519987"/>
              <a:gd name="connsiteY97" fmla="*/ 3200400 h 4496940"/>
              <a:gd name="connsiteX98" fmla="*/ 240052 w 4519987"/>
              <a:gd name="connsiteY98" fmla="*/ 3162300 h 4496940"/>
              <a:gd name="connsiteX99" fmla="*/ 221002 w 4519987"/>
              <a:gd name="connsiteY99" fmla="*/ 3105150 h 4496940"/>
              <a:gd name="connsiteX100" fmla="*/ 173377 w 4519987"/>
              <a:gd name="connsiteY100" fmla="*/ 3019425 h 4496940"/>
              <a:gd name="connsiteX101" fmla="*/ 144802 w 4519987"/>
              <a:gd name="connsiteY101" fmla="*/ 2924175 h 4496940"/>
              <a:gd name="connsiteX102" fmla="*/ 68602 w 4519987"/>
              <a:gd name="connsiteY102" fmla="*/ 2724150 h 4496940"/>
              <a:gd name="connsiteX103" fmla="*/ 49552 w 4519987"/>
              <a:gd name="connsiteY103" fmla="*/ 2638425 h 4496940"/>
              <a:gd name="connsiteX104" fmla="*/ 40027 w 4519987"/>
              <a:gd name="connsiteY104" fmla="*/ 2562225 h 4496940"/>
              <a:gd name="connsiteX105" fmla="*/ 30502 w 4519987"/>
              <a:gd name="connsiteY105" fmla="*/ 2514600 h 4496940"/>
              <a:gd name="connsiteX106" fmla="*/ 11452 w 4519987"/>
              <a:gd name="connsiteY106" fmla="*/ 2400300 h 4496940"/>
              <a:gd name="connsiteX107" fmla="*/ 20977 w 4519987"/>
              <a:gd name="connsiteY107" fmla="*/ 1905000 h 4496940"/>
              <a:gd name="connsiteX108" fmla="*/ 30502 w 4519987"/>
              <a:gd name="connsiteY108" fmla="*/ 1838325 h 4496940"/>
              <a:gd name="connsiteX109" fmla="*/ 49552 w 4519987"/>
              <a:gd name="connsiteY109" fmla="*/ 1781175 h 4496940"/>
              <a:gd name="connsiteX110" fmla="*/ 59077 w 4519987"/>
              <a:gd name="connsiteY110" fmla="*/ 1743075 h 4496940"/>
              <a:gd name="connsiteX111" fmla="*/ 78127 w 4519987"/>
              <a:gd name="connsiteY111" fmla="*/ 1685925 h 4496940"/>
              <a:gd name="connsiteX112" fmla="*/ 87652 w 4519987"/>
              <a:gd name="connsiteY112" fmla="*/ 1638300 h 4496940"/>
              <a:gd name="connsiteX113" fmla="*/ 106702 w 4519987"/>
              <a:gd name="connsiteY113" fmla="*/ 1590675 h 4496940"/>
              <a:gd name="connsiteX114" fmla="*/ 135277 w 4519987"/>
              <a:gd name="connsiteY114" fmla="*/ 1504950 h 4496940"/>
              <a:gd name="connsiteX115" fmla="*/ 154327 w 4519987"/>
              <a:gd name="connsiteY115" fmla="*/ 1419225 h 4496940"/>
              <a:gd name="connsiteX116" fmla="*/ 230527 w 4519987"/>
              <a:gd name="connsiteY116" fmla="*/ 1276350 h 4496940"/>
              <a:gd name="connsiteX117" fmla="*/ 240052 w 4519987"/>
              <a:gd name="connsiteY117" fmla="*/ 1247775 h 4496940"/>
              <a:gd name="connsiteX118" fmla="*/ 268627 w 4519987"/>
              <a:gd name="connsiteY118" fmla="*/ 1200150 h 4496940"/>
              <a:gd name="connsiteX119" fmla="*/ 287677 w 4519987"/>
              <a:gd name="connsiteY119" fmla="*/ 1152525 h 4496940"/>
              <a:gd name="connsiteX120" fmla="*/ 316252 w 4519987"/>
              <a:gd name="connsiteY120" fmla="*/ 1114425 h 4496940"/>
              <a:gd name="connsiteX121" fmla="*/ 363877 w 4519987"/>
              <a:gd name="connsiteY121" fmla="*/ 1038225 h 4496940"/>
              <a:gd name="connsiteX122" fmla="*/ 382927 w 4519987"/>
              <a:gd name="connsiteY122" fmla="*/ 1009650 h 4496940"/>
              <a:gd name="connsiteX123" fmla="*/ 440077 w 4519987"/>
              <a:gd name="connsiteY123" fmla="*/ 904875 h 4496940"/>
              <a:gd name="connsiteX124" fmla="*/ 478177 w 4519987"/>
              <a:gd name="connsiteY124" fmla="*/ 857250 h 4496940"/>
              <a:gd name="connsiteX125" fmla="*/ 497227 w 4519987"/>
              <a:gd name="connsiteY125" fmla="*/ 828675 h 4496940"/>
              <a:gd name="connsiteX126" fmla="*/ 535327 w 4519987"/>
              <a:gd name="connsiteY126" fmla="*/ 800100 h 4496940"/>
              <a:gd name="connsiteX127" fmla="*/ 602002 w 4519987"/>
              <a:gd name="connsiteY127" fmla="*/ 733425 h 4496940"/>
              <a:gd name="connsiteX128" fmla="*/ 668677 w 4519987"/>
              <a:gd name="connsiteY128" fmla="*/ 676275 h 4496940"/>
              <a:gd name="connsiteX129" fmla="*/ 697252 w 4519987"/>
              <a:gd name="connsiteY129" fmla="*/ 657225 h 4496940"/>
              <a:gd name="connsiteX130" fmla="*/ 840127 w 4519987"/>
              <a:gd name="connsiteY130" fmla="*/ 533400 h 4496940"/>
              <a:gd name="connsiteX131" fmla="*/ 887752 w 4519987"/>
              <a:gd name="connsiteY131" fmla="*/ 504825 h 4496940"/>
              <a:gd name="connsiteX132" fmla="*/ 1167152 w 4519987"/>
              <a:gd name="connsiteY132" fmla="*/ 311150 h 4496940"/>
              <a:gd name="connsiteX133" fmla="*/ 1268752 w 4519987"/>
              <a:gd name="connsiteY133" fmla="*/ 285750 h 4496940"/>
              <a:gd name="connsiteX134" fmla="*/ 1411627 w 4519987"/>
              <a:gd name="connsiteY134" fmla="*/ 190500 h 4496940"/>
              <a:gd name="connsiteX135" fmla="*/ 1449727 w 4519987"/>
              <a:gd name="connsiteY135" fmla="*/ 161925 h 4496940"/>
              <a:gd name="connsiteX136" fmla="*/ 1525927 w 4519987"/>
              <a:gd name="connsiteY136" fmla="*/ 152400 h 4496940"/>
              <a:gd name="connsiteX137" fmla="*/ 1583077 w 4519987"/>
              <a:gd name="connsiteY137" fmla="*/ 142875 h 4496940"/>
              <a:gd name="connsiteX138" fmla="*/ 1716427 w 4519987"/>
              <a:gd name="connsiteY138" fmla="*/ 123825 h 4496940"/>
              <a:gd name="connsiteX139" fmla="*/ 1811677 w 4519987"/>
              <a:gd name="connsiteY139" fmla="*/ 114300 h 4496940"/>
              <a:gd name="connsiteX140" fmla="*/ 1859302 w 4519987"/>
              <a:gd name="connsiteY140" fmla="*/ 104775 h 4496940"/>
              <a:gd name="connsiteX141" fmla="*/ 1916452 w 4519987"/>
              <a:gd name="connsiteY141" fmla="*/ 95250 h 4496940"/>
              <a:gd name="connsiteX142" fmla="*/ 2030752 w 4519987"/>
              <a:gd name="connsiteY142" fmla="*/ 66675 h 4496940"/>
              <a:gd name="connsiteX143" fmla="*/ 2097427 w 4519987"/>
              <a:gd name="connsiteY143" fmla="*/ 47625 h 4496940"/>
              <a:gd name="connsiteX144" fmla="*/ 2164102 w 4519987"/>
              <a:gd name="connsiteY144" fmla="*/ 38100 h 4496940"/>
              <a:gd name="connsiteX145" fmla="*/ 2392702 w 4519987"/>
              <a:gd name="connsiteY14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259602 w 4519987"/>
              <a:gd name="connsiteY24" fmla="*/ 1190625 h 4496940"/>
              <a:gd name="connsiteX25" fmla="*/ 4307227 w 4519987"/>
              <a:gd name="connsiteY25" fmla="*/ 1266825 h 4496940"/>
              <a:gd name="connsiteX26" fmla="*/ 4345327 w 4519987"/>
              <a:gd name="connsiteY26" fmla="*/ 1362075 h 4496940"/>
              <a:gd name="connsiteX27" fmla="*/ 4373902 w 4519987"/>
              <a:gd name="connsiteY27" fmla="*/ 1428750 h 4496940"/>
              <a:gd name="connsiteX28" fmla="*/ 4392952 w 4519987"/>
              <a:gd name="connsiteY28" fmla="*/ 1552575 h 4496940"/>
              <a:gd name="connsiteX29" fmla="*/ 4402477 w 4519987"/>
              <a:gd name="connsiteY29" fmla="*/ 1590675 h 4496940"/>
              <a:gd name="connsiteX30" fmla="*/ 4431052 w 4519987"/>
              <a:gd name="connsiteY30" fmla="*/ 1685925 h 4496940"/>
              <a:gd name="connsiteX31" fmla="*/ 4519952 w 4519987"/>
              <a:gd name="connsiteY31" fmla="*/ 2181225 h 4496940"/>
              <a:gd name="connsiteX32" fmla="*/ 4446927 w 4519987"/>
              <a:gd name="connsiteY32" fmla="*/ 2768600 h 4496940"/>
              <a:gd name="connsiteX33" fmla="*/ 4383427 w 4519987"/>
              <a:gd name="connsiteY33" fmla="*/ 2990850 h 4496940"/>
              <a:gd name="connsiteX34" fmla="*/ 4278652 w 4519987"/>
              <a:gd name="connsiteY34" fmla="*/ 3248025 h 4496940"/>
              <a:gd name="connsiteX35" fmla="*/ 4259602 w 4519987"/>
              <a:gd name="connsiteY35" fmla="*/ 3276600 h 4496940"/>
              <a:gd name="connsiteX36" fmla="*/ 4221502 w 4519987"/>
              <a:gd name="connsiteY36" fmla="*/ 3333750 h 4496940"/>
              <a:gd name="connsiteX37" fmla="*/ 4211977 w 4519987"/>
              <a:gd name="connsiteY37" fmla="*/ 3362325 h 4496940"/>
              <a:gd name="connsiteX38" fmla="*/ 4183402 w 4519987"/>
              <a:gd name="connsiteY38" fmla="*/ 3400425 h 4496940"/>
              <a:gd name="connsiteX39" fmla="*/ 4164352 w 4519987"/>
              <a:gd name="connsiteY39" fmla="*/ 3429000 h 4496940"/>
              <a:gd name="connsiteX40" fmla="*/ 4088152 w 4519987"/>
              <a:gd name="connsiteY40" fmla="*/ 3495675 h 4496940"/>
              <a:gd name="connsiteX41" fmla="*/ 4059577 w 4519987"/>
              <a:gd name="connsiteY41" fmla="*/ 3533775 h 4496940"/>
              <a:gd name="connsiteX42" fmla="*/ 4002427 w 4519987"/>
              <a:gd name="connsiteY42" fmla="*/ 3600450 h 4496940"/>
              <a:gd name="connsiteX43" fmla="*/ 3983377 w 4519987"/>
              <a:gd name="connsiteY43" fmla="*/ 3629025 h 4496940"/>
              <a:gd name="connsiteX44" fmla="*/ 3954802 w 4519987"/>
              <a:gd name="connsiteY44" fmla="*/ 3648075 h 4496940"/>
              <a:gd name="connsiteX45" fmla="*/ 3907177 w 4519987"/>
              <a:gd name="connsiteY45" fmla="*/ 3686175 h 4496940"/>
              <a:gd name="connsiteX46" fmla="*/ 3869077 w 4519987"/>
              <a:gd name="connsiteY46" fmla="*/ 3724275 h 4496940"/>
              <a:gd name="connsiteX47" fmla="*/ 3792877 w 4519987"/>
              <a:gd name="connsiteY47" fmla="*/ 3781425 h 4496940"/>
              <a:gd name="connsiteX48" fmla="*/ 3783352 w 4519987"/>
              <a:gd name="connsiteY48" fmla="*/ 3810000 h 4496940"/>
              <a:gd name="connsiteX49" fmla="*/ 3745252 w 4519987"/>
              <a:gd name="connsiteY49" fmla="*/ 3819525 h 4496940"/>
              <a:gd name="connsiteX50" fmla="*/ 3678577 w 4519987"/>
              <a:gd name="connsiteY50" fmla="*/ 3848100 h 4496940"/>
              <a:gd name="connsiteX51" fmla="*/ 3659527 w 4519987"/>
              <a:gd name="connsiteY51" fmla="*/ 3971925 h 4496940"/>
              <a:gd name="connsiteX52" fmla="*/ 3630952 w 4519987"/>
              <a:gd name="connsiteY52" fmla="*/ 4010025 h 4496940"/>
              <a:gd name="connsiteX53" fmla="*/ 3621427 w 4519987"/>
              <a:gd name="connsiteY53" fmla="*/ 4038600 h 4496940"/>
              <a:gd name="connsiteX54" fmla="*/ 3554752 w 4519987"/>
              <a:gd name="connsiteY54" fmla="*/ 4095750 h 4496940"/>
              <a:gd name="connsiteX55" fmla="*/ 3516652 w 4519987"/>
              <a:gd name="connsiteY55" fmla="*/ 4114800 h 4496940"/>
              <a:gd name="connsiteX56" fmla="*/ 3497602 w 4519987"/>
              <a:gd name="connsiteY56" fmla="*/ 4143375 h 4496940"/>
              <a:gd name="connsiteX57" fmla="*/ 3383302 w 4519987"/>
              <a:gd name="connsiteY57" fmla="*/ 4210050 h 4496940"/>
              <a:gd name="connsiteX58" fmla="*/ 3335677 w 4519987"/>
              <a:gd name="connsiteY58" fmla="*/ 4238625 h 4496940"/>
              <a:gd name="connsiteX59" fmla="*/ 3288052 w 4519987"/>
              <a:gd name="connsiteY59" fmla="*/ 4248150 h 4496940"/>
              <a:gd name="connsiteX60" fmla="*/ 3240427 w 4519987"/>
              <a:gd name="connsiteY60" fmla="*/ 4267200 h 4496940"/>
              <a:gd name="connsiteX61" fmla="*/ 3068977 w 4519987"/>
              <a:gd name="connsiteY61" fmla="*/ 4286250 h 4496940"/>
              <a:gd name="connsiteX62" fmla="*/ 2935627 w 4519987"/>
              <a:gd name="connsiteY62" fmla="*/ 4333875 h 4496940"/>
              <a:gd name="connsiteX63" fmla="*/ 2811802 w 4519987"/>
              <a:gd name="connsiteY63" fmla="*/ 4371975 h 4496940"/>
              <a:gd name="connsiteX64" fmla="*/ 2745127 w 4519987"/>
              <a:gd name="connsiteY64" fmla="*/ 4410075 h 4496940"/>
              <a:gd name="connsiteX65" fmla="*/ 2697502 w 4519987"/>
              <a:gd name="connsiteY65" fmla="*/ 4429125 h 4496940"/>
              <a:gd name="connsiteX66" fmla="*/ 2640352 w 4519987"/>
              <a:gd name="connsiteY66" fmla="*/ 4457700 h 4496940"/>
              <a:gd name="connsiteX67" fmla="*/ 2583202 w 4519987"/>
              <a:gd name="connsiteY67" fmla="*/ 4467225 h 4496940"/>
              <a:gd name="connsiteX68" fmla="*/ 2545102 w 4519987"/>
              <a:gd name="connsiteY68" fmla="*/ 4486275 h 4496940"/>
              <a:gd name="connsiteX69" fmla="*/ 2306977 w 4519987"/>
              <a:gd name="connsiteY69" fmla="*/ 4476750 h 4496940"/>
              <a:gd name="connsiteX70" fmla="*/ 2202202 w 4519987"/>
              <a:gd name="connsiteY70" fmla="*/ 4457700 h 4496940"/>
              <a:gd name="connsiteX71" fmla="*/ 2126002 w 4519987"/>
              <a:gd name="connsiteY71" fmla="*/ 4429125 h 4496940"/>
              <a:gd name="connsiteX72" fmla="*/ 1935502 w 4519987"/>
              <a:gd name="connsiteY72" fmla="*/ 4400550 h 4496940"/>
              <a:gd name="connsiteX73" fmla="*/ 1821202 w 4519987"/>
              <a:gd name="connsiteY73" fmla="*/ 4371975 h 4496940"/>
              <a:gd name="connsiteX74" fmla="*/ 1754527 w 4519987"/>
              <a:gd name="connsiteY74" fmla="*/ 4352925 h 4496940"/>
              <a:gd name="connsiteX75" fmla="*/ 1687852 w 4519987"/>
              <a:gd name="connsiteY75" fmla="*/ 4343400 h 4496940"/>
              <a:gd name="connsiteX76" fmla="*/ 1573552 w 4519987"/>
              <a:gd name="connsiteY76" fmla="*/ 4305300 h 4496940"/>
              <a:gd name="connsiteX77" fmla="*/ 1402102 w 4519987"/>
              <a:gd name="connsiteY77" fmla="*/ 4276725 h 4496940"/>
              <a:gd name="connsiteX78" fmla="*/ 1287802 w 4519987"/>
              <a:gd name="connsiteY78" fmla="*/ 4229100 h 4496940"/>
              <a:gd name="connsiteX79" fmla="*/ 1221127 w 4519987"/>
              <a:gd name="connsiteY79" fmla="*/ 4200525 h 4496940"/>
              <a:gd name="connsiteX80" fmla="*/ 1144927 w 4519987"/>
              <a:gd name="connsiteY80" fmla="*/ 4171950 h 4496940"/>
              <a:gd name="connsiteX81" fmla="*/ 1087777 w 4519987"/>
              <a:gd name="connsiteY81" fmla="*/ 4143375 h 4496940"/>
              <a:gd name="connsiteX82" fmla="*/ 1030627 w 4519987"/>
              <a:gd name="connsiteY82" fmla="*/ 4124325 h 4496940"/>
              <a:gd name="connsiteX83" fmla="*/ 925852 w 4519987"/>
              <a:gd name="connsiteY83" fmla="*/ 4067175 h 4496940"/>
              <a:gd name="connsiteX84" fmla="*/ 830602 w 4519987"/>
              <a:gd name="connsiteY84" fmla="*/ 3981450 h 4496940"/>
              <a:gd name="connsiteX85" fmla="*/ 763927 w 4519987"/>
              <a:gd name="connsiteY85" fmla="*/ 3914775 h 4496940"/>
              <a:gd name="connsiteX86" fmla="*/ 725827 w 4519987"/>
              <a:gd name="connsiteY86" fmla="*/ 3876675 h 4496940"/>
              <a:gd name="connsiteX87" fmla="*/ 697252 w 4519987"/>
              <a:gd name="connsiteY87" fmla="*/ 3838575 h 4496940"/>
              <a:gd name="connsiteX88" fmla="*/ 640102 w 4519987"/>
              <a:gd name="connsiteY88" fmla="*/ 3781425 h 4496940"/>
              <a:gd name="connsiteX89" fmla="*/ 611527 w 4519987"/>
              <a:gd name="connsiteY89" fmla="*/ 3733800 h 4496940"/>
              <a:gd name="connsiteX90" fmla="*/ 554377 w 4519987"/>
              <a:gd name="connsiteY90" fmla="*/ 3657600 h 4496940"/>
              <a:gd name="connsiteX91" fmla="*/ 525802 w 4519987"/>
              <a:gd name="connsiteY91" fmla="*/ 3609975 h 4496940"/>
              <a:gd name="connsiteX92" fmla="*/ 497227 w 4519987"/>
              <a:gd name="connsiteY92" fmla="*/ 3552825 h 4496940"/>
              <a:gd name="connsiteX93" fmla="*/ 440077 w 4519987"/>
              <a:gd name="connsiteY93" fmla="*/ 3495675 h 4496940"/>
              <a:gd name="connsiteX94" fmla="*/ 411502 w 4519987"/>
              <a:gd name="connsiteY94" fmla="*/ 3448050 h 4496940"/>
              <a:gd name="connsiteX95" fmla="*/ 278152 w 4519987"/>
              <a:gd name="connsiteY95" fmla="*/ 3257550 h 4496940"/>
              <a:gd name="connsiteX96" fmla="*/ 249577 w 4519987"/>
              <a:gd name="connsiteY96" fmla="*/ 3200400 h 4496940"/>
              <a:gd name="connsiteX97" fmla="*/ 240052 w 4519987"/>
              <a:gd name="connsiteY97" fmla="*/ 3162300 h 4496940"/>
              <a:gd name="connsiteX98" fmla="*/ 221002 w 4519987"/>
              <a:gd name="connsiteY98" fmla="*/ 3105150 h 4496940"/>
              <a:gd name="connsiteX99" fmla="*/ 173377 w 4519987"/>
              <a:gd name="connsiteY99" fmla="*/ 3019425 h 4496940"/>
              <a:gd name="connsiteX100" fmla="*/ 144802 w 4519987"/>
              <a:gd name="connsiteY100" fmla="*/ 2924175 h 4496940"/>
              <a:gd name="connsiteX101" fmla="*/ 68602 w 4519987"/>
              <a:gd name="connsiteY101" fmla="*/ 2724150 h 4496940"/>
              <a:gd name="connsiteX102" fmla="*/ 49552 w 4519987"/>
              <a:gd name="connsiteY102" fmla="*/ 2638425 h 4496940"/>
              <a:gd name="connsiteX103" fmla="*/ 40027 w 4519987"/>
              <a:gd name="connsiteY103" fmla="*/ 2562225 h 4496940"/>
              <a:gd name="connsiteX104" fmla="*/ 30502 w 4519987"/>
              <a:gd name="connsiteY104" fmla="*/ 2514600 h 4496940"/>
              <a:gd name="connsiteX105" fmla="*/ 11452 w 4519987"/>
              <a:gd name="connsiteY105" fmla="*/ 2400300 h 4496940"/>
              <a:gd name="connsiteX106" fmla="*/ 20977 w 4519987"/>
              <a:gd name="connsiteY106" fmla="*/ 1905000 h 4496940"/>
              <a:gd name="connsiteX107" fmla="*/ 30502 w 4519987"/>
              <a:gd name="connsiteY107" fmla="*/ 1838325 h 4496940"/>
              <a:gd name="connsiteX108" fmla="*/ 49552 w 4519987"/>
              <a:gd name="connsiteY108" fmla="*/ 1781175 h 4496940"/>
              <a:gd name="connsiteX109" fmla="*/ 59077 w 4519987"/>
              <a:gd name="connsiteY109" fmla="*/ 1743075 h 4496940"/>
              <a:gd name="connsiteX110" fmla="*/ 78127 w 4519987"/>
              <a:gd name="connsiteY110" fmla="*/ 1685925 h 4496940"/>
              <a:gd name="connsiteX111" fmla="*/ 87652 w 4519987"/>
              <a:gd name="connsiteY111" fmla="*/ 1638300 h 4496940"/>
              <a:gd name="connsiteX112" fmla="*/ 106702 w 4519987"/>
              <a:gd name="connsiteY112" fmla="*/ 1590675 h 4496940"/>
              <a:gd name="connsiteX113" fmla="*/ 135277 w 4519987"/>
              <a:gd name="connsiteY113" fmla="*/ 1504950 h 4496940"/>
              <a:gd name="connsiteX114" fmla="*/ 154327 w 4519987"/>
              <a:gd name="connsiteY114" fmla="*/ 1419225 h 4496940"/>
              <a:gd name="connsiteX115" fmla="*/ 230527 w 4519987"/>
              <a:gd name="connsiteY115" fmla="*/ 1276350 h 4496940"/>
              <a:gd name="connsiteX116" fmla="*/ 240052 w 4519987"/>
              <a:gd name="connsiteY116" fmla="*/ 1247775 h 4496940"/>
              <a:gd name="connsiteX117" fmla="*/ 268627 w 4519987"/>
              <a:gd name="connsiteY117" fmla="*/ 1200150 h 4496940"/>
              <a:gd name="connsiteX118" fmla="*/ 287677 w 4519987"/>
              <a:gd name="connsiteY118" fmla="*/ 1152525 h 4496940"/>
              <a:gd name="connsiteX119" fmla="*/ 316252 w 4519987"/>
              <a:gd name="connsiteY119" fmla="*/ 1114425 h 4496940"/>
              <a:gd name="connsiteX120" fmla="*/ 363877 w 4519987"/>
              <a:gd name="connsiteY120" fmla="*/ 1038225 h 4496940"/>
              <a:gd name="connsiteX121" fmla="*/ 382927 w 4519987"/>
              <a:gd name="connsiteY121" fmla="*/ 1009650 h 4496940"/>
              <a:gd name="connsiteX122" fmla="*/ 440077 w 4519987"/>
              <a:gd name="connsiteY122" fmla="*/ 904875 h 4496940"/>
              <a:gd name="connsiteX123" fmla="*/ 478177 w 4519987"/>
              <a:gd name="connsiteY123" fmla="*/ 857250 h 4496940"/>
              <a:gd name="connsiteX124" fmla="*/ 497227 w 4519987"/>
              <a:gd name="connsiteY124" fmla="*/ 828675 h 4496940"/>
              <a:gd name="connsiteX125" fmla="*/ 535327 w 4519987"/>
              <a:gd name="connsiteY125" fmla="*/ 800100 h 4496940"/>
              <a:gd name="connsiteX126" fmla="*/ 602002 w 4519987"/>
              <a:gd name="connsiteY126" fmla="*/ 733425 h 4496940"/>
              <a:gd name="connsiteX127" fmla="*/ 668677 w 4519987"/>
              <a:gd name="connsiteY127" fmla="*/ 676275 h 4496940"/>
              <a:gd name="connsiteX128" fmla="*/ 697252 w 4519987"/>
              <a:gd name="connsiteY128" fmla="*/ 657225 h 4496940"/>
              <a:gd name="connsiteX129" fmla="*/ 840127 w 4519987"/>
              <a:gd name="connsiteY129" fmla="*/ 533400 h 4496940"/>
              <a:gd name="connsiteX130" fmla="*/ 887752 w 4519987"/>
              <a:gd name="connsiteY130" fmla="*/ 504825 h 4496940"/>
              <a:gd name="connsiteX131" fmla="*/ 1167152 w 4519987"/>
              <a:gd name="connsiteY131" fmla="*/ 311150 h 4496940"/>
              <a:gd name="connsiteX132" fmla="*/ 1268752 w 4519987"/>
              <a:gd name="connsiteY132" fmla="*/ 285750 h 4496940"/>
              <a:gd name="connsiteX133" fmla="*/ 1411627 w 4519987"/>
              <a:gd name="connsiteY133" fmla="*/ 190500 h 4496940"/>
              <a:gd name="connsiteX134" fmla="*/ 1449727 w 4519987"/>
              <a:gd name="connsiteY134" fmla="*/ 161925 h 4496940"/>
              <a:gd name="connsiteX135" fmla="*/ 1525927 w 4519987"/>
              <a:gd name="connsiteY135" fmla="*/ 152400 h 4496940"/>
              <a:gd name="connsiteX136" fmla="*/ 1583077 w 4519987"/>
              <a:gd name="connsiteY136" fmla="*/ 142875 h 4496940"/>
              <a:gd name="connsiteX137" fmla="*/ 1716427 w 4519987"/>
              <a:gd name="connsiteY137" fmla="*/ 123825 h 4496940"/>
              <a:gd name="connsiteX138" fmla="*/ 1811677 w 4519987"/>
              <a:gd name="connsiteY138" fmla="*/ 114300 h 4496940"/>
              <a:gd name="connsiteX139" fmla="*/ 1859302 w 4519987"/>
              <a:gd name="connsiteY139" fmla="*/ 104775 h 4496940"/>
              <a:gd name="connsiteX140" fmla="*/ 1916452 w 4519987"/>
              <a:gd name="connsiteY140" fmla="*/ 95250 h 4496940"/>
              <a:gd name="connsiteX141" fmla="*/ 2030752 w 4519987"/>
              <a:gd name="connsiteY141" fmla="*/ 66675 h 4496940"/>
              <a:gd name="connsiteX142" fmla="*/ 2097427 w 4519987"/>
              <a:gd name="connsiteY142" fmla="*/ 47625 h 4496940"/>
              <a:gd name="connsiteX143" fmla="*/ 2164102 w 4519987"/>
              <a:gd name="connsiteY143" fmla="*/ 38100 h 4496940"/>
              <a:gd name="connsiteX144" fmla="*/ 2392702 w 4519987"/>
              <a:gd name="connsiteY14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73902 w 4519987"/>
              <a:gd name="connsiteY26" fmla="*/ 1428750 h 4496940"/>
              <a:gd name="connsiteX27" fmla="*/ 4392952 w 4519987"/>
              <a:gd name="connsiteY27" fmla="*/ 1552575 h 4496940"/>
              <a:gd name="connsiteX28" fmla="*/ 4402477 w 4519987"/>
              <a:gd name="connsiteY28" fmla="*/ 1590675 h 4496940"/>
              <a:gd name="connsiteX29" fmla="*/ 4431052 w 4519987"/>
              <a:gd name="connsiteY29" fmla="*/ 1685925 h 4496940"/>
              <a:gd name="connsiteX30" fmla="*/ 4519952 w 4519987"/>
              <a:gd name="connsiteY30" fmla="*/ 2181225 h 4496940"/>
              <a:gd name="connsiteX31" fmla="*/ 4446927 w 4519987"/>
              <a:gd name="connsiteY31" fmla="*/ 2768600 h 4496940"/>
              <a:gd name="connsiteX32" fmla="*/ 4383427 w 4519987"/>
              <a:gd name="connsiteY32" fmla="*/ 2990850 h 4496940"/>
              <a:gd name="connsiteX33" fmla="*/ 4278652 w 4519987"/>
              <a:gd name="connsiteY33" fmla="*/ 3248025 h 4496940"/>
              <a:gd name="connsiteX34" fmla="*/ 4259602 w 4519987"/>
              <a:gd name="connsiteY34" fmla="*/ 3276600 h 4496940"/>
              <a:gd name="connsiteX35" fmla="*/ 4221502 w 4519987"/>
              <a:gd name="connsiteY35" fmla="*/ 3333750 h 4496940"/>
              <a:gd name="connsiteX36" fmla="*/ 4211977 w 4519987"/>
              <a:gd name="connsiteY36" fmla="*/ 3362325 h 4496940"/>
              <a:gd name="connsiteX37" fmla="*/ 4183402 w 4519987"/>
              <a:gd name="connsiteY37" fmla="*/ 3400425 h 4496940"/>
              <a:gd name="connsiteX38" fmla="*/ 4164352 w 4519987"/>
              <a:gd name="connsiteY38" fmla="*/ 3429000 h 4496940"/>
              <a:gd name="connsiteX39" fmla="*/ 4088152 w 4519987"/>
              <a:gd name="connsiteY39" fmla="*/ 3495675 h 4496940"/>
              <a:gd name="connsiteX40" fmla="*/ 4059577 w 4519987"/>
              <a:gd name="connsiteY40" fmla="*/ 3533775 h 4496940"/>
              <a:gd name="connsiteX41" fmla="*/ 4002427 w 4519987"/>
              <a:gd name="connsiteY41" fmla="*/ 3600450 h 4496940"/>
              <a:gd name="connsiteX42" fmla="*/ 3983377 w 4519987"/>
              <a:gd name="connsiteY42" fmla="*/ 3629025 h 4496940"/>
              <a:gd name="connsiteX43" fmla="*/ 3954802 w 4519987"/>
              <a:gd name="connsiteY43" fmla="*/ 3648075 h 4496940"/>
              <a:gd name="connsiteX44" fmla="*/ 3907177 w 4519987"/>
              <a:gd name="connsiteY44" fmla="*/ 3686175 h 4496940"/>
              <a:gd name="connsiteX45" fmla="*/ 3869077 w 4519987"/>
              <a:gd name="connsiteY45" fmla="*/ 3724275 h 4496940"/>
              <a:gd name="connsiteX46" fmla="*/ 3792877 w 4519987"/>
              <a:gd name="connsiteY46" fmla="*/ 3781425 h 4496940"/>
              <a:gd name="connsiteX47" fmla="*/ 3783352 w 4519987"/>
              <a:gd name="connsiteY47" fmla="*/ 3810000 h 4496940"/>
              <a:gd name="connsiteX48" fmla="*/ 3745252 w 4519987"/>
              <a:gd name="connsiteY48" fmla="*/ 3819525 h 4496940"/>
              <a:gd name="connsiteX49" fmla="*/ 3678577 w 4519987"/>
              <a:gd name="connsiteY49" fmla="*/ 3848100 h 4496940"/>
              <a:gd name="connsiteX50" fmla="*/ 3659527 w 4519987"/>
              <a:gd name="connsiteY50" fmla="*/ 3971925 h 4496940"/>
              <a:gd name="connsiteX51" fmla="*/ 3630952 w 4519987"/>
              <a:gd name="connsiteY51" fmla="*/ 4010025 h 4496940"/>
              <a:gd name="connsiteX52" fmla="*/ 3621427 w 4519987"/>
              <a:gd name="connsiteY52" fmla="*/ 4038600 h 4496940"/>
              <a:gd name="connsiteX53" fmla="*/ 3554752 w 4519987"/>
              <a:gd name="connsiteY53" fmla="*/ 4095750 h 4496940"/>
              <a:gd name="connsiteX54" fmla="*/ 3516652 w 4519987"/>
              <a:gd name="connsiteY54" fmla="*/ 4114800 h 4496940"/>
              <a:gd name="connsiteX55" fmla="*/ 3497602 w 4519987"/>
              <a:gd name="connsiteY55" fmla="*/ 4143375 h 4496940"/>
              <a:gd name="connsiteX56" fmla="*/ 3383302 w 4519987"/>
              <a:gd name="connsiteY56" fmla="*/ 4210050 h 4496940"/>
              <a:gd name="connsiteX57" fmla="*/ 3335677 w 4519987"/>
              <a:gd name="connsiteY57" fmla="*/ 4238625 h 4496940"/>
              <a:gd name="connsiteX58" fmla="*/ 3288052 w 4519987"/>
              <a:gd name="connsiteY58" fmla="*/ 4248150 h 4496940"/>
              <a:gd name="connsiteX59" fmla="*/ 3240427 w 4519987"/>
              <a:gd name="connsiteY59" fmla="*/ 4267200 h 4496940"/>
              <a:gd name="connsiteX60" fmla="*/ 3068977 w 4519987"/>
              <a:gd name="connsiteY60" fmla="*/ 4286250 h 4496940"/>
              <a:gd name="connsiteX61" fmla="*/ 2935627 w 4519987"/>
              <a:gd name="connsiteY61" fmla="*/ 4333875 h 4496940"/>
              <a:gd name="connsiteX62" fmla="*/ 2811802 w 4519987"/>
              <a:gd name="connsiteY62" fmla="*/ 4371975 h 4496940"/>
              <a:gd name="connsiteX63" fmla="*/ 2745127 w 4519987"/>
              <a:gd name="connsiteY63" fmla="*/ 4410075 h 4496940"/>
              <a:gd name="connsiteX64" fmla="*/ 2697502 w 4519987"/>
              <a:gd name="connsiteY64" fmla="*/ 4429125 h 4496940"/>
              <a:gd name="connsiteX65" fmla="*/ 2640352 w 4519987"/>
              <a:gd name="connsiteY65" fmla="*/ 4457700 h 4496940"/>
              <a:gd name="connsiteX66" fmla="*/ 2583202 w 4519987"/>
              <a:gd name="connsiteY66" fmla="*/ 4467225 h 4496940"/>
              <a:gd name="connsiteX67" fmla="*/ 2545102 w 4519987"/>
              <a:gd name="connsiteY67" fmla="*/ 4486275 h 4496940"/>
              <a:gd name="connsiteX68" fmla="*/ 2306977 w 4519987"/>
              <a:gd name="connsiteY68" fmla="*/ 4476750 h 4496940"/>
              <a:gd name="connsiteX69" fmla="*/ 2202202 w 4519987"/>
              <a:gd name="connsiteY69" fmla="*/ 4457700 h 4496940"/>
              <a:gd name="connsiteX70" fmla="*/ 2126002 w 4519987"/>
              <a:gd name="connsiteY70" fmla="*/ 4429125 h 4496940"/>
              <a:gd name="connsiteX71" fmla="*/ 1935502 w 4519987"/>
              <a:gd name="connsiteY71" fmla="*/ 4400550 h 4496940"/>
              <a:gd name="connsiteX72" fmla="*/ 1821202 w 4519987"/>
              <a:gd name="connsiteY72" fmla="*/ 4371975 h 4496940"/>
              <a:gd name="connsiteX73" fmla="*/ 1754527 w 4519987"/>
              <a:gd name="connsiteY73" fmla="*/ 4352925 h 4496940"/>
              <a:gd name="connsiteX74" fmla="*/ 1687852 w 4519987"/>
              <a:gd name="connsiteY74" fmla="*/ 4343400 h 4496940"/>
              <a:gd name="connsiteX75" fmla="*/ 1573552 w 4519987"/>
              <a:gd name="connsiteY75" fmla="*/ 4305300 h 4496940"/>
              <a:gd name="connsiteX76" fmla="*/ 1402102 w 4519987"/>
              <a:gd name="connsiteY76" fmla="*/ 4276725 h 4496940"/>
              <a:gd name="connsiteX77" fmla="*/ 1287802 w 4519987"/>
              <a:gd name="connsiteY77" fmla="*/ 4229100 h 4496940"/>
              <a:gd name="connsiteX78" fmla="*/ 1221127 w 4519987"/>
              <a:gd name="connsiteY78" fmla="*/ 4200525 h 4496940"/>
              <a:gd name="connsiteX79" fmla="*/ 1144927 w 4519987"/>
              <a:gd name="connsiteY79" fmla="*/ 4171950 h 4496940"/>
              <a:gd name="connsiteX80" fmla="*/ 1087777 w 4519987"/>
              <a:gd name="connsiteY80" fmla="*/ 4143375 h 4496940"/>
              <a:gd name="connsiteX81" fmla="*/ 1030627 w 4519987"/>
              <a:gd name="connsiteY81" fmla="*/ 4124325 h 4496940"/>
              <a:gd name="connsiteX82" fmla="*/ 925852 w 4519987"/>
              <a:gd name="connsiteY82" fmla="*/ 4067175 h 4496940"/>
              <a:gd name="connsiteX83" fmla="*/ 830602 w 4519987"/>
              <a:gd name="connsiteY83" fmla="*/ 3981450 h 4496940"/>
              <a:gd name="connsiteX84" fmla="*/ 763927 w 4519987"/>
              <a:gd name="connsiteY84" fmla="*/ 3914775 h 4496940"/>
              <a:gd name="connsiteX85" fmla="*/ 725827 w 4519987"/>
              <a:gd name="connsiteY85" fmla="*/ 3876675 h 4496940"/>
              <a:gd name="connsiteX86" fmla="*/ 697252 w 4519987"/>
              <a:gd name="connsiteY86" fmla="*/ 3838575 h 4496940"/>
              <a:gd name="connsiteX87" fmla="*/ 640102 w 4519987"/>
              <a:gd name="connsiteY87" fmla="*/ 3781425 h 4496940"/>
              <a:gd name="connsiteX88" fmla="*/ 611527 w 4519987"/>
              <a:gd name="connsiteY88" fmla="*/ 3733800 h 4496940"/>
              <a:gd name="connsiteX89" fmla="*/ 554377 w 4519987"/>
              <a:gd name="connsiteY89" fmla="*/ 3657600 h 4496940"/>
              <a:gd name="connsiteX90" fmla="*/ 525802 w 4519987"/>
              <a:gd name="connsiteY90" fmla="*/ 3609975 h 4496940"/>
              <a:gd name="connsiteX91" fmla="*/ 497227 w 4519987"/>
              <a:gd name="connsiteY91" fmla="*/ 3552825 h 4496940"/>
              <a:gd name="connsiteX92" fmla="*/ 440077 w 4519987"/>
              <a:gd name="connsiteY92" fmla="*/ 3495675 h 4496940"/>
              <a:gd name="connsiteX93" fmla="*/ 411502 w 4519987"/>
              <a:gd name="connsiteY93" fmla="*/ 3448050 h 4496940"/>
              <a:gd name="connsiteX94" fmla="*/ 278152 w 4519987"/>
              <a:gd name="connsiteY94" fmla="*/ 3257550 h 4496940"/>
              <a:gd name="connsiteX95" fmla="*/ 249577 w 4519987"/>
              <a:gd name="connsiteY95" fmla="*/ 3200400 h 4496940"/>
              <a:gd name="connsiteX96" fmla="*/ 240052 w 4519987"/>
              <a:gd name="connsiteY96" fmla="*/ 3162300 h 4496940"/>
              <a:gd name="connsiteX97" fmla="*/ 221002 w 4519987"/>
              <a:gd name="connsiteY97" fmla="*/ 3105150 h 4496940"/>
              <a:gd name="connsiteX98" fmla="*/ 173377 w 4519987"/>
              <a:gd name="connsiteY98" fmla="*/ 3019425 h 4496940"/>
              <a:gd name="connsiteX99" fmla="*/ 144802 w 4519987"/>
              <a:gd name="connsiteY99" fmla="*/ 2924175 h 4496940"/>
              <a:gd name="connsiteX100" fmla="*/ 68602 w 4519987"/>
              <a:gd name="connsiteY100" fmla="*/ 2724150 h 4496940"/>
              <a:gd name="connsiteX101" fmla="*/ 49552 w 4519987"/>
              <a:gd name="connsiteY101" fmla="*/ 2638425 h 4496940"/>
              <a:gd name="connsiteX102" fmla="*/ 40027 w 4519987"/>
              <a:gd name="connsiteY102" fmla="*/ 2562225 h 4496940"/>
              <a:gd name="connsiteX103" fmla="*/ 30502 w 4519987"/>
              <a:gd name="connsiteY103" fmla="*/ 2514600 h 4496940"/>
              <a:gd name="connsiteX104" fmla="*/ 11452 w 4519987"/>
              <a:gd name="connsiteY104" fmla="*/ 2400300 h 4496940"/>
              <a:gd name="connsiteX105" fmla="*/ 20977 w 4519987"/>
              <a:gd name="connsiteY105" fmla="*/ 1905000 h 4496940"/>
              <a:gd name="connsiteX106" fmla="*/ 30502 w 4519987"/>
              <a:gd name="connsiteY106" fmla="*/ 1838325 h 4496940"/>
              <a:gd name="connsiteX107" fmla="*/ 49552 w 4519987"/>
              <a:gd name="connsiteY107" fmla="*/ 1781175 h 4496940"/>
              <a:gd name="connsiteX108" fmla="*/ 59077 w 4519987"/>
              <a:gd name="connsiteY108" fmla="*/ 1743075 h 4496940"/>
              <a:gd name="connsiteX109" fmla="*/ 78127 w 4519987"/>
              <a:gd name="connsiteY109" fmla="*/ 1685925 h 4496940"/>
              <a:gd name="connsiteX110" fmla="*/ 87652 w 4519987"/>
              <a:gd name="connsiteY110" fmla="*/ 1638300 h 4496940"/>
              <a:gd name="connsiteX111" fmla="*/ 106702 w 4519987"/>
              <a:gd name="connsiteY111" fmla="*/ 1590675 h 4496940"/>
              <a:gd name="connsiteX112" fmla="*/ 135277 w 4519987"/>
              <a:gd name="connsiteY112" fmla="*/ 1504950 h 4496940"/>
              <a:gd name="connsiteX113" fmla="*/ 154327 w 4519987"/>
              <a:gd name="connsiteY113" fmla="*/ 1419225 h 4496940"/>
              <a:gd name="connsiteX114" fmla="*/ 230527 w 4519987"/>
              <a:gd name="connsiteY114" fmla="*/ 1276350 h 4496940"/>
              <a:gd name="connsiteX115" fmla="*/ 240052 w 4519987"/>
              <a:gd name="connsiteY115" fmla="*/ 1247775 h 4496940"/>
              <a:gd name="connsiteX116" fmla="*/ 268627 w 4519987"/>
              <a:gd name="connsiteY116" fmla="*/ 1200150 h 4496940"/>
              <a:gd name="connsiteX117" fmla="*/ 287677 w 4519987"/>
              <a:gd name="connsiteY117" fmla="*/ 1152525 h 4496940"/>
              <a:gd name="connsiteX118" fmla="*/ 316252 w 4519987"/>
              <a:gd name="connsiteY118" fmla="*/ 1114425 h 4496940"/>
              <a:gd name="connsiteX119" fmla="*/ 363877 w 4519987"/>
              <a:gd name="connsiteY119" fmla="*/ 1038225 h 4496940"/>
              <a:gd name="connsiteX120" fmla="*/ 382927 w 4519987"/>
              <a:gd name="connsiteY120" fmla="*/ 1009650 h 4496940"/>
              <a:gd name="connsiteX121" fmla="*/ 440077 w 4519987"/>
              <a:gd name="connsiteY121" fmla="*/ 904875 h 4496940"/>
              <a:gd name="connsiteX122" fmla="*/ 478177 w 4519987"/>
              <a:gd name="connsiteY122" fmla="*/ 857250 h 4496940"/>
              <a:gd name="connsiteX123" fmla="*/ 497227 w 4519987"/>
              <a:gd name="connsiteY123" fmla="*/ 828675 h 4496940"/>
              <a:gd name="connsiteX124" fmla="*/ 535327 w 4519987"/>
              <a:gd name="connsiteY124" fmla="*/ 800100 h 4496940"/>
              <a:gd name="connsiteX125" fmla="*/ 602002 w 4519987"/>
              <a:gd name="connsiteY125" fmla="*/ 733425 h 4496940"/>
              <a:gd name="connsiteX126" fmla="*/ 668677 w 4519987"/>
              <a:gd name="connsiteY126" fmla="*/ 676275 h 4496940"/>
              <a:gd name="connsiteX127" fmla="*/ 697252 w 4519987"/>
              <a:gd name="connsiteY127" fmla="*/ 657225 h 4496940"/>
              <a:gd name="connsiteX128" fmla="*/ 840127 w 4519987"/>
              <a:gd name="connsiteY128" fmla="*/ 533400 h 4496940"/>
              <a:gd name="connsiteX129" fmla="*/ 887752 w 4519987"/>
              <a:gd name="connsiteY129" fmla="*/ 504825 h 4496940"/>
              <a:gd name="connsiteX130" fmla="*/ 1167152 w 4519987"/>
              <a:gd name="connsiteY130" fmla="*/ 311150 h 4496940"/>
              <a:gd name="connsiteX131" fmla="*/ 1268752 w 4519987"/>
              <a:gd name="connsiteY131" fmla="*/ 285750 h 4496940"/>
              <a:gd name="connsiteX132" fmla="*/ 1411627 w 4519987"/>
              <a:gd name="connsiteY132" fmla="*/ 190500 h 4496940"/>
              <a:gd name="connsiteX133" fmla="*/ 1449727 w 4519987"/>
              <a:gd name="connsiteY133" fmla="*/ 161925 h 4496940"/>
              <a:gd name="connsiteX134" fmla="*/ 1525927 w 4519987"/>
              <a:gd name="connsiteY134" fmla="*/ 152400 h 4496940"/>
              <a:gd name="connsiteX135" fmla="*/ 1583077 w 4519987"/>
              <a:gd name="connsiteY135" fmla="*/ 142875 h 4496940"/>
              <a:gd name="connsiteX136" fmla="*/ 1716427 w 4519987"/>
              <a:gd name="connsiteY136" fmla="*/ 123825 h 4496940"/>
              <a:gd name="connsiteX137" fmla="*/ 1811677 w 4519987"/>
              <a:gd name="connsiteY137" fmla="*/ 114300 h 4496940"/>
              <a:gd name="connsiteX138" fmla="*/ 1859302 w 4519987"/>
              <a:gd name="connsiteY138" fmla="*/ 104775 h 4496940"/>
              <a:gd name="connsiteX139" fmla="*/ 1916452 w 4519987"/>
              <a:gd name="connsiteY139" fmla="*/ 95250 h 4496940"/>
              <a:gd name="connsiteX140" fmla="*/ 2030752 w 4519987"/>
              <a:gd name="connsiteY140" fmla="*/ 66675 h 4496940"/>
              <a:gd name="connsiteX141" fmla="*/ 2097427 w 4519987"/>
              <a:gd name="connsiteY141" fmla="*/ 47625 h 4496940"/>
              <a:gd name="connsiteX142" fmla="*/ 2164102 w 4519987"/>
              <a:gd name="connsiteY142" fmla="*/ 38100 h 4496940"/>
              <a:gd name="connsiteX143" fmla="*/ 2392702 w 4519987"/>
              <a:gd name="connsiteY14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02477 w 4519987"/>
              <a:gd name="connsiteY27" fmla="*/ 1590675 h 4496940"/>
              <a:gd name="connsiteX28" fmla="*/ 4431052 w 4519987"/>
              <a:gd name="connsiteY28" fmla="*/ 1685925 h 4496940"/>
              <a:gd name="connsiteX29" fmla="*/ 4519952 w 4519987"/>
              <a:gd name="connsiteY29" fmla="*/ 2181225 h 4496940"/>
              <a:gd name="connsiteX30" fmla="*/ 4446927 w 4519987"/>
              <a:gd name="connsiteY30" fmla="*/ 2768600 h 4496940"/>
              <a:gd name="connsiteX31" fmla="*/ 4383427 w 4519987"/>
              <a:gd name="connsiteY31" fmla="*/ 2990850 h 4496940"/>
              <a:gd name="connsiteX32" fmla="*/ 4278652 w 4519987"/>
              <a:gd name="connsiteY32" fmla="*/ 3248025 h 4496940"/>
              <a:gd name="connsiteX33" fmla="*/ 4259602 w 4519987"/>
              <a:gd name="connsiteY33" fmla="*/ 3276600 h 4496940"/>
              <a:gd name="connsiteX34" fmla="*/ 4221502 w 4519987"/>
              <a:gd name="connsiteY34" fmla="*/ 3333750 h 4496940"/>
              <a:gd name="connsiteX35" fmla="*/ 4211977 w 4519987"/>
              <a:gd name="connsiteY35" fmla="*/ 3362325 h 4496940"/>
              <a:gd name="connsiteX36" fmla="*/ 4183402 w 4519987"/>
              <a:gd name="connsiteY36" fmla="*/ 3400425 h 4496940"/>
              <a:gd name="connsiteX37" fmla="*/ 4164352 w 4519987"/>
              <a:gd name="connsiteY37" fmla="*/ 3429000 h 4496940"/>
              <a:gd name="connsiteX38" fmla="*/ 4088152 w 4519987"/>
              <a:gd name="connsiteY38" fmla="*/ 3495675 h 4496940"/>
              <a:gd name="connsiteX39" fmla="*/ 4059577 w 4519987"/>
              <a:gd name="connsiteY39" fmla="*/ 3533775 h 4496940"/>
              <a:gd name="connsiteX40" fmla="*/ 4002427 w 4519987"/>
              <a:gd name="connsiteY40" fmla="*/ 3600450 h 4496940"/>
              <a:gd name="connsiteX41" fmla="*/ 3983377 w 4519987"/>
              <a:gd name="connsiteY41" fmla="*/ 3629025 h 4496940"/>
              <a:gd name="connsiteX42" fmla="*/ 3954802 w 4519987"/>
              <a:gd name="connsiteY42" fmla="*/ 3648075 h 4496940"/>
              <a:gd name="connsiteX43" fmla="*/ 3907177 w 4519987"/>
              <a:gd name="connsiteY43" fmla="*/ 3686175 h 4496940"/>
              <a:gd name="connsiteX44" fmla="*/ 3869077 w 4519987"/>
              <a:gd name="connsiteY44" fmla="*/ 3724275 h 4496940"/>
              <a:gd name="connsiteX45" fmla="*/ 3792877 w 4519987"/>
              <a:gd name="connsiteY45" fmla="*/ 3781425 h 4496940"/>
              <a:gd name="connsiteX46" fmla="*/ 3783352 w 4519987"/>
              <a:gd name="connsiteY46" fmla="*/ 3810000 h 4496940"/>
              <a:gd name="connsiteX47" fmla="*/ 3745252 w 4519987"/>
              <a:gd name="connsiteY47" fmla="*/ 3819525 h 4496940"/>
              <a:gd name="connsiteX48" fmla="*/ 3678577 w 4519987"/>
              <a:gd name="connsiteY48" fmla="*/ 3848100 h 4496940"/>
              <a:gd name="connsiteX49" fmla="*/ 3659527 w 4519987"/>
              <a:gd name="connsiteY49" fmla="*/ 3971925 h 4496940"/>
              <a:gd name="connsiteX50" fmla="*/ 3630952 w 4519987"/>
              <a:gd name="connsiteY50" fmla="*/ 4010025 h 4496940"/>
              <a:gd name="connsiteX51" fmla="*/ 3621427 w 4519987"/>
              <a:gd name="connsiteY51" fmla="*/ 4038600 h 4496940"/>
              <a:gd name="connsiteX52" fmla="*/ 3554752 w 4519987"/>
              <a:gd name="connsiteY52" fmla="*/ 4095750 h 4496940"/>
              <a:gd name="connsiteX53" fmla="*/ 3516652 w 4519987"/>
              <a:gd name="connsiteY53" fmla="*/ 4114800 h 4496940"/>
              <a:gd name="connsiteX54" fmla="*/ 3497602 w 4519987"/>
              <a:gd name="connsiteY54" fmla="*/ 4143375 h 4496940"/>
              <a:gd name="connsiteX55" fmla="*/ 3383302 w 4519987"/>
              <a:gd name="connsiteY55" fmla="*/ 4210050 h 4496940"/>
              <a:gd name="connsiteX56" fmla="*/ 3335677 w 4519987"/>
              <a:gd name="connsiteY56" fmla="*/ 4238625 h 4496940"/>
              <a:gd name="connsiteX57" fmla="*/ 3288052 w 4519987"/>
              <a:gd name="connsiteY57" fmla="*/ 4248150 h 4496940"/>
              <a:gd name="connsiteX58" fmla="*/ 3240427 w 4519987"/>
              <a:gd name="connsiteY58" fmla="*/ 4267200 h 4496940"/>
              <a:gd name="connsiteX59" fmla="*/ 3068977 w 4519987"/>
              <a:gd name="connsiteY59" fmla="*/ 4286250 h 4496940"/>
              <a:gd name="connsiteX60" fmla="*/ 2935627 w 4519987"/>
              <a:gd name="connsiteY60" fmla="*/ 4333875 h 4496940"/>
              <a:gd name="connsiteX61" fmla="*/ 2811802 w 4519987"/>
              <a:gd name="connsiteY61" fmla="*/ 4371975 h 4496940"/>
              <a:gd name="connsiteX62" fmla="*/ 2745127 w 4519987"/>
              <a:gd name="connsiteY62" fmla="*/ 4410075 h 4496940"/>
              <a:gd name="connsiteX63" fmla="*/ 2697502 w 4519987"/>
              <a:gd name="connsiteY63" fmla="*/ 4429125 h 4496940"/>
              <a:gd name="connsiteX64" fmla="*/ 2640352 w 4519987"/>
              <a:gd name="connsiteY64" fmla="*/ 4457700 h 4496940"/>
              <a:gd name="connsiteX65" fmla="*/ 2583202 w 4519987"/>
              <a:gd name="connsiteY65" fmla="*/ 4467225 h 4496940"/>
              <a:gd name="connsiteX66" fmla="*/ 2545102 w 4519987"/>
              <a:gd name="connsiteY66" fmla="*/ 4486275 h 4496940"/>
              <a:gd name="connsiteX67" fmla="*/ 2306977 w 4519987"/>
              <a:gd name="connsiteY67" fmla="*/ 4476750 h 4496940"/>
              <a:gd name="connsiteX68" fmla="*/ 2202202 w 4519987"/>
              <a:gd name="connsiteY68" fmla="*/ 4457700 h 4496940"/>
              <a:gd name="connsiteX69" fmla="*/ 2126002 w 4519987"/>
              <a:gd name="connsiteY69" fmla="*/ 4429125 h 4496940"/>
              <a:gd name="connsiteX70" fmla="*/ 1935502 w 4519987"/>
              <a:gd name="connsiteY70" fmla="*/ 4400550 h 4496940"/>
              <a:gd name="connsiteX71" fmla="*/ 1821202 w 4519987"/>
              <a:gd name="connsiteY71" fmla="*/ 4371975 h 4496940"/>
              <a:gd name="connsiteX72" fmla="*/ 1754527 w 4519987"/>
              <a:gd name="connsiteY72" fmla="*/ 4352925 h 4496940"/>
              <a:gd name="connsiteX73" fmla="*/ 1687852 w 4519987"/>
              <a:gd name="connsiteY73" fmla="*/ 4343400 h 4496940"/>
              <a:gd name="connsiteX74" fmla="*/ 1573552 w 4519987"/>
              <a:gd name="connsiteY74" fmla="*/ 4305300 h 4496940"/>
              <a:gd name="connsiteX75" fmla="*/ 1402102 w 4519987"/>
              <a:gd name="connsiteY75" fmla="*/ 4276725 h 4496940"/>
              <a:gd name="connsiteX76" fmla="*/ 1287802 w 4519987"/>
              <a:gd name="connsiteY76" fmla="*/ 4229100 h 4496940"/>
              <a:gd name="connsiteX77" fmla="*/ 1221127 w 4519987"/>
              <a:gd name="connsiteY77" fmla="*/ 4200525 h 4496940"/>
              <a:gd name="connsiteX78" fmla="*/ 1144927 w 4519987"/>
              <a:gd name="connsiteY78" fmla="*/ 4171950 h 4496940"/>
              <a:gd name="connsiteX79" fmla="*/ 1087777 w 4519987"/>
              <a:gd name="connsiteY79" fmla="*/ 4143375 h 4496940"/>
              <a:gd name="connsiteX80" fmla="*/ 1030627 w 4519987"/>
              <a:gd name="connsiteY80" fmla="*/ 4124325 h 4496940"/>
              <a:gd name="connsiteX81" fmla="*/ 925852 w 4519987"/>
              <a:gd name="connsiteY81" fmla="*/ 4067175 h 4496940"/>
              <a:gd name="connsiteX82" fmla="*/ 830602 w 4519987"/>
              <a:gd name="connsiteY82" fmla="*/ 3981450 h 4496940"/>
              <a:gd name="connsiteX83" fmla="*/ 763927 w 4519987"/>
              <a:gd name="connsiteY83" fmla="*/ 3914775 h 4496940"/>
              <a:gd name="connsiteX84" fmla="*/ 725827 w 4519987"/>
              <a:gd name="connsiteY84" fmla="*/ 3876675 h 4496940"/>
              <a:gd name="connsiteX85" fmla="*/ 697252 w 4519987"/>
              <a:gd name="connsiteY85" fmla="*/ 3838575 h 4496940"/>
              <a:gd name="connsiteX86" fmla="*/ 640102 w 4519987"/>
              <a:gd name="connsiteY86" fmla="*/ 3781425 h 4496940"/>
              <a:gd name="connsiteX87" fmla="*/ 611527 w 4519987"/>
              <a:gd name="connsiteY87" fmla="*/ 3733800 h 4496940"/>
              <a:gd name="connsiteX88" fmla="*/ 554377 w 4519987"/>
              <a:gd name="connsiteY88" fmla="*/ 3657600 h 4496940"/>
              <a:gd name="connsiteX89" fmla="*/ 525802 w 4519987"/>
              <a:gd name="connsiteY89" fmla="*/ 3609975 h 4496940"/>
              <a:gd name="connsiteX90" fmla="*/ 497227 w 4519987"/>
              <a:gd name="connsiteY90" fmla="*/ 3552825 h 4496940"/>
              <a:gd name="connsiteX91" fmla="*/ 440077 w 4519987"/>
              <a:gd name="connsiteY91" fmla="*/ 3495675 h 4496940"/>
              <a:gd name="connsiteX92" fmla="*/ 411502 w 4519987"/>
              <a:gd name="connsiteY92" fmla="*/ 3448050 h 4496940"/>
              <a:gd name="connsiteX93" fmla="*/ 278152 w 4519987"/>
              <a:gd name="connsiteY93" fmla="*/ 3257550 h 4496940"/>
              <a:gd name="connsiteX94" fmla="*/ 249577 w 4519987"/>
              <a:gd name="connsiteY94" fmla="*/ 3200400 h 4496940"/>
              <a:gd name="connsiteX95" fmla="*/ 240052 w 4519987"/>
              <a:gd name="connsiteY95" fmla="*/ 3162300 h 4496940"/>
              <a:gd name="connsiteX96" fmla="*/ 221002 w 4519987"/>
              <a:gd name="connsiteY96" fmla="*/ 3105150 h 4496940"/>
              <a:gd name="connsiteX97" fmla="*/ 173377 w 4519987"/>
              <a:gd name="connsiteY97" fmla="*/ 3019425 h 4496940"/>
              <a:gd name="connsiteX98" fmla="*/ 144802 w 4519987"/>
              <a:gd name="connsiteY98" fmla="*/ 2924175 h 4496940"/>
              <a:gd name="connsiteX99" fmla="*/ 68602 w 4519987"/>
              <a:gd name="connsiteY99" fmla="*/ 2724150 h 4496940"/>
              <a:gd name="connsiteX100" fmla="*/ 49552 w 4519987"/>
              <a:gd name="connsiteY100" fmla="*/ 2638425 h 4496940"/>
              <a:gd name="connsiteX101" fmla="*/ 40027 w 4519987"/>
              <a:gd name="connsiteY101" fmla="*/ 2562225 h 4496940"/>
              <a:gd name="connsiteX102" fmla="*/ 30502 w 4519987"/>
              <a:gd name="connsiteY102" fmla="*/ 2514600 h 4496940"/>
              <a:gd name="connsiteX103" fmla="*/ 11452 w 4519987"/>
              <a:gd name="connsiteY103" fmla="*/ 2400300 h 4496940"/>
              <a:gd name="connsiteX104" fmla="*/ 20977 w 4519987"/>
              <a:gd name="connsiteY104" fmla="*/ 1905000 h 4496940"/>
              <a:gd name="connsiteX105" fmla="*/ 30502 w 4519987"/>
              <a:gd name="connsiteY105" fmla="*/ 1838325 h 4496940"/>
              <a:gd name="connsiteX106" fmla="*/ 49552 w 4519987"/>
              <a:gd name="connsiteY106" fmla="*/ 1781175 h 4496940"/>
              <a:gd name="connsiteX107" fmla="*/ 59077 w 4519987"/>
              <a:gd name="connsiteY107" fmla="*/ 1743075 h 4496940"/>
              <a:gd name="connsiteX108" fmla="*/ 78127 w 4519987"/>
              <a:gd name="connsiteY108" fmla="*/ 1685925 h 4496940"/>
              <a:gd name="connsiteX109" fmla="*/ 87652 w 4519987"/>
              <a:gd name="connsiteY109" fmla="*/ 1638300 h 4496940"/>
              <a:gd name="connsiteX110" fmla="*/ 106702 w 4519987"/>
              <a:gd name="connsiteY110" fmla="*/ 1590675 h 4496940"/>
              <a:gd name="connsiteX111" fmla="*/ 135277 w 4519987"/>
              <a:gd name="connsiteY111" fmla="*/ 1504950 h 4496940"/>
              <a:gd name="connsiteX112" fmla="*/ 154327 w 4519987"/>
              <a:gd name="connsiteY112" fmla="*/ 1419225 h 4496940"/>
              <a:gd name="connsiteX113" fmla="*/ 230527 w 4519987"/>
              <a:gd name="connsiteY113" fmla="*/ 1276350 h 4496940"/>
              <a:gd name="connsiteX114" fmla="*/ 240052 w 4519987"/>
              <a:gd name="connsiteY114" fmla="*/ 1247775 h 4496940"/>
              <a:gd name="connsiteX115" fmla="*/ 268627 w 4519987"/>
              <a:gd name="connsiteY115" fmla="*/ 1200150 h 4496940"/>
              <a:gd name="connsiteX116" fmla="*/ 287677 w 4519987"/>
              <a:gd name="connsiteY116" fmla="*/ 1152525 h 4496940"/>
              <a:gd name="connsiteX117" fmla="*/ 316252 w 4519987"/>
              <a:gd name="connsiteY117" fmla="*/ 1114425 h 4496940"/>
              <a:gd name="connsiteX118" fmla="*/ 363877 w 4519987"/>
              <a:gd name="connsiteY118" fmla="*/ 1038225 h 4496940"/>
              <a:gd name="connsiteX119" fmla="*/ 382927 w 4519987"/>
              <a:gd name="connsiteY119" fmla="*/ 1009650 h 4496940"/>
              <a:gd name="connsiteX120" fmla="*/ 440077 w 4519987"/>
              <a:gd name="connsiteY120" fmla="*/ 904875 h 4496940"/>
              <a:gd name="connsiteX121" fmla="*/ 478177 w 4519987"/>
              <a:gd name="connsiteY121" fmla="*/ 857250 h 4496940"/>
              <a:gd name="connsiteX122" fmla="*/ 497227 w 4519987"/>
              <a:gd name="connsiteY122" fmla="*/ 828675 h 4496940"/>
              <a:gd name="connsiteX123" fmla="*/ 535327 w 4519987"/>
              <a:gd name="connsiteY123" fmla="*/ 800100 h 4496940"/>
              <a:gd name="connsiteX124" fmla="*/ 602002 w 4519987"/>
              <a:gd name="connsiteY124" fmla="*/ 733425 h 4496940"/>
              <a:gd name="connsiteX125" fmla="*/ 668677 w 4519987"/>
              <a:gd name="connsiteY125" fmla="*/ 676275 h 4496940"/>
              <a:gd name="connsiteX126" fmla="*/ 697252 w 4519987"/>
              <a:gd name="connsiteY126" fmla="*/ 657225 h 4496940"/>
              <a:gd name="connsiteX127" fmla="*/ 840127 w 4519987"/>
              <a:gd name="connsiteY127" fmla="*/ 533400 h 4496940"/>
              <a:gd name="connsiteX128" fmla="*/ 887752 w 4519987"/>
              <a:gd name="connsiteY128" fmla="*/ 504825 h 4496940"/>
              <a:gd name="connsiteX129" fmla="*/ 1167152 w 4519987"/>
              <a:gd name="connsiteY129" fmla="*/ 311150 h 4496940"/>
              <a:gd name="connsiteX130" fmla="*/ 1268752 w 4519987"/>
              <a:gd name="connsiteY130" fmla="*/ 285750 h 4496940"/>
              <a:gd name="connsiteX131" fmla="*/ 1411627 w 4519987"/>
              <a:gd name="connsiteY131" fmla="*/ 190500 h 4496940"/>
              <a:gd name="connsiteX132" fmla="*/ 1449727 w 4519987"/>
              <a:gd name="connsiteY132" fmla="*/ 161925 h 4496940"/>
              <a:gd name="connsiteX133" fmla="*/ 1525927 w 4519987"/>
              <a:gd name="connsiteY133" fmla="*/ 152400 h 4496940"/>
              <a:gd name="connsiteX134" fmla="*/ 1583077 w 4519987"/>
              <a:gd name="connsiteY134" fmla="*/ 142875 h 4496940"/>
              <a:gd name="connsiteX135" fmla="*/ 1716427 w 4519987"/>
              <a:gd name="connsiteY135" fmla="*/ 123825 h 4496940"/>
              <a:gd name="connsiteX136" fmla="*/ 1811677 w 4519987"/>
              <a:gd name="connsiteY136" fmla="*/ 114300 h 4496940"/>
              <a:gd name="connsiteX137" fmla="*/ 1859302 w 4519987"/>
              <a:gd name="connsiteY137" fmla="*/ 104775 h 4496940"/>
              <a:gd name="connsiteX138" fmla="*/ 1916452 w 4519987"/>
              <a:gd name="connsiteY138" fmla="*/ 95250 h 4496940"/>
              <a:gd name="connsiteX139" fmla="*/ 2030752 w 4519987"/>
              <a:gd name="connsiteY139" fmla="*/ 66675 h 4496940"/>
              <a:gd name="connsiteX140" fmla="*/ 2097427 w 4519987"/>
              <a:gd name="connsiteY140" fmla="*/ 47625 h 4496940"/>
              <a:gd name="connsiteX141" fmla="*/ 2164102 w 4519987"/>
              <a:gd name="connsiteY141" fmla="*/ 38100 h 4496940"/>
              <a:gd name="connsiteX142" fmla="*/ 2392702 w 4519987"/>
              <a:gd name="connsiteY14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164352 w 4519987"/>
              <a:gd name="connsiteY36" fmla="*/ 3429000 h 4496940"/>
              <a:gd name="connsiteX37" fmla="*/ 4088152 w 4519987"/>
              <a:gd name="connsiteY37" fmla="*/ 3495675 h 4496940"/>
              <a:gd name="connsiteX38" fmla="*/ 4059577 w 4519987"/>
              <a:gd name="connsiteY38" fmla="*/ 3533775 h 4496940"/>
              <a:gd name="connsiteX39" fmla="*/ 4002427 w 4519987"/>
              <a:gd name="connsiteY39" fmla="*/ 3600450 h 4496940"/>
              <a:gd name="connsiteX40" fmla="*/ 3983377 w 4519987"/>
              <a:gd name="connsiteY40" fmla="*/ 3629025 h 4496940"/>
              <a:gd name="connsiteX41" fmla="*/ 3954802 w 4519987"/>
              <a:gd name="connsiteY41" fmla="*/ 3648075 h 4496940"/>
              <a:gd name="connsiteX42" fmla="*/ 3907177 w 4519987"/>
              <a:gd name="connsiteY42" fmla="*/ 3686175 h 4496940"/>
              <a:gd name="connsiteX43" fmla="*/ 3869077 w 4519987"/>
              <a:gd name="connsiteY43" fmla="*/ 3724275 h 4496940"/>
              <a:gd name="connsiteX44" fmla="*/ 3792877 w 4519987"/>
              <a:gd name="connsiteY44" fmla="*/ 3781425 h 4496940"/>
              <a:gd name="connsiteX45" fmla="*/ 3783352 w 4519987"/>
              <a:gd name="connsiteY45" fmla="*/ 3810000 h 4496940"/>
              <a:gd name="connsiteX46" fmla="*/ 3745252 w 4519987"/>
              <a:gd name="connsiteY46" fmla="*/ 3819525 h 4496940"/>
              <a:gd name="connsiteX47" fmla="*/ 3678577 w 4519987"/>
              <a:gd name="connsiteY47" fmla="*/ 3848100 h 4496940"/>
              <a:gd name="connsiteX48" fmla="*/ 3659527 w 4519987"/>
              <a:gd name="connsiteY48" fmla="*/ 3971925 h 4496940"/>
              <a:gd name="connsiteX49" fmla="*/ 3630952 w 4519987"/>
              <a:gd name="connsiteY49" fmla="*/ 4010025 h 4496940"/>
              <a:gd name="connsiteX50" fmla="*/ 3621427 w 4519987"/>
              <a:gd name="connsiteY50" fmla="*/ 4038600 h 4496940"/>
              <a:gd name="connsiteX51" fmla="*/ 3554752 w 4519987"/>
              <a:gd name="connsiteY51" fmla="*/ 4095750 h 4496940"/>
              <a:gd name="connsiteX52" fmla="*/ 3516652 w 4519987"/>
              <a:gd name="connsiteY52" fmla="*/ 4114800 h 4496940"/>
              <a:gd name="connsiteX53" fmla="*/ 3497602 w 4519987"/>
              <a:gd name="connsiteY53" fmla="*/ 4143375 h 4496940"/>
              <a:gd name="connsiteX54" fmla="*/ 3383302 w 4519987"/>
              <a:gd name="connsiteY54" fmla="*/ 4210050 h 4496940"/>
              <a:gd name="connsiteX55" fmla="*/ 3335677 w 4519987"/>
              <a:gd name="connsiteY55" fmla="*/ 4238625 h 4496940"/>
              <a:gd name="connsiteX56" fmla="*/ 3288052 w 4519987"/>
              <a:gd name="connsiteY56" fmla="*/ 4248150 h 4496940"/>
              <a:gd name="connsiteX57" fmla="*/ 3240427 w 4519987"/>
              <a:gd name="connsiteY57" fmla="*/ 4267200 h 4496940"/>
              <a:gd name="connsiteX58" fmla="*/ 3068977 w 4519987"/>
              <a:gd name="connsiteY58" fmla="*/ 4286250 h 4496940"/>
              <a:gd name="connsiteX59" fmla="*/ 2935627 w 4519987"/>
              <a:gd name="connsiteY59" fmla="*/ 4333875 h 4496940"/>
              <a:gd name="connsiteX60" fmla="*/ 2811802 w 4519987"/>
              <a:gd name="connsiteY60" fmla="*/ 4371975 h 4496940"/>
              <a:gd name="connsiteX61" fmla="*/ 2745127 w 4519987"/>
              <a:gd name="connsiteY61" fmla="*/ 4410075 h 4496940"/>
              <a:gd name="connsiteX62" fmla="*/ 2697502 w 4519987"/>
              <a:gd name="connsiteY62" fmla="*/ 4429125 h 4496940"/>
              <a:gd name="connsiteX63" fmla="*/ 2640352 w 4519987"/>
              <a:gd name="connsiteY63" fmla="*/ 4457700 h 4496940"/>
              <a:gd name="connsiteX64" fmla="*/ 2583202 w 4519987"/>
              <a:gd name="connsiteY64" fmla="*/ 4467225 h 4496940"/>
              <a:gd name="connsiteX65" fmla="*/ 2545102 w 4519987"/>
              <a:gd name="connsiteY65" fmla="*/ 4486275 h 4496940"/>
              <a:gd name="connsiteX66" fmla="*/ 2306977 w 4519987"/>
              <a:gd name="connsiteY66" fmla="*/ 4476750 h 4496940"/>
              <a:gd name="connsiteX67" fmla="*/ 2202202 w 4519987"/>
              <a:gd name="connsiteY67" fmla="*/ 4457700 h 4496940"/>
              <a:gd name="connsiteX68" fmla="*/ 2126002 w 4519987"/>
              <a:gd name="connsiteY68" fmla="*/ 4429125 h 4496940"/>
              <a:gd name="connsiteX69" fmla="*/ 1935502 w 4519987"/>
              <a:gd name="connsiteY69" fmla="*/ 4400550 h 4496940"/>
              <a:gd name="connsiteX70" fmla="*/ 1821202 w 4519987"/>
              <a:gd name="connsiteY70" fmla="*/ 4371975 h 4496940"/>
              <a:gd name="connsiteX71" fmla="*/ 1754527 w 4519987"/>
              <a:gd name="connsiteY71" fmla="*/ 4352925 h 4496940"/>
              <a:gd name="connsiteX72" fmla="*/ 1687852 w 4519987"/>
              <a:gd name="connsiteY72" fmla="*/ 4343400 h 4496940"/>
              <a:gd name="connsiteX73" fmla="*/ 1573552 w 4519987"/>
              <a:gd name="connsiteY73" fmla="*/ 4305300 h 4496940"/>
              <a:gd name="connsiteX74" fmla="*/ 1402102 w 4519987"/>
              <a:gd name="connsiteY74" fmla="*/ 4276725 h 4496940"/>
              <a:gd name="connsiteX75" fmla="*/ 1287802 w 4519987"/>
              <a:gd name="connsiteY75" fmla="*/ 4229100 h 4496940"/>
              <a:gd name="connsiteX76" fmla="*/ 1221127 w 4519987"/>
              <a:gd name="connsiteY76" fmla="*/ 4200525 h 4496940"/>
              <a:gd name="connsiteX77" fmla="*/ 1144927 w 4519987"/>
              <a:gd name="connsiteY77" fmla="*/ 4171950 h 4496940"/>
              <a:gd name="connsiteX78" fmla="*/ 1087777 w 4519987"/>
              <a:gd name="connsiteY78" fmla="*/ 4143375 h 4496940"/>
              <a:gd name="connsiteX79" fmla="*/ 1030627 w 4519987"/>
              <a:gd name="connsiteY79" fmla="*/ 4124325 h 4496940"/>
              <a:gd name="connsiteX80" fmla="*/ 925852 w 4519987"/>
              <a:gd name="connsiteY80" fmla="*/ 4067175 h 4496940"/>
              <a:gd name="connsiteX81" fmla="*/ 830602 w 4519987"/>
              <a:gd name="connsiteY81" fmla="*/ 3981450 h 4496940"/>
              <a:gd name="connsiteX82" fmla="*/ 763927 w 4519987"/>
              <a:gd name="connsiteY82" fmla="*/ 3914775 h 4496940"/>
              <a:gd name="connsiteX83" fmla="*/ 725827 w 4519987"/>
              <a:gd name="connsiteY83" fmla="*/ 3876675 h 4496940"/>
              <a:gd name="connsiteX84" fmla="*/ 697252 w 4519987"/>
              <a:gd name="connsiteY84" fmla="*/ 3838575 h 4496940"/>
              <a:gd name="connsiteX85" fmla="*/ 640102 w 4519987"/>
              <a:gd name="connsiteY85" fmla="*/ 3781425 h 4496940"/>
              <a:gd name="connsiteX86" fmla="*/ 611527 w 4519987"/>
              <a:gd name="connsiteY86" fmla="*/ 3733800 h 4496940"/>
              <a:gd name="connsiteX87" fmla="*/ 554377 w 4519987"/>
              <a:gd name="connsiteY87" fmla="*/ 3657600 h 4496940"/>
              <a:gd name="connsiteX88" fmla="*/ 525802 w 4519987"/>
              <a:gd name="connsiteY88" fmla="*/ 3609975 h 4496940"/>
              <a:gd name="connsiteX89" fmla="*/ 497227 w 4519987"/>
              <a:gd name="connsiteY89" fmla="*/ 3552825 h 4496940"/>
              <a:gd name="connsiteX90" fmla="*/ 440077 w 4519987"/>
              <a:gd name="connsiteY90" fmla="*/ 3495675 h 4496940"/>
              <a:gd name="connsiteX91" fmla="*/ 411502 w 4519987"/>
              <a:gd name="connsiteY91" fmla="*/ 3448050 h 4496940"/>
              <a:gd name="connsiteX92" fmla="*/ 278152 w 4519987"/>
              <a:gd name="connsiteY92" fmla="*/ 3257550 h 4496940"/>
              <a:gd name="connsiteX93" fmla="*/ 249577 w 4519987"/>
              <a:gd name="connsiteY93" fmla="*/ 3200400 h 4496940"/>
              <a:gd name="connsiteX94" fmla="*/ 240052 w 4519987"/>
              <a:gd name="connsiteY94" fmla="*/ 3162300 h 4496940"/>
              <a:gd name="connsiteX95" fmla="*/ 221002 w 4519987"/>
              <a:gd name="connsiteY95" fmla="*/ 3105150 h 4496940"/>
              <a:gd name="connsiteX96" fmla="*/ 173377 w 4519987"/>
              <a:gd name="connsiteY96" fmla="*/ 3019425 h 4496940"/>
              <a:gd name="connsiteX97" fmla="*/ 144802 w 4519987"/>
              <a:gd name="connsiteY97" fmla="*/ 2924175 h 4496940"/>
              <a:gd name="connsiteX98" fmla="*/ 68602 w 4519987"/>
              <a:gd name="connsiteY98" fmla="*/ 2724150 h 4496940"/>
              <a:gd name="connsiteX99" fmla="*/ 49552 w 4519987"/>
              <a:gd name="connsiteY99" fmla="*/ 2638425 h 4496940"/>
              <a:gd name="connsiteX100" fmla="*/ 40027 w 4519987"/>
              <a:gd name="connsiteY100" fmla="*/ 2562225 h 4496940"/>
              <a:gd name="connsiteX101" fmla="*/ 30502 w 4519987"/>
              <a:gd name="connsiteY101" fmla="*/ 2514600 h 4496940"/>
              <a:gd name="connsiteX102" fmla="*/ 11452 w 4519987"/>
              <a:gd name="connsiteY102" fmla="*/ 2400300 h 4496940"/>
              <a:gd name="connsiteX103" fmla="*/ 20977 w 4519987"/>
              <a:gd name="connsiteY103" fmla="*/ 1905000 h 4496940"/>
              <a:gd name="connsiteX104" fmla="*/ 30502 w 4519987"/>
              <a:gd name="connsiteY104" fmla="*/ 1838325 h 4496940"/>
              <a:gd name="connsiteX105" fmla="*/ 49552 w 4519987"/>
              <a:gd name="connsiteY105" fmla="*/ 1781175 h 4496940"/>
              <a:gd name="connsiteX106" fmla="*/ 59077 w 4519987"/>
              <a:gd name="connsiteY106" fmla="*/ 1743075 h 4496940"/>
              <a:gd name="connsiteX107" fmla="*/ 78127 w 4519987"/>
              <a:gd name="connsiteY107" fmla="*/ 1685925 h 4496940"/>
              <a:gd name="connsiteX108" fmla="*/ 87652 w 4519987"/>
              <a:gd name="connsiteY108" fmla="*/ 1638300 h 4496940"/>
              <a:gd name="connsiteX109" fmla="*/ 106702 w 4519987"/>
              <a:gd name="connsiteY109" fmla="*/ 1590675 h 4496940"/>
              <a:gd name="connsiteX110" fmla="*/ 135277 w 4519987"/>
              <a:gd name="connsiteY110" fmla="*/ 1504950 h 4496940"/>
              <a:gd name="connsiteX111" fmla="*/ 154327 w 4519987"/>
              <a:gd name="connsiteY111" fmla="*/ 1419225 h 4496940"/>
              <a:gd name="connsiteX112" fmla="*/ 230527 w 4519987"/>
              <a:gd name="connsiteY112" fmla="*/ 1276350 h 4496940"/>
              <a:gd name="connsiteX113" fmla="*/ 240052 w 4519987"/>
              <a:gd name="connsiteY113" fmla="*/ 1247775 h 4496940"/>
              <a:gd name="connsiteX114" fmla="*/ 268627 w 4519987"/>
              <a:gd name="connsiteY114" fmla="*/ 1200150 h 4496940"/>
              <a:gd name="connsiteX115" fmla="*/ 287677 w 4519987"/>
              <a:gd name="connsiteY115" fmla="*/ 1152525 h 4496940"/>
              <a:gd name="connsiteX116" fmla="*/ 316252 w 4519987"/>
              <a:gd name="connsiteY116" fmla="*/ 1114425 h 4496940"/>
              <a:gd name="connsiteX117" fmla="*/ 363877 w 4519987"/>
              <a:gd name="connsiteY117" fmla="*/ 1038225 h 4496940"/>
              <a:gd name="connsiteX118" fmla="*/ 382927 w 4519987"/>
              <a:gd name="connsiteY118" fmla="*/ 1009650 h 4496940"/>
              <a:gd name="connsiteX119" fmla="*/ 440077 w 4519987"/>
              <a:gd name="connsiteY119" fmla="*/ 904875 h 4496940"/>
              <a:gd name="connsiteX120" fmla="*/ 478177 w 4519987"/>
              <a:gd name="connsiteY120" fmla="*/ 857250 h 4496940"/>
              <a:gd name="connsiteX121" fmla="*/ 497227 w 4519987"/>
              <a:gd name="connsiteY121" fmla="*/ 828675 h 4496940"/>
              <a:gd name="connsiteX122" fmla="*/ 535327 w 4519987"/>
              <a:gd name="connsiteY122" fmla="*/ 800100 h 4496940"/>
              <a:gd name="connsiteX123" fmla="*/ 602002 w 4519987"/>
              <a:gd name="connsiteY123" fmla="*/ 733425 h 4496940"/>
              <a:gd name="connsiteX124" fmla="*/ 668677 w 4519987"/>
              <a:gd name="connsiteY124" fmla="*/ 676275 h 4496940"/>
              <a:gd name="connsiteX125" fmla="*/ 697252 w 4519987"/>
              <a:gd name="connsiteY125" fmla="*/ 657225 h 4496940"/>
              <a:gd name="connsiteX126" fmla="*/ 840127 w 4519987"/>
              <a:gd name="connsiteY126" fmla="*/ 533400 h 4496940"/>
              <a:gd name="connsiteX127" fmla="*/ 887752 w 4519987"/>
              <a:gd name="connsiteY127" fmla="*/ 504825 h 4496940"/>
              <a:gd name="connsiteX128" fmla="*/ 1167152 w 4519987"/>
              <a:gd name="connsiteY128" fmla="*/ 311150 h 4496940"/>
              <a:gd name="connsiteX129" fmla="*/ 1268752 w 4519987"/>
              <a:gd name="connsiteY129" fmla="*/ 285750 h 4496940"/>
              <a:gd name="connsiteX130" fmla="*/ 1411627 w 4519987"/>
              <a:gd name="connsiteY130" fmla="*/ 190500 h 4496940"/>
              <a:gd name="connsiteX131" fmla="*/ 1449727 w 4519987"/>
              <a:gd name="connsiteY131" fmla="*/ 161925 h 4496940"/>
              <a:gd name="connsiteX132" fmla="*/ 1525927 w 4519987"/>
              <a:gd name="connsiteY132" fmla="*/ 152400 h 4496940"/>
              <a:gd name="connsiteX133" fmla="*/ 1583077 w 4519987"/>
              <a:gd name="connsiteY133" fmla="*/ 142875 h 4496940"/>
              <a:gd name="connsiteX134" fmla="*/ 1716427 w 4519987"/>
              <a:gd name="connsiteY134" fmla="*/ 123825 h 4496940"/>
              <a:gd name="connsiteX135" fmla="*/ 1811677 w 4519987"/>
              <a:gd name="connsiteY135" fmla="*/ 114300 h 4496940"/>
              <a:gd name="connsiteX136" fmla="*/ 1859302 w 4519987"/>
              <a:gd name="connsiteY136" fmla="*/ 104775 h 4496940"/>
              <a:gd name="connsiteX137" fmla="*/ 1916452 w 4519987"/>
              <a:gd name="connsiteY137" fmla="*/ 95250 h 4496940"/>
              <a:gd name="connsiteX138" fmla="*/ 2030752 w 4519987"/>
              <a:gd name="connsiteY138" fmla="*/ 66675 h 4496940"/>
              <a:gd name="connsiteX139" fmla="*/ 2097427 w 4519987"/>
              <a:gd name="connsiteY139" fmla="*/ 47625 h 4496940"/>
              <a:gd name="connsiteX140" fmla="*/ 2164102 w 4519987"/>
              <a:gd name="connsiteY140" fmla="*/ 38100 h 4496940"/>
              <a:gd name="connsiteX141" fmla="*/ 2392702 w 4519987"/>
              <a:gd name="connsiteY14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088152 w 4519987"/>
              <a:gd name="connsiteY36" fmla="*/ 3495675 h 4496940"/>
              <a:gd name="connsiteX37" fmla="*/ 4059577 w 4519987"/>
              <a:gd name="connsiteY37" fmla="*/ 3533775 h 4496940"/>
              <a:gd name="connsiteX38" fmla="*/ 4002427 w 4519987"/>
              <a:gd name="connsiteY38" fmla="*/ 3600450 h 4496940"/>
              <a:gd name="connsiteX39" fmla="*/ 3983377 w 4519987"/>
              <a:gd name="connsiteY39" fmla="*/ 3629025 h 4496940"/>
              <a:gd name="connsiteX40" fmla="*/ 3954802 w 4519987"/>
              <a:gd name="connsiteY40" fmla="*/ 3648075 h 4496940"/>
              <a:gd name="connsiteX41" fmla="*/ 3907177 w 4519987"/>
              <a:gd name="connsiteY41" fmla="*/ 3686175 h 4496940"/>
              <a:gd name="connsiteX42" fmla="*/ 3869077 w 4519987"/>
              <a:gd name="connsiteY42" fmla="*/ 3724275 h 4496940"/>
              <a:gd name="connsiteX43" fmla="*/ 3792877 w 4519987"/>
              <a:gd name="connsiteY43" fmla="*/ 3781425 h 4496940"/>
              <a:gd name="connsiteX44" fmla="*/ 3783352 w 4519987"/>
              <a:gd name="connsiteY44" fmla="*/ 3810000 h 4496940"/>
              <a:gd name="connsiteX45" fmla="*/ 3745252 w 4519987"/>
              <a:gd name="connsiteY45" fmla="*/ 3819525 h 4496940"/>
              <a:gd name="connsiteX46" fmla="*/ 3678577 w 4519987"/>
              <a:gd name="connsiteY46" fmla="*/ 3848100 h 4496940"/>
              <a:gd name="connsiteX47" fmla="*/ 3659527 w 4519987"/>
              <a:gd name="connsiteY47" fmla="*/ 3971925 h 4496940"/>
              <a:gd name="connsiteX48" fmla="*/ 3630952 w 4519987"/>
              <a:gd name="connsiteY48" fmla="*/ 4010025 h 4496940"/>
              <a:gd name="connsiteX49" fmla="*/ 3621427 w 4519987"/>
              <a:gd name="connsiteY49" fmla="*/ 4038600 h 4496940"/>
              <a:gd name="connsiteX50" fmla="*/ 3554752 w 4519987"/>
              <a:gd name="connsiteY50" fmla="*/ 4095750 h 4496940"/>
              <a:gd name="connsiteX51" fmla="*/ 3516652 w 4519987"/>
              <a:gd name="connsiteY51" fmla="*/ 4114800 h 4496940"/>
              <a:gd name="connsiteX52" fmla="*/ 3497602 w 4519987"/>
              <a:gd name="connsiteY52" fmla="*/ 4143375 h 4496940"/>
              <a:gd name="connsiteX53" fmla="*/ 3383302 w 4519987"/>
              <a:gd name="connsiteY53" fmla="*/ 4210050 h 4496940"/>
              <a:gd name="connsiteX54" fmla="*/ 3335677 w 4519987"/>
              <a:gd name="connsiteY54" fmla="*/ 4238625 h 4496940"/>
              <a:gd name="connsiteX55" fmla="*/ 3288052 w 4519987"/>
              <a:gd name="connsiteY55" fmla="*/ 4248150 h 4496940"/>
              <a:gd name="connsiteX56" fmla="*/ 3240427 w 4519987"/>
              <a:gd name="connsiteY56" fmla="*/ 4267200 h 4496940"/>
              <a:gd name="connsiteX57" fmla="*/ 3068977 w 4519987"/>
              <a:gd name="connsiteY57" fmla="*/ 4286250 h 4496940"/>
              <a:gd name="connsiteX58" fmla="*/ 2935627 w 4519987"/>
              <a:gd name="connsiteY58" fmla="*/ 4333875 h 4496940"/>
              <a:gd name="connsiteX59" fmla="*/ 2811802 w 4519987"/>
              <a:gd name="connsiteY59" fmla="*/ 4371975 h 4496940"/>
              <a:gd name="connsiteX60" fmla="*/ 2745127 w 4519987"/>
              <a:gd name="connsiteY60" fmla="*/ 4410075 h 4496940"/>
              <a:gd name="connsiteX61" fmla="*/ 2697502 w 4519987"/>
              <a:gd name="connsiteY61" fmla="*/ 4429125 h 4496940"/>
              <a:gd name="connsiteX62" fmla="*/ 2640352 w 4519987"/>
              <a:gd name="connsiteY62" fmla="*/ 4457700 h 4496940"/>
              <a:gd name="connsiteX63" fmla="*/ 2583202 w 4519987"/>
              <a:gd name="connsiteY63" fmla="*/ 4467225 h 4496940"/>
              <a:gd name="connsiteX64" fmla="*/ 2545102 w 4519987"/>
              <a:gd name="connsiteY64" fmla="*/ 4486275 h 4496940"/>
              <a:gd name="connsiteX65" fmla="*/ 2306977 w 4519987"/>
              <a:gd name="connsiteY65" fmla="*/ 4476750 h 4496940"/>
              <a:gd name="connsiteX66" fmla="*/ 2202202 w 4519987"/>
              <a:gd name="connsiteY66" fmla="*/ 4457700 h 4496940"/>
              <a:gd name="connsiteX67" fmla="*/ 2126002 w 4519987"/>
              <a:gd name="connsiteY67" fmla="*/ 4429125 h 4496940"/>
              <a:gd name="connsiteX68" fmla="*/ 1935502 w 4519987"/>
              <a:gd name="connsiteY68" fmla="*/ 4400550 h 4496940"/>
              <a:gd name="connsiteX69" fmla="*/ 1821202 w 4519987"/>
              <a:gd name="connsiteY69" fmla="*/ 4371975 h 4496940"/>
              <a:gd name="connsiteX70" fmla="*/ 1754527 w 4519987"/>
              <a:gd name="connsiteY70" fmla="*/ 4352925 h 4496940"/>
              <a:gd name="connsiteX71" fmla="*/ 1687852 w 4519987"/>
              <a:gd name="connsiteY71" fmla="*/ 4343400 h 4496940"/>
              <a:gd name="connsiteX72" fmla="*/ 1573552 w 4519987"/>
              <a:gd name="connsiteY72" fmla="*/ 4305300 h 4496940"/>
              <a:gd name="connsiteX73" fmla="*/ 1402102 w 4519987"/>
              <a:gd name="connsiteY73" fmla="*/ 4276725 h 4496940"/>
              <a:gd name="connsiteX74" fmla="*/ 1287802 w 4519987"/>
              <a:gd name="connsiteY74" fmla="*/ 4229100 h 4496940"/>
              <a:gd name="connsiteX75" fmla="*/ 1221127 w 4519987"/>
              <a:gd name="connsiteY75" fmla="*/ 4200525 h 4496940"/>
              <a:gd name="connsiteX76" fmla="*/ 1144927 w 4519987"/>
              <a:gd name="connsiteY76" fmla="*/ 4171950 h 4496940"/>
              <a:gd name="connsiteX77" fmla="*/ 1087777 w 4519987"/>
              <a:gd name="connsiteY77" fmla="*/ 4143375 h 4496940"/>
              <a:gd name="connsiteX78" fmla="*/ 1030627 w 4519987"/>
              <a:gd name="connsiteY78" fmla="*/ 4124325 h 4496940"/>
              <a:gd name="connsiteX79" fmla="*/ 925852 w 4519987"/>
              <a:gd name="connsiteY79" fmla="*/ 4067175 h 4496940"/>
              <a:gd name="connsiteX80" fmla="*/ 830602 w 4519987"/>
              <a:gd name="connsiteY80" fmla="*/ 3981450 h 4496940"/>
              <a:gd name="connsiteX81" fmla="*/ 763927 w 4519987"/>
              <a:gd name="connsiteY81" fmla="*/ 3914775 h 4496940"/>
              <a:gd name="connsiteX82" fmla="*/ 725827 w 4519987"/>
              <a:gd name="connsiteY82" fmla="*/ 3876675 h 4496940"/>
              <a:gd name="connsiteX83" fmla="*/ 697252 w 4519987"/>
              <a:gd name="connsiteY83" fmla="*/ 3838575 h 4496940"/>
              <a:gd name="connsiteX84" fmla="*/ 640102 w 4519987"/>
              <a:gd name="connsiteY84" fmla="*/ 3781425 h 4496940"/>
              <a:gd name="connsiteX85" fmla="*/ 611527 w 4519987"/>
              <a:gd name="connsiteY85" fmla="*/ 3733800 h 4496940"/>
              <a:gd name="connsiteX86" fmla="*/ 554377 w 4519987"/>
              <a:gd name="connsiteY86" fmla="*/ 3657600 h 4496940"/>
              <a:gd name="connsiteX87" fmla="*/ 525802 w 4519987"/>
              <a:gd name="connsiteY87" fmla="*/ 3609975 h 4496940"/>
              <a:gd name="connsiteX88" fmla="*/ 497227 w 4519987"/>
              <a:gd name="connsiteY88" fmla="*/ 3552825 h 4496940"/>
              <a:gd name="connsiteX89" fmla="*/ 440077 w 4519987"/>
              <a:gd name="connsiteY89" fmla="*/ 3495675 h 4496940"/>
              <a:gd name="connsiteX90" fmla="*/ 411502 w 4519987"/>
              <a:gd name="connsiteY90" fmla="*/ 3448050 h 4496940"/>
              <a:gd name="connsiteX91" fmla="*/ 278152 w 4519987"/>
              <a:gd name="connsiteY91" fmla="*/ 3257550 h 4496940"/>
              <a:gd name="connsiteX92" fmla="*/ 249577 w 4519987"/>
              <a:gd name="connsiteY92" fmla="*/ 3200400 h 4496940"/>
              <a:gd name="connsiteX93" fmla="*/ 240052 w 4519987"/>
              <a:gd name="connsiteY93" fmla="*/ 3162300 h 4496940"/>
              <a:gd name="connsiteX94" fmla="*/ 221002 w 4519987"/>
              <a:gd name="connsiteY94" fmla="*/ 3105150 h 4496940"/>
              <a:gd name="connsiteX95" fmla="*/ 173377 w 4519987"/>
              <a:gd name="connsiteY95" fmla="*/ 3019425 h 4496940"/>
              <a:gd name="connsiteX96" fmla="*/ 144802 w 4519987"/>
              <a:gd name="connsiteY96" fmla="*/ 2924175 h 4496940"/>
              <a:gd name="connsiteX97" fmla="*/ 68602 w 4519987"/>
              <a:gd name="connsiteY97" fmla="*/ 2724150 h 4496940"/>
              <a:gd name="connsiteX98" fmla="*/ 49552 w 4519987"/>
              <a:gd name="connsiteY98" fmla="*/ 2638425 h 4496940"/>
              <a:gd name="connsiteX99" fmla="*/ 40027 w 4519987"/>
              <a:gd name="connsiteY99" fmla="*/ 2562225 h 4496940"/>
              <a:gd name="connsiteX100" fmla="*/ 30502 w 4519987"/>
              <a:gd name="connsiteY100" fmla="*/ 2514600 h 4496940"/>
              <a:gd name="connsiteX101" fmla="*/ 11452 w 4519987"/>
              <a:gd name="connsiteY101" fmla="*/ 2400300 h 4496940"/>
              <a:gd name="connsiteX102" fmla="*/ 20977 w 4519987"/>
              <a:gd name="connsiteY102" fmla="*/ 1905000 h 4496940"/>
              <a:gd name="connsiteX103" fmla="*/ 30502 w 4519987"/>
              <a:gd name="connsiteY103" fmla="*/ 1838325 h 4496940"/>
              <a:gd name="connsiteX104" fmla="*/ 49552 w 4519987"/>
              <a:gd name="connsiteY104" fmla="*/ 1781175 h 4496940"/>
              <a:gd name="connsiteX105" fmla="*/ 59077 w 4519987"/>
              <a:gd name="connsiteY105" fmla="*/ 1743075 h 4496940"/>
              <a:gd name="connsiteX106" fmla="*/ 78127 w 4519987"/>
              <a:gd name="connsiteY106" fmla="*/ 1685925 h 4496940"/>
              <a:gd name="connsiteX107" fmla="*/ 87652 w 4519987"/>
              <a:gd name="connsiteY107" fmla="*/ 1638300 h 4496940"/>
              <a:gd name="connsiteX108" fmla="*/ 106702 w 4519987"/>
              <a:gd name="connsiteY108" fmla="*/ 1590675 h 4496940"/>
              <a:gd name="connsiteX109" fmla="*/ 135277 w 4519987"/>
              <a:gd name="connsiteY109" fmla="*/ 1504950 h 4496940"/>
              <a:gd name="connsiteX110" fmla="*/ 154327 w 4519987"/>
              <a:gd name="connsiteY110" fmla="*/ 1419225 h 4496940"/>
              <a:gd name="connsiteX111" fmla="*/ 230527 w 4519987"/>
              <a:gd name="connsiteY111" fmla="*/ 1276350 h 4496940"/>
              <a:gd name="connsiteX112" fmla="*/ 240052 w 4519987"/>
              <a:gd name="connsiteY112" fmla="*/ 1247775 h 4496940"/>
              <a:gd name="connsiteX113" fmla="*/ 268627 w 4519987"/>
              <a:gd name="connsiteY113" fmla="*/ 1200150 h 4496940"/>
              <a:gd name="connsiteX114" fmla="*/ 287677 w 4519987"/>
              <a:gd name="connsiteY114" fmla="*/ 1152525 h 4496940"/>
              <a:gd name="connsiteX115" fmla="*/ 316252 w 4519987"/>
              <a:gd name="connsiteY115" fmla="*/ 1114425 h 4496940"/>
              <a:gd name="connsiteX116" fmla="*/ 363877 w 4519987"/>
              <a:gd name="connsiteY116" fmla="*/ 1038225 h 4496940"/>
              <a:gd name="connsiteX117" fmla="*/ 382927 w 4519987"/>
              <a:gd name="connsiteY117" fmla="*/ 1009650 h 4496940"/>
              <a:gd name="connsiteX118" fmla="*/ 440077 w 4519987"/>
              <a:gd name="connsiteY118" fmla="*/ 904875 h 4496940"/>
              <a:gd name="connsiteX119" fmla="*/ 478177 w 4519987"/>
              <a:gd name="connsiteY119" fmla="*/ 857250 h 4496940"/>
              <a:gd name="connsiteX120" fmla="*/ 497227 w 4519987"/>
              <a:gd name="connsiteY120" fmla="*/ 828675 h 4496940"/>
              <a:gd name="connsiteX121" fmla="*/ 535327 w 4519987"/>
              <a:gd name="connsiteY121" fmla="*/ 800100 h 4496940"/>
              <a:gd name="connsiteX122" fmla="*/ 602002 w 4519987"/>
              <a:gd name="connsiteY122" fmla="*/ 733425 h 4496940"/>
              <a:gd name="connsiteX123" fmla="*/ 668677 w 4519987"/>
              <a:gd name="connsiteY123" fmla="*/ 676275 h 4496940"/>
              <a:gd name="connsiteX124" fmla="*/ 697252 w 4519987"/>
              <a:gd name="connsiteY124" fmla="*/ 657225 h 4496940"/>
              <a:gd name="connsiteX125" fmla="*/ 840127 w 4519987"/>
              <a:gd name="connsiteY125" fmla="*/ 533400 h 4496940"/>
              <a:gd name="connsiteX126" fmla="*/ 887752 w 4519987"/>
              <a:gd name="connsiteY126" fmla="*/ 504825 h 4496940"/>
              <a:gd name="connsiteX127" fmla="*/ 1167152 w 4519987"/>
              <a:gd name="connsiteY127" fmla="*/ 311150 h 4496940"/>
              <a:gd name="connsiteX128" fmla="*/ 1268752 w 4519987"/>
              <a:gd name="connsiteY128" fmla="*/ 285750 h 4496940"/>
              <a:gd name="connsiteX129" fmla="*/ 1411627 w 4519987"/>
              <a:gd name="connsiteY129" fmla="*/ 190500 h 4496940"/>
              <a:gd name="connsiteX130" fmla="*/ 1449727 w 4519987"/>
              <a:gd name="connsiteY130" fmla="*/ 161925 h 4496940"/>
              <a:gd name="connsiteX131" fmla="*/ 1525927 w 4519987"/>
              <a:gd name="connsiteY131" fmla="*/ 152400 h 4496940"/>
              <a:gd name="connsiteX132" fmla="*/ 1583077 w 4519987"/>
              <a:gd name="connsiteY132" fmla="*/ 142875 h 4496940"/>
              <a:gd name="connsiteX133" fmla="*/ 1716427 w 4519987"/>
              <a:gd name="connsiteY133" fmla="*/ 123825 h 4496940"/>
              <a:gd name="connsiteX134" fmla="*/ 1811677 w 4519987"/>
              <a:gd name="connsiteY134" fmla="*/ 114300 h 4496940"/>
              <a:gd name="connsiteX135" fmla="*/ 1859302 w 4519987"/>
              <a:gd name="connsiteY135" fmla="*/ 104775 h 4496940"/>
              <a:gd name="connsiteX136" fmla="*/ 1916452 w 4519987"/>
              <a:gd name="connsiteY136" fmla="*/ 95250 h 4496940"/>
              <a:gd name="connsiteX137" fmla="*/ 2030752 w 4519987"/>
              <a:gd name="connsiteY137" fmla="*/ 66675 h 4496940"/>
              <a:gd name="connsiteX138" fmla="*/ 2097427 w 4519987"/>
              <a:gd name="connsiteY138" fmla="*/ 47625 h 4496940"/>
              <a:gd name="connsiteX139" fmla="*/ 2164102 w 4519987"/>
              <a:gd name="connsiteY139" fmla="*/ 38100 h 4496940"/>
              <a:gd name="connsiteX140" fmla="*/ 2392702 w 4519987"/>
              <a:gd name="connsiteY14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183402 w 4519987"/>
              <a:gd name="connsiteY34" fmla="*/ 3400425 h 4496940"/>
              <a:gd name="connsiteX35" fmla="*/ 4088152 w 4519987"/>
              <a:gd name="connsiteY35" fmla="*/ 3495675 h 4496940"/>
              <a:gd name="connsiteX36" fmla="*/ 4059577 w 4519987"/>
              <a:gd name="connsiteY36" fmla="*/ 3533775 h 4496940"/>
              <a:gd name="connsiteX37" fmla="*/ 4002427 w 4519987"/>
              <a:gd name="connsiteY37" fmla="*/ 3600450 h 4496940"/>
              <a:gd name="connsiteX38" fmla="*/ 3983377 w 4519987"/>
              <a:gd name="connsiteY38" fmla="*/ 3629025 h 4496940"/>
              <a:gd name="connsiteX39" fmla="*/ 3954802 w 4519987"/>
              <a:gd name="connsiteY39" fmla="*/ 3648075 h 4496940"/>
              <a:gd name="connsiteX40" fmla="*/ 3907177 w 4519987"/>
              <a:gd name="connsiteY40" fmla="*/ 3686175 h 4496940"/>
              <a:gd name="connsiteX41" fmla="*/ 3869077 w 4519987"/>
              <a:gd name="connsiteY41" fmla="*/ 3724275 h 4496940"/>
              <a:gd name="connsiteX42" fmla="*/ 3792877 w 4519987"/>
              <a:gd name="connsiteY42" fmla="*/ 3781425 h 4496940"/>
              <a:gd name="connsiteX43" fmla="*/ 3783352 w 4519987"/>
              <a:gd name="connsiteY43" fmla="*/ 3810000 h 4496940"/>
              <a:gd name="connsiteX44" fmla="*/ 3745252 w 4519987"/>
              <a:gd name="connsiteY44" fmla="*/ 3819525 h 4496940"/>
              <a:gd name="connsiteX45" fmla="*/ 3678577 w 4519987"/>
              <a:gd name="connsiteY45" fmla="*/ 3848100 h 4496940"/>
              <a:gd name="connsiteX46" fmla="*/ 3659527 w 4519987"/>
              <a:gd name="connsiteY46" fmla="*/ 3971925 h 4496940"/>
              <a:gd name="connsiteX47" fmla="*/ 3630952 w 4519987"/>
              <a:gd name="connsiteY47" fmla="*/ 4010025 h 4496940"/>
              <a:gd name="connsiteX48" fmla="*/ 3621427 w 4519987"/>
              <a:gd name="connsiteY48" fmla="*/ 4038600 h 4496940"/>
              <a:gd name="connsiteX49" fmla="*/ 3554752 w 4519987"/>
              <a:gd name="connsiteY49" fmla="*/ 4095750 h 4496940"/>
              <a:gd name="connsiteX50" fmla="*/ 3516652 w 4519987"/>
              <a:gd name="connsiteY50" fmla="*/ 4114800 h 4496940"/>
              <a:gd name="connsiteX51" fmla="*/ 3497602 w 4519987"/>
              <a:gd name="connsiteY51" fmla="*/ 4143375 h 4496940"/>
              <a:gd name="connsiteX52" fmla="*/ 3383302 w 4519987"/>
              <a:gd name="connsiteY52" fmla="*/ 4210050 h 4496940"/>
              <a:gd name="connsiteX53" fmla="*/ 3335677 w 4519987"/>
              <a:gd name="connsiteY53" fmla="*/ 4238625 h 4496940"/>
              <a:gd name="connsiteX54" fmla="*/ 3288052 w 4519987"/>
              <a:gd name="connsiteY54" fmla="*/ 4248150 h 4496940"/>
              <a:gd name="connsiteX55" fmla="*/ 3240427 w 4519987"/>
              <a:gd name="connsiteY55" fmla="*/ 4267200 h 4496940"/>
              <a:gd name="connsiteX56" fmla="*/ 3068977 w 4519987"/>
              <a:gd name="connsiteY56" fmla="*/ 4286250 h 4496940"/>
              <a:gd name="connsiteX57" fmla="*/ 2935627 w 4519987"/>
              <a:gd name="connsiteY57" fmla="*/ 4333875 h 4496940"/>
              <a:gd name="connsiteX58" fmla="*/ 2811802 w 4519987"/>
              <a:gd name="connsiteY58" fmla="*/ 4371975 h 4496940"/>
              <a:gd name="connsiteX59" fmla="*/ 2745127 w 4519987"/>
              <a:gd name="connsiteY59" fmla="*/ 4410075 h 4496940"/>
              <a:gd name="connsiteX60" fmla="*/ 2697502 w 4519987"/>
              <a:gd name="connsiteY60" fmla="*/ 4429125 h 4496940"/>
              <a:gd name="connsiteX61" fmla="*/ 2640352 w 4519987"/>
              <a:gd name="connsiteY61" fmla="*/ 4457700 h 4496940"/>
              <a:gd name="connsiteX62" fmla="*/ 2583202 w 4519987"/>
              <a:gd name="connsiteY62" fmla="*/ 4467225 h 4496940"/>
              <a:gd name="connsiteX63" fmla="*/ 2545102 w 4519987"/>
              <a:gd name="connsiteY63" fmla="*/ 4486275 h 4496940"/>
              <a:gd name="connsiteX64" fmla="*/ 2306977 w 4519987"/>
              <a:gd name="connsiteY64" fmla="*/ 4476750 h 4496940"/>
              <a:gd name="connsiteX65" fmla="*/ 2202202 w 4519987"/>
              <a:gd name="connsiteY65" fmla="*/ 4457700 h 4496940"/>
              <a:gd name="connsiteX66" fmla="*/ 2126002 w 4519987"/>
              <a:gd name="connsiteY66" fmla="*/ 4429125 h 4496940"/>
              <a:gd name="connsiteX67" fmla="*/ 1935502 w 4519987"/>
              <a:gd name="connsiteY67" fmla="*/ 4400550 h 4496940"/>
              <a:gd name="connsiteX68" fmla="*/ 1821202 w 4519987"/>
              <a:gd name="connsiteY68" fmla="*/ 4371975 h 4496940"/>
              <a:gd name="connsiteX69" fmla="*/ 1754527 w 4519987"/>
              <a:gd name="connsiteY69" fmla="*/ 4352925 h 4496940"/>
              <a:gd name="connsiteX70" fmla="*/ 1687852 w 4519987"/>
              <a:gd name="connsiteY70" fmla="*/ 4343400 h 4496940"/>
              <a:gd name="connsiteX71" fmla="*/ 1573552 w 4519987"/>
              <a:gd name="connsiteY71" fmla="*/ 4305300 h 4496940"/>
              <a:gd name="connsiteX72" fmla="*/ 1402102 w 4519987"/>
              <a:gd name="connsiteY72" fmla="*/ 4276725 h 4496940"/>
              <a:gd name="connsiteX73" fmla="*/ 1287802 w 4519987"/>
              <a:gd name="connsiteY73" fmla="*/ 4229100 h 4496940"/>
              <a:gd name="connsiteX74" fmla="*/ 1221127 w 4519987"/>
              <a:gd name="connsiteY74" fmla="*/ 4200525 h 4496940"/>
              <a:gd name="connsiteX75" fmla="*/ 1144927 w 4519987"/>
              <a:gd name="connsiteY75" fmla="*/ 4171950 h 4496940"/>
              <a:gd name="connsiteX76" fmla="*/ 1087777 w 4519987"/>
              <a:gd name="connsiteY76" fmla="*/ 4143375 h 4496940"/>
              <a:gd name="connsiteX77" fmla="*/ 1030627 w 4519987"/>
              <a:gd name="connsiteY77" fmla="*/ 4124325 h 4496940"/>
              <a:gd name="connsiteX78" fmla="*/ 925852 w 4519987"/>
              <a:gd name="connsiteY78" fmla="*/ 4067175 h 4496940"/>
              <a:gd name="connsiteX79" fmla="*/ 830602 w 4519987"/>
              <a:gd name="connsiteY79" fmla="*/ 3981450 h 4496940"/>
              <a:gd name="connsiteX80" fmla="*/ 763927 w 4519987"/>
              <a:gd name="connsiteY80" fmla="*/ 3914775 h 4496940"/>
              <a:gd name="connsiteX81" fmla="*/ 725827 w 4519987"/>
              <a:gd name="connsiteY81" fmla="*/ 3876675 h 4496940"/>
              <a:gd name="connsiteX82" fmla="*/ 697252 w 4519987"/>
              <a:gd name="connsiteY82" fmla="*/ 3838575 h 4496940"/>
              <a:gd name="connsiteX83" fmla="*/ 640102 w 4519987"/>
              <a:gd name="connsiteY83" fmla="*/ 3781425 h 4496940"/>
              <a:gd name="connsiteX84" fmla="*/ 611527 w 4519987"/>
              <a:gd name="connsiteY84" fmla="*/ 3733800 h 4496940"/>
              <a:gd name="connsiteX85" fmla="*/ 554377 w 4519987"/>
              <a:gd name="connsiteY85" fmla="*/ 3657600 h 4496940"/>
              <a:gd name="connsiteX86" fmla="*/ 525802 w 4519987"/>
              <a:gd name="connsiteY86" fmla="*/ 3609975 h 4496940"/>
              <a:gd name="connsiteX87" fmla="*/ 497227 w 4519987"/>
              <a:gd name="connsiteY87" fmla="*/ 3552825 h 4496940"/>
              <a:gd name="connsiteX88" fmla="*/ 440077 w 4519987"/>
              <a:gd name="connsiteY88" fmla="*/ 3495675 h 4496940"/>
              <a:gd name="connsiteX89" fmla="*/ 411502 w 4519987"/>
              <a:gd name="connsiteY89" fmla="*/ 3448050 h 4496940"/>
              <a:gd name="connsiteX90" fmla="*/ 278152 w 4519987"/>
              <a:gd name="connsiteY90" fmla="*/ 3257550 h 4496940"/>
              <a:gd name="connsiteX91" fmla="*/ 249577 w 4519987"/>
              <a:gd name="connsiteY91" fmla="*/ 3200400 h 4496940"/>
              <a:gd name="connsiteX92" fmla="*/ 240052 w 4519987"/>
              <a:gd name="connsiteY92" fmla="*/ 3162300 h 4496940"/>
              <a:gd name="connsiteX93" fmla="*/ 221002 w 4519987"/>
              <a:gd name="connsiteY93" fmla="*/ 3105150 h 4496940"/>
              <a:gd name="connsiteX94" fmla="*/ 173377 w 4519987"/>
              <a:gd name="connsiteY94" fmla="*/ 3019425 h 4496940"/>
              <a:gd name="connsiteX95" fmla="*/ 144802 w 4519987"/>
              <a:gd name="connsiteY95" fmla="*/ 2924175 h 4496940"/>
              <a:gd name="connsiteX96" fmla="*/ 68602 w 4519987"/>
              <a:gd name="connsiteY96" fmla="*/ 2724150 h 4496940"/>
              <a:gd name="connsiteX97" fmla="*/ 49552 w 4519987"/>
              <a:gd name="connsiteY97" fmla="*/ 2638425 h 4496940"/>
              <a:gd name="connsiteX98" fmla="*/ 40027 w 4519987"/>
              <a:gd name="connsiteY98" fmla="*/ 2562225 h 4496940"/>
              <a:gd name="connsiteX99" fmla="*/ 30502 w 4519987"/>
              <a:gd name="connsiteY99" fmla="*/ 2514600 h 4496940"/>
              <a:gd name="connsiteX100" fmla="*/ 11452 w 4519987"/>
              <a:gd name="connsiteY100" fmla="*/ 2400300 h 4496940"/>
              <a:gd name="connsiteX101" fmla="*/ 20977 w 4519987"/>
              <a:gd name="connsiteY101" fmla="*/ 1905000 h 4496940"/>
              <a:gd name="connsiteX102" fmla="*/ 30502 w 4519987"/>
              <a:gd name="connsiteY102" fmla="*/ 1838325 h 4496940"/>
              <a:gd name="connsiteX103" fmla="*/ 49552 w 4519987"/>
              <a:gd name="connsiteY103" fmla="*/ 1781175 h 4496940"/>
              <a:gd name="connsiteX104" fmla="*/ 59077 w 4519987"/>
              <a:gd name="connsiteY104" fmla="*/ 1743075 h 4496940"/>
              <a:gd name="connsiteX105" fmla="*/ 78127 w 4519987"/>
              <a:gd name="connsiteY105" fmla="*/ 1685925 h 4496940"/>
              <a:gd name="connsiteX106" fmla="*/ 87652 w 4519987"/>
              <a:gd name="connsiteY106" fmla="*/ 1638300 h 4496940"/>
              <a:gd name="connsiteX107" fmla="*/ 106702 w 4519987"/>
              <a:gd name="connsiteY107" fmla="*/ 1590675 h 4496940"/>
              <a:gd name="connsiteX108" fmla="*/ 135277 w 4519987"/>
              <a:gd name="connsiteY108" fmla="*/ 1504950 h 4496940"/>
              <a:gd name="connsiteX109" fmla="*/ 154327 w 4519987"/>
              <a:gd name="connsiteY109" fmla="*/ 1419225 h 4496940"/>
              <a:gd name="connsiteX110" fmla="*/ 230527 w 4519987"/>
              <a:gd name="connsiteY110" fmla="*/ 1276350 h 4496940"/>
              <a:gd name="connsiteX111" fmla="*/ 240052 w 4519987"/>
              <a:gd name="connsiteY111" fmla="*/ 1247775 h 4496940"/>
              <a:gd name="connsiteX112" fmla="*/ 268627 w 4519987"/>
              <a:gd name="connsiteY112" fmla="*/ 1200150 h 4496940"/>
              <a:gd name="connsiteX113" fmla="*/ 287677 w 4519987"/>
              <a:gd name="connsiteY113" fmla="*/ 1152525 h 4496940"/>
              <a:gd name="connsiteX114" fmla="*/ 316252 w 4519987"/>
              <a:gd name="connsiteY114" fmla="*/ 1114425 h 4496940"/>
              <a:gd name="connsiteX115" fmla="*/ 363877 w 4519987"/>
              <a:gd name="connsiteY115" fmla="*/ 1038225 h 4496940"/>
              <a:gd name="connsiteX116" fmla="*/ 382927 w 4519987"/>
              <a:gd name="connsiteY116" fmla="*/ 1009650 h 4496940"/>
              <a:gd name="connsiteX117" fmla="*/ 440077 w 4519987"/>
              <a:gd name="connsiteY117" fmla="*/ 904875 h 4496940"/>
              <a:gd name="connsiteX118" fmla="*/ 478177 w 4519987"/>
              <a:gd name="connsiteY118" fmla="*/ 857250 h 4496940"/>
              <a:gd name="connsiteX119" fmla="*/ 497227 w 4519987"/>
              <a:gd name="connsiteY119" fmla="*/ 828675 h 4496940"/>
              <a:gd name="connsiteX120" fmla="*/ 535327 w 4519987"/>
              <a:gd name="connsiteY120" fmla="*/ 800100 h 4496940"/>
              <a:gd name="connsiteX121" fmla="*/ 602002 w 4519987"/>
              <a:gd name="connsiteY121" fmla="*/ 733425 h 4496940"/>
              <a:gd name="connsiteX122" fmla="*/ 668677 w 4519987"/>
              <a:gd name="connsiteY122" fmla="*/ 676275 h 4496940"/>
              <a:gd name="connsiteX123" fmla="*/ 697252 w 4519987"/>
              <a:gd name="connsiteY123" fmla="*/ 657225 h 4496940"/>
              <a:gd name="connsiteX124" fmla="*/ 840127 w 4519987"/>
              <a:gd name="connsiteY124" fmla="*/ 533400 h 4496940"/>
              <a:gd name="connsiteX125" fmla="*/ 887752 w 4519987"/>
              <a:gd name="connsiteY125" fmla="*/ 504825 h 4496940"/>
              <a:gd name="connsiteX126" fmla="*/ 1167152 w 4519987"/>
              <a:gd name="connsiteY126" fmla="*/ 311150 h 4496940"/>
              <a:gd name="connsiteX127" fmla="*/ 1268752 w 4519987"/>
              <a:gd name="connsiteY127" fmla="*/ 285750 h 4496940"/>
              <a:gd name="connsiteX128" fmla="*/ 1411627 w 4519987"/>
              <a:gd name="connsiteY128" fmla="*/ 190500 h 4496940"/>
              <a:gd name="connsiteX129" fmla="*/ 1449727 w 4519987"/>
              <a:gd name="connsiteY129" fmla="*/ 161925 h 4496940"/>
              <a:gd name="connsiteX130" fmla="*/ 1525927 w 4519987"/>
              <a:gd name="connsiteY130" fmla="*/ 152400 h 4496940"/>
              <a:gd name="connsiteX131" fmla="*/ 1583077 w 4519987"/>
              <a:gd name="connsiteY131" fmla="*/ 142875 h 4496940"/>
              <a:gd name="connsiteX132" fmla="*/ 1716427 w 4519987"/>
              <a:gd name="connsiteY132" fmla="*/ 123825 h 4496940"/>
              <a:gd name="connsiteX133" fmla="*/ 1811677 w 4519987"/>
              <a:gd name="connsiteY133" fmla="*/ 114300 h 4496940"/>
              <a:gd name="connsiteX134" fmla="*/ 1859302 w 4519987"/>
              <a:gd name="connsiteY134" fmla="*/ 104775 h 4496940"/>
              <a:gd name="connsiteX135" fmla="*/ 1916452 w 4519987"/>
              <a:gd name="connsiteY135" fmla="*/ 95250 h 4496940"/>
              <a:gd name="connsiteX136" fmla="*/ 2030752 w 4519987"/>
              <a:gd name="connsiteY136" fmla="*/ 66675 h 4496940"/>
              <a:gd name="connsiteX137" fmla="*/ 2097427 w 4519987"/>
              <a:gd name="connsiteY137" fmla="*/ 47625 h 4496940"/>
              <a:gd name="connsiteX138" fmla="*/ 2164102 w 4519987"/>
              <a:gd name="connsiteY138" fmla="*/ 38100 h 4496940"/>
              <a:gd name="connsiteX139" fmla="*/ 2392702 w 4519987"/>
              <a:gd name="connsiteY13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83377 w 4519987"/>
              <a:gd name="connsiteY37" fmla="*/ 3629025 h 4496940"/>
              <a:gd name="connsiteX38" fmla="*/ 3954802 w 4519987"/>
              <a:gd name="connsiteY38" fmla="*/ 3648075 h 4496940"/>
              <a:gd name="connsiteX39" fmla="*/ 3907177 w 4519987"/>
              <a:gd name="connsiteY39" fmla="*/ 3686175 h 4496940"/>
              <a:gd name="connsiteX40" fmla="*/ 3869077 w 4519987"/>
              <a:gd name="connsiteY40" fmla="*/ 3724275 h 4496940"/>
              <a:gd name="connsiteX41" fmla="*/ 3792877 w 4519987"/>
              <a:gd name="connsiteY41" fmla="*/ 3781425 h 4496940"/>
              <a:gd name="connsiteX42" fmla="*/ 3783352 w 4519987"/>
              <a:gd name="connsiteY42" fmla="*/ 3810000 h 4496940"/>
              <a:gd name="connsiteX43" fmla="*/ 3745252 w 4519987"/>
              <a:gd name="connsiteY43" fmla="*/ 3819525 h 4496940"/>
              <a:gd name="connsiteX44" fmla="*/ 3678577 w 4519987"/>
              <a:gd name="connsiteY44" fmla="*/ 3848100 h 4496940"/>
              <a:gd name="connsiteX45" fmla="*/ 3659527 w 4519987"/>
              <a:gd name="connsiteY45" fmla="*/ 3971925 h 4496940"/>
              <a:gd name="connsiteX46" fmla="*/ 3630952 w 4519987"/>
              <a:gd name="connsiteY46" fmla="*/ 4010025 h 4496940"/>
              <a:gd name="connsiteX47" fmla="*/ 3621427 w 4519987"/>
              <a:gd name="connsiteY47" fmla="*/ 4038600 h 4496940"/>
              <a:gd name="connsiteX48" fmla="*/ 3554752 w 4519987"/>
              <a:gd name="connsiteY48" fmla="*/ 4095750 h 4496940"/>
              <a:gd name="connsiteX49" fmla="*/ 3516652 w 4519987"/>
              <a:gd name="connsiteY49" fmla="*/ 4114800 h 4496940"/>
              <a:gd name="connsiteX50" fmla="*/ 3497602 w 4519987"/>
              <a:gd name="connsiteY50" fmla="*/ 4143375 h 4496940"/>
              <a:gd name="connsiteX51" fmla="*/ 3383302 w 4519987"/>
              <a:gd name="connsiteY51" fmla="*/ 4210050 h 4496940"/>
              <a:gd name="connsiteX52" fmla="*/ 3335677 w 4519987"/>
              <a:gd name="connsiteY52" fmla="*/ 4238625 h 4496940"/>
              <a:gd name="connsiteX53" fmla="*/ 3288052 w 4519987"/>
              <a:gd name="connsiteY53" fmla="*/ 4248150 h 4496940"/>
              <a:gd name="connsiteX54" fmla="*/ 3240427 w 4519987"/>
              <a:gd name="connsiteY54" fmla="*/ 4267200 h 4496940"/>
              <a:gd name="connsiteX55" fmla="*/ 3068977 w 4519987"/>
              <a:gd name="connsiteY55" fmla="*/ 4286250 h 4496940"/>
              <a:gd name="connsiteX56" fmla="*/ 2935627 w 4519987"/>
              <a:gd name="connsiteY56" fmla="*/ 4333875 h 4496940"/>
              <a:gd name="connsiteX57" fmla="*/ 2811802 w 4519987"/>
              <a:gd name="connsiteY57" fmla="*/ 4371975 h 4496940"/>
              <a:gd name="connsiteX58" fmla="*/ 2745127 w 4519987"/>
              <a:gd name="connsiteY58" fmla="*/ 4410075 h 4496940"/>
              <a:gd name="connsiteX59" fmla="*/ 2697502 w 4519987"/>
              <a:gd name="connsiteY59" fmla="*/ 4429125 h 4496940"/>
              <a:gd name="connsiteX60" fmla="*/ 2640352 w 4519987"/>
              <a:gd name="connsiteY60" fmla="*/ 4457700 h 4496940"/>
              <a:gd name="connsiteX61" fmla="*/ 2583202 w 4519987"/>
              <a:gd name="connsiteY61" fmla="*/ 4467225 h 4496940"/>
              <a:gd name="connsiteX62" fmla="*/ 2545102 w 4519987"/>
              <a:gd name="connsiteY62" fmla="*/ 4486275 h 4496940"/>
              <a:gd name="connsiteX63" fmla="*/ 2306977 w 4519987"/>
              <a:gd name="connsiteY63" fmla="*/ 4476750 h 4496940"/>
              <a:gd name="connsiteX64" fmla="*/ 2202202 w 4519987"/>
              <a:gd name="connsiteY64" fmla="*/ 4457700 h 4496940"/>
              <a:gd name="connsiteX65" fmla="*/ 2126002 w 4519987"/>
              <a:gd name="connsiteY65" fmla="*/ 4429125 h 4496940"/>
              <a:gd name="connsiteX66" fmla="*/ 1935502 w 4519987"/>
              <a:gd name="connsiteY66" fmla="*/ 4400550 h 4496940"/>
              <a:gd name="connsiteX67" fmla="*/ 1821202 w 4519987"/>
              <a:gd name="connsiteY67" fmla="*/ 4371975 h 4496940"/>
              <a:gd name="connsiteX68" fmla="*/ 1754527 w 4519987"/>
              <a:gd name="connsiteY68" fmla="*/ 4352925 h 4496940"/>
              <a:gd name="connsiteX69" fmla="*/ 1687852 w 4519987"/>
              <a:gd name="connsiteY69" fmla="*/ 4343400 h 4496940"/>
              <a:gd name="connsiteX70" fmla="*/ 1573552 w 4519987"/>
              <a:gd name="connsiteY70" fmla="*/ 4305300 h 4496940"/>
              <a:gd name="connsiteX71" fmla="*/ 1402102 w 4519987"/>
              <a:gd name="connsiteY71" fmla="*/ 4276725 h 4496940"/>
              <a:gd name="connsiteX72" fmla="*/ 1287802 w 4519987"/>
              <a:gd name="connsiteY72" fmla="*/ 4229100 h 4496940"/>
              <a:gd name="connsiteX73" fmla="*/ 1221127 w 4519987"/>
              <a:gd name="connsiteY73" fmla="*/ 4200525 h 4496940"/>
              <a:gd name="connsiteX74" fmla="*/ 1144927 w 4519987"/>
              <a:gd name="connsiteY74" fmla="*/ 4171950 h 4496940"/>
              <a:gd name="connsiteX75" fmla="*/ 1087777 w 4519987"/>
              <a:gd name="connsiteY75" fmla="*/ 4143375 h 4496940"/>
              <a:gd name="connsiteX76" fmla="*/ 1030627 w 4519987"/>
              <a:gd name="connsiteY76" fmla="*/ 4124325 h 4496940"/>
              <a:gd name="connsiteX77" fmla="*/ 925852 w 4519987"/>
              <a:gd name="connsiteY77" fmla="*/ 4067175 h 4496940"/>
              <a:gd name="connsiteX78" fmla="*/ 830602 w 4519987"/>
              <a:gd name="connsiteY78" fmla="*/ 3981450 h 4496940"/>
              <a:gd name="connsiteX79" fmla="*/ 763927 w 4519987"/>
              <a:gd name="connsiteY79" fmla="*/ 3914775 h 4496940"/>
              <a:gd name="connsiteX80" fmla="*/ 725827 w 4519987"/>
              <a:gd name="connsiteY80" fmla="*/ 3876675 h 4496940"/>
              <a:gd name="connsiteX81" fmla="*/ 697252 w 4519987"/>
              <a:gd name="connsiteY81" fmla="*/ 3838575 h 4496940"/>
              <a:gd name="connsiteX82" fmla="*/ 640102 w 4519987"/>
              <a:gd name="connsiteY82" fmla="*/ 3781425 h 4496940"/>
              <a:gd name="connsiteX83" fmla="*/ 611527 w 4519987"/>
              <a:gd name="connsiteY83" fmla="*/ 3733800 h 4496940"/>
              <a:gd name="connsiteX84" fmla="*/ 554377 w 4519987"/>
              <a:gd name="connsiteY84" fmla="*/ 3657600 h 4496940"/>
              <a:gd name="connsiteX85" fmla="*/ 525802 w 4519987"/>
              <a:gd name="connsiteY85" fmla="*/ 3609975 h 4496940"/>
              <a:gd name="connsiteX86" fmla="*/ 497227 w 4519987"/>
              <a:gd name="connsiteY86" fmla="*/ 3552825 h 4496940"/>
              <a:gd name="connsiteX87" fmla="*/ 440077 w 4519987"/>
              <a:gd name="connsiteY87" fmla="*/ 3495675 h 4496940"/>
              <a:gd name="connsiteX88" fmla="*/ 411502 w 4519987"/>
              <a:gd name="connsiteY88" fmla="*/ 3448050 h 4496940"/>
              <a:gd name="connsiteX89" fmla="*/ 278152 w 4519987"/>
              <a:gd name="connsiteY89" fmla="*/ 3257550 h 4496940"/>
              <a:gd name="connsiteX90" fmla="*/ 249577 w 4519987"/>
              <a:gd name="connsiteY90" fmla="*/ 3200400 h 4496940"/>
              <a:gd name="connsiteX91" fmla="*/ 240052 w 4519987"/>
              <a:gd name="connsiteY91" fmla="*/ 3162300 h 4496940"/>
              <a:gd name="connsiteX92" fmla="*/ 221002 w 4519987"/>
              <a:gd name="connsiteY92" fmla="*/ 3105150 h 4496940"/>
              <a:gd name="connsiteX93" fmla="*/ 173377 w 4519987"/>
              <a:gd name="connsiteY93" fmla="*/ 3019425 h 4496940"/>
              <a:gd name="connsiteX94" fmla="*/ 144802 w 4519987"/>
              <a:gd name="connsiteY94" fmla="*/ 2924175 h 4496940"/>
              <a:gd name="connsiteX95" fmla="*/ 68602 w 4519987"/>
              <a:gd name="connsiteY95" fmla="*/ 2724150 h 4496940"/>
              <a:gd name="connsiteX96" fmla="*/ 49552 w 4519987"/>
              <a:gd name="connsiteY96" fmla="*/ 2638425 h 4496940"/>
              <a:gd name="connsiteX97" fmla="*/ 40027 w 4519987"/>
              <a:gd name="connsiteY97" fmla="*/ 2562225 h 4496940"/>
              <a:gd name="connsiteX98" fmla="*/ 30502 w 4519987"/>
              <a:gd name="connsiteY98" fmla="*/ 2514600 h 4496940"/>
              <a:gd name="connsiteX99" fmla="*/ 11452 w 4519987"/>
              <a:gd name="connsiteY99" fmla="*/ 2400300 h 4496940"/>
              <a:gd name="connsiteX100" fmla="*/ 20977 w 4519987"/>
              <a:gd name="connsiteY100" fmla="*/ 1905000 h 4496940"/>
              <a:gd name="connsiteX101" fmla="*/ 30502 w 4519987"/>
              <a:gd name="connsiteY101" fmla="*/ 1838325 h 4496940"/>
              <a:gd name="connsiteX102" fmla="*/ 49552 w 4519987"/>
              <a:gd name="connsiteY102" fmla="*/ 1781175 h 4496940"/>
              <a:gd name="connsiteX103" fmla="*/ 59077 w 4519987"/>
              <a:gd name="connsiteY103" fmla="*/ 1743075 h 4496940"/>
              <a:gd name="connsiteX104" fmla="*/ 78127 w 4519987"/>
              <a:gd name="connsiteY104" fmla="*/ 1685925 h 4496940"/>
              <a:gd name="connsiteX105" fmla="*/ 87652 w 4519987"/>
              <a:gd name="connsiteY105" fmla="*/ 1638300 h 4496940"/>
              <a:gd name="connsiteX106" fmla="*/ 106702 w 4519987"/>
              <a:gd name="connsiteY106" fmla="*/ 1590675 h 4496940"/>
              <a:gd name="connsiteX107" fmla="*/ 135277 w 4519987"/>
              <a:gd name="connsiteY107" fmla="*/ 1504950 h 4496940"/>
              <a:gd name="connsiteX108" fmla="*/ 154327 w 4519987"/>
              <a:gd name="connsiteY108" fmla="*/ 1419225 h 4496940"/>
              <a:gd name="connsiteX109" fmla="*/ 230527 w 4519987"/>
              <a:gd name="connsiteY109" fmla="*/ 1276350 h 4496940"/>
              <a:gd name="connsiteX110" fmla="*/ 240052 w 4519987"/>
              <a:gd name="connsiteY110" fmla="*/ 1247775 h 4496940"/>
              <a:gd name="connsiteX111" fmla="*/ 268627 w 4519987"/>
              <a:gd name="connsiteY111" fmla="*/ 1200150 h 4496940"/>
              <a:gd name="connsiteX112" fmla="*/ 287677 w 4519987"/>
              <a:gd name="connsiteY112" fmla="*/ 1152525 h 4496940"/>
              <a:gd name="connsiteX113" fmla="*/ 316252 w 4519987"/>
              <a:gd name="connsiteY113" fmla="*/ 1114425 h 4496940"/>
              <a:gd name="connsiteX114" fmla="*/ 363877 w 4519987"/>
              <a:gd name="connsiteY114" fmla="*/ 1038225 h 4496940"/>
              <a:gd name="connsiteX115" fmla="*/ 382927 w 4519987"/>
              <a:gd name="connsiteY115" fmla="*/ 1009650 h 4496940"/>
              <a:gd name="connsiteX116" fmla="*/ 440077 w 4519987"/>
              <a:gd name="connsiteY116" fmla="*/ 904875 h 4496940"/>
              <a:gd name="connsiteX117" fmla="*/ 478177 w 4519987"/>
              <a:gd name="connsiteY117" fmla="*/ 857250 h 4496940"/>
              <a:gd name="connsiteX118" fmla="*/ 497227 w 4519987"/>
              <a:gd name="connsiteY118" fmla="*/ 828675 h 4496940"/>
              <a:gd name="connsiteX119" fmla="*/ 535327 w 4519987"/>
              <a:gd name="connsiteY119" fmla="*/ 800100 h 4496940"/>
              <a:gd name="connsiteX120" fmla="*/ 602002 w 4519987"/>
              <a:gd name="connsiteY120" fmla="*/ 733425 h 4496940"/>
              <a:gd name="connsiteX121" fmla="*/ 668677 w 4519987"/>
              <a:gd name="connsiteY121" fmla="*/ 676275 h 4496940"/>
              <a:gd name="connsiteX122" fmla="*/ 697252 w 4519987"/>
              <a:gd name="connsiteY122" fmla="*/ 657225 h 4496940"/>
              <a:gd name="connsiteX123" fmla="*/ 840127 w 4519987"/>
              <a:gd name="connsiteY123" fmla="*/ 533400 h 4496940"/>
              <a:gd name="connsiteX124" fmla="*/ 887752 w 4519987"/>
              <a:gd name="connsiteY124" fmla="*/ 504825 h 4496940"/>
              <a:gd name="connsiteX125" fmla="*/ 1167152 w 4519987"/>
              <a:gd name="connsiteY125" fmla="*/ 311150 h 4496940"/>
              <a:gd name="connsiteX126" fmla="*/ 1268752 w 4519987"/>
              <a:gd name="connsiteY126" fmla="*/ 285750 h 4496940"/>
              <a:gd name="connsiteX127" fmla="*/ 1411627 w 4519987"/>
              <a:gd name="connsiteY127" fmla="*/ 190500 h 4496940"/>
              <a:gd name="connsiteX128" fmla="*/ 1449727 w 4519987"/>
              <a:gd name="connsiteY128" fmla="*/ 161925 h 4496940"/>
              <a:gd name="connsiteX129" fmla="*/ 1525927 w 4519987"/>
              <a:gd name="connsiteY129" fmla="*/ 152400 h 4496940"/>
              <a:gd name="connsiteX130" fmla="*/ 1583077 w 4519987"/>
              <a:gd name="connsiteY130" fmla="*/ 142875 h 4496940"/>
              <a:gd name="connsiteX131" fmla="*/ 1716427 w 4519987"/>
              <a:gd name="connsiteY131" fmla="*/ 123825 h 4496940"/>
              <a:gd name="connsiteX132" fmla="*/ 1811677 w 4519987"/>
              <a:gd name="connsiteY132" fmla="*/ 114300 h 4496940"/>
              <a:gd name="connsiteX133" fmla="*/ 1859302 w 4519987"/>
              <a:gd name="connsiteY133" fmla="*/ 104775 h 4496940"/>
              <a:gd name="connsiteX134" fmla="*/ 1916452 w 4519987"/>
              <a:gd name="connsiteY134" fmla="*/ 95250 h 4496940"/>
              <a:gd name="connsiteX135" fmla="*/ 2030752 w 4519987"/>
              <a:gd name="connsiteY135" fmla="*/ 66675 h 4496940"/>
              <a:gd name="connsiteX136" fmla="*/ 2097427 w 4519987"/>
              <a:gd name="connsiteY136" fmla="*/ 47625 h 4496940"/>
              <a:gd name="connsiteX137" fmla="*/ 2164102 w 4519987"/>
              <a:gd name="connsiteY137" fmla="*/ 38100 h 4496940"/>
              <a:gd name="connsiteX138" fmla="*/ 2392702 w 4519987"/>
              <a:gd name="connsiteY13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869077 w 4519987"/>
              <a:gd name="connsiteY39" fmla="*/ 3724275 h 4496940"/>
              <a:gd name="connsiteX40" fmla="*/ 3792877 w 4519987"/>
              <a:gd name="connsiteY40" fmla="*/ 3781425 h 4496940"/>
              <a:gd name="connsiteX41" fmla="*/ 3783352 w 4519987"/>
              <a:gd name="connsiteY41" fmla="*/ 3810000 h 4496940"/>
              <a:gd name="connsiteX42" fmla="*/ 3745252 w 4519987"/>
              <a:gd name="connsiteY42" fmla="*/ 3819525 h 4496940"/>
              <a:gd name="connsiteX43" fmla="*/ 3678577 w 4519987"/>
              <a:gd name="connsiteY43" fmla="*/ 3848100 h 4496940"/>
              <a:gd name="connsiteX44" fmla="*/ 3659527 w 4519987"/>
              <a:gd name="connsiteY44" fmla="*/ 3971925 h 4496940"/>
              <a:gd name="connsiteX45" fmla="*/ 3630952 w 4519987"/>
              <a:gd name="connsiteY45" fmla="*/ 4010025 h 4496940"/>
              <a:gd name="connsiteX46" fmla="*/ 3621427 w 4519987"/>
              <a:gd name="connsiteY46" fmla="*/ 4038600 h 4496940"/>
              <a:gd name="connsiteX47" fmla="*/ 3554752 w 4519987"/>
              <a:gd name="connsiteY47" fmla="*/ 4095750 h 4496940"/>
              <a:gd name="connsiteX48" fmla="*/ 3516652 w 4519987"/>
              <a:gd name="connsiteY48" fmla="*/ 4114800 h 4496940"/>
              <a:gd name="connsiteX49" fmla="*/ 3497602 w 4519987"/>
              <a:gd name="connsiteY49" fmla="*/ 4143375 h 4496940"/>
              <a:gd name="connsiteX50" fmla="*/ 3383302 w 4519987"/>
              <a:gd name="connsiteY50" fmla="*/ 4210050 h 4496940"/>
              <a:gd name="connsiteX51" fmla="*/ 3335677 w 4519987"/>
              <a:gd name="connsiteY51" fmla="*/ 4238625 h 4496940"/>
              <a:gd name="connsiteX52" fmla="*/ 3288052 w 4519987"/>
              <a:gd name="connsiteY52" fmla="*/ 4248150 h 4496940"/>
              <a:gd name="connsiteX53" fmla="*/ 3240427 w 4519987"/>
              <a:gd name="connsiteY53" fmla="*/ 4267200 h 4496940"/>
              <a:gd name="connsiteX54" fmla="*/ 3068977 w 4519987"/>
              <a:gd name="connsiteY54" fmla="*/ 4286250 h 4496940"/>
              <a:gd name="connsiteX55" fmla="*/ 2935627 w 4519987"/>
              <a:gd name="connsiteY55" fmla="*/ 4333875 h 4496940"/>
              <a:gd name="connsiteX56" fmla="*/ 2811802 w 4519987"/>
              <a:gd name="connsiteY56" fmla="*/ 4371975 h 4496940"/>
              <a:gd name="connsiteX57" fmla="*/ 2745127 w 4519987"/>
              <a:gd name="connsiteY57" fmla="*/ 4410075 h 4496940"/>
              <a:gd name="connsiteX58" fmla="*/ 2697502 w 4519987"/>
              <a:gd name="connsiteY58" fmla="*/ 4429125 h 4496940"/>
              <a:gd name="connsiteX59" fmla="*/ 2640352 w 4519987"/>
              <a:gd name="connsiteY59" fmla="*/ 4457700 h 4496940"/>
              <a:gd name="connsiteX60" fmla="*/ 2583202 w 4519987"/>
              <a:gd name="connsiteY60" fmla="*/ 4467225 h 4496940"/>
              <a:gd name="connsiteX61" fmla="*/ 2545102 w 4519987"/>
              <a:gd name="connsiteY61" fmla="*/ 4486275 h 4496940"/>
              <a:gd name="connsiteX62" fmla="*/ 2306977 w 4519987"/>
              <a:gd name="connsiteY62" fmla="*/ 4476750 h 4496940"/>
              <a:gd name="connsiteX63" fmla="*/ 2202202 w 4519987"/>
              <a:gd name="connsiteY63" fmla="*/ 4457700 h 4496940"/>
              <a:gd name="connsiteX64" fmla="*/ 2126002 w 4519987"/>
              <a:gd name="connsiteY64" fmla="*/ 4429125 h 4496940"/>
              <a:gd name="connsiteX65" fmla="*/ 1935502 w 4519987"/>
              <a:gd name="connsiteY65" fmla="*/ 4400550 h 4496940"/>
              <a:gd name="connsiteX66" fmla="*/ 1821202 w 4519987"/>
              <a:gd name="connsiteY66" fmla="*/ 4371975 h 4496940"/>
              <a:gd name="connsiteX67" fmla="*/ 1754527 w 4519987"/>
              <a:gd name="connsiteY67" fmla="*/ 4352925 h 4496940"/>
              <a:gd name="connsiteX68" fmla="*/ 1687852 w 4519987"/>
              <a:gd name="connsiteY68" fmla="*/ 4343400 h 4496940"/>
              <a:gd name="connsiteX69" fmla="*/ 1573552 w 4519987"/>
              <a:gd name="connsiteY69" fmla="*/ 4305300 h 4496940"/>
              <a:gd name="connsiteX70" fmla="*/ 1402102 w 4519987"/>
              <a:gd name="connsiteY70" fmla="*/ 4276725 h 4496940"/>
              <a:gd name="connsiteX71" fmla="*/ 1287802 w 4519987"/>
              <a:gd name="connsiteY71" fmla="*/ 4229100 h 4496940"/>
              <a:gd name="connsiteX72" fmla="*/ 1221127 w 4519987"/>
              <a:gd name="connsiteY72" fmla="*/ 4200525 h 4496940"/>
              <a:gd name="connsiteX73" fmla="*/ 1144927 w 4519987"/>
              <a:gd name="connsiteY73" fmla="*/ 4171950 h 4496940"/>
              <a:gd name="connsiteX74" fmla="*/ 1087777 w 4519987"/>
              <a:gd name="connsiteY74" fmla="*/ 4143375 h 4496940"/>
              <a:gd name="connsiteX75" fmla="*/ 1030627 w 4519987"/>
              <a:gd name="connsiteY75" fmla="*/ 4124325 h 4496940"/>
              <a:gd name="connsiteX76" fmla="*/ 925852 w 4519987"/>
              <a:gd name="connsiteY76" fmla="*/ 4067175 h 4496940"/>
              <a:gd name="connsiteX77" fmla="*/ 830602 w 4519987"/>
              <a:gd name="connsiteY77" fmla="*/ 3981450 h 4496940"/>
              <a:gd name="connsiteX78" fmla="*/ 763927 w 4519987"/>
              <a:gd name="connsiteY78" fmla="*/ 3914775 h 4496940"/>
              <a:gd name="connsiteX79" fmla="*/ 725827 w 4519987"/>
              <a:gd name="connsiteY79" fmla="*/ 3876675 h 4496940"/>
              <a:gd name="connsiteX80" fmla="*/ 697252 w 4519987"/>
              <a:gd name="connsiteY80" fmla="*/ 3838575 h 4496940"/>
              <a:gd name="connsiteX81" fmla="*/ 640102 w 4519987"/>
              <a:gd name="connsiteY81" fmla="*/ 3781425 h 4496940"/>
              <a:gd name="connsiteX82" fmla="*/ 611527 w 4519987"/>
              <a:gd name="connsiteY82" fmla="*/ 3733800 h 4496940"/>
              <a:gd name="connsiteX83" fmla="*/ 554377 w 4519987"/>
              <a:gd name="connsiteY83" fmla="*/ 3657600 h 4496940"/>
              <a:gd name="connsiteX84" fmla="*/ 525802 w 4519987"/>
              <a:gd name="connsiteY84" fmla="*/ 3609975 h 4496940"/>
              <a:gd name="connsiteX85" fmla="*/ 497227 w 4519987"/>
              <a:gd name="connsiteY85" fmla="*/ 3552825 h 4496940"/>
              <a:gd name="connsiteX86" fmla="*/ 440077 w 4519987"/>
              <a:gd name="connsiteY86" fmla="*/ 3495675 h 4496940"/>
              <a:gd name="connsiteX87" fmla="*/ 411502 w 4519987"/>
              <a:gd name="connsiteY87" fmla="*/ 3448050 h 4496940"/>
              <a:gd name="connsiteX88" fmla="*/ 278152 w 4519987"/>
              <a:gd name="connsiteY88" fmla="*/ 3257550 h 4496940"/>
              <a:gd name="connsiteX89" fmla="*/ 249577 w 4519987"/>
              <a:gd name="connsiteY89" fmla="*/ 3200400 h 4496940"/>
              <a:gd name="connsiteX90" fmla="*/ 240052 w 4519987"/>
              <a:gd name="connsiteY90" fmla="*/ 3162300 h 4496940"/>
              <a:gd name="connsiteX91" fmla="*/ 221002 w 4519987"/>
              <a:gd name="connsiteY91" fmla="*/ 3105150 h 4496940"/>
              <a:gd name="connsiteX92" fmla="*/ 173377 w 4519987"/>
              <a:gd name="connsiteY92" fmla="*/ 3019425 h 4496940"/>
              <a:gd name="connsiteX93" fmla="*/ 144802 w 4519987"/>
              <a:gd name="connsiteY93" fmla="*/ 2924175 h 4496940"/>
              <a:gd name="connsiteX94" fmla="*/ 68602 w 4519987"/>
              <a:gd name="connsiteY94" fmla="*/ 2724150 h 4496940"/>
              <a:gd name="connsiteX95" fmla="*/ 49552 w 4519987"/>
              <a:gd name="connsiteY95" fmla="*/ 2638425 h 4496940"/>
              <a:gd name="connsiteX96" fmla="*/ 40027 w 4519987"/>
              <a:gd name="connsiteY96" fmla="*/ 2562225 h 4496940"/>
              <a:gd name="connsiteX97" fmla="*/ 30502 w 4519987"/>
              <a:gd name="connsiteY97" fmla="*/ 2514600 h 4496940"/>
              <a:gd name="connsiteX98" fmla="*/ 11452 w 4519987"/>
              <a:gd name="connsiteY98" fmla="*/ 2400300 h 4496940"/>
              <a:gd name="connsiteX99" fmla="*/ 20977 w 4519987"/>
              <a:gd name="connsiteY99" fmla="*/ 1905000 h 4496940"/>
              <a:gd name="connsiteX100" fmla="*/ 30502 w 4519987"/>
              <a:gd name="connsiteY100" fmla="*/ 1838325 h 4496940"/>
              <a:gd name="connsiteX101" fmla="*/ 49552 w 4519987"/>
              <a:gd name="connsiteY101" fmla="*/ 1781175 h 4496940"/>
              <a:gd name="connsiteX102" fmla="*/ 59077 w 4519987"/>
              <a:gd name="connsiteY102" fmla="*/ 1743075 h 4496940"/>
              <a:gd name="connsiteX103" fmla="*/ 78127 w 4519987"/>
              <a:gd name="connsiteY103" fmla="*/ 1685925 h 4496940"/>
              <a:gd name="connsiteX104" fmla="*/ 87652 w 4519987"/>
              <a:gd name="connsiteY104" fmla="*/ 1638300 h 4496940"/>
              <a:gd name="connsiteX105" fmla="*/ 106702 w 4519987"/>
              <a:gd name="connsiteY105" fmla="*/ 1590675 h 4496940"/>
              <a:gd name="connsiteX106" fmla="*/ 135277 w 4519987"/>
              <a:gd name="connsiteY106" fmla="*/ 1504950 h 4496940"/>
              <a:gd name="connsiteX107" fmla="*/ 154327 w 4519987"/>
              <a:gd name="connsiteY107" fmla="*/ 1419225 h 4496940"/>
              <a:gd name="connsiteX108" fmla="*/ 230527 w 4519987"/>
              <a:gd name="connsiteY108" fmla="*/ 1276350 h 4496940"/>
              <a:gd name="connsiteX109" fmla="*/ 240052 w 4519987"/>
              <a:gd name="connsiteY109" fmla="*/ 1247775 h 4496940"/>
              <a:gd name="connsiteX110" fmla="*/ 268627 w 4519987"/>
              <a:gd name="connsiteY110" fmla="*/ 1200150 h 4496940"/>
              <a:gd name="connsiteX111" fmla="*/ 287677 w 4519987"/>
              <a:gd name="connsiteY111" fmla="*/ 1152525 h 4496940"/>
              <a:gd name="connsiteX112" fmla="*/ 316252 w 4519987"/>
              <a:gd name="connsiteY112" fmla="*/ 1114425 h 4496940"/>
              <a:gd name="connsiteX113" fmla="*/ 363877 w 4519987"/>
              <a:gd name="connsiteY113" fmla="*/ 1038225 h 4496940"/>
              <a:gd name="connsiteX114" fmla="*/ 382927 w 4519987"/>
              <a:gd name="connsiteY114" fmla="*/ 1009650 h 4496940"/>
              <a:gd name="connsiteX115" fmla="*/ 440077 w 4519987"/>
              <a:gd name="connsiteY115" fmla="*/ 904875 h 4496940"/>
              <a:gd name="connsiteX116" fmla="*/ 478177 w 4519987"/>
              <a:gd name="connsiteY116" fmla="*/ 857250 h 4496940"/>
              <a:gd name="connsiteX117" fmla="*/ 497227 w 4519987"/>
              <a:gd name="connsiteY117" fmla="*/ 828675 h 4496940"/>
              <a:gd name="connsiteX118" fmla="*/ 535327 w 4519987"/>
              <a:gd name="connsiteY118" fmla="*/ 800100 h 4496940"/>
              <a:gd name="connsiteX119" fmla="*/ 602002 w 4519987"/>
              <a:gd name="connsiteY119" fmla="*/ 733425 h 4496940"/>
              <a:gd name="connsiteX120" fmla="*/ 668677 w 4519987"/>
              <a:gd name="connsiteY120" fmla="*/ 676275 h 4496940"/>
              <a:gd name="connsiteX121" fmla="*/ 697252 w 4519987"/>
              <a:gd name="connsiteY121" fmla="*/ 657225 h 4496940"/>
              <a:gd name="connsiteX122" fmla="*/ 840127 w 4519987"/>
              <a:gd name="connsiteY122" fmla="*/ 533400 h 4496940"/>
              <a:gd name="connsiteX123" fmla="*/ 887752 w 4519987"/>
              <a:gd name="connsiteY123" fmla="*/ 504825 h 4496940"/>
              <a:gd name="connsiteX124" fmla="*/ 1167152 w 4519987"/>
              <a:gd name="connsiteY124" fmla="*/ 311150 h 4496940"/>
              <a:gd name="connsiteX125" fmla="*/ 1268752 w 4519987"/>
              <a:gd name="connsiteY125" fmla="*/ 285750 h 4496940"/>
              <a:gd name="connsiteX126" fmla="*/ 1411627 w 4519987"/>
              <a:gd name="connsiteY126" fmla="*/ 190500 h 4496940"/>
              <a:gd name="connsiteX127" fmla="*/ 1449727 w 4519987"/>
              <a:gd name="connsiteY127" fmla="*/ 161925 h 4496940"/>
              <a:gd name="connsiteX128" fmla="*/ 1525927 w 4519987"/>
              <a:gd name="connsiteY128" fmla="*/ 152400 h 4496940"/>
              <a:gd name="connsiteX129" fmla="*/ 1583077 w 4519987"/>
              <a:gd name="connsiteY129" fmla="*/ 142875 h 4496940"/>
              <a:gd name="connsiteX130" fmla="*/ 1716427 w 4519987"/>
              <a:gd name="connsiteY130" fmla="*/ 123825 h 4496940"/>
              <a:gd name="connsiteX131" fmla="*/ 1811677 w 4519987"/>
              <a:gd name="connsiteY131" fmla="*/ 114300 h 4496940"/>
              <a:gd name="connsiteX132" fmla="*/ 1859302 w 4519987"/>
              <a:gd name="connsiteY132" fmla="*/ 104775 h 4496940"/>
              <a:gd name="connsiteX133" fmla="*/ 1916452 w 4519987"/>
              <a:gd name="connsiteY133" fmla="*/ 95250 h 4496940"/>
              <a:gd name="connsiteX134" fmla="*/ 2030752 w 4519987"/>
              <a:gd name="connsiteY134" fmla="*/ 66675 h 4496940"/>
              <a:gd name="connsiteX135" fmla="*/ 2097427 w 4519987"/>
              <a:gd name="connsiteY135" fmla="*/ 47625 h 4496940"/>
              <a:gd name="connsiteX136" fmla="*/ 2164102 w 4519987"/>
              <a:gd name="connsiteY136" fmla="*/ 38100 h 4496940"/>
              <a:gd name="connsiteX137" fmla="*/ 2392702 w 4519987"/>
              <a:gd name="connsiteY13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745252 w 4519987"/>
              <a:gd name="connsiteY41" fmla="*/ 3819525 h 4496940"/>
              <a:gd name="connsiteX42" fmla="*/ 3678577 w 4519987"/>
              <a:gd name="connsiteY42" fmla="*/ 3848100 h 4496940"/>
              <a:gd name="connsiteX43" fmla="*/ 3659527 w 4519987"/>
              <a:gd name="connsiteY43" fmla="*/ 3971925 h 4496940"/>
              <a:gd name="connsiteX44" fmla="*/ 3630952 w 4519987"/>
              <a:gd name="connsiteY44" fmla="*/ 4010025 h 4496940"/>
              <a:gd name="connsiteX45" fmla="*/ 3621427 w 4519987"/>
              <a:gd name="connsiteY45" fmla="*/ 4038600 h 4496940"/>
              <a:gd name="connsiteX46" fmla="*/ 3554752 w 4519987"/>
              <a:gd name="connsiteY46" fmla="*/ 4095750 h 4496940"/>
              <a:gd name="connsiteX47" fmla="*/ 3516652 w 4519987"/>
              <a:gd name="connsiteY47" fmla="*/ 4114800 h 4496940"/>
              <a:gd name="connsiteX48" fmla="*/ 3497602 w 4519987"/>
              <a:gd name="connsiteY48" fmla="*/ 4143375 h 4496940"/>
              <a:gd name="connsiteX49" fmla="*/ 3383302 w 4519987"/>
              <a:gd name="connsiteY49" fmla="*/ 4210050 h 4496940"/>
              <a:gd name="connsiteX50" fmla="*/ 3335677 w 4519987"/>
              <a:gd name="connsiteY50" fmla="*/ 4238625 h 4496940"/>
              <a:gd name="connsiteX51" fmla="*/ 3288052 w 4519987"/>
              <a:gd name="connsiteY51" fmla="*/ 4248150 h 4496940"/>
              <a:gd name="connsiteX52" fmla="*/ 3240427 w 4519987"/>
              <a:gd name="connsiteY52" fmla="*/ 4267200 h 4496940"/>
              <a:gd name="connsiteX53" fmla="*/ 3068977 w 4519987"/>
              <a:gd name="connsiteY53" fmla="*/ 4286250 h 4496940"/>
              <a:gd name="connsiteX54" fmla="*/ 2935627 w 4519987"/>
              <a:gd name="connsiteY54" fmla="*/ 4333875 h 4496940"/>
              <a:gd name="connsiteX55" fmla="*/ 2811802 w 4519987"/>
              <a:gd name="connsiteY55" fmla="*/ 4371975 h 4496940"/>
              <a:gd name="connsiteX56" fmla="*/ 2745127 w 4519987"/>
              <a:gd name="connsiteY56" fmla="*/ 4410075 h 4496940"/>
              <a:gd name="connsiteX57" fmla="*/ 2697502 w 4519987"/>
              <a:gd name="connsiteY57" fmla="*/ 4429125 h 4496940"/>
              <a:gd name="connsiteX58" fmla="*/ 2640352 w 4519987"/>
              <a:gd name="connsiteY58" fmla="*/ 4457700 h 4496940"/>
              <a:gd name="connsiteX59" fmla="*/ 2583202 w 4519987"/>
              <a:gd name="connsiteY59" fmla="*/ 4467225 h 4496940"/>
              <a:gd name="connsiteX60" fmla="*/ 2545102 w 4519987"/>
              <a:gd name="connsiteY60" fmla="*/ 4486275 h 4496940"/>
              <a:gd name="connsiteX61" fmla="*/ 2306977 w 4519987"/>
              <a:gd name="connsiteY61" fmla="*/ 4476750 h 4496940"/>
              <a:gd name="connsiteX62" fmla="*/ 2202202 w 4519987"/>
              <a:gd name="connsiteY62" fmla="*/ 4457700 h 4496940"/>
              <a:gd name="connsiteX63" fmla="*/ 2126002 w 4519987"/>
              <a:gd name="connsiteY63" fmla="*/ 4429125 h 4496940"/>
              <a:gd name="connsiteX64" fmla="*/ 1935502 w 4519987"/>
              <a:gd name="connsiteY64" fmla="*/ 4400550 h 4496940"/>
              <a:gd name="connsiteX65" fmla="*/ 1821202 w 4519987"/>
              <a:gd name="connsiteY65" fmla="*/ 4371975 h 4496940"/>
              <a:gd name="connsiteX66" fmla="*/ 1754527 w 4519987"/>
              <a:gd name="connsiteY66" fmla="*/ 4352925 h 4496940"/>
              <a:gd name="connsiteX67" fmla="*/ 1687852 w 4519987"/>
              <a:gd name="connsiteY67" fmla="*/ 4343400 h 4496940"/>
              <a:gd name="connsiteX68" fmla="*/ 1573552 w 4519987"/>
              <a:gd name="connsiteY68" fmla="*/ 4305300 h 4496940"/>
              <a:gd name="connsiteX69" fmla="*/ 1402102 w 4519987"/>
              <a:gd name="connsiteY69" fmla="*/ 4276725 h 4496940"/>
              <a:gd name="connsiteX70" fmla="*/ 1287802 w 4519987"/>
              <a:gd name="connsiteY70" fmla="*/ 4229100 h 4496940"/>
              <a:gd name="connsiteX71" fmla="*/ 1221127 w 4519987"/>
              <a:gd name="connsiteY71" fmla="*/ 4200525 h 4496940"/>
              <a:gd name="connsiteX72" fmla="*/ 1144927 w 4519987"/>
              <a:gd name="connsiteY72" fmla="*/ 4171950 h 4496940"/>
              <a:gd name="connsiteX73" fmla="*/ 1087777 w 4519987"/>
              <a:gd name="connsiteY73" fmla="*/ 4143375 h 4496940"/>
              <a:gd name="connsiteX74" fmla="*/ 1030627 w 4519987"/>
              <a:gd name="connsiteY74" fmla="*/ 4124325 h 4496940"/>
              <a:gd name="connsiteX75" fmla="*/ 925852 w 4519987"/>
              <a:gd name="connsiteY75" fmla="*/ 4067175 h 4496940"/>
              <a:gd name="connsiteX76" fmla="*/ 830602 w 4519987"/>
              <a:gd name="connsiteY76" fmla="*/ 3981450 h 4496940"/>
              <a:gd name="connsiteX77" fmla="*/ 763927 w 4519987"/>
              <a:gd name="connsiteY77" fmla="*/ 3914775 h 4496940"/>
              <a:gd name="connsiteX78" fmla="*/ 725827 w 4519987"/>
              <a:gd name="connsiteY78" fmla="*/ 3876675 h 4496940"/>
              <a:gd name="connsiteX79" fmla="*/ 697252 w 4519987"/>
              <a:gd name="connsiteY79" fmla="*/ 3838575 h 4496940"/>
              <a:gd name="connsiteX80" fmla="*/ 640102 w 4519987"/>
              <a:gd name="connsiteY80" fmla="*/ 3781425 h 4496940"/>
              <a:gd name="connsiteX81" fmla="*/ 611527 w 4519987"/>
              <a:gd name="connsiteY81" fmla="*/ 3733800 h 4496940"/>
              <a:gd name="connsiteX82" fmla="*/ 554377 w 4519987"/>
              <a:gd name="connsiteY82" fmla="*/ 3657600 h 4496940"/>
              <a:gd name="connsiteX83" fmla="*/ 525802 w 4519987"/>
              <a:gd name="connsiteY83" fmla="*/ 3609975 h 4496940"/>
              <a:gd name="connsiteX84" fmla="*/ 497227 w 4519987"/>
              <a:gd name="connsiteY84" fmla="*/ 3552825 h 4496940"/>
              <a:gd name="connsiteX85" fmla="*/ 440077 w 4519987"/>
              <a:gd name="connsiteY85" fmla="*/ 3495675 h 4496940"/>
              <a:gd name="connsiteX86" fmla="*/ 411502 w 4519987"/>
              <a:gd name="connsiteY86" fmla="*/ 3448050 h 4496940"/>
              <a:gd name="connsiteX87" fmla="*/ 278152 w 4519987"/>
              <a:gd name="connsiteY87" fmla="*/ 3257550 h 4496940"/>
              <a:gd name="connsiteX88" fmla="*/ 249577 w 4519987"/>
              <a:gd name="connsiteY88" fmla="*/ 3200400 h 4496940"/>
              <a:gd name="connsiteX89" fmla="*/ 240052 w 4519987"/>
              <a:gd name="connsiteY89" fmla="*/ 3162300 h 4496940"/>
              <a:gd name="connsiteX90" fmla="*/ 221002 w 4519987"/>
              <a:gd name="connsiteY90" fmla="*/ 3105150 h 4496940"/>
              <a:gd name="connsiteX91" fmla="*/ 173377 w 4519987"/>
              <a:gd name="connsiteY91" fmla="*/ 3019425 h 4496940"/>
              <a:gd name="connsiteX92" fmla="*/ 144802 w 4519987"/>
              <a:gd name="connsiteY92" fmla="*/ 2924175 h 4496940"/>
              <a:gd name="connsiteX93" fmla="*/ 68602 w 4519987"/>
              <a:gd name="connsiteY93" fmla="*/ 2724150 h 4496940"/>
              <a:gd name="connsiteX94" fmla="*/ 49552 w 4519987"/>
              <a:gd name="connsiteY94" fmla="*/ 2638425 h 4496940"/>
              <a:gd name="connsiteX95" fmla="*/ 40027 w 4519987"/>
              <a:gd name="connsiteY95" fmla="*/ 2562225 h 4496940"/>
              <a:gd name="connsiteX96" fmla="*/ 30502 w 4519987"/>
              <a:gd name="connsiteY96" fmla="*/ 2514600 h 4496940"/>
              <a:gd name="connsiteX97" fmla="*/ 11452 w 4519987"/>
              <a:gd name="connsiteY97" fmla="*/ 2400300 h 4496940"/>
              <a:gd name="connsiteX98" fmla="*/ 20977 w 4519987"/>
              <a:gd name="connsiteY98" fmla="*/ 1905000 h 4496940"/>
              <a:gd name="connsiteX99" fmla="*/ 30502 w 4519987"/>
              <a:gd name="connsiteY99" fmla="*/ 1838325 h 4496940"/>
              <a:gd name="connsiteX100" fmla="*/ 49552 w 4519987"/>
              <a:gd name="connsiteY100" fmla="*/ 1781175 h 4496940"/>
              <a:gd name="connsiteX101" fmla="*/ 59077 w 4519987"/>
              <a:gd name="connsiteY101" fmla="*/ 1743075 h 4496940"/>
              <a:gd name="connsiteX102" fmla="*/ 78127 w 4519987"/>
              <a:gd name="connsiteY102" fmla="*/ 1685925 h 4496940"/>
              <a:gd name="connsiteX103" fmla="*/ 87652 w 4519987"/>
              <a:gd name="connsiteY103" fmla="*/ 1638300 h 4496940"/>
              <a:gd name="connsiteX104" fmla="*/ 106702 w 4519987"/>
              <a:gd name="connsiteY104" fmla="*/ 1590675 h 4496940"/>
              <a:gd name="connsiteX105" fmla="*/ 135277 w 4519987"/>
              <a:gd name="connsiteY105" fmla="*/ 1504950 h 4496940"/>
              <a:gd name="connsiteX106" fmla="*/ 154327 w 4519987"/>
              <a:gd name="connsiteY106" fmla="*/ 1419225 h 4496940"/>
              <a:gd name="connsiteX107" fmla="*/ 230527 w 4519987"/>
              <a:gd name="connsiteY107" fmla="*/ 1276350 h 4496940"/>
              <a:gd name="connsiteX108" fmla="*/ 240052 w 4519987"/>
              <a:gd name="connsiteY108" fmla="*/ 1247775 h 4496940"/>
              <a:gd name="connsiteX109" fmla="*/ 268627 w 4519987"/>
              <a:gd name="connsiteY109" fmla="*/ 1200150 h 4496940"/>
              <a:gd name="connsiteX110" fmla="*/ 287677 w 4519987"/>
              <a:gd name="connsiteY110" fmla="*/ 1152525 h 4496940"/>
              <a:gd name="connsiteX111" fmla="*/ 316252 w 4519987"/>
              <a:gd name="connsiteY111" fmla="*/ 1114425 h 4496940"/>
              <a:gd name="connsiteX112" fmla="*/ 363877 w 4519987"/>
              <a:gd name="connsiteY112" fmla="*/ 1038225 h 4496940"/>
              <a:gd name="connsiteX113" fmla="*/ 382927 w 4519987"/>
              <a:gd name="connsiteY113" fmla="*/ 1009650 h 4496940"/>
              <a:gd name="connsiteX114" fmla="*/ 440077 w 4519987"/>
              <a:gd name="connsiteY114" fmla="*/ 904875 h 4496940"/>
              <a:gd name="connsiteX115" fmla="*/ 478177 w 4519987"/>
              <a:gd name="connsiteY115" fmla="*/ 857250 h 4496940"/>
              <a:gd name="connsiteX116" fmla="*/ 497227 w 4519987"/>
              <a:gd name="connsiteY116" fmla="*/ 828675 h 4496940"/>
              <a:gd name="connsiteX117" fmla="*/ 535327 w 4519987"/>
              <a:gd name="connsiteY117" fmla="*/ 800100 h 4496940"/>
              <a:gd name="connsiteX118" fmla="*/ 602002 w 4519987"/>
              <a:gd name="connsiteY118" fmla="*/ 733425 h 4496940"/>
              <a:gd name="connsiteX119" fmla="*/ 668677 w 4519987"/>
              <a:gd name="connsiteY119" fmla="*/ 676275 h 4496940"/>
              <a:gd name="connsiteX120" fmla="*/ 697252 w 4519987"/>
              <a:gd name="connsiteY120" fmla="*/ 657225 h 4496940"/>
              <a:gd name="connsiteX121" fmla="*/ 840127 w 4519987"/>
              <a:gd name="connsiteY121" fmla="*/ 533400 h 4496940"/>
              <a:gd name="connsiteX122" fmla="*/ 887752 w 4519987"/>
              <a:gd name="connsiteY122" fmla="*/ 504825 h 4496940"/>
              <a:gd name="connsiteX123" fmla="*/ 1167152 w 4519987"/>
              <a:gd name="connsiteY123" fmla="*/ 311150 h 4496940"/>
              <a:gd name="connsiteX124" fmla="*/ 1268752 w 4519987"/>
              <a:gd name="connsiteY124" fmla="*/ 285750 h 4496940"/>
              <a:gd name="connsiteX125" fmla="*/ 1411627 w 4519987"/>
              <a:gd name="connsiteY125" fmla="*/ 190500 h 4496940"/>
              <a:gd name="connsiteX126" fmla="*/ 1449727 w 4519987"/>
              <a:gd name="connsiteY126" fmla="*/ 161925 h 4496940"/>
              <a:gd name="connsiteX127" fmla="*/ 1525927 w 4519987"/>
              <a:gd name="connsiteY127" fmla="*/ 152400 h 4496940"/>
              <a:gd name="connsiteX128" fmla="*/ 1583077 w 4519987"/>
              <a:gd name="connsiteY128" fmla="*/ 142875 h 4496940"/>
              <a:gd name="connsiteX129" fmla="*/ 1716427 w 4519987"/>
              <a:gd name="connsiteY129" fmla="*/ 123825 h 4496940"/>
              <a:gd name="connsiteX130" fmla="*/ 1811677 w 4519987"/>
              <a:gd name="connsiteY130" fmla="*/ 114300 h 4496940"/>
              <a:gd name="connsiteX131" fmla="*/ 1859302 w 4519987"/>
              <a:gd name="connsiteY131" fmla="*/ 104775 h 4496940"/>
              <a:gd name="connsiteX132" fmla="*/ 1916452 w 4519987"/>
              <a:gd name="connsiteY132" fmla="*/ 95250 h 4496940"/>
              <a:gd name="connsiteX133" fmla="*/ 2030752 w 4519987"/>
              <a:gd name="connsiteY133" fmla="*/ 66675 h 4496940"/>
              <a:gd name="connsiteX134" fmla="*/ 2097427 w 4519987"/>
              <a:gd name="connsiteY134" fmla="*/ 47625 h 4496940"/>
              <a:gd name="connsiteX135" fmla="*/ 2164102 w 4519987"/>
              <a:gd name="connsiteY135" fmla="*/ 38100 h 4496940"/>
              <a:gd name="connsiteX136" fmla="*/ 2392702 w 4519987"/>
              <a:gd name="connsiteY13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678577 w 4519987"/>
              <a:gd name="connsiteY41" fmla="*/ 3848100 h 4496940"/>
              <a:gd name="connsiteX42" fmla="*/ 3659527 w 4519987"/>
              <a:gd name="connsiteY42" fmla="*/ 3971925 h 4496940"/>
              <a:gd name="connsiteX43" fmla="*/ 3630952 w 4519987"/>
              <a:gd name="connsiteY43" fmla="*/ 4010025 h 4496940"/>
              <a:gd name="connsiteX44" fmla="*/ 3621427 w 4519987"/>
              <a:gd name="connsiteY44" fmla="*/ 4038600 h 4496940"/>
              <a:gd name="connsiteX45" fmla="*/ 3554752 w 4519987"/>
              <a:gd name="connsiteY45" fmla="*/ 4095750 h 4496940"/>
              <a:gd name="connsiteX46" fmla="*/ 3516652 w 4519987"/>
              <a:gd name="connsiteY46" fmla="*/ 4114800 h 4496940"/>
              <a:gd name="connsiteX47" fmla="*/ 3497602 w 4519987"/>
              <a:gd name="connsiteY47" fmla="*/ 4143375 h 4496940"/>
              <a:gd name="connsiteX48" fmla="*/ 3383302 w 4519987"/>
              <a:gd name="connsiteY48" fmla="*/ 4210050 h 4496940"/>
              <a:gd name="connsiteX49" fmla="*/ 3335677 w 4519987"/>
              <a:gd name="connsiteY49" fmla="*/ 4238625 h 4496940"/>
              <a:gd name="connsiteX50" fmla="*/ 3288052 w 4519987"/>
              <a:gd name="connsiteY50" fmla="*/ 4248150 h 4496940"/>
              <a:gd name="connsiteX51" fmla="*/ 3240427 w 4519987"/>
              <a:gd name="connsiteY51" fmla="*/ 4267200 h 4496940"/>
              <a:gd name="connsiteX52" fmla="*/ 3068977 w 4519987"/>
              <a:gd name="connsiteY52" fmla="*/ 4286250 h 4496940"/>
              <a:gd name="connsiteX53" fmla="*/ 2935627 w 4519987"/>
              <a:gd name="connsiteY53" fmla="*/ 4333875 h 4496940"/>
              <a:gd name="connsiteX54" fmla="*/ 2811802 w 4519987"/>
              <a:gd name="connsiteY54" fmla="*/ 4371975 h 4496940"/>
              <a:gd name="connsiteX55" fmla="*/ 2745127 w 4519987"/>
              <a:gd name="connsiteY55" fmla="*/ 4410075 h 4496940"/>
              <a:gd name="connsiteX56" fmla="*/ 2697502 w 4519987"/>
              <a:gd name="connsiteY56" fmla="*/ 4429125 h 4496940"/>
              <a:gd name="connsiteX57" fmla="*/ 2640352 w 4519987"/>
              <a:gd name="connsiteY57" fmla="*/ 4457700 h 4496940"/>
              <a:gd name="connsiteX58" fmla="*/ 2583202 w 4519987"/>
              <a:gd name="connsiteY58" fmla="*/ 4467225 h 4496940"/>
              <a:gd name="connsiteX59" fmla="*/ 2545102 w 4519987"/>
              <a:gd name="connsiteY59" fmla="*/ 4486275 h 4496940"/>
              <a:gd name="connsiteX60" fmla="*/ 2306977 w 4519987"/>
              <a:gd name="connsiteY60" fmla="*/ 4476750 h 4496940"/>
              <a:gd name="connsiteX61" fmla="*/ 2202202 w 4519987"/>
              <a:gd name="connsiteY61" fmla="*/ 4457700 h 4496940"/>
              <a:gd name="connsiteX62" fmla="*/ 2126002 w 4519987"/>
              <a:gd name="connsiteY62" fmla="*/ 4429125 h 4496940"/>
              <a:gd name="connsiteX63" fmla="*/ 1935502 w 4519987"/>
              <a:gd name="connsiteY63" fmla="*/ 4400550 h 4496940"/>
              <a:gd name="connsiteX64" fmla="*/ 1821202 w 4519987"/>
              <a:gd name="connsiteY64" fmla="*/ 4371975 h 4496940"/>
              <a:gd name="connsiteX65" fmla="*/ 1754527 w 4519987"/>
              <a:gd name="connsiteY65" fmla="*/ 4352925 h 4496940"/>
              <a:gd name="connsiteX66" fmla="*/ 1687852 w 4519987"/>
              <a:gd name="connsiteY66" fmla="*/ 4343400 h 4496940"/>
              <a:gd name="connsiteX67" fmla="*/ 1573552 w 4519987"/>
              <a:gd name="connsiteY67" fmla="*/ 4305300 h 4496940"/>
              <a:gd name="connsiteX68" fmla="*/ 1402102 w 4519987"/>
              <a:gd name="connsiteY68" fmla="*/ 4276725 h 4496940"/>
              <a:gd name="connsiteX69" fmla="*/ 1287802 w 4519987"/>
              <a:gd name="connsiteY69" fmla="*/ 4229100 h 4496940"/>
              <a:gd name="connsiteX70" fmla="*/ 1221127 w 4519987"/>
              <a:gd name="connsiteY70" fmla="*/ 4200525 h 4496940"/>
              <a:gd name="connsiteX71" fmla="*/ 1144927 w 4519987"/>
              <a:gd name="connsiteY71" fmla="*/ 4171950 h 4496940"/>
              <a:gd name="connsiteX72" fmla="*/ 1087777 w 4519987"/>
              <a:gd name="connsiteY72" fmla="*/ 4143375 h 4496940"/>
              <a:gd name="connsiteX73" fmla="*/ 1030627 w 4519987"/>
              <a:gd name="connsiteY73" fmla="*/ 4124325 h 4496940"/>
              <a:gd name="connsiteX74" fmla="*/ 925852 w 4519987"/>
              <a:gd name="connsiteY74" fmla="*/ 4067175 h 4496940"/>
              <a:gd name="connsiteX75" fmla="*/ 830602 w 4519987"/>
              <a:gd name="connsiteY75" fmla="*/ 3981450 h 4496940"/>
              <a:gd name="connsiteX76" fmla="*/ 763927 w 4519987"/>
              <a:gd name="connsiteY76" fmla="*/ 3914775 h 4496940"/>
              <a:gd name="connsiteX77" fmla="*/ 725827 w 4519987"/>
              <a:gd name="connsiteY77" fmla="*/ 3876675 h 4496940"/>
              <a:gd name="connsiteX78" fmla="*/ 697252 w 4519987"/>
              <a:gd name="connsiteY78" fmla="*/ 3838575 h 4496940"/>
              <a:gd name="connsiteX79" fmla="*/ 640102 w 4519987"/>
              <a:gd name="connsiteY79" fmla="*/ 3781425 h 4496940"/>
              <a:gd name="connsiteX80" fmla="*/ 611527 w 4519987"/>
              <a:gd name="connsiteY80" fmla="*/ 3733800 h 4496940"/>
              <a:gd name="connsiteX81" fmla="*/ 554377 w 4519987"/>
              <a:gd name="connsiteY81" fmla="*/ 3657600 h 4496940"/>
              <a:gd name="connsiteX82" fmla="*/ 525802 w 4519987"/>
              <a:gd name="connsiteY82" fmla="*/ 3609975 h 4496940"/>
              <a:gd name="connsiteX83" fmla="*/ 497227 w 4519987"/>
              <a:gd name="connsiteY83" fmla="*/ 3552825 h 4496940"/>
              <a:gd name="connsiteX84" fmla="*/ 440077 w 4519987"/>
              <a:gd name="connsiteY84" fmla="*/ 3495675 h 4496940"/>
              <a:gd name="connsiteX85" fmla="*/ 411502 w 4519987"/>
              <a:gd name="connsiteY85" fmla="*/ 3448050 h 4496940"/>
              <a:gd name="connsiteX86" fmla="*/ 278152 w 4519987"/>
              <a:gd name="connsiteY86" fmla="*/ 3257550 h 4496940"/>
              <a:gd name="connsiteX87" fmla="*/ 249577 w 4519987"/>
              <a:gd name="connsiteY87" fmla="*/ 3200400 h 4496940"/>
              <a:gd name="connsiteX88" fmla="*/ 240052 w 4519987"/>
              <a:gd name="connsiteY88" fmla="*/ 3162300 h 4496940"/>
              <a:gd name="connsiteX89" fmla="*/ 221002 w 4519987"/>
              <a:gd name="connsiteY89" fmla="*/ 3105150 h 4496940"/>
              <a:gd name="connsiteX90" fmla="*/ 173377 w 4519987"/>
              <a:gd name="connsiteY90" fmla="*/ 3019425 h 4496940"/>
              <a:gd name="connsiteX91" fmla="*/ 144802 w 4519987"/>
              <a:gd name="connsiteY91" fmla="*/ 2924175 h 4496940"/>
              <a:gd name="connsiteX92" fmla="*/ 68602 w 4519987"/>
              <a:gd name="connsiteY92" fmla="*/ 2724150 h 4496940"/>
              <a:gd name="connsiteX93" fmla="*/ 49552 w 4519987"/>
              <a:gd name="connsiteY93" fmla="*/ 2638425 h 4496940"/>
              <a:gd name="connsiteX94" fmla="*/ 40027 w 4519987"/>
              <a:gd name="connsiteY94" fmla="*/ 2562225 h 4496940"/>
              <a:gd name="connsiteX95" fmla="*/ 30502 w 4519987"/>
              <a:gd name="connsiteY95" fmla="*/ 2514600 h 4496940"/>
              <a:gd name="connsiteX96" fmla="*/ 11452 w 4519987"/>
              <a:gd name="connsiteY96" fmla="*/ 2400300 h 4496940"/>
              <a:gd name="connsiteX97" fmla="*/ 20977 w 4519987"/>
              <a:gd name="connsiteY97" fmla="*/ 1905000 h 4496940"/>
              <a:gd name="connsiteX98" fmla="*/ 30502 w 4519987"/>
              <a:gd name="connsiteY98" fmla="*/ 1838325 h 4496940"/>
              <a:gd name="connsiteX99" fmla="*/ 49552 w 4519987"/>
              <a:gd name="connsiteY99" fmla="*/ 1781175 h 4496940"/>
              <a:gd name="connsiteX100" fmla="*/ 59077 w 4519987"/>
              <a:gd name="connsiteY100" fmla="*/ 1743075 h 4496940"/>
              <a:gd name="connsiteX101" fmla="*/ 78127 w 4519987"/>
              <a:gd name="connsiteY101" fmla="*/ 1685925 h 4496940"/>
              <a:gd name="connsiteX102" fmla="*/ 87652 w 4519987"/>
              <a:gd name="connsiteY102" fmla="*/ 1638300 h 4496940"/>
              <a:gd name="connsiteX103" fmla="*/ 106702 w 4519987"/>
              <a:gd name="connsiteY103" fmla="*/ 1590675 h 4496940"/>
              <a:gd name="connsiteX104" fmla="*/ 135277 w 4519987"/>
              <a:gd name="connsiteY104" fmla="*/ 1504950 h 4496940"/>
              <a:gd name="connsiteX105" fmla="*/ 154327 w 4519987"/>
              <a:gd name="connsiteY105" fmla="*/ 1419225 h 4496940"/>
              <a:gd name="connsiteX106" fmla="*/ 230527 w 4519987"/>
              <a:gd name="connsiteY106" fmla="*/ 1276350 h 4496940"/>
              <a:gd name="connsiteX107" fmla="*/ 240052 w 4519987"/>
              <a:gd name="connsiteY107" fmla="*/ 1247775 h 4496940"/>
              <a:gd name="connsiteX108" fmla="*/ 268627 w 4519987"/>
              <a:gd name="connsiteY108" fmla="*/ 1200150 h 4496940"/>
              <a:gd name="connsiteX109" fmla="*/ 287677 w 4519987"/>
              <a:gd name="connsiteY109" fmla="*/ 1152525 h 4496940"/>
              <a:gd name="connsiteX110" fmla="*/ 316252 w 4519987"/>
              <a:gd name="connsiteY110" fmla="*/ 1114425 h 4496940"/>
              <a:gd name="connsiteX111" fmla="*/ 363877 w 4519987"/>
              <a:gd name="connsiteY111" fmla="*/ 1038225 h 4496940"/>
              <a:gd name="connsiteX112" fmla="*/ 382927 w 4519987"/>
              <a:gd name="connsiteY112" fmla="*/ 1009650 h 4496940"/>
              <a:gd name="connsiteX113" fmla="*/ 440077 w 4519987"/>
              <a:gd name="connsiteY113" fmla="*/ 904875 h 4496940"/>
              <a:gd name="connsiteX114" fmla="*/ 478177 w 4519987"/>
              <a:gd name="connsiteY114" fmla="*/ 857250 h 4496940"/>
              <a:gd name="connsiteX115" fmla="*/ 497227 w 4519987"/>
              <a:gd name="connsiteY115" fmla="*/ 828675 h 4496940"/>
              <a:gd name="connsiteX116" fmla="*/ 535327 w 4519987"/>
              <a:gd name="connsiteY116" fmla="*/ 800100 h 4496940"/>
              <a:gd name="connsiteX117" fmla="*/ 602002 w 4519987"/>
              <a:gd name="connsiteY117" fmla="*/ 733425 h 4496940"/>
              <a:gd name="connsiteX118" fmla="*/ 668677 w 4519987"/>
              <a:gd name="connsiteY118" fmla="*/ 676275 h 4496940"/>
              <a:gd name="connsiteX119" fmla="*/ 697252 w 4519987"/>
              <a:gd name="connsiteY119" fmla="*/ 657225 h 4496940"/>
              <a:gd name="connsiteX120" fmla="*/ 840127 w 4519987"/>
              <a:gd name="connsiteY120" fmla="*/ 533400 h 4496940"/>
              <a:gd name="connsiteX121" fmla="*/ 887752 w 4519987"/>
              <a:gd name="connsiteY121" fmla="*/ 504825 h 4496940"/>
              <a:gd name="connsiteX122" fmla="*/ 1167152 w 4519987"/>
              <a:gd name="connsiteY122" fmla="*/ 311150 h 4496940"/>
              <a:gd name="connsiteX123" fmla="*/ 1268752 w 4519987"/>
              <a:gd name="connsiteY123" fmla="*/ 285750 h 4496940"/>
              <a:gd name="connsiteX124" fmla="*/ 1411627 w 4519987"/>
              <a:gd name="connsiteY124" fmla="*/ 190500 h 4496940"/>
              <a:gd name="connsiteX125" fmla="*/ 1449727 w 4519987"/>
              <a:gd name="connsiteY125" fmla="*/ 161925 h 4496940"/>
              <a:gd name="connsiteX126" fmla="*/ 1525927 w 4519987"/>
              <a:gd name="connsiteY126" fmla="*/ 152400 h 4496940"/>
              <a:gd name="connsiteX127" fmla="*/ 1583077 w 4519987"/>
              <a:gd name="connsiteY127" fmla="*/ 142875 h 4496940"/>
              <a:gd name="connsiteX128" fmla="*/ 1716427 w 4519987"/>
              <a:gd name="connsiteY128" fmla="*/ 123825 h 4496940"/>
              <a:gd name="connsiteX129" fmla="*/ 1811677 w 4519987"/>
              <a:gd name="connsiteY129" fmla="*/ 114300 h 4496940"/>
              <a:gd name="connsiteX130" fmla="*/ 1859302 w 4519987"/>
              <a:gd name="connsiteY130" fmla="*/ 104775 h 4496940"/>
              <a:gd name="connsiteX131" fmla="*/ 1916452 w 4519987"/>
              <a:gd name="connsiteY131" fmla="*/ 95250 h 4496940"/>
              <a:gd name="connsiteX132" fmla="*/ 2030752 w 4519987"/>
              <a:gd name="connsiteY132" fmla="*/ 66675 h 4496940"/>
              <a:gd name="connsiteX133" fmla="*/ 2097427 w 4519987"/>
              <a:gd name="connsiteY133" fmla="*/ 47625 h 4496940"/>
              <a:gd name="connsiteX134" fmla="*/ 2164102 w 4519987"/>
              <a:gd name="connsiteY134" fmla="*/ 38100 h 4496940"/>
              <a:gd name="connsiteX135" fmla="*/ 2392702 w 4519987"/>
              <a:gd name="connsiteY13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78577 w 4519987"/>
              <a:gd name="connsiteY40" fmla="*/ 3848100 h 4496940"/>
              <a:gd name="connsiteX41" fmla="*/ 3659527 w 4519987"/>
              <a:gd name="connsiteY41" fmla="*/ 3971925 h 4496940"/>
              <a:gd name="connsiteX42" fmla="*/ 3630952 w 4519987"/>
              <a:gd name="connsiteY42" fmla="*/ 4010025 h 4496940"/>
              <a:gd name="connsiteX43" fmla="*/ 3621427 w 4519987"/>
              <a:gd name="connsiteY43" fmla="*/ 4038600 h 4496940"/>
              <a:gd name="connsiteX44" fmla="*/ 3554752 w 4519987"/>
              <a:gd name="connsiteY44" fmla="*/ 4095750 h 4496940"/>
              <a:gd name="connsiteX45" fmla="*/ 3516652 w 4519987"/>
              <a:gd name="connsiteY45" fmla="*/ 4114800 h 4496940"/>
              <a:gd name="connsiteX46" fmla="*/ 3497602 w 4519987"/>
              <a:gd name="connsiteY46" fmla="*/ 4143375 h 4496940"/>
              <a:gd name="connsiteX47" fmla="*/ 3383302 w 4519987"/>
              <a:gd name="connsiteY47" fmla="*/ 4210050 h 4496940"/>
              <a:gd name="connsiteX48" fmla="*/ 3335677 w 4519987"/>
              <a:gd name="connsiteY48" fmla="*/ 4238625 h 4496940"/>
              <a:gd name="connsiteX49" fmla="*/ 3288052 w 4519987"/>
              <a:gd name="connsiteY49" fmla="*/ 4248150 h 4496940"/>
              <a:gd name="connsiteX50" fmla="*/ 3240427 w 4519987"/>
              <a:gd name="connsiteY50" fmla="*/ 4267200 h 4496940"/>
              <a:gd name="connsiteX51" fmla="*/ 3068977 w 4519987"/>
              <a:gd name="connsiteY51" fmla="*/ 4286250 h 4496940"/>
              <a:gd name="connsiteX52" fmla="*/ 2935627 w 4519987"/>
              <a:gd name="connsiteY52" fmla="*/ 4333875 h 4496940"/>
              <a:gd name="connsiteX53" fmla="*/ 2811802 w 4519987"/>
              <a:gd name="connsiteY53" fmla="*/ 4371975 h 4496940"/>
              <a:gd name="connsiteX54" fmla="*/ 2745127 w 4519987"/>
              <a:gd name="connsiteY54" fmla="*/ 4410075 h 4496940"/>
              <a:gd name="connsiteX55" fmla="*/ 2697502 w 4519987"/>
              <a:gd name="connsiteY55" fmla="*/ 4429125 h 4496940"/>
              <a:gd name="connsiteX56" fmla="*/ 2640352 w 4519987"/>
              <a:gd name="connsiteY56" fmla="*/ 4457700 h 4496940"/>
              <a:gd name="connsiteX57" fmla="*/ 2583202 w 4519987"/>
              <a:gd name="connsiteY57" fmla="*/ 4467225 h 4496940"/>
              <a:gd name="connsiteX58" fmla="*/ 2545102 w 4519987"/>
              <a:gd name="connsiteY58" fmla="*/ 4486275 h 4496940"/>
              <a:gd name="connsiteX59" fmla="*/ 2306977 w 4519987"/>
              <a:gd name="connsiteY59" fmla="*/ 4476750 h 4496940"/>
              <a:gd name="connsiteX60" fmla="*/ 2202202 w 4519987"/>
              <a:gd name="connsiteY60" fmla="*/ 4457700 h 4496940"/>
              <a:gd name="connsiteX61" fmla="*/ 2126002 w 4519987"/>
              <a:gd name="connsiteY61" fmla="*/ 4429125 h 4496940"/>
              <a:gd name="connsiteX62" fmla="*/ 1935502 w 4519987"/>
              <a:gd name="connsiteY62" fmla="*/ 4400550 h 4496940"/>
              <a:gd name="connsiteX63" fmla="*/ 1821202 w 4519987"/>
              <a:gd name="connsiteY63" fmla="*/ 4371975 h 4496940"/>
              <a:gd name="connsiteX64" fmla="*/ 1754527 w 4519987"/>
              <a:gd name="connsiteY64" fmla="*/ 4352925 h 4496940"/>
              <a:gd name="connsiteX65" fmla="*/ 1687852 w 4519987"/>
              <a:gd name="connsiteY65" fmla="*/ 4343400 h 4496940"/>
              <a:gd name="connsiteX66" fmla="*/ 1573552 w 4519987"/>
              <a:gd name="connsiteY66" fmla="*/ 4305300 h 4496940"/>
              <a:gd name="connsiteX67" fmla="*/ 1402102 w 4519987"/>
              <a:gd name="connsiteY67" fmla="*/ 4276725 h 4496940"/>
              <a:gd name="connsiteX68" fmla="*/ 1287802 w 4519987"/>
              <a:gd name="connsiteY68" fmla="*/ 4229100 h 4496940"/>
              <a:gd name="connsiteX69" fmla="*/ 1221127 w 4519987"/>
              <a:gd name="connsiteY69" fmla="*/ 4200525 h 4496940"/>
              <a:gd name="connsiteX70" fmla="*/ 1144927 w 4519987"/>
              <a:gd name="connsiteY70" fmla="*/ 4171950 h 4496940"/>
              <a:gd name="connsiteX71" fmla="*/ 1087777 w 4519987"/>
              <a:gd name="connsiteY71" fmla="*/ 4143375 h 4496940"/>
              <a:gd name="connsiteX72" fmla="*/ 1030627 w 4519987"/>
              <a:gd name="connsiteY72" fmla="*/ 4124325 h 4496940"/>
              <a:gd name="connsiteX73" fmla="*/ 925852 w 4519987"/>
              <a:gd name="connsiteY73" fmla="*/ 4067175 h 4496940"/>
              <a:gd name="connsiteX74" fmla="*/ 830602 w 4519987"/>
              <a:gd name="connsiteY74" fmla="*/ 3981450 h 4496940"/>
              <a:gd name="connsiteX75" fmla="*/ 763927 w 4519987"/>
              <a:gd name="connsiteY75" fmla="*/ 3914775 h 4496940"/>
              <a:gd name="connsiteX76" fmla="*/ 725827 w 4519987"/>
              <a:gd name="connsiteY76" fmla="*/ 3876675 h 4496940"/>
              <a:gd name="connsiteX77" fmla="*/ 697252 w 4519987"/>
              <a:gd name="connsiteY77" fmla="*/ 3838575 h 4496940"/>
              <a:gd name="connsiteX78" fmla="*/ 640102 w 4519987"/>
              <a:gd name="connsiteY78" fmla="*/ 3781425 h 4496940"/>
              <a:gd name="connsiteX79" fmla="*/ 611527 w 4519987"/>
              <a:gd name="connsiteY79" fmla="*/ 3733800 h 4496940"/>
              <a:gd name="connsiteX80" fmla="*/ 554377 w 4519987"/>
              <a:gd name="connsiteY80" fmla="*/ 3657600 h 4496940"/>
              <a:gd name="connsiteX81" fmla="*/ 525802 w 4519987"/>
              <a:gd name="connsiteY81" fmla="*/ 3609975 h 4496940"/>
              <a:gd name="connsiteX82" fmla="*/ 497227 w 4519987"/>
              <a:gd name="connsiteY82" fmla="*/ 3552825 h 4496940"/>
              <a:gd name="connsiteX83" fmla="*/ 440077 w 4519987"/>
              <a:gd name="connsiteY83" fmla="*/ 3495675 h 4496940"/>
              <a:gd name="connsiteX84" fmla="*/ 411502 w 4519987"/>
              <a:gd name="connsiteY84" fmla="*/ 3448050 h 4496940"/>
              <a:gd name="connsiteX85" fmla="*/ 278152 w 4519987"/>
              <a:gd name="connsiteY85" fmla="*/ 3257550 h 4496940"/>
              <a:gd name="connsiteX86" fmla="*/ 249577 w 4519987"/>
              <a:gd name="connsiteY86" fmla="*/ 3200400 h 4496940"/>
              <a:gd name="connsiteX87" fmla="*/ 240052 w 4519987"/>
              <a:gd name="connsiteY87" fmla="*/ 3162300 h 4496940"/>
              <a:gd name="connsiteX88" fmla="*/ 221002 w 4519987"/>
              <a:gd name="connsiteY88" fmla="*/ 3105150 h 4496940"/>
              <a:gd name="connsiteX89" fmla="*/ 173377 w 4519987"/>
              <a:gd name="connsiteY89" fmla="*/ 3019425 h 4496940"/>
              <a:gd name="connsiteX90" fmla="*/ 144802 w 4519987"/>
              <a:gd name="connsiteY90" fmla="*/ 2924175 h 4496940"/>
              <a:gd name="connsiteX91" fmla="*/ 68602 w 4519987"/>
              <a:gd name="connsiteY91" fmla="*/ 2724150 h 4496940"/>
              <a:gd name="connsiteX92" fmla="*/ 49552 w 4519987"/>
              <a:gd name="connsiteY92" fmla="*/ 2638425 h 4496940"/>
              <a:gd name="connsiteX93" fmla="*/ 40027 w 4519987"/>
              <a:gd name="connsiteY93" fmla="*/ 2562225 h 4496940"/>
              <a:gd name="connsiteX94" fmla="*/ 30502 w 4519987"/>
              <a:gd name="connsiteY94" fmla="*/ 2514600 h 4496940"/>
              <a:gd name="connsiteX95" fmla="*/ 11452 w 4519987"/>
              <a:gd name="connsiteY95" fmla="*/ 2400300 h 4496940"/>
              <a:gd name="connsiteX96" fmla="*/ 20977 w 4519987"/>
              <a:gd name="connsiteY96" fmla="*/ 1905000 h 4496940"/>
              <a:gd name="connsiteX97" fmla="*/ 30502 w 4519987"/>
              <a:gd name="connsiteY97" fmla="*/ 1838325 h 4496940"/>
              <a:gd name="connsiteX98" fmla="*/ 49552 w 4519987"/>
              <a:gd name="connsiteY98" fmla="*/ 1781175 h 4496940"/>
              <a:gd name="connsiteX99" fmla="*/ 59077 w 4519987"/>
              <a:gd name="connsiteY99" fmla="*/ 1743075 h 4496940"/>
              <a:gd name="connsiteX100" fmla="*/ 78127 w 4519987"/>
              <a:gd name="connsiteY100" fmla="*/ 1685925 h 4496940"/>
              <a:gd name="connsiteX101" fmla="*/ 87652 w 4519987"/>
              <a:gd name="connsiteY101" fmla="*/ 1638300 h 4496940"/>
              <a:gd name="connsiteX102" fmla="*/ 106702 w 4519987"/>
              <a:gd name="connsiteY102" fmla="*/ 1590675 h 4496940"/>
              <a:gd name="connsiteX103" fmla="*/ 135277 w 4519987"/>
              <a:gd name="connsiteY103" fmla="*/ 1504950 h 4496940"/>
              <a:gd name="connsiteX104" fmla="*/ 154327 w 4519987"/>
              <a:gd name="connsiteY104" fmla="*/ 1419225 h 4496940"/>
              <a:gd name="connsiteX105" fmla="*/ 230527 w 4519987"/>
              <a:gd name="connsiteY105" fmla="*/ 1276350 h 4496940"/>
              <a:gd name="connsiteX106" fmla="*/ 240052 w 4519987"/>
              <a:gd name="connsiteY106" fmla="*/ 1247775 h 4496940"/>
              <a:gd name="connsiteX107" fmla="*/ 268627 w 4519987"/>
              <a:gd name="connsiteY107" fmla="*/ 1200150 h 4496940"/>
              <a:gd name="connsiteX108" fmla="*/ 287677 w 4519987"/>
              <a:gd name="connsiteY108" fmla="*/ 1152525 h 4496940"/>
              <a:gd name="connsiteX109" fmla="*/ 316252 w 4519987"/>
              <a:gd name="connsiteY109" fmla="*/ 1114425 h 4496940"/>
              <a:gd name="connsiteX110" fmla="*/ 363877 w 4519987"/>
              <a:gd name="connsiteY110" fmla="*/ 1038225 h 4496940"/>
              <a:gd name="connsiteX111" fmla="*/ 382927 w 4519987"/>
              <a:gd name="connsiteY111" fmla="*/ 1009650 h 4496940"/>
              <a:gd name="connsiteX112" fmla="*/ 440077 w 4519987"/>
              <a:gd name="connsiteY112" fmla="*/ 904875 h 4496940"/>
              <a:gd name="connsiteX113" fmla="*/ 478177 w 4519987"/>
              <a:gd name="connsiteY113" fmla="*/ 857250 h 4496940"/>
              <a:gd name="connsiteX114" fmla="*/ 497227 w 4519987"/>
              <a:gd name="connsiteY114" fmla="*/ 828675 h 4496940"/>
              <a:gd name="connsiteX115" fmla="*/ 535327 w 4519987"/>
              <a:gd name="connsiteY115" fmla="*/ 800100 h 4496940"/>
              <a:gd name="connsiteX116" fmla="*/ 602002 w 4519987"/>
              <a:gd name="connsiteY116" fmla="*/ 733425 h 4496940"/>
              <a:gd name="connsiteX117" fmla="*/ 668677 w 4519987"/>
              <a:gd name="connsiteY117" fmla="*/ 676275 h 4496940"/>
              <a:gd name="connsiteX118" fmla="*/ 697252 w 4519987"/>
              <a:gd name="connsiteY118" fmla="*/ 657225 h 4496940"/>
              <a:gd name="connsiteX119" fmla="*/ 840127 w 4519987"/>
              <a:gd name="connsiteY119" fmla="*/ 533400 h 4496940"/>
              <a:gd name="connsiteX120" fmla="*/ 887752 w 4519987"/>
              <a:gd name="connsiteY120" fmla="*/ 504825 h 4496940"/>
              <a:gd name="connsiteX121" fmla="*/ 1167152 w 4519987"/>
              <a:gd name="connsiteY121" fmla="*/ 311150 h 4496940"/>
              <a:gd name="connsiteX122" fmla="*/ 1268752 w 4519987"/>
              <a:gd name="connsiteY122" fmla="*/ 285750 h 4496940"/>
              <a:gd name="connsiteX123" fmla="*/ 1411627 w 4519987"/>
              <a:gd name="connsiteY123" fmla="*/ 190500 h 4496940"/>
              <a:gd name="connsiteX124" fmla="*/ 1449727 w 4519987"/>
              <a:gd name="connsiteY124" fmla="*/ 161925 h 4496940"/>
              <a:gd name="connsiteX125" fmla="*/ 1525927 w 4519987"/>
              <a:gd name="connsiteY125" fmla="*/ 152400 h 4496940"/>
              <a:gd name="connsiteX126" fmla="*/ 1583077 w 4519987"/>
              <a:gd name="connsiteY126" fmla="*/ 142875 h 4496940"/>
              <a:gd name="connsiteX127" fmla="*/ 1716427 w 4519987"/>
              <a:gd name="connsiteY127" fmla="*/ 123825 h 4496940"/>
              <a:gd name="connsiteX128" fmla="*/ 1811677 w 4519987"/>
              <a:gd name="connsiteY128" fmla="*/ 114300 h 4496940"/>
              <a:gd name="connsiteX129" fmla="*/ 1859302 w 4519987"/>
              <a:gd name="connsiteY129" fmla="*/ 104775 h 4496940"/>
              <a:gd name="connsiteX130" fmla="*/ 1916452 w 4519987"/>
              <a:gd name="connsiteY130" fmla="*/ 95250 h 4496940"/>
              <a:gd name="connsiteX131" fmla="*/ 2030752 w 4519987"/>
              <a:gd name="connsiteY131" fmla="*/ 66675 h 4496940"/>
              <a:gd name="connsiteX132" fmla="*/ 2097427 w 4519987"/>
              <a:gd name="connsiteY132" fmla="*/ 47625 h 4496940"/>
              <a:gd name="connsiteX133" fmla="*/ 2164102 w 4519987"/>
              <a:gd name="connsiteY133" fmla="*/ 38100 h 4496940"/>
              <a:gd name="connsiteX134" fmla="*/ 2392702 w 4519987"/>
              <a:gd name="connsiteY13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59527 w 4519987"/>
              <a:gd name="connsiteY40" fmla="*/ 3971925 h 4496940"/>
              <a:gd name="connsiteX41" fmla="*/ 3630952 w 4519987"/>
              <a:gd name="connsiteY41" fmla="*/ 4010025 h 4496940"/>
              <a:gd name="connsiteX42" fmla="*/ 3621427 w 4519987"/>
              <a:gd name="connsiteY42" fmla="*/ 4038600 h 4496940"/>
              <a:gd name="connsiteX43" fmla="*/ 3554752 w 4519987"/>
              <a:gd name="connsiteY43" fmla="*/ 4095750 h 4496940"/>
              <a:gd name="connsiteX44" fmla="*/ 3516652 w 4519987"/>
              <a:gd name="connsiteY44" fmla="*/ 4114800 h 4496940"/>
              <a:gd name="connsiteX45" fmla="*/ 3497602 w 4519987"/>
              <a:gd name="connsiteY45" fmla="*/ 4143375 h 4496940"/>
              <a:gd name="connsiteX46" fmla="*/ 3383302 w 4519987"/>
              <a:gd name="connsiteY46" fmla="*/ 4210050 h 4496940"/>
              <a:gd name="connsiteX47" fmla="*/ 3335677 w 4519987"/>
              <a:gd name="connsiteY47" fmla="*/ 4238625 h 4496940"/>
              <a:gd name="connsiteX48" fmla="*/ 3288052 w 4519987"/>
              <a:gd name="connsiteY48" fmla="*/ 4248150 h 4496940"/>
              <a:gd name="connsiteX49" fmla="*/ 3240427 w 4519987"/>
              <a:gd name="connsiteY49" fmla="*/ 4267200 h 4496940"/>
              <a:gd name="connsiteX50" fmla="*/ 3068977 w 4519987"/>
              <a:gd name="connsiteY50" fmla="*/ 4286250 h 4496940"/>
              <a:gd name="connsiteX51" fmla="*/ 2935627 w 4519987"/>
              <a:gd name="connsiteY51" fmla="*/ 4333875 h 4496940"/>
              <a:gd name="connsiteX52" fmla="*/ 2811802 w 4519987"/>
              <a:gd name="connsiteY52" fmla="*/ 4371975 h 4496940"/>
              <a:gd name="connsiteX53" fmla="*/ 2745127 w 4519987"/>
              <a:gd name="connsiteY53" fmla="*/ 4410075 h 4496940"/>
              <a:gd name="connsiteX54" fmla="*/ 2697502 w 4519987"/>
              <a:gd name="connsiteY54" fmla="*/ 4429125 h 4496940"/>
              <a:gd name="connsiteX55" fmla="*/ 2640352 w 4519987"/>
              <a:gd name="connsiteY55" fmla="*/ 4457700 h 4496940"/>
              <a:gd name="connsiteX56" fmla="*/ 2583202 w 4519987"/>
              <a:gd name="connsiteY56" fmla="*/ 4467225 h 4496940"/>
              <a:gd name="connsiteX57" fmla="*/ 2545102 w 4519987"/>
              <a:gd name="connsiteY57" fmla="*/ 4486275 h 4496940"/>
              <a:gd name="connsiteX58" fmla="*/ 2306977 w 4519987"/>
              <a:gd name="connsiteY58" fmla="*/ 4476750 h 4496940"/>
              <a:gd name="connsiteX59" fmla="*/ 2202202 w 4519987"/>
              <a:gd name="connsiteY59" fmla="*/ 4457700 h 4496940"/>
              <a:gd name="connsiteX60" fmla="*/ 2126002 w 4519987"/>
              <a:gd name="connsiteY60" fmla="*/ 4429125 h 4496940"/>
              <a:gd name="connsiteX61" fmla="*/ 1935502 w 4519987"/>
              <a:gd name="connsiteY61" fmla="*/ 4400550 h 4496940"/>
              <a:gd name="connsiteX62" fmla="*/ 1821202 w 4519987"/>
              <a:gd name="connsiteY62" fmla="*/ 4371975 h 4496940"/>
              <a:gd name="connsiteX63" fmla="*/ 1754527 w 4519987"/>
              <a:gd name="connsiteY63" fmla="*/ 4352925 h 4496940"/>
              <a:gd name="connsiteX64" fmla="*/ 1687852 w 4519987"/>
              <a:gd name="connsiteY64" fmla="*/ 4343400 h 4496940"/>
              <a:gd name="connsiteX65" fmla="*/ 1573552 w 4519987"/>
              <a:gd name="connsiteY65" fmla="*/ 4305300 h 4496940"/>
              <a:gd name="connsiteX66" fmla="*/ 1402102 w 4519987"/>
              <a:gd name="connsiteY66" fmla="*/ 4276725 h 4496940"/>
              <a:gd name="connsiteX67" fmla="*/ 1287802 w 4519987"/>
              <a:gd name="connsiteY67" fmla="*/ 4229100 h 4496940"/>
              <a:gd name="connsiteX68" fmla="*/ 1221127 w 4519987"/>
              <a:gd name="connsiteY68" fmla="*/ 4200525 h 4496940"/>
              <a:gd name="connsiteX69" fmla="*/ 1144927 w 4519987"/>
              <a:gd name="connsiteY69" fmla="*/ 4171950 h 4496940"/>
              <a:gd name="connsiteX70" fmla="*/ 1087777 w 4519987"/>
              <a:gd name="connsiteY70" fmla="*/ 4143375 h 4496940"/>
              <a:gd name="connsiteX71" fmla="*/ 1030627 w 4519987"/>
              <a:gd name="connsiteY71" fmla="*/ 4124325 h 4496940"/>
              <a:gd name="connsiteX72" fmla="*/ 925852 w 4519987"/>
              <a:gd name="connsiteY72" fmla="*/ 4067175 h 4496940"/>
              <a:gd name="connsiteX73" fmla="*/ 830602 w 4519987"/>
              <a:gd name="connsiteY73" fmla="*/ 3981450 h 4496940"/>
              <a:gd name="connsiteX74" fmla="*/ 763927 w 4519987"/>
              <a:gd name="connsiteY74" fmla="*/ 3914775 h 4496940"/>
              <a:gd name="connsiteX75" fmla="*/ 725827 w 4519987"/>
              <a:gd name="connsiteY75" fmla="*/ 3876675 h 4496940"/>
              <a:gd name="connsiteX76" fmla="*/ 697252 w 4519987"/>
              <a:gd name="connsiteY76" fmla="*/ 3838575 h 4496940"/>
              <a:gd name="connsiteX77" fmla="*/ 640102 w 4519987"/>
              <a:gd name="connsiteY77" fmla="*/ 3781425 h 4496940"/>
              <a:gd name="connsiteX78" fmla="*/ 611527 w 4519987"/>
              <a:gd name="connsiteY78" fmla="*/ 3733800 h 4496940"/>
              <a:gd name="connsiteX79" fmla="*/ 554377 w 4519987"/>
              <a:gd name="connsiteY79" fmla="*/ 3657600 h 4496940"/>
              <a:gd name="connsiteX80" fmla="*/ 525802 w 4519987"/>
              <a:gd name="connsiteY80" fmla="*/ 3609975 h 4496940"/>
              <a:gd name="connsiteX81" fmla="*/ 497227 w 4519987"/>
              <a:gd name="connsiteY81" fmla="*/ 3552825 h 4496940"/>
              <a:gd name="connsiteX82" fmla="*/ 440077 w 4519987"/>
              <a:gd name="connsiteY82" fmla="*/ 3495675 h 4496940"/>
              <a:gd name="connsiteX83" fmla="*/ 411502 w 4519987"/>
              <a:gd name="connsiteY83" fmla="*/ 3448050 h 4496940"/>
              <a:gd name="connsiteX84" fmla="*/ 278152 w 4519987"/>
              <a:gd name="connsiteY84" fmla="*/ 3257550 h 4496940"/>
              <a:gd name="connsiteX85" fmla="*/ 249577 w 4519987"/>
              <a:gd name="connsiteY85" fmla="*/ 3200400 h 4496940"/>
              <a:gd name="connsiteX86" fmla="*/ 240052 w 4519987"/>
              <a:gd name="connsiteY86" fmla="*/ 3162300 h 4496940"/>
              <a:gd name="connsiteX87" fmla="*/ 221002 w 4519987"/>
              <a:gd name="connsiteY87" fmla="*/ 3105150 h 4496940"/>
              <a:gd name="connsiteX88" fmla="*/ 173377 w 4519987"/>
              <a:gd name="connsiteY88" fmla="*/ 3019425 h 4496940"/>
              <a:gd name="connsiteX89" fmla="*/ 144802 w 4519987"/>
              <a:gd name="connsiteY89" fmla="*/ 2924175 h 4496940"/>
              <a:gd name="connsiteX90" fmla="*/ 68602 w 4519987"/>
              <a:gd name="connsiteY90" fmla="*/ 2724150 h 4496940"/>
              <a:gd name="connsiteX91" fmla="*/ 49552 w 4519987"/>
              <a:gd name="connsiteY91" fmla="*/ 2638425 h 4496940"/>
              <a:gd name="connsiteX92" fmla="*/ 40027 w 4519987"/>
              <a:gd name="connsiteY92" fmla="*/ 2562225 h 4496940"/>
              <a:gd name="connsiteX93" fmla="*/ 30502 w 4519987"/>
              <a:gd name="connsiteY93" fmla="*/ 2514600 h 4496940"/>
              <a:gd name="connsiteX94" fmla="*/ 11452 w 4519987"/>
              <a:gd name="connsiteY94" fmla="*/ 2400300 h 4496940"/>
              <a:gd name="connsiteX95" fmla="*/ 20977 w 4519987"/>
              <a:gd name="connsiteY95" fmla="*/ 1905000 h 4496940"/>
              <a:gd name="connsiteX96" fmla="*/ 30502 w 4519987"/>
              <a:gd name="connsiteY96" fmla="*/ 1838325 h 4496940"/>
              <a:gd name="connsiteX97" fmla="*/ 49552 w 4519987"/>
              <a:gd name="connsiteY97" fmla="*/ 1781175 h 4496940"/>
              <a:gd name="connsiteX98" fmla="*/ 59077 w 4519987"/>
              <a:gd name="connsiteY98" fmla="*/ 1743075 h 4496940"/>
              <a:gd name="connsiteX99" fmla="*/ 78127 w 4519987"/>
              <a:gd name="connsiteY99" fmla="*/ 1685925 h 4496940"/>
              <a:gd name="connsiteX100" fmla="*/ 87652 w 4519987"/>
              <a:gd name="connsiteY100" fmla="*/ 1638300 h 4496940"/>
              <a:gd name="connsiteX101" fmla="*/ 106702 w 4519987"/>
              <a:gd name="connsiteY101" fmla="*/ 1590675 h 4496940"/>
              <a:gd name="connsiteX102" fmla="*/ 135277 w 4519987"/>
              <a:gd name="connsiteY102" fmla="*/ 1504950 h 4496940"/>
              <a:gd name="connsiteX103" fmla="*/ 154327 w 4519987"/>
              <a:gd name="connsiteY103" fmla="*/ 1419225 h 4496940"/>
              <a:gd name="connsiteX104" fmla="*/ 230527 w 4519987"/>
              <a:gd name="connsiteY104" fmla="*/ 1276350 h 4496940"/>
              <a:gd name="connsiteX105" fmla="*/ 240052 w 4519987"/>
              <a:gd name="connsiteY105" fmla="*/ 1247775 h 4496940"/>
              <a:gd name="connsiteX106" fmla="*/ 268627 w 4519987"/>
              <a:gd name="connsiteY106" fmla="*/ 1200150 h 4496940"/>
              <a:gd name="connsiteX107" fmla="*/ 287677 w 4519987"/>
              <a:gd name="connsiteY107" fmla="*/ 1152525 h 4496940"/>
              <a:gd name="connsiteX108" fmla="*/ 316252 w 4519987"/>
              <a:gd name="connsiteY108" fmla="*/ 1114425 h 4496940"/>
              <a:gd name="connsiteX109" fmla="*/ 363877 w 4519987"/>
              <a:gd name="connsiteY109" fmla="*/ 1038225 h 4496940"/>
              <a:gd name="connsiteX110" fmla="*/ 382927 w 4519987"/>
              <a:gd name="connsiteY110" fmla="*/ 1009650 h 4496940"/>
              <a:gd name="connsiteX111" fmla="*/ 440077 w 4519987"/>
              <a:gd name="connsiteY111" fmla="*/ 904875 h 4496940"/>
              <a:gd name="connsiteX112" fmla="*/ 478177 w 4519987"/>
              <a:gd name="connsiteY112" fmla="*/ 857250 h 4496940"/>
              <a:gd name="connsiteX113" fmla="*/ 497227 w 4519987"/>
              <a:gd name="connsiteY113" fmla="*/ 828675 h 4496940"/>
              <a:gd name="connsiteX114" fmla="*/ 535327 w 4519987"/>
              <a:gd name="connsiteY114" fmla="*/ 800100 h 4496940"/>
              <a:gd name="connsiteX115" fmla="*/ 602002 w 4519987"/>
              <a:gd name="connsiteY115" fmla="*/ 733425 h 4496940"/>
              <a:gd name="connsiteX116" fmla="*/ 668677 w 4519987"/>
              <a:gd name="connsiteY116" fmla="*/ 676275 h 4496940"/>
              <a:gd name="connsiteX117" fmla="*/ 697252 w 4519987"/>
              <a:gd name="connsiteY117" fmla="*/ 657225 h 4496940"/>
              <a:gd name="connsiteX118" fmla="*/ 840127 w 4519987"/>
              <a:gd name="connsiteY118" fmla="*/ 533400 h 4496940"/>
              <a:gd name="connsiteX119" fmla="*/ 887752 w 4519987"/>
              <a:gd name="connsiteY119" fmla="*/ 504825 h 4496940"/>
              <a:gd name="connsiteX120" fmla="*/ 1167152 w 4519987"/>
              <a:gd name="connsiteY120" fmla="*/ 311150 h 4496940"/>
              <a:gd name="connsiteX121" fmla="*/ 1268752 w 4519987"/>
              <a:gd name="connsiteY121" fmla="*/ 285750 h 4496940"/>
              <a:gd name="connsiteX122" fmla="*/ 1411627 w 4519987"/>
              <a:gd name="connsiteY122" fmla="*/ 190500 h 4496940"/>
              <a:gd name="connsiteX123" fmla="*/ 1449727 w 4519987"/>
              <a:gd name="connsiteY123" fmla="*/ 161925 h 4496940"/>
              <a:gd name="connsiteX124" fmla="*/ 1525927 w 4519987"/>
              <a:gd name="connsiteY124" fmla="*/ 152400 h 4496940"/>
              <a:gd name="connsiteX125" fmla="*/ 1583077 w 4519987"/>
              <a:gd name="connsiteY125" fmla="*/ 142875 h 4496940"/>
              <a:gd name="connsiteX126" fmla="*/ 1716427 w 4519987"/>
              <a:gd name="connsiteY126" fmla="*/ 123825 h 4496940"/>
              <a:gd name="connsiteX127" fmla="*/ 1811677 w 4519987"/>
              <a:gd name="connsiteY127" fmla="*/ 114300 h 4496940"/>
              <a:gd name="connsiteX128" fmla="*/ 1859302 w 4519987"/>
              <a:gd name="connsiteY128" fmla="*/ 104775 h 4496940"/>
              <a:gd name="connsiteX129" fmla="*/ 1916452 w 4519987"/>
              <a:gd name="connsiteY129" fmla="*/ 95250 h 4496940"/>
              <a:gd name="connsiteX130" fmla="*/ 2030752 w 4519987"/>
              <a:gd name="connsiteY130" fmla="*/ 66675 h 4496940"/>
              <a:gd name="connsiteX131" fmla="*/ 2097427 w 4519987"/>
              <a:gd name="connsiteY131" fmla="*/ 47625 h 4496940"/>
              <a:gd name="connsiteX132" fmla="*/ 2164102 w 4519987"/>
              <a:gd name="connsiteY132" fmla="*/ 38100 h 4496940"/>
              <a:gd name="connsiteX133" fmla="*/ 2392702 w 4519987"/>
              <a:gd name="connsiteY13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659527 w 4519987"/>
              <a:gd name="connsiteY39" fmla="*/ 3971925 h 4496940"/>
              <a:gd name="connsiteX40" fmla="*/ 3630952 w 4519987"/>
              <a:gd name="connsiteY40" fmla="*/ 4010025 h 4496940"/>
              <a:gd name="connsiteX41" fmla="*/ 3621427 w 4519987"/>
              <a:gd name="connsiteY41" fmla="*/ 4038600 h 4496940"/>
              <a:gd name="connsiteX42" fmla="*/ 3554752 w 4519987"/>
              <a:gd name="connsiteY42" fmla="*/ 4095750 h 4496940"/>
              <a:gd name="connsiteX43" fmla="*/ 3516652 w 4519987"/>
              <a:gd name="connsiteY43" fmla="*/ 4114800 h 4496940"/>
              <a:gd name="connsiteX44" fmla="*/ 3497602 w 4519987"/>
              <a:gd name="connsiteY44" fmla="*/ 4143375 h 4496940"/>
              <a:gd name="connsiteX45" fmla="*/ 3383302 w 4519987"/>
              <a:gd name="connsiteY45" fmla="*/ 4210050 h 4496940"/>
              <a:gd name="connsiteX46" fmla="*/ 3335677 w 4519987"/>
              <a:gd name="connsiteY46" fmla="*/ 4238625 h 4496940"/>
              <a:gd name="connsiteX47" fmla="*/ 3288052 w 4519987"/>
              <a:gd name="connsiteY47" fmla="*/ 4248150 h 4496940"/>
              <a:gd name="connsiteX48" fmla="*/ 3240427 w 4519987"/>
              <a:gd name="connsiteY48" fmla="*/ 4267200 h 4496940"/>
              <a:gd name="connsiteX49" fmla="*/ 3068977 w 4519987"/>
              <a:gd name="connsiteY49" fmla="*/ 4286250 h 4496940"/>
              <a:gd name="connsiteX50" fmla="*/ 2935627 w 4519987"/>
              <a:gd name="connsiteY50" fmla="*/ 4333875 h 4496940"/>
              <a:gd name="connsiteX51" fmla="*/ 2811802 w 4519987"/>
              <a:gd name="connsiteY51" fmla="*/ 4371975 h 4496940"/>
              <a:gd name="connsiteX52" fmla="*/ 2745127 w 4519987"/>
              <a:gd name="connsiteY52" fmla="*/ 4410075 h 4496940"/>
              <a:gd name="connsiteX53" fmla="*/ 2697502 w 4519987"/>
              <a:gd name="connsiteY53" fmla="*/ 4429125 h 4496940"/>
              <a:gd name="connsiteX54" fmla="*/ 2640352 w 4519987"/>
              <a:gd name="connsiteY54" fmla="*/ 4457700 h 4496940"/>
              <a:gd name="connsiteX55" fmla="*/ 2583202 w 4519987"/>
              <a:gd name="connsiteY55" fmla="*/ 4467225 h 4496940"/>
              <a:gd name="connsiteX56" fmla="*/ 2545102 w 4519987"/>
              <a:gd name="connsiteY56" fmla="*/ 4486275 h 4496940"/>
              <a:gd name="connsiteX57" fmla="*/ 2306977 w 4519987"/>
              <a:gd name="connsiteY57" fmla="*/ 4476750 h 4496940"/>
              <a:gd name="connsiteX58" fmla="*/ 2202202 w 4519987"/>
              <a:gd name="connsiteY58" fmla="*/ 4457700 h 4496940"/>
              <a:gd name="connsiteX59" fmla="*/ 2126002 w 4519987"/>
              <a:gd name="connsiteY59" fmla="*/ 4429125 h 4496940"/>
              <a:gd name="connsiteX60" fmla="*/ 1935502 w 4519987"/>
              <a:gd name="connsiteY60" fmla="*/ 4400550 h 4496940"/>
              <a:gd name="connsiteX61" fmla="*/ 1821202 w 4519987"/>
              <a:gd name="connsiteY61" fmla="*/ 4371975 h 4496940"/>
              <a:gd name="connsiteX62" fmla="*/ 1754527 w 4519987"/>
              <a:gd name="connsiteY62" fmla="*/ 4352925 h 4496940"/>
              <a:gd name="connsiteX63" fmla="*/ 1687852 w 4519987"/>
              <a:gd name="connsiteY63" fmla="*/ 4343400 h 4496940"/>
              <a:gd name="connsiteX64" fmla="*/ 1573552 w 4519987"/>
              <a:gd name="connsiteY64" fmla="*/ 4305300 h 4496940"/>
              <a:gd name="connsiteX65" fmla="*/ 1402102 w 4519987"/>
              <a:gd name="connsiteY65" fmla="*/ 4276725 h 4496940"/>
              <a:gd name="connsiteX66" fmla="*/ 1287802 w 4519987"/>
              <a:gd name="connsiteY66" fmla="*/ 4229100 h 4496940"/>
              <a:gd name="connsiteX67" fmla="*/ 1221127 w 4519987"/>
              <a:gd name="connsiteY67" fmla="*/ 4200525 h 4496940"/>
              <a:gd name="connsiteX68" fmla="*/ 1144927 w 4519987"/>
              <a:gd name="connsiteY68" fmla="*/ 4171950 h 4496940"/>
              <a:gd name="connsiteX69" fmla="*/ 1087777 w 4519987"/>
              <a:gd name="connsiteY69" fmla="*/ 4143375 h 4496940"/>
              <a:gd name="connsiteX70" fmla="*/ 1030627 w 4519987"/>
              <a:gd name="connsiteY70" fmla="*/ 4124325 h 4496940"/>
              <a:gd name="connsiteX71" fmla="*/ 925852 w 4519987"/>
              <a:gd name="connsiteY71" fmla="*/ 4067175 h 4496940"/>
              <a:gd name="connsiteX72" fmla="*/ 830602 w 4519987"/>
              <a:gd name="connsiteY72" fmla="*/ 3981450 h 4496940"/>
              <a:gd name="connsiteX73" fmla="*/ 763927 w 4519987"/>
              <a:gd name="connsiteY73" fmla="*/ 3914775 h 4496940"/>
              <a:gd name="connsiteX74" fmla="*/ 725827 w 4519987"/>
              <a:gd name="connsiteY74" fmla="*/ 3876675 h 4496940"/>
              <a:gd name="connsiteX75" fmla="*/ 697252 w 4519987"/>
              <a:gd name="connsiteY75" fmla="*/ 3838575 h 4496940"/>
              <a:gd name="connsiteX76" fmla="*/ 640102 w 4519987"/>
              <a:gd name="connsiteY76" fmla="*/ 3781425 h 4496940"/>
              <a:gd name="connsiteX77" fmla="*/ 611527 w 4519987"/>
              <a:gd name="connsiteY77" fmla="*/ 3733800 h 4496940"/>
              <a:gd name="connsiteX78" fmla="*/ 554377 w 4519987"/>
              <a:gd name="connsiteY78" fmla="*/ 3657600 h 4496940"/>
              <a:gd name="connsiteX79" fmla="*/ 525802 w 4519987"/>
              <a:gd name="connsiteY79" fmla="*/ 3609975 h 4496940"/>
              <a:gd name="connsiteX80" fmla="*/ 497227 w 4519987"/>
              <a:gd name="connsiteY80" fmla="*/ 3552825 h 4496940"/>
              <a:gd name="connsiteX81" fmla="*/ 440077 w 4519987"/>
              <a:gd name="connsiteY81" fmla="*/ 3495675 h 4496940"/>
              <a:gd name="connsiteX82" fmla="*/ 411502 w 4519987"/>
              <a:gd name="connsiteY82" fmla="*/ 3448050 h 4496940"/>
              <a:gd name="connsiteX83" fmla="*/ 278152 w 4519987"/>
              <a:gd name="connsiteY83" fmla="*/ 3257550 h 4496940"/>
              <a:gd name="connsiteX84" fmla="*/ 249577 w 4519987"/>
              <a:gd name="connsiteY84" fmla="*/ 3200400 h 4496940"/>
              <a:gd name="connsiteX85" fmla="*/ 240052 w 4519987"/>
              <a:gd name="connsiteY85" fmla="*/ 3162300 h 4496940"/>
              <a:gd name="connsiteX86" fmla="*/ 221002 w 4519987"/>
              <a:gd name="connsiteY86" fmla="*/ 3105150 h 4496940"/>
              <a:gd name="connsiteX87" fmla="*/ 173377 w 4519987"/>
              <a:gd name="connsiteY87" fmla="*/ 3019425 h 4496940"/>
              <a:gd name="connsiteX88" fmla="*/ 144802 w 4519987"/>
              <a:gd name="connsiteY88" fmla="*/ 2924175 h 4496940"/>
              <a:gd name="connsiteX89" fmla="*/ 68602 w 4519987"/>
              <a:gd name="connsiteY89" fmla="*/ 2724150 h 4496940"/>
              <a:gd name="connsiteX90" fmla="*/ 49552 w 4519987"/>
              <a:gd name="connsiteY90" fmla="*/ 2638425 h 4496940"/>
              <a:gd name="connsiteX91" fmla="*/ 40027 w 4519987"/>
              <a:gd name="connsiteY91" fmla="*/ 2562225 h 4496940"/>
              <a:gd name="connsiteX92" fmla="*/ 30502 w 4519987"/>
              <a:gd name="connsiteY92" fmla="*/ 2514600 h 4496940"/>
              <a:gd name="connsiteX93" fmla="*/ 11452 w 4519987"/>
              <a:gd name="connsiteY93" fmla="*/ 2400300 h 4496940"/>
              <a:gd name="connsiteX94" fmla="*/ 20977 w 4519987"/>
              <a:gd name="connsiteY94" fmla="*/ 1905000 h 4496940"/>
              <a:gd name="connsiteX95" fmla="*/ 30502 w 4519987"/>
              <a:gd name="connsiteY95" fmla="*/ 1838325 h 4496940"/>
              <a:gd name="connsiteX96" fmla="*/ 49552 w 4519987"/>
              <a:gd name="connsiteY96" fmla="*/ 1781175 h 4496940"/>
              <a:gd name="connsiteX97" fmla="*/ 59077 w 4519987"/>
              <a:gd name="connsiteY97" fmla="*/ 1743075 h 4496940"/>
              <a:gd name="connsiteX98" fmla="*/ 78127 w 4519987"/>
              <a:gd name="connsiteY98" fmla="*/ 1685925 h 4496940"/>
              <a:gd name="connsiteX99" fmla="*/ 87652 w 4519987"/>
              <a:gd name="connsiteY99" fmla="*/ 1638300 h 4496940"/>
              <a:gd name="connsiteX100" fmla="*/ 106702 w 4519987"/>
              <a:gd name="connsiteY100" fmla="*/ 1590675 h 4496940"/>
              <a:gd name="connsiteX101" fmla="*/ 135277 w 4519987"/>
              <a:gd name="connsiteY101" fmla="*/ 1504950 h 4496940"/>
              <a:gd name="connsiteX102" fmla="*/ 154327 w 4519987"/>
              <a:gd name="connsiteY102" fmla="*/ 1419225 h 4496940"/>
              <a:gd name="connsiteX103" fmla="*/ 230527 w 4519987"/>
              <a:gd name="connsiteY103" fmla="*/ 1276350 h 4496940"/>
              <a:gd name="connsiteX104" fmla="*/ 240052 w 4519987"/>
              <a:gd name="connsiteY104" fmla="*/ 1247775 h 4496940"/>
              <a:gd name="connsiteX105" fmla="*/ 268627 w 4519987"/>
              <a:gd name="connsiteY105" fmla="*/ 1200150 h 4496940"/>
              <a:gd name="connsiteX106" fmla="*/ 287677 w 4519987"/>
              <a:gd name="connsiteY106" fmla="*/ 1152525 h 4496940"/>
              <a:gd name="connsiteX107" fmla="*/ 316252 w 4519987"/>
              <a:gd name="connsiteY107" fmla="*/ 1114425 h 4496940"/>
              <a:gd name="connsiteX108" fmla="*/ 363877 w 4519987"/>
              <a:gd name="connsiteY108" fmla="*/ 1038225 h 4496940"/>
              <a:gd name="connsiteX109" fmla="*/ 382927 w 4519987"/>
              <a:gd name="connsiteY109" fmla="*/ 1009650 h 4496940"/>
              <a:gd name="connsiteX110" fmla="*/ 440077 w 4519987"/>
              <a:gd name="connsiteY110" fmla="*/ 904875 h 4496940"/>
              <a:gd name="connsiteX111" fmla="*/ 478177 w 4519987"/>
              <a:gd name="connsiteY111" fmla="*/ 857250 h 4496940"/>
              <a:gd name="connsiteX112" fmla="*/ 497227 w 4519987"/>
              <a:gd name="connsiteY112" fmla="*/ 828675 h 4496940"/>
              <a:gd name="connsiteX113" fmla="*/ 535327 w 4519987"/>
              <a:gd name="connsiteY113" fmla="*/ 800100 h 4496940"/>
              <a:gd name="connsiteX114" fmla="*/ 602002 w 4519987"/>
              <a:gd name="connsiteY114" fmla="*/ 733425 h 4496940"/>
              <a:gd name="connsiteX115" fmla="*/ 668677 w 4519987"/>
              <a:gd name="connsiteY115" fmla="*/ 676275 h 4496940"/>
              <a:gd name="connsiteX116" fmla="*/ 697252 w 4519987"/>
              <a:gd name="connsiteY116" fmla="*/ 657225 h 4496940"/>
              <a:gd name="connsiteX117" fmla="*/ 840127 w 4519987"/>
              <a:gd name="connsiteY117" fmla="*/ 533400 h 4496940"/>
              <a:gd name="connsiteX118" fmla="*/ 887752 w 4519987"/>
              <a:gd name="connsiteY118" fmla="*/ 504825 h 4496940"/>
              <a:gd name="connsiteX119" fmla="*/ 1167152 w 4519987"/>
              <a:gd name="connsiteY119" fmla="*/ 311150 h 4496940"/>
              <a:gd name="connsiteX120" fmla="*/ 1268752 w 4519987"/>
              <a:gd name="connsiteY120" fmla="*/ 285750 h 4496940"/>
              <a:gd name="connsiteX121" fmla="*/ 1411627 w 4519987"/>
              <a:gd name="connsiteY121" fmla="*/ 190500 h 4496940"/>
              <a:gd name="connsiteX122" fmla="*/ 1449727 w 4519987"/>
              <a:gd name="connsiteY122" fmla="*/ 161925 h 4496940"/>
              <a:gd name="connsiteX123" fmla="*/ 1525927 w 4519987"/>
              <a:gd name="connsiteY123" fmla="*/ 152400 h 4496940"/>
              <a:gd name="connsiteX124" fmla="*/ 1583077 w 4519987"/>
              <a:gd name="connsiteY124" fmla="*/ 142875 h 4496940"/>
              <a:gd name="connsiteX125" fmla="*/ 1716427 w 4519987"/>
              <a:gd name="connsiteY125" fmla="*/ 123825 h 4496940"/>
              <a:gd name="connsiteX126" fmla="*/ 1811677 w 4519987"/>
              <a:gd name="connsiteY126" fmla="*/ 114300 h 4496940"/>
              <a:gd name="connsiteX127" fmla="*/ 1859302 w 4519987"/>
              <a:gd name="connsiteY127" fmla="*/ 104775 h 4496940"/>
              <a:gd name="connsiteX128" fmla="*/ 1916452 w 4519987"/>
              <a:gd name="connsiteY128" fmla="*/ 95250 h 4496940"/>
              <a:gd name="connsiteX129" fmla="*/ 2030752 w 4519987"/>
              <a:gd name="connsiteY129" fmla="*/ 66675 h 4496940"/>
              <a:gd name="connsiteX130" fmla="*/ 2097427 w 4519987"/>
              <a:gd name="connsiteY130" fmla="*/ 47625 h 4496940"/>
              <a:gd name="connsiteX131" fmla="*/ 2164102 w 4519987"/>
              <a:gd name="connsiteY131" fmla="*/ 38100 h 4496940"/>
              <a:gd name="connsiteX132" fmla="*/ 2392702 w 4519987"/>
              <a:gd name="connsiteY13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659527 w 4519987"/>
              <a:gd name="connsiteY38" fmla="*/ 3971925 h 4496940"/>
              <a:gd name="connsiteX39" fmla="*/ 3630952 w 4519987"/>
              <a:gd name="connsiteY39" fmla="*/ 4010025 h 4496940"/>
              <a:gd name="connsiteX40" fmla="*/ 3621427 w 4519987"/>
              <a:gd name="connsiteY40" fmla="*/ 4038600 h 4496940"/>
              <a:gd name="connsiteX41" fmla="*/ 3554752 w 4519987"/>
              <a:gd name="connsiteY41" fmla="*/ 4095750 h 4496940"/>
              <a:gd name="connsiteX42" fmla="*/ 3516652 w 4519987"/>
              <a:gd name="connsiteY42" fmla="*/ 4114800 h 4496940"/>
              <a:gd name="connsiteX43" fmla="*/ 3497602 w 4519987"/>
              <a:gd name="connsiteY43" fmla="*/ 4143375 h 4496940"/>
              <a:gd name="connsiteX44" fmla="*/ 3383302 w 4519987"/>
              <a:gd name="connsiteY44" fmla="*/ 4210050 h 4496940"/>
              <a:gd name="connsiteX45" fmla="*/ 3335677 w 4519987"/>
              <a:gd name="connsiteY45" fmla="*/ 4238625 h 4496940"/>
              <a:gd name="connsiteX46" fmla="*/ 3288052 w 4519987"/>
              <a:gd name="connsiteY46" fmla="*/ 4248150 h 4496940"/>
              <a:gd name="connsiteX47" fmla="*/ 3240427 w 4519987"/>
              <a:gd name="connsiteY47" fmla="*/ 4267200 h 4496940"/>
              <a:gd name="connsiteX48" fmla="*/ 3068977 w 4519987"/>
              <a:gd name="connsiteY48" fmla="*/ 4286250 h 4496940"/>
              <a:gd name="connsiteX49" fmla="*/ 2935627 w 4519987"/>
              <a:gd name="connsiteY49" fmla="*/ 4333875 h 4496940"/>
              <a:gd name="connsiteX50" fmla="*/ 2811802 w 4519987"/>
              <a:gd name="connsiteY50" fmla="*/ 4371975 h 4496940"/>
              <a:gd name="connsiteX51" fmla="*/ 2745127 w 4519987"/>
              <a:gd name="connsiteY51" fmla="*/ 4410075 h 4496940"/>
              <a:gd name="connsiteX52" fmla="*/ 2697502 w 4519987"/>
              <a:gd name="connsiteY52" fmla="*/ 4429125 h 4496940"/>
              <a:gd name="connsiteX53" fmla="*/ 2640352 w 4519987"/>
              <a:gd name="connsiteY53" fmla="*/ 4457700 h 4496940"/>
              <a:gd name="connsiteX54" fmla="*/ 2583202 w 4519987"/>
              <a:gd name="connsiteY54" fmla="*/ 4467225 h 4496940"/>
              <a:gd name="connsiteX55" fmla="*/ 2545102 w 4519987"/>
              <a:gd name="connsiteY55" fmla="*/ 4486275 h 4496940"/>
              <a:gd name="connsiteX56" fmla="*/ 2306977 w 4519987"/>
              <a:gd name="connsiteY56" fmla="*/ 4476750 h 4496940"/>
              <a:gd name="connsiteX57" fmla="*/ 2202202 w 4519987"/>
              <a:gd name="connsiteY57" fmla="*/ 4457700 h 4496940"/>
              <a:gd name="connsiteX58" fmla="*/ 2126002 w 4519987"/>
              <a:gd name="connsiteY58" fmla="*/ 4429125 h 4496940"/>
              <a:gd name="connsiteX59" fmla="*/ 1935502 w 4519987"/>
              <a:gd name="connsiteY59" fmla="*/ 4400550 h 4496940"/>
              <a:gd name="connsiteX60" fmla="*/ 1821202 w 4519987"/>
              <a:gd name="connsiteY60" fmla="*/ 4371975 h 4496940"/>
              <a:gd name="connsiteX61" fmla="*/ 1754527 w 4519987"/>
              <a:gd name="connsiteY61" fmla="*/ 4352925 h 4496940"/>
              <a:gd name="connsiteX62" fmla="*/ 1687852 w 4519987"/>
              <a:gd name="connsiteY62" fmla="*/ 4343400 h 4496940"/>
              <a:gd name="connsiteX63" fmla="*/ 1573552 w 4519987"/>
              <a:gd name="connsiteY63" fmla="*/ 4305300 h 4496940"/>
              <a:gd name="connsiteX64" fmla="*/ 1402102 w 4519987"/>
              <a:gd name="connsiteY64" fmla="*/ 4276725 h 4496940"/>
              <a:gd name="connsiteX65" fmla="*/ 1287802 w 4519987"/>
              <a:gd name="connsiteY65" fmla="*/ 4229100 h 4496940"/>
              <a:gd name="connsiteX66" fmla="*/ 1221127 w 4519987"/>
              <a:gd name="connsiteY66" fmla="*/ 4200525 h 4496940"/>
              <a:gd name="connsiteX67" fmla="*/ 1144927 w 4519987"/>
              <a:gd name="connsiteY67" fmla="*/ 4171950 h 4496940"/>
              <a:gd name="connsiteX68" fmla="*/ 1087777 w 4519987"/>
              <a:gd name="connsiteY68" fmla="*/ 4143375 h 4496940"/>
              <a:gd name="connsiteX69" fmla="*/ 1030627 w 4519987"/>
              <a:gd name="connsiteY69" fmla="*/ 4124325 h 4496940"/>
              <a:gd name="connsiteX70" fmla="*/ 925852 w 4519987"/>
              <a:gd name="connsiteY70" fmla="*/ 4067175 h 4496940"/>
              <a:gd name="connsiteX71" fmla="*/ 830602 w 4519987"/>
              <a:gd name="connsiteY71" fmla="*/ 3981450 h 4496940"/>
              <a:gd name="connsiteX72" fmla="*/ 763927 w 4519987"/>
              <a:gd name="connsiteY72" fmla="*/ 3914775 h 4496940"/>
              <a:gd name="connsiteX73" fmla="*/ 725827 w 4519987"/>
              <a:gd name="connsiteY73" fmla="*/ 3876675 h 4496940"/>
              <a:gd name="connsiteX74" fmla="*/ 697252 w 4519987"/>
              <a:gd name="connsiteY74" fmla="*/ 3838575 h 4496940"/>
              <a:gd name="connsiteX75" fmla="*/ 640102 w 4519987"/>
              <a:gd name="connsiteY75" fmla="*/ 3781425 h 4496940"/>
              <a:gd name="connsiteX76" fmla="*/ 611527 w 4519987"/>
              <a:gd name="connsiteY76" fmla="*/ 3733800 h 4496940"/>
              <a:gd name="connsiteX77" fmla="*/ 554377 w 4519987"/>
              <a:gd name="connsiteY77" fmla="*/ 3657600 h 4496940"/>
              <a:gd name="connsiteX78" fmla="*/ 525802 w 4519987"/>
              <a:gd name="connsiteY78" fmla="*/ 3609975 h 4496940"/>
              <a:gd name="connsiteX79" fmla="*/ 497227 w 4519987"/>
              <a:gd name="connsiteY79" fmla="*/ 3552825 h 4496940"/>
              <a:gd name="connsiteX80" fmla="*/ 440077 w 4519987"/>
              <a:gd name="connsiteY80" fmla="*/ 3495675 h 4496940"/>
              <a:gd name="connsiteX81" fmla="*/ 411502 w 4519987"/>
              <a:gd name="connsiteY81" fmla="*/ 3448050 h 4496940"/>
              <a:gd name="connsiteX82" fmla="*/ 278152 w 4519987"/>
              <a:gd name="connsiteY82" fmla="*/ 3257550 h 4496940"/>
              <a:gd name="connsiteX83" fmla="*/ 249577 w 4519987"/>
              <a:gd name="connsiteY83" fmla="*/ 3200400 h 4496940"/>
              <a:gd name="connsiteX84" fmla="*/ 240052 w 4519987"/>
              <a:gd name="connsiteY84" fmla="*/ 3162300 h 4496940"/>
              <a:gd name="connsiteX85" fmla="*/ 221002 w 4519987"/>
              <a:gd name="connsiteY85" fmla="*/ 3105150 h 4496940"/>
              <a:gd name="connsiteX86" fmla="*/ 173377 w 4519987"/>
              <a:gd name="connsiteY86" fmla="*/ 3019425 h 4496940"/>
              <a:gd name="connsiteX87" fmla="*/ 144802 w 4519987"/>
              <a:gd name="connsiteY87" fmla="*/ 2924175 h 4496940"/>
              <a:gd name="connsiteX88" fmla="*/ 68602 w 4519987"/>
              <a:gd name="connsiteY88" fmla="*/ 2724150 h 4496940"/>
              <a:gd name="connsiteX89" fmla="*/ 49552 w 4519987"/>
              <a:gd name="connsiteY89" fmla="*/ 2638425 h 4496940"/>
              <a:gd name="connsiteX90" fmla="*/ 40027 w 4519987"/>
              <a:gd name="connsiteY90" fmla="*/ 2562225 h 4496940"/>
              <a:gd name="connsiteX91" fmla="*/ 30502 w 4519987"/>
              <a:gd name="connsiteY91" fmla="*/ 2514600 h 4496940"/>
              <a:gd name="connsiteX92" fmla="*/ 11452 w 4519987"/>
              <a:gd name="connsiteY92" fmla="*/ 2400300 h 4496940"/>
              <a:gd name="connsiteX93" fmla="*/ 20977 w 4519987"/>
              <a:gd name="connsiteY93" fmla="*/ 1905000 h 4496940"/>
              <a:gd name="connsiteX94" fmla="*/ 30502 w 4519987"/>
              <a:gd name="connsiteY94" fmla="*/ 1838325 h 4496940"/>
              <a:gd name="connsiteX95" fmla="*/ 49552 w 4519987"/>
              <a:gd name="connsiteY95" fmla="*/ 1781175 h 4496940"/>
              <a:gd name="connsiteX96" fmla="*/ 59077 w 4519987"/>
              <a:gd name="connsiteY96" fmla="*/ 1743075 h 4496940"/>
              <a:gd name="connsiteX97" fmla="*/ 78127 w 4519987"/>
              <a:gd name="connsiteY97" fmla="*/ 1685925 h 4496940"/>
              <a:gd name="connsiteX98" fmla="*/ 87652 w 4519987"/>
              <a:gd name="connsiteY98" fmla="*/ 1638300 h 4496940"/>
              <a:gd name="connsiteX99" fmla="*/ 106702 w 4519987"/>
              <a:gd name="connsiteY99" fmla="*/ 1590675 h 4496940"/>
              <a:gd name="connsiteX100" fmla="*/ 135277 w 4519987"/>
              <a:gd name="connsiteY100" fmla="*/ 1504950 h 4496940"/>
              <a:gd name="connsiteX101" fmla="*/ 154327 w 4519987"/>
              <a:gd name="connsiteY101" fmla="*/ 1419225 h 4496940"/>
              <a:gd name="connsiteX102" fmla="*/ 230527 w 4519987"/>
              <a:gd name="connsiteY102" fmla="*/ 1276350 h 4496940"/>
              <a:gd name="connsiteX103" fmla="*/ 240052 w 4519987"/>
              <a:gd name="connsiteY103" fmla="*/ 1247775 h 4496940"/>
              <a:gd name="connsiteX104" fmla="*/ 268627 w 4519987"/>
              <a:gd name="connsiteY104" fmla="*/ 1200150 h 4496940"/>
              <a:gd name="connsiteX105" fmla="*/ 287677 w 4519987"/>
              <a:gd name="connsiteY105" fmla="*/ 1152525 h 4496940"/>
              <a:gd name="connsiteX106" fmla="*/ 316252 w 4519987"/>
              <a:gd name="connsiteY106" fmla="*/ 1114425 h 4496940"/>
              <a:gd name="connsiteX107" fmla="*/ 363877 w 4519987"/>
              <a:gd name="connsiteY107" fmla="*/ 1038225 h 4496940"/>
              <a:gd name="connsiteX108" fmla="*/ 382927 w 4519987"/>
              <a:gd name="connsiteY108" fmla="*/ 1009650 h 4496940"/>
              <a:gd name="connsiteX109" fmla="*/ 440077 w 4519987"/>
              <a:gd name="connsiteY109" fmla="*/ 904875 h 4496940"/>
              <a:gd name="connsiteX110" fmla="*/ 478177 w 4519987"/>
              <a:gd name="connsiteY110" fmla="*/ 857250 h 4496940"/>
              <a:gd name="connsiteX111" fmla="*/ 497227 w 4519987"/>
              <a:gd name="connsiteY111" fmla="*/ 828675 h 4496940"/>
              <a:gd name="connsiteX112" fmla="*/ 535327 w 4519987"/>
              <a:gd name="connsiteY112" fmla="*/ 800100 h 4496940"/>
              <a:gd name="connsiteX113" fmla="*/ 602002 w 4519987"/>
              <a:gd name="connsiteY113" fmla="*/ 733425 h 4496940"/>
              <a:gd name="connsiteX114" fmla="*/ 668677 w 4519987"/>
              <a:gd name="connsiteY114" fmla="*/ 676275 h 4496940"/>
              <a:gd name="connsiteX115" fmla="*/ 697252 w 4519987"/>
              <a:gd name="connsiteY115" fmla="*/ 657225 h 4496940"/>
              <a:gd name="connsiteX116" fmla="*/ 840127 w 4519987"/>
              <a:gd name="connsiteY116" fmla="*/ 533400 h 4496940"/>
              <a:gd name="connsiteX117" fmla="*/ 887752 w 4519987"/>
              <a:gd name="connsiteY117" fmla="*/ 504825 h 4496940"/>
              <a:gd name="connsiteX118" fmla="*/ 1167152 w 4519987"/>
              <a:gd name="connsiteY118" fmla="*/ 311150 h 4496940"/>
              <a:gd name="connsiteX119" fmla="*/ 1268752 w 4519987"/>
              <a:gd name="connsiteY119" fmla="*/ 285750 h 4496940"/>
              <a:gd name="connsiteX120" fmla="*/ 1411627 w 4519987"/>
              <a:gd name="connsiteY120" fmla="*/ 190500 h 4496940"/>
              <a:gd name="connsiteX121" fmla="*/ 1449727 w 4519987"/>
              <a:gd name="connsiteY121" fmla="*/ 161925 h 4496940"/>
              <a:gd name="connsiteX122" fmla="*/ 1525927 w 4519987"/>
              <a:gd name="connsiteY122" fmla="*/ 152400 h 4496940"/>
              <a:gd name="connsiteX123" fmla="*/ 1583077 w 4519987"/>
              <a:gd name="connsiteY123" fmla="*/ 142875 h 4496940"/>
              <a:gd name="connsiteX124" fmla="*/ 1716427 w 4519987"/>
              <a:gd name="connsiteY124" fmla="*/ 123825 h 4496940"/>
              <a:gd name="connsiteX125" fmla="*/ 1811677 w 4519987"/>
              <a:gd name="connsiteY125" fmla="*/ 114300 h 4496940"/>
              <a:gd name="connsiteX126" fmla="*/ 1859302 w 4519987"/>
              <a:gd name="connsiteY126" fmla="*/ 104775 h 4496940"/>
              <a:gd name="connsiteX127" fmla="*/ 1916452 w 4519987"/>
              <a:gd name="connsiteY127" fmla="*/ 95250 h 4496940"/>
              <a:gd name="connsiteX128" fmla="*/ 2030752 w 4519987"/>
              <a:gd name="connsiteY128" fmla="*/ 66675 h 4496940"/>
              <a:gd name="connsiteX129" fmla="*/ 2097427 w 4519987"/>
              <a:gd name="connsiteY129" fmla="*/ 47625 h 4496940"/>
              <a:gd name="connsiteX130" fmla="*/ 2164102 w 4519987"/>
              <a:gd name="connsiteY130" fmla="*/ 38100 h 4496940"/>
              <a:gd name="connsiteX131" fmla="*/ 2392702 w 4519987"/>
              <a:gd name="connsiteY13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88152 w 4519987"/>
              <a:gd name="connsiteY33" fmla="*/ 3495675 h 4496940"/>
              <a:gd name="connsiteX34" fmla="*/ 4059577 w 4519987"/>
              <a:gd name="connsiteY34" fmla="*/ 3533775 h 4496940"/>
              <a:gd name="connsiteX35" fmla="*/ 4002427 w 4519987"/>
              <a:gd name="connsiteY35" fmla="*/ 3600450 h 4496940"/>
              <a:gd name="connsiteX36" fmla="*/ 3954802 w 4519987"/>
              <a:gd name="connsiteY36" fmla="*/ 3648075 h 4496940"/>
              <a:gd name="connsiteX37" fmla="*/ 3659527 w 4519987"/>
              <a:gd name="connsiteY37" fmla="*/ 3971925 h 4496940"/>
              <a:gd name="connsiteX38" fmla="*/ 3630952 w 4519987"/>
              <a:gd name="connsiteY38" fmla="*/ 4010025 h 4496940"/>
              <a:gd name="connsiteX39" fmla="*/ 3621427 w 4519987"/>
              <a:gd name="connsiteY39" fmla="*/ 4038600 h 4496940"/>
              <a:gd name="connsiteX40" fmla="*/ 3554752 w 4519987"/>
              <a:gd name="connsiteY40" fmla="*/ 4095750 h 4496940"/>
              <a:gd name="connsiteX41" fmla="*/ 3516652 w 4519987"/>
              <a:gd name="connsiteY41" fmla="*/ 4114800 h 4496940"/>
              <a:gd name="connsiteX42" fmla="*/ 3497602 w 4519987"/>
              <a:gd name="connsiteY42" fmla="*/ 4143375 h 4496940"/>
              <a:gd name="connsiteX43" fmla="*/ 3383302 w 4519987"/>
              <a:gd name="connsiteY43" fmla="*/ 4210050 h 4496940"/>
              <a:gd name="connsiteX44" fmla="*/ 3335677 w 4519987"/>
              <a:gd name="connsiteY44" fmla="*/ 4238625 h 4496940"/>
              <a:gd name="connsiteX45" fmla="*/ 3288052 w 4519987"/>
              <a:gd name="connsiteY45" fmla="*/ 4248150 h 4496940"/>
              <a:gd name="connsiteX46" fmla="*/ 3240427 w 4519987"/>
              <a:gd name="connsiteY46" fmla="*/ 4267200 h 4496940"/>
              <a:gd name="connsiteX47" fmla="*/ 3068977 w 4519987"/>
              <a:gd name="connsiteY47" fmla="*/ 4286250 h 4496940"/>
              <a:gd name="connsiteX48" fmla="*/ 2935627 w 4519987"/>
              <a:gd name="connsiteY48" fmla="*/ 4333875 h 4496940"/>
              <a:gd name="connsiteX49" fmla="*/ 2811802 w 4519987"/>
              <a:gd name="connsiteY49" fmla="*/ 4371975 h 4496940"/>
              <a:gd name="connsiteX50" fmla="*/ 2745127 w 4519987"/>
              <a:gd name="connsiteY50" fmla="*/ 4410075 h 4496940"/>
              <a:gd name="connsiteX51" fmla="*/ 2697502 w 4519987"/>
              <a:gd name="connsiteY51" fmla="*/ 4429125 h 4496940"/>
              <a:gd name="connsiteX52" fmla="*/ 2640352 w 4519987"/>
              <a:gd name="connsiteY52" fmla="*/ 4457700 h 4496940"/>
              <a:gd name="connsiteX53" fmla="*/ 2583202 w 4519987"/>
              <a:gd name="connsiteY53" fmla="*/ 4467225 h 4496940"/>
              <a:gd name="connsiteX54" fmla="*/ 2545102 w 4519987"/>
              <a:gd name="connsiteY54" fmla="*/ 4486275 h 4496940"/>
              <a:gd name="connsiteX55" fmla="*/ 2306977 w 4519987"/>
              <a:gd name="connsiteY55" fmla="*/ 4476750 h 4496940"/>
              <a:gd name="connsiteX56" fmla="*/ 2202202 w 4519987"/>
              <a:gd name="connsiteY56" fmla="*/ 4457700 h 4496940"/>
              <a:gd name="connsiteX57" fmla="*/ 2126002 w 4519987"/>
              <a:gd name="connsiteY57" fmla="*/ 4429125 h 4496940"/>
              <a:gd name="connsiteX58" fmla="*/ 1935502 w 4519987"/>
              <a:gd name="connsiteY58" fmla="*/ 4400550 h 4496940"/>
              <a:gd name="connsiteX59" fmla="*/ 1821202 w 4519987"/>
              <a:gd name="connsiteY59" fmla="*/ 4371975 h 4496940"/>
              <a:gd name="connsiteX60" fmla="*/ 1754527 w 4519987"/>
              <a:gd name="connsiteY60" fmla="*/ 4352925 h 4496940"/>
              <a:gd name="connsiteX61" fmla="*/ 1687852 w 4519987"/>
              <a:gd name="connsiteY61" fmla="*/ 4343400 h 4496940"/>
              <a:gd name="connsiteX62" fmla="*/ 1573552 w 4519987"/>
              <a:gd name="connsiteY62" fmla="*/ 4305300 h 4496940"/>
              <a:gd name="connsiteX63" fmla="*/ 1402102 w 4519987"/>
              <a:gd name="connsiteY63" fmla="*/ 4276725 h 4496940"/>
              <a:gd name="connsiteX64" fmla="*/ 1287802 w 4519987"/>
              <a:gd name="connsiteY64" fmla="*/ 4229100 h 4496940"/>
              <a:gd name="connsiteX65" fmla="*/ 1221127 w 4519987"/>
              <a:gd name="connsiteY65" fmla="*/ 4200525 h 4496940"/>
              <a:gd name="connsiteX66" fmla="*/ 1144927 w 4519987"/>
              <a:gd name="connsiteY66" fmla="*/ 4171950 h 4496940"/>
              <a:gd name="connsiteX67" fmla="*/ 1087777 w 4519987"/>
              <a:gd name="connsiteY67" fmla="*/ 4143375 h 4496940"/>
              <a:gd name="connsiteX68" fmla="*/ 1030627 w 4519987"/>
              <a:gd name="connsiteY68" fmla="*/ 4124325 h 4496940"/>
              <a:gd name="connsiteX69" fmla="*/ 925852 w 4519987"/>
              <a:gd name="connsiteY69" fmla="*/ 4067175 h 4496940"/>
              <a:gd name="connsiteX70" fmla="*/ 830602 w 4519987"/>
              <a:gd name="connsiteY70" fmla="*/ 3981450 h 4496940"/>
              <a:gd name="connsiteX71" fmla="*/ 763927 w 4519987"/>
              <a:gd name="connsiteY71" fmla="*/ 3914775 h 4496940"/>
              <a:gd name="connsiteX72" fmla="*/ 725827 w 4519987"/>
              <a:gd name="connsiteY72" fmla="*/ 3876675 h 4496940"/>
              <a:gd name="connsiteX73" fmla="*/ 697252 w 4519987"/>
              <a:gd name="connsiteY73" fmla="*/ 3838575 h 4496940"/>
              <a:gd name="connsiteX74" fmla="*/ 640102 w 4519987"/>
              <a:gd name="connsiteY74" fmla="*/ 3781425 h 4496940"/>
              <a:gd name="connsiteX75" fmla="*/ 611527 w 4519987"/>
              <a:gd name="connsiteY75" fmla="*/ 3733800 h 4496940"/>
              <a:gd name="connsiteX76" fmla="*/ 554377 w 4519987"/>
              <a:gd name="connsiteY76" fmla="*/ 3657600 h 4496940"/>
              <a:gd name="connsiteX77" fmla="*/ 525802 w 4519987"/>
              <a:gd name="connsiteY77" fmla="*/ 3609975 h 4496940"/>
              <a:gd name="connsiteX78" fmla="*/ 497227 w 4519987"/>
              <a:gd name="connsiteY78" fmla="*/ 3552825 h 4496940"/>
              <a:gd name="connsiteX79" fmla="*/ 440077 w 4519987"/>
              <a:gd name="connsiteY79" fmla="*/ 3495675 h 4496940"/>
              <a:gd name="connsiteX80" fmla="*/ 411502 w 4519987"/>
              <a:gd name="connsiteY80" fmla="*/ 3448050 h 4496940"/>
              <a:gd name="connsiteX81" fmla="*/ 278152 w 4519987"/>
              <a:gd name="connsiteY81" fmla="*/ 3257550 h 4496940"/>
              <a:gd name="connsiteX82" fmla="*/ 249577 w 4519987"/>
              <a:gd name="connsiteY82" fmla="*/ 3200400 h 4496940"/>
              <a:gd name="connsiteX83" fmla="*/ 240052 w 4519987"/>
              <a:gd name="connsiteY83" fmla="*/ 3162300 h 4496940"/>
              <a:gd name="connsiteX84" fmla="*/ 221002 w 4519987"/>
              <a:gd name="connsiteY84" fmla="*/ 3105150 h 4496940"/>
              <a:gd name="connsiteX85" fmla="*/ 173377 w 4519987"/>
              <a:gd name="connsiteY85" fmla="*/ 3019425 h 4496940"/>
              <a:gd name="connsiteX86" fmla="*/ 144802 w 4519987"/>
              <a:gd name="connsiteY86" fmla="*/ 2924175 h 4496940"/>
              <a:gd name="connsiteX87" fmla="*/ 68602 w 4519987"/>
              <a:gd name="connsiteY87" fmla="*/ 2724150 h 4496940"/>
              <a:gd name="connsiteX88" fmla="*/ 49552 w 4519987"/>
              <a:gd name="connsiteY88" fmla="*/ 2638425 h 4496940"/>
              <a:gd name="connsiteX89" fmla="*/ 40027 w 4519987"/>
              <a:gd name="connsiteY89" fmla="*/ 2562225 h 4496940"/>
              <a:gd name="connsiteX90" fmla="*/ 30502 w 4519987"/>
              <a:gd name="connsiteY90" fmla="*/ 2514600 h 4496940"/>
              <a:gd name="connsiteX91" fmla="*/ 11452 w 4519987"/>
              <a:gd name="connsiteY91" fmla="*/ 2400300 h 4496940"/>
              <a:gd name="connsiteX92" fmla="*/ 20977 w 4519987"/>
              <a:gd name="connsiteY92" fmla="*/ 1905000 h 4496940"/>
              <a:gd name="connsiteX93" fmla="*/ 30502 w 4519987"/>
              <a:gd name="connsiteY93" fmla="*/ 1838325 h 4496940"/>
              <a:gd name="connsiteX94" fmla="*/ 49552 w 4519987"/>
              <a:gd name="connsiteY94" fmla="*/ 1781175 h 4496940"/>
              <a:gd name="connsiteX95" fmla="*/ 59077 w 4519987"/>
              <a:gd name="connsiteY95" fmla="*/ 1743075 h 4496940"/>
              <a:gd name="connsiteX96" fmla="*/ 78127 w 4519987"/>
              <a:gd name="connsiteY96" fmla="*/ 1685925 h 4496940"/>
              <a:gd name="connsiteX97" fmla="*/ 87652 w 4519987"/>
              <a:gd name="connsiteY97" fmla="*/ 1638300 h 4496940"/>
              <a:gd name="connsiteX98" fmla="*/ 106702 w 4519987"/>
              <a:gd name="connsiteY98" fmla="*/ 1590675 h 4496940"/>
              <a:gd name="connsiteX99" fmla="*/ 135277 w 4519987"/>
              <a:gd name="connsiteY99" fmla="*/ 1504950 h 4496940"/>
              <a:gd name="connsiteX100" fmla="*/ 154327 w 4519987"/>
              <a:gd name="connsiteY100" fmla="*/ 1419225 h 4496940"/>
              <a:gd name="connsiteX101" fmla="*/ 230527 w 4519987"/>
              <a:gd name="connsiteY101" fmla="*/ 1276350 h 4496940"/>
              <a:gd name="connsiteX102" fmla="*/ 240052 w 4519987"/>
              <a:gd name="connsiteY102" fmla="*/ 1247775 h 4496940"/>
              <a:gd name="connsiteX103" fmla="*/ 268627 w 4519987"/>
              <a:gd name="connsiteY103" fmla="*/ 1200150 h 4496940"/>
              <a:gd name="connsiteX104" fmla="*/ 287677 w 4519987"/>
              <a:gd name="connsiteY104" fmla="*/ 1152525 h 4496940"/>
              <a:gd name="connsiteX105" fmla="*/ 316252 w 4519987"/>
              <a:gd name="connsiteY105" fmla="*/ 1114425 h 4496940"/>
              <a:gd name="connsiteX106" fmla="*/ 363877 w 4519987"/>
              <a:gd name="connsiteY106" fmla="*/ 1038225 h 4496940"/>
              <a:gd name="connsiteX107" fmla="*/ 382927 w 4519987"/>
              <a:gd name="connsiteY107" fmla="*/ 1009650 h 4496940"/>
              <a:gd name="connsiteX108" fmla="*/ 440077 w 4519987"/>
              <a:gd name="connsiteY108" fmla="*/ 904875 h 4496940"/>
              <a:gd name="connsiteX109" fmla="*/ 478177 w 4519987"/>
              <a:gd name="connsiteY109" fmla="*/ 857250 h 4496940"/>
              <a:gd name="connsiteX110" fmla="*/ 497227 w 4519987"/>
              <a:gd name="connsiteY110" fmla="*/ 828675 h 4496940"/>
              <a:gd name="connsiteX111" fmla="*/ 535327 w 4519987"/>
              <a:gd name="connsiteY111" fmla="*/ 800100 h 4496940"/>
              <a:gd name="connsiteX112" fmla="*/ 602002 w 4519987"/>
              <a:gd name="connsiteY112" fmla="*/ 733425 h 4496940"/>
              <a:gd name="connsiteX113" fmla="*/ 668677 w 4519987"/>
              <a:gd name="connsiteY113" fmla="*/ 676275 h 4496940"/>
              <a:gd name="connsiteX114" fmla="*/ 697252 w 4519987"/>
              <a:gd name="connsiteY114" fmla="*/ 657225 h 4496940"/>
              <a:gd name="connsiteX115" fmla="*/ 840127 w 4519987"/>
              <a:gd name="connsiteY115" fmla="*/ 533400 h 4496940"/>
              <a:gd name="connsiteX116" fmla="*/ 887752 w 4519987"/>
              <a:gd name="connsiteY116" fmla="*/ 504825 h 4496940"/>
              <a:gd name="connsiteX117" fmla="*/ 1167152 w 4519987"/>
              <a:gd name="connsiteY117" fmla="*/ 311150 h 4496940"/>
              <a:gd name="connsiteX118" fmla="*/ 1268752 w 4519987"/>
              <a:gd name="connsiteY118" fmla="*/ 285750 h 4496940"/>
              <a:gd name="connsiteX119" fmla="*/ 1411627 w 4519987"/>
              <a:gd name="connsiteY119" fmla="*/ 190500 h 4496940"/>
              <a:gd name="connsiteX120" fmla="*/ 1449727 w 4519987"/>
              <a:gd name="connsiteY120" fmla="*/ 161925 h 4496940"/>
              <a:gd name="connsiteX121" fmla="*/ 1525927 w 4519987"/>
              <a:gd name="connsiteY121" fmla="*/ 152400 h 4496940"/>
              <a:gd name="connsiteX122" fmla="*/ 1583077 w 4519987"/>
              <a:gd name="connsiteY122" fmla="*/ 142875 h 4496940"/>
              <a:gd name="connsiteX123" fmla="*/ 1716427 w 4519987"/>
              <a:gd name="connsiteY123" fmla="*/ 123825 h 4496940"/>
              <a:gd name="connsiteX124" fmla="*/ 1811677 w 4519987"/>
              <a:gd name="connsiteY124" fmla="*/ 114300 h 4496940"/>
              <a:gd name="connsiteX125" fmla="*/ 1859302 w 4519987"/>
              <a:gd name="connsiteY125" fmla="*/ 104775 h 4496940"/>
              <a:gd name="connsiteX126" fmla="*/ 1916452 w 4519987"/>
              <a:gd name="connsiteY126" fmla="*/ 95250 h 4496940"/>
              <a:gd name="connsiteX127" fmla="*/ 2030752 w 4519987"/>
              <a:gd name="connsiteY127" fmla="*/ 66675 h 4496940"/>
              <a:gd name="connsiteX128" fmla="*/ 2097427 w 4519987"/>
              <a:gd name="connsiteY128" fmla="*/ 47625 h 4496940"/>
              <a:gd name="connsiteX129" fmla="*/ 2164102 w 4519987"/>
              <a:gd name="connsiteY129" fmla="*/ 38100 h 4496940"/>
              <a:gd name="connsiteX130" fmla="*/ 2392702 w 4519987"/>
              <a:gd name="connsiteY13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4002427 w 4519987"/>
              <a:gd name="connsiteY34" fmla="*/ 3600450 h 4496940"/>
              <a:gd name="connsiteX35" fmla="*/ 3954802 w 4519987"/>
              <a:gd name="connsiteY35" fmla="*/ 3648075 h 4496940"/>
              <a:gd name="connsiteX36" fmla="*/ 3659527 w 4519987"/>
              <a:gd name="connsiteY36" fmla="*/ 3971925 h 4496940"/>
              <a:gd name="connsiteX37" fmla="*/ 3630952 w 4519987"/>
              <a:gd name="connsiteY37" fmla="*/ 4010025 h 4496940"/>
              <a:gd name="connsiteX38" fmla="*/ 3621427 w 4519987"/>
              <a:gd name="connsiteY38" fmla="*/ 4038600 h 4496940"/>
              <a:gd name="connsiteX39" fmla="*/ 3554752 w 4519987"/>
              <a:gd name="connsiteY39" fmla="*/ 4095750 h 4496940"/>
              <a:gd name="connsiteX40" fmla="*/ 3516652 w 4519987"/>
              <a:gd name="connsiteY40" fmla="*/ 4114800 h 4496940"/>
              <a:gd name="connsiteX41" fmla="*/ 3497602 w 4519987"/>
              <a:gd name="connsiteY41" fmla="*/ 4143375 h 4496940"/>
              <a:gd name="connsiteX42" fmla="*/ 3383302 w 4519987"/>
              <a:gd name="connsiteY42" fmla="*/ 4210050 h 4496940"/>
              <a:gd name="connsiteX43" fmla="*/ 3335677 w 4519987"/>
              <a:gd name="connsiteY43" fmla="*/ 4238625 h 4496940"/>
              <a:gd name="connsiteX44" fmla="*/ 3288052 w 4519987"/>
              <a:gd name="connsiteY44" fmla="*/ 4248150 h 4496940"/>
              <a:gd name="connsiteX45" fmla="*/ 3240427 w 4519987"/>
              <a:gd name="connsiteY45" fmla="*/ 4267200 h 4496940"/>
              <a:gd name="connsiteX46" fmla="*/ 3068977 w 4519987"/>
              <a:gd name="connsiteY46" fmla="*/ 4286250 h 4496940"/>
              <a:gd name="connsiteX47" fmla="*/ 2935627 w 4519987"/>
              <a:gd name="connsiteY47" fmla="*/ 4333875 h 4496940"/>
              <a:gd name="connsiteX48" fmla="*/ 2811802 w 4519987"/>
              <a:gd name="connsiteY48" fmla="*/ 4371975 h 4496940"/>
              <a:gd name="connsiteX49" fmla="*/ 2745127 w 4519987"/>
              <a:gd name="connsiteY49" fmla="*/ 4410075 h 4496940"/>
              <a:gd name="connsiteX50" fmla="*/ 2697502 w 4519987"/>
              <a:gd name="connsiteY50" fmla="*/ 4429125 h 4496940"/>
              <a:gd name="connsiteX51" fmla="*/ 2640352 w 4519987"/>
              <a:gd name="connsiteY51" fmla="*/ 4457700 h 4496940"/>
              <a:gd name="connsiteX52" fmla="*/ 2583202 w 4519987"/>
              <a:gd name="connsiteY52" fmla="*/ 4467225 h 4496940"/>
              <a:gd name="connsiteX53" fmla="*/ 2545102 w 4519987"/>
              <a:gd name="connsiteY53" fmla="*/ 4486275 h 4496940"/>
              <a:gd name="connsiteX54" fmla="*/ 2306977 w 4519987"/>
              <a:gd name="connsiteY54" fmla="*/ 4476750 h 4496940"/>
              <a:gd name="connsiteX55" fmla="*/ 2202202 w 4519987"/>
              <a:gd name="connsiteY55" fmla="*/ 4457700 h 4496940"/>
              <a:gd name="connsiteX56" fmla="*/ 2126002 w 4519987"/>
              <a:gd name="connsiteY56" fmla="*/ 4429125 h 4496940"/>
              <a:gd name="connsiteX57" fmla="*/ 1935502 w 4519987"/>
              <a:gd name="connsiteY57" fmla="*/ 4400550 h 4496940"/>
              <a:gd name="connsiteX58" fmla="*/ 1821202 w 4519987"/>
              <a:gd name="connsiteY58" fmla="*/ 4371975 h 4496940"/>
              <a:gd name="connsiteX59" fmla="*/ 1754527 w 4519987"/>
              <a:gd name="connsiteY59" fmla="*/ 4352925 h 4496940"/>
              <a:gd name="connsiteX60" fmla="*/ 1687852 w 4519987"/>
              <a:gd name="connsiteY60" fmla="*/ 4343400 h 4496940"/>
              <a:gd name="connsiteX61" fmla="*/ 1573552 w 4519987"/>
              <a:gd name="connsiteY61" fmla="*/ 4305300 h 4496940"/>
              <a:gd name="connsiteX62" fmla="*/ 1402102 w 4519987"/>
              <a:gd name="connsiteY62" fmla="*/ 4276725 h 4496940"/>
              <a:gd name="connsiteX63" fmla="*/ 1287802 w 4519987"/>
              <a:gd name="connsiteY63" fmla="*/ 4229100 h 4496940"/>
              <a:gd name="connsiteX64" fmla="*/ 1221127 w 4519987"/>
              <a:gd name="connsiteY64" fmla="*/ 4200525 h 4496940"/>
              <a:gd name="connsiteX65" fmla="*/ 1144927 w 4519987"/>
              <a:gd name="connsiteY65" fmla="*/ 4171950 h 4496940"/>
              <a:gd name="connsiteX66" fmla="*/ 1087777 w 4519987"/>
              <a:gd name="connsiteY66" fmla="*/ 4143375 h 4496940"/>
              <a:gd name="connsiteX67" fmla="*/ 1030627 w 4519987"/>
              <a:gd name="connsiteY67" fmla="*/ 4124325 h 4496940"/>
              <a:gd name="connsiteX68" fmla="*/ 925852 w 4519987"/>
              <a:gd name="connsiteY68" fmla="*/ 4067175 h 4496940"/>
              <a:gd name="connsiteX69" fmla="*/ 830602 w 4519987"/>
              <a:gd name="connsiteY69" fmla="*/ 3981450 h 4496940"/>
              <a:gd name="connsiteX70" fmla="*/ 763927 w 4519987"/>
              <a:gd name="connsiteY70" fmla="*/ 3914775 h 4496940"/>
              <a:gd name="connsiteX71" fmla="*/ 725827 w 4519987"/>
              <a:gd name="connsiteY71" fmla="*/ 3876675 h 4496940"/>
              <a:gd name="connsiteX72" fmla="*/ 697252 w 4519987"/>
              <a:gd name="connsiteY72" fmla="*/ 3838575 h 4496940"/>
              <a:gd name="connsiteX73" fmla="*/ 640102 w 4519987"/>
              <a:gd name="connsiteY73" fmla="*/ 3781425 h 4496940"/>
              <a:gd name="connsiteX74" fmla="*/ 611527 w 4519987"/>
              <a:gd name="connsiteY74" fmla="*/ 3733800 h 4496940"/>
              <a:gd name="connsiteX75" fmla="*/ 554377 w 4519987"/>
              <a:gd name="connsiteY75" fmla="*/ 3657600 h 4496940"/>
              <a:gd name="connsiteX76" fmla="*/ 525802 w 4519987"/>
              <a:gd name="connsiteY76" fmla="*/ 3609975 h 4496940"/>
              <a:gd name="connsiteX77" fmla="*/ 497227 w 4519987"/>
              <a:gd name="connsiteY77" fmla="*/ 3552825 h 4496940"/>
              <a:gd name="connsiteX78" fmla="*/ 440077 w 4519987"/>
              <a:gd name="connsiteY78" fmla="*/ 3495675 h 4496940"/>
              <a:gd name="connsiteX79" fmla="*/ 411502 w 4519987"/>
              <a:gd name="connsiteY79" fmla="*/ 3448050 h 4496940"/>
              <a:gd name="connsiteX80" fmla="*/ 278152 w 4519987"/>
              <a:gd name="connsiteY80" fmla="*/ 3257550 h 4496940"/>
              <a:gd name="connsiteX81" fmla="*/ 249577 w 4519987"/>
              <a:gd name="connsiteY81" fmla="*/ 3200400 h 4496940"/>
              <a:gd name="connsiteX82" fmla="*/ 240052 w 4519987"/>
              <a:gd name="connsiteY82" fmla="*/ 3162300 h 4496940"/>
              <a:gd name="connsiteX83" fmla="*/ 221002 w 4519987"/>
              <a:gd name="connsiteY83" fmla="*/ 3105150 h 4496940"/>
              <a:gd name="connsiteX84" fmla="*/ 173377 w 4519987"/>
              <a:gd name="connsiteY84" fmla="*/ 3019425 h 4496940"/>
              <a:gd name="connsiteX85" fmla="*/ 144802 w 4519987"/>
              <a:gd name="connsiteY85" fmla="*/ 2924175 h 4496940"/>
              <a:gd name="connsiteX86" fmla="*/ 68602 w 4519987"/>
              <a:gd name="connsiteY86" fmla="*/ 2724150 h 4496940"/>
              <a:gd name="connsiteX87" fmla="*/ 49552 w 4519987"/>
              <a:gd name="connsiteY87" fmla="*/ 2638425 h 4496940"/>
              <a:gd name="connsiteX88" fmla="*/ 40027 w 4519987"/>
              <a:gd name="connsiteY88" fmla="*/ 2562225 h 4496940"/>
              <a:gd name="connsiteX89" fmla="*/ 30502 w 4519987"/>
              <a:gd name="connsiteY89" fmla="*/ 2514600 h 4496940"/>
              <a:gd name="connsiteX90" fmla="*/ 11452 w 4519987"/>
              <a:gd name="connsiteY90" fmla="*/ 2400300 h 4496940"/>
              <a:gd name="connsiteX91" fmla="*/ 20977 w 4519987"/>
              <a:gd name="connsiteY91" fmla="*/ 1905000 h 4496940"/>
              <a:gd name="connsiteX92" fmla="*/ 30502 w 4519987"/>
              <a:gd name="connsiteY92" fmla="*/ 1838325 h 4496940"/>
              <a:gd name="connsiteX93" fmla="*/ 49552 w 4519987"/>
              <a:gd name="connsiteY93" fmla="*/ 1781175 h 4496940"/>
              <a:gd name="connsiteX94" fmla="*/ 59077 w 4519987"/>
              <a:gd name="connsiteY94" fmla="*/ 1743075 h 4496940"/>
              <a:gd name="connsiteX95" fmla="*/ 78127 w 4519987"/>
              <a:gd name="connsiteY95" fmla="*/ 1685925 h 4496940"/>
              <a:gd name="connsiteX96" fmla="*/ 87652 w 4519987"/>
              <a:gd name="connsiteY96" fmla="*/ 1638300 h 4496940"/>
              <a:gd name="connsiteX97" fmla="*/ 106702 w 4519987"/>
              <a:gd name="connsiteY97" fmla="*/ 1590675 h 4496940"/>
              <a:gd name="connsiteX98" fmla="*/ 135277 w 4519987"/>
              <a:gd name="connsiteY98" fmla="*/ 1504950 h 4496940"/>
              <a:gd name="connsiteX99" fmla="*/ 154327 w 4519987"/>
              <a:gd name="connsiteY99" fmla="*/ 1419225 h 4496940"/>
              <a:gd name="connsiteX100" fmla="*/ 230527 w 4519987"/>
              <a:gd name="connsiteY100" fmla="*/ 1276350 h 4496940"/>
              <a:gd name="connsiteX101" fmla="*/ 240052 w 4519987"/>
              <a:gd name="connsiteY101" fmla="*/ 1247775 h 4496940"/>
              <a:gd name="connsiteX102" fmla="*/ 268627 w 4519987"/>
              <a:gd name="connsiteY102" fmla="*/ 1200150 h 4496940"/>
              <a:gd name="connsiteX103" fmla="*/ 287677 w 4519987"/>
              <a:gd name="connsiteY103" fmla="*/ 1152525 h 4496940"/>
              <a:gd name="connsiteX104" fmla="*/ 316252 w 4519987"/>
              <a:gd name="connsiteY104" fmla="*/ 1114425 h 4496940"/>
              <a:gd name="connsiteX105" fmla="*/ 363877 w 4519987"/>
              <a:gd name="connsiteY105" fmla="*/ 1038225 h 4496940"/>
              <a:gd name="connsiteX106" fmla="*/ 382927 w 4519987"/>
              <a:gd name="connsiteY106" fmla="*/ 1009650 h 4496940"/>
              <a:gd name="connsiteX107" fmla="*/ 440077 w 4519987"/>
              <a:gd name="connsiteY107" fmla="*/ 904875 h 4496940"/>
              <a:gd name="connsiteX108" fmla="*/ 478177 w 4519987"/>
              <a:gd name="connsiteY108" fmla="*/ 857250 h 4496940"/>
              <a:gd name="connsiteX109" fmla="*/ 497227 w 4519987"/>
              <a:gd name="connsiteY109" fmla="*/ 828675 h 4496940"/>
              <a:gd name="connsiteX110" fmla="*/ 535327 w 4519987"/>
              <a:gd name="connsiteY110" fmla="*/ 800100 h 4496940"/>
              <a:gd name="connsiteX111" fmla="*/ 602002 w 4519987"/>
              <a:gd name="connsiteY111" fmla="*/ 733425 h 4496940"/>
              <a:gd name="connsiteX112" fmla="*/ 668677 w 4519987"/>
              <a:gd name="connsiteY112" fmla="*/ 676275 h 4496940"/>
              <a:gd name="connsiteX113" fmla="*/ 697252 w 4519987"/>
              <a:gd name="connsiteY113" fmla="*/ 657225 h 4496940"/>
              <a:gd name="connsiteX114" fmla="*/ 840127 w 4519987"/>
              <a:gd name="connsiteY114" fmla="*/ 533400 h 4496940"/>
              <a:gd name="connsiteX115" fmla="*/ 887752 w 4519987"/>
              <a:gd name="connsiteY115" fmla="*/ 504825 h 4496940"/>
              <a:gd name="connsiteX116" fmla="*/ 1167152 w 4519987"/>
              <a:gd name="connsiteY116" fmla="*/ 311150 h 4496940"/>
              <a:gd name="connsiteX117" fmla="*/ 1268752 w 4519987"/>
              <a:gd name="connsiteY117" fmla="*/ 285750 h 4496940"/>
              <a:gd name="connsiteX118" fmla="*/ 1411627 w 4519987"/>
              <a:gd name="connsiteY118" fmla="*/ 190500 h 4496940"/>
              <a:gd name="connsiteX119" fmla="*/ 1449727 w 4519987"/>
              <a:gd name="connsiteY119" fmla="*/ 161925 h 4496940"/>
              <a:gd name="connsiteX120" fmla="*/ 1525927 w 4519987"/>
              <a:gd name="connsiteY120" fmla="*/ 152400 h 4496940"/>
              <a:gd name="connsiteX121" fmla="*/ 1583077 w 4519987"/>
              <a:gd name="connsiteY121" fmla="*/ 142875 h 4496940"/>
              <a:gd name="connsiteX122" fmla="*/ 1716427 w 4519987"/>
              <a:gd name="connsiteY122" fmla="*/ 123825 h 4496940"/>
              <a:gd name="connsiteX123" fmla="*/ 1811677 w 4519987"/>
              <a:gd name="connsiteY123" fmla="*/ 114300 h 4496940"/>
              <a:gd name="connsiteX124" fmla="*/ 1859302 w 4519987"/>
              <a:gd name="connsiteY124" fmla="*/ 104775 h 4496940"/>
              <a:gd name="connsiteX125" fmla="*/ 1916452 w 4519987"/>
              <a:gd name="connsiteY125" fmla="*/ 95250 h 4496940"/>
              <a:gd name="connsiteX126" fmla="*/ 2030752 w 4519987"/>
              <a:gd name="connsiteY126" fmla="*/ 66675 h 4496940"/>
              <a:gd name="connsiteX127" fmla="*/ 2097427 w 4519987"/>
              <a:gd name="connsiteY127" fmla="*/ 47625 h 4496940"/>
              <a:gd name="connsiteX128" fmla="*/ 2164102 w 4519987"/>
              <a:gd name="connsiteY128" fmla="*/ 38100 h 4496940"/>
              <a:gd name="connsiteX129" fmla="*/ 2392702 w 4519987"/>
              <a:gd name="connsiteY12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497602 w 4519987"/>
              <a:gd name="connsiteY40" fmla="*/ 4143375 h 4496940"/>
              <a:gd name="connsiteX41" fmla="*/ 3383302 w 4519987"/>
              <a:gd name="connsiteY41" fmla="*/ 4210050 h 4496940"/>
              <a:gd name="connsiteX42" fmla="*/ 3335677 w 4519987"/>
              <a:gd name="connsiteY42" fmla="*/ 4238625 h 4496940"/>
              <a:gd name="connsiteX43" fmla="*/ 3288052 w 4519987"/>
              <a:gd name="connsiteY43" fmla="*/ 4248150 h 4496940"/>
              <a:gd name="connsiteX44" fmla="*/ 3240427 w 4519987"/>
              <a:gd name="connsiteY44" fmla="*/ 4267200 h 4496940"/>
              <a:gd name="connsiteX45" fmla="*/ 3068977 w 4519987"/>
              <a:gd name="connsiteY45" fmla="*/ 4286250 h 4496940"/>
              <a:gd name="connsiteX46" fmla="*/ 2935627 w 4519987"/>
              <a:gd name="connsiteY46" fmla="*/ 4333875 h 4496940"/>
              <a:gd name="connsiteX47" fmla="*/ 2811802 w 4519987"/>
              <a:gd name="connsiteY47" fmla="*/ 4371975 h 4496940"/>
              <a:gd name="connsiteX48" fmla="*/ 2745127 w 4519987"/>
              <a:gd name="connsiteY48" fmla="*/ 4410075 h 4496940"/>
              <a:gd name="connsiteX49" fmla="*/ 2697502 w 4519987"/>
              <a:gd name="connsiteY49" fmla="*/ 4429125 h 4496940"/>
              <a:gd name="connsiteX50" fmla="*/ 2640352 w 4519987"/>
              <a:gd name="connsiteY50" fmla="*/ 4457700 h 4496940"/>
              <a:gd name="connsiteX51" fmla="*/ 2583202 w 4519987"/>
              <a:gd name="connsiteY51" fmla="*/ 4467225 h 4496940"/>
              <a:gd name="connsiteX52" fmla="*/ 2545102 w 4519987"/>
              <a:gd name="connsiteY52" fmla="*/ 4486275 h 4496940"/>
              <a:gd name="connsiteX53" fmla="*/ 2306977 w 4519987"/>
              <a:gd name="connsiteY53" fmla="*/ 4476750 h 4496940"/>
              <a:gd name="connsiteX54" fmla="*/ 2202202 w 4519987"/>
              <a:gd name="connsiteY54" fmla="*/ 4457700 h 4496940"/>
              <a:gd name="connsiteX55" fmla="*/ 2126002 w 4519987"/>
              <a:gd name="connsiteY55" fmla="*/ 4429125 h 4496940"/>
              <a:gd name="connsiteX56" fmla="*/ 1935502 w 4519987"/>
              <a:gd name="connsiteY56" fmla="*/ 4400550 h 4496940"/>
              <a:gd name="connsiteX57" fmla="*/ 1821202 w 4519987"/>
              <a:gd name="connsiteY57" fmla="*/ 4371975 h 4496940"/>
              <a:gd name="connsiteX58" fmla="*/ 1754527 w 4519987"/>
              <a:gd name="connsiteY58" fmla="*/ 4352925 h 4496940"/>
              <a:gd name="connsiteX59" fmla="*/ 1687852 w 4519987"/>
              <a:gd name="connsiteY59" fmla="*/ 4343400 h 4496940"/>
              <a:gd name="connsiteX60" fmla="*/ 1573552 w 4519987"/>
              <a:gd name="connsiteY60" fmla="*/ 4305300 h 4496940"/>
              <a:gd name="connsiteX61" fmla="*/ 1402102 w 4519987"/>
              <a:gd name="connsiteY61" fmla="*/ 4276725 h 4496940"/>
              <a:gd name="connsiteX62" fmla="*/ 1287802 w 4519987"/>
              <a:gd name="connsiteY62" fmla="*/ 4229100 h 4496940"/>
              <a:gd name="connsiteX63" fmla="*/ 1221127 w 4519987"/>
              <a:gd name="connsiteY63" fmla="*/ 4200525 h 4496940"/>
              <a:gd name="connsiteX64" fmla="*/ 1144927 w 4519987"/>
              <a:gd name="connsiteY64" fmla="*/ 4171950 h 4496940"/>
              <a:gd name="connsiteX65" fmla="*/ 1087777 w 4519987"/>
              <a:gd name="connsiteY65" fmla="*/ 4143375 h 4496940"/>
              <a:gd name="connsiteX66" fmla="*/ 1030627 w 4519987"/>
              <a:gd name="connsiteY66" fmla="*/ 4124325 h 4496940"/>
              <a:gd name="connsiteX67" fmla="*/ 925852 w 4519987"/>
              <a:gd name="connsiteY67" fmla="*/ 4067175 h 4496940"/>
              <a:gd name="connsiteX68" fmla="*/ 830602 w 4519987"/>
              <a:gd name="connsiteY68" fmla="*/ 3981450 h 4496940"/>
              <a:gd name="connsiteX69" fmla="*/ 763927 w 4519987"/>
              <a:gd name="connsiteY69" fmla="*/ 3914775 h 4496940"/>
              <a:gd name="connsiteX70" fmla="*/ 725827 w 4519987"/>
              <a:gd name="connsiteY70" fmla="*/ 3876675 h 4496940"/>
              <a:gd name="connsiteX71" fmla="*/ 697252 w 4519987"/>
              <a:gd name="connsiteY71" fmla="*/ 3838575 h 4496940"/>
              <a:gd name="connsiteX72" fmla="*/ 640102 w 4519987"/>
              <a:gd name="connsiteY72" fmla="*/ 3781425 h 4496940"/>
              <a:gd name="connsiteX73" fmla="*/ 611527 w 4519987"/>
              <a:gd name="connsiteY73" fmla="*/ 3733800 h 4496940"/>
              <a:gd name="connsiteX74" fmla="*/ 554377 w 4519987"/>
              <a:gd name="connsiteY74" fmla="*/ 3657600 h 4496940"/>
              <a:gd name="connsiteX75" fmla="*/ 525802 w 4519987"/>
              <a:gd name="connsiteY75" fmla="*/ 3609975 h 4496940"/>
              <a:gd name="connsiteX76" fmla="*/ 497227 w 4519987"/>
              <a:gd name="connsiteY76" fmla="*/ 3552825 h 4496940"/>
              <a:gd name="connsiteX77" fmla="*/ 440077 w 4519987"/>
              <a:gd name="connsiteY77" fmla="*/ 3495675 h 4496940"/>
              <a:gd name="connsiteX78" fmla="*/ 411502 w 4519987"/>
              <a:gd name="connsiteY78" fmla="*/ 3448050 h 4496940"/>
              <a:gd name="connsiteX79" fmla="*/ 278152 w 4519987"/>
              <a:gd name="connsiteY79" fmla="*/ 3257550 h 4496940"/>
              <a:gd name="connsiteX80" fmla="*/ 249577 w 4519987"/>
              <a:gd name="connsiteY80" fmla="*/ 3200400 h 4496940"/>
              <a:gd name="connsiteX81" fmla="*/ 240052 w 4519987"/>
              <a:gd name="connsiteY81" fmla="*/ 3162300 h 4496940"/>
              <a:gd name="connsiteX82" fmla="*/ 221002 w 4519987"/>
              <a:gd name="connsiteY82" fmla="*/ 3105150 h 4496940"/>
              <a:gd name="connsiteX83" fmla="*/ 173377 w 4519987"/>
              <a:gd name="connsiteY83" fmla="*/ 3019425 h 4496940"/>
              <a:gd name="connsiteX84" fmla="*/ 144802 w 4519987"/>
              <a:gd name="connsiteY84" fmla="*/ 2924175 h 4496940"/>
              <a:gd name="connsiteX85" fmla="*/ 68602 w 4519987"/>
              <a:gd name="connsiteY85" fmla="*/ 2724150 h 4496940"/>
              <a:gd name="connsiteX86" fmla="*/ 49552 w 4519987"/>
              <a:gd name="connsiteY86" fmla="*/ 2638425 h 4496940"/>
              <a:gd name="connsiteX87" fmla="*/ 40027 w 4519987"/>
              <a:gd name="connsiteY87" fmla="*/ 2562225 h 4496940"/>
              <a:gd name="connsiteX88" fmla="*/ 30502 w 4519987"/>
              <a:gd name="connsiteY88" fmla="*/ 2514600 h 4496940"/>
              <a:gd name="connsiteX89" fmla="*/ 11452 w 4519987"/>
              <a:gd name="connsiteY89" fmla="*/ 2400300 h 4496940"/>
              <a:gd name="connsiteX90" fmla="*/ 20977 w 4519987"/>
              <a:gd name="connsiteY90" fmla="*/ 1905000 h 4496940"/>
              <a:gd name="connsiteX91" fmla="*/ 30502 w 4519987"/>
              <a:gd name="connsiteY91" fmla="*/ 1838325 h 4496940"/>
              <a:gd name="connsiteX92" fmla="*/ 49552 w 4519987"/>
              <a:gd name="connsiteY92" fmla="*/ 1781175 h 4496940"/>
              <a:gd name="connsiteX93" fmla="*/ 59077 w 4519987"/>
              <a:gd name="connsiteY93" fmla="*/ 1743075 h 4496940"/>
              <a:gd name="connsiteX94" fmla="*/ 78127 w 4519987"/>
              <a:gd name="connsiteY94" fmla="*/ 1685925 h 4496940"/>
              <a:gd name="connsiteX95" fmla="*/ 87652 w 4519987"/>
              <a:gd name="connsiteY95" fmla="*/ 1638300 h 4496940"/>
              <a:gd name="connsiteX96" fmla="*/ 106702 w 4519987"/>
              <a:gd name="connsiteY96" fmla="*/ 1590675 h 4496940"/>
              <a:gd name="connsiteX97" fmla="*/ 135277 w 4519987"/>
              <a:gd name="connsiteY97" fmla="*/ 1504950 h 4496940"/>
              <a:gd name="connsiteX98" fmla="*/ 154327 w 4519987"/>
              <a:gd name="connsiteY98" fmla="*/ 1419225 h 4496940"/>
              <a:gd name="connsiteX99" fmla="*/ 230527 w 4519987"/>
              <a:gd name="connsiteY99" fmla="*/ 1276350 h 4496940"/>
              <a:gd name="connsiteX100" fmla="*/ 240052 w 4519987"/>
              <a:gd name="connsiteY100" fmla="*/ 1247775 h 4496940"/>
              <a:gd name="connsiteX101" fmla="*/ 268627 w 4519987"/>
              <a:gd name="connsiteY101" fmla="*/ 1200150 h 4496940"/>
              <a:gd name="connsiteX102" fmla="*/ 287677 w 4519987"/>
              <a:gd name="connsiteY102" fmla="*/ 1152525 h 4496940"/>
              <a:gd name="connsiteX103" fmla="*/ 316252 w 4519987"/>
              <a:gd name="connsiteY103" fmla="*/ 1114425 h 4496940"/>
              <a:gd name="connsiteX104" fmla="*/ 363877 w 4519987"/>
              <a:gd name="connsiteY104" fmla="*/ 1038225 h 4496940"/>
              <a:gd name="connsiteX105" fmla="*/ 382927 w 4519987"/>
              <a:gd name="connsiteY105" fmla="*/ 1009650 h 4496940"/>
              <a:gd name="connsiteX106" fmla="*/ 440077 w 4519987"/>
              <a:gd name="connsiteY106" fmla="*/ 904875 h 4496940"/>
              <a:gd name="connsiteX107" fmla="*/ 478177 w 4519987"/>
              <a:gd name="connsiteY107" fmla="*/ 857250 h 4496940"/>
              <a:gd name="connsiteX108" fmla="*/ 497227 w 4519987"/>
              <a:gd name="connsiteY108" fmla="*/ 828675 h 4496940"/>
              <a:gd name="connsiteX109" fmla="*/ 535327 w 4519987"/>
              <a:gd name="connsiteY109" fmla="*/ 800100 h 4496940"/>
              <a:gd name="connsiteX110" fmla="*/ 602002 w 4519987"/>
              <a:gd name="connsiteY110" fmla="*/ 733425 h 4496940"/>
              <a:gd name="connsiteX111" fmla="*/ 668677 w 4519987"/>
              <a:gd name="connsiteY111" fmla="*/ 676275 h 4496940"/>
              <a:gd name="connsiteX112" fmla="*/ 697252 w 4519987"/>
              <a:gd name="connsiteY112" fmla="*/ 657225 h 4496940"/>
              <a:gd name="connsiteX113" fmla="*/ 840127 w 4519987"/>
              <a:gd name="connsiteY113" fmla="*/ 533400 h 4496940"/>
              <a:gd name="connsiteX114" fmla="*/ 887752 w 4519987"/>
              <a:gd name="connsiteY114" fmla="*/ 504825 h 4496940"/>
              <a:gd name="connsiteX115" fmla="*/ 1167152 w 4519987"/>
              <a:gd name="connsiteY115" fmla="*/ 311150 h 4496940"/>
              <a:gd name="connsiteX116" fmla="*/ 1268752 w 4519987"/>
              <a:gd name="connsiteY116" fmla="*/ 285750 h 4496940"/>
              <a:gd name="connsiteX117" fmla="*/ 1411627 w 4519987"/>
              <a:gd name="connsiteY117" fmla="*/ 190500 h 4496940"/>
              <a:gd name="connsiteX118" fmla="*/ 1449727 w 4519987"/>
              <a:gd name="connsiteY118" fmla="*/ 161925 h 4496940"/>
              <a:gd name="connsiteX119" fmla="*/ 1525927 w 4519987"/>
              <a:gd name="connsiteY119" fmla="*/ 152400 h 4496940"/>
              <a:gd name="connsiteX120" fmla="*/ 1583077 w 4519987"/>
              <a:gd name="connsiteY120" fmla="*/ 142875 h 4496940"/>
              <a:gd name="connsiteX121" fmla="*/ 1716427 w 4519987"/>
              <a:gd name="connsiteY121" fmla="*/ 123825 h 4496940"/>
              <a:gd name="connsiteX122" fmla="*/ 1811677 w 4519987"/>
              <a:gd name="connsiteY122" fmla="*/ 114300 h 4496940"/>
              <a:gd name="connsiteX123" fmla="*/ 1859302 w 4519987"/>
              <a:gd name="connsiteY123" fmla="*/ 104775 h 4496940"/>
              <a:gd name="connsiteX124" fmla="*/ 1916452 w 4519987"/>
              <a:gd name="connsiteY124" fmla="*/ 95250 h 4496940"/>
              <a:gd name="connsiteX125" fmla="*/ 2030752 w 4519987"/>
              <a:gd name="connsiteY125" fmla="*/ 66675 h 4496940"/>
              <a:gd name="connsiteX126" fmla="*/ 2097427 w 4519987"/>
              <a:gd name="connsiteY126" fmla="*/ 47625 h 4496940"/>
              <a:gd name="connsiteX127" fmla="*/ 2164102 w 4519987"/>
              <a:gd name="connsiteY127" fmla="*/ 38100 h 4496940"/>
              <a:gd name="connsiteX128" fmla="*/ 2392702 w 4519987"/>
              <a:gd name="connsiteY12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383302 w 4519987"/>
              <a:gd name="connsiteY40" fmla="*/ 4210050 h 4496940"/>
              <a:gd name="connsiteX41" fmla="*/ 3335677 w 4519987"/>
              <a:gd name="connsiteY41" fmla="*/ 4238625 h 4496940"/>
              <a:gd name="connsiteX42" fmla="*/ 3288052 w 4519987"/>
              <a:gd name="connsiteY42" fmla="*/ 4248150 h 4496940"/>
              <a:gd name="connsiteX43" fmla="*/ 3240427 w 4519987"/>
              <a:gd name="connsiteY43" fmla="*/ 4267200 h 4496940"/>
              <a:gd name="connsiteX44" fmla="*/ 3068977 w 4519987"/>
              <a:gd name="connsiteY44" fmla="*/ 4286250 h 4496940"/>
              <a:gd name="connsiteX45" fmla="*/ 2935627 w 4519987"/>
              <a:gd name="connsiteY45" fmla="*/ 4333875 h 4496940"/>
              <a:gd name="connsiteX46" fmla="*/ 2811802 w 4519987"/>
              <a:gd name="connsiteY46" fmla="*/ 4371975 h 4496940"/>
              <a:gd name="connsiteX47" fmla="*/ 2745127 w 4519987"/>
              <a:gd name="connsiteY47" fmla="*/ 4410075 h 4496940"/>
              <a:gd name="connsiteX48" fmla="*/ 2697502 w 4519987"/>
              <a:gd name="connsiteY48" fmla="*/ 4429125 h 4496940"/>
              <a:gd name="connsiteX49" fmla="*/ 2640352 w 4519987"/>
              <a:gd name="connsiteY49" fmla="*/ 4457700 h 4496940"/>
              <a:gd name="connsiteX50" fmla="*/ 2583202 w 4519987"/>
              <a:gd name="connsiteY50" fmla="*/ 4467225 h 4496940"/>
              <a:gd name="connsiteX51" fmla="*/ 2545102 w 4519987"/>
              <a:gd name="connsiteY51" fmla="*/ 4486275 h 4496940"/>
              <a:gd name="connsiteX52" fmla="*/ 2306977 w 4519987"/>
              <a:gd name="connsiteY52" fmla="*/ 4476750 h 4496940"/>
              <a:gd name="connsiteX53" fmla="*/ 2202202 w 4519987"/>
              <a:gd name="connsiteY53" fmla="*/ 4457700 h 4496940"/>
              <a:gd name="connsiteX54" fmla="*/ 2126002 w 4519987"/>
              <a:gd name="connsiteY54" fmla="*/ 4429125 h 4496940"/>
              <a:gd name="connsiteX55" fmla="*/ 1935502 w 4519987"/>
              <a:gd name="connsiteY55" fmla="*/ 4400550 h 4496940"/>
              <a:gd name="connsiteX56" fmla="*/ 1821202 w 4519987"/>
              <a:gd name="connsiteY56" fmla="*/ 4371975 h 4496940"/>
              <a:gd name="connsiteX57" fmla="*/ 1754527 w 4519987"/>
              <a:gd name="connsiteY57" fmla="*/ 4352925 h 4496940"/>
              <a:gd name="connsiteX58" fmla="*/ 1687852 w 4519987"/>
              <a:gd name="connsiteY58" fmla="*/ 4343400 h 4496940"/>
              <a:gd name="connsiteX59" fmla="*/ 1573552 w 4519987"/>
              <a:gd name="connsiteY59" fmla="*/ 4305300 h 4496940"/>
              <a:gd name="connsiteX60" fmla="*/ 1402102 w 4519987"/>
              <a:gd name="connsiteY60" fmla="*/ 4276725 h 4496940"/>
              <a:gd name="connsiteX61" fmla="*/ 1287802 w 4519987"/>
              <a:gd name="connsiteY61" fmla="*/ 4229100 h 4496940"/>
              <a:gd name="connsiteX62" fmla="*/ 1221127 w 4519987"/>
              <a:gd name="connsiteY62" fmla="*/ 4200525 h 4496940"/>
              <a:gd name="connsiteX63" fmla="*/ 1144927 w 4519987"/>
              <a:gd name="connsiteY63" fmla="*/ 4171950 h 4496940"/>
              <a:gd name="connsiteX64" fmla="*/ 1087777 w 4519987"/>
              <a:gd name="connsiteY64" fmla="*/ 4143375 h 4496940"/>
              <a:gd name="connsiteX65" fmla="*/ 1030627 w 4519987"/>
              <a:gd name="connsiteY65" fmla="*/ 4124325 h 4496940"/>
              <a:gd name="connsiteX66" fmla="*/ 925852 w 4519987"/>
              <a:gd name="connsiteY66" fmla="*/ 4067175 h 4496940"/>
              <a:gd name="connsiteX67" fmla="*/ 830602 w 4519987"/>
              <a:gd name="connsiteY67" fmla="*/ 3981450 h 4496940"/>
              <a:gd name="connsiteX68" fmla="*/ 763927 w 4519987"/>
              <a:gd name="connsiteY68" fmla="*/ 3914775 h 4496940"/>
              <a:gd name="connsiteX69" fmla="*/ 725827 w 4519987"/>
              <a:gd name="connsiteY69" fmla="*/ 3876675 h 4496940"/>
              <a:gd name="connsiteX70" fmla="*/ 697252 w 4519987"/>
              <a:gd name="connsiteY70" fmla="*/ 3838575 h 4496940"/>
              <a:gd name="connsiteX71" fmla="*/ 640102 w 4519987"/>
              <a:gd name="connsiteY71" fmla="*/ 3781425 h 4496940"/>
              <a:gd name="connsiteX72" fmla="*/ 611527 w 4519987"/>
              <a:gd name="connsiteY72" fmla="*/ 3733800 h 4496940"/>
              <a:gd name="connsiteX73" fmla="*/ 554377 w 4519987"/>
              <a:gd name="connsiteY73" fmla="*/ 3657600 h 4496940"/>
              <a:gd name="connsiteX74" fmla="*/ 525802 w 4519987"/>
              <a:gd name="connsiteY74" fmla="*/ 3609975 h 4496940"/>
              <a:gd name="connsiteX75" fmla="*/ 497227 w 4519987"/>
              <a:gd name="connsiteY75" fmla="*/ 3552825 h 4496940"/>
              <a:gd name="connsiteX76" fmla="*/ 440077 w 4519987"/>
              <a:gd name="connsiteY76" fmla="*/ 3495675 h 4496940"/>
              <a:gd name="connsiteX77" fmla="*/ 411502 w 4519987"/>
              <a:gd name="connsiteY77" fmla="*/ 3448050 h 4496940"/>
              <a:gd name="connsiteX78" fmla="*/ 278152 w 4519987"/>
              <a:gd name="connsiteY78" fmla="*/ 3257550 h 4496940"/>
              <a:gd name="connsiteX79" fmla="*/ 249577 w 4519987"/>
              <a:gd name="connsiteY79" fmla="*/ 3200400 h 4496940"/>
              <a:gd name="connsiteX80" fmla="*/ 240052 w 4519987"/>
              <a:gd name="connsiteY80" fmla="*/ 3162300 h 4496940"/>
              <a:gd name="connsiteX81" fmla="*/ 221002 w 4519987"/>
              <a:gd name="connsiteY81" fmla="*/ 3105150 h 4496940"/>
              <a:gd name="connsiteX82" fmla="*/ 173377 w 4519987"/>
              <a:gd name="connsiteY82" fmla="*/ 3019425 h 4496940"/>
              <a:gd name="connsiteX83" fmla="*/ 144802 w 4519987"/>
              <a:gd name="connsiteY83" fmla="*/ 2924175 h 4496940"/>
              <a:gd name="connsiteX84" fmla="*/ 68602 w 4519987"/>
              <a:gd name="connsiteY84" fmla="*/ 2724150 h 4496940"/>
              <a:gd name="connsiteX85" fmla="*/ 49552 w 4519987"/>
              <a:gd name="connsiteY85" fmla="*/ 2638425 h 4496940"/>
              <a:gd name="connsiteX86" fmla="*/ 40027 w 4519987"/>
              <a:gd name="connsiteY86" fmla="*/ 2562225 h 4496940"/>
              <a:gd name="connsiteX87" fmla="*/ 30502 w 4519987"/>
              <a:gd name="connsiteY87" fmla="*/ 2514600 h 4496940"/>
              <a:gd name="connsiteX88" fmla="*/ 11452 w 4519987"/>
              <a:gd name="connsiteY88" fmla="*/ 2400300 h 4496940"/>
              <a:gd name="connsiteX89" fmla="*/ 20977 w 4519987"/>
              <a:gd name="connsiteY89" fmla="*/ 1905000 h 4496940"/>
              <a:gd name="connsiteX90" fmla="*/ 30502 w 4519987"/>
              <a:gd name="connsiteY90" fmla="*/ 1838325 h 4496940"/>
              <a:gd name="connsiteX91" fmla="*/ 49552 w 4519987"/>
              <a:gd name="connsiteY91" fmla="*/ 1781175 h 4496940"/>
              <a:gd name="connsiteX92" fmla="*/ 59077 w 4519987"/>
              <a:gd name="connsiteY92" fmla="*/ 1743075 h 4496940"/>
              <a:gd name="connsiteX93" fmla="*/ 78127 w 4519987"/>
              <a:gd name="connsiteY93" fmla="*/ 1685925 h 4496940"/>
              <a:gd name="connsiteX94" fmla="*/ 87652 w 4519987"/>
              <a:gd name="connsiteY94" fmla="*/ 1638300 h 4496940"/>
              <a:gd name="connsiteX95" fmla="*/ 106702 w 4519987"/>
              <a:gd name="connsiteY95" fmla="*/ 1590675 h 4496940"/>
              <a:gd name="connsiteX96" fmla="*/ 135277 w 4519987"/>
              <a:gd name="connsiteY96" fmla="*/ 1504950 h 4496940"/>
              <a:gd name="connsiteX97" fmla="*/ 154327 w 4519987"/>
              <a:gd name="connsiteY97" fmla="*/ 1419225 h 4496940"/>
              <a:gd name="connsiteX98" fmla="*/ 230527 w 4519987"/>
              <a:gd name="connsiteY98" fmla="*/ 1276350 h 4496940"/>
              <a:gd name="connsiteX99" fmla="*/ 240052 w 4519987"/>
              <a:gd name="connsiteY99" fmla="*/ 1247775 h 4496940"/>
              <a:gd name="connsiteX100" fmla="*/ 268627 w 4519987"/>
              <a:gd name="connsiteY100" fmla="*/ 1200150 h 4496940"/>
              <a:gd name="connsiteX101" fmla="*/ 287677 w 4519987"/>
              <a:gd name="connsiteY101" fmla="*/ 1152525 h 4496940"/>
              <a:gd name="connsiteX102" fmla="*/ 316252 w 4519987"/>
              <a:gd name="connsiteY102" fmla="*/ 1114425 h 4496940"/>
              <a:gd name="connsiteX103" fmla="*/ 363877 w 4519987"/>
              <a:gd name="connsiteY103" fmla="*/ 1038225 h 4496940"/>
              <a:gd name="connsiteX104" fmla="*/ 382927 w 4519987"/>
              <a:gd name="connsiteY104" fmla="*/ 1009650 h 4496940"/>
              <a:gd name="connsiteX105" fmla="*/ 440077 w 4519987"/>
              <a:gd name="connsiteY105" fmla="*/ 904875 h 4496940"/>
              <a:gd name="connsiteX106" fmla="*/ 478177 w 4519987"/>
              <a:gd name="connsiteY106" fmla="*/ 857250 h 4496940"/>
              <a:gd name="connsiteX107" fmla="*/ 497227 w 4519987"/>
              <a:gd name="connsiteY107" fmla="*/ 828675 h 4496940"/>
              <a:gd name="connsiteX108" fmla="*/ 535327 w 4519987"/>
              <a:gd name="connsiteY108" fmla="*/ 800100 h 4496940"/>
              <a:gd name="connsiteX109" fmla="*/ 602002 w 4519987"/>
              <a:gd name="connsiteY109" fmla="*/ 733425 h 4496940"/>
              <a:gd name="connsiteX110" fmla="*/ 668677 w 4519987"/>
              <a:gd name="connsiteY110" fmla="*/ 676275 h 4496940"/>
              <a:gd name="connsiteX111" fmla="*/ 697252 w 4519987"/>
              <a:gd name="connsiteY111" fmla="*/ 657225 h 4496940"/>
              <a:gd name="connsiteX112" fmla="*/ 840127 w 4519987"/>
              <a:gd name="connsiteY112" fmla="*/ 533400 h 4496940"/>
              <a:gd name="connsiteX113" fmla="*/ 887752 w 4519987"/>
              <a:gd name="connsiteY113" fmla="*/ 504825 h 4496940"/>
              <a:gd name="connsiteX114" fmla="*/ 1167152 w 4519987"/>
              <a:gd name="connsiteY114" fmla="*/ 311150 h 4496940"/>
              <a:gd name="connsiteX115" fmla="*/ 1268752 w 4519987"/>
              <a:gd name="connsiteY115" fmla="*/ 285750 h 4496940"/>
              <a:gd name="connsiteX116" fmla="*/ 1411627 w 4519987"/>
              <a:gd name="connsiteY116" fmla="*/ 190500 h 4496940"/>
              <a:gd name="connsiteX117" fmla="*/ 1449727 w 4519987"/>
              <a:gd name="connsiteY117" fmla="*/ 161925 h 4496940"/>
              <a:gd name="connsiteX118" fmla="*/ 1525927 w 4519987"/>
              <a:gd name="connsiteY118" fmla="*/ 152400 h 4496940"/>
              <a:gd name="connsiteX119" fmla="*/ 1583077 w 4519987"/>
              <a:gd name="connsiteY119" fmla="*/ 142875 h 4496940"/>
              <a:gd name="connsiteX120" fmla="*/ 1716427 w 4519987"/>
              <a:gd name="connsiteY120" fmla="*/ 123825 h 4496940"/>
              <a:gd name="connsiteX121" fmla="*/ 1811677 w 4519987"/>
              <a:gd name="connsiteY121" fmla="*/ 114300 h 4496940"/>
              <a:gd name="connsiteX122" fmla="*/ 1859302 w 4519987"/>
              <a:gd name="connsiteY122" fmla="*/ 104775 h 4496940"/>
              <a:gd name="connsiteX123" fmla="*/ 1916452 w 4519987"/>
              <a:gd name="connsiteY123" fmla="*/ 95250 h 4496940"/>
              <a:gd name="connsiteX124" fmla="*/ 2030752 w 4519987"/>
              <a:gd name="connsiteY124" fmla="*/ 66675 h 4496940"/>
              <a:gd name="connsiteX125" fmla="*/ 2097427 w 4519987"/>
              <a:gd name="connsiteY125" fmla="*/ 47625 h 4496940"/>
              <a:gd name="connsiteX126" fmla="*/ 2164102 w 4519987"/>
              <a:gd name="connsiteY126" fmla="*/ 38100 h 4496940"/>
              <a:gd name="connsiteX127" fmla="*/ 2392702 w 4519987"/>
              <a:gd name="connsiteY12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383302 w 4519987"/>
              <a:gd name="connsiteY39" fmla="*/ 4210050 h 4496940"/>
              <a:gd name="connsiteX40" fmla="*/ 3335677 w 4519987"/>
              <a:gd name="connsiteY40" fmla="*/ 4238625 h 4496940"/>
              <a:gd name="connsiteX41" fmla="*/ 3288052 w 4519987"/>
              <a:gd name="connsiteY41" fmla="*/ 4248150 h 4496940"/>
              <a:gd name="connsiteX42" fmla="*/ 3240427 w 4519987"/>
              <a:gd name="connsiteY42" fmla="*/ 4267200 h 4496940"/>
              <a:gd name="connsiteX43" fmla="*/ 3068977 w 4519987"/>
              <a:gd name="connsiteY43" fmla="*/ 4286250 h 4496940"/>
              <a:gd name="connsiteX44" fmla="*/ 2935627 w 4519987"/>
              <a:gd name="connsiteY44" fmla="*/ 4333875 h 4496940"/>
              <a:gd name="connsiteX45" fmla="*/ 2811802 w 4519987"/>
              <a:gd name="connsiteY45" fmla="*/ 4371975 h 4496940"/>
              <a:gd name="connsiteX46" fmla="*/ 2745127 w 4519987"/>
              <a:gd name="connsiteY46" fmla="*/ 4410075 h 4496940"/>
              <a:gd name="connsiteX47" fmla="*/ 2697502 w 4519987"/>
              <a:gd name="connsiteY47" fmla="*/ 4429125 h 4496940"/>
              <a:gd name="connsiteX48" fmla="*/ 2640352 w 4519987"/>
              <a:gd name="connsiteY48" fmla="*/ 4457700 h 4496940"/>
              <a:gd name="connsiteX49" fmla="*/ 2583202 w 4519987"/>
              <a:gd name="connsiteY49" fmla="*/ 4467225 h 4496940"/>
              <a:gd name="connsiteX50" fmla="*/ 2545102 w 4519987"/>
              <a:gd name="connsiteY50" fmla="*/ 4486275 h 4496940"/>
              <a:gd name="connsiteX51" fmla="*/ 2306977 w 4519987"/>
              <a:gd name="connsiteY51" fmla="*/ 4476750 h 4496940"/>
              <a:gd name="connsiteX52" fmla="*/ 2202202 w 4519987"/>
              <a:gd name="connsiteY52" fmla="*/ 4457700 h 4496940"/>
              <a:gd name="connsiteX53" fmla="*/ 2126002 w 4519987"/>
              <a:gd name="connsiteY53" fmla="*/ 4429125 h 4496940"/>
              <a:gd name="connsiteX54" fmla="*/ 1935502 w 4519987"/>
              <a:gd name="connsiteY54" fmla="*/ 4400550 h 4496940"/>
              <a:gd name="connsiteX55" fmla="*/ 1821202 w 4519987"/>
              <a:gd name="connsiteY55" fmla="*/ 4371975 h 4496940"/>
              <a:gd name="connsiteX56" fmla="*/ 1754527 w 4519987"/>
              <a:gd name="connsiteY56" fmla="*/ 4352925 h 4496940"/>
              <a:gd name="connsiteX57" fmla="*/ 1687852 w 4519987"/>
              <a:gd name="connsiteY57" fmla="*/ 4343400 h 4496940"/>
              <a:gd name="connsiteX58" fmla="*/ 1573552 w 4519987"/>
              <a:gd name="connsiteY58" fmla="*/ 4305300 h 4496940"/>
              <a:gd name="connsiteX59" fmla="*/ 1402102 w 4519987"/>
              <a:gd name="connsiteY59" fmla="*/ 4276725 h 4496940"/>
              <a:gd name="connsiteX60" fmla="*/ 1287802 w 4519987"/>
              <a:gd name="connsiteY60" fmla="*/ 4229100 h 4496940"/>
              <a:gd name="connsiteX61" fmla="*/ 1221127 w 4519987"/>
              <a:gd name="connsiteY61" fmla="*/ 4200525 h 4496940"/>
              <a:gd name="connsiteX62" fmla="*/ 1144927 w 4519987"/>
              <a:gd name="connsiteY62" fmla="*/ 4171950 h 4496940"/>
              <a:gd name="connsiteX63" fmla="*/ 1087777 w 4519987"/>
              <a:gd name="connsiteY63" fmla="*/ 4143375 h 4496940"/>
              <a:gd name="connsiteX64" fmla="*/ 1030627 w 4519987"/>
              <a:gd name="connsiteY64" fmla="*/ 4124325 h 4496940"/>
              <a:gd name="connsiteX65" fmla="*/ 925852 w 4519987"/>
              <a:gd name="connsiteY65" fmla="*/ 4067175 h 4496940"/>
              <a:gd name="connsiteX66" fmla="*/ 830602 w 4519987"/>
              <a:gd name="connsiteY66" fmla="*/ 3981450 h 4496940"/>
              <a:gd name="connsiteX67" fmla="*/ 763927 w 4519987"/>
              <a:gd name="connsiteY67" fmla="*/ 3914775 h 4496940"/>
              <a:gd name="connsiteX68" fmla="*/ 725827 w 4519987"/>
              <a:gd name="connsiteY68" fmla="*/ 3876675 h 4496940"/>
              <a:gd name="connsiteX69" fmla="*/ 697252 w 4519987"/>
              <a:gd name="connsiteY69" fmla="*/ 3838575 h 4496940"/>
              <a:gd name="connsiteX70" fmla="*/ 640102 w 4519987"/>
              <a:gd name="connsiteY70" fmla="*/ 3781425 h 4496940"/>
              <a:gd name="connsiteX71" fmla="*/ 611527 w 4519987"/>
              <a:gd name="connsiteY71" fmla="*/ 3733800 h 4496940"/>
              <a:gd name="connsiteX72" fmla="*/ 554377 w 4519987"/>
              <a:gd name="connsiteY72" fmla="*/ 3657600 h 4496940"/>
              <a:gd name="connsiteX73" fmla="*/ 525802 w 4519987"/>
              <a:gd name="connsiteY73" fmla="*/ 3609975 h 4496940"/>
              <a:gd name="connsiteX74" fmla="*/ 497227 w 4519987"/>
              <a:gd name="connsiteY74" fmla="*/ 3552825 h 4496940"/>
              <a:gd name="connsiteX75" fmla="*/ 440077 w 4519987"/>
              <a:gd name="connsiteY75" fmla="*/ 3495675 h 4496940"/>
              <a:gd name="connsiteX76" fmla="*/ 411502 w 4519987"/>
              <a:gd name="connsiteY76" fmla="*/ 3448050 h 4496940"/>
              <a:gd name="connsiteX77" fmla="*/ 278152 w 4519987"/>
              <a:gd name="connsiteY77" fmla="*/ 3257550 h 4496940"/>
              <a:gd name="connsiteX78" fmla="*/ 249577 w 4519987"/>
              <a:gd name="connsiteY78" fmla="*/ 3200400 h 4496940"/>
              <a:gd name="connsiteX79" fmla="*/ 240052 w 4519987"/>
              <a:gd name="connsiteY79" fmla="*/ 3162300 h 4496940"/>
              <a:gd name="connsiteX80" fmla="*/ 221002 w 4519987"/>
              <a:gd name="connsiteY80" fmla="*/ 3105150 h 4496940"/>
              <a:gd name="connsiteX81" fmla="*/ 173377 w 4519987"/>
              <a:gd name="connsiteY81" fmla="*/ 3019425 h 4496940"/>
              <a:gd name="connsiteX82" fmla="*/ 144802 w 4519987"/>
              <a:gd name="connsiteY82" fmla="*/ 2924175 h 4496940"/>
              <a:gd name="connsiteX83" fmla="*/ 68602 w 4519987"/>
              <a:gd name="connsiteY83" fmla="*/ 2724150 h 4496940"/>
              <a:gd name="connsiteX84" fmla="*/ 49552 w 4519987"/>
              <a:gd name="connsiteY84" fmla="*/ 2638425 h 4496940"/>
              <a:gd name="connsiteX85" fmla="*/ 40027 w 4519987"/>
              <a:gd name="connsiteY85" fmla="*/ 2562225 h 4496940"/>
              <a:gd name="connsiteX86" fmla="*/ 30502 w 4519987"/>
              <a:gd name="connsiteY86" fmla="*/ 2514600 h 4496940"/>
              <a:gd name="connsiteX87" fmla="*/ 11452 w 4519987"/>
              <a:gd name="connsiteY87" fmla="*/ 2400300 h 4496940"/>
              <a:gd name="connsiteX88" fmla="*/ 20977 w 4519987"/>
              <a:gd name="connsiteY88" fmla="*/ 1905000 h 4496940"/>
              <a:gd name="connsiteX89" fmla="*/ 30502 w 4519987"/>
              <a:gd name="connsiteY89" fmla="*/ 1838325 h 4496940"/>
              <a:gd name="connsiteX90" fmla="*/ 49552 w 4519987"/>
              <a:gd name="connsiteY90" fmla="*/ 1781175 h 4496940"/>
              <a:gd name="connsiteX91" fmla="*/ 59077 w 4519987"/>
              <a:gd name="connsiteY91" fmla="*/ 1743075 h 4496940"/>
              <a:gd name="connsiteX92" fmla="*/ 78127 w 4519987"/>
              <a:gd name="connsiteY92" fmla="*/ 1685925 h 4496940"/>
              <a:gd name="connsiteX93" fmla="*/ 87652 w 4519987"/>
              <a:gd name="connsiteY93" fmla="*/ 1638300 h 4496940"/>
              <a:gd name="connsiteX94" fmla="*/ 106702 w 4519987"/>
              <a:gd name="connsiteY94" fmla="*/ 1590675 h 4496940"/>
              <a:gd name="connsiteX95" fmla="*/ 135277 w 4519987"/>
              <a:gd name="connsiteY95" fmla="*/ 1504950 h 4496940"/>
              <a:gd name="connsiteX96" fmla="*/ 154327 w 4519987"/>
              <a:gd name="connsiteY96" fmla="*/ 1419225 h 4496940"/>
              <a:gd name="connsiteX97" fmla="*/ 230527 w 4519987"/>
              <a:gd name="connsiteY97" fmla="*/ 1276350 h 4496940"/>
              <a:gd name="connsiteX98" fmla="*/ 240052 w 4519987"/>
              <a:gd name="connsiteY98" fmla="*/ 1247775 h 4496940"/>
              <a:gd name="connsiteX99" fmla="*/ 268627 w 4519987"/>
              <a:gd name="connsiteY99" fmla="*/ 1200150 h 4496940"/>
              <a:gd name="connsiteX100" fmla="*/ 287677 w 4519987"/>
              <a:gd name="connsiteY100" fmla="*/ 1152525 h 4496940"/>
              <a:gd name="connsiteX101" fmla="*/ 316252 w 4519987"/>
              <a:gd name="connsiteY101" fmla="*/ 1114425 h 4496940"/>
              <a:gd name="connsiteX102" fmla="*/ 363877 w 4519987"/>
              <a:gd name="connsiteY102" fmla="*/ 1038225 h 4496940"/>
              <a:gd name="connsiteX103" fmla="*/ 382927 w 4519987"/>
              <a:gd name="connsiteY103" fmla="*/ 1009650 h 4496940"/>
              <a:gd name="connsiteX104" fmla="*/ 440077 w 4519987"/>
              <a:gd name="connsiteY104" fmla="*/ 904875 h 4496940"/>
              <a:gd name="connsiteX105" fmla="*/ 478177 w 4519987"/>
              <a:gd name="connsiteY105" fmla="*/ 857250 h 4496940"/>
              <a:gd name="connsiteX106" fmla="*/ 497227 w 4519987"/>
              <a:gd name="connsiteY106" fmla="*/ 828675 h 4496940"/>
              <a:gd name="connsiteX107" fmla="*/ 535327 w 4519987"/>
              <a:gd name="connsiteY107" fmla="*/ 800100 h 4496940"/>
              <a:gd name="connsiteX108" fmla="*/ 602002 w 4519987"/>
              <a:gd name="connsiteY108" fmla="*/ 733425 h 4496940"/>
              <a:gd name="connsiteX109" fmla="*/ 668677 w 4519987"/>
              <a:gd name="connsiteY109" fmla="*/ 676275 h 4496940"/>
              <a:gd name="connsiteX110" fmla="*/ 697252 w 4519987"/>
              <a:gd name="connsiteY110" fmla="*/ 657225 h 4496940"/>
              <a:gd name="connsiteX111" fmla="*/ 840127 w 4519987"/>
              <a:gd name="connsiteY111" fmla="*/ 533400 h 4496940"/>
              <a:gd name="connsiteX112" fmla="*/ 887752 w 4519987"/>
              <a:gd name="connsiteY112" fmla="*/ 504825 h 4496940"/>
              <a:gd name="connsiteX113" fmla="*/ 1167152 w 4519987"/>
              <a:gd name="connsiteY113" fmla="*/ 311150 h 4496940"/>
              <a:gd name="connsiteX114" fmla="*/ 1268752 w 4519987"/>
              <a:gd name="connsiteY114" fmla="*/ 285750 h 4496940"/>
              <a:gd name="connsiteX115" fmla="*/ 1411627 w 4519987"/>
              <a:gd name="connsiteY115" fmla="*/ 190500 h 4496940"/>
              <a:gd name="connsiteX116" fmla="*/ 1449727 w 4519987"/>
              <a:gd name="connsiteY116" fmla="*/ 161925 h 4496940"/>
              <a:gd name="connsiteX117" fmla="*/ 1525927 w 4519987"/>
              <a:gd name="connsiteY117" fmla="*/ 152400 h 4496940"/>
              <a:gd name="connsiteX118" fmla="*/ 1583077 w 4519987"/>
              <a:gd name="connsiteY118" fmla="*/ 142875 h 4496940"/>
              <a:gd name="connsiteX119" fmla="*/ 1716427 w 4519987"/>
              <a:gd name="connsiteY119" fmla="*/ 123825 h 4496940"/>
              <a:gd name="connsiteX120" fmla="*/ 1811677 w 4519987"/>
              <a:gd name="connsiteY120" fmla="*/ 114300 h 4496940"/>
              <a:gd name="connsiteX121" fmla="*/ 1859302 w 4519987"/>
              <a:gd name="connsiteY121" fmla="*/ 104775 h 4496940"/>
              <a:gd name="connsiteX122" fmla="*/ 1916452 w 4519987"/>
              <a:gd name="connsiteY122" fmla="*/ 95250 h 4496940"/>
              <a:gd name="connsiteX123" fmla="*/ 2030752 w 4519987"/>
              <a:gd name="connsiteY123" fmla="*/ 66675 h 4496940"/>
              <a:gd name="connsiteX124" fmla="*/ 2097427 w 4519987"/>
              <a:gd name="connsiteY124" fmla="*/ 47625 h 4496940"/>
              <a:gd name="connsiteX125" fmla="*/ 2164102 w 4519987"/>
              <a:gd name="connsiteY125" fmla="*/ 38100 h 4496940"/>
              <a:gd name="connsiteX126" fmla="*/ 2392702 w 4519987"/>
              <a:gd name="connsiteY12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554752 w 4519987"/>
              <a:gd name="connsiteY37" fmla="*/ 4095750 h 4496940"/>
              <a:gd name="connsiteX38" fmla="*/ 3383302 w 4519987"/>
              <a:gd name="connsiteY38" fmla="*/ 4210050 h 4496940"/>
              <a:gd name="connsiteX39" fmla="*/ 3335677 w 4519987"/>
              <a:gd name="connsiteY39" fmla="*/ 4238625 h 4496940"/>
              <a:gd name="connsiteX40" fmla="*/ 3288052 w 4519987"/>
              <a:gd name="connsiteY40" fmla="*/ 4248150 h 4496940"/>
              <a:gd name="connsiteX41" fmla="*/ 3240427 w 4519987"/>
              <a:gd name="connsiteY41" fmla="*/ 4267200 h 4496940"/>
              <a:gd name="connsiteX42" fmla="*/ 3068977 w 4519987"/>
              <a:gd name="connsiteY42" fmla="*/ 4286250 h 4496940"/>
              <a:gd name="connsiteX43" fmla="*/ 2935627 w 4519987"/>
              <a:gd name="connsiteY43" fmla="*/ 4333875 h 4496940"/>
              <a:gd name="connsiteX44" fmla="*/ 2811802 w 4519987"/>
              <a:gd name="connsiteY44" fmla="*/ 4371975 h 4496940"/>
              <a:gd name="connsiteX45" fmla="*/ 2745127 w 4519987"/>
              <a:gd name="connsiteY45" fmla="*/ 4410075 h 4496940"/>
              <a:gd name="connsiteX46" fmla="*/ 2697502 w 4519987"/>
              <a:gd name="connsiteY46" fmla="*/ 4429125 h 4496940"/>
              <a:gd name="connsiteX47" fmla="*/ 2640352 w 4519987"/>
              <a:gd name="connsiteY47" fmla="*/ 4457700 h 4496940"/>
              <a:gd name="connsiteX48" fmla="*/ 2583202 w 4519987"/>
              <a:gd name="connsiteY48" fmla="*/ 4467225 h 4496940"/>
              <a:gd name="connsiteX49" fmla="*/ 2545102 w 4519987"/>
              <a:gd name="connsiteY49" fmla="*/ 4486275 h 4496940"/>
              <a:gd name="connsiteX50" fmla="*/ 2306977 w 4519987"/>
              <a:gd name="connsiteY50" fmla="*/ 4476750 h 4496940"/>
              <a:gd name="connsiteX51" fmla="*/ 2202202 w 4519987"/>
              <a:gd name="connsiteY51" fmla="*/ 4457700 h 4496940"/>
              <a:gd name="connsiteX52" fmla="*/ 2126002 w 4519987"/>
              <a:gd name="connsiteY52" fmla="*/ 4429125 h 4496940"/>
              <a:gd name="connsiteX53" fmla="*/ 1935502 w 4519987"/>
              <a:gd name="connsiteY53" fmla="*/ 4400550 h 4496940"/>
              <a:gd name="connsiteX54" fmla="*/ 1821202 w 4519987"/>
              <a:gd name="connsiteY54" fmla="*/ 4371975 h 4496940"/>
              <a:gd name="connsiteX55" fmla="*/ 1754527 w 4519987"/>
              <a:gd name="connsiteY55" fmla="*/ 4352925 h 4496940"/>
              <a:gd name="connsiteX56" fmla="*/ 1687852 w 4519987"/>
              <a:gd name="connsiteY56" fmla="*/ 4343400 h 4496940"/>
              <a:gd name="connsiteX57" fmla="*/ 1573552 w 4519987"/>
              <a:gd name="connsiteY57" fmla="*/ 4305300 h 4496940"/>
              <a:gd name="connsiteX58" fmla="*/ 1402102 w 4519987"/>
              <a:gd name="connsiteY58" fmla="*/ 4276725 h 4496940"/>
              <a:gd name="connsiteX59" fmla="*/ 1287802 w 4519987"/>
              <a:gd name="connsiteY59" fmla="*/ 4229100 h 4496940"/>
              <a:gd name="connsiteX60" fmla="*/ 1221127 w 4519987"/>
              <a:gd name="connsiteY60" fmla="*/ 4200525 h 4496940"/>
              <a:gd name="connsiteX61" fmla="*/ 1144927 w 4519987"/>
              <a:gd name="connsiteY61" fmla="*/ 4171950 h 4496940"/>
              <a:gd name="connsiteX62" fmla="*/ 1087777 w 4519987"/>
              <a:gd name="connsiteY62" fmla="*/ 4143375 h 4496940"/>
              <a:gd name="connsiteX63" fmla="*/ 1030627 w 4519987"/>
              <a:gd name="connsiteY63" fmla="*/ 4124325 h 4496940"/>
              <a:gd name="connsiteX64" fmla="*/ 925852 w 4519987"/>
              <a:gd name="connsiteY64" fmla="*/ 4067175 h 4496940"/>
              <a:gd name="connsiteX65" fmla="*/ 830602 w 4519987"/>
              <a:gd name="connsiteY65" fmla="*/ 3981450 h 4496940"/>
              <a:gd name="connsiteX66" fmla="*/ 763927 w 4519987"/>
              <a:gd name="connsiteY66" fmla="*/ 3914775 h 4496940"/>
              <a:gd name="connsiteX67" fmla="*/ 725827 w 4519987"/>
              <a:gd name="connsiteY67" fmla="*/ 3876675 h 4496940"/>
              <a:gd name="connsiteX68" fmla="*/ 697252 w 4519987"/>
              <a:gd name="connsiteY68" fmla="*/ 3838575 h 4496940"/>
              <a:gd name="connsiteX69" fmla="*/ 640102 w 4519987"/>
              <a:gd name="connsiteY69" fmla="*/ 3781425 h 4496940"/>
              <a:gd name="connsiteX70" fmla="*/ 611527 w 4519987"/>
              <a:gd name="connsiteY70" fmla="*/ 3733800 h 4496940"/>
              <a:gd name="connsiteX71" fmla="*/ 554377 w 4519987"/>
              <a:gd name="connsiteY71" fmla="*/ 3657600 h 4496940"/>
              <a:gd name="connsiteX72" fmla="*/ 525802 w 4519987"/>
              <a:gd name="connsiteY72" fmla="*/ 3609975 h 4496940"/>
              <a:gd name="connsiteX73" fmla="*/ 497227 w 4519987"/>
              <a:gd name="connsiteY73" fmla="*/ 3552825 h 4496940"/>
              <a:gd name="connsiteX74" fmla="*/ 440077 w 4519987"/>
              <a:gd name="connsiteY74" fmla="*/ 3495675 h 4496940"/>
              <a:gd name="connsiteX75" fmla="*/ 411502 w 4519987"/>
              <a:gd name="connsiteY75" fmla="*/ 3448050 h 4496940"/>
              <a:gd name="connsiteX76" fmla="*/ 278152 w 4519987"/>
              <a:gd name="connsiteY76" fmla="*/ 3257550 h 4496940"/>
              <a:gd name="connsiteX77" fmla="*/ 249577 w 4519987"/>
              <a:gd name="connsiteY77" fmla="*/ 3200400 h 4496940"/>
              <a:gd name="connsiteX78" fmla="*/ 240052 w 4519987"/>
              <a:gd name="connsiteY78" fmla="*/ 3162300 h 4496940"/>
              <a:gd name="connsiteX79" fmla="*/ 221002 w 4519987"/>
              <a:gd name="connsiteY79" fmla="*/ 3105150 h 4496940"/>
              <a:gd name="connsiteX80" fmla="*/ 173377 w 4519987"/>
              <a:gd name="connsiteY80" fmla="*/ 3019425 h 4496940"/>
              <a:gd name="connsiteX81" fmla="*/ 144802 w 4519987"/>
              <a:gd name="connsiteY81" fmla="*/ 2924175 h 4496940"/>
              <a:gd name="connsiteX82" fmla="*/ 68602 w 4519987"/>
              <a:gd name="connsiteY82" fmla="*/ 2724150 h 4496940"/>
              <a:gd name="connsiteX83" fmla="*/ 49552 w 4519987"/>
              <a:gd name="connsiteY83" fmla="*/ 2638425 h 4496940"/>
              <a:gd name="connsiteX84" fmla="*/ 40027 w 4519987"/>
              <a:gd name="connsiteY84" fmla="*/ 2562225 h 4496940"/>
              <a:gd name="connsiteX85" fmla="*/ 30502 w 4519987"/>
              <a:gd name="connsiteY85" fmla="*/ 2514600 h 4496940"/>
              <a:gd name="connsiteX86" fmla="*/ 11452 w 4519987"/>
              <a:gd name="connsiteY86" fmla="*/ 2400300 h 4496940"/>
              <a:gd name="connsiteX87" fmla="*/ 20977 w 4519987"/>
              <a:gd name="connsiteY87" fmla="*/ 1905000 h 4496940"/>
              <a:gd name="connsiteX88" fmla="*/ 30502 w 4519987"/>
              <a:gd name="connsiteY88" fmla="*/ 1838325 h 4496940"/>
              <a:gd name="connsiteX89" fmla="*/ 49552 w 4519987"/>
              <a:gd name="connsiteY89" fmla="*/ 1781175 h 4496940"/>
              <a:gd name="connsiteX90" fmla="*/ 59077 w 4519987"/>
              <a:gd name="connsiteY90" fmla="*/ 1743075 h 4496940"/>
              <a:gd name="connsiteX91" fmla="*/ 78127 w 4519987"/>
              <a:gd name="connsiteY91" fmla="*/ 1685925 h 4496940"/>
              <a:gd name="connsiteX92" fmla="*/ 87652 w 4519987"/>
              <a:gd name="connsiteY92" fmla="*/ 1638300 h 4496940"/>
              <a:gd name="connsiteX93" fmla="*/ 106702 w 4519987"/>
              <a:gd name="connsiteY93" fmla="*/ 1590675 h 4496940"/>
              <a:gd name="connsiteX94" fmla="*/ 135277 w 4519987"/>
              <a:gd name="connsiteY94" fmla="*/ 1504950 h 4496940"/>
              <a:gd name="connsiteX95" fmla="*/ 154327 w 4519987"/>
              <a:gd name="connsiteY95" fmla="*/ 1419225 h 4496940"/>
              <a:gd name="connsiteX96" fmla="*/ 230527 w 4519987"/>
              <a:gd name="connsiteY96" fmla="*/ 1276350 h 4496940"/>
              <a:gd name="connsiteX97" fmla="*/ 240052 w 4519987"/>
              <a:gd name="connsiteY97" fmla="*/ 1247775 h 4496940"/>
              <a:gd name="connsiteX98" fmla="*/ 268627 w 4519987"/>
              <a:gd name="connsiteY98" fmla="*/ 1200150 h 4496940"/>
              <a:gd name="connsiteX99" fmla="*/ 287677 w 4519987"/>
              <a:gd name="connsiteY99" fmla="*/ 1152525 h 4496940"/>
              <a:gd name="connsiteX100" fmla="*/ 316252 w 4519987"/>
              <a:gd name="connsiteY100" fmla="*/ 1114425 h 4496940"/>
              <a:gd name="connsiteX101" fmla="*/ 363877 w 4519987"/>
              <a:gd name="connsiteY101" fmla="*/ 1038225 h 4496940"/>
              <a:gd name="connsiteX102" fmla="*/ 382927 w 4519987"/>
              <a:gd name="connsiteY102" fmla="*/ 1009650 h 4496940"/>
              <a:gd name="connsiteX103" fmla="*/ 440077 w 4519987"/>
              <a:gd name="connsiteY103" fmla="*/ 904875 h 4496940"/>
              <a:gd name="connsiteX104" fmla="*/ 478177 w 4519987"/>
              <a:gd name="connsiteY104" fmla="*/ 857250 h 4496940"/>
              <a:gd name="connsiteX105" fmla="*/ 497227 w 4519987"/>
              <a:gd name="connsiteY105" fmla="*/ 828675 h 4496940"/>
              <a:gd name="connsiteX106" fmla="*/ 535327 w 4519987"/>
              <a:gd name="connsiteY106" fmla="*/ 800100 h 4496940"/>
              <a:gd name="connsiteX107" fmla="*/ 602002 w 4519987"/>
              <a:gd name="connsiteY107" fmla="*/ 733425 h 4496940"/>
              <a:gd name="connsiteX108" fmla="*/ 668677 w 4519987"/>
              <a:gd name="connsiteY108" fmla="*/ 676275 h 4496940"/>
              <a:gd name="connsiteX109" fmla="*/ 697252 w 4519987"/>
              <a:gd name="connsiteY109" fmla="*/ 657225 h 4496940"/>
              <a:gd name="connsiteX110" fmla="*/ 840127 w 4519987"/>
              <a:gd name="connsiteY110" fmla="*/ 533400 h 4496940"/>
              <a:gd name="connsiteX111" fmla="*/ 887752 w 4519987"/>
              <a:gd name="connsiteY111" fmla="*/ 504825 h 4496940"/>
              <a:gd name="connsiteX112" fmla="*/ 1167152 w 4519987"/>
              <a:gd name="connsiteY112" fmla="*/ 311150 h 4496940"/>
              <a:gd name="connsiteX113" fmla="*/ 1268752 w 4519987"/>
              <a:gd name="connsiteY113" fmla="*/ 285750 h 4496940"/>
              <a:gd name="connsiteX114" fmla="*/ 1411627 w 4519987"/>
              <a:gd name="connsiteY114" fmla="*/ 190500 h 4496940"/>
              <a:gd name="connsiteX115" fmla="*/ 1449727 w 4519987"/>
              <a:gd name="connsiteY115" fmla="*/ 161925 h 4496940"/>
              <a:gd name="connsiteX116" fmla="*/ 1525927 w 4519987"/>
              <a:gd name="connsiteY116" fmla="*/ 152400 h 4496940"/>
              <a:gd name="connsiteX117" fmla="*/ 1583077 w 4519987"/>
              <a:gd name="connsiteY117" fmla="*/ 142875 h 4496940"/>
              <a:gd name="connsiteX118" fmla="*/ 1716427 w 4519987"/>
              <a:gd name="connsiteY118" fmla="*/ 123825 h 4496940"/>
              <a:gd name="connsiteX119" fmla="*/ 1811677 w 4519987"/>
              <a:gd name="connsiteY119" fmla="*/ 114300 h 4496940"/>
              <a:gd name="connsiteX120" fmla="*/ 1859302 w 4519987"/>
              <a:gd name="connsiteY120" fmla="*/ 104775 h 4496940"/>
              <a:gd name="connsiteX121" fmla="*/ 1916452 w 4519987"/>
              <a:gd name="connsiteY121" fmla="*/ 95250 h 4496940"/>
              <a:gd name="connsiteX122" fmla="*/ 2030752 w 4519987"/>
              <a:gd name="connsiteY122" fmla="*/ 66675 h 4496940"/>
              <a:gd name="connsiteX123" fmla="*/ 2097427 w 4519987"/>
              <a:gd name="connsiteY123" fmla="*/ 47625 h 4496940"/>
              <a:gd name="connsiteX124" fmla="*/ 2164102 w 4519987"/>
              <a:gd name="connsiteY124" fmla="*/ 38100 h 4496940"/>
              <a:gd name="connsiteX125" fmla="*/ 2392702 w 4519987"/>
              <a:gd name="connsiteY12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54752 w 4519987"/>
              <a:gd name="connsiteY36" fmla="*/ 40957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88052 w 4519987"/>
              <a:gd name="connsiteY38" fmla="*/ 4248150 h 4496940"/>
              <a:gd name="connsiteX39" fmla="*/ 3240427 w 4519987"/>
              <a:gd name="connsiteY39" fmla="*/ 4267200 h 4496940"/>
              <a:gd name="connsiteX40" fmla="*/ 3068977 w 4519987"/>
              <a:gd name="connsiteY40" fmla="*/ 4286250 h 4496940"/>
              <a:gd name="connsiteX41" fmla="*/ 2935627 w 4519987"/>
              <a:gd name="connsiteY41" fmla="*/ 4333875 h 4496940"/>
              <a:gd name="connsiteX42" fmla="*/ 2811802 w 4519987"/>
              <a:gd name="connsiteY42" fmla="*/ 4371975 h 4496940"/>
              <a:gd name="connsiteX43" fmla="*/ 2745127 w 4519987"/>
              <a:gd name="connsiteY43" fmla="*/ 4410075 h 4496940"/>
              <a:gd name="connsiteX44" fmla="*/ 2697502 w 4519987"/>
              <a:gd name="connsiteY44" fmla="*/ 4429125 h 4496940"/>
              <a:gd name="connsiteX45" fmla="*/ 2640352 w 4519987"/>
              <a:gd name="connsiteY45" fmla="*/ 4457700 h 4496940"/>
              <a:gd name="connsiteX46" fmla="*/ 2583202 w 4519987"/>
              <a:gd name="connsiteY46" fmla="*/ 4467225 h 4496940"/>
              <a:gd name="connsiteX47" fmla="*/ 2545102 w 4519987"/>
              <a:gd name="connsiteY47" fmla="*/ 4486275 h 4496940"/>
              <a:gd name="connsiteX48" fmla="*/ 2306977 w 4519987"/>
              <a:gd name="connsiteY48" fmla="*/ 4476750 h 4496940"/>
              <a:gd name="connsiteX49" fmla="*/ 2202202 w 4519987"/>
              <a:gd name="connsiteY49" fmla="*/ 4457700 h 4496940"/>
              <a:gd name="connsiteX50" fmla="*/ 2126002 w 4519987"/>
              <a:gd name="connsiteY50" fmla="*/ 4429125 h 4496940"/>
              <a:gd name="connsiteX51" fmla="*/ 1935502 w 4519987"/>
              <a:gd name="connsiteY51" fmla="*/ 4400550 h 4496940"/>
              <a:gd name="connsiteX52" fmla="*/ 1821202 w 4519987"/>
              <a:gd name="connsiteY52" fmla="*/ 4371975 h 4496940"/>
              <a:gd name="connsiteX53" fmla="*/ 1754527 w 4519987"/>
              <a:gd name="connsiteY53" fmla="*/ 4352925 h 4496940"/>
              <a:gd name="connsiteX54" fmla="*/ 1687852 w 4519987"/>
              <a:gd name="connsiteY54" fmla="*/ 4343400 h 4496940"/>
              <a:gd name="connsiteX55" fmla="*/ 1573552 w 4519987"/>
              <a:gd name="connsiteY55" fmla="*/ 4305300 h 4496940"/>
              <a:gd name="connsiteX56" fmla="*/ 1402102 w 4519987"/>
              <a:gd name="connsiteY56" fmla="*/ 4276725 h 4496940"/>
              <a:gd name="connsiteX57" fmla="*/ 1287802 w 4519987"/>
              <a:gd name="connsiteY57" fmla="*/ 4229100 h 4496940"/>
              <a:gd name="connsiteX58" fmla="*/ 1221127 w 4519987"/>
              <a:gd name="connsiteY58" fmla="*/ 4200525 h 4496940"/>
              <a:gd name="connsiteX59" fmla="*/ 1144927 w 4519987"/>
              <a:gd name="connsiteY59" fmla="*/ 4171950 h 4496940"/>
              <a:gd name="connsiteX60" fmla="*/ 1087777 w 4519987"/>
              <a:gd name="connsiteY60" fmla="*/ 4143375 h 4496940"/>
              <a:gd name="connsiteX61" fmla="*/ 1030627 w 4519987"/>
              <a:gd name="connsiteY61" fmla="*/ 4124325 h 4496940"/>
              <a:gd name="connsiteX62" fmla="*/ 925852 w 4519987"/>
              <a:gd name="connsiteY62" fmla="*/ 4067175 h 4496940"/>
              <a:gd name="connsiteX63" fmla="*/ 830602 w 4519987"/>
              <a:gd name="connsiteY63" fmla="*/ 3981450 h 4496940"/>
              <a:gd name="connsiteX64" fmla="*/ 763927 w 4519987"/>
              <a:gd name="connsiteY64" fmla="*/ 3914775 h 4496940"/>
              <a:gd name="connsiteX65" fmla="*/ 725827 w 4519987"/>
              <a:gd name="connsiteY65" fmla="*/ 3876675 h 4496940"/>
              <a:gd name="connsiteX66" fmla="*/ 697252 w 4519987"/>
              <a:gd name="connsiteY66" fmla="*/ 3838575 h 4496940"/>
              <a:gd name="connsiteX67" fmla="*/ 640102 w 4519987"/>
              <a:gd name="connsiteY67" fmla="*/ 3781425 h 4496940"/>
              <a:gd name="connsiteX68" fmla="*/ 611527 w 4519987"/>
              <a:gd name="connsiteY68" fmla="*/ 3733800 h 4496940"/>
              <a:gd name="connsiteX69" fmla="*/ 554377 w 4519987"/>
              <a:gd name="connsiteY69" fmla="*/ 3657600 h 4496940"/>
              <a:gd name="connsiteX70" fmla="*/ 525802 w 4519987"/>
              <a:gd name="connsiteY70" fmla="*/ 3609975 h 4496940"/>
              <a:gd name="connsiteX71" fmla="*/ 497227 w 4519987"/>
              <a:gd name="connsiteY71" fmla="*/ 3552825 h 4496940"/>
              <a:gd name="connsiteX72" fmla="*/ 440077 w 4519987"/>
              <a:gd name="connsiteY72" fmla="*/ 3495675 h 4496940"/>
              <a:gd name="connsiteX73" fmla="*/ 411502 w 4519987"/>
              <a:gd name="connsiteY73" fmla="*/ 3448050 h 4496940"/>
              <a:gd name="connsiteX74" fmla="*/ 278152 w 4519987"/>
              <a:gd name="connsiteY74" fmla="*/ 3257550 h 4496940"/>
              <a:gd name="connsiteX75" fmla="*/ 249577 w 4519987"/>
              <a:gd name="connsiteY75" fmla="*/ 3200400 h 4496940"/>
              <a:gd name="connsiteX76" fmla="*/ 240052 w 4519987"/>
              <a:gd name="connsiteY76" fmla="*/ 3162300 h 4496940"/>
              <a:gd name="connsiteX77" fmla="*/ 221002 w 4519987"/>
              <a:gd name="connsiteY77" fmla="*/ 3105150 h 4496940"/>
              <a:gd name="connsiteX78" fmla="*/ 173377 w 4519987"/>
              <a:gd name="connsiteY78" fmla="*/ 3019425 h 4496940"/>
              <a:gd name="connsiteX79" fmla="*/ 144802 w 4519987"/>
              <a:gd name="connsiteY79" fmla="*/ 2924175 h 4496940"/>
              <a:gd name="connsiteX80" fmla="*/ 68602 w 4519987"/>
              <a:gd name="connsiteY80" fmla="*/ 2724150 h 4496940"/>
              <a:gd name="connsiteX81" fmla="*/ 49552 w 4519987"/>
              <a:gd name="connsiteY81" fmla="*/ 2638425 h 4496940"/>
              <a:gd name="connsiteX82" fmla="*/ 40027 w 4519987"/>
              <a:gd name="connsiteY82" fmla="*/ 2562225 h 4496940"/>
              <a:gd name="connsiteX83" fmla="*/ 30502 w 4519987"/>
              <a:gd name="connsiteY83" fmla="*/ 2514600 h 4496940"/>
              <a:gd name="connsiteX84" fmla="*/ 11452 w 4519987"/>
              <a:gd name="connsiteY84" fmla="*/ 2400300 h 4496940"/>
              <a:gd name="connsiteX85" fmla="*/ 20977 w 4519987"/>
              <a:gd name="connsiteY85" fmla="*/ 1905000 h 4496940"/>
              <a:gd name="connsiteX86" fmla="*/ 30502 w 4519987"/>
              <a:gd name="connsiteY86" fmla="*/ 1838325 h 4496940"/>
              <a:gd name="connsiteX87" fmla="*/ 49552 w 4519987"/>
              <a:gd name="connsiteY87" fmla="*/ 1781175 h 4496940"/>
              <a:gd name="connsiteX88" fmla="*/ 59077 w 4519987"/>
              <a:gd name="connsiteY88" fmla="*/ 1743075 h 4496940"/>
              <a:gd name="connsiteX89" fmla="*/ 78127 w 4519987"/>
              <a:gd name="connsiteY89" fmla="*/ 1685925 h 4496940"/>
              <a:gd name="connsiteX90" fmla="*/ 87652 w 4519987"/>
              <a:gd name="connsiteY90" fmla="*/ 1638300 h 4496940"/>
              <a:gd name="connsiteX91" fmla="*/ 106702 w 4519987"/>
              <a:gd name="connsiteY91" fmla="*/ 1590675 h 4496940"/>
              <a:gd name="connsiteX92" fmla="*/ 135277 w 4519987"/>
              <a:gd name="connsiteY92" fmla="*/ 1504950 h 4496940"/>
              <a:gd name="connsiteX93" fmla="*/ 154327 w 4519987"/>
              <a:gd name="connsiteY93" fmla="*/ 1419225 h 4496940"/>
              <a:gd name="connsiteX94" fmla="*/ 230527 w 4519987"/>
              <a:gd name="connsiteY94" fmla="*/ 1276350 h 4496940"/>
              <a:gd name="connsiteX95" fmla="*/ 240052 w 4519987"/>
              <a:gd name="connsiteY95" fmla="*/ 1247775 h 4496940"/>
              <a:gd name="connsiteX96" fmla="*/ 268627 w 4519987"/>
              <a:gd name="connsiteY96" fmla="*/ 1200150 h 4496940"/>
              <a:gd name="connsiteX97" fmla="*/ 287677 w 4519987"/>
              <a:gd name="connsiteY97" fmla="*/ 1152525 h 4496940"/>
              <a:gd name="connsiteX98" fmla="*/ 316252 w 4519987"/>
              <a:gd name="connsiteY98" fmla="*/ 1114425 h 4496940"/>
              <a:gd name="connsiteX99" fmla="*/ 363877 w 4519987"/>
              <a:gd name="connsiteY99" fmla="*/ 1038225 h 4496940"/>
              <a:gd name="connsiteX100" fmla="*/ 382927 w 4519987"/>
              <a:gd name="connsiteY100" fmla="*/ 1009650 h 4496940"/>
              <a:gd name="connsiteX101" fmla="*/ 440077 w 4519987"/>
              <a:gd name="connsiteY101" fmla="*/ 904875 h 4496940"/>
              <a:gd name="connsiteX102" fmla="*/ 478177 w 4519987"/>
              <a:gd name="connsiteY102" fmla="*/ 857250 h 4496940"/>
              <a:gd name="connsiteX103" fmla="*/ 497227 w 4519987"/>
              <a:gd name="connsiteY103" fmla="*/ 828675 h 4496940"/>
              <a:gd name="connsiteX104" fmla="*/ 535327 w 4519987"/>
              <a:gd name="connsiteY104" fmla="*/ 800100 h 4496940"/>
              <a:gd name="connsiteX105" fmla="*/ 602002 w 4519987"/>
              <a:gd name="connsiteY105" fmla="*/ 733425 h 4496940"/>
              <a:gd name="connsiteX106" fmla="*/ 668677 w 4519987"/>
              <a:gd name="connsiteY106" fmla="*/ 676275 h 4496940"/>
              <a:gd name="connsiteX107" fmla="*/ 697252 w 4519987"/>
              <a:gd name="connsiteY107" fmla="*/ 657225 h 4496940"/>
              <a:gd name="connsiteX108" fmla="*/ 840127 w 4519987"/>
              <a:gd name="connsiteY108" fmla="*/ 533400 h 4496940"/>
              <a:gd name="connsiteX109" fmla="*/ 887752 w 4519987"/>
              <a:gd name="connsiteY109" fmla="*/ 504825 h 4496940"/>
              <a:gd name="connsiteX110" fmla="*/ 1167152 w 4519987"/>
              <a:gd name="connsiteY110" fmla="*/ 311150 h 4496940"/>
              <a:gd name="connsiteX111" fmla="*/ 1268752 w 4519987"/>
              <a:gd name="connsiteY111" fmla="*/ 285750 h 4496940"/>
              <a:gd name="connsiteX112" fmla="*/ 1411627 w 4519987"/>
              <a:gd name="connsiteY112" fmla="*/ 190500 h 4496940"/>
              <a:gd name="connsiteX113" fmla="*/ 1449727 w 4519987"/>
              <a:gd name="connsiteY113" fmla="*/ 161925 h 4496940"/>
              <a:gd name="connsiteX114" fmla="*/ 1525927 w 4519987"/>
              <a:gd name="connsiteY114" fmla="*/ 152400 h 4496940"/>
              <a:gd name="connsiteX115" fmla="*/ 1583077 w 4519987"/>
              <a:gd name="connsiteY115" fmla="*/ 142875 h 4496940"/>
              <a:gd name="connsiteX116" fmla="*/ 1716427 w 4519987"/>
              <a:gd name="connsiteY116" fmla="*/ 123825 h 4496940"/>
              <a:gd name="connsiteX117" fmla="*/ 1811677 w 4519987"/>
              <a:gd name="connsiteY117" fmla="*/ 114300 h 4496940"/>
              <a:gd name="connsiteX118" fmla="*/ 1859302 w 4519987"/>
              <a:gd name="connsiteY118" fmla="*/ 104775 h 4496940"/>
              <a:gd name="connsiteX119" fmla="*/ 1916452 w 4519987"/>
              <a:gd name="connsiteY119" fmla="*/ 95250 h 4496940"/>
              <a:gd name="connsiteX120" fmla="*/ 2030752 w 4519987"/>
              <a:gd name="connsiteY120" fmla="*/ 66675 h 4496940"/>
              <a:gd name="connsiteX121" fmla="*/ 2097427 w 4519987"/>
              <a:gd name="connsiteY121" fmla="*/ 47625 h 4496940"/>
              <a:gd name="connsiteX122" fmla="*/ 2164102 w 4519987"/>
              <a:gd name="connsiteY122" fmla="*/ 38100 h 4496940"/>
              <a:gd name="connsiteX123" fmla="*/ 2392702 w 4519987"/>
              <a:gd name="connsiteY12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40427 w 4519987"/>
              <a:gd name="connsiteY38" fmla="*/ 4267200 h 4496940"/>
              <a:gd name="connsiteX39" fmla="*/ 3068977 w 4519987"/>
              <a:gd name="connsiteY39" fmla="*/ 4286250 h 4496940"/>
              <a:gd name="connsiteX40" fmla="*/ 2935627 w 4519987"/>
              <a:gd name="connsiteY40" fmla="*/ 4333875 h 4496940"/>
              <a:gd name="connsiteX41" fmla="*/ 2811802 w 4519987"/>
              <a:gd name="connsiteY41" fmla="*/ 4371975 h 4496940"/>
              <a:gd name="connsiteX42" fmla="*/ 2745127 w 4519987"/>
              <a:gd name="connsiteY42" fmla="*/ 4410075 h 4496940"/>
              <a:gd name="connsiteX43" fmla="*/ 2697502 w 4519987"/>
              <a:gd name="connsiteY43" fmla="*/ 4429125 h 4496940"/>
              <a:gd name="connsiteX44" fmla="*/ 2640352 w 4519987"/>
              <a:gd name="connsiteY44" fmla="*/ 4457700 h 4496940"/>
              <a:gd name="connsiteX45" fmla="*/ 2583202 w 4519987"/>
              <a:gd name="connsiteY45" fmla="*/ 4467225 h 4496940"/>
              <a:gd name="connsiteX46" fmla="*/ 2545102 w 4519987"/>
              <a:gd name="connsiteY46" fmla="*/ 4486275 h 4496940"/>
              <a:gd name="connsiteX47" fmla="*/ 2306977 w 4519987"/>
              <a:gd name="connsiteY47" fmla="*/ 4476750 h 4496940"/>
              <a:gd name="connsiteX48" fmla="*/ 2202202 w 4519987"/>
              <a:gd name="connsiteY48" fmla="*/ 4457700 h 4496940"/>
              <a:gd name="connsiteX49" fmla="*/ 2126002 w 4519987"/>
              <a:gd name="connsiteY49" fmla="*/ 4429125 h 4496940"/>
              <a:gd name="connsiteX50" fmla="*/ 1935502 w 4519987"/>
              <a:gd name="connsiteY50" fmla="*/ 4400550 h 4496940"/>
              <a:gd name="connsiteX51" fmla="*/ 1821202 w 4519987"/>
              <a:gd name="connsiteY51" fmla="*/ 4371975 h 4496940"/>
              <a:gd name="connsiteX52" fmla="*/ 1754527 w 4519987"/>
              <a:gd name="connsiteY52" fmla="*/ 4352925 h 4496940"/>
              <a:gd name="connsiteX53" fmla="*/ 1687852 w 4519987"/>
              <a:gd name="connsiteY53" fmla="*/ 4343400 h 4496940"/>
              <a:gd name="connsiteX54" fmla="*/ 1573552 w 4519987"/>
              <a:gd name="connsiteY54" fmla="*/ 4305300 h 4496940"/>
              <a:gd name="connsiteX55" fmla="*/ 1402102 w 4519987"/>
              <a:gd name="connsiteY55" fmla="*/ 4276725 h 4496940"/>
              <a:gd name="connsiteX56" fmla="*/ 1287802 w 4519987"/>
              <a:gd name="connsiteY56" fmla="*/ 4229100 h 4496940"/>
              <a:gd name="connsiteX57" fmla="*/ 1221127 w 4519987"/>
              <a:gd name="connsiteY57" fmla="*/ 4200525 h 4496940"/>
              <a:gd name="connsiteX58" fmla="*/ 1144927 w 4519987"/>
              <a:gd name="connsiteY58" fmla="*/ 4171950 h 4496940"/>
              <a:gd name="connsiteX59" fmla="*/ 1087777 w 4519987"/>
              <a:gd name="connsiteY59" fmla="*/ 4143375 h 4496940"/>
              <a:gd name="connsiteX60" fmla="*/ 1030627 w 4519987"/>
              <a:gd name="connsiteY60" fmla="*/ 4124325 h 4496940"/>
              <a:gd name="connsiteX61" fmla="*/ 925852 w 4519987"/>
              <a:gd name="connsiteY61" fmla="*/ 4067175 h 4496940"/>
              <a:gd name="connsiteX62" fmla="*/ 830602 w 4519987"/>
              <a:gd name="connsiteY62" fmla="*/ 3981450 h 4496940"/>
              <a:gd name="connsiteX63" fmla="*/ 763927 w 4519987"/>
              <a:gd name="connsiteY63" fmla="*/ 3914775 h 4496940"/>
              <a:gd name="connsiteX64" fmla="*/ 725827 w 4519987"/>
              <a:gd name="connsiteY64" fmla="*/ 3876675 h 4496940"/>
              <a:gd name="connsiteX65" fmla="*/ 697252 w 4519987"/>
              <a:gd name="connsiteY65" fmla="*/ 3838575 h 4496940"/>
              <a:gd name="connsiteX66" fmla="*/ 640102 w 4519987"/>
              <a:gd name="connsiteY66" fmla="*/ 3781425 h 4496940"/>
              <a:gd name="connsiteX67" fmla="*/ 611527 w 4519987"/>
              <a:gd name="connsiteY67" fmla="*/ 3733800 h 4496940"/>
              <a:gd name="connsiteX68" fmla="*/ 554377 w 4519987"/>
              <a:gd name="connsiteY68" fmla="*/ 3657600 h 4496940"/>
              <a:gd name="connsiteX69" fmla="*/ 525802 w 4519987"/>
              <a:gd name="connsiteY69" fmla="*/ 3609975 h 4496940"/>
              <a:gd name="connsiteX70" fmla="*/ 497227 w 4519987"/>
              <a:gd name="connsiteY70" fmla="*/ 3552825 h 4496940"/>
              <a:gd name="connsiteX71" fmla="*/ 440077 w 4519987"/>
              <a:gd name="connsiteY71" fmla="*/ 3495675 h 4496940"/>
              <a:gd name="connsiteX72" fmla="*/ 411502 w 4519987"/>
              <a:gd name="connsiteY72" fmla="*/ 3448050 h 4496940"/>
              <a:gd name="connsiteX73" fmla="*/ 278152 w 4519987"/>
              <a:gd name="connsiteY73" fmla="*/ 3257550 h 4496940"/>
              <a:gd name="connsiteX74" fmla="*/ 249577 w 4519987"/>
              <a:gd name="connsiteY74" fmla="*/ 3200400 h 4496940"/>
              <a:gd name="connsiteX75" fmla="*/ 240052 w 4519987"/>
              <a:gd name="connsiteY75" fmla="*/ 3162300 h 4496940"/>
              <a:gd name="connsiteX76" fmla="*/ 221002 w 4519987"/>
              <a:gd name="connsiteY76" fmla="*/ 3105150 h 4496940"/>
              <a:gd name="connsiteX77" fmla="*/ 173377 w 4519987"/>
              <a:gd name="connsiteY77" fmla="*/ 3019425 h 4496940"/>
              <a:gd name="connsiteX78" fmla="*/ 144802 w 4519987"/>
              <a:gd name="connsiteY78" fmla="*/ 2924175 h 4496940"/>
              <a:gd name="connsiteX79" fmla="*/ 68602 w 4519987"/>
              <a:gd name="connsiteY79" fmla="*/ 2724150 h 4496940"/>
              <a:gd name="connsiteX80" fmla="*/ 49552 w 4519987"/>
              <a:gd name="connsiteY80" fmla="*/ 2638425 h 4496940"/>
              <a:gd name="connsiteX81" fmla="*/ 40027 w 4519987"/>
              <a:gd name="connsiteY81" fmla="*/ 2562225 h 4496940"/>
              <a:gd name="connsiteX82" fmla="*/ 30502 w 4519987"/>
              <a:gd name="connsiteY82" fmla="*/ 2514600 h 4496940"/>
              <a:gd name="connsiteX83" fmla="*/ 11452 w 4519987"/>
              <a:gd name="connsiteY83" fmla="*/ 2400300 h 4496940"/>
              <a:gd name="connsiteX84" fmla="*/ 20977 w 4519987"/>
              <a:gd name="connsiteY84" fmla="*/ 1905000 h 4496940"/>
              <a:gd name="connsiteX85" fmla="*/ 30502 w 4519987"/>
              <a:gd name="connsiteY85" fmla="*/ 1838325 h 4496940"/>
              <a:gd name="connsiteX86" fmla="*/ 49552 w 4519987"/>
              <a:gd name="connsiteY86" fmla="*/ 1781175 h 4496940"/>
              <a:gd name="connsiteX87" fmla="*/ 59077 w 4519987"/>
              <a:gd name="connsiteY87" fmla="*/ 1743075 h 4496940"/>
              <a:gd name="connsiteX88" fmla="*/ 78127 w 4519987"/>
              <a:gd name="connsiteY88" fmla="*/ 1685925 h 4496940"/>
              <a:gd name="connsiteX89" fmla="*/ 87652 w 4519987"/>
              <a:gd name="connsiteY89" fmla="*/ 1638300 h 4496940"/>
              <a:gd name="connsiteX90" fmla="*/ 106702 w 4519987"/>
              <a:gd name="connsiteY90" fmla="*/ 1590675 h 4496940"/>
              <a:gd name="connsiteX91" fmla="*/ 135277 w 4519987"/>
              <a:gd name="connsiteY91" fmla="*/ 1504950 h 4496940"/>
              <a:gd name="connsiteX92" fmla="*/ 154327 w 4519987"/>
              <a:gd name="connsiteY92" fmla="*/ 1419225 h 4496940"/>
              <a:gd name="connsiteX93" fmla="*/ 230527 w 4519987"/>
              <a:gd name="connsiteY93" fmla="*/ 1276350 h 4496940"/>
              <a:gd name="connsiteX94" fmla="*/ 240052 w 4519987"/>
              <a:gd name="connsiteY94" fmla="*/ 1247775 h 4496940"/>
              <a:gd name="connsiteX95" fmla="*/ 268627 w 4519987"/>
              <a:gd name="connsiteY95" fmla="*/ 1200150 h 4496940"/>
              <a:gd name="connsiteX96" fmla="*/ 287677 w 4519987"/>
              <a:gd name="connsiteY96" fmla="*/ 1152525 h 4496940"/>
              <a:gd name="connsiteX97" fmla="*/ 316252 w 4519987"/>
              <a:gd name="connsiteY97" fmla="*/ 1114425 h 4496940"/>
              <a:gd name="connsiteX98" fmla="*/ 363877 w 4519987"/>
              <a:gd name="connsiteY98" fmla="*/ 1038225 h 4496940"/>
              <a:gd name="connsiteX99" fmla="*/ 382927 w 4519987"/>
              <a:gd name="connsiteY99" fmla="*/ 1009650 h 4496940"/>
              <a:gd name="connsiteX100" fmla="*/ 440077 w 4519987"/>
              <a:gd name="connsiteY100" fmla="*/ 904875 h 4496940"/>
              <a:gd name="connsiteX101" fmla="*/ 478177 w 4519987"/>
              <a:gd name="connsiteY101" fmla="*/ 857250 h 4496940"/>
              <a:gd name="connsiteX102" fmla="*/ 497227 w 4519987"/>
              <a:gd name="connsiteY102" fmla="*/ 828675 h 4496940"/>
              <a:gd name="connsiteX103" fmla="*/ 535327 w 4519987"/>
              <a:gd name="connsiteY103" fmla="*/ 800100 h 4496940"/>
              <a:gd name="connsiteX104" fmla="*/ 602002 w 4519987"/>
              <a:gd name="connsiteY104" fmla="*/ 733425 h 4496940"/>
              <a:gd name="connsiteX105" fmla="*/ 668677 w 4519987"/>
              <a:gd name="connsiteY105" fmla="*/ 676275 h 4496940"/>
              <a:gd name="connsiteX106" fmla="*/ 697252 w 4519987"/>
              <a:gd name="connsiteY106" fmla="*/ 657225 h 4496940"/>
              <a:gd name="connsiteX107" fmla="*/ 840127 w 4519987"/>
              <a:gd name="connsiteY107" fmla="*/ 533400 h 4496940"/>
              <a:gd name="connsiteX108" fmla="*/ 887752 w 4519987"/>
              <a:gd name="connsiteY108" fmla="*/ 504825 h 4496940"/>
              <a:gd name="connsiteX109" fmla="*/ 1167152 w 4519987"/>
              <a:gd name="connsiteY109" fmla="*/ 311150 h 4496940"/>
              <a:gd name="connsiteX110" fmla="*/ 1268752 w 4519987"/>
              <a:gd name="connsiteY110" fmla="*/ 285750 h 4496940"/>
              <a:gd name="connsiteX111" fmla="*/ 1411627 w 4519987"/>
              <a:gd name="connsiteY111" fmla="*/ 190500 h 4496940"/>
              <a:gd name="connsiteX112" fmla="*/ 1449727 w 4519987"/>
              <a:gd name="connsiteY112" fmla="*/ 161925 h 4496940"/>
              <a:gd name="connsiteX113" fmla="*/ 1525927 w 4519987"/>
              <a:gd name="connsiteY113" fmla="*/ 152400 h 4496940"/>
              <a:gd name="connsiteX114" fmla="*/ 1583077 w 4519987"/>
              <a:gd name="connsiteY114" fmla="*/ 142875 h 4496940"/>
              <a:gd name="connsiteX115" fmla="*/ 1716427 w 4519987"/>
              <a:gd name="connsiteY115" fmla="*/ 123825 h 4496940"/>
              <a:gd name="connsiteX116" fmla="*/ 1811677 w 4519987"/>
              <a:gd name="connsiteY116" fmla="*/ 114300 h 4496940"/>
              <a:gd name="connsiteX117" fmla="*/ 1859302 w 4519987"/>
              <a:gd name="connsiteY117" fmla="*/ 104775 h 4496940"/>
              <a:gd name="connsiteX118" fmla="*/ 1916452 w 4519987"/>
              <a:gd name="connsiteY118" fmla="*/ 95250 h 4496940"/>
              <a:gd name="connsiteX119" fmla="*/ 2030752 w 4519987"/>
              <a:gd name="connsiteY119" fmla="*/ 66675 h 4496940"/>
              <a:gd name="connsiteX120" fmla="*/ 2097427 w 4519987"/>
              <a:gd name="connsiteY120" fmla="*/ 47625 h 4496940"/>
              <a:gd name="connsiteX121" fmla="*/ 2164102 w 4519987"/>
              <a:gd name="connsiteY121" fmla="*/ 38100 h 4496940"/>
              <a:gd name="connsiteX122" fmla="*/ 2392702 w 4519987"/>
              <a:gd name="connsiteY12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40427 w 4519987"/>
              <a:gd name="connsiteY37" fmla="*/ 426720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40352 w 4519987"/>
              <a:gd name="connsiteY42" fmla="*/ 4457700 h 4496940"/>
              <a:gd name="connsiteX43" fmla="*/ 2583202 w 4519987"/>
              <a:gd name="connsiteY43" fmla="*/ 4467225 h 4496940"/>
              <a:gd name="connsiteX44" fmla="*/ 2545102 w 4519987"/>
              <a:gd name="connsiteY44" fmla="*/ 4486275 h 4496940"/>
              <a:gd name="connsiteX45" fmla="*/ 2306977 w 4519987"/>
              <a:gd name="connsiteY45" fmla="*/ 4476750 h 4496940"/>
              <a:gd name="connsiteX46" fmla="*/ 2202202 w 4519987"/>
              <a:gd name="connsiteY46" fmla="*/ 4457700 h 4496940"/>
              <a:gd name="connsiteX47" fmla="*/ 2126002 w 4519987"/>
              <a:gd name="connsiteY47" fmla="*/ 4429125 h 4496940"/>
              <a:gd name="connsiteX48" fmla="*/ 1935502 w 4519987"/>
              <a:gd name="connsiteY48" fmla="*/ 4400550 h 4496940"/>
              <a:gd name="connsiteX49" fmla="*/ 1821202 w 4519987"/>
              <a:gd name="connsiteY49" fmla="*/ 4371975 h 4496940"/>
              <a:gd name="connsiteX50" fmla="*/ 1754527 w 4519987"/>
              <a:gd name="connsiteY50" fmla="*/ 4352925 h 4496940"/>
              <a:gd name="connsiteX51" fmla="*/ 1687852 w 4519987"/>
              <a:gd name="connsiteY51" fmla="*/ 4343400 h 4496940"/>
              <a:gd name="connsiteX52" fmla="*/ 1573552 w 4519987"/>
              <a:gd name="connsiteY52" fmla="*/ 4305300 h 4496940"/>
              <a:gd name="connsiteX53" fmla="*/ 1402102 w 4519987"/>
              <a:gd name="connsiteY53" fmla="*/ 4276725 h 4496940"/>
              <a:gd name="connsiteX54" fmla="*/ 1287802 w 4519987"/>
              <a:gd name="connsiteY54" fmla="*/ 4229100 h 4496940"/>
              <a:gd name="connsiteX55" fmla="*/ 1221127 w 4519987"/>
              <a:gd name="connsiteY55" fmla="*/ 4200525 h 4496940"/>
              <a:gd name="connsiteX56" fmla="*/ 1144927 w 4519987"/>
              <a:gd name="connsiteY56" fmla="*/ 4171950 h 4496940"/>
              <a:gd name="connsiteX57" fmla="*/ 1087777 w 4519987"/>
              <a:gd name="connsiteY57" fmla="*/ 4143375 h 4496940"/>
              <a:gd name="connsiteX58" fmla="*/ 1030627 w 4519987"/>
              <a:gd name="connsiteY58" fmla="*/ 4124325 h 4496940"/>
              <a:gd name="connsiteX59" fmla="*/ 925852 w 4519987"/>
              <a:gd name="connsiteY59" fmla="*/ 4067175 h 4496940"/>
              <a:gd name="connsiteX60" fmla="*/ 830602 w 4519987"/>
              <a:gd name="connsiteY60" fmla="*/ 3981450 h 4496940"/>
              <a:gd name="connsiteX61" fmla="*/ 763927 w 4519987"/>
              <a:gd name="connsiteY61" fmla="*/ 3914775 h 4496940"/>
              <a:gd name="connsiteX62" fmla="*/ 725827 w 4519987"/>
              <a:gd name="connsiteY62" fmla="*/ 3876675 h 4496940"/>
              <a:gd name="connsiteX63" fmla="*/ 697252 w 4519987"/>
              <a:gd name="connsiteY63" fmla="*/ 3838575 h 4496940"/>
              <a:gd name="connsiteX64" fmla="*/ 640102 w 4519987"/>
              <a:gd name="connsiteY64" fmla="*/ 3781425 h 4496940"/>
              <a:gd name="connsiteX65" fmla="*/ 611527 w 4519987"/>
              <a:gd name="connsiteY65" fmla="*/ 3733800 h 4496940"/>
              <a:gd name="connsiteX66" fmla="*/ 554377 w 4519987"/>
              <a:gd name="connsiteY66" fmla="*/ 3657600 h 4496940"/>
              <a:gd name="connsiteX67" fmla="*/ 525802 w 4519987"/>
              <a:gd name="connsiteY67" fmla="*/ 3609975 h 4496940"/>
              <a:gd name="connsiteX68" fmla="*/ 497227 w 4519987"/>
              <a:gd name="connsiteY68" fmla="*/ 3552825 h 4496940"/>
              <a:gd name="connsiteX69" fmla="*/ 440077 w 4519987"/>
              <a:gd name="connsiteY69" fmla="*/ 3495675 h 4496940"/>
              <a:gd name="connsiteX70" fmla="*/ 411502 w 4519987"/>
              <a:gd name="connsiteY70" fmla="*/ 3448050 h 4496940"/>
              <a:gd name="connsiteX71" fmla="*/ 278152 w 4519987"/>
              <a:gd name="connsiteY71" fmla="*/ 3257550 h 4496940"/>
              <a:gd name="connsiteX72" fmla="*/ 249577 w 4519987"/>
              <a:gd name="connsiteY72" fmla="*/ 3200400 h 4496940"/>
              <a:gd name="connsiteX73" fmla="*/ 240052 w 4519987"/>
              <a:gd name="connsiteY73" fmla="*/ 3162300 h 4496940"/>
              <a:gd name="connsiteX74" fmla="*/ 221002 w 4519987"/>
              <a:gd name="connsiteY74" fmla="*/ 3105150 h 4496940"/>
              <a:gd name="connsiteX75" fmla="*/ 173377 w 4519987"/>
              <a:gd name="connsiteY75" fmla="*/ 3019425 h 4496940"/>
              <a:gd name="connsiteX76" fmla="*/ 144802 w 4519987"/>
              <a:gd name="connsiteY76" fmla="*/ 2924175 h 4496940"/>
              <a:gd name="connsiteX77" fmla="*/ 68602 w 4519987"/>
              <a:gd name="connsiteY77" fmla="*/ 2724150 h 4496940"/>
              <a:gd name="connsiteX78" fmla="*/ 49552 w 4519987"/>
              <a:gd name="connsiteY78" fmla="*/ 2638425 h 4496940"/>
              <a:gd name="connsiteX79" fmla="*/ 40027 w 4519987"/>
              <a:gd name="connsiteY79" fmla="*/ 2562225 h 4496940"/>
              <a:gd name="connsiteX80" fmla="*/ 30502 w 4519987"/>
              <a:gd name="connsiteY80" fmla="*/ 2514600 h 4496940"/>
              <a:gd name="connsiteX81" fmla="*/ 11452 w 4519987"/>
              <a:gd name="connsiteY81" fmla="*/ 2400300 h 4496940"/>
              <a:gd name="connsiteX82" fmla="*/ 20977 w 4519987"/>
              <a:gd name="connsiteY82" fmla="*/ 1905000 h 4496940"/>
              <a:gd name="connsiteX83" fmla="*/ 30502 w 4519987"/>
              <a:gd name="connsiteY83" fmla="*/ 1838325 h 4496940"/>
              <a:gd name="connsiteX84" fmla="*/ 49552 w 4519987"/>
              <a:gd name="connsiteY84" fmla="*/ 1781175 h 4496940"/>
              <a:gd name="connsiteX85" fmla="*/ 59077 w 4519987"/>
              <a:gd name="connsiteY85" fmla="*/ 1743075 h 4496940"/>
              <a:gd name="connsiteX86" fmla="*/ 78127 w 4519987"/>
              <a:gd name="connsiteY86" fmla="*/ 1685925 h 4496940"/>
              <a:gd name="connsiteX87" fmla="*/ 87652 w 4519987"/>
              <a:gd name="connsiteY87" fmla="*/ 1638300 h 4496940"/>
              <a:gd name="connsiteX88" fmla="*/ 106702 w 4519987"/>
              <a:gd name="connsiteY88" fmla="*/ 1590675 h 4496940"/>
              <a:gd name="connsiteX89" fmla="*/ 135277 w 4519987"/>
              <a:gd name="connsiteY89" fmla="*/ 1504950 h 4496940"/>
              <a:gd name="connsiteX90" fmla="*/ 154327 w 4519987"/>
              <a:gd name="connsiteY90" fmla="*/ 1419225 h 4496940"/>
              <a:gd name="connsiteX91" fmla="*/ 230527 w 4519987"/>
              <a:gd name="connsiteY91" fmla="*/ 1276350 h 4496940"/>
              <a:gd name="connsiteX92" fmla="*/ 240052 w 4519987"/>
              <a:gd name="connsiteY92" fmla="*/ 1247775 h 4496940"/>
              <a:gd name="connsiteX93" fmla="*/ 268627 w 4519987"/>
              <a:gd name="connsiteY93" fmla="*/ 1200150 h 4496940"/>
              <a:gd name="connsiteX94" fmla="*/ 287677 w 4519987"/>
              <a:gd name="connsiteY94" fmla="*/ 1152525 h 4496940"/>
              <a:gd name="connsiteX95" fmla="*/ 316252 w 4519987"/>
              <a:gd name="connsiteY95" fmla="*/ 1114425 h 4496940"/>
              <a:gd name="connsiteX96" fmla="*/ 363877 w 4519987"/>
              <a:gd name="connsiteY96" fmla="*/ 1038225 h 4496940"/>
              <a:gd name="connsiteX97" fmla="*/ 382927 w 4519987"/>
              <a:gd name="connsiteY97" fmla="*/ 1009650 h 4496940"/>
              <a:gd name="connsiteX98" fmla="*/ 440077 w 4519987"/>
              <a:gd name="connsiteY98" fmla="*/ 904875 h 4496940"/>
              <a:gd name="connsiteX99" fmla="*/ 478177 w 4519987"/>
              <a:gd name="connsiteY99" fmla="*/ 857250 h 4496940"/>
              <a:gd name="connsiteX100" fmla="*/ 497227 w 4519987"/>
              <a:gd name="connsiteY100" fmla="*/ 828675 h 4496940"/>
              <a:gd name="connsiteX101" fmla="*/ 535327 w 4519987"/>
              <a:gd name="connsiteY101" fmla="*/ 800100 h 4496940"/>
              <a:gd name="connsiteX102" fmla="*/ 602002 w 4519987"/>
              <a:gd name="connsiteY102" fmla="*/ 733425 h 4496940"/>
              <a:gd name="connsiteX103" fmla="*/ 668677 w 4519987"/>
              <a:gd name="connsiteY103" fmla="*/ 676275 h 4496940"/>
              <a:gd name="connsiteX104" fmla="*/ 697252 w 4519987"/>
              <a:gd name="connsiteY104" fmla="*/ 657225 h 4496940"/>
              <a:gd name="connsiteX105" fmla="*/ 840127 w 4519987"/>
              <a:gd name="connsiteY105" fmla="*/ 533400 h 4496940"/>
              <a:gd name="connsiteX106" fmla="*/ 887752 w 4519987"/>
              <a:gd name="connsiteY106" fmla="*/ 504825 h 4496940"/>
              <a:gd name="connsiteX107" fmla="*/ 1167152 w 4519987"/>
              <a:gd name="connsiteY107" fmla="*/ 311150 h 4496940"/>
              <a:gd name="connsiteX108" fmla="*/ 1268752 w 4519987"/>
              <a:gd name="connsiteY108" fmla="*/ 285750 h 4496940"/>
              <a:gd name="connsiteX109" fmla="*/ 1411627 w 4519987"/>
              <a:gd name="connsiteY109" fmla="*/ 190500 h 4496940"/>
              <a:gd name="connsiteX110" fmla="*/ 1449727 w 4519987"/>
              <a:gd name="connsiteY110" fmla="*/ 161925 h 4496940"/>
              <a:gd name="connsiteX111" fmla="*/ 1525927 w 4519987"/>
              <a:gd name="connsiteY111" fmla="*/ 152400 h 4496940"/>
              <a:gd name="connsiteX112" fmla="*/ 1583077 w 4519987"/>
              <a:gd name="connsiteY112" fmla="*/ 142875 h 4496940"/>
              <a:gd name="connsiteX113" fmla="*/ 1716427 w 4519987"/>
              <a:gd name="connsiteY113" fmla="*/ 123825 h 4496940"/>
              <a:gd name="connsiteX114" fmla="*/ 1811677 w 4519987"/>
              <a:gd name="connsiteY114" fmla="*/ 114300 h 4496940"/>
              <a:gd name="connsiteX115" fmla="*/ 1859302 w 4519987"/>
              <a:gd name="connsiteY115" fmla="*/ 104775 h 4496940"/>
              <a:gd name="connsiteX116" fmla="*/ 1916452 w 4519987"/>
              <a:gd name="connsiteY116" fmla="*/ 95250 h 4496940"/>
              <a:gd name="connsiteX117" fmla="*/ 2030752 w 4519987"/>
              <a:gd name="connsiteY117" fmla="*/ 66675 h 4496940"/>
              <a:gd name="connsiteX118" fmla="*/ 2097427 w 4519987"/>
              <a:gd name="connsiteY118" fmla="*/ 47625 h 4496940"/>
              <a:gd name="connsiteX119" fmla="*/ 2164102 w 4519987"/>
              <a:gd name="connsiteY119" fmla="*/ 38100 h 4496940"/>
              <a:gd name="connsiteX120" fmla="*/ 2392702 w 4519987"/>
              <a:gd name="connsiteY120" fmla="*/ 28575 h 4496940"/>
              <a:gd name="connsiteX0" fmla="*/ 2297452 w 4519987"/>
              <a:gd name="connsiteY0" fmla="*/ 0 h 4487372"/>
              <a:gd name="connsiteX1" fmla="*/ 2421277 w 4519987"/>
              <a:gd name="connsiteY1" fmla="*/ 28575 h 4487372"/>
              <a:gd name="connsiteX2" fmla="*/ 2497477 w 4519987"/>
              <a:gd name="connsiteY2" fmla="*/ 47625 h 4487372"/>
              <a:gd name="connsiteX3" fmla="*/ 2754652 w 4519987"/>
              <a:gd name="connsiteY3" fmla="*/ 66675 h 4487372"/>
              <a:gd name="connsiteX4" fmla="*/ 2830852 w 4519987"/>
              <a:gd name="connsiteY4" fmla="*/ 76200 h 4487372"/>
              <a:gd name="connsiteX5" fmla="*/ 2916577 w 4519987"/>
              <a:gd name="connsiteY5" fmla="*/ 85725 h 4487372"/>
              <a:gd name="connsiteX6" fmla="*/ 2973727 w 4519987"/>
              <a:gd name="connsiteY6" fmla="*/ 114300 h 4487372"/>
              <a:gd name="connsiteX7" fmla="*/ 3011827 w 4519987"/>
              <a:gd name="connsiteY7" fmla="*/ 123825 h 4487372"/>
              <a:gd name="connsiteX8" fmla="*/ 3135652 w 4519987"/>
              <a:gd name="connsiteY8" fmla="*/ 171450 h 4487372"/>
              <a:gd name="connsiteX9" fmla="*/ 3173752 w 4519987"/>
              <a:gd name="connsiteY9" fmla="*/ 190500 h 4487372"/>
              <a:gd name="connsiteX10" fmla="*/ 3240427 w 4519987"/>
              <a:gd name="connsiteY10" fmla="*/ 228600 h 4487372"/>
              <a:gd name="connsiteX11" fmla="*/ 3269002 w 4519987"/>
              <a:gd name="connsiteY11" fmla="*/ 238125 h 4487372"/>
              <a:gd name="connsiteX12" fmla="*/ 3297577 w 4519987"/>
              <a:gd name="connsiteY12" fmla="*/ 257175 h 4487372"/>
              <a:gd name="connsiteX13" fmla="*/ 3326152 w 4519987"/>
              <a:gd name="connsiteY13" fmla="*/ 266700 h 4487372"/>
              <a:gd name="connsiteX14" fmla="*/ 3354727 w 4519987"/>
              <a:gd name="connsiteY14" fmla="*/ 285750 h 4487372"/>
              <a:gd name="connsiteX15" fmla="*/ 3421402 w 4519987"/>
              <a:gd name="connsiteY15" fmla="*/ 323850 h 4487372"/>
              <a:gd name="connsiteX16" fmla="*/ 3469027 w 4519987"/>
              <a:gd name="connsiteY16" fmla="*/ 361950 h 4487372"/>
              <a:gd name="connsiteX17" fmla="*/ 3516652 w 4519987"/>
              <a:gd name="connsiteY17" fmla="*/ 390525 h 4487372"/>
              <a:gd name="connsiteX18" fmla="*/ 3630952 w 4519987"/>
              <a:gd name="connsiteY18" fmla="*/ 485775 h 4487372"/>
              <a:gd name="connsiteX19" fmla="*/ 3745252 w 4519987"/>
              <a:gd name="connsiteY19" fmla="*/ 542925 h 4487372"/>
              <a:gd name="connsiteX20" fmla="*/ 3811927 w 4519987"/>
              <a:gd name="connsiteY20" fmla="*/ 581025 h 4487372"/>
              <a:gd name="connsiteX21" fmla="*/ 4027827 w 4519987"/>
              <a:gd name="connsiteY21" fmla="*/ 819150 h 4487372"/>
              <a:gd name="connsiteX22" fmla="*/ 4164352 w 4519987"/>
              <a:gd name="connsiteY22" fmla="*/ 990600 h 4487372"/>
              <a:gd name="connsiteX23" fmla="*/ 4250077 w 4519987"/>
              <a:gd name="connsiteY23" fmla="*/ 1143000 h 4487372"/>
              <a:gd name="connsiteX24" fmla="*/ 4307227 w 4519987"/>
              <a:gd name="connsiteY24" fmla="*/ 1266825 h 4487372"/>
              <a:gd name="connsiteX25" fmla="*/ 4345327 w 4519987"/>
              <a:gd name="connsiteY25" fmla="*/ 1362075 h 4487372"/>
              <a:gd name="connsiteX26" fmla="*/ 4392952 w 4519987"/>
              <a:gd name="connsiteY26" fmla="*/ 1552575 h 4487372"/>
              <a:gd name="connsiteX27" fmla="*/ 4431052 w 4519987"/>
              <a:gd name="connsiteY27" fmla="*/ 1685925 h 4487372"/>
              <a:gd name="connsiteX28" fmla="*/ 4519952 w 4519987"/>
              <a:gd name="connsiteY28" fmla="*/ 2181225 h 4487372"/>
              <a:gd name="connsiteX29" fmla="*/ 4446927 w 4519987"/>
              <a:gd name="connsiteY29" fmla="*/ 2768600 h 4487372"/>
              <a:gd name="connsiteX30" fmla="*/ 4383427 w 4519987"/>
              <a:gd name="connsiteY30" fmla="*/ 2990850 h 4487372"/>
              <a:gd name="connsiteX31" fmla="*/ 4278652 w 4519987"/>
              <a:gd name="connsiteY31" fmla="*/ 3248025 h 4487372"/>
              <a:gd name="connsiteX32" fmla="*/ 4183402 w 4519987"/>
              <a:gd name="connsiteY32" fmla="*/ 3400425 h 4487372"/>
              <a:gd name="connsiteX33" fmla="*/ 4059577 w 4519987"/>
              <a:gd name="connsiteY33" fmla="*/ 3533775 h 4487372"/>
              <a:gd name="connsiteX34" fmla="*/ 3954802 w 4519987"/>
              <a:gd name="connsiteY34" fmla="*/ 3648075 h 4487372"/>
              <a:gd name="connsiteX35" fmla="*/ 3659527 w 4519987"/>
              <a:gd name="connsiteY35" fmla="*/ 3971925 h 4487372"/>
              <a:gd name="connsiteX36" fmla="*/ 3516652 w 4519987"/>
              <a:gd name="connsiteY36" fmla="*/ 4083050 h 4487372"/>
              <a:gd name="connsiteX37" fmla="*/ 3221377 w 4519987"/>
              <a:gd name="connsiteY37" fmla="*/ 4222750 h 4487372"/>
              <a:gd name="connsiteX38" fmla="*/ 3068977 w 4519987"/>
              <a:gd name="connsiteY38" fmla="*/ 4286250 h 4487372"/>
              <a:gd name="connsiteX39" fmla="*/ 2935627 w 4519987"/>
              <a:gd name="connsiteY39" fmla="*/ 4333875 h 4487372"/>
              <a:gd name="connsiteX40" fmla="*/ 2811802 w 4519987"/>
              <a:gd name="connsiteY40" fmla="*/ 4371975 h 4487372"/>
              <a:gd name="connsiteX41" fmla="*/ 2745127 w 4519987"/>
              <a:gd name="connsiteY41" fmla="*/ 4410075 h 4487372"/>
              <a:gd name="connsiteX42" fmla="*/ 2640352 w 4519987"/>
              <a:gd name="connsiteY42" fmla="*/ 4457700 h 4487372"/>
              <a:gd name="connsiteX43" fmla="*/ 2545102 w 4519987"/>
              <a:gd name="connsiteY43" fmla="*/ 4486275 h 4487372"/>
              <a:gd name="connsiteX44" fmla="*/ 2306977 w 4519987"/>
              <a:gd name="connsiteY44" fmla="*/ 4476750 h 4487372"/>
              <a:gd name="connsiteX45" fmla="*/ 2202202 w 4519987"/>
              <a:gd name="connsiteY45" fmla="*/ 4457700 h 4487372"/>
              <a:gd name="connsiteX46" fmla="*/ 2126002 w 4519987"/>
              <a:gd name="connsiteY46" fmla="*/ 4429125 h 4487372"/>
              <a:gd name="connsiteX47" fmla="*/ 1935502 w 4519987"/>
              <a:gd name="connsiteY47" fmla="*/ 4400550 h 4487372"/>
              <a:gd name="connsiteX48" fmla="*/ 1821202 w 4519987"/>
              <a:gd name="connsiteY48" fmla="*/ 4371975 h 4487372"/>
              <a:gd name="connsiteX49" fmla="*/ 1754527 w 4519987"/>
              <a:gd name="connsiteY49" fmla="*/ 4352925 h 4487372"/>
              <a:gd name="connsiteX50" fmla="*/ 1687852 w 4519987"/>
              <a:gd name="connsiteY50" fmla="*/ 4343400 h 4487372"/>
              <a:gd name="connsiteX51" fmla="*/ 1573552 w 4519987"/>
              <a:gd name="connsiteY51" fmla="*/ 4305300 h 4487372"/>
              <a:gd name="connsiteX52" fmla="*/ 1402102 w 4519987"/>
              <a:gd name="connsiteY52" fmla="*/ 4276725 h 4487372"/>
              <a:gd name="connsiteX53" fmla="*/ 1287802 w 4519987"/>
              <a:gd name="connsiteY53" fmla="*/ 4229100 h 4487372"/>
              <a:gd name="connsiteX54" fmla="*/ 1221127 w 4519987"/>
              <a:gd name="connsiteY54" fmla="*/ 4200525 h 4487372"/>
              <a:gd name="connsiteX55" fmla="*/ 1144927 w 4519987"/>
              <a:gd name="connsiteY55" fmla="*/ 4171950 h 4487372"/>
              <a:gd name="connsiteX56" fmla="*/ 1087777 w 4519987"/>
              <a:gd name="connsiteY56" fmla="*/ 4143375 h 4487372"/>
              <a:gd name="connsiteX57" fmla="*/ 1030627 w 4519987"/>
              <a:gd name="connsiteY57" fmla="*/ 4124325 h 4487372"/>
              <a:gd name="connsiteX58" fmla="*/ 925852 w 4519987"/>
              <a:gd name="connsiteY58" fmla="*/ 4067175 h 4487372"/>
              <a:gd name="connsiteX59" fmla="*/ 830602 w 4519987"/>
              <a:gd name="connsiteY59" fmla="*/ 3981450 h 4487372"/>
              <a:gd name="connsiteX60" fmla="*/ 763927 w 4519987"/>
              <a:gd name="connsiteY60" fmla="*/ 3914775 h 4487372"/>
              <a:gd name="connsiteX61" fmla="*/ 725827 w 4519987"/>
              <a:gd name="connsiteY61" fmla="*/ 3876675 h 4487372"/>
              <a:gd name="connsiteX62" fmla="*/ 697252 w 4519987"/>
              <a:gd name="connsiteY62" fmla="*/ 3838575 h 4487372"/>
              <a:gd name="connsiteX63" fmla="*/ 640102 w 4519987"/>
              <a:gd name="connsiteY63" fmla="*/ 3781425 h 4487372"/>
              <a:gd name="connsiteX64" fmla="*/ 611527 w 4519987"/>
              <a:gd name="connsiteY64" fmla="*/ 3733800 h 4487372"/>
              <a:gd name="connsiteX65" fmla="*/ 554377 w 4519987"/>
              <a:gd name="connsiteY65" fmla="*/ 3657600 h 4487372"/>
              <a:gd name="connsiteX66" fmla="*/ 525802 w 4519987"/>
              <a:gd name="connsiteY66" fmla="*/ 3609975 h 4487372"/>
              <a:gd name="connsiteX67" fmla="*/ 497227 w 4519987"/>
              <a:gd name="connsiteY67" fmla="*/ 3552825 h 4487372"/>
              <a:gd name="connsiteX68" fmla="*/ 440077 w 4519987"/>
              <a:gd name="connsiteY68" fmla="*/ 3495675 h 4487372"/>
              <a:gd name="connsiteX69" fmla="*/ 411502 w 4519987"/>
              <a:gd name="connsiteY69" fmla="*/ 3448050 h 4487372"/>
              <a:gd name="connsiteX70" fmla="*/ 278152 w 4519987"/>
              <a:gd name="connsiteY70" fmla="*/ 3257550 h 4487372"/>
              <a:gd name="connsiteX71" fmla="*/ 249577 w 4519987"/>
              <a:gd name="connsiteY71" fmla="*/ 3200400 h 4487372"/>
              <a:gd name="connsiteX72" fmla="*/ 240052 w 4519987"/>
              <a:gd name="connsiteY72" fmla="*/ 3162300 h 4487372"/>
              <a:gd name="connsiteX73" fmla="*/ 221002 w 4519987"/>
              <a:gd name="connsiteY73" fmla="*/ 3105150 h 4487372"/>
              <a:gd name="connsiteX74" fmla="*/ 173377 w 4519987"/>
              <a:gd name="connsiteY74" fmla="*/ 3019425 h 4487372"/>
              <a:gd name="connsiteX75" fmla="*/ 144802 w 4519987"/>
              <a:gd name="connsiteY75" fmla="*/ 2924175 h 4487372"/>
              <a:gd name="connsiteX76" fmla="*/ 68602 w 4519987"/>
              <a:gd name="connsiteY76" fmla="*/ 2724150 h 4487372"/>
              <a:gd name="connsiteX77" fmla="*/ 49552 w 4519987"/>
              <a:gd name="connsiteY77" fmla="*/ 2638425 h 4487372"/>
              <a:gd name="connsiteX78" fmla="*/ 40027 w 4519987"/>
              <a:gd name="connsiteY78" fmla="*/ 2562225 h 4487372"/>
              <a:gd name="connsiteX79" fmla="*/ 30502 w 4519987"/>
              <a:gd name="connsiteY79" fmla="*/ 2514600 h 4487372"/>
              <a:gd name="connsiteX80" fmla="*/ 11452 w 4519987"/>
              <a:gd name="connsiteY80" fmla="*/ 2400300 h 4487372"/>
              <a:gd name="connsiteX81" fmla="*/ 20977 w 4519987"/>
              <a:gd name="connsiteY81" fmla="*/ 1905000 h 4487372"/>
              <a:gd name="connsiteX82" fmla="*/ 30502 w 4519987"/>
              <a:gd name="connsiteY82" fmla="*/ 1838325 h 4487372"/>
              <a:gd name="connsiteX83" fmla="*/ 49552 w 4519987"/>
              <a:gd name="connsiteY83" fmla="*/ 1781175 h 4487372"/>
              <a:gd name="connsiteX84" fmla="*/ 59077 w 4519987"/>
              <a:gd name="connsiteY84" fmla="*/ 1743075 h 4487372"/>
              <a:gd name="connsiteX85" fmla="*/ 78127 w 4519987"/>
              <a:gd name="connsiteY85" fmla="*/ 1685925 h 4487372"/>
              <a:gd name="connsiteX86" fmla="*/ 87652 w 4519987"/>
              <a:gd name="connsiteY86" fmla="*/ 1638300 h 4487372"/>
              <a:gd name="connsiteX87" fmla="*/ 106702 w 4519987"/>
              <a:gd name="connsiteY87" fmla="*/ 1590675 h 4487372"/>
              <a:gd name="connsiteX88" fmla="*/ 135277 w 4519987"/>
              <a:gd name="connsiteY88" fmla="*/ 1504950 h 4487372"/>
              <a:gd name="connsiteX89" fmla="*/ 154327 w 4519987"/>
              <a:gd name="connsiteY89" fmla="*/ 1419225 h 4487372"/>
              <a:gd name="connsiteX90" fmla="*/ 230527 w 4519987"/>
              <a:gd name="connsiteY90" fmla="*/ 1276350 h 4487372"/>
              <a:gd name="connsiteX91" fmla="*/ 240052 w 4519987"/>
              <a:gd name="connsiteY91" fmla="*/ 1247775 h 4487372"/>
              <a:gd name="connsiteX92" fmla="*/ 268627 w 4519987"/>
              <a:gd name="connsiteY92" fmla="*/ 1200150 h 4487372"/>
              <a:gd name="connsiteX93" fmla="*/ 287677 w 4519987"/>
              <a:gd name="connsiteY93" fmla="*/ 1152525 h 4487372"/>
              <a:gd name="connsiteX94" fmla="*/ 316252 w 4519987"/>
              <a:gd name="connsiteY94" fmla="*/ 1114425 h 4487372"/>
              <a:gd name="connsiteX95" fmla="*/ 363877 w 4519987"/>
              <a:gd name="connsiteY95" fmla="*/ 1038225 h 4487372"/>
              <a:gd name="connsiteX96" fmla="*/ 382927 w 4519987"/>
              <a:gd name="connsiteY96" fmla="*/ 1009650 h 4487372"/>
              <a:gd name="connsiteX97" fmla="*/ 440077 w 4519987"/>
              <a:gd name="connsiteY97" fmla="*/ 904875 h 4487372"/>
              <a:gd name="connsiteX98" fmla="*/ 478177 w 4519987"/>
              <a:gd name="connsiteY98" fmla="*/ 857250 h 4487372"/>
              <a:gd name="connsiteX99" fmla="*/ 497227 w 4519987"/>
              <a:gd name="connsiteY99" fmla="*/ 828675 h 4487372"/>
              <a:gd name="connsiteX100" fmla="*/ 535327 w 4519987"/>
              <a:gd name="connsiteY100" fmla="*/ 800100 h 4487372"/>
              <a:gd name="connsiteX101" fmla="*/ 602002 w 4519987"/>
              <a:gd name="connsiteY101" fmla="*/ 733425 h 4487372"/>
              <a:gd name="connsiteX102" fmla="*/ 668677 w 4519987"/>
              <a:gd name="connsiteY102" fmla="*/ 676275 h 4487372"/>
              <a:gd name="connsiteX103" fmla="*/ 697252 w 4519987"/>
              <a:gd name="connsiteY103" fmla="*/ 657225 h 4487372"/>
              <a:gd name="connsiteX104" fmla="*/ 840127 w 4519987"/>
              <a:gd name="connsiteY104" fmla="*/ 533400 h 4487372"/>
              <a:gd name="connsiteX105" fmla="*/ 887752 w 4519987"/>
              <a:gd name="connsiteY105" fmla="*/ 504825 h 4487372"/>
              <a:gd name="connsiteX106" fmla="*/ 1167152 w 4519987"/>
              <a:gd name="connsiteY106" fmla="*/ 311150 h 4487372"/>
              <a:gd name="connsiteX107" fmla="*/ 1268752 w 4519987"/>
              <a:gd name="connsiteY107" fmla="*/ 285750 h 4487372"/>
              <a:gd name="connsiteX108" fmla="*/ 1411627 w 4519987"/>
              <a:gd name="connsiteY108" fmla="*/ 190500 h 4487372"/>
              <a:gd name="connsiteX109" fmla="*/ 1449727 w 4519987"/>
              <a:gd name="connsiteY109" fmla="*/ 161925 h 4487372"/>
              <a:gd name="connsiteX110" fmla="*/ 1525927 w 4519987"/>
              <a:gd name="connsiteY110" fmla="*/ 152400 h 4487372"/>
              <a:gd name="connsiteX111" fmla="*/ 1583077 w 4519987"/>
              <a:gd name="connsiteY111" fmla="*/ 142875 h 4487372"/>
              <a:gd name="connsiteX112" fmla="*/ 1716427 w 4519987"/>
              <a:gd name="connsiteY112" fmla="*/ 123825 h 4487372"/>
              <a:gd name="connsiteX113" fmla="*/ 1811677 w 4519987"/>
              <a:gd name="connsiteY113" fmla="*/ 114300 h 4487372"/>
              <a:gd name="connsiteX114" fmla="*/ 1859302 w 4519987"/>
              <a:gd name="connsiteY114" fmla="*/ 104775 h 4487372"/>
              <a:gd name="connsiteX115" fmla="*/ 1916452 w 4519987"/>
              <a:gd name="connsiteY115" fmla="*/ 95250 h 4487372"/>
              <a:gd name="connsiteX116" fmla="*/ 2030752 w 4519987"/>
              <a:gd name="connsiteY116" fmla="*/ 66675 h 4487372"/>
              <a:gd name="connsiteX117" fmla="*/ 2097427 w 4519987"/>
              <a:gd name="connsiteY117" fmla="*/ 47625 h 4487372"/>
              <a:gd name="connsiteX118" fmla="*/ 2164102 w 4519987"/>
              <a:gd name="connsiteY118" fmla="*/ 38100 h 4487372"/>
              <a:gd name="connsiteX119" fmla="*/ 2392702 w 4519987"/>
              <a:gd name="connsiteY119" fmla="*/ 28575 h 4487372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745127 w 4519987"/>
              <a:gd name="connsiteY41" fmla="*/ 4410075 h 4476750"/>
              <a:gd name="connsiteX42" fmla="*/ 2640352 w 4519987"/>
              <a:gd name="connsiteY42" fmla="*/ 4457700 h 4476750"/>
              <a:gd name="connsiteX43" fmla="*/ 2306977 w 4519987"/>
              <a:gd name="connsiteY43" fmla="*/ 4476750 h 4476750"/>
              <a:gd name="connsiteX44" fmla="*/ 2202202 w 4519987"/>
              <a:gd name="connsiteY44" fmla="*/ 4457700 h 4476750"/>
              <a:gd name="connsiteX45" fmla="*/ 2126002 w 4519987"/>
              <a:gd name="connsiteY45" fmla="*/ 4429125 h 4476750"/>
              <a:gd name="connsiteX46" fmla="*/ 1935502 w 4519987"/>
              <a:gd name="connsiteY46" fmla="*/ 4400550 h 4476750"/>
              <a:gd name="connsiteX47" fmla="*/ 1821202 w 4519987"/>
              <a:gd name="connsiteY47" fmla="*/ 4371975 h 4476750"/>
              <a:gd name="connsiteX48" fmla="*/ 1754527 w 4519987"/>
              <a:gd name="connsiteY48" fmla="*/ 4352925 h 4476750"/>
              <a:gd name="connsiteX49" fmla="*/ 1687852 w 4519987"/>
              <a:gd name="connsiteY49" fmla="*/ 4343400 h 4476750"/>
              <a:gd name="connsiteX50" fmla="*/ 1573552 w 4519987"/>
              <a:gd name="connsiteY50" fmla="*/ 4305300 h 4476750"/>
              <a:gd name="connsiteX51" fmla="*/ 1402102 w 4519987"/>
              <a:gd name="connsiteY51" fmla="*/ 4276725 h 4476750"/>
              <a:gd name="connsiteX52" fmla="*/ 1287802 w 4519987"/>
              <a:gd name="connsiteY52" fmla="*/ 4229100 h 4476750"/>
              <a:gd name="connsiteX53" fmla="*/ 1221127 w 4519987"/>
              <a:gd name="connsiteY53" fmla="*/ 4200525 h 4476750"/>
              <a:gd name="connsiteX54" fmla="*/ 1144927 w 4519987"/>
              <a:gd name="connsiteY54" fmla="*/ 4171950 h 4476750"/>
              <a:gd name="connsiteX55" fmla="*/ 1087777 w 4519987"/>
              <a:gd name="connsiteY55" fmla="*/ 4143375 h 4476750"/>
              <a:gd name="connsiteX56" fmla="*/ 1030627 w 4519987"/>
              <a:gd name="connsiteY56" fmla="*/ 4124325 h 4476750"/>
              <a:gd name="connsiteX57" fmla="*/ 925852 w 4519987"/>
              <a:gd name="connsiteY57" fmla="*/ 4067175 h 4476750"/>
              <a:gd name="connsiteX58" fmla="*/ 830602 w 4519987"/>
              <a:gd name="connsiteY58" fmla="*/ 3981450 h 4476750"/>
              <a:gd name="connsiteX59" fmla="*/ 763927 w 4519987"/>
              <a:gd name="connsiteY59" fmla="*/ 3914775 h 4476750"/>
              <a:gd name="connsiteX60" fmla="*/ 725827 w 4519987"/>
              <a:gd name="connsiteY60" fmla="*/ 3876675 h 4476750"/>
              <a:gd name="connsiteX61" fmla="*/ 697252 w 4519987"/>
              <a:gd name="connsiteY61" fmla="*/ 3838575 h 4476750"/>
              <a:gd name="connsiteX62" fmla="*/ 640102 w 4519987"/>
              <a:gd name="connsiteY62" fmla="*/ 3781425 h 4476750"/>
              <a:gd name="connsiteX63" fmla="*/ 611527 w 4519987"/>
              <a:gd name="connsiteY63" fmla="*/ 3733800 h 4476750"/>
              <a:gd name="connsiteX64" fmla="*/ 554377 w 4519987"/>
              <a:gd name="connsiteY64" fmla="*/ 3657600 h 4476750"/>
              <a:gd name="connsiteX65" fmla="*/ 525802 w 4519987"/>
              <a:gd name="connsiteY65" fmla="*/ 3609975 h 4476750"/>
              <a:gd name="connsiteX66" fmla="*/ 497227 w 4519987"/>
              <a:gd name="connsiteY66" fmla="*/ 3552825 h 4476750"/>
              <a:gd name="connsiteX67" fmla="*/ 440077 w 4519987"/>
              <a:gd name="connsiteY67" fmla="*/ 3495675 h 4476750"/>
              <a:gd name="connsiteX68" fmla="*/ 411502 w 4519987"/>
              <a:gd name="connsiteY68" fmla="*/ 3448050 h 4476750"/>
              <a:gd name="connsiteX69" fmla="*/ 278152 w 4519987"/>
              <a:gd name="connsiteY69" fmla="*/ 3257550 h 4476750"/>
              <a:gd name="connsiteX70" fmla="*/ 249577 w 4519987"/>
              <a:gd name="connsiteY70" fmla="*/ 3200400 h 4476750"/>
              <a:gd name="connsiteX71" fmla="*/ 240052 w 4519987"/>
              <a:gd name="connsiteY71" fmla="*/ 3162300 h 4476750"/>
              <a:gd name="connsiteX72" fmla="*/ 221002 w 4519987"/>
              <a:gd name="connsiteY72" fmla="*/ 3105150 h 4476750"/>
              <a:gd name="connsiteX73" fmla="*/ 173377 w 4519987"/>
              <a:gd name="connsiteY73" fmla="*/ 3019425 h 4476750"/>
              <a:gd name="connsiteX74" fmla="*/ 144802 w 4519987"/>
              <a:gd name="connsiteY74" fmla="*/ 2924175 h 4476750"/>
              <a:gd name="connsiteX75" fmla="*/ 68602 w 4519987"/>
              <a:gd name="connsiteY75" fmla="*/ 2724150 h 4476750"/>
              <a:gd name="connsiteX76" fmla="*/ 49552 w 4519987"/>
              <a:gd name="connsiteY76" fmla="*/ 2638425 h 4476750"/>
              <a:gd name="connsiteX77" fmla="*/ 40027 w 4519987"/>
              <a:gd name="connsiteY77" fmla="*/ 2562225 h 4476750"/>
              <a:gd name="connsiteX78" fmla="*/ 30502 w 4519987"/>
              <a:gd name="connsiteY78" fmla="*/ 2514600 h 4476750"/>
              <a:gd name="connsiteX79" fmla="*/ 11452 w 4519987"/>
              <a:gd name="connsiteY79" fmla="*/ 2400300 h 4476750"/>
              <a:gd name="connsiteX80" fmla="*/ 20977 w 4519987"/>
              <a:gd name="connsiteY80" fmla="*/ 1905000 h 4476750"/>
              <a:gd name="connsiteX81" fmla="*/ 30502 w 4519987"/>
              <a:gd name="connsiteY81" fmla="*/ 1838325 h 4476750"/>
              <a:gd name="connsiteX82" fmla="*/ 49552 w 4519987"/>
              <a:gd name="connsiteY82" fmla="*/ 1781175 h 4476750"/>
              <a:gd name="connsiteX83" fmla="*/ 59077 w 4519987"/>
              <a:gd name="connsiteY83" fmla="*/ 1743075 h 4476750"/>
              <a:gd name="connsiteX84" fmla="*/ 78127 w 4519987"/>
              <a:gd name="connsiteY84" fmla="*/ 1685925 h 4476750"/>
              <a:gd name="connsiteX85" fmla="*/ 87652 w 4519987"/>
              <a:gd name="connsiteY85" fmla="*/ 1638300 h 4476750"/>
              <a:gd name="connsiteX86" fmla="*/ 106702 w 4519987"/>
              <a:gd name="connsiteY86" fmla="*/ 1590675 h 4476750"/>
              <a:gd name="connsiteX87" fmla="*/ 135277 w 4519987"/>
              <a:gd name="connsiteY87" fmla="*/ 1504950 h 4476750"/>
              <a:gd name="connsiteX88" fmla="*/ 154327 w 4519987"/>
              <a:gd name="connsiteY88" fmla="*/ 1419225 h 4476750"/>
              <a:gd name="connsiteX89" fmla="*/ 230527 w 4519987"/>
              <a:gd name="connsiteY89" fmla="*/ 1276350 h 4476750"/>
              <a:gd name="connsiteX90" fmla="*/ 240052 w 4519987"/>
              <a:gd name="connsiteY90" fmla="*/ 1247775 h 4476750"/>
              <a:gd name="connsiteX91" fmla="*/ 268627 w 4519987"/>
              <a:gd name="connsiteY91" fmla="*/ 1200150 h 4476750"/>
              <a:gd name="connsiteX92" fmla="*/ 287677 w 4519987"/>
              <a:gd name="connsiteY92" fmla="*/ 1152525 h 4476750"/>
              <a:gd name="connsiteX93" fmla="*/ 316252 w 4519987"/>
              <a:gd name="connsiteY93" fmla="*/ 1114425 h 4476750"/>
              <a:gd name="connsiteX94" fmla="*/ 363877 w 4519987"/>
              <a:gd name="connsiteY94" fmla="*/ 1038225 h 4476750"/>
              <a:gd name="connsiteX95" fmla="*/ 382927 w 4519987"/>
              <a:gd name="connsiteY95" fmla="*/ 1009650 h 4476750"/>
              <a:gd name="connsiteX96" fmla="*/ 440077 w 4519987"/>
              <a:gd name="connsiteY96" fmla="*/ 904875 h 4476750"/>
              <a:gd name="connsiteX97" fmla="*/ 478177 w 4519987"/>
              <a:gd name="connsiteY97" fmla="*/ 857250 h 4476750"/>
              <a:gd name="connsiteX98" fmla="*/ 497227 w 4519987"/>
              <a:gd name="connsiteY98" fmla="*/ 828675 h 4476750"/>
              <a:gd name="connsiteX99" fmla="*/ 535327 w 4519987"/>
              <a:gd name="connsiteY99" fmla="*/ 800100 h 4476750"/>
              <a:gd name="connsiteX100" fmla="*/ 602002 w 4519987"/>
              <a:gd name="connsiteY100" fmla="*/ 733425 h 4476750"/>
              <a:gd name="connsiteX101" fmla="*/ 668677 w 4519987"/>
              <a:gd name="connsiteY101" fmla="*/ 676275 h 4476750"/>
              <a:gd name="connsiteX102" fmla="*/ 697252 w 4519987"/>
              <a:gd name="connsiteY102" fmla="*/ 657225 h 4476750"/>
              <a:gd name="connsiteX103" fmla="*/ 840127 w 4519987"/>
              <a:gd name="connsiteY103" fmla="*/ 533400 h 4476750"/>
              <a:gd name="connsiteX104" fmla="*/ 887752 w 4519987"/>
              <a:gd name="connsiteY104" fmla="*/ 504825 h 4476750"/>
              <a:gd name="connsiteX105" fmla="*/ 1167152 w 4519987"/>
              <a:gd name="connsiteY105" fmla="*/ 311150 h 4476750"/>
              <a:gd name="connsiteX106" fmla="*/ 1268752 w 4519987"/>
              <a:gd name="connsiteY106" fmla="*/ 285750 h 4476750"/>
              <a:gd name="connsiteX107" fmla="*/ 1411627 w 4519987"/>
              <a:gd name="connsiteY107" fmla="*/ 190500 h 4476750"/>
              <a:gd name="connsiteX108" fmla="*/ 1449727 w 4519987"/>
              <a:gd name="connsiteY108" fmla="*/ 161925 h 4476750"/>
              <a:gd name="connsiteX109" fmla="*/ 1525927 w 4519987"/>
              <a:gd name="connsiteY109" fmla="*/ 152400 h 4476750"/>
              <a:gd name="connsiteX110" fmla="*/ 1583077 w 4519987"/>
              <a:gd name="connsiteY110" fmla="*/ 142875 h 4476750"/>
              <a:gd name="connsiteX111" fmla="*/ 1716427 w 4519987"/>
              <a:gd name="connsiteY111" fmla="*/ 123825 h 4476750"/>
              <a:gd name="connsiteX112" fmla="*/ 1811677 w 4519987"/>
              <a:gd name="connsiteY112" fmla="*/ 114300 h 4476750"/>
              <a:gd name="connsiteX113" fmla="*/ 1859302 w 4519987"/>
              <a:gd name="connsiteY113" fmla="*/ 104775 h 4476750"/>
              <a:gd name="connsiteX114" fmla="*/ 1916452 w 4519987"/>
              <a:gd name="connsiteY114" fmla="*/ 95250 h 4476750"/>
              <a:gd name="connsiteX115" fmla="*/ 2030752 w 4519987"/>
              <a:gd name="connsiteY115" fmla="*/ 66675 h 4476750"/>
              <a:gd name="connsiteX116" fmla="*/ 2097427 w 4519987"/>
              <a:gd name="connsiteY116" fmla="*/ 47625 h 4476750"/>
              <a:gd name="connsiteX117" fmla="*/ 2164102 w 4519987"/>
              <a:gd name="connsiteY117" fmla="*/ 38100 h 4476750"/>
              <a:gd name="connsiteX118" fmla="*/ 2392702 w 4519987"/>
              <a:gd name="connsiteY118" fmla="*/ 28575 h 4476750"/>
              <a:gd name="connsiteX0" fmla="*/ 2297452 w 4519987"/>
              <a:gd name="connsiteY0" fmla="*/ 0 h 4478541"/>
              <a:gd name="connsiteX1" fmla="*/ 2421277 w 4519987"/>
              <a:gd name="connsiteY1" fmla="*/ 28575 h 4478541"/>
              <a:gd name="connsiteX2" fmla="*/ 2497477 w 4519987"/>
              <a:gd name="connsiteY2" fmla="*/ 47625 h 4478541"/>
              <a:gd name="connsiteX3" fmla="*/ 2754652 w 4519987"/>
              <a:gd name="connsiteY3" fmla="*/ 66675 h 4478541"/>
              <a:gd name="connsiteX4" fmla="*/ 2830852 w 4519987"/>
              <a:gd name="connsiteY4" fmla="*/ 76200 h 4478541"/>
              <a:gd name="connsiteX5" fmla="*/ 2916577 w 4519987"/>
              <a:gd name="connsiteY5" fmla="*/ 85725 h 4478541"/>
              <a:gd name="connsiteX6" fmla="*/ 2973727 w 4519987"/>
              <a:gd name="connsiteY6" fmla="*/ 114300 h 4478541"/>
              <a:gd name="connsiteX7" fmla="*/ 3011827 w 4519987"/>
              <a:gd name="connsiteY7" fmla="*/ 123825 h 4478541"/>
              <a:gd name="connsiteX8" fmla="*/ 3135652 w 4519987"/>
              <a:gd name="connsiteY8" fmla="*/ 171450 h 4478541"/>
              <a:gd name="connsiteX9" fmla="*/ 3173752 w 4519987"/>
              <a:gd name="connsiteY9" fmla="*/ 190500 h 4478541"/>
              <a:gd name="connsiteX10" fmla="*/ 3240427 w 4519987"/>
              <a:gd name="connsiteY10" fmla="*/ 228600 h 4478541"/>
              <a:gd name="connsiteX11" fmla="*/ 3269002 w 4519987"/>
              <a:gd name="connsiteY11" fmla="*/ 238125 h 4478541"/>
              <a:gd name="connsiteX12" fmla="*/ 3297577 w 4519987"/>
              <a:gd name="connsiteY12" fmla="*/ 257175 h 4478541"/>
              <a:gd name="connsiteX13" fmla="*/ 3326152 w 4519987"/>
              <a:gd name="connsiteY13" fmla="*/ 266700 h 4478541"/>
              <a:gd name="connsiteX14" fmla="*/ 3354727 w 4519987"/>
              <a:gd name="connsiteY14" fmla="*/ 285750 h 4478541"/>
              <a:gd name="connsiteX15" fmla="*/ 3421402 w 4519987"/>
              <a:gd name="connsiteY15" fmla="*/ 323850 h 4478541"/>
              <a:gd name="connsiteX16" fmla="*/ 3469027 w 4519987"/>
              <a:gd name="connsiteY16" fmla="*/ 361950 h 4478541"/>
              <a:gd name="connsiteX17" fmla="*/ 3516652 w 4519987"/>
              <a:gd name="connsiteY17" fmla="*/ 390525 h 4478541"/>
              <a:gd name="connsiteX18" fmla="*/ 3630952 w 4519987"/>
              <a:gd name="connsiteY18" fmla="*/ 485775 h 4478541"/>
              <a:gd name="connsiteX19" fmla="*/ 3745252 w 4519987"/>
              <a:gd name="connsiteY19" fmla="*/ 542925 h 4478541"/>
              <a:gd name="connsiteX20" fmla="*/ 3811927 w 4519987"/>
              <a:gd name="connsiteY20" fmla="*/ 581025 h 4478541"/>
              <a:gd name="connsiteX21" fmla="*/ 4027827 w 4519987"/>
              <a:gd name="connsiteY21" fmla="*/ 819150 h 4478541"/>
              <a:gd name="connsiteX22" fmla="*/ 4164352 w 4519987"/>
              <a:gd name="connsiteY22" fmla="*/ 990600 h 4478541"/>
              <a:gd name="connsiteX23" fmla="*/ 4250077 w 4519987"/>
              <a:gd name="connsiteY23" fmla="*/ 1143000 h 4478541"/>
              <a:gd name="connsiteX24" fmla="*/ 4307227 w 4519987"/>
              <a:gd name="connsiteY24" fmla="*/ 1266825 h 4478541"/>
              <a:gd name="connsiteX25" fmla="*/ 4345327 w 4519987"/>
              <a:gd name="connsiteY25" fmla="*/ 1362075 h 4478541"/>
              <a:gd name="connsiteX26" fmla="*/ 4392952 w 4519987"/>
              <a:gd name="connsiteY26" fmla="*/ 1552575 h 4478541"/>
              <a:gd name="connsiteX27" fmla="*/ 4431052 w 4519987"/>
              <a:gd name="connsiteY27" fmla="*/ 1685925 h 4478541"/>
              <a:gd name="connsiteX28" fmla="*/ 4519952 w 4519987"/>
              <a:gd name="connsiteY28" fmla="*/ 2181225 h 4478541"/>
              <a:gd name="connsiteX29" fmla="*/ 4446927 w 4519987"/>
              <a:gd name="connsiteY29" fmla="*/ 2768600 h 4478541"/>
              <a:gd name="connsiteX30" fmla="*/ 4383427 w 4519987"/>
              <a:gd name="connsiteY30" fmla="*/ 2990850 h 4478541"/>
              <a:gd name="connsiteX31" fmla="*/ 4278652 w 4519987"/>
              <a:gd name="connsiteY31" fmla="*/ 3248025 h 4478541"/>
              <a:gd name="connsiteX32" fmla="*/ 4183402 w 4519987"/>
              <a:gd name="connsiteY32" fmla="*/ 3400425 h 4478541"/>
              <a:gd name="connsiteX33" fmla="*/ 4059577 w 4519987"/>
              <a:gd name="connsiteY33" fmla="*/ 3533775 h 4478541"/>
              <a:gd name="connsiteX34" fmla="*/ 3954802 w 4519987"/>
              <a:gd name="connsiteY34" fmla="*/ 3648075 h 4478541"/>
              <a:gd name="connsiteX35" fmla="*/ 3659527 w 4519987"/>
              <a:gd name="connsiteY35" fmla="*/ 3971925 h 4478541"/>
              <a:gd name="connsiteX36" fmla="*/ 3516652 w 4519987"/>
              <a:gd name="connsiteY36" fmla="*/ 4083050 h 4478541"/>
              <a:gd name="connsiteX37" fmla="*/ 3221377 w 4519987"/>
              <a:gd name="connsiteY37" fmla="*/ 4222750 h 4478541"/>
              <a:gd name="connsiteX38" fmla="*/ 3068977 w 4519987"/>
              <a:gd name="connsiteY38" fmla="*/ 4286250 h 4478541"/>
              <a:gd name="connsiteX39" fmla="*/ 2935627 w 4519987"/>
              <a:gd name="connsiteY39" fmla="*/ 4333875 h 4478541"/>
              <a:gd name="connsiteX40" fmla="*/ 2811802 w 4519987"/>
              <a:gd name="connsiteY40" fmla="*/ 4371975 h 4478541"/>
              <a:gd name="connsiteX41" fmla="*/ 2745127 w 4519987"/>
              <a:gd name="connsiteY41" fmla="*/ 4410075 h 4478541"/>
              <a:gd name="connsiteX42" fmla="*/ 2306977 w 4519987"/>
              <a:gd name="connsiteY42" fmla="*/ 4476750 h 4478541"/>
              <a:gd name="connsiteX43" fmla="*/ 2202202 w 4519987"/>
              <a:gd name="connsiteY43" fmla="*/ 4457700 h 4478541"/>
              <a:gd name="connsiteX44" fmla="*/ 2126002 w 4519987"/>
              <a:gd name="connsiteY44" fmla="*/ 4429125 h 4478541"/>
              <a:gd name="connsiteX45" fmla="*/ 1935502 w 4519987"/>
              <a:gd name="connsiteY45" fmla="*/ 4400550 h 4478541"/>
              <a:gd name="connsiteX46" fmla="*/ 1821202 w 4519987"/>
              <a:gd name="connsiteY46" fmla="*/ 4371975 h 4478541"/>
              <a:gd name="connsiteX47" fmla="*/ 1754527 w 4519987"/>
              <a:gd name="connsiteY47" fmla="*/ 4352925 h 4478541"/>
              <a:gd name="connsiteX48" fmla="*/ 1687852 w 4519987"/>
              <a:gd name="connsiteY48" fmla="*/ 4343400 h 4478541"/>
              <a:gd name="connsiteX49" fmla="*/ 1573552 w 4519987"/>
              <a:gd name="connsiteY49" fmla="*/ 4305300 h 4478541"/>
              <a:gd name="connsiteX50" fmla="*/ 1402102 w 4519987"/>
              <a:gd name="connsiteY50" fmla="*/ 4276725 h 4478541"/>
              <a:gd name="connsiteX51" fmla="*/ 1287802 w 4519987"/>
              <a:gd name="connsiteY51" fmla="*/ 4229100 h 4478541"/>
              <a:gd name="connsiteX52" fmla="*/ 1221127 w 4519987"/>
              <a:gd name="connsiteY52" fmla="*/ 4200525 h 4478541"/>
              <a:gd name="connsiteX53" fmla="*/ 1144927 w 4519987"/>
              <a:gd name="connsiteY53" fmla="*/ 4171950 h 4478541"/>
              <a:gd name="connsiteX54" fmla="*/ 1087777 w 4519987"/>
              <a:gd name="connsiteY54" fmla="*/ 4143375 h 4478541"/>
              <a:gd name="connsiteX55" fmla="*/ 1030627 w 4519987"/>
              <a:gd name="connsiteY55" fmla="*/ 4124325 h 4478541"/>
              <a:gd name="connsiteX56" fmla="*/ 925852 w 4519987"/>
              <a:gd name="connsiteY56" fmla="*/ 4067175 h 4478541"/>
              <a:gd name="connsiteX57" fmla="*/ 830602 w 4519987"/>
              <a:gd name="connsiteY57" fmla="*/ 3981450 h 4478541"/>
              <a:gd name="connsiteX58" fmla="*/ 763927 w 4519987"/>
              <a:gd name="connsiteY58" fmla="*/ 3914775 h 4478541"/>
              <a:gd name="connsiteX59" fmla="*/ 725827 w 4519987"/>
              <a:gd name="connsiteY59" fmla="*/ 3876675 h 4478541"/>
              <a:gd name="connsiteX60" fmla="*/ 697252 w 4519987"/>
              <a:gd name="connsiteY60" fmla="*/ 3838575 h 4478541"/>
              <a:gd name="connsiteX61" fmla="*/ 640102 w 4519987"/>
              <a:gd name="connsiteY61" fmla="*/ 3781425 h 4478541"/>
              <a:gd name="connsiteX62" fmla="*/ 611527 w 4519987"/>
              <a:gd name="connsiteY62" fmla="*/ 3733800 h 4478541"/>
              <a:gd name="connsiteX63" fmla="*/ 554377 w 4519987"/>
              <a:gd name="connsiteY63" fmla="*/ 3657600 h 4478541"/>
              <a:gd name="connsiteX64" fmla="*/ 525802 w 4519987"/>
              <a:gd name="connsiteY64" fmla="*/ 3609975 h 4478541"/>
              <a:gd name="connsiteX65" fmla="*/ 497227 w 4519987"/>
              <a:gd name="connsiteY65" fmla="*/ 3552825 h 4478541"/>
              <a:gd name="connsiteX66" fmla="*/ 440077 w 4519987"/>
              <a:gd name="connsiteY66" fmla="*/ 3495675 h 4478541"/>
              <a:gd name="connsiteX67" fmla="*/ 411502 w 4519987"/>
              <a:gd name="connsiteY67" fmla="*/ 3448050 h 4478541"/>
              <a:gd name="connsiteX68" fmla="*/ 278152 w 4519987"/>
              <a:gd name="connsiteY68" fmla="*/ 3257550 h 4478541"/>
              <a:gd name="connsiteX69" fmla="*/ 249577 w 4519987"/>
              <a:gd name="connsiteY69" fmla="*/ 3200400 h 4478541"/>
              <a:gd name="connsiteX70" fmla="*/ 240052 w 4519987"/>
              <a:gd name="connsiteY70" fmla="*/ 3162300 h 4478541"/>
              <a:gd name="connsiteX71" fmla="*/ 221002 w 4519987"/>
              <a:gd name="connsiteY71" fmla="*/ 3105150 h 4478541"/>
              <a:gd name="connsiteX72" fmla="*/ 173377 w 4519987"/>
              <a:gd name="connsiteY72" fmla="*/ 3019425 h 4478541"/>
              <a:gd name="connsiteX73" fmla="*/ 144802 w 4519987"/>
              <a:gd name="connsiteY73" fmla="*/ 2924175 h 4478541"/>
              <a:gd name="connsiteX74" fmla="*/ 68602 w 4519987"/>
              <a:gd name="connsiteY74" fmla="*/ 2724150 h 4478541"/>
              <a:gd name="connsiteX75" fmla="*/ 49552 w 4519987"/>
              <a:gd name="connsiteY75" fmla="*/ 2638425 h 4478541"/>
              <a:gd name="connsiteX76" fmla="*/ 40027 w 4519987"/>
              <a:gd name="connsiteY76" fmla="*/ 2562225 h 4478541"/>
              <a:gd name="connsiteX77" fmla="*/ 30502 w 4519987"/>
              <a:gd name="connsiteY77" fmla="*/ 2514600 h 4478541"/>
              <a:gd name="connsiteX78" fmla="*/ 11452 w 4519987"/>
              <a:gd name="connsiteY78" fmla="*/ 2400300 h 4478541"/>
              <a:gd name="connsiteX79" fmla="*/ 20977 w 4519987"/>
              <a:gd name="connsiteY79" fmla="*/ 1905000 h 4478541"/>
              <a:gd name="connsiteX80" fmla="*/ 30502 w 4519987"/>
              <a:gd name="connsiteY80" fmla="*/ 1838325 h 4478541"/>
              <a:gd name="connsiteX81" fmla="*/ 49552 w 4519987"/>
              <a:gd name="connsiteY81" fmla="*/ 1781175 h 4478541"/>
              <a:gd name="connsiteX82" fmla="*/ 59077 w 4519987"/>
              <a:gd name="connsiteY82" fmla="*/ 1743075 h 4478541"/>
              <a:gd name="connsiteX83" fmla="*/ 78127 w 4519987"/>
              <a:gd name="connsiteY83" fmla="*/ 1685925 h 4478541"/>
              <a:gd name="connsiteX84" fmla="*/ 87652 w 4519987"/>
              <a:gd name="connsiteY84" fmla="*/ 1638300 h 4478541"/>
              <a:gd name="connsiteX85" fmla="*/ 106702 w 4519987"/>
              <a:gd name="connsiteY85" fmla="*/ 1590675 h 4478541"/>
              <a:gd name="connsiteX86" fmla="*/ 135277 w 4519987"/>
              <a:gd name="connsiteY86" fmla="*/ 1504950 h 4478541"/>
              <a:gd name="connsiteX87" fmla="*/ 154327 w 4519987"/>
              <a:gd name="connsiteY87" fmla="*/ 1419225 h 4478541"/>
              <a:gd name="connsiteX88" fmla="*/ 230527 w 4519987"/>
              <a:gd name="connsiteY88" fmla="*/ 1276350 h 4478541"/>
              <a:gd name="connsiteX89" fmla="*/ 240052 w 4519987"/>
              <a:gd name="connsiteY89" fmla="*/ 1247775 h 4478541"/>
              <a:gd name="connsiteX90" fmla="*/ 268627 w 4519987"/>
              <a:gd name="connsiteY90" fmla="*/ 1200150 h 4478541"/>
              <a:gd name="connsiteX91" fmla="*/ 287677 w 4519987"/>
              <a:gd name="connsiteY91" fmla="*/ 1152525 h 4478541"/>
              <a:gd name="connsiteX92" fmla="*/ 316252 w 4519987"/>
              <a:gd name="connsiteY92" fmla="*/ 1114425 h 4478541"/>
              <a:gd name="connsiteX93" fmla="*/ 363877 w 4519987"/>
              <a:gd name="connsiteY93" fmla="*/ 1038225 h 4478541"/>
              <a:gd name="connsiteX94" fmla="*/ 382927 w 4519987"/>
              <a:gd name="connsiteY94" fmla="*/ 1009650 h 4478541"/>
              <a:gd name="connsiteX95" fmla="*/ 440077 w 4519987"/>
              <a:gd name="connsiteY95" fmla="*/ 904875 h 4478541"/>
              <a:gd name="connsiteX96" fmla="*/ 478177 w 4519987"/>
              <a:gd name="connsiteY96" fmla="*/ 857250 h 4478541"/>
              <a:gd name="connsiteX97" fmla="*/ 497227 w 4519987"/>
              <a:gd name="connsiteY97" fmla="*/ 828675 h 4478541"/>
              <a:gd name="connsiteX98" fmla="*/ 535327 w 4519987"/>
              <a:gd name="connsiteY98" fmla="*/ 800100 h 4478541"/>
              <a:gd name="connsiteX99" fmla="*/ 602002 w 4519987"/>
              <a:gd name="connsiteY99" fmla="*/ 733425 h 4478541"/>
              <a:gd name="connsiteX100" fmla="*/ 668677 w 4519987"/>
              <a:gd name="connsiteY100" fmla="*/ 676275 h 4478541"/>
              <a:gd name="connsiteX101" fmla="*/ 697252 w 4519987"/>
              <a:gd name="connsiteY101" fmla="*/ 657225 h 4478541"/>
              <a:gd name="connsiteX102" fmla="*/ 840127 w 4519987"/>
              <a:gd name="connsiteY102" fmla="*/ 533400 h 4478541"/>
              <a:gd name="connsiteX103" fmla="*/ 887752 w 4519987"/>
              <a:gd name="connsiteY103" fmla="*/ 504825 h 4478541"/>
              <a:gd name="connsiteX104" fmla="*/ 1167152 w 4519987"/>
              <a:gd name="connsiteY104" fmla="*/ 311150 h 4478541"/>
              <a:gd name="connsiteX105" fmla="*/ 1268752 w 4519987"/>
              <a:gd name="connsiteY105" fmla="*/ 285750 h 4478541"/>
              <a:gd name="connsiteX106" fmla="*/ 1411627 w 4519987"/>
              <a:gd name="connsiteY106" fmla="*/ 190500 h 4478541"/>
              <a:gd name="connsiteX107" fmla="*/ 1449727 w 4519987"/>
              <a:gd name="connsiteY107" fmla="*/ 161925 h 4478541"/>
              <a:gd name="connsiteX108" fmla="*/ 1525927 w 4519987"/>
              <a:gd name="connsiteY108" fmla="*/ 152400 h 4478541"/>
              <a:gd name="connsiteX109" fmla="*/ 1583077 w 4519987"/>
              <a:gd name="connsiteY109" fmla="*/ 142875 h 4478541"/>
              <a:gd name="connsiteX110" fmla="*/ 1716427 w 4519987"/>
              <a:gd name="connsiteY110" fmla="*/ 123825 h 4478541"/>
              <a:gd name="connsiteX111" fmla="*/ 1811677 w 4519987"/>
              <a:gd name="connsiteY111" fmla="*/ 114300 h 4478541"/>
              <a:gd name="connsiteX112" fmla="*/ 1859302 w 4519987"/>
              <a:gd name="connsiteY112" fmla="*/ 104775 h 4478541"/>
              <a:gd name="connsiteX113" fmla="*/ 1916452 w 4519987"/>
              <a:gd name="connsiteY113" fmla="*/ 95250 h 4478541"/>
              <a:gd name="connsiteX114" fmla="*/ 2030752 w 4519987"/>
              <a:gd name="connsiteY114" fmla="*/ 66675 h 4478541"/>
              <a:gd name="connsiteX115" fmla="*/ 2097427 w 4519987"/>
              <a:gd name="connsiteY115" fmla="*/ 47625 h 4478541"/>
              <a:gd name="connsiteX116" fmla="*/ 2164102 w 4519987"/>
              <a:gd name="connsiteY116" fmla="*/ 38100 h 4478541"/>
              <a:gd name="connsiteX117" fmla="*/ 2392702 w 4519987"/>
              <a:gd name="connsiteY117" fmla="*/ 28575 h 4478541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580027 w 4519987"/>
              <a:gd name="connsiteY41" fmla="*/ 4391025 h 4476750"/>
              <a:gd name="connsiteX42" fmla="*/ 2306977 w 4519987"/>
              <a:gd name="connsiteY42" fmla="*/ 4476750 h 4476750"/>
              <a:gd name="connsiteX43" fmla="*/ 2202202 w 4519987"/>
              <a:gd name="connsiteY43" fmla="*/ 4457700 h 4476750"/>
              <a:gd name="connsiteX44" fmla="*/ 2126002 w 4519987"/>
              <a:gd name="connsiteY44" fmla="*/ 4429125 h 4476750"/>
              <a:gd name="connsiteX45" fmla="*/ 1935502 w 4519987"/>
              <a:gd name="connsiteY45" fmla="*/ 4400550 h 4476750"/>
              <a:gd name="connsiteX46" fmla="*/ 1821202 w 4519987"/>
              <a:gd name="connsiteY46" fmla="*/ 4371975 h 4476750"/>
              <a:gd name="connsiteX47" fmla="*/ 1754527 w 4519987"/>
              <a:gd name="connsiteY47" fmla="*/ 4352925 h 4476750"/>
              <a:gd name="connsiteX48" fmla="*/ 1687852 w 4519987"/>
              <a:gd name="connsiteY48" fmla="*/ 4343400 h 4476750"/>
              <a:gd name="connsiteX49" fmla="*/ 1573552 w 4519987"/>
              <a:gd name="connsiteY49" fmla="*/ 4305300 h 4476750"/>
              <a:gd name="connsiteX50" fmla="*/ 1402102 w 4519987"/>
              <a:gd name="connsiteY50" fmla="*/ 4276725 h 4476750"/>
              <a:gd name="connsiteX51" fmla="*/ 1287802 w 4519987"/>
              <a:gd name="connsiteY51" fmla="*/ 4229100 h 4476750"/>
              <a:gd name="connsiteX52" fmla="*/ 1221127 w 4519987"/>
              <a:gd name="connsiteY52" fmla="*/ 4200525 h 4476750"/>
              <a:gd name="connsiteX53" fmla="*/ 1144927 w 4519987"/>
              <a:gd name="connsiteY53" fmla="*/ 4171950 h 4476750"/>
              <a:gd name="connsiteX54" fmla="*/ 1087777 w 4519987"/>
              <a:gd name="connsiteY54" fmla="*/ 4143375 h 4476750"/>
              <a:gd name="connsiteX55" fmla="*/ 1030627 w 4519987"/>
              <a:gd name="connsiteY55" fmla="*/ 4124325 h 4476750"/>
              <a:gd name="connsiteX56" fmla="*/ 925852 w 4519987"/>
              <a:gd name="connsiteY56" fmla="*/ 4067175 h 4476750"/>
              <a:gd name="connsiteX57" fmla="*/ 830602 w 4519987"/>
              <a:gd name="connsiteY57" fmla="*/ 3981450 h 4476750"/>
              <a:gd name="connsiteX58" fmla="*/ 763927 w 4519987"/>
              <a:gd name="connsiteY58" fmla="*/ 3914775 h 4476750"/>
              <a:gd name="connsiteX59" fmla="*/ 725827 w 4519987"/>
              <a:gd name="connsiteY59" fmla="*/ 3876675 h 4476750"/>
              <a:gd name="connsiteX60" fmla="*/ 697252 w 4519987"/>
              <a:gd name="connsiteY60" fmla="*/ 3838575 h 4476750"/>
              <a:gd name="connsiteX61" fmla="*/ 640102 w 4519987"/>
              <a:gd name="connsiteY61" fmla="*/ 3781425 h 4476750"/>
              <a:gd name="connsiteX62" fmla="*/ 611527 w 4519987"/>
              <a:gd name="connsiteY62" fmla="*/ 3733800 h 4476750"/>
              <a:gd name="connsiteX63" fmla="*/ 554377 w 4519987"/>
              <a:gd name="connsiteY63" fmla="*/ 3657600 h 4476750"/>
              <a:gd name="connsiteX64" fmla="*/ 525802 w 4519987"/>
              <a:gd name="connsiteY64" fmla="*/ 3609975 h 4476750"/>
              <a:gd name="connsiteX65" fmla="*/ 497227 w 4519987"/>
              <a:gd name="connsiteY65" fmla="*/ 3552825 h 4476750"/>
              <a:gd name="connsiteX66" fmla="*/ 440077 w 4519987"/>
              <a:gd name="connsiteY66" fmla="*/ 3495675 h 4476750"/>
              <a:gd name="connsiteX67" fmla="*/ 411502 w 4519987"/>
              <a:gd name="connsiteY67" fmla="*/ 3448050 h 4476750"/>
              <a:gd name="connsiteX68" fmla="*/ 278152 w 4519987"/>
              <a:gd name="connsiteY68" fmla="*/ 3257550 h 4476750"/>
              <a:gd name="connsiteX69" fmla="*/ 249577 w 4519987"/>
              <a:gd name="connsiteY69" fmla="*/ 3200400 h 4476750"/>
              <a:gd name="connsiteX70" fmla="*/ 240052 w 4519987"/>
              <a:gd name="connsiteY70" fmla="*/ 3162300 h 4476750"/>
              <a:gd name="connsiteX71" fmla="*/ 221002 w 4519987"/>
              <a:gd name="connsiteY71" fmla="*/ 3105150 h 4476750"/>
              <a:gd name="connsiteX72" fmla="*/ 173377 w 4519987"/>
              <a:gd name="connsiteY72" fmla="*/ 3019425 h 4476750"/>
              <a:gd name="connsiteX73" fmla="*/ 144802 w 4519987"/>
              <a:gd name="connsiteY73" fmla="*/ 2924175 h 4476750"/>
              <a:gd name="connsiteX74" fmla="*/ 68602 w 4519987"/>
              <a:gd name="connsiteY74" fmla="*/ 2724150 h 4476750"/>
              <a:gd name="connsiteX75" fmla="*/ 49552 w 4519987"/>
              <a:gd name="connsiteY75" fmla="*/ 2638425 h 4476750"/>
              <a:gd name="connsiteX76" fmla="*/ 40027 w 4519987"/>
              <a:gd name="connsiteY76" fmla="*/ 2562225 h 4476750"/>
              <a:gd name="connsiteX77" fmla="*/ 30502 w 4519987"/>
              <a:gd name="connsiteY77" fmla="*/ 2514600 h 4476750"/>
              <a:gd name="connsiteX78" fmla="*/ 11452 w 4519987"/>
              <a:gd name="connsiteY78" fmla="*/ 2400300 h 4476750"/>
              <a:gd name="connsiteX79" fmla="*/ 20977 w 4519987"/>
              <a:gd name="connsiteY79" fmla="*/ 1905000 h 4476750"/>
              <a:gd name="connsiteX80" fmla="*/ 30502 w 4519987"/>
              <a:gd name="connsiteY80" fmla="*/ 1838325 h 4476750"/>
              <a:gd name="connsiteX81" fmla="*/ 49552 w 4519987"/>
              <a:gd name="connsiteY81" fmla="*/ 1781175 h 4476750"/>
              <a:gd name="connsiteX82" fmla="*/ 59077 w 4519987"/>
              <a:gd name="connsiteY82" fmla="*/ 1743075 h 4476750"/>
              <a:gd name="connsiteX83" fmla="*/ 78127 w 4519987"/>
              <a:gd name="connsiteY83" fmla="*/ 1685925 h 4476750"/>
              <a:gd name="connsiteX84" fmla="*/ 87652 w 4519987"/>
              <a:gd name="connsiteY84" fmla="*/ 1638300 h 4476750"/>
              <a:gd name="connsiteX85" fmla="*/ 106702 w 4519987"/>
              <a:gd name="connsiteY85" fmla="*/ 1590675 h 4476750"/>
              <a:gd name="connsiteX86" fmla="*/ 135277 w 4519987"/>
              <a:gd name="connsiteY86" fmla="*/ 1504950 h 4476750"/>
              <a:gd name="connsiteX87" fmla="*/ 154327 w 4519987"/>
              <a:gd name="connsiteY87" fmla="*/ 1419225 h 4476750"/>
              <a:gd name="connsiteX88" fmla="*/ 230527 w 4519987"/>
              <a:gd name="connsiteY88" fmla="*/ 1276350 h 4476750"/>
              <a:gd name="connsiteX89" fmla="*/ 240052 w 4519987"/>
              <a:gd name="connsiteY89" fmla="*/ 1247775 h 4476750"/>
              <a:gd name="connsiteX90" fmla="*/ 268627 w 4519987"/>
              <a:gd name="connsiteY90" fmla="*/ 1200150 h 4476750"/>
              <a:gd name="connsiteX91" fmla="*/ 287677 w 4519987"/>
              <a:gd name="connsiteY91" fmla="*/ 1152525 h 4476750"/>
              <a:gd name="connsiteX92" fmla="*/ 316252 w 4519987"/>
              <a:gd name="connsiteY92" fmla="*/ 1114425 h 4476750"/>
              <a:gd name="connsiteX93" fmla="*/ 363877 w 4519987"/>
              <a:gd name="connsiteY93" fmla="*/ 1038225 h 4476750"/>
              <a:gd name="connsiteX94" fmla="*/ 382927 w 4519987"/>
              <a:gd name="connsiteY94" fmla="*/ 1009650 h 4476750"/>
              <a:gd name="connsiteX95" fmla="*/ 440077 w 4519987"/>
              <a:gd name="connsiteY95" fmla="*/ 904875 h 4476750"/>
              <a:gd name="connsiteX96" fmla="*/ 478177 w 4519987"/>
              <a:gd name="connsiteY96" fmla="*/ 857250 h 4476750"/>
              <a:gd name="connsiteX97" fmla="*/ 497227 w 4519987"/>
              <a:gd name="connsiteY97" fmla="*/ 828675 h 4476750"/>
              <a:gd name="connsiteX98" fmla="*/ 535327 w 4519987"/>
              <a:gd name="connsiteY98" fmla="*/ 800100 h 4476750"/>
              <a:gd name="connsiteX99" fmla="*/ 602002 w 4519987"/>
              <a:gd name="connsiteY99" fmla="*/ 733425 h 4476750"/>
              <a:gd name="connsiteX100" fmla="*/ 668677 w 4519987"/>
              <a:gd name="connsiteY100" fmla="*/ 676275 h 4476750"/>
              <a:gd name="connsiteX101" fmla="*/ 697252 w 4519987"/>
              <a:gd name="connsiteY101" fmla="*/ 657225 h 4476750"/>
              <a:gd name="connsiteX102" fmla="*/ 840127 w 4519987"/>
              <a:gd name="connsiteY102" fmla="*/ 533400 h 4476750"/>
              <a:gd name="connsiteX103" fmla="*/ 887752 w 4519987"/>
              <a:gd name="connsiteY103" fmla="*/ 504825 h 4476750"/>
              <a:gd name="connsiteX104" fmla="*/ 1167152 w 4519987"/>
              <a:gd name="connsiteY104" fmla="*/ 311150 h 4476750"/>
              <a:gd name="connsiteX105" fmla="*/ 1268752 w 4519987"/>
              <a:gd name="connsiteY105" fmla="*/ 285750 h 4476750"/>
              <a:gd name="connsiteX106" fmla="*/ 1411627 w 4519987"/>
              <a:gd name="connsiteY106" fmla="*/ 190500 h 4476750"/>
              <a:gd name="connsiteX107" fmla="*/ 1449727 w 4519987"/>
              <a:gd name="connsiteY107" fmla="*/ 161925 h 4476750"/>
              <a:gd name="connsiteX108" fmla="*/ 1525927 w 4519987"/>
              <a:gd name="connsiteY108" fmla="*/ 152400 h 4476750"/>
              <a:gd name="connsiteX109" fmla="*/ 1583077 w 4519987"/>
              <a:gd name="connsiteY109" fmla="*/ 142875 h 4476750"/>
              <a:gd name="connsiteX110" fmla="*/ 1716427 w 4519987"/>
              <a:gd name="connsiteY110" fmla="*/ 123825 h 4476750"/>
              <a:gd name="connsiteX111" fmla="*/ 1811677 w 4519987"/>
              <a:gd name="connsiteY111" fmla="*/ 114300 h 4476750"/>
              <a:gd name="connsiteX112" fmla="*/ 1859302 w 4519987"/>
              <a:gd name="connsiteY112" fmla="*/ 104775 h 4476750"/>
              <a:gd name="connsiteX113" fmla="*/ 1916452 w 4519987"/>
              <a:gd name="connsiteY113" fmla="*/ 95250 h 4476750"/>
              <a:gd name="connsiteX114" fmla="*/ 2030752 w 4519987"/>
              <a:gd name="connsiteY114" fmla="*/ 66675 h 4476750"/>
              <a:gd name="connsiteX115" fmla="*/ 2097427 w 4519987"/>
              <a:gd name="connsiteY115" fmla="*/ 47625 h 4476750"/>
              <a:gd name="connsiteX116" fmla="*/ 2164102 w 4519987"/>
              <a:gd name="connsiteY116" fmla="*/ 38100 h 4476750"/>
              <a:gd name="connsiteX117" fmla="*/ 2392702 w 4519987"/>
              <a:gd name="connsiteY117" fmla="*/ 28575 h 4476750"/>
              <a:gd name="connsiteX0" fmla="*/ 2297452 w 4519987"/>
              <a:gd name="connsiteY0" fmla="*/ 0 h 4457700"/>
              <a:gd name="connsiteX1" fmla="*/ 2421277 w 4519987"/>
              <a:gd name="connsiteY1" fmla="*/ 28575 h 4457700"/>
              <a:gd name="connsiteX2" fmla="*/ 2497477 w 4519987"/>
              <a:gd name="connsiteY2" fmla="*/ 47625 h 4457700"/>
              <a:gd name="connsiteX3" fmla="*/ 2754652 w 4519987"/>
              <a:gd name="connsiteY3" fmla="*/ 66675 h 4457700"/>
              <a:gd name="connsiteX4" fmla="*/ 2830852 w 4519987"/>
              <a:gd name="connsiteY4" fmla="*/ 76200 h 4457700"/>
              <a:gd name="connsiteX5" fmla="*/ 2916577 w 4519987"/>
              <a:gd name="connsiteY5" fmla="*/ 85725 h 4457700"/>
              <a:gd name="connsiteX6" fmla="*/ 2973727 w 4519987"/>
              <a:gd name="connsiteY6" fmla="*/ 114300 h 4457700"/>
              <a:gd name="connsiteX7" fmla="*/ 3011827 w 4519987"/>
              <a:gd name="connsiteY7" fmla="*/ 123825 h 4457700"/>
              <a:gd name="connsiteX8" fmla="*/ 3135652 w 4519987"/>
              <a:gd name="connsiteY8" fmla="*/ 171450 h 4457700"/>
              <a:gd name="connsiteX9" fmla="*/ 3173752 w 4519987"/>
              <a:gd name="connsiteY9" fmla="*/ 190500 h 4457700"/>
              <a:gd name="connsiteX10" fmla="*/ 3240427 w 4519987"/>
              <a:gd name="connsiteY10" fmla="*/ 228600 h 4457700"/>
              <a:gd name="connsiteX11" fmla="*/ 3269002 w 4519987"/>
              <a:gd name="connsiteY11" fmla="*/ 238125 h 4457700"/>
              <a:gd name="connsiteX12" fmla="*/ 3297577 w 4519987"/>
              <a:gd name="connsiteY12" fmla="*/ 257175 h 4457700"/>
              <a:gd name="connsiteX13" fmla="*/ 3326152 w 4519987"/>
              <a:gd name="connsiteY13" fmla="*/ 266700 h 4457700"/>
              <a:gd name="connsiteX14" fmla="*/ 3354727 w 4519987"/>
              <a:gd name="connsiteY14" fmla="*/ 285750 h 4457700"/>
              <a:gd name="connsiteX15" fmla="*/ 3421402 w 4519987"/>
              <a:gd name="connsiteY15" fmla="*/ 323850 h 4457700"/>
              <a:gd name="connsiteX16" fmla="*/ 3469027 w 4519987"/>
              <a:gd name="connsiteY16" fmla="*/ 361950 h 4457700"/>
              <a:gd name="connsiteX17" fmla="*/ 3516652 w 4519987"/>
              <a:gd name="connsiteY17" fmla="*/ 390525 h 4457700"/>
              <a:gd name="connsiteX18" fmla="*/ 3630952 w 4519987"/>
              <a:gd name="connsiteY18" fmla="*/ 485775 h 4457700"/>
              <a:gd name="connsiteX19" fmla="*/ 3745252 w 4519987"/>
              <a:gd name="connsiteY19" fmla="*/ 542925 h 4457700"/>
              <a:gd name="connsiteX20" fmla="*/ 3811927 w 4519987"/>
              <a:gd name="connsiteY20" fmla="*/ 581025 h 4457700"/>
              <a:gd name="connsiteX21" fmla="*/ 4027827 w 4519987"/>
              <a:gd name="connsiteY21" fmla="*/ 819150 h 4457700"/>
              <a:gd name="connsiteX22" fmla="*/ 4164352 w 4519987"/>
              <a:gd name="connsiteY22" fmla="*/ 990600 h 4457700"/>
              <a:gd name="connsiteX23" fmla="*/ 4250077 w 4519987"/>
              <a:gd name="connsiteY23" fmla="*/ 1143000 h 4457700"/>
              <a:gd name="connsiteX24" fmla="*/ 4307227 w 4519987"/>
              <a:gd name="connsiteY24" fmla="*/ 1266825 h 4457700"/>
              <a:gd name="connsiteX25" fmla="*/ 4345327 w 4519987"/>
              <a:gd name="connsiteY25" fmla="*/ 1362075 h 4457700"/>
              <a:gd name="connsiteX26" fmla="*/ 4392952 w 4519987"/>
              <a:gd name="connsiteY26" fmla="*/ 1552575 h 4457700"/>
              <a:gd name="connsiteX27" fmla="*/ 4431052 w 4519987"/>
              <a:gd name="connsiteY27" fmla="*/ 1685925 h 4457700"/>
              <a:gd name="connsiteX28" fmla="*/ 4519952 w 4519987"/>
              <a:gd name="connsiteY28" fmla="*/ 2181225 h 4457700"/>
              <a:gd name="connsiteX29" fmla="*/ 4446927 w 4519987"/>
              <a:gd name="connsiteY29" fmla="*/ 2768600 h 4457700"/>
              <a:gd name="connsiteX30" fmla="*/ 4383427 w 4519987"/>
              <a:gd name="connsiteY30" fmla="*/ 2990850 h 4457700"/>
              <a:gd name="connsiteX31" fmla="*/ 4278652 w 4519987"/>
              <a:gd name="connsiteY31" fmla="*/ 3248025 h 4457700"/>
              <a:gd name="connsiteX32" fmla="*/ 4183402 w 4519987"/>
              <a:gd name="connsiteY32" fmla="*/ 3400425 h 4457700"/>
              <a:gd name="connsiteX33" fmla="*/ 4059577 w 4519987"/>
              <a:gd name="connsiteY33" fmla="*/ 3533775 h 4457700"/>
              <a:gd name="connsiteX34" fmla="*/ 3954802 w 4519987"/>
              <a:gd name="connsiteY34" fmla="*/ 3648075 h 4457700"/>
              <a:gd name="connsiteX35" fmla="*/ 3659527 w 4519987"/>
              <a:gd name="connsiteY35" fmla="*/ 3971925 h 4457700"/>
              <a:gd name="connsiteX36" fmla="*/ 3516652 w 4519987"/>
              <a:gd name="connsiteY36" fmla="*/ 4083050 h 4457700"/>
              <a:gd name="connsiteX37" fmla="*/ 3221377 w 4519987"/>
              <a:gd name="connsiteY37" fmla="*/ 4222750 h 4457700"/>
              <a:gd name="connsiteX38" fmla="*/ 3068977 w 4519987"/>
              <a:gd name="connsiteY38" fmla="*/ 4286250 h 4457700"/>
              <a:gd name="connsiteX39" fmla="*/ 2935627 w 4519987"/>
              <a:gd name="connsiteY39" fmla="*/ 4333875 h 4457700"/>
              <a:gd name="connsiteX40" fmla="*/ 2811802 w 4519987"/>
              <a:gd name="connsiteY40" fmla="*/ 4371975 h 4457700"/>
              <a:gd name="connsiteX41" fmla="*/ 2580027 w 4519987"/>
              <a:gd name="connsiteY41" fmla="*/ 4391025 h 4457700"/>
              <a:gd name="connsiteX42" fmla="*/ 2202202 w 4519987"/>
              <a:gd name="connsiteY42" fmla="*/ 4457700 h 4457700"/>
              <a:gd name="connsiteX43" fmla="*/ 2126002 w 4519987"/>
              <a:gd name="connsiteY43" fmla="*/ 4429125 h 4457700"/>
              <a:gd name="connsiteX44" fmla="*/ 1935502 w 4519987"/>
              <a:gd name="connsiteY44" fmla="*/ 4400550 h 4457700"/>
              <a:gd name="connsiteX45" fmla="*/ 1821202 w 4519987"/>
              <a:gd name="connsiteY45" fmla="*/ 4371975 h 4457700"/>
              <a:gd name="connsiteX46" fmla="*/ 1754527 w 4519987"/>
              <a:gd name="connsiteY46" fmla="*/ 4352925 h 4457700"/>
              <a:gd name="connsiteX47" fmla="*/ 1687852 w 4519987"/>
              <a:gd name="connsiteY47" fmla="*/ 4343400 h 4457700"/>
              <a:gd name="connsiteX48" fmla="*/ 1573552 w 4519987"/>
              <a:gd name="connsiteY48" fmla="*/ 4305300 h 4457700"/>
              <a:gd name="connsiteX49" fmla="*/ 1402102 w 4519987"/>
              <a:gd name="connsiteY49" fmla="*/ 4276725 h 4457700"/>
              <a:gd name="connsiteX50" fmla="*/ 1287802 w 4519987"/>
              <a:gd name="connsiteY50" fmla="*/ 4229100 h 4457700"/>
              <a:gd name="connsiteX51" fmla="*/ 1221127 w 4519987"/>
              <a:gd name="connsiteY51" fmla="*/ 4200525 h 4457700"/>
              <a:gd name="connsiteX52" fmla="*/ 1144927 w 4519987"/>
              <a:gd name="connsiteY52" fmla="*/ 4171950 h 4457700"/>
              <a:gd name="connsiteX53" fmla="*/ 1087777 w 4519987"/>
              <a:gd name="connsiteY53" fmla="*/ 4143375 h 4457700"/>
              <a:gd name="connsiteX54" fmla="*/ 1030627 w 4519987"/>
              <a:gd name="connsiteY54" fmla="*/ 4124325 h 4457700"/>
              <a:gd name="connsiteX55" fmla="*/ 925852 w 4519987"/>
              <a:gd name="connsiteY55" fmla="*/ 4067175 h 4457700"/>
              <a:gd name="connsiteX56" fmla="*/ 830602 w 4519987"/>
              <a:gd name="connsiteY56" fmla="*/ 3981450 h 4457700"/>
              <a:gd name="connsiteX57" fmla="*/ 763927 w 4519987"/>
              <a:gd name="connsiteY57" fmla="*/ 3914775 h 4457700"/>
              <a:gd name="connsiteX58" fmla="*/ 725827 w 4519987"/>
              <a:gd name="connsiteY58" fmla="*/ 3876675 h 4457700"/>
              <a:gd name="connsiteX59" fmla="*/ 697252 w 4519987"/>
              <a:gd name="connsiteY59" fmla="*/ 3838575 h 4457700"/>
              <a:gd name="connsiteX60" fmla="*/ 640102 w 4519987"/>
              <a:gd name="connsiteY60" fmla="*/ 3781425 h 4457700"/>
              <a:gd name="connsiteX61" fmla="*/ 611527 w 4519987"/>
              <a:gd name="connsiteY61" fmla="*/ 3733800 h 4457700"/>
              <a:gd name="connsiteX62" fmla="*/ 554377 w 4519987"/>
              <a:gd name="connsiteY62" fmla="*/ 3657600 h 4457700"/>
              <a:gd name="connsiteX63" fmla="*/ 525802 w 4519987"/>
              <a:gd name="connsiteY63" fmla="*/ 3609975 h 4457700"/>
              <a:gd name="connsiteX64" fmla="*/ 497227 w 4519987"/>
              <a:gd name="connsiteY64" fmla="*/ 3552825 h 4457700"/>
              <a:gd name="connsiteX65" fmla="*/ 440077 w 4519987"/>
              <a:gd name="connsiteY65" fmla="*/ 3495675 h 4457700"/>
              <a:gd name="connsiteX66" fmla="*/ 411502 w 4519987"/>
              <a:gd name="connsiteY66" fmla="*/ 3448050 h 4457700"/>
              <a:gd name="connsiteX67" fmla="*/ 278152 w 4519987"/>
              <a:gd name="connsiteY67" fmla="*/ 3257550 h 4457700"/>
              <a:gd name="connsiteX68" fmla="*/ 249577 w 4519987"/>
              <a:gd name="connsiteY68" fmla="*/ 3200400 h 4457700"/>
              <a:gd name="connsiteX69" fmla="*/ 240052 w 4519987"/>
              <a:gd name="connsiteY69" fmla="*/ 3162300 h 4457700"/>
              <a:gd name="connsiteX70" fmla="*/ 221002 w 4519987"/>
              <a:gd name="connsiteY70" fmla="*/ 3105150 h 4457700"/>
              <a:gd name="connsiteX71" fmla="*/ 173377 w 4519987"/>
              <a:gd name="connsiteY71" fmla="*/ 3019425 h 4457700"/>
              <a:gd name="connsiteX72" fmla="*/ 144802 w 4519987"/>
              <a:gd name="connsiteY72" fmla="*/ 2924175 h 4457700"/>
              <a:gd name="connsiteX73" fmla="*/ 68602 w 4519987"/>
              <a:gd name="connsiteY73" fmla="*/ 2724150 h 4457700"/>
              <a:gd name="connsiteX74" fmla="*/ 49552 w 4519987"/>
              <a:gd name="connsiteY74" fmla="*/ 2638425 h 4457700"/>
              <a:gd name="connsiteX75" fmla="*/ 40027 w 4519987"/>
              <a:gd name="connsiteY75" fmla="*/ 2562225 h 4457700"/>
              <a:gd name="connsiteX76" fmla="*/ 30502 w 4519987"/>
              <a:gd name="connsiteY76" fmla="*/ 2514600 h 4457700"/>
              <a:gd name="connsiteX77" fmla="*/ 11452 w 4519987"/>
              <a:gd name="connsiteY77" fmla="*/ 2400300 h 4457700"/>
              <a:gd name="connsiteX78" fmla="*/ 20977 w 4519987"/>
              <a:gd name="connsiteY78" fmla="*/ 1905000 h 4457700"/>
              <a:gd name="connsiteX79" fmla="*/ 30502 w 4519987"/>
              <a:gd name="connsiteY79" fmla="*/ 1838325 h 4457700"/>
              <a:gd name="connsiteX80" fmla="*/ 49552 w 4519987"/>
              <a:gd name="connsiteY80" fmla="*/ 1781175 h 4457700"/>
              <a:gd name="connsiteX81" fmla="*/ 59077 w 4519987"/>
              <a:gd name="connsiteY81" fmla="*/ 1743075 h 4457700"/>
              <a:gd name="connsiteX82" fmla="*/ 78127 w 4519987"/>
              <a:gd name="connsiteY82" fmla="*/ 1685925 h 4457700"/>
              <a:gd name="connsiteX83" fmla="*/ 87652 w 4519987"/>
              <a:gd name="connsiteY83" fmla="*/ 1638300 h 4457700"/>
              <a:gd name="connsiteX84" fmla="*/ 106702 w 4519987"/>
              <a:gd name="connsiteY84" fmla="*/ 1590675 h 4457700"/>
              <a:gd name="connsiteX85" fmla="*/ 135277 w 4519987"/>
              <a:gd name="connsiteY85" fmla="*/ 1504950 h 4457700"/>
              <a:gd name="connsiteX86" fmla="*/ 154327 w 4519987"/>
              <a:gd name="connsiteY86" fmla="*/ 1419225 h 4457700"/>
              <a:gd name="connsiteX87" fmla="*/ 230527 w 4519987"/>
              <a:gd name="connsiteY87" fmla="*/ 1276350 h 4457700"/>
              <a:gd name="connsiteX88" fmla="*/ 240052 w 4519987"/>
              <a:gd name="connsiteY88" fmla="*/ 1247775 h 4457700"/>
              <a:gd name="connsiteX89" fmla="*/ 268627 w 4519987"/>
              <a:gd name="connsiteY89" fmla="*/ 1200150 h 4457700"/>
              <a:gd name="connsiteX90" fmla="*/ 287677 w 4519987"/>
              <a:gd name="connsiteY90" fmla="*/ 1152525 h 4457700"/>
              <a:gd name="connsiteX91" fmla="*/ 316252 w 4519987"/>
              <a:gd name="connsiteY91" fmla="*/ 1114425 h 4457700"/>
              <a:gd name="connsiteX92" fmla="*/ 363877 w 4519987"/>
              <a:gd name="connsiteY92" fmla="*/ 1038225 h 4457700"/>
              <a:gd name="connsiteX93" fmla="*/ 382927 w 4519987"/>
              <a:gd name="connsiteY93" fmla="*/ 1009650 h 4457700"/>
              <a:gd name="connsiteX94" fmla="*/ 440077 w 4519987"/>
              <a:gd name="connsiteY94" fmla="*/ 904875 h 4457700"/>
              <a:gd name="connsiteX95" fmla="*/ 478177 w 4519987"/>
              <a:gd name="connsiteY95" fmla="*/ 857250 h 4457700"/>
              <a:gd name="connsiteX96" fmla="*/ 497227 w 4519987"/>
              <a:gd name="connsiteY96" fmla="*/ 828675 h 4457700"/>
              <a:gd name="connsiteX97" fmla="*/ 535327 w 4519987"/>
              <a:gd name="connsiteY97" fmla="*/ 800100 h 4457700"/>
              <a:gd name="connsiteX98" fmla="*/ 602002 w 4519987"/>
              <a:gd name="connsiteY98" fmla="*/ 733425 h 4457700"/>
              <a:gd name="connsiteX99" fmla="*/ 668677 w 4519987"/>
              <a:gd name="connsiteY99" fmla="*/ 676275 h 4457700"/>
              <a:gd name="connsiteX100" fmla="*/ 697252 w 4519987"/>
              <a:gd name="connsiteY100" fmla="*/ 657225 h 4457700"/>
              <a:gd name="connsiteX101" fmla="*/ 840127 w 4519987"/>
              <a:gd name="connsiteY101" fmla="*/ 533400 h 4457700"/>
              <a:gd name="connsiteX102" fmla="*/ 887752 w 4519987"/>
              <a:gd name="connsiteY102" fmla="*/ 504825 h 4457700"/>
              <a:gd name="connsiteX103" fmla="*/ 1167152 w 4519987"/>
              <a:gd name="connsiteY103" fmla="*/ 311150 h 4457700"/>
              <a:gd name="connsiteX104" fmla="*/ 1268752 w 4519987"/>
              <a:gd name="connsiteY104" fmla="*/ 285750 h 4457700"/>
              <a:gd name="connsiteX105" fmla="*/ 1411627 w 4519987"/>
              <a:gd name="connsiteY105" fmla="*/ 190500 h 4457700"/>
              <a:gd name="connsiteX106" fmla="*/ 1449727 w 4519987"/>
              <a:gd name="connsiteY106" fmla="*/ 161925 h 4457700"/>
              <a:gd name="connsiteX107" fmla="*/ 1525927 w 4519987"/>
              <a:gd name="connsiteY107" fmla="*/ 152400 h 4457700"/>
              <a:gd name="connsiteX108" fmla="*/ 1583077 w 4519987"/>
              <a:gd name="connsiteY108" fmla="*/ 142875 h 4457700"/>
              <a:gd name="connsiteX109" fmla="*/ 1716427 w 4519987"/>
              <a:gd name="connsiteY109" fmla="*/ 123825 h 4457700"/>
              <a:gd name="connsiteX110" fmla="*/ 1811677 w 4519987"/>
              <a:gd name="connsiteY110" fmla="*/ 114300 h 4457700"/>
              <a:gd name="connsiteX111" fmla="*/ 1859302 w 4519987"/>
              <a:gd name="connsiteY111" fmla="*/ 104775 h 4457700"/>
              <a:gd name="connsiteX112" fmla="*/ 1916452 w 4519987"/>
              <a:gd name="connsiteY112" fmla="*/ 95250 h 4457700"/>
              <a:gd name="connsiteX113" fmla="*/ 2030752 w 4519987"/>
              <a:gd name="connsiteY113" fmla="*/ 66675 h 4457700"/>
              <a:gd name="connsiteX114" fmla="*/ 2097427 w 4519987"/>
              <a:gd name="connsiteY114" fmla="*/ 47625 h 4457700"/>
              <a:gd name="connsiteX115" fmla="*/ 2164102 w 4519987"/>
              <a:gd name="connsiteY115" fmla="*/ 38100 h 4457700"/>
              <a:gd name="connsiteX116" fmla="*/ 2392702 w 4519987"/>
              <a:gd name="connsiteY116" fmla="*/ 28575 h 4457700"/>
              <a:gd name="connsiteX0" fmla="*/ 2297452 w 4519987"/>
              <a:gd name="connsiteY0" fmla="*/ 0 h 4429260"/>
              <a:gd name="connsiteX1" fmla="*/ 2421277 w 4519987"/>
              <a:gd name="connsiteY1" fmla="*/ 28575 h 4429260"/>
              <a:gd name="connsiteX2" fmla="*/ 2497477 w 4519987"/>
              <a:gd name="connsiteY2" fmla="*/ 47625 h 4429260"/>
              <a:gd name="connsiteX3" fmla="*/ 2754652 w 4519987"/>
              <a:gd name="connsiteY3" fmla="*/ 66675 h 4429260"/>
              <a:gd name="connsiteX4" fmla="*/ 2830852 w 4519987"/>
              <a:gd name="connsiteY4" fmla="*/ 76200 h 4429260"/>
              <a:gd name="connsiteX5" fmla="*/ 2916577 w 4519987"/>
              <a:gd name="connsiteY5" fmla="*/ 85725 h 4429260"/>
              <a:gd name="connsiteX6" fmla="*/ 2973727 w 4519987"/>
              <a:gd name="connsiteY6" fmla="*/ 114300 h 4429260"/>
              <a:gd name="connsiteX7" fmla="*/ 3011827 w 4519987"/>
              <a:gd name="connsiteY7" fmla="*/ 123825 h 4429260"/>
              <a:gd name="connsiteX8" fmla="*/ 3135652 w 4519987"/>
              <a:gd name="connsiteY8" fmla="*/ 171450 h 4429260"/>
              <a:gd name="connsiteX9" fmla="*/ 3173752 w 4519987"/>
              <a:gd name="connsiteY9" fmla="*/ 190500 h 4429260"/>
              <a:gd name="connsiteX10" fmla="*/ 3240427 w 4519987"/>
              <a:gd name="connsiteY10" fmla="*/ 228600 h 4429260"/>
              <a:gd name="connsiteX11" fmla="*/ 3269002 w 4519987"/>
              <a:gd name="connsiteY11" fmla="*/ 238125 h 4429260"/>
              <a:gd name="connsiteX12" fmla="*/ 3297577 w 4519987"/>
              <a:gd name="connsiteY12" fmla="*/ 257175 h 4429260"/>
              <a:gd name="connsiteX13" fmla="*/ 3326152 w 4519987"/>
              <a:gd name="connsiteY13" fmla="*/ 266700 h 4429260"/>
              <a:gd name="connsiteX14" fmla="*/ 3354727 w 4519987"/>
              <a:gd name="connsiteY14" fmla="*/ 285750 h 4429260"/>
              <a:gd name="connsiteX15" fmla="*/ 3421402 w 4519987"/>
              <a:gd name="connsiteY15" fmla="*/ 323850 h 4429260"/>
              <a:gd name="connsiteX16" fmla="*/ 3469027 w 4519987"/>
              <a:gd name="connsiteY16" fmla="*/ 361950 h 4429260"/>
              <a:gd name="connsiteX17" fmla="*/ 3516652 w 4519987"/>
              <a:gd name="connsiteY17" fmla="*/ 390525 h 4429260"/>
              <a:gd name="connsiteX18" fmla="*/ 3630952 w 4519987"/>
              <a:gd name="connsiteY18" fmla="*/ 485775 h 4429260"/>
              <a:gd name="connsiteX19" fmla="*/ 3745252 w 4519987"/>
              <a:gd name="connsiteY19" fmla="*/ 542925 h 4429260"/>
              <a:gd name="connsiteX20" fmla="*/ 3811927 w 4519987"/>
              <a:gd name="connsiteY20" fmla="*/ 581025 h 4429260"/>
              <a:gd name="connsiteX21" fmla="*/ 4027827 w 4519987"/>
              <a:gd name="connsiteY21" fmla="*/ 819150 h 4429260"/>
              <a:gd name="connsiteX22" fmla="*/ 4164352 w 4519987"/>
              <a:gd name="connsiteY22" fmla="*/ 990600 h 4429260"/>
              <a:gd name="connsiteX23" fmla="*/ 4250077 w 4519987"/>
              <a:gd name="connsiteY23" fmla="*/ 1143000 h 4429260"/>
              <a:gd name="connsiteX24" fmla="*/ 4307227 w 4519987"/>
              <a:gd name="connsiteY24" fmla="*/ 1266825 h 4429260"/>
              <a:gd name="connsiteX25" fmla="*/ 4345327 w 4519987"/>
              <a:gd name="connsiteY25" fmla="*/ 1362075 h 4429260"/>
              <a:gd name="connsiteX26" fmla="*/ 4392952 w 4519987"/>
              <a:gd name="connsiteY26" fmla="*/ 1552575 h 4429260"/>
              <a:gd name="connsiteX27" fmla="*/ 4431052 w 4519987"/>
              <a:gd name="connsiteY27" fmla="*/ 1685925 h 4429260"/>
              <a:gd name="connsiteX28" fmla="*/ 4519952 w 4519987"/>
              <a:gd name="connsiteY28" fmla="*/ 2181225 h 4429260"/>
              <a:gd name="connsiteX29" fmla="*/ 4446927 w 4519987"/>
              <a:gd name="connsiteY29" fmla="*/ 2768600 h 4429260"/>
              <a:gd name="connsiteX30" fmla="*/ 4383427 w 4519987"/>
              <a:gd name="connsiteY30" fmla="*/ 2990850 h 4429260"/>
              <a:gd name="connsiteX31" fmla="*/ 4278652 w 4519987"/>
              <a:gd name="connsiteY31" fmla="*/ 3248025 h 4429260"/>
              <a:gd name="connsiteX32" fmla="*/ 4183402 w 4519987"/>
              <a:gd name="connsiteY32" fmla="*/ 3400425 h 4429260"/>
              <a:gd name="connsiteX33" fmla="*/ 4059577 w 4519987"/>
              <a:gd name="connsiteY33" fmla="*/ 3533775 h 4429260"/>
              <a:gd name="connsiteX34" fmla="*/ 3954802 w 4519987"/>
              <a:gd name="connsiteY34" fmla="*/ 3648075 h 4429260"/>
              <a:gd name="connsiteX35" fmla="*/ 3659527 w 4519987"/>
              <a:gd name="connsiteY35" fmla="*/ 3971925 h 4429260"/>
              <a:gd name="connsiteX36" fmla="*/ 3516652 w 4519987"/>
              <a:gd name="connsiteY36" fmla="*/ 4083050 h 4429260"/>
              <a:gd name="connsiteX37" fmla="*/ 3221377 w 4519987"/>
              <a:gd name="connsiteY37" fmla="*/ 4222750 h 4429260"/>
              <a:gd name="connsiteX38" fmla="*/ 3068977 w 4519987"/>
              <a:gd name="connsiteY38" fmla="*/ 4286250 h 4429260"/>
              <a:gd name="connsiteX39" fmla="*/ 2935627 w 4519987"/>
              <a:gd name="connsiteY39" fmla="*/ 4333875 h 4429260"/>
              <a:gd name="connsiteX40" fmla="*/ 2811802 w 4519987"/>
              <a:gd name="connsiteY40" fmla="*/ 4371975 h 4429260"/>
              <a:gd name="connsiteX41" fmla="*/ 2580027 w 4519987"/>
              <a:gd name="connsiteY41" fmla="*/ 4391025 h 4429260"/>
              <a:gd name="connsiteX42" fmla="*/ 2126002 w 4519987"/>
              <a:gd name="connsiteY42" fmla="*/ 4429125 h 4429260"/>
              <a:gd name="connsiteX43" fmla="*/ 1935502 w 4519987"/>
              <a:gd name="connsiteY43" fmla="*/ 4400550 h 4429260"/>
              <a:gd name="connsiteX44" fmla="*/ 1821202 w 4519987"/>
              <a:gd name="connsiteY44" fmla="*/ 4371975 h 4429260"/>
              <a:gd name="connsiteX45" fmla="*/ 1754527 w 4519987"/>
              <a:gd name="connsiteY45" fmla="*/ 4352925 h 4429260"/>
              <a:gd name="connsiteX46" fmla="*/ 1687852 w 4519987"/>
              <a:gd name="connsiteY46" fmla="*/ 4343400 h 4429260"/>
              <a:gd name="connsiteX47" fmla="*/ 1573552 w 4519987"/>
              <a:gd name="connsiteY47" fmla="*/ 4305300 h 4429260"/>
              <a:gd name="connsiteX48" fmla="*/ 1402102 w 4519987"/>
              <a:gd name="connsiteY48" fmla="*/ 4276725 h 4429260"/>
              <a:gd name="connsiteX49" fmla="*/ 1287802 w 4519987"/>
              <a:gd name="connsiteY49" fmla="*/ 4229100 h 4429260"/>
              <a:gd name="connsiteX50" fmla="*/ 1221127 w 4519987"/>
              <a:gd name="connsiteY50" fmla="*/ 4200525 h 4429260"/>
              <a:gd name="connsiteX51" fmla="*/ 1144927 w 4519987"/>
              <a:gd name="connsiteY51" fmla="*/ 4171950 h 4429260"/>
              <a:gd name="connsiteX52" fmla="*/ 1087777 w 4519987"/>
              <a:gd name="connsiteY52" fmla="*/ 4143375 h 4429260"/>
              <a:gd name="connsiteX53" fmla="*/ 1030627 w 4519987"/>
              <a:gd name="connsiteY53" fmla="*/ 4124325 h 4429260"/>
              <a:gd name="connsiteX54" fmla="*/ 925852 w 4519987"/>
              <a:gd name="connsiteY54" fmla="*/ 4067175 h 4429260"/>
              <a:gd name="connsiteX55" fmla="*/ 830602 w 4519987"/>
              <a:gd name="connsiteY55" fmla="*/ 3981450 h 4429260"/>
              <a:gd name="connsiteX56" fmla="*/ 763927 w 4519987"/>
              <a:gd name="connsiteY56" fmla="*/ 3914775 h 4429260"/>
              <a:gd name="connsiteX57" fmla="*/ 725827 w 4519987"/>
              <a:gd name="connsiteY57" fmla="*/ 3876675 h 4429260"/>
              <a:gd name="connsiteX58" fmla="*/ 697252 w 4519987"/>
              <a:gd name="connsiteY58" fmla="*/ 3838575 h 4429260"/>
              <a:gd name="connsiteX59" fmla="*/ 640102 w 4519987"/>
              <a:gd name="connsiteY59" fmla="*/ 3781425 h 4429260"/>
              <a:gd name="connsiteX60" fmla="*/ 611527 w 4519987"/>
              <a:gd name="connsiteY60" fmla="*/ 3733800 h 4429260"/>
              <a:gd name="connsiteX61" fmla="*/ 554377 w 4519987"/>
              <a:gd name="connsiteY61" fmla="*/ 3657600 h 4429260"/>
              <a:gd name="connsiteX62" fmla="*/ 525802 w 4519987"/>
              <a:gd name="connsiteY62" fmla="*/ 3609975 h 4429260"/>
              <a:gd name="connsiteX63" fmla="*/ 497227 w 4519987"/>
              <a:gd name="connsiteY63" fmla="*/ 3552825 h 4429260"/>
              <a:gd name="connsiteX64" fmla="*/ 440077 w 4519987"/>
              <a:gd name="connsiteY64" fmla="*/ 3495675 h 4429260"/>
              <a:gd name="connsiteX65" fmla="*/ 411502 w 4519987"/>
              <a:gd name="connsiteY65" fmla="*/ 3448050 h 4429260"/>
              <a:gd name="connsiteX66" fmla="*/ 278152 w 4519987"/>
              <a:gd name="connsiteY66" fmla="*/ 3257550 h 4429260"/>
              <a:gd name="connsiteX67" fmla="*/ 249577 w 4519987"/>
              <a:gd name="connsiteY67" fmla="*/ 3200400 h 4429260"/>
              <a:gd name="connsiteX68" fmla="*/ 240052 w 4519987"/>
              <a:gd name="connsiteY68" fmla="*/ 3162300 h 4429260"/>
              <a:gd name="connsiteX69" fmla="*/ 221002 w 4519987"/>
              <a:gd name="connsiteY69" fmla="*/ 3105150 h 4429260"/>
              <a:gd name="connsiteX70" fmla="*/ 173377 w 4519987"/>
              <a:gd name="connsiteY70" fmla="*/ 3019425 h 4429260"/>
              <a:gd name="connsiteX71" fmla="*/ 144802 w 4519987"/>
              <a:gd name="connsiteY71" fmla="*/ 2924175 h 4429260"/>
              <a:gd name="connsiteX72" fmla="*/ 68602 w 4519987"/>
              <a:gd name="connsiteY72" fmla="*/ 2724150 h 4429260"/>
              <a:gd name="connsiteX73" fmla="*/ 49552 w 4519987"/>
              <a:gd name="connsiteY73" fmla="*/ 2638425 h 4429260"/>
              <a:gd name="connsiteX74" fmla="*/ 40027 w 4519987"/>
              <a:gd name="connsiteY74" fmla="*/ 2562225 h 4429260"/>
              <a:gd name="connsiteX75" fmla="*/ 30502 w 4519987"/>
              <a:gd name="connsiteY75" fmla="*/ 2514600 h 4429260"/>
              <a:gd name="connsiteX76" fmla="*/ 11452 w 4519987"/>
              <a:gd name="connsiteY76" fmla="*/ 2400300 h 4429260"/>
              <a:gd name="connsiteX77" fmla="*/ 20977 w 4519987"/>
              <a:gd name="connsiteY77" fmla="*/ 1905000 h 4429260"/>
              <a:gd name="connsiteX78" fmla="*/ 30502 w 4519987"/>
              <a:gd name="connsiteY78" fmla="*/ 1838325 h 4429260"/>
              <a:gd name="connsiteX79" fmla="*/ 49552 w 4519987"/>
              <a:gd name="connsiteY79" fmla="*/ 1781175 h 4429260"/>
              <a:gd name="connsiteX80" fmla="*/ 59077 w 4519987"/>
              <a:gd name="connsiteY80" fmla="*/ 1743075 h 4429260"/>
              <a:gd name="connsiteX81" fmla="*/ 78127 w 4519987"/>
              <a:gd name="connsiteY81" fmla="*/ 1685925 h 4429260"/>
              <a:gd name="connsiteX82" fmla="*/ 87652 w 4519987"/>
              <a:gd name="connsiteY82" fmla="*/ 1638300 h 4429260"/>
              <a:gd name="connsiteX83" fmla="*/ 106702 w 4519987"/>
              <a:gd name="connsiteY83" fmla="*/ 1590675 h 4429260"/>
              <a:gd name="connsiteX84" fmla="*/ 135277 w 4519987"/>
              <a:gd name="connsiteY84" fmla="*/ 1504950 h 4429260"/>
              <a:gd name="connsiteX85" fmla="*/ 154327 w 4519987"/>
              <a:gd name="connsiteY85" fmla="*/ 1419225 h 4429260"/>
              <a:gd name="connsiteX86" fmla="*/ 230527 w 4519987"/>
              <a:gd name="connsiteY86" fmla="*/ 1276350 h 4429260"/>
              <a:gd name="connsiteX87" fmla="*/ 240052 w 4519987"/>
              <a:gd name="connsiteY87" fmla="*/ 1247775 h 4429260"/>
              <a:gd name="connsiteX88" fmla="*/ 268627 w 4519987"/>
              <a:gd name="connsiteY88" fmla="*/ 1200150 h 4429260"/>
              <a:gd name="connsiteX89" fmla="*/ 287677 w 4519987"/>
              <a:gd name="connsiteY89" fmla="*/ 1152525 h 4429260"/>
              <a:gd name="connsiteX90" fmla="*/ 316252 w 4519987"/>
              <a:gd name="connsiteY90" fmla="*/ 1114425 h 4429260"/>
              <a:gd name="connsiteX91" fmla="*/ 363877 w 4519987"/>
              <a:gd name="connsiteY91" fmla="*/ 1038225 h 4429260"/>
              <a:gd name="connsiteX92" fmla="*/ 382927 w 4519987"/>
              <a:gd name="connsiteY92" fmla="*/ 1009650 h 4429260"/>
              <a:gd name="connsiteX93" fmla="*/ 440077 w 4519987"/>
              <a:gd name="connsiteY93" fmla="*/ 904875 h 4429260"/>
              <a:gd name="connsiteX94" fmla="*/ 478177 w 4519987"/>
              <a:gd name="connsiteY94" fmla="*/ 857250 h 4429260"/>
              <a:gd name="connsiteX95" fmla="*/ 497227 w 4519987"/>
              <a:gd name="connsiteY95" fmla="*/ 828675 h 4429260"/>
              <a:gd name="connsiteX96" fmla="*/ 535327 w 4519987"/>
              <a:gd name="connsiteY96" fmla="*/ 800100 h 4429260"/>
              <a:gd name="connsiteX97" fmla="*/ 602002 w 4519987"/>
              <a:gd name="connsiteY97" fmla="*/ 733425 h 4429260"/>
              <a:gd name="connsiteX98" fmla="*/ 668677 w 4519987"/>
              <a:gd name="connsiteY98" fmla="*/ 676275 h 4429260"/>
              <a:gd name="connsiteX99" fmla="*/ 697252 w 4519987"/>
              <a:gd name="connsiteY99" fmla="*/ 657225 h 4429260"/>
              <a:gd name="connsiteX100" fmla="*/ 840127 w 4519987"/>
              <a:gd name="connsiteY100" fmla="*/ 533400 h 4429260"/>
              <a:gd name="connsiteX101" fmla="*/ 887752 w 4519987"/>
              <a:gd name="connsiteY101" fmla="*/ 504825 h 4429260"/>
              <a:gd name="connsiteX102" fmla="*/ 1167152 w 4519987"/>
              <a:gd name="connsiteY102" fmla="*/ 311150 h 4429260"/>
              <a:gd name="connsiteX103" fmla="*/ 1268752 w 4519987"/>
              <a:gd name="connsiteY103" fmla="*/ 285750 h 4429260"/>
              <a:gd name="connsiteX104" fmla="*/ 1411627 w 4519987"/>
              <a:gd name="connsiteY104" fmla="*/ 190500 h 4429260"/>
              <a:gd name="connsiteX105" fmla="*/ 1449727 w 4519987"/>
              <a:gd name="connsiteY105" fmla="*/ 161925 h 4429260"/>
              <a:gd name="connsiteX106" fmla="*/ 1525927 w 4519987"/>
              <a:gd name="connsiteY106" fmla="*/ 152400 h 4429260"/>
              <a:gd name="connsiteX107" fmla="*/ 1583077 w 4519987"/>
              <a:gd name="connsiteY107" fmla="*/ 142875 h 4429260"/>
              <a:gd name="connsiteX108" fmla="*/ 1716427 w 4519987"/>
              <a:gd name="connsiteY108" fmla="*/ 123825 h 4429260"/>
              <a:gd name="connsiteX109" fmla="*/ 1811677 w 4519987"/>
              <a:gd name="connsiteY109" fmla="*/ 114300 h 4429260"/>
              <a:gd name="connsiteX110" fmla="*/ 1859302 w 4519987"/>
              <a:gd name="connsiteY110" fmla="*/ 104775 h 4429260"/>
              <a:gd name="connsiteX111" fmla="*/ 1916452 w 4519987"/>
              <a:gd name="connsiteY111" fmla="*/ 95250 h 4429260"/>
              <a:gd name="connsiteX112" fmla="*/ 2030752 w 4519987"/>
              <a:gd name="connsiteY112" fmla="*/ 66675 h 4429260"/>
              <a:gd name="connsiteX113" fmla="*/ 2097427 w 4519987"/>
              <a:gd name="connsiteY113" fmla="*/ 47625 h 4429260"/>
              <a:gd name="connsiteX114" fmla="*/ 2164102 w 4519987"/>
              <a:gd name="connsiteY114" fmla="*/ 38100 h 4429260"/>
              <a:gd name="connsiteX115" fmla="*/ 2392702 w 4519987"/>
              <a:gd name="connsiteY115" fmla="*/ 28575 h 4429260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687852 w 4519987"/>
              <a:gd name="connsiteY45" fmla="*/ 4343400 h 4429225"/>
              <a:gd name="connsiteX46" fmla="*/ 1573552 w 4519987"/>
              <a:gd name="connsiteY46" fmla="*/ 4305300 h 4429225"/>
              <a:gd name="connsiteX47" fmla="*/ 1402102 w 4519987"/>
              <a:gd name="connsiteY47" fmla="*/ 4276725 h 4429225"/>
              <a:gd name="connsiteX48" fmla="*/ 1287802 w 4519987"/>
              <a:gd name="connsiteY48" fmla="*/ 4229100 h 4429225"/>
              <a:gd name="connsiteX49" fmla="*/ 1221127 w 4519987"/>
              <a:gd name="connsiteY49" fmla="*/ 4200525 h 4429225"/>
              <a:gd name="connsiteX50" fmla="*/ 1144927 w 4519987"/>
              <a:gd name="connsiteY50" fmla="*/ 4171950 h 4429225"/>
              <a:gd name="connsiteX51" fmla="*/ 1087777 w 4519987"/>
              <a:gd name="connsiteY51" fmla="*/ 4143375 h 4429225"/>
              <a:gd name="connsiteX52" fmla="*/ 1030627 w 4519987"/>
              <a:gd name="connsiteY52" fmla="*/ 4124325 h 4429225"/>
              <a:gd name="connsiteX53" fmla="*/ 925852 w 4519987"/>
              <a:gd name="connsiteY53" fmla="*/ 4067175 h 4429225"/>
              <a:gd name="connsiteX54" fmla="*/ 830602 w 4519987"/>
              <a:gd name="connsiteY54" fmla="*/ 3981450 h 4429225"/>
              <a:gd name="connsiteX55" fmla="*/ 763927 w 4519987"/>
              <a:gd name="connsiteY55" fmla="*/ 3914775 h 4429225"/>
              <a:gd name="connsiteX56" fmla="*/ 725827 w 4519987"/>
              <a:gd name="connsiteY56" fmla="*/ 3876675 h 4429225"/>
              <a:gd name="connsiteX57" fmla="*/ 697252 w 4519987"/>
              <a:gd name="connsiteY57" fmla="*/ 3838575 h 4429225"/>
              <a:gd name="connsiteX58" fmla="*/ 640102 w 4519987"/>
              <a:gd name="connsiteY58" fmla="*/ 3781425 h 4429225"/>
              <a:gd name="connsiteX59" fmla="*/ 611527 w 4519987"/>
              <a:gd name="connsiteY59" fmla="*/ 3733800 h 4429225"/>
              <a:gd name="connsiteX60" fmla="*/ 554377 w 4519987"/>
              <a:gd name="connsiteY60" fmla="*/ 3657600 h 4429225"/>
              <a:gd name="connsiteX61" fmla="*/ 525802 w 4519987"/>
              <a:gd name="connsiteY61" fmla="*/ 3609975 h 4429225"/>
              <a:gd name="connsiteX62" fmla="*/ 497227 w 4519987"/>
              <a:gd name="connsiteY62" fmla="*/ 3552825 h 4429225"/>
              <a:gd name="connsiteX63" fmla="*/ 440077 w 4519987"/>
              <a:gd name="connsiteY63" fmla="*/ 3495675 h 4429225"/>
              <a:gd name="connsiteX64" fmla="*/ 411502 w 4519987"/>
              <a:gd name="connsiteY64" fmla="*/ 3448050 h 4429225"/>
              <a:gd name="connsiteX65" fmla="*/ 278152 w 4519987"/>
              <a:gd name="connsiteY65" fmla="*/ 3257550 h 4429225"/>
              <a:gd name="connsiteX66" fmla="*/ 249577 w 4519987"/>
              <a:gd name="connsiteY66" fmla="*/ 3200400 h 4429225"/>
              <a:gd name="connsiteX67" fmla="*/ 240052 w 4519987"/>
              <a:gd name="connsiteY67" fmla="*/ 3162300 h 4429225"/>
              <a:gd name="connsiteX68" fmla="*/ 221002 w 4519987"/>
              <a:gd name="connsiteY68" fmla="*/ 3105150 h 4429225"/>
              <a:gd name="connsiteX69" fmla="*/ 173377 w 4519987"/>
              <a:gd name="connsiteY69" fmla="*/ 3019425 h 4429225"/>
              <a:gd name="connsiteX70" fmla="*/ 144802 w 4519987"/>
              <a:gd name="connsiteY70" fmla="*/ 2924175 h 4429225"/>
              <a:gd name="connsiteX71" fmla="*/ 68602 w 4519987"/>
              <a:gd name="connsiteY71" fmla="*/ 2724150 h 4429225"/>
              <a:gd name="connsiteX72" fmla="*/ 49552 w 4519987"/>
              <a:gd name="connsiteY72" fmla="*/ 2638425 h 4429225"/>
              <a:gd name="connsiteX73" fmla="*/ 40027 w 4519987"/>
              <a:gd name="connsiteY73" fmla="*/ 2562225 h 4429225"/>
              <a:gd name="connsiteX74" fmla="*/ 30502 w 4519987"/>
              <a:gd name="connsiteY74" fmla="*/ 2514600 h 4429225"/>
              <a:gd name="connsiteX75" fmla="*/ 11452 w 4519987"/>
              <a:gd name="connsiteY75" fmla="*/ 2400300 h 4429225"/>
              <a:gd name="connsiteX76" fmla="*/ 20977 w 4519987"/>
              <a:gd name="connsiteY76" fmla="*/ 1905000 h 4429225"/>
              <a:gd name="connsiteX77" fmla="*/ 30502 w 4519987"/>
              <a:gd name="connsiteY77" fmla="*/ 1838325 h 4429225"/>
              <a:gd name="connsiteX78" fmla="*/ 49552 w 4519987"/>
              <a:gd name="connsiteY78" fmla="*/ 1781175 h 4429225"/>
              <a:gd name="connsiteX79" fmla="*/ 59077 w 4519987"/>
              <a:gd name="connsiteY79" fmla="*/ 1743075 h 4429225"/>
              <a:gd name="connsiteX80" fmla="*/ 78127 w 4519987"/>
              <a:gd name="connsiteY80" fmla="*/ 1685925 h 4429225"/>
              <a:gd name="connsiteX81" fmla="*/ 87652 w 4519987"/>
              <a:gd name="connsiteY81" fmla="*/ 1638300 h 4429225"/>
              <a:gd name="connsiteX82" fmla="*/ 106702 w 4519987"/>
              <a:gd name="connsiteY82" fmla="*/ 1590675 h 4429225"/>
              <a:gd name="connsiteX83" fmla="*/ 135277 w 4519987"/>
              <a:gd name="connsiteY83" fmla="*/ 1504950 h 4429225"/>
              <a:gd name="connsiteX84" fmla="*/ 154327 w 4519987"/>
              <a:gd name="connsiteY84" fmla="*/ 1419225 h 4429225"/>
              <a:gd name="connsiteX85" fmla="*/ 230527 w 4519987"/>
              <a:gd name="connsiteY85" fmla="*/ 1276350 h 4429225"/>
              <a:gd name="connsiteX86" fmla="*/ 240052 w 4519987"/>
              <a:gd name="connsiteY86" fmla="*/ 1247775 h 4429225"/>
              <a:gd name="connsiteX87" fmla="*/ 268627 w 4519987"/>
              <a:gd name="connsiteY87" fmla="*/ 1200150 h 4429225"/>
              <a:gd name="connsiteX88" fmla="*/ 287677 w 4519987"/>
              <a:gd name="connsiteY88" fmla="*/ 1152525 h 4429225"/>
              <a:gd name="connsiteX89" fmla="*/ 316252 w 4519987"/>
              <a:gd name="connsiteY89" fmla="*/ 1114425 h 4429225"/>
              <a:gd name="connsiteX90" fmla="*/ 363877 w 4519987"/>
              <a:gd name="connsiteY90" fmla="*/ 1038225 h 4429225"/>
              <a:gd name="connsiteX91" fmla="*/ 382927 w 4519987"/>
              <a:gd name="connsiteY91" fmla="*/ 1009650 h 4429225"/>
              <a:gd name="connsiteX92" fmla="*/ 440077 w 4519987"/>
              <a:gd name="connsiteY92" fmla="*/ 904875 h 4429225"/>
              <a:gd name="connsiteX93" fmla="*/ 478177 w 4519987"/>
              <a:gd name="connsiteY93" fmla="*/ 857250 h 4429225"/>
              <a:gd name="connsiteX94" fmla="*/ 497227 w 4519987"/>
              <a:gd name="connsiteY94" fmla="*/ 828675 h 4429225"/>
              <a:gd name="connsiteX95" fmla="*/ 535327 w 4519987"/>
              <a:gd name="connsiteY95" fmla="*/ 800100 h 4429225"/>
              <a:gd name="connsiteX96" fmla="*/ 602002 w 4519987"/>
              <a:gd name="connsiteY96" fmla="*/ 733425 h 4429225"/>
              <a:gd name="connsiteX97" fmla="*/ 668677 w 4519987"/>
              <a:gd name="connsiteY97" fmla="*/ 676275 h 4429225"/>
              <a:gd name="connsiteX98" fmla="*/ 697252 w 4519987"/>
              <a:gd name="connsiteY98" fmla="*/ 657225 h 4429225"/>
              <a:gd name="connsiteX99" fmla="*/ 840127 w 4519987"/>
              <a:gd name="connsiteY99" fmla="*/ 533400 h 4429225"/>
              <a:gd name="connsiteX100" fmla="*/ 887752 w 4519987"/>
              <a:gd name="connsiteY100" fmla="*/ 504825 h 4429225"/>
              <a:gd name="connsiteX101" fmla="*/ 1167152 w 4519987"/>
              <a:gd name="connsiteY101" fmla="*/ 311150 h 4429225"/>
              <a:gd name="connsiteX102" fmla="*/ 1268752 w 4519987"/>
              <a:gd name="connsiteY102" fmla="*/ 285750 h 4429225"/>
              <a:gd name="connsiteX103" fmla="*/ 1411627 w 4519987"/>
              <a:gd name="connsiteY103" fmla="*/ 190500 h 4429225"/>
              <a:gd name="connsiteX104" fmla="*/ 1449727 w 4519987"/>
              <a:gd name="connsiteY104" fmla="*/ 161925 h 4429225"/>
              <a:gd name="connsiteX105" fmla="*/ 1525927 w 4519987"/>
              <a:gd name="connsiteY105" fmla="*/ 152400 h 4429225"/>
              <a:gd name="connsiteX106" fmla="*/ 1583077 w 4519987"/>
              <a:gd name="connsiteY106" fmla="*/ 142875 h 4429225"/>
              <a:gd name="connsiteX107" fmla="*/ 1716427 w 4519987"/>
              <a:gd name="connsiteY107" fmla="*/ 123825 h 4429225"/>
              <a:gd name="connsiteX108" fmla="*/ 1811677 w 4519987"/>
              <a:gd name="connsiteY108" fmla="*/ 114300 h 4429225"/>
              <a:gd name="connsiteX109" fmla="*/ 1859302 w 4519987"/>
              <a:gd name="connsiteY109" fmla="*/ 104775 h 4429225"/>
              <a:gd name="connsiteX110" fmla="*/ 1916452 w 4519987"/>
              <a:gd name="connsiteY110" fmla="*/ 95250 h 4429225"/>
              <a:gd name="connsiteX111" fmla="*/ 2030752 w 4519987"/>
              <a:gd name="connsiteY111" fmla="*/ 66675 h 4429225"/>
              <a:gd name="connsiteX112" fmla="*/ 2097427 w 4519987"/>
              <a:gd name="connsiteY112" fmla="*/ 47625 h 4429225"/>
              <a:gd name="connsiteX113" fmla="*/ 2164102 w 4519987"/>
              <a:gd name="connsiteY113" fmla="*/ 38100 h 4429225"/>
              <a:gd name="connsiteX114" fmla="*/ 2392702 w 4519987"/>
              <a:gd name="connsiteY11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402102 w 4519987"/>
              <a:gd name="connsiteY46" fmla="*/ 4276725 h 4429225"/>
              <a:gd name="connsiteX47" fmla="*/ 1287802 w 4519987"/>
              <a:gd name="connsiteY47" fmla="*/ 4229100 h 4429225"/>
              <a:gd name="connsiteX48" fmla="*/ 1221127 w 4519987"/>
              <a:gd name="connsiteY48" fmla="*/ 4200525 h 4429225"/>
              <a:gd name="connsiteX49" fmla="*/ 1144927 w 4519987"/>
              <a:gd name="connsiteY49" fmla="*/ 4171950 h 4429225"/>
              <a:gd name="connsiteX50" fmla="*/ 1087777 w 4519987"/>
              <a:gd name="connsiteY50" fmla="*/ 4143375 h 4429225"/>
              <a:gd name="connsiteX51" fmla="*/ 1030627 w 4519987"/>
              <a:gd name="connsiteY51" fmla="*/ 4124325 h 4429225"/>
              <a:gd name="connsiteX52" fmla="*/ 925852 w 4519987"/>
              <a:gd name="connsiteY52" fmla="*/ 4067175 h 4429225"/>
              <a:gd name="connsiteX53" fmla="*/ 830602 w 4519987"/>
              <a:gd name="connsiteY53" fmla="*/ 3981450 h 4429225"/>
              <a:gd name="connsiteX54" fmla="*/ 763927 w 4519987"/>
              <a:gd name="connsiteY54" fmla="*/ 3914775 h 4429225"/>
              <a:gd name="connsiteX55" fmla="*/ 725827 w 4519987"/>
              <a:gd name="connsiteY55" fmla="*/ 3876675 h 4429225"/>
              <a:gd name="connsiteX56" fmla="*/ 697252 w 4519987"/>
              <a:gd name="connsiteY56" fmla="*/ 3838575 h 4429225"/>
              <a:gd name="connsiteX57" fmla="*/ 640102 w 4519987"/>
              <a:gd name="connsiteY57" fmla="*/ 3781425 h 4429225"/>
              <a:gd name="connsiteX58" fmla="*/ 611527 w 4519987"/>
              <a:gd name="connsiteY58" fmla="*/ 3733800 h 4429225"/>
              <a:gd name="connsiteX59" fmla="*/ 554377 w 4519987"/>
              <a:gd name="connsiteY59" fmla="*/ 3657600 h 4429225"/>
              <a:gd name="connsiteX60" fmla="*/ 525802 w 4519987"/>
              <a:gd name="connsiteY60" fmla="*/ 3609975 h 4429225"/>
              <a:gd name="connsiteX61" fmla="*/ 497227 w 4519987"/>
              <a:gd name="connsiteY61" fmla="*/ 3552825 h 4429225"/>
              <a:gd name="connsiteX62" fmla="*/ 440077 w 4519987"/>
              <a:gd name="connsiteY62" fmla="*/ 3495675 h 4429225"/>
              <a:gd name="connsiteX63" fmla="*/ 411502 w 4519987"/>
              <a:gd name="connsiteY63" fmla="*/ 3448050 h 4429225"/>
              <a:gd name="connsiteX64" fmla="*/ 278152 w 4519987"/>
              <a:gd name="connsiteY64" fmla="*/ 3257550 h 4429225"/>
              <a:gd name="connsiteX65" fmla="*/ 249577 w 4519987"/>
              <a:gd name="connsiteY65" fmla="*/ 3200400 h 4429225"/>
              <a:gd name="connsiteX66" fmla="*/ 240052 w 4519987"/>
              <a:gd name="connsiteY66" fmla="*/ 3162300 h 4429225"/>
              <a:gd name="connsiteX67" fmla="*/ 221002 w 4519987"/>
              <a:gd name="connsiteY67" fmla="*/ 3105150 h 4429225"/>
              <a:gd name="connsiteX68" fmla="*/ 173377 w 4519987"/>
              <a:gd name="connsiteY68" fmla="*/ 3019425 h 4429225"/>
              <a:gd name="connsiteX69" fmla="*/ 144802 w 4519987"/>
              <a:gd name="connsiteY69" fmla="*/ 2924175 h 4429225"/>
              <a:gd name="connsiteX70" fmla="*/ 68602 w 4519987"/>
              <a:gd name="connsiteY70" fmla="*/ 2724150 h 4429225"/>
              <a:gd name="connsiteX71" fmla="*/ 49552 w 4519987"/>
              <a:gd name="connsiteY71" fmla="*/ 2638425 h 4429225"/>
              <a:gd name="connsiteX72" fmla="*/ 40027 w 4519987"/>
              <a:gd name="connsiteY72" fmla="*/ 2562225 h 4429225"/>
              <a:gd name="connsiteX73" fmla="*/ 30502 w 4519987"/>
              <a:gd name="connsiteY73" fmla="*/ 2514600 h 4429225"/>
              <a:gd name="connsiteX74" fmla="*/ 11452 w 4519987"/>
              <a:gd name="connsiteY74" fmla="*/ 2400300 h 4429225"/>
              <a:gd name="connsiteX75" fmla="*/ 20977 w 4519987"/>
              <a:gd name="connsiteY75" fmla="*/ 1905000 h 4429225"/>
              <a:gd name="connsiteX76" fmla="*/ 30502 w 4519987"/>
              <a:gd name="connsiteY76" fmla="*/ 1838325 h 4429225"/>
              <a:gd name="connsiteX77" fmla="*/ 49552 w 4519987"/>
              <a:gd name="connsiteY77" fmla="*/ 1781175 h 4429225"/>
              <a:gd name="connsiteX78" fmla="*/ 59077 w 4519987"/>
              <a:gd name="connsiteY78" fmla="*/ 1743075 h 4429225"/>
              <a:gd name="connsiteX79" fmla="*/ 78127 w 4519987"/>
              <a:gd name="connsiteY79" fmla="*/ 1685925 h 4429225"/>
              <a:gd name="connsiteX80" fmla="*/ 87652 w 4519987"/>
              <a:gd name="connsiteY80" fmla="*/ 1638300 h 4429225"/>
              <a:gd name="connsiteX81" fmla="*/ 106702 w 4519987"/>
              <a:gd name="connsiteY81" fmla="*/ 1590675 h 4429225"/>
              <a:gd name="connsiteX82" fmla="*/ 135277 w 4519987"/>
              <a:gd name="connsiteY82" fmla="*/ 1504950 h 4429225"/>
              <a:gd name="connsiteX83" fmla="*/ 154327 w 4519987"/>
              <a:gd name="connsiteY83" fmla="*/ 1419225 h 4429225"/>
              <a:gd name="connsiteX84" fmla="*/ 230527 w 4519987"/>
              <a:gd name="connsiteY84" fmla="*/ 1276350 h 4429225"/>
              <a:gd name="connsiteX85" fmla="*/ 240052 w 4519987"/>
              <a:gd name="connsiteY85" fmla="*/ 1247775 h 4429225"/>
              <a:gd name="connsiteX86" fmla="*/ 268627 w 4519987"/>
              <a:gd name="connsiteY86" fmla="*/ 1200150 h 4429225"/>
              <a:gd name="connsiteX87" fmla="*/ 287677 w 4519987"/>
              <a:gd name="connsiteY87" fmla="*/ 1152525 h 4429225"/>
              <a:gd name="connsiteX88" fmla="*/ 316252 w 4519987"/>
              <a:gd name="connsiteY88" fmla="*/ 1114425 h 4429225"/>
              <a:gd name="connsiteX89" fmla="*/ 363877 w 4519987"/>
              <a:gd name="connsiteY89" fmla="*/ 1038225 h 4429225"/>
              <a:gd name="connsiteX90" fmla="*/ 382927 w 4519987"/>
              <a:gd name="connsiteY90" fmla="*/ 1009650 h 4429225"/>
              <a:gd name="connsiteX91" fmla="*/ 440077 w 4519987"/>
              <a:gd name="connsiteY91" fmla="*/ 904875 h 4429225"/>
              <a:gd name="connsiteX92" fmla="*/ 478177 w 4519987"/>
              <a:gd name="connsiteY92" fmla="*/ 857250 h 4429225"/>
              <a:gd name="connsiteX93" fmla="*/ 497227 w 4519987"/>
              <a:gd name="connsiteY93" fmla="*/ 828675 h 4429225"/>
              <a:gd name="connsiteX94" fmla="*/ 535327 w 4519987"/>
              <a:gd name="connsiteY94" fmla="*/ 800100 h 4429225"/>
              <a:gd name="connsiteX95" fmla="*/ 602002 w 4519987"/>
              <a:gd name="connsiteY95" fmla="*/ 733425 h 4429225"/>
              <a:gd name="connsiteX96" fmla="*/ 668677 w 4519987"/>
              <a:gd name="connsiteY96" fmla="*/ 676275 h 4429225"/>
              <a:gd name="connsiteX97" fmla="*/ 697252 w 4519987"/>
              <a:gd name="connsiteY97" fmla="*/ 657225 h 4429225"/>
              <a:gd name="connsiteX98" fmla="*/ 840127 w 4519987"/>
              <a:gd name="connsiteY98" fmla="*/ 533400 h 4429225"/>
              <a:gd name="connsiteX99" fmla="*/ 887752 w 4519987"/>
              <a:gd name="connsiteY99" fmla="*/ 504825 h 4429225"/>
              <a:gd name="connsiteX100" fmla="*/ 1167152 w 4519987"/>
              <a:gd name="connsiteY100" fmla="*/ 311150 h 4429225"/>
              <a:gd name="connsiteX101" fmla="*/ 1268752 w 4519987"/>
              <a:gd name="connsiteY101" fmla="*/ 285750 h 4429225"/>
              <a:gd name="connsiteX102" fmla="*/ 1411627 w 4519987"/>
              <a:gd name="connsiteY102" fmla="*/ 190500 h 4429225"/>
              <a:gd name="connsiteX103" fmla="*/ 1449727 w 4519987"/>
              <a:gd name="connsiteY103" fmla="*/ 161925 h 4429225"/>
              <a:gd name="connsiteX104" fmla="*/ 1525927 w 4519987"/>
              <a:gd name="connsiteY104" fmla="*/ 152400 h 4429225"/>
              <a:gd name="connsiteX105" fmla="*/ 1583077 w 4519987"/>
              <a:gd name="connsiteY105" fmla="*/ 142875 h 4429225"/>
              <a:gd name="connsiteX106" fmla="*/ 1716427 w 4519987"/>
              <a:gd name="connsiteY106" fmla="*/ 123825 h 4429225"/>
              <a:gd name="connsiteX107" fmla="*/ 1811677 w 4519987"/>
              <a:gd name="connsiteY107" fmla="*/ 114300 h 4429225"/>
              <a:gd name="connsiteX108" fmla="*/ 1859302 w 4519987"/>
              <a:gd name="connsiteY108" fmla="*/ 104775 h 4429225"/>
              <a:gd name="connsiteX109" fmla="*/ 1916452 w 4519987"/>
              <a:gd name="connsiteY109" fmla="*/ 95250 h 4429225"/>
              <a:gd name="connsiteX110" fmla="*/ 2030752 w 4519987"/>
              <a:gd name="connsiteY110" fmla="*/ 66675 h 4429225"/>
              <a:gd name="connsiteX111" fmla="*/ 2097427 w 4519987"/>
              <a:gd name="connsiteY111" fmla="*/ 47625 h 4429225"/>
              <a:gd name="connsiteX112" fmla="*/ 2164102 w 4519987"/>
              <a:gd name="connsiteY112" fmla="*/ 38100 h 4429225"/>
              <a:gd name="connsiteX113" fmla="*/ 2392702 w 4519987"/>
              <a:gd name="connsiteY11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144927 w 4519987"/>
              <a:gd name="connsiteY48" fmla="*/ 4171950 h 4429225"/>
              <a:gd name="connsiteX49" fmla="*/ 1087777 w 4519987"/>
              <a:gd name="connsiteY49" fmla="*/ 4143375 h 4429225"/>
              <a:gd name="connsiteX50" fmla="*/ 1030627 w 4519987"/>
              <a:gd name="connsiteY50" fmla="*/ 4124325 h 4429225"/>
              <a:gd name="connsiteX51" fmla="*/ 925852 w 4519987"/>
              <a:gd name="connsiteY51" fmla="*/ 4067175 h 4429225"/>
              <a:gd name="connsiteX52" fmla="*/ 830602 w 4519987"/>
              <a:gd name="connsiteY52" fmla="*/ 3981450 h 4429225"/>
              <a:gd name="connsiteX53" fmla="*/ 763927 w 4519987"/>
              <a:gd name="connsiteY53" fmla="*/ 3914775 h 4429225"/>
              <a:gd name="connsiteX54" fmla="*/ 725827 w 4519987"/>
              <a:gd name="connsiteY54" fmla="*/ 3876675 h 4429225"/>
              <a:gd name="connsiteX55" fmla="*/ 697252 w 4519987"/>
              <a:gd name="connsiteY55" fmla="*/ 3838575 h 4429225"/>
              <a:gd name="connsiteX56" fmla="*/ 640102 w 4519987"/>
              <a:gd name="connsiteY56" fmla="*/ 3781425 h 4429225"/>
              <a:gd name="connsiteX57" fmla="*/ 611527 w 4519987"/>
              <a:gd name="connsiteY57" fmla="*/ 3733800 h 4429225"/>
              <a:gd name="connsiteX58" fmla="*/ 554377 w 4519987"/>
              <a:gd name="connsiteY58" fmla="*/ 3657600 h 4429225"/>
              <a:gd name="connsiteX59" fmla="*/ 525802 w 4519987"/>
              <a:gd name="connsiteY59" fmla="*/ 3609975 h 4429225"/>
              <a:gd name="connsiteX60" fmla="*/ 497227 w 4519987"/>
              <a:gd name="connsiteY60" fmla="*/ 3552825 h 4429225"/>
              <a:gd name="connsiteX61" fmla="*/ 440077 w 4519987"/>
              <a:gd name="connsiteY61" fmla="*/ 3495675 h 4429225"/>
              <a:gd name="connsiteX62" fmla="*/ 411502 w 4519987"/>
              <a:gd name="connsiteY62" fmla="*/ 3448050 h 4429225"/>
              <a:gd name="connsiteX63" fmla="*/ 278152 w 4519987"/>
              <a:gd name="connsiteY63" fmla="*/ 3257550 h 4429225"/>
              <a:gd name="connsiteX64" fmla="*/ 249577 w 4519987"/>
              <a:gd name="connsiteY64" fmla="*/ 3200400 h 4429225"/>
              <a:gd name="connsiteX65" fmla="*/ 240052 w 4519987"/>
              <a:gd name="connsiteY65" fmla="*/ 3162300 h 4429225"/>
              <a:gd name="connsiteX66" fmla="*/ 221002 w 4519987"/>
              <a:gd name="connsiteY66" fmla="*/ 3105150 h 4429225"/>
              <a:gd name="connsiteX67" fmla="*/ 173377 w 4519987"/>
              <a:gd name="connsiteY67" fmla="*/ 3019425 h 4429225"/>
              <a:gd name="connsiteX68" fmla="*/ 144802 w 4519987"/>
              <a:gd name="connsiteY68" fmla="*/ 2924175 h 4429225"/>
              <a:gd name="connsiteX69" fmla="*/ 68602 w 4519987"/>
              <a:gd name="connsiteY69" fmla="*/ 2724150 h 4429225"/>
              <a:gd name="connsiteX70" fmla="*/ 49552 w 4519987"/>
              <a:gd name="connsiteY70" fmla="*/ 2638425 h 4429225"/>
              <a:gd name="connsiteX71" fmla="*/ 40027 w 4519987"/>
              <a:gd name="connsiteY71" fmla="*/ 2562225 h 4429225"/>
              <a:gd name="connsiteX72" fmla="*/ 30502 w 4519987"/>
              <a:gd name="connsiteY72" fmla="*/ 2514600 h 4429225"/>
              <a:gd name="connsiteX73" fmla="*/ 11452 w 4519987"/>
              <a:gd name="connsiteY73" fmla="*/ 2400300 h 4429225"/>
              <a:gd name="connsiteX74" fmla="*/ 20977 w 4519987"/>
              <a:gd name="connsiteY74" fmla="*/ 1905000 h 4429225"/>
              <a:gd name="connsiteX75" fmla="*/ 30502 w 4519987"/>
              <a:gd name="connsiteY75" fmla="*/ 1838325 h 4429225"/>
              <a:gd name="connsiteX76" fmla="*/ 49552 w 4519987"/>
              <a:gd name="connsiteY76" fmla="*/ 1781175 h 4429225"/>
              <a:gd name="connsiteX77" fmla="*/ 59077 w 4519987"/>
              <a:gd name="connsiteY77" fmla="*/ 1743075 h 4429225"/>
              <a:gd name="connsiteX78" fmla="*/ 78127 w 4519987"/>
              <a:gd name="connsiteY78" fmla="*/ 1685925 h 4429225"/>
              <a:gd name="connsiteX79" fmla="*/ 87652 w 4519987"/>
              <a:gd name="connsiteY79" fmla="*/ 1638300 h 4429225"/>
              <a:gd name="connsiteX80" fmla="*/ 106702 w 4519987"/>
              <a:gd name="connsiteY80" fmla="*/ 1590675 h 4429225"/>
              <a:gd name="connsiteX81" fmla="*/ 135277 w 4519987"/>
              <a:gd name="connsiteY81" fmla="*/ 1504950 h 4429225"/>
              <a:gd name="connsiteX82" fmla="*/ 154327 w 4519987"/>
              <a:gd name="connsiteY82" fmla="*/ 1419225 h 4429225"/>
              <a:gd name="connsiteX83" fmla="*/ 230527 w 4519987"/>
              <a:gd name="connsiteY83" fmla="*/ 1276350 h 4429225"/>
              <a:gd name="connsiteX84" fmla="*/ 240052 w 4519987"/>
              <a:gd name="connsiteY84" fmla="*/ 1247775 h 4429225"/>
              <a:gd name="connsiteX85" fmla="*/ 268627 w 4519987"/>
              <a:gd name="connsiteY85" fmla="*/ 1200150 h 4429225"/>
              <a:gd name="connsiteX86" fmla="*/ 287677 w 4519987"/>
              <a:gd name="connsiteY86" fmla="*/ 1152525 h 4429225"/>
              <a:gd name="connsiteX87" fmla="*/ 316252 w 4519987"/>
              <a:gd name="connsiteY87" fmla="*/ 1114425 h 4429225"/>
              <a:gd name="connsiteX88" fmla="*/ 363877 w 4519987"/>
              <a:gd name="connsiteY88" fmla="*/ 1038225 h 4429225"/>
              <a:gd name="connsiteX89" fmla="*/ 382927 w 4519987"/>
              <a:gd name="connsiteY89" fmla="*/ 1009650 h 4429225"/>
              <a:gd name="connsiteX90" fmla="*/ 440077 w 4519987"/>
              <a:gd name="connsiteY90" fmla="*/ 904875 h 4429225"/>
              <a:gd name="connsiteX91" fmla="*/ 478177 w 4519987"/>
              <a:gd name="connsiteY91" fmla="*/ 857250 h 4429225"/>
              <a:gd name="connsiteX92" fmla="*/ 497227 w 4519987"/>
              <a:gd name="connsiteY92" fmla="*/ 828675 h 4429225"/>
              <a:gd name="connsiteX93" fmla="*/ 535327 w 4519987"/>
              <a:gd name="connsiteY93" fmla="*/ 800100 h 4429225"/>
              <a:gd name="connsiteX94" fmla="*/ 602002 w 4519987"/>
              <a:gd name="connsiteY94" fmla="*/ 733425 h 4429225"/>
              <a:gd name="connsiteX95" fmla="*/ 668677 w 4519987"/>
              <a:gd name="connsiteY95" fmla="*/ 676275 h 4429225"/>
              <a:gd name="connsiteX96" fmla="*/ 697252 w 4519987"/>
              <a:gd name="connsiteY96" fmla="*/ 657225 h 4429225"/>
              <a:gd name="connsiteX97" fmla="*/ 840127 w 4519987"/>
              <a:gd name="connsiteY97" fmla="*/ 533400 h 4429225"/>
              <a:gd name="connsiteX98" fmla="*/ 887752 w 4519987"/>
              <a:gd name="connsiteY98" fmla="*/ 504825 h 4429225"/>
              <a:gd name="connsiteX99" fmla="*/ 1167152 w 4519987"/>
              <a:gd name="connsiteY99" fmla="*/ 311150 h 4429225"/>
              <a:gd name="connsiteX100" fmla="*/ 1268752 w 4519987"/>
              <a:gd name="connsiteY100" fmla="*/ 285750 h 4429225"/>
              <a:gd name="connsiteX101" fmla="*/ 1411627 w 4519987"/>
              <a:gd name="connsiteY101" fmla="*/ 190500 h 4429225"/>
              <a:gd name="connsiteX102" fmla="*/ 1449727 w 4519987"/>
              <a:gd name="connsiteY102" fmla="*/ 161925 h 4429225"/>
              <a:gd name="connsiteX103" fmla="*/ 1525927 w 4519987"/>
              <a:gd name="connsiteY103" fmla="*/ 152400 h 4429225"/>
              <a:gd name="connsiteX104" fmla="*/ 1583077 w 4519987"/>
              <a:gd name="connsiteY104" fmla="*/ 142875 h 4429225"/>
              <a:gd name="connsiteX105" fmla="*/ 1716427 w 4519987"/>
              <a:gd name="connsiteY105" fmla="*/ 123825 h 4429225"/>
              <a:gd name="connsiteX106" fmla="*/ 1811677 w 4519987"/>
              <a:gd name="connsiteY106" fmla="*/ 114300 h 4429225"/>
              <a:gd name="connsiteX107" fmla="*/ 1859302 w 4519987"/>
              <a:gd name="connsiteY107" fmla="*/ 104775 h 4429225"/>
              <a:gd name="connsiteX108" fmla="*/ 1916452 w 4519987"/>
              <a:gd name="connsiteY108" fmla="*/ 95250 h 4429225"/>
              <a:gd name="connsiteX109" fmla="*/ 2030752 w 4519987"/>
              <a:gd name="connsiteY109" fmla="*/ 66675 h 4429225"/>
              <a:gd name="connsiteX110" fmla="*/ 2097427 w 4519987"/>
              <a:gd name="connsiteY110" fmla="*/ 47625 h 4429225"/>
              <a:gd name="connsiteX111" fmla="*/ 2164102 w 4519987"/>
              <a:gd name="connsiteY111" fmla="*/ 38100 h 4429225"/>
              <a:gd name="connsiteX112" fmla="*/ 2392702 w 4519987"/>
              <a:gd name="connsiteY11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087777 w 4519987"/>
              <a:gd name="connsiteY48" fmla="*/ 4143375 h 4429225"/>
              <a:gd name="connsiteX49" fmla="*/ 1030627 w 4519987"/>
              <a:gd name="connsiteY49" fmla="*/ 4124325 h 4429225"/>
              <a:gd name="connsiteX50" fmla="*/ 925852 w 4519987"/>
              <a:gd name="connsiteY50" fmla="*/ 4067175 h 4429225"/>
              <a:gd name="connsiteX51" fmla="*/ 830602 w 4519987"/>
              <a:gd name="connsiteY51" fmla="*/ 3981450 h 4429225"/>
              <a:gd name="connsiteX52" fmla="*/ 763927 w 4519987"/>
              <a:gd name="connsiteY52" fmla="*/ 3914775 h 4429225"/>
              <a:gd name="connsiteX53" fmla="*/ 725827 w 4519987"/>
              <a:gd name="connsiteY53" fmla="*/ 3876675 h 4429225"/>
              <a:gd name="connsiteX54" fmla="*/ 697252 w 4519987"/>
              <a:gd name="connsiteY54" fmla="*/ 3838575 h 4429225"/>
              <a:gd name="connsiteX55" fmla="*/ 640102 w 4519987"/>
              <a:gd name="connsiteY55" fmla="*/ 3781425 h 4429225"/>
              <a:gd name="connsiteX56" fmla="*/ 611527 w 4519987"/>
              <a:gd name="connsiteY56" fmla="*/ 3733800 h 4429225"/>
              <a:gd name="connsiteX57" fmla="*/ 554377 w 4519987"/>
              <a:gd name="connsiteY57" fmla="*/ 3657600 h 4429225"/>
              <a:gd name="connsiteX58" fmla="*/ 525802 w 4519987"/>
              <a:gd name="connsiteY58" fmla="*/ 3609975 h 4429225"/>
              <a:gd name="connsiteX59" fmla="*/ 497227 w 4519987"/>
              <a:gd name="connsiteY59" fmla="*/ 3552825 h 4429225"/>
              <a:gd name="connsiteX60" fmla="*/ 440077 w 4519987"/>
              <a:gd name="connsiteY60" fmla="*/ 3495675 h 4429225"/>
              <a:gd name="connsiteX61" fmla="*/ 411502 w 4519987"/>
              <a:gd name="connsiteY61" fmla="*/ 3448050 h 4429225"/>
              <a:gd name="connsiteX62" fmla="*/ 278152 w 4519987"/>
              <a:gd name="connsiteY62" fmla="*/ 3257550 h 4429225"/>
              <a:gd name="connsiteX63" fmla="*/ 249577 w 4519987"/>
              <a:gd name="connsiteY63" fmla="*/ 3200400 h 4429225"/>
              <a:gd name="connsiteX64" fmla="*/ 240052 w 4519987"/>
              <a:gd name="connsiteY64" fmla="*/ 3162300 h 4429225"/>
              <a:gd name="connsiteX65" fmla="*/ 221002 w 4519987"/>
              <a:gd name="connsiteY65" fmla="*/ 3105150 h 4429225"/>
              <a:gd name="connsiteX66" fmla="*/ 173377 w 4519987"/>
              <a:gd name="connsiteY66" fmla="*/ 3019425 h 4429225"/>
              <a:gd name="connsiteX67" fmla="*/ 144802 w 4519987"/>
              <a:gd name="connsiteY67" fmla="*/ 2924175 h 4429225"/>
              <a:gd name="connsiteX68" fmla="*/ 68602 w 4519987"/>
              <a:gd name="connsiteY68" fmla="*/ 2724150 h 4429225"/>
              <a:gd name="connsiteX69" fmla="*/ 49552 w 4519987"/>
              <a:gd name="connsiteY69" fmla="*/ 2638425 h 4429225"/>
              <a:gd name="connsiteX70" fmla="*/ 40027 w 4519987"/>
              <a:gd name="connsiteY70" fmla="*/ 2562225 h 4429225"/>
              <a:gd name="connsiteX71" fmla="*/ 30502 w 4519987"/>
              <a:gd name="connsiteY71" fmla="*/ 2514600 h 4429225"/>
              <a:gd name="connsiteX72" fmla="*/ 11452 w 4519987"/>
              <a:gd name="connsiteY72" fmla="*/ 2400300 h 4429225"/>
              <a:gd name="connsiteX73" fmla="*/ 20977 w 4519987"/>
              <a:gd name="connsiteY73" fmla="*/ 1905000 h 4429225"/>
              <a:gd name="connsiteX74" fmla="*/ 30502 w 4519987"/>
              <a:gd name="connsiteY74" fmla="*/ 1838325 h 4429225"/>
              <a:gd name="connsiteX75" fmla="*/ 49552 w 4519987"/>
              <a:gd name="connsiteY75" fmla="*/ 1781175 h 4429225"/>
              <a:gd name="connsiteX76" fmla="*/ 59077 w 4519987"/>
              <a:gd name="connsiteY76" fmla="*/ 1743075 h 4429225"/>
              <a:gd name="connsiteX77" fmla="*/ 78127 w 4519987"/>
              <a:gd name="connsiteY77" fmla="*/ 1685925 h 4429225"/>
              <a:gd name="connsiteX78" fmla="*/ 87652 w 4519987"/>
              <a:gd name="connsiteY78" fmla="*/ 1638300 h 4429225"/>
              <a:gd name="connsiteX79" fmla="*/ 106702 w 4519987"/>
              <a:gd name="connsiteY79" fmla="*/ 1590675 h 4429225"/>
              <a:gd name="connsiteX80" fmla="*/ 135277 w 4519987"/>
              <a:gd name="connsiteY80" fmla="*/ 1504950 h 4429225"/>
              <a:gd name="connsiteX81" fmla="*/ 154327 w 4519987"/>
              <a:gd name="connsiteY81" fmla="*/ 1419225 h 4429225"/>
              <a:gd name="connsiteX82" fmla="*/ 230527 w 4519987"/>
              <a:gd name="connsiteY82" fmla="*/ 1276350 h 4429225"/>
              <a:gd name="connsiteX83" fmla="*/ 240052 w 4519987"/>
              <a:gd name="connsiteY83" fmla="*/ 1247775 h 4429225"/>
              <a:gd name="connsiteX84" fmla="*/ 268627 w 4519987"/>
              <a:gd name="connsiteY84" fmla="*/ 1200150 h 4429225"/>
              <a:gd name="connsiteX85" fmla="*/ 287677 w 4519987"/>
              <a:gd name="connsiteY85" fmla="*/ 1152525 h 4429225"/>
              <a:gd name="connsiteX86" fmla="*/ 316252 w 4519987"/>
              <a:gd name="connsiteY86" fmla="*/ 1114425 h 4429225"/>
              <a:gd name="connsiteX87" fmla="*/ 363877 w 4519987"/>
              <a:gd name="connsiteY87" fmla="*/ 1038225 h 4429225"/>
              <a:gd name="connsiteX88" fmla="*/ 382927 w 4519987"/>
              <a:gd name="connsiteY88" fmla="*/ 1009650 h 4429225"/>
              <a:gd name="connsiteX89" fmla="*/ 440077 w 4519987"/>
              <a:gd name="connsiteY89" fmla="*/ 904875 h 4429225"/>
              <a:gd name="connsiteX90" fmla="*/ 478177 w 4519987"/>
              <a:gd name="connsiteY90" fmla="*/ 857250 h 4429225"/>
              <a:gd name="connsiteX91" fmla="*/ 497227 w 4519987"/>
              <a:gd name="connsiteY91" fmla="*/ 828675 h 4429225"/>
              <a:gd name="connsiteX92" fmla="*/ 535327 w 4519987"/>
              <a:gd name="connsiteY92" fmla="*/ 800100 h 4429225"/>
              <a:gd name="connsiteX93" fmla="*/ 602002 w 4519987"/>
              <a:gd name="connsiteY93" fmla="*/ 733425 h 4429225"/>
              <a:gd name="connsiteX94" fmla="*/ 668677 w 4519987"/>
              <a:gd name="connsiteY94" fmla="*/ 676275 h 4429225"/>
              <a:gd name="connsiteX95" fmla="*/ 697252 w 4519987"/>
              <a:gd name="connsiteY95" fmla="*/ 657225 h 4429225"/>
              <a:gd name="connsiteX96" fmla="*/ 840127 w 4519987"/>
              <a:gd name="connsiteY96" fmla="*/ 533400 h 4429225"/>
              <a:gd name="connsiteX97" fmla="*/ 887752 w 4519987"/>
              <a:gd name="connsiteY97" fmla="*/ 504825 h 4429225"/>
              <a:gd name="connsiteX98" fmla="*/ 1167152 w 4519987"/>
              <a:gd name="connsiteY98" fmla="*/ 311150 h 4429225"/>
              <a:gd name="connsiteX99" fmla="*/ 1268752 w 4519987"/>
              <a:gd name="connsiteY99" fmla="*/ 285750 h 4429225"/>
              <a:gd name="connsiteX100" fmla="*/ 1411627 w 4519987"/>
              <a:gd name="connsiteY100" fmla="*/ 190500 h 4429225"/>
              <a:gd name="connsiteX101" fmla="*/ 1449727 w 4519987"/>
              <a:gd name="connsiteY101" fmla="*/ 161925 h 4429225"/>
              <a:gd name="connsiteX102" fmla="*/ 1525927 w 4519987"/>
              <a:gd name="connsiteY102" fmla="*/ 152400 h 4429225"/>
              <a:gd name="connsiteX103" fmla="*/ 1583077 w 4519987"/>
              <a:gd name="connsiteY103" fmla="*/ 142875 h 4429225"/>
              <a:gd name="connsiteX104" fmla="*/ 1716427 w 4519987"/>
              <a:gd name="connsiteY104" fmla="*/ 123825 h 4429225"/>
              <a:gd name="connsiteX105" fmla="*/ 1811677 w 4519987"/>
              <a:gd name="connsiteY105" fmla="*/ 114300 h 4429225"/>
              <a:gd name="connsiteX106" fmla="*/ 1859302 w 4519987"/>
              <a:gd name="connsiteY106" fmla="*/ 104775 h 4429225"/>
              <a:gd name="connsiteX107" fmla="*/ 1916452 w 4519987"/>
              <a:gd name="connsiteY107" fmla="*/ 95250 h 4429225"/>
              <a:gd name="connsiteX108" fmla="*/ 2030752 w 4519987"/>
              <a:gd name="connsiteY108" fmla="*/ 66675 h 4429225"/>
              <a:gd name="connsiteX109" fmla="*/ 2097427 w 4519987"/>
              <a:gd name="connsiteY109" fmla="*/ 47625 h 4429225"/>
              <a:gd name="connsiteX110" fmla="*/ 2164102 w 4519987"/>
              <a:gd name="connsiteY110" fmla="*/ 38100 h 4429225"/>
              <a:gd name="connsiteX111" fmla="*/ 2392702 w 4519987"/>
              <a:gd name="connsiteY11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1030627 w 4519987"/>
              <a:gd name="connsiteY48" fmla="*/ 4124325 h 4429225"/>
              <a:gd name="connsiteX49" fmla="*/ 925852 w 4519987"/>
              <a:gd name="connsiteY49" fmla="*/ 4067175 h 4429225"/>
              <a:gd name="connsiteX50" fmla="*/ 830602 w 4519987"/>
              <a:gd name="connsiteY50" fmla="*/ 3981450 h 4429225"/>
              <a:gd name="connsiteX51" fmla="*/ 763927 w 4519987"/>
              <a:gd name="connsiteY51" fmla="*/ 3914775 h 4429225"/>
              <a:gd name="connsiteX52" fmla="*/ 725827 w 4519987"/>
              <a:gd name="connsiteY52" fmla="*/ 3876675 h 4429225"/>
              <a:gd name="connsiteX53" fmla="*/ 697252 w 4519987"/>
              <a:gd name="connsiteY53" fmla="*/ 3838575 h 4429225"/>
              <a:gd name="connsiteX54" fmla="*/ 640102 w 4519987"/>
              <a:gd name="connsiteY54" fmla="*/ 3781425 h 4429225"/>
              <a:gd name="connsiteX55" fmla="*/ 611527 w 4519987"/>
              <a:gd name="connsiteY55" fmla="*/ 3733800 h 4429225"/>
              <a:gd name="connsiteX56" fmla="*/ 554377 w 4519987"/>
              <a:gd name="connsiteY56" fmla="*/ 3657600 h 4429225"/>
              <a:gd name="connsiteX57" fmla="*/ 525802 w 4519987"/>
              <a:gd name="connsiteY57" fmla="*/ 3609975 h 4429225"/>
              <a:gd name="connsiteX58" fmla="*/ 497227 w 4519987"/>
              <a:gd name="connsiteY58" fmla="*/ 3552825 h 4429225"/>
              <a:gd name="connsiteX59" fmla="*/ 440077 w 4519987"/>
              <a:gd name="connsiteY59" fmla="*/ 3495675 h 4429225"/>
              <a:gd name="connsiteX60" fmla="*/ 411502 w 4519987"/>
              <a:gd name="connsiteY60" fmla="*/ 3448050 h 4429225"/>
              <a:gd name="connsiteX61" fmla="*/ 278152 w 4519987"/>
              <a:gd name="connsiteY61" fmla="*/ 3257550 h 4429225"/>
              <a:gd name="connsiteX62" fmla="*/ 249577 w 4519987"/>
              <a:gd name="connsiteY62" fmla="*/ 3200400 h 4429225"/>
              <a:gd name="connsiteX63" fmla="*/ 240052 w 4519987"/>
              <a:gd name="connsiteY63" fmla="*/ 3162300 h 4429225"/>
              <a:gd name="connsiteX64" fmla="*/ 221002 w 4519987"/>
              <a:gd name="connsiteY64" fmla="*/ 3105150 h 4429225"/>
              <a:gd name="connsiteX65" fmla="*/ 173377 w 4519987"/>
              <a:gd name="connsiteY65" fmla="*/ 3019425 h 4429225"/>
              <a:gd name="connsiteX66" fmla="*/ 144802 w 4519987"/>
              <a:gd name="connsiteY66" fmla="*/ 2924175 h 4429225"/>
              <a:gd name="connsiteX67" fmla="*/ 68602 w 4519987"/>
              <a:gd name="connsiteY67" fmla="*/ 2724150 h 4429225"/>
              <a:gd name="connsiteX68" fmla="*/ 49552 w 4519987"/>
              <a:gd name="connsiteY68" fmla="*/ 2638425 h 4429225"/>
              <a:gd name="connsiteX69" fmla="*/ 40027 w 4519987"/>
              <a:gd name="connsiteY69" fmla="*/ 2562225 h 4429225"/>
              <a:gd name="connsiteX70" fmla="*/ 30502 w 4519987"/>
              <a:gd name="connsiteY70" fmla="*/ 2514600 h 4429225"/>
              <a:gd name="connsiteX71" fmla="*/ 11452 w 4519987"/>
              <a:gd name="connsiteY71" fmla="*/ 2400300 h 4429225"/>
              <a:gd name="connsiteX72" fmla="*/ 20977 w 4519987"/>
              <a:gd name="connsiteY72" fmla="*/ 1905000 h 4429225"/>
              <a:gd name="connsiteX73" fmla="*/ 30502 w 4519987"/>
              <a:gd name="connsiteY73" fmla="*/ 1838325 h 4429225"/>
              <a:gd name="connsiteX74" fmla="*/ 49552 w 4519987"/>
              <a:gd name="connsiteY74" fmla="*/ 1781175 h 4429225"/>
              <a:gd name="connsiteX75" fmla="*/ 59077 w 4519987"/>
              <a:gd name="connsiteY75" fmla="*/ 1743075 h 4429225"/>
              <a:gd name="connsiteX76" fmla="*/ 78127 w 4519987"/>
              <a:gd name="connsiteY76" fmla="*/ 1685925 h 4429225"/>
              <a:gd name="connsiteX77" fmla="*/ 87652 w 4519987"/>
              <a:gd name="connsiteY77" fmla="*/ 1638300 h 4429225"/>
              <a:gd name="connsiteX78" fmla="*/ 106702 w 4519987"/>
              <a:gd name="connsiteY78" fmla="*/ 1590675 h 4429225"/>
              <a:gd name="connsiteX79" fmla="*/ 135277 w 4519987"/>
              <a:gd name="connsiteY79" fmla="*/ 1504950 h 4429225"/>
              <a:gd name="connsiteX80" fmla="*/ 154327 w 4519987"/>
              <a:gd name="connsiteY80" fmla="*/ 1419225 h 4429225"/>
              <a:gd name="connsiteX81" fmla="*/ 230527 w 4519987"/>
              <a:gd name="connsiteY81" fmla="*/ 1276350 h 4429225"/>
              <a:gd name="connsiteX82" fmla="*/ 240052 w 4519987"/>
              <a:gd name="connsiteY82" fmla="*/ 1247775 h 4429225"/>
              <a:gd name="connsiteX83" fmla="*/ 268627 w 4519987"/>
              <a:gd name="connsiteY83" fmla="*/ 1200150 h 4429225"/>
              <a:gd name="connsiteX84" fmla="*/ 287677 w 4519987"/>
              <a:gd name="connsiteY84" fmla="*/ 1152525 h 4429225"/>
              <a:gd name="connsiteX85" fmla="*/ 316252 w 4519987"/>
              <a:gd name="connsiteY85" fmla="*/ 1114425 h 4429225"/>
              <a:gd name="connsiteX86" fmla="*/ 363877 w 4519987"/>
              <a:gd name="connsiteY86" fmla="*/ 1038225 h 4429225"/>
              <a:gd name="connsiteX87" fmla="*/ 382927 w 4519987"/>
              <a:gd name="connsiteY87" fmla="*/ 1009650 h 4429225"/>
              <a:gd name="connsiteX88" fmla="*/ 440077 w 4519987"/>
              <a:gd name="connsiteY88" fmla="*/ 904875 h 4429225"/>
              <a:gd name="connsiteX89" fmla="*/ 478177 w 4519987"/>
              <a:gd name="connsiteY89" fmla="*/ 857250 h 4429225"/>
              <a:gd name="connsiteX90" fmla="*/ 497227 w 4519987"/>
              <a:gd name="connsiteY90" fmla="*/ 828675 h 4429225"/>
              <a:gd name="connsiteX91" fmla="*/ 535327 w 4519987"/>
              <a:gd name="connsiteY91" fmla="*/ 800100 h 4429225"/>
              <a:gd name="connsiteX92" fmla="*/ 602002 w 4519987"/>
              <a:gd name="connsiteY92" fmla="*/ 733425 h 4429225"/>
              <a:gd name="connsiteX93" fmla="*/ 668677 w 4519987"/>
              <a:gd name="connsiteY93" fmla="*/ 676275 h 4429225"/>
              <a:gd name="connsiteX94" fmla="*/ 697252 w 4519987"/>
              <a:gd name="connsiteY94" fmla="*/ 657225 h 4429225"/>
              <a:gd name="connsiteX95" fmla="*/ 840127 w 4519987"/>
              <a:gd name="connsiteY95" fmla="*/ 533400 h 4429225"/>
              <a:gd name="connsiteX96" fmla="*/ 887752 w 4519987"/>
              <a:gd name="connsiteY96" fmla="*/ 504825 h 4429225"/>
              <a:gd name="connsiteX97" fmla="*/ 1167152 w 4519987"/>
              <a:gd name="connsiteY97" fmla="*/ 311150 h 4429225"/>
              <a:gd name="connsiteX98" fmla="*/ 1268752 w 4519987"/>
              <a:gd name="connsiteY98" fmla="*/ 285750 h 4429225"/>
              <a:gd name="connsiteX99" fmla="*/ 1411627 w 4519987"/>
              <a:gd name="connsiteY99" fmla="*/ 190500 h 4429225"/>
              <a:gd name="connsiteX100" fmla="*/ 1449727 w 4519987"/>
              <a:gd name="connsiteY100" fmla="*/ 161925 h 4429225"/>
              <a:gd name="connsiteX101" fmla="*/ 1525927 w 4519987"/>
              <a:gd name="connsiteY101" fmla="*/ 152400 h 4429225"/>
              <a:gd name="connsiteX102" fmla="*/ 1583077 w 4519987"/>
              <a:gd name="connsiteY102" fmla="*/ 142875 h 4429225"/>
              <a:gd name="connsiteX103" fmla="*/ 1716427 w 4519987"/>
              <a:gd name="connsiteY103" fmla="*/ 123825 h 4429225"/>
              <a:gd name="connsiteX104" fmla="*/ 1811677 w 4519987"/>
              <a:gd name="connsiteY104" fmla="*/ 114300 h 4429225"/>
              <a:gd name="connsiteX105" fmla="*/ 1859302 w 4519987"/>
              <a:gd name="connsiteY105" fmla="*/ 104775 h 4429225"/>
              <a:gd name="connsiteX106" fmla="*/ 1916452 w 4519987"/>
              <a:gd name="connsiteY106" fmla="*/ 95250 h 4429225"/>
              <a:gd name="connsiteX107" fmla="*/ 2030752 w 4519987"/>
              <a:gd name="connsiteY107" fmla="*/ 66675 h 4429225"/>
              <a:gd name="connsiteX108" fmla="*/ 2097427 w 4519987"/>
              <a:gd name="connsiteY108" fmla="*/ 47625 h 4429225"/>
              <a:gd name="connsiteX109" fmla="*/ 2164102 w 4519987"/>
              <a:gd name="connsiteY109" fmla="*/ 38100 h 4429225"/>
              <a:gd name="connsiteX110" fmla="*/ 2392702 w 4519987"/>
              <a:gd name="connsiteY11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925852 w 4519987"/>
              <a:gd name="connsiteY48" fmla="*/ 4067175 h 4429225"/>
              <a:gd name="connsiteX49" fmla="*/ 830602 w 4519987"/>
              <a:gd name="connsiteY49" fmla="*/ 3981450 h 4429225"/>
              <a:gd name="connsiteX50" fmla="*/ 763927 w 4519987"/>
              <a:gd name="connsiteY50" fmla="*/ 3914775 h 4429225"/>
              <a:gd name="connsiteX51" fmla="*/ 725827 w 4519987"/>
              <a:gd name="connsiteY51" fmla="*/ 3876675 h 4429225"/>
              <a:gd name="connsiteX52" fmla="*/ 697252 w 4519987"/>
              <a:gd name="connsiteY52" fmla="*/ 3838575 h 4429225"/>
              <a:gd name="connsiteX53" fmla="*/ 640102 w 4519987"/>
              <a:gd name="connsiteY53" fmla="*/ 3781425 h 4429225"/>
              <a:gd name="connsiteX54" fmla="*/ 611527 w 4519987"/>
              <a:gd name="connsiteY54" fmla="*/ 3733800 h 4429225"/>
              <a:gd name="connsiteX55" fmla="*/ 554377 w 4519987"/>
              <a:gd name="connsiteY55" fmla="*/ 3657600 h 4429225"/>
              <a:gd name="connsiteX56" fmla="*/ 525802 w 4519987"/>
              <a:gd name="connsiteY56" fmla="*/ 3609975 h 4429225"/>
              <a:gd name="connsiteX57" fmla="*/ 497227 w 4519987"/>
              <a:gd name="connsiteY57" fmla="*/ 3552825 h 4429225"/>
              <a:gd name="connsiteX58" fmla="*/ 440077 w 4519987"/>
              <a:gd name="connsiteY58" fmla="*/ 3495675 h 4429225"/>
              <a:gd name="connsiteX59" fmla="*/ 411502 w 4519987"/>
              <a:gd name="connsiteY59" fmla="*/ 3448050 h 4429225"/>
              <a:gd name="connsiteX60" fmla="*/ 278152 w 4519987"/>
              <a:gd name="connsiteY60" fmla="*/ 3257550 h 4429225"/>
              <a:gd name="connsiteX61" fmla="*/ 249577 w 4519987"/>
              <a:gd name="connsiteY61" fmla="*/ 3200400 h 4429225"/>
              <a:gd name="connsiteX62" fmla="*/ 240052 w 4519987"/>
              <a:gd name="connsiteY62" fmla="*/ 3162300 h 4429225"/>
              <a:gd name="connsiteX63" fmla="*/ 221002 w 4519987"/>
              <a:gd name="connsiteY63" fmla="*/ 3105150 h 4429225"/>
              <a:gd name="connsiteX64" fmla="*/ 173377 w 4519987"/>
              <a:gd name="connsiteY64" fmla="*/ 3019425 h 4429225"/>
              <a:gd name="connsiteX65" fmla="*/ 144802 w 4519987"/>
              <a:gd name="connsiteY65" fmla="*/ 2924175 h 4429225"/>
              <a:gd name="connsiteX66" fmla="*/ 68602 w 4519987"/>
              <a:gd name="connsiteY66" fmla="*/ 2724150 h 4429225"/>
              <a:gd name="connsiteX67" fmla="*/ 49552 w 4519987"/>
              <a:gd name="connsiteY67" fmla="*/ 2638425 h 4429225"/>
              <a:gd name="connsiteX68" fmla="*/ 40027 w 4519987"/>
              <a:gd name="connsiteY68" fmla="*/ 2562225 h 4429225"/>
              <a:gd name="connsiteX69" fmla="*/ 30502 w 4519987"/>
              <a:gd name="connsiteY69" fmla="*/ 2514600 h 4429225"/>
              <a:gd name="connsiteX70" fmla="*/ 11452 w 4519987"/>
              <a:gd name="connsiteY70" fmla="*/ 2400300 h 4429225"/>
              <a:gd name="connsiteX71" fmla="*/ 20977 w 4519987"/>
              <a:gd name="connsiteY71" fmla="*/ 1905000 h 4429225"/>
              <a:gd name="connsiteX72" fmla="*/ 30502 w 4519987"/>
              <a:gd name="connsiteY72" fmla="*/ 1838325 h 4429225"/>
              <a:gd name="connsiteX73" fmla="*/ 49552 w 4519987"/>
              <a:gd name="connsiteY73" fmla="*/ 1781175 h 4429225"/>
              <a:gd name="connsiteX74" fmla="*/ 59077 w 4519987"/>
              <a:gd name="connsiteY74" fmla="*/ 1743075 h 4429225"/>
              <a:gd name="connsiteX75" fmla="*/ 78127 w 4519987"/>
              <a:gd name="connsiteY75" fmla="*/ 1685925 h 4429225"/>
              <a:gd name="connsiteX76" fmla="*/ 87652 w 4519987"/>
              <a:gd name="connsiteY76" fmla="*/ 1638300 h 4429225"/>
              <a:gd name="connsiteX77" fmla="*/ 106702 w 4519987"/>
              <a:gd name="connsiteY77" fmla="*/ 1590675 h 4429225"/>
              <a:gd name="connsiteX78" fmla="*/ 135277 w 4519987"/>
              <a:gd name="connsiteY78" fmla="*/ 1504950 h 4429225"/>
              <a:gd name="connsiteX79" fmla="*/ 154327 w 4519987"/>
              <a:gd name="connsiteY79" fmla="*/ 1419225 h 4429225"/>
              <a:gd name="connsiteX80" fmla="*/ 230527 w 4519987"/>
              <a:gd name="connsiteY80" fmla="*/ 1276350 h 4429225"/>
              <a:gd name="connsiteX81" fmla="*/ 240052 w 4519987"/>
              <a:gd name="connsiteY81" fmla="*/ 1247775 h 4429225"/>
              <a:gd name="connsiteX82" fmla="*/ 268627 w 4519987"/>
              <a:gd name="connsiteY82" fmla="*/ 1200150 h 4429225"/>
              <a:gd name="connsiteX83" fmla="*/ 287677 w 4519987"/>
              <a:gd name="connsiteY83" fmla="*/ 1152525 h 4429225"/>
              <a:gd name="connsiteX84" fmla="*/ 316252 w 4519987"/>
              <a:gd name="connsiteY84" fmla="*/ 1114425 h 4429225"/>
              <a:gd name="connsiteX85" fmla="*/ 363877 w 4519987"/>
              <a:gd name="connsiteY85" fmla="*/ 1038225 h 4429225"/>
              <a:gd name="connsiteX86" fmla="*/ 382927 w 4519987"/>
              <a:gd name="connsiteY86" fmla="*/ 1009650 h 4429225"/>
              <a:gd name="connsiteX87" fmla="*/ 440077 w 4519987"/>
              <a:gd name="connsiteY87" fmla="*/ 904875 h 4429225"/>
              <a:gd name="connsiteX88" fmla="*/ 478177 w 4519987"/>
              <a:gd name="connsiteY88" fmla="*/ 857250 h 4429225"/>
              <a:gd name="connsiteX89" fmla="*/ 497227 w 4519987"/>
              <a:gd name="connsiteY89" fmla="*/ 828675 h 4429225"/>
              <a:gd name="connsiteX90" fmla="*/ 535327 w 4519987"/>
              <a:gd name="connsiteY90" fmla="*/ 800100 h 4429225"/>
              <a:gd name="connsiteX91" fmla="*/ 602002 w 4519987"/>
              <a:gd name="connsiteY91" fmla="*/ 733425 h 4429225"/>
              <a:gd name="connsiteX92" fmla="*/ 668677 w 4519987"/>
              <a:gd name="connsiteY92" fmla="*/ 676275 h 4429225"/>
              <a:gd name="connsiteX93" fmla="*/ 697252 w 4519987"/>
              <a:gd name="connsiteY93" fmla="*/ 657225 h 4429225"/>
              <a:gd name="connsiteX94" fmla="*/ 840127 w 4519987"/>
              <a:gd name="connsiteY94" fmla="*/ 533400 h 4429225"/>
              <a:gd name="connsiteX95" fmla="*/ 887752 w 4519987"/>
              <a:gd name="connsiteY95" fmla="*/ 504825 h 4429225"/>
              <a:gd name="connsiteX96" fmla="*/ 1167152 w 4519987"/>
              <a:gd name="connsiteY96" fmla="*/ 311150 h 4429225"/>
              <a:gd name="connsiteX97" fmla="*/ 1268752 w 4519987"/>
              <a:gd name="connsiteY97" fmla="*/ 285750 h 4429225"/>
              <a:gd name="connsiteX98" fmla="*/ 1411627 w 4519987"/>
              <a:gd name="connsiteY98" fmla="*/ 190500 h 4429225"/>
              <a:gd name="connsiteX99" fmla="*/ 1449727 w 4519987"/>
              <a:gd name="connsiteY99" fmla="*/ 161925 h 4429225"/>
              <a:gd name="connsiteX100" fmla="*/ 1525927 w 4519987"/>
              <a:gd name="connsiteY100" fmla="*/ 152400 h 4429225"/>
              <a:gd name="connsiteX101" fmla="*/ 1583077 w 4519987"/>
              <a:gd name="connsiteY101" fmla="*/ 142875 h 4429225"/>
              <a:gd name="connsiteX102" fmla="*/ 1716427 w 4519987"/>
              <a:gd name="connsiteY102" fmla="*/ 123825 h 4429225"/>
              <a:gd name="connsiteX103" fmla="*/ 1811677 w 4519987"/>
              <a:gd name="connsiteY103" fmla="*/ 114300 h 4429225"/>
              <a:gd name="connsiteX104" fmla="*/ 1859302 w 4519987"/>
              <a:gd name="connsiteY104" fmla="*/ 104775 h 4429225"/>
              <a:gd name="connsiteX105" fmla="*/ 1916452 w 4519987"/>
              <a:gd name="connsiteY105" fmla="*/ 95250 h 4429225"/>
              <a:gd name="connsiteX106" fmla="*/ 2030752 w 4519987"/>
              <a:gd name="connsiteY106" fmla="*/ 66675 h 4429225"/>
              <a:gd name="connsiteX107" fmla="*/ 2097427 w 4519987"/>
              <a:gd name="connsiteY107" fmla="*/ 47625 h 4429225"/>
              <a:gd name="connsiteX108" fmla="*/ 2164102 w 4519987"/>
              <a:gd name="connsiteY108" fmla="*/ 38100 h 4429225"/>
              <a:gd name="connsiteX109" fmla="*/ 2392702 w 4519987"/>
              <a:gd name="connsiteY10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725827 w 4519987"/>
              <a:gd name="connsiteY50" fmla="*/ 3876675 h 4429225"/>
              <a:gd name="connsiteX51" fmla="*/ 697252 w 4519987"/>
              <a:gd name="connsiteY51" fmla="*/ 3838575 h 4429225"/>
              <a:gd name="connsiteX52" fmla="*/ 640102 w 4519987"/>
              <a:gd name="connsiteY52" fmla="*/ 3781425 h 4429225"/>
              <a:gd name="connsiteX53" fmla="*/ 611527 w 4519987"/>
              <a:gd name="connsiteY53" fmla="*/ 3733800 h 4429225"/>
              <a:gd name="connsiteX54" fmla="*/ 554377 w 4519987"/>
              <a:gd name="connsiteY54" fmla="*/ 3657600 h 4429225"/>
              <a:gd name="connsiteX55" fmla="*/ 525802 w 4519987"/>
              <a:gd name="connsiteY55" fmla="*/ 3609975 h 4429225"/>
              <a:gd name="connsiteX56" fmla="*/ 497227 w 4519987"/>
              <a:gd name="connsiteY56" fmla="*/ 3552825 h 4429225"/>
              <a:gd name="connsiteX57" fmla="*/ 440077 w 4519987"/>
              <a:gd name="connsiteY57" fmla="*/ 3495675 h 4429225"/>
              <a:gd name="connsiteX58" fmla="*/ 411502 w 4519987"/>
              <a:gd name="connsiteY58" fmla="*/ 3448050 h 4429225"/>
              <a:gd name="connsiteX59" fmla="*/ 278152 w 4519987"/>
              <a:gd name="connsiteY59" fmla="*/ 3257550 h 4429225"/>
              <a:gd name="connsiteX60" fmla="*/ 249577 w 4519987"/>
              <a:gd name="connsiteY60" fmla="*/ 3200400 h 4429225"/>
              <a:gd name="connsiteX61" fmla="*/ 240052 w 4519987"/>
              <a:gd name="connsiteY61" fmla="*/ 3162300 h 4429225"/>
              <a:gd name="connsiteX62" fmla="*/ 221002 w 4519987"/>
              <a:gd name="connsiteY62" fmla="*/ 3105150 h 4429225"/>
              <a:gd name="connsiteX63" fmla="*/ 173377 w 4519987"/>
              <a:gd name="connsiteY63" fmla="*/ 3019425 h 4429225"/>
              <a:gd name="connsiteX64" fmla="*/ 144802 w 4519987"/>
              <a:gd name="connsiteY64" fmla="*/ 2924175 h 4429225"/>
              <a:gd name="connsiteX65" fmla="*/ 68602 w 4519987"/>
              <a:gd name="connsiteY65" fmla="*/ 2724150 h 4429225"/>
              <a:gd name="connsiteX66" fmla="*/ 49552 w 4519987"/>
              <a:gd name="connsiteY66" fmla="*/ 2638425 h 4429225"/>
              <a:gd name="connsiteX67" fmla="*/ 40027 w 4519987"/>
              <a:gd name="connsiteY67" fmla="*/ 2562225 h 4429225"/>
              <a:gd name="connsiteX68" fmla="*/ 30502 w 4519987"/>
              <a:gd name="connsiteY68" fmla="*/ 2514600 h 4429225"/>
              <a:gd name="connsiteX69" fmla="*/ 11452 w 4519987"/>
              <a:gd name="connsiteY69" fmla="*/ 2400300 h 4429225"/>
              <a:gd name="connsiteX70" fmla="*/ 20977 w 4519987"/>
              <a:gd name="connsiteY70" fmla="*/ 1905000 h 4429225"/>
              <a:gd name="connsiteX71" fmla="*/ 30502 w 4519987"/>
              <a:gd name="connsiteY71" fmla="*/ 1838325 h 4429225"/>
              <a:gd name="connsiteX72" fmla="*/ 49552 w 4519987"/>
              <a:gd name="connsiteY72" fmla="*/ 1781175 h 4429225"/>
              <a:gd name="connsiteX73" fmla="*/ 59077 w 4519987"/>
              <a:gd name="connsiteY73" fmla="*/ 1743075 h 4429225"/>
              <a:gd name="connsiteX74" fmla="*/ 78127 w 4519987"/>
              <a:gd name="connsiteY74" fmla="*/ 1685925 h 4429225"/>
              <a:gd name="connsiteX75" fmla="*/ 87652 w 4519987"/>
              <a:gd name="connsiteY75" fmla="*/ 1638300 h 4429225"/>
              <a:gd name="connsiteX76" fmla="*/ 106702 w 4519987"/>
              <a:gd name="connsiteY76" fmla="*/ 1590675 h 4429225"/>
              <a:gd name="connsiteX77" fmla="*/ 135277 w 4519987"/>
              <a:gd name="connsiteY77" fmla="*/ 1504950 h 4429225"/>
              <a:gd name="connsiteX78" fmla="*/ 154327 w 4519987"/>
              <a:gd name="connsiteY78" fmla="*/ 1419225 h 4429225"/>
              <a:gd name="connsiteX79" fmla="*/ 230527 w 4519987"/>
              <a:gd name="connsiteY79" fmla="*/ 1276350 h 4429225"/>
              <a:gd name="connsiteX80" fmla="*/ 240052 w 4519987"/>
              <a:gd name="connsiteY80" fmla="*/ 1247775 h 4429225"/>
              <a:gd name="connsiteX81" fmla="*/ 268627 w 4519987"/>
              <a:gd name="connsiteY81" fmla="*/ 1200150 h 4429225"/>
              <a:gd name="connsiteX82" fmla="*/ 287677 w 4519987"/>
              <a:gd name="connsiteY82" fmla="*/ 1152525 h 4429225"/>
              <a:gd name="connsiteX83" fmla="*/ 316252 w 4519987"/>
              <a:gd name="connsiteY83" fmla="*/ 1114425 h 4429225"/>
              <a:gd name="connsiteX84" fmla="*/ 363877 w 4519987"/>
              <a:gd name="connsiteY84" fmla="*/ 1038225 h 4429225"/>
              <a:gd name="connsiteX85" fmla="*/ 382927 w 4519987"/>
              <a:gd name="connsiteY85" fmla="*/ 1009650 h 4429225"/>
              <a:gd name="connsiteX86" fmla="*/ 440077 w 4519987"/>
              <a:gd name="connsiteY86" fmla="*/ 904875 h 4429225"/>
              <a:gd name="connsiteX87" fmla="*/ 478177 w 4519987"/>
              <a:gd name="connsiteY87" fmla="*/ 857250 h 4429225"/>
              <a:gd name="connsiteX88" fmla="*/ 497227 w 4519987"/>
              <a:gd name="connsiteY88" fmla="*/ 828675 h 4429225"/>
              <a:gd name="connsiteX89" fmla="*/ 535327 w 4519987"/>
              <a:gd name="connsiteY89" fmla="*/ 800100 h 4429225"/>
              <a:gd name="connsiteX90" fmla="*/ 602002 w 4519987"/>
              <a:gd name="connsiteY90" fmla="*/ 733425 h 4429225"/>
              <a:gd name="connsiteX91" fmla="*/ 668677 w 4519987"/>
              <a:gd name="connsiteY91" fmla="*/ 676275 h 4429225"/>
              <a:gd name="connsiteX92" fmla="*/ 697252 w 4519987"/>
              <a:gd name="connsiteY92" fmla="*/ 657225 h 4429225"/>
              <a:gd name="connsiteX93" fmla="*/ 840127 w 4519987"/>
              <a:gd name="connsiteY93" fmla="*/ 533400 h 4429225"/>
              <a:gd name="connsiteX94" fmla="*/ 887752 w 4519987"/>
              <a:gd name="connsiteY94" fmla="*/ 504825 h 4429225"/>
              <a:gd name="connsiteX95" fmla="*/ 1167152 w 4519987"/>
              <a:gd name="connsiteY95" fmla="*/ 311150 h 4429225"/>
              <a:gd name="connsiteX96" fmla="*/ 1268752 w 4519987"/>
              <a:gd name="connsiteY96" fmla="*/ 285750 h 4429225"/>
              <a:gd name="connsiteX97" fmla="*/ 1411627 w 4519987"/>
              <a:gd name="connsiteY97" fmla="*/ 190500 h 4429225"/>
              <a:gd name="connsiteX98" fmla="*/ 1449727 w 4519987"/>
              <a:gd name="connsiteY98" fmla="*/ 161925 h 4429225"/>
              <a:gd name="connsiteX99" fmla="*/ 1525927 w 4519987"/>
              <a:gd name="connsiteY99" fmla="*/ 152400 h 4429225"/>
              <a:gd name="connsiteX100" fmla="*/ 1583077 w 4519987"/>
              <a:gd name="connsiteY100" fmla="*/ 142875 h 4429225"/>
              <a:gd name="connsiteX101" fmla="*/ 1716427 w 4519987"/>
              <a:gd name="connsiteY101" fmla="*/ 123825 h 4429225"/>
              <a:gd name="connsiteX102" fmla="*/ 1811677 w 4519987"/>
              <a:gd name="connsiteY102" fmla="*/ 114300 h 4429225"/>
              <a:gd name="connsiteX103" fmla="*/ 1859302 w 4519987"/>
              <a:gd name="connsiteY103" fmla="*/ 104775 h 4429225"/>
              <a:gd name="connsiteX104" fmla="*/ 1916452 w 4519987"/>
              <a:gd name="connsiteY104" fmla="*/ 95250 h 4429225"/>
              <a:gd name="connsiteX105" fmla="*/ 2030752 w 4519987"/>
              <a:gd name="connsiteY105" fmla="*/ 66675 h 4429225"/>
              <a:gd name="connsiteX106" fmla="*/ 2097427 w 4519987"/>
              <a:gd name="connsiteY106" fmla="*/ 47625 h 4429225"/>
              <a:gd name="connsiteX107" fmla="*/ 2164102 w 4519987"/>
              <a:gd name="connsiteY107" fmla="*/ 38100 h 4429225"/>
              <a:gd name="connsiteX108" fmla="*/ 2392702 w 4519987"/>
              <a:gd name="connsiteY10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40102 w 4519987"/>
              <a:gd name="connsiteY51" fmla="*/ 3781425 h 4429225"/>
              <a:gd name="connsiteX52" fmla="*/ 611527 w 4519987"/>
              <a:gd name="connsiteY52" fmla="*/ 3733800 h 4429225"/>
              <a:gd name="connsiteX53" fmla="*/ 554377 w 4519987"/>
              <a:gd name="connsiteY53" fmla="*/ 3657600 h 4429225"/>
              <a:gd name="connsiteX54" fmla="*/ 525802 w 4519987"/>
              <a:gd name="connsiteY54" fmla="*/ 3609975 h 4429225"/>
              <a:gd name="connsiteX55" fmla="*/ 497227 w 4519987"/>
              <a:gd name="connsiteY55" fmla="*/ 3552825 h 4429225"/>
              <a:gd name="connsiteX56" fmla="*/ 440077 w 4519987"/>
              <a:gd name="connsiteY56" fmla="*/ 3495675 h 4429225"/>
              <a:gd name="connsiteX57" fmla="*/ 411502 w 4519987"/>
              <a:gd name="connsiteY57" fmla="*/ 3448050 h 4429225"/>
              <a:gd name="connsiteX58" fmla="*/ 278152 w 4519987"/>
              <a:gd name="connsiteY58" fmla="*/ 3257550 h 4429225"/>
              <a:gd name="connsiteX59" fmla="*/ 249577 w 4519987"/>
              <a:gd name="connsiteY59" fmla="*/ 3200400 h 4429225"/>
              <a:gd name="connsiteX60" fmla="*/ 240052 w 4519987"/>
              <a:gd name="connsiteY60" fmla="*/ 3162300 h 4429225"/>
              <a:gd name="connsiteX61" fmla="*/ 221002 w 4519987"/>
              <a:gd name="connsiteY61" fmla="*/ 3105150 h 4429225"/>
              <a:gd name="connsiteX62" fmla="*/ 173377 w 4519987"/>
              <a:gd name="connsiteY62" fmla="*/ 3019425 h 4429225"/>
              <a:gd name="connsiteX63" fmla="*/ 144802 w 4519987"/>
              <a:gd name="connsiteY63" fmla="*/ 2924175 h 4429225"/>
              <a:gd name="connsiteX64" fmla="*/ 68602 w 4519987"/>
              <a:gd name="connsiteY64" fmla="*/ 2724150 h 4429225"/>
              <a:gd name="connsiteX65" fmla="*/ 49552 w 4519987"/>
              <a:gd name="connsiteY65" fmla="*/ 2638425 h 4429225"/>
              <a:gd name="connsiteX66" fmla="*/ 40027 w 4519987"/>
              <a:gd name="connsiteY66" fmla="*/ 2562225 h 4429225"/>
              <a:gd name="connsiteX67" fmla="*/ 30502 w 4519987"/>
              <a:gd name="connsiteY67" fmla="*/ 2514600 h 4429225"/>
              <a:gd name="connsiteX68" fmla="*/ 11452 w 4519987"/>
              <a:gd name="connsiteY68" fmla="*/ 2400300 h 4429225"/>
              <a:gd name="connsiteX69" fmla="*/ 20977 w 4519987"/>
              <a:gd name="connsiteY69" fmla="*/ 1905000 h 4429225"/>
              <a:gd name="connsiteX70" fmla="*/ 30502 w 4519987"/>
              <a:gd name="connsiteY70" fmla="*/ 1838325 h 4429225"/>
              <a:gd name="connsiteX71" fmla="*/ 49552 w 4519987"/>
              <a:gd name="connsiteY71" fmla="*/ 1781175 h 4429225"/>
              <a:gd name="connsiteX72" fmla="*/ 59077 w 4519987"/>
              <a:gd name="connsiteY72" fmla="*/ 1743075 h 4429225"/>
              <a:gd name="connsiteX73" fmla="*/ 78127 w 4519987"/>
              <a:gd name="connsiteY73" fmla="*/ 1685925 h 4429225"/>
              <a:gd name="connsiteX74" fmla="*/ 87652 w 4519987"/>
              <a:gd name="connsiteY74" fmla="*/ 1638300 h 4429225"/>
              <a:gd name="connsiteX75" fmla="*/ 106702 w 4519987"/>
              <a:gd name="connsiteY75" fmla="*/ 1590675 h 4429225"/>
              <a:gd name="connsiteX76" fmla="*/ 135277 w 4519987"/>
              <a:gd name="connsiteY76" fmla="*/ 1504950 h 4429225"/>
              <a:gd name="connsiteX77" fmla="*/ 154327 w 4519987"/>
              <a:gd name="connsiteY77" fmla="*/ 1419225 h 4429225"/>
              <a:gd name="connsiteX78" fmla="*/ 230527 w 4519987"/>
              <a:gd name="connsiteY78" fmla="*/ 1276350 h 4429225"/>
              <a:gd name="connsiteX79" fmla="*/ 240052 w 4519987"/>
              <a:gd name="connsiteY79" fmla="*/ 1247775 h 4429225"/>
              <a:gd name="connsiteX80" fmla="*/ 268627 w 4519987"/>
              <a:gd name="connsiteY80" fmla="*/ 1200150 h 4429225"/>
              <a:gd name="connsiteX81" fmla="*/ 287677 w 4519987"/>
              <a:gd name="connsiteY81" fmla="*/ 1152525 h 4429225"/>
              <a:gd name="connsiteX82" fmla="*/ 316252 w 4519987"/>
              <a:gd name="connsiteY82" fmla="*/ 1114425 h 4429225"/>
              <a:gd name="connsiteX83" fmla="*/ 363877 w 4519987"/>
              <a:gd name="connsiteY83" fmla="*/ 1038225 h 4429225"/>
              <a:gd name="connsiteX84" fmla="*/ 382927 w 4519987"/>
              <a:gd name="connsiteY84" fmla="*/ 1009650 h 4429225"/>
              <a:gd name="connsiteX85" fmla="*/ 440077 w 4519987"/>
              <a:gd name="connsiteY85" fmla="*/ 904875 h 4429225"/>
              <a:gd name="connsiteX86" fmla="*/ 478177 w 4519987"/>
              <a:gd name="connsiteY86" fmla="*/ 857250 h 4429225"/>
              <a:gd name="connsiteX87" fmla="*/ 497227 w 4519987"/>
              <a:gd name="connsiteY87" fmla="*/ 828675 h 4429225"/>
              <a:gd name="connsiteX88" fmla="*/ 535327 w 4519987"/>
              <a:gd name="connsiteY88" fmla="*/ 800100 h 4429225"/>
              <a:gd name="connsiteX89" fmla="*/ 602002 w 4519987"/>
              <a:gd name="connsiteY89" fmla="*/ 733425 h 4429225"/>
              <a:gd name="connsiteX90" fmla="*/ 668677 w 4519987"/>
              <a:gd name="connsiteY90" fmla="*/ 676275 h 4429225"/>
              <a:gd name="connsiteX91" fmla="*/ 697252 w 4519987"/>
              <a:gd name="connsiteY91" fmla="*/ 657225 h 4429225"/>
              <a:gd name="connsiteX92" fmla="*/ 840127 w 4519987"/>
              <a:gd name="connsiteY92" fmla="*/ 533400 h 4429225"/>
              <a:gd name="connsiteX93" fmla="*/ 887752 w 4519987"/>
              <a:gd name="connsiteY93" fmla="*/ 504825 h 4429225"/>
              <a:gd name="connsiteX94" fmla="*/ 1167152 w 4519987"/>
              <a:gd name="connsiteY94" fmla="*/ 311150 h 4429225"/>
              <a:gd name="connsiteX95" fmla="*/ 1268752 w 4519987"/>
              <a:gd name="connsiteY95" fmla="*/ 285750 h 4429225"/>
              <a:gd name="connsiteX96" fmla="*/ 1411627 w 4519987"/>
              <a:gd name="connsiteY96" fmla="*/ 190500 h 4429225"/>
              <a:gd name="connsiteX97" fmla="*/ 1449727 w 4519987"/>
              <a:gd name="connsiteY97" fmla="*/ 161925 h 4429225"/>
              <a:gd name="connsiteX98" fmla="*/ 1525927 w 4519987"/>
              <a:gd name="connsiteY98" fmla="*/ 152400 h 4429225"/>
              <a:gd name="connsiteX99" fmla="*/ 1583077 w 4519987"/>
              <a:gd name="connsiteY99" fmla="*/ 142875 h 4429225"/>
              <a:gd name="connsiteX100" fmla="*/ 1716427 w 4519987"/>
              <a:gd name="connsiteY100" fmla="*/ 123825 h 4429225"/>
              <a:gd name="connsiteX101" fmla="*/ 1811677 w 4519987"/>
              <a:gd name="connsiteY101" fmla="*/ 114300 h 4429225"/>
              <a:gd name="connsiteX102" fmla="*/ 1859302 w 4519987"/>
              <a:gd name="connsiteY102" fmla="*/ 104775 h 4429225"/>
              <a:gd name="connsiteX103" fmla="*/ 1916452 w 4519987"/>
              <a:gd name="connsiteY103" fmla="*/ 95250 h 4429225"/>
              <a:gd name="connsiteX104" fmla="*/ 2030752 w 4519987"/>
              <a:gd name="connsiteY104" fmla="*/ 66675 h 4429225"/>
              <a:gd name="connsiteX105" fmla="*/ 2097427 w 4519987"/>
              <a:gd name="connsiteY105" fmla="*/ 47625 h 4429225"/>
              <a:gd name="connsiteX106" fmla="*/ 2164102 w 4519987"/>
              <a:gd name="connsiteY106" fmla="*/ 38100 h 4429225"/>
              <a:gd name="connsiteX107" fmla="*/ 2392702 w 4519987"/>
              <a:gd name="connsiteY10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11527 w 4519987"/>
              <a:gd name="connsiteY51" fmla="*/ 3733800 h 4429225"/>
              <a:gd name="connsiteX52" fmla="*/ 554377 w 4519987"/>
              <a:gd name="connsiteY52" fmla="*/ 3657600 h 4429225"/>
              <a:gd name="connsiteX53" fmla="*/ 525802 w 4519987"/>
              <a:gd name="connsiteY53" fmla="*/ 3609975 h 4429225"/>
              <a:gd name="connsiteX54" fmla="*/ 497227 w 4519987"/>
              <a:gd name="connsiteY54" fmla="*/ 3552825 h 4429225"/>
              <a:gd name="connsiteX55" fmla="*/ 440077 w 4519987"/>
              <a:gd name="connsiteY55" fmla="*/ 3495675 h 4429225"/>
              <a:gd name="connsiteX56" fmla="*/ 411502 w 4519987"/>
              <a:gd name="connsiteY56" fmla="*/ 3448050 h 4429225"/>
              <a:gd name="connsiteX57" fmla="*/ 278152 w 4519987"/>
              <a:gd name="connsiteY57" fmla="*/ 3257550 h 4429225"/>
              <a:gd name="connsiteX58" fmla="*/ 249577 w 4519987"/>
              <a:gd name="connsiteY58" fmla="*/ 3200400 h 4429225"/>
              <a:gd name="connsiteX59" fmla="*/ 240052 w 4519987"/>
              <a:gd name="connsiteY59" fmla="*/ 3162300 h 4429225"/>
              <a:gd name="connsiteX60" fmla="*/ 221002 w 4519987"/>
              <a:gd name="connsiteY60" fmla="*/ 3105150 h 4429225"/>
              <a:gd name="connsiteX61" fmla="*/ 173377 w 4519987"/>
              <a:gd name="connsiteY61" fmla="*/ 3019425 h 4429225"/>
              <a:gd name="connsiteX62" fmla="*/ 144802 w 4519987"/>
              <a:gd name="connsiteY62" fmla="*/ 2924175 h 4429225"/>
              <a:gd name="connsiteX63" fmla="*/ 68602 w 4519987"/>
              <a:gd name="connsiteY63" fmla="*/ 2724150 h 4429225"/>
              <a:gd name="connsiteX64" fmla="*/ 49552 w 4519987"/>
              <a:gd name="connsiteY64" fmla="*/ 2638425 h 4429225"/>
              <a:gd name="connsiteX65" fmla="*/ 40027 w 4519987"/>
              <a:gd name="connsiteY65" fmla="*/ 2562225 h 4429225"/>
              <a:gd name="connsiteX66" fmla="*/ 30502 w 4519987"/>
              <a:gd name="connsiteY66" fmla="*/ 2514600 h 4429225"/>
              <a:gd name="connsiteX67" fmla="*/ 11452 w 4519987"/>
              <a:gd name="connsiteY67" fmla="*/ 2400300 h 4429225"/>
              <a:gd name="connsiteX68" fmla="*/ 20977 w 4519987"/>
              <a:gd name="connsiteY68" fmla="*/ 1905000 h 4429225"/>
              <a:gd name="connsiteX69" fmla="*/ 30502 w 4519987"/>
              <a:gd name="connsiteY69" fmla="*/ 1838325 h 4429225"/>
              <a:gd name="connsiteX70" fmla="*/ 49552 w 4519987"/>
              <a:gd name="connsiteY70" fmla="*/ 1781175 h 4429225"/>
              <a:gd name="connsiteX71" fmla="*/ 59077 w 4519987"/>
              <a:gd name="connsiteY71" fmla="*/ 1743075 h 4429225"/>
              <a:gd name="connsiteX72" fmla="*/ 78127 w 4519987"/>
              <a:gd name="connsiteY72" fmla="*/ 1685925 h 4429225"/>
              <a:gd name="connsiteX73" fmla="*/ 87652 w 4519987"/>
              <a:gd name="connsiteY73" fmla="*/ 1638300 h 4429225"/>
              <a:gd name="connsiteX74" fmla="*/ 106702 w 4519987"/>
              <a:gd name="connsiteY74" fmla="*/ 1590675 h 4429225"/>
              <a:gd name="connsiteX75" fmla="*/ 135277 w 4519987"/>
              <a:gd name="connsiteY75" fmla="*/ 1504950 h 4429225"/>
              <a:gd name="connsiteX76" fmla="*/ 154327 w 4519987"/>
              <a:gd name="connsiteY76" fmla="*/ 1419225 h 4429225"/>
              <a:gd name="connsiteX77" fmla="*/ 230527 w 4519987"/>
              <a:gd name="connsiteY77" fmla="*/ 1276350 h 4429225"/>
              <a:gd name="connsiteX78" fmla="*/ 240052 w 4519987"/>
              <a:gd name="connsiteY78" fmla="*/ 1247775 h 4429225"/>
              <a:gd name="connsiteX79" fmla="*/ 268627 w 4519987"/>
              <a:gd name="connsiteY79" fmla="*/ 1200150 h 4429225"/>
              <a:gd name="connsiteX80" fmla="*/ 287677 w 4519987"/>
              <a:gd name="connsiteY80" fmla="*/ 1152525 h 4429225"/>
              <a:gd name="connsiteX81" fmla="*/ 316252 w 4519987"/>
              <a:gd name="connsiteY81" fmla="*/ 1114425 h 4429225"/>
              <a:gd name="connsiteX82" fmla="*/ 363877 w 4519987"/>
              <a:gd name="connsiteY82" fmla="*/ 1038225 h 4429225"/>
              <a:gd name="connsiteX83" fmla="*/ 382927 w 4519987"/>
              <a:gd name="connsiteY83" fmla="*/ 1009650 h 4429225"/>
              <a:gd name="connsiteX84" fmla="*/ 440077 w 4519987"/>
              <a:gd name="connsiteY84" fmla="*/ 904875 h 4429225"/>
              <a:gd name="connsiteX85" fmla="*/ 478177 w 4519987"/>
              <a:gd name="connsiteY85" fmla="*/ 857250 h 4429225"/>
              <a:gd name="connsiteX86" fmla="*/ 497227 w 4519987"/>
              <a:gd name="connsiteY86" fmla="*/ 828675 h 4429225"/>
              <a:gd name="connsiteX87" fmla="*/ 535327 w 4519987"/>
              <a:gd name="connsiteY87" fmla="*/ 800100 h 4429225"/>
              <a:gd name="connsiteX88" fmla="*/ 602002 w 4519987"/>
              <a:gd name="connsiteY88" fmla="*/ 733425 h 4429225"/>
              <a:gd name="connsiteX89" fmla="*/ 668677 w 4519987"/>
              <a:gd name="connsiteY89" fmla="*/ 676275 h 4429225"/>
              <a:gd name="connsiteX90" fmla="*/ 697252 w 4519987"/>
              <a:gd name="connsiteY90" fmla="*/ 657225 h 4429225"/>
              <a:gd name="connsiteX91" fmla="*/ 840127 w 4519987"/>
              <a:gd name="connsiteY91" fmla="*/ 533400 h 4429225"/>
              <a:gd name="connsiteX92" fmla="*/ 887752 w 4519987"/>
              <a:gd name="connsiteY92" fmla="*/ 504825 h 4429225"/>
              <a:gd name="connsiteX93" fmla="*/ 1167152 w 4519987"/>
              <a:gd name="connsiteY93" fmla="*/ 311150 h 4429225"/>
              <a:gd name="connsiteX94" fmla="*/ 1268752 w 4519987"/>
              <a:gd name="connsiteY94" fmla="*/ 285750 h 4429225"/>
              <a:gd name="connsiteX95" fmla="*/ 1411627 w 4519987"/>
              <a:gd name="connsiteY95" fmla="*/ 190500 h 4429225"/>
              <a:gd name="connsiteX96" fmla="*/ 1449727 w 4519987"/>
              <a:gd name="connsiteY96" fmla="*/ 161925 h 4429225"/>
              <a:gd name="connsiteX97" fmla="*/ 1525927 w 4519987"/>
              <a:gd name="connsiteY97" fmla="*/ 152400 h 4429225"/>
              <a:gd name="connsiteX98" fmla="*/ 1583077 w 4519987"/>
              <a:gd name="connsiteY98" fmla="*/ 142875 h 4429225"/>
              <a:gd name="connsiteX99" fmla="*/ 1716427 w 4519987"/>
              <a:gd name="connsiteY99" fmla="*/ 123825 h 4429225"/>
              <a:gd name="connsiteX100" fmla="*/ 1811677 w 4519987"/>
              <a:gd name="connsiteY100" fmla="*/ 114300 h 4429225"/>
              <a:gd name="connsiteX101" fmla="*/ 1859302 w 4519987"/>
              <a:gd name="connsiteY101" fmla="*/ 104775 h 4429225"/>
              <a:gd name="connsiteX102" fmla="*/ 1916452 w 4519987"/>
              <a:gd name="connsiteY102" fmla="*/ 95250 h 4429225"/>
              <a:gd name="connsiteX103" fmla="*/ 2030752 w 4519987"/>
              <a:gd name="connsiteY103" fmla="*/ 66675 h 4429225"/>
              <a:gd name="connsiteX104" fmla="*/ 2097427 w 4519987"/>
              <a:gd name="connsiteY104" fmla="*/ 47625 h 4429225"/>
              <a:gd name="connsiteX105" fmla="*/ 2164102 w 4519987"/>
              <a:gd name="connsiteY105" fmla="*/ 38100 h 4429225"/>
              <a:gd name="connsiteX106" fmla="*/ 2392702 w 4519987"/>
              <a:gd name="connsiteY10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525802 w 4519987"/>
              <a:gd name="connsiteY52" fmla="*/ 3609975 h 4429225"/>
              <a:gd name="connsiteX53" fmla="*/ 497227 w 4519987"/>
              <a:gd name="connsiteY53" fmla="*/ 3552825 h 4429225"/>
              <a:gd name="connsiteX54" fmla="*/ 440077 w 4519987"/>
              <a:gd name="connsiteY54" fmla="*/ 3495675 h 4429225"/>
              <a:gd name="connsiteX55" fmla="*/ 411502 w 4519987"/>
              <a:gd name="connsiteY55" fmla="*/ 3448050 h 4429225"/>
              <a:gd name="connsiteX56" fmla="*/ 278152 w 4519987"/>
              <a:gd name="connsiteY56" fmla="*/ 3257550 h 4429225"/>
              <a:gd name="connsiteX57" fmla="*/ 249577 w 4519987"/>
              <a:gd name="connsiteY57" fmla="*/ 3200400 h 4429225"/>
              <a:gd name="connsiteX58" fmla="*/ 240052 w 4519987"/>
              <a:gd name="connsiteY58" fmla="*/ 3162300 h 4429225"/>
              <a:gd name="connsiteX59" fmla="*/ 221002 w 4519987"/>
              <a:gd name="connsiteY59" fmla="*/ 3105150 h 4429225"/>
              <a:gd name="connsiteX60" fmla="*/ 173377 w 4519987"/>
              <a:gd name="connsiteY60" fmla="*/ 3019425 h 4429225"/>
              <a:gd name="connsiteX61" fmla="*/ 144802 w 4519987"/>
              <a:gd name="connsiteY61" fmla="*/ 2924175 h 4429225"/>
              <a:gd name="connsiteX62" fmla="*/ 68602 w 4519987"/>
              <a:gd name="connsiteY62" fmla="*/ 2724150 h 4429225"/>
              <a:gd name="connsiteX63" fmla="*/ 49552 w 4519987"/>
              <a:gd name="connsiteY63" fmla="*/ 2638425 h 4429225"/>
              <a:gd name="connsiteX64" fmla="*/ 40027 w 4519987"/>
              <a:gd name="connsiteY64" fmla="*/ 2562225 h 4429225"/>
              <a:gd name="connsiteX65" fmla="*/ 30502 w 4519987"/>
              <a:gd name="connsiteY65" fmla="*/ 2514600 h 4429225"/>
              <a:gd name="connsiteX66" fmla="*/ 11452 w 4519987"/>
              <a:gd name="connsiteY66" fmla="*/ 2400300 h 4429225"/>
              <a:gd name="connsiteX67" fmla="*/ 20977 w 4519987"/>
              <a:gd name="connsiteY67" fmla="*/ 1905000 h 4429225"/>
              <a:gd name="connsiteX68" fmla="*/ 30502 w 4519987"/>
              <a:gd name="connsiteY68" fmla="*/ 1838325 h 4429225"/>
              <a:gd name="connsiteX69" fmla="*/ 49552 w 4519987"/>
              <a:gd name="connsiteY69" fmla="*/ 1781175 h 4429225"/>
              <a:gd name="connsiteX70" fmla="*/ 59077 w 4519987"/>
              <a:gd name="connsiteY70" fmla="*/ 1743075 h 4429225"/>
              <a:gd name="connsiteX71" fmla="*/ 78127 w 4519987"/>
              <a:gd name="connsiteY71" fmla="*/ 1685925 h 4429225"/>
              <a:gd name="connsiteX72" fmla="*/ 87652 w 4519987"/>
              <a:gd name="connsiteY72" fmla="*/ 1638300 h 4429225"/>
              <a:gd name="connsiteX73" fmla="*/ 106702 w 4519987"/>
              <a:gd name="connsiteY73" fmla="*/ 1590675 h 4429225"/>
              <a:gd name="connsiteX74" fmla="*/ 135277 w 4519987"/>
              <a:gd name="connsiteY74" fmla="*/ 1504950 h 4429225"/>
              <a:gd name="connsiteX75" fmla="*/ 154327 w 4519987"/>
              <a:gd name="connsiteY75" fmla="*/ 1419225 h 4429225"/>
              <a:gd name="connsiteX76" fmla="*/ 230527 w 4519987"/>
              <a:gd name="connsiteY76" fmla="*/ 1276350 h 4429225"/>
              <a:gd name="connsiteX77" fmla="*/ 240052 w 4519987"/>
              <a:gd name="connsiteY77" fmla="*/ 1247775 h 4429225"/>
              <a:gd name="connsiteX78" fmla="*/ 268627 w 4519987"/>
              <a:gd name="connsiteY78" fmla="*/ 1200150 h 4429225"/>
              <a:gd name="connsiteX79" fmla="*/ 287677 w 4519987"/>
              <a:gd name="connsiteY79" fmla="*/ 1152525 h 4429225"/>
              <a:gd name="connsiteX80" fmla="*/ 316252 w 4519987"/>
              <a:gd name="connsiteY80" fmla="*/ 1114425 h 4429225"/>
              <a:gd name="connsiteX81" fmla="*/ 363877 w 4519987"/>
              <a:gd name="connsiteY81" fmla="*/ 1038225 h 4429225"/>
              <a:gd name="connsiteX82" fmla="*/ 382927 w 4519987"/>
              <a:gd name="connsiteY82" fmla="*/ 1009650 h 4429225"/>
              <a:gd name="connsiteX83" fmla="*/ 440077 w 4519987"/>
              <a:gd name="connsiteY83" fmla="*/ 904875 h 4429225"/>
              <a:gd name="connsiteX84" fmla="*/ 478177 w 4519987"/>
              <a:gd name="connsiteY84" fmla="*/ 857250 h 4429225"/>
              <a:gd name="connsiteX85" fmla="*/ 497227 w 4519987"/>
              <a:gd name="connsiteY85" fmla="*/ 828675 h 4429225"/>
              <a:gd name="connsiteX86" fmla="*/ 535327 w 4519987"/>
              <a:gd name="connsiteY86" fmla="*/ 800100 h 4429225"/>
              <a:gd name="connsiteX87" fmla="*/ 602002 w 4519987"/>
              <a:gd name="connsiteY87" fmla="*/ 733425 h 4429225"/>
              <a:gd name="connsiteX88" fmla="*/ 668677 w 4519987"/>
              <a:gd name="connsiteY88" fmla="*/ 676275 h 4429225"/>
              <a:gd name="connsiteX89" fmla="*/ 697252 w 4519987"/>
              <a:gd name="connsiteY89" fmla="*/ 657225 h 4429225"/>
              <a:gd name="connsiteX90" fmla="*/ 840127 w 4519987"/>
              <a:gd name="connsiteY90" fmla="*/ 533400 h 4429225"/>
              <a:gd name="connsiteX91" fmla="*/ 887752 w 4519987"/>
              <a:gd name="connsiteY91" fmla="*/ 504825 h 4429225"/>
              <a:gd name="connsiteX92" fmla="*/ 1167152 w 4519987"/>
              <a:gd name="connsiteY92" fmla="*/ 311150 h 4429225"/>
              <a:gd name="connsiteX93" fmla="*/ 1268752 w 4519987"/>
              <a:gd name="connsiteY93" fmla="*/ 285750 h 4429225"/>
              <a:gd name="connsiteX94" fmla="*/ 1411627 w 4519987"/>
              <a:gd name="connsiteY94" fmla="*/ 190500 h 4429225"/>
              <a:gd name="connsiteX95" fmla="*/ 1449727 w 4519987"/>
              <a:gd name="connsiteY95" fmla="*/ 161925 h 4429225"/>
              <a:gd name="connsiteX96" fmla="*/ 1525927 w 4519987"/>
              <a:gd name="connsiteY96" fmla="*/ 152400 h 4429225"/>
              <a:gd name="connsiteX97" fmla="*/ 1583077 w 4519987"/>
              <a:gd name="connsiteY97" fmla="*/ 142875 h 4429225"/>
              <a:gd name="connsiteX98" fmla="*/ 1716427 w 4519987"/>
              <a:gd name="connsiteY98" fmla="*/ 123825 h 4429225"/>
              <a:gd name="connsiteX99" fmla="*/ 1811677 w 4519987"/>
              <a:gd name="connsiteY99" fmla="*/ 114300 h 4429225"/>
              <a:gd name="connsiteX100" fmla="*/ 1859302 w 4519987"/>
              <a:gd name="connsiteY100" fmla="*/ 104775 h 4429225"/>
              <a:gd name="connsiteX101" fmla="*/ 1916452 w 4519987"/>
              <a:gd name="connsiteY101" fmla="*/ 95250 h 4429225"/>
              <a:gd name="connsiteX102" fmla="*/ 2030752 w 4519987"/>
              <a:gd name="connsiteY102" fmla="*/ 66675 h 4429225"/>
              <a:gd name="connsiteX103" fmla="*/ 2097427 w 4519987"/>
              <a:gd name="connsiteY103" fmla="*/ 47625 h 4429225"/>
              <a:gd name="connsiteX104" fmla="*/ 2164102 w 4519987"/>
              <a:gd name="connsiteY104" fmla="*/ 38100 h 4429225"/>
              <a:gd name="connsiteX105" fmla="*/ 2392702 w 4519987"/>
              <a:gd name="connsiteY105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411502 w 4519987"/>
              <a:gd name="connsiteY54" fmla="*/ 3448050 h 4429225"/>
              <a:gd name="connsiteX55" fmla="*/ 278152 w 4519987"/>
              <a:gd name="connsiteY55" fmla="*/ 3257550 h 4429225"/>
              <a:gd name="connsiteX56" fmla="*/ 249577 w 4519987"/>
              <a:gd name="connsiteY56" fmla="*/ 3200400 h 4429225"/>
              <a:gd name="connsiteX57" fmla="*/ 240052 w 4519987"/>
              <a:gd name="connsiteY57" fmla="*/ 3162300 h 4429225"/>
              <a:gd name="connsiteX58" fmla="*/ 221002 w 4519987"/>
              <a:gd name="connsiteY58" fmla="*/ 3105150 h 4429225"/>
              <a:gd name="connsiteX59" fmla="*/ 173377 w 4519987"/>
              <a:gd name="connsiteY59" fmla="*/ 3019425 h 4429225"/>
              <a:gd name="connsiteX60" fmla="*/ 144802 w 4519987"/>
              <a:gd name="connsiteY60" fmla="*/ 2924175 h 4429225"/>
              <a:gd name="connsiteX61" fmla="*/ 68602 w 4519987"/>
              <a:gd name="connsiteY61" fmla="*/ 2724150 h 4429225"/>
              <a:gd name="connsiteX62" fmla="*/ 49552 w 4519987"/>
              <a:gd name="connsiteY62" fmla="*/ 2638425 h 4429225"/>
              <a:gd name="connsiteX63" fmla="*/ 40027 w 4519987"/>
              <a:gd name="connsiteY63" fmla="*/ 2562225 h 4429225"/>
              <a:gd name="connsiteX64" fmla="*/ 30502 w 4519987"/>
              <a:gd name="connsiteY64" fmla="*/ 2514600 h 4429225"/>
              <a:gd name="connsiteX65" fmla="*/ 11452 w 4519987"/>
              <a:gd name="connsiteY65" fmla="*/ 2400300 h 4429225"/>
              <a:gd name="connsiteX66" fmla="*/ 20977 w 4519987"/>
              <a:gd name="connsiteY66" fmla="*/ 1905000 h 4429225"/>
              <a:gd name="connsiteX67" fmla="*/ 30502 w 4519987"/>
              <a:gd name="connsiteY67" fmla="*/ 1838325 h 4429225"/>
              <a:gd name="connsiteX68" fmla="*/ 49552 w 4519987"/>
              <a:gd name="connsiteY68" fmla="*/ 1781175 h 4429225"/>
              <a:gd name="connsiteX69" fmla="*/ 59077 w 4519987"/>
              <a:gd name="connsiteY69" fmla="*/ 1743075 h 4429225"/>
              <a:gd name="connsiteX70" fmla="*/ 78127 w 4519987"/>
              <a:gd name="connsiteY70" fmla="*/ 1685925 h 4429225"/>
              <a:gd name="connsiteX71" fmla="*/ 87652 w 4519987"/>
              <a:gd name="connsiteY71" fmla="*/ 1638300 h 4429225"/>
              <a:gd name="connsiteX72" fmla="*/ 106702 w 4519987"/>
              <a:gd name="connsiteY72" fmla="*/ 1590675 h 4429225"/>
              <a:gd name="connsiteX73" fmla="*/ 135277 w 4519987"/>
              <a:gd name="connsiteY73" fmla="*/ 1504950 h 4429225"/>
              <a:gd name="connsiteX74" fmla="*/ 154327 w 4519987"/>
              <a:gd name="connsiteY74" fmla="*/ 1419225 h 4429225"/>
              <a:gd name="connsiteX75" fmla="*/ 230527 w 4519987"/>
              <a:gd name="connsiteY75" fmla="*/ 1276350 h 4429225"/>
              <a:gd name="connsiteX76" fmla="*/ 240052 w 4519987"/>
              <a:gd name="connsiteY76" fmla="*/ 1247775 h 4429225"/>
              <a:gd name="connsiteX77" fmla="*/ 268627 w 4519987"/>
              <a:gd name="connsiteY77" fmla="*/ 1200150 h 4429225"/>
              <a:gd name="connsiteX78" fmla="*/ 287677 w 4519987"/>
              <a:gd name="connsiteY78" fmla="*/ 1152525 h 4429225"/>
              <a:gd name="connsiteX79" fmla="*/ 316252 w 4519987"/>
              <a:gd name="connsiteY79" fmla="*/ 1114425 h 4429225"/>
              <a:gd name="connsiteX80" fmla="*/ 363877 w 4519987"/>
              <a:gd name="connsiteY80" fmla="*/ 1038225 h 4429225"/>
              <a:gd name="connsiteX81" fmla="*/ 382927 w 4519987"/>
              <a:gd name="connsiteY81" fmla="*/ 1009650 h 4429225"/>
              <a:gd name="connsiteX82" fmla="*/ 440077 w 4519987"/>
              <a:gd name="connsiteY82" fmla="*/ 904875 h 4429225"/>
              <a:gd name="connsiteX83" fmla="*/ 478177 w 4519987"/>
              <a:gd name="connsiteY83" fmla="*/ 857250 h 4429225"/>
              <a:gd name="connsiteX84" fmla="*/ 497227 w 4519987"/>
              <a:gd name="connsiteY84" fmla="*/ 828675 h 4429225"/>
              <a:gd name="connsiteX85" fmla="*/ 535327 w 4519987"/>
              <a:gd name="connsiteY85" fmla="*/ 800100 h 4429225"/>
              <a:gd name="connsiteX86" fmla="*/ 602002 w 4519987"/>
              <a:gd name="connsiteY86" fmla="*/ 733425 h 4429225"/>
              <a:gd name="connsiteX87" fmla="*/ 668677 w 4519987"/>
              <a:gd name="connsiteY87" fmla="*/ 676275 h 4429225"/>
              <a:gd name="connsiteX88" fmla="*/ 697252 w 4519987"/>
              <a:gd name="connsiteY88" fmla="*/ 657225 h 4429225"/>
              <a:gd name="connsiteX89" fmla="*/ 840127 w 4519987"/>
              <a:gd name="connsiteY89" fmla="*/ 533400 h 4429225"/>
              <a:gd name="connsiteX90" fmla="*/ 887752 w 4519987"/>
              <a:gd name="connsiteY90" fmla="*/ 504825 h 4429225"/>
              <a:gd name="connsiteX91" fmla="*/ 1167152 w 4519987"/>
              <a:gd name="connsiteY91" fmla="*/ 311150 h 4429225"/>
              <a:gd name="connsiteX92" fmla="*/ 1268752 w 4519987"/>
              <a:gd name="connsiteY92" fmla="*/ 285750 h 4429225"/>
              <a:gd name="connsiteX93" fmla="*/ 1411627 w 4519987"/>
              <a:gd name="connsiteY93" fmla="*/ 190500 h 4429225"/>
              <a:gd name="connsiteX94" fmla="*/ 1449727 w 4519987"/>
              <a:gd name="connsiteY94" fmla="*/ 161925 h 4429225"/>
              <a:gd name="connsiteX95" fmla="*/ 1525927 w 4519987"/>
              <a:gd name="connsiteY95" fmla="*/ 152400 h 4429225"/>
              <a:gd name="connsiteX96" fmla="*/ 1583077 w 4519987"/>
              <a:gd name="connsiteY96" fmla="*/ 142875 h 4429225"/>
              <a:gd name="connsiteX97" fmla="*/ 1716427 w 4519987"/>
              <a:gd name="connsiteY97" fmla="*/ 123825 h 4429225"/>
              <a:gd name="connsiteX98" fmla="*/ 1811677 w 4519987"/>
              <a:gd name="connsiteY98" fmla="*/ 114300 h 4429225"/>
              <a:gd name="connsiteX99" fmla="*/ 1859302 w 4519987"/>
              <a:gd name="connsiteY99" fmla="*/ 104775 h 4429225"/>
              <a:gd name="connsiteX100" fmla="*/ 1916452 w 4519987"/>
              <a:gd name="connsiteY100" fmla="*/ 95250 h 4429225"/>
              <a:gd name="connsiteX101" fmla="*/ 2030752 w 4519987"/>
              <a:gd name="connsiteY101" fmla="*/ 66675 h 4429225"/>
              <a:gd name="connsiteX102" fmla="*/ 2097427 w 4519987"/>
              <a:gd name="connsiteY102" fmla="*/ 47625 h 4429225"/>
              <a:gd name="connsiteX103" fmla="*/ 2164102 w 4519987"/>
              <a:gd name="connsiteY103" fmla="*/ 38100 h 4429225"/>
              <a:gd name="connsiteX104" fmla="*/ 2392702 w 4519987"/>
              <a:gd name="connsiteY10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278152 w 4519987"/>
              <a:gd name="connsiteY54" fmla="*/ 3257550 h 4429225"/>
              <a:gd name="connsiteX55" fmla="*/ 249577 w 4519987"/>
              <a:gd name="connsiteY55" fmla="*/ 3200400 h 4429225"/>
              <a:gd name="connsiteX56" fmla="*/ 240052 w 4519987"/>
              <a:gd name="connsiteY56" fmla="*/ 3162300 h 4429225"/>
              <a:gd name="connsiteX57" fmla="*/ 221002 w 4519987"/>
              <a:gd name="connsiteY57" fmla="*/ 3105150 h 4429225"/>
              <a:gd name="connsiteX58" fmla="*/ 173377 w 4519987"/>
              <a:gd name="connsiteY58" fmla="*/ 3019425 h 4429225"/>
              <a:gd name="connsiteX59" fmla="*/ 144802 w 4519987"/>
              <a:gd name="connsiteY59" fmla="*/ 2924175 h 4429225"/>
              <a:gd name="connsiteX60" fmla="*/ 68602 w 4519987"/>
              <a:gd name="connsiteY60" fmla="*/ 2724150 h 4429225"/>
              <a:gd name="connsiteX61" fmla="*/ 49552 w 4519987"/>
              <a:gd name="connsiteY61" fmla="*/ 2638425 h 4429225"/>
              <a:gd name="connsiteX62" fmla="*/ 40027 w 4519987"/>
              <a:gd name="connsiteY62" fmla="*/ 2562225 h 4429225"/>
              <a:gd name="connsiteX63" fmla="*/ 30502 w 4519987"/>
              <a:gd name="connsiteY63" fmla="*/ 2514600 h 4429225"/>
              <a:gd name="connsiteX64" fmla="*/ 11452 w 4519987"/>
              <a:gd name="connsiteY64" fmla="*/ 2400300 h 4429225"/>
              <a:gd name="connsiteX65" fmla="*/ 20977 w 4519987"/>
              <a:gd name="connsiteY65" fmla="*/ 1905000 h 4429225"/>
              <a:gd name="connsiteX66" fmla="*/ 30502 w 4519987"/>
              <a:gd name="connsiteY66" fmla="*/ 1838325 h 4429225"/>
              <a:gd name="connsiteX67" fmla="*/ 49552 w 4519987"/>
              <a:gd name="connsiteY67" fmla="*/ 1781175 h 4429225"/>
              <a:gd name="connsiteX68" fmla="*/ 59077 w 4519987"/>
              <a:gd name="connsiteY68" fmla="*/ 1743075 h 4429225"/>
              <a:gd name="connsiteX69" fmla="*/ 78127 w 4519987"/>
              <a:gd name="connsiteY69" fmla="*/ 1685925 h 4429225"/>
              <a:gd name="connsiteX70" fmla="*/ 87652 w 4519987"/>
              <a:gd name="connsiteY70" fmla="*/ 1638300 h 4429225"/>
              <a:gd name="connsiteX71" fmla="*/ 106702 w 4519987"/>
              <a:gd name="connsiteY71" fmla="*/ 1590675 h 4429225"/>
              <a:gd name="connsiteX72" fmla="*/ 135277 w 4519987"/>
              <a:gd name="connsiteY72" fmla="*/ 1504950 h 4429225"/>
              <a:gd name="connsiteX73" fmla="*/ 154327 w 4519987"/>
              <a:gd name="connsiteY73" fmla="*/ 1419225 h 4429225"/>
              <a:gd name="connsiteX74" fmla="*/ 230527 w 4519987"/>
              <a:gd name="connsiteY74" fmla="*/ 1276350 h 4429225"/>
              <a:gd name="connsiteX75" fmla="*/ 240052 w 4519987"/>
              <a:gd name="connsiteY75" fmla="*/ 1247775 h 4429225"/>
              <a:gd name="connsiteX76" fmla="*/ 268627 w 4519987"/>
              <a:gd name="connsiteY76" fmla="*/ 1200150 h 4429225"/>
              <a:gd name="connsiteX77" fmla="*/ 287677 w 4519987"/>
              <a:gd name="connsiteY77" fmla="*/ 1152525 h 4429225"/>
              <a:gd name="connsiteX78" fmla="*/ 316252 w 4519987"/>
              <a:gd name="connsiteY78" fmla="*/ 1114425 h 4429225"/>
              <a:gd name="connsiteX79" fmla="*/ 363877 w 4519987"/>
              <a:gd name="connsiteY79" fmla="*/ 1038225 h 4429225"/>
              <a:gd name="connsiteX80" fmla="*/ 382927 w 4519987"/>
              <a:gd name="connsiteY80" fmla="*/ 1009650 h 4429225"/>
              <a:gd name="connsiteX81" fmla="*/ 440077 w 4519987"/>
              <a:gd name="connsiteY81" fmla="*/ 904875 h 4429225"/>
              <a:gd name="connsiteX82" fmla="*/ 478177 w 4519987"/>
              <a:gd name="connsiteY82" fmla="*/ 857250 h 4429225"/>
              <a:gd name="connsiteX83" fmla="*/ 497227 w 4519987"/>
              <a:gd name="connsiteY83" fmla="*/ 828675 h 4429225"/>
              <a:gd name="connsiteX84" fmla="*/ 535327 w 4519987"/>
              <a:gd name="connsiteY84" fmla="*/ 800100 h 4429225"/>
              <a:gd name="connsiteX85" fmla="*/ 602002 w 4519987"/>
              <a:gd name="connsiteY85" fmla="*/ 733425 h 4429225"/>
              <a:gd name="connsiteX86" fmla="*/ 668677 w 4519987"/>
              <a:gd name="connsiteY86" fmla="*/ 676275 h 4429225"/>
              <a:gd name="connsiteX87" fmla="*/ 697252 w 4519987"/>
              <a:gd name="connsiteY87" fmla="*/ 657225 h 4429225"/>
              <a:gd name="connsiteX88" fmla="*/ 840127 w 4519987"/>
              <a:gd name="connsiteY88" fmla="*/ 533400 h 4429225"/>
              <a:gd name="connsiteX89" fmla="*/ 887752 w 4519987"/>
              <a:gd name="connsiteY89" fmla="*/ 504825 h 4429225"/>
              <a:gd name="connsiteX90" fmla="*/ 1167152 w 4519987"/>
              <a:gd name="connsiteY90" fmla="*/ 311150 h 4429225"/>
              <a:gd name="connsiteX91" fmla="*/ 1268752 w 4519987"/>
              <a:gd name="connsiteY91" fmla="*/ 285750 h 4429225"/>
              <a:gd name="connsiteX92" fmla="*/ 1411627 w 4519987"/>
              <a:gd name="connsiteY92" fmla="*/ 190500 h 4429225"/>
              <a:gd name="connsiteX93" fmla="*/ 1449727 w 4519987"/>
              <a:gd name="connsiteY93" fmla="*/ 161925 h 4429225"/>
              <a:gd name="connsiteX94" fmla="*/ 1525927 w 4519987"/>
              <a:gd name="connsiteY94" fmla="*/ 152400 h 4429225"/>
              <a:gd name="connsiteX95" fmla="*/ 1583077 w 4519987"/>
              <a:gd name="connsiteY95" fmla="*/ 142875 h 4429225"/>
              <a:gd name="connsiteX96" fmla="*/ 1716427 w 4519987"/>
              <a:gd name="connsiteY96" fmla="*/ 123825 h 4429225"/>
              <a:gd name="connsiteX97" fmla="*/ 1811677 w 4519987"/>
              <a:gd name="connsiteY97" fmla="*/ 114300 h 4429225"/>
              <a:gd name="connsiteX98" fmla="*/ 1859302 w 4519987"/>
              <a:gd name="connsiteY98" fmla="*/ 104775 h 4429225"/>
              <a:gd name="connsiteX99" fmla="*/ 1916452 w 4519987"/>
              <a:gd name="connsiteY99" fmla="*/ 95250 h 4429225"/>
              <a:gd name="connsiteX100" fmla="*/ 2030752 w 4519987"/>
              <a:gd name="connsiteY100" fmla="*/ 66675 h 4429225"/>
              <a:gd name="connsiteX101" fmla="*/ 2097427 w 4519987"/>
              <a:gd name="connsiteY101" fmla="*/ 47625 h 4429225"/>
              <a:gd name="connsiteX102" fmla="*/ 2164102 w 4519987"/>
              <a:gd name="connsiteY102" fmla="*/ 38100 h 4429225"/>
              <a:gd name="connsiteX103" fmla="*/ 2392702 w 4519987"/>
              <a:gd name="connsiteY10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40077 w 4519987"/>
              <a:gd name="connsiteY52" fmla="*/ 3495675 h 4429225"/>
              <a:gd name="connsiteX53" fmla="*/ 278152 w 4519987"/>
              <a:gd name="connsiteY53" fmla="*/ 3257550 h 4429225"/>
              <a:gd name="connsiteX54" fmla="*/ 249577 w 4519987"/>
              <a:gd name="connsiteY54" fmla="*/ 3200400 h 4429225"/>
              <a:gd name="connsiteX55" fmla="*/ 240052 w 4519987"/>
              <a:gd name="connsiteY55" fmla="*/ 3162300 h 4429225"/>
              <a:gd name="connsiteX56" fmla="*/ 221002 w 4519987"/>
              <a:gd name="connsiteY56" fmla="*/ 3105150 h 4429225"/>
              <a:gd name="connsiteX57" fmla="*/ 173377 w 4519987"/>
              <a:gd name="connsiteY57" fmla="*/ 3019425 h 4429225"/>
              <a:gd name="connsiteX58" fmla="*/ 144802 w 4519987"/>
              <a:gd name="connsiteY58" fmla="*/ 2924175 h 4429225"/>
              <a:gd name="connsiteX59" fmla="*/ 68602 w 4519987"/>
              <a:gd name="connsiteY59" fmla="*/ 2724150 h 4429225"/>
              <a:gd name="connsiteX60" fmla="*/ 49552 w 4519987"/>
              <a:gd name="connsiteY60" fmla="*/ 2638425 h 4429225"/>
              <a:gd name="connsiteX61" fmla="*/ 40027 w 4519987"/>
              <a:gd name="connsiteY61" fmla="*/ 2562225 h 4429225"/>
              <a:gd name="connsiteX62" fmla="*/ 30502 w 4519987"/>
              <a:gd name="connsiteY62" fmla="*/ 2514600 h 4429225"/>
              <a:gd name="connsiteX63" fmla="*/ 11452 w 4519987"/>
              <a:gd name="connsiteY63" fmla="*/ 2400300 h 4429225"/>
              <a:gd name="connsiteX64" fmla="*/ 20977 w 4519987"/>
              <a:gd name="connsiteY64" fmla="*/ 1905000 h 4429225"/>
              <a:gd name="connsiteX65" fmla="*/ 30502 w 4519987"/>
              <a:gd name="connsiteY65" fmla="*/ 1838325 h 4429225"/>
              <a:gd name="connsiteX66" fmla="*/ 49552 w 4519987"/>
              <a:gd name="connsiteY66" fmla="*/ 1781175 h 4429225"/>
              <a:gd name="connsiteX67" fmla="*/ 59077 w 4519987"/>
              <a:gd name="connsiteY67" fmla="*/ 1743075 h 4429225"/>
              <a:gd name="connsiteX68" fmla="*/ 78127 w 4519987"/>
              <a:gd name="connsiteY68" fmla="*/ 1685925 h 4429225"/>
              <a:gd name="connsiteX69" fmla="*/ 87652 w 4519987"/>
              <a:gd name="connsiteY69" fmla="*/ 1638300 h 4429225"/>
              <a:gd name="connsiteX70" fmla="*/ 106702 w 4519987"/>
              <a:gd name="connsiteY70" fmla="*/ 1590675 h 4429225"/>
              <a:gd name="connsiteX71" fmla="*/ 135277 w 4519987"/>
              <a:gd name="connsiteY71" fmla="*/ 1504950 h 4429225"/>
              <a:gd name="connsiteX72" fmla="*/ 154327 w 4519987"/>
              <a:gd name="connsiteY72" fmla="*/ 1419225 h 4429225"/>
              <a:gd name="connsiteX73" fmla="*/ 230527 w 4519987"/>
              <a:gd name="connsiteY73" fmla="*/ 1276350 h 4429225"/>
              <a:gd name="connsiteX74" fmla="*/ 240052 w 4519987"/>
              <a:gd name="connsiteY74" fmla="*/ 1247775 h 4429225"/>
              <a:gd name="connsiteX75" fmla="*/ 268627 w 4519987"/>
              <a:gd name="connsiteY75" fmla="*/ 1200150 h 4429225"/>
              <a:gd name="connsiteX76" fmla="*/ 287677 w 4519987"/>
              <a:gd name="connsiteY76" fmla="*/ 1152525 h 4429225"/>
              <a:gd name="connsiteX77" fmla="*/ 316252 w 4519987"/>
              <a:gd name="connsiteY77" fmla="*/ 1114425 h 4429225"/>
              <a:gd name="connsiteX78" fmla="*/ 363877 w 4519987"/>
              <a:gd name="connsiteY78" fmla="*/ 1038225 h 4429225"/>
              <a:gd name="connsiteX79" fmla="*/ 382927 w 4519987"/>
              <a:gd name="connsiteY79" fmla="*/ 1009650 h 4429225"/>
              <a:gd name="connsiteX80" fmla="*/ 440077 w 4519987"/>
              <a:gd name="connsiteY80" fmla="*/ 904875 h 4429225"/>
              <a:gd name="connsiteX81" fmla="*/ 478177 w 4519987"/>
              <a:gd name="connsiteY81" fmla="*/ 857250 h 4429225"/>
              <a:gd name="connsiteX82" fmla="*/ 497227 w 4519987"/>
              <a:gd name="connsiteY82" fmla="*/ 828675 h 4429225"/>
              <a:gd name="connsiteX83" fmla="*/ 535327 w 4519987"/>
              <a:gd name="connsiteY83" fmla="*/ 800100 h 4429225"/>
              <a:gd name="connsiteX84" fmla="*/ 602002 w 4519987"/>
              <a:gd name="connsiteY84" fmla="*/ 733425 h 4429225"/>
              <a:gd name="connsiteX85" fmla="*/ 668677 w 4519987"/>
              <a:gd name="connsiteY85" fmla="*/ 676275 h 4429225"/>
              <a:gd name="connsiteX86" fmla="*/ 697252 w 4519987"/>
              <a:gd name="connsiteY86" fmla="*/ 657225 h 4429225"/>
              <a:gd name="connsiteX87" fmla="*/ 840127 w 4519987"/>
              <a:gd name="connsiteY87" fmla="*/ 533400 h 4429225"/>
              <a:gd name="connsiteX88" fmla="*/ 887752 w 4519987"/>
              <a:gd name="connsiteY88" fmla="*/ 504825 h 4429225"/>
              <a:gd name="connsiteX89" fmla="*/ 1167152 w 4519987"/>
              <a:gd name="connsiteY89" fmla="*/ 311150 h 4429225"/>
              <a:gd name="connsiteX90" fmla="*/ 1268752 w 4519987"/>
              <a:gd name="connsiteY90" fmla="*/ 285750 h 4429225"/>
              <a:gd name="connsiteX91" fmla="*/ 1411627 w 4519987"/>
              <a:gd name="connsiteY91" fmla="*/ 190500 h 4429225"/>
              <a:gd name="connsiteX92" fmla="*/ 1449727 w 4519987"/>
              <a:gd name="connsiteY92" fmla="*/ 161925 h 4429225"/>
              <a:gd name="connsiteX93" fmla="*/ 1525927 w 4519987"/>
              <a:gd name="connsiteY93" fmla="*/ 152400 h 4429225"/>
              <a:gd name="connsiteX94" fmla="*/ 1583077 w 4519987"/>
              <a:gd name="connsiteY94" fmla="*/ 142875 h 4429225"/>
              <a:gd name="connsiteX95" fmla="*/ 1716427 w 4519987"/>
              <a:gd name="connsiteY95" fmla="*/ 123825 h 4429225"/>
              <a:gd name="connsiteX96" fmla="*/ 1811677 w 4519987"/>
              <a:gd name="connsiteY96" fmla="*/ 114300 h 4429225"/>
              <a:gd name="connsiteX97" fmla="*/ 1859302 w 4519987"/>
              <a:gd name="connsiteY97" fmla="*/ 104775 h 4429225"/>
              <a:gd name="connsiteX98" fmla="*/ 1916452 w 4519987"/>
              <a:gd name="connsiteY98" fmla="*/ 95250 h 4429225"/>
              <a:gd name="connsiteX99" fmla="*/ 2030752 w 4519987"/>
              <a:gd name="connsiteY99" fmla="*/ 66675 h 4429225"/>
              <a:gd name="connsiteX100" fmla="*/ 2097427 w 4519987"/>
              <a:gd name="connsiteY100" fmla="*/ 47625 h 4429225"/>
              <a:gd name="connsiteX101" fmla="*/ 2164102 w 4519987"/>
              <a:gd name="connsiteY101" fmla="*/ 38100 h 4429225"/>
              <a:gd name="connsiteX102" fmla="*/ 2392702 w 4519987"/>
              <a:gd name="connsiteY10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40052 w 4519987"/>
              <a:gd name="connsiteY54" fmla="*/ 3162300 h 4429225"/>
              <a:gd name="connsiteX55" fmla="*/ 221002 w 4519987"/>
              <a:gd name="connsiteY55" fmla="*/ 3105150 h 4429225"/>
              <a:gd name="connsiteX56" fmla="*/ 173377 w 4519987"/>
              <a:gd name="connsiteY56" fmla="*/ 3019425 h 4429225"/>
              <a:gd name="connsiteX57" fmla="*/ 144802 w 4519987"/>
              <a:gd name="connsiteY57" fmla="*/ 2924175 h 4429225"/>
              <a:gd name="connsiteX58" fmla="*/ 68602 w 4519987"/>
              <a:gd name="connsiteY58" fmla="*/ 2724150 h 4429225"/>
              <a:gd name="connsiteX59" fmla="*/ 49552 w 4519987"/>
              <a:gd name="connsiteY59" fmla="*/ 2638425 h 4429225"/>
              <a:gd name="connsiteX60" fmla="*/ 40027 w 4519987"/>
              <a:gd name="connsiteY60" fmla="*/ 2562225 h 4429225"/>
              <a:gd name="connsiteX61" fmla="*/ 30502 w 4519987"/>
              <a:gd name="connsiteY61" fmla="*/ 2514600 h 4429225"/>
              <a:gd name="connsiteX62" fmla="*/ 11452 w 4519987"/>
              <a:gd name="connsiteY62" fmla="*/ 2400300 h 4429225"/>
              <a:gd name="connsiteX63" fmla="*/ 20977 w 4519987"/>
              <a:gd name="connsiteY63" fmla="*/ 1905000 h 4429225"/>
              <a:gd name="connsiteX64" fmla="*/ 30502 w 4519987"/>
              <a:gd name="connsiteY64" fmla="*/ 1838325 h 4429225"/>
              <a:gd name="connsiteX65" fmla="*/ 49552 w 4519987"/>
              <a:gd name="connsiteY65" fmla="*/ 1781175 h 4429225"/>
              <a:gd name="connsiteX66" fmla="*/ 59077 w 4519987"/>
              <a:gd name="connsiteY66" fmla="*/ 1743075 h 4429225"/>
              <a:gd name="connsiteX67" fmla="*/ 78127 w 4519987"/>
              <a:gd name="connsiteY67" fmla="*/ 1685925 h 4429225"/>
              <a:gd name="connsiteX68" fmla="*/ 87652 w 4519987"/>
              <a:gd name="connsiteY68" fmla="*/ 1638300 h 4429225"/>
              <a:gd name="connsiteX69" fmla="*/ 106702 w 4519987"/>
              <a:gd name="connsiteY69" fmla="*/ 1590675 h 4429225"/>
              <a:gd name="connsiteX70" fmla="*/ 135277 w 4519987"/>
              <a:gd name="connsiteY70" fmla="*/ 1504950 h 4429225"/>
              <a:gd name="connsiteX71" fmla="*/ 154327 w 4519987"/>
              <a:gd name="connsiteY71" fmla="*/ 1419225 h 4429225"/>
              <a:gd name="connsiteX72" fmla="*/ 230527 w 4519987"/>
              <a:gd name="connsiteY72" fmla="*/ 1276350 h 4429225"/>
              <a:gd name="connsiteX73" fmla="*/ 240052 w 4519987"/>
              <a:gd name="connsiteY73" fmla="*/ 1247775 h 4429225"/>
              <a:gd name="connsiteX74" fmla="*/ 268627 w 4519987"/>
              <a:gd name="connsiteY74" fmla="*/ 1200150 h 4429225"/>
              <a:gd name="connsiteX75" fmla="*/ 287677 w 4519987"/>
              <a:gd name="connsiteY75" fmla="*/ 1152525 h 4429225"/>
              <a:gd name="connsiteX76" fmla="*/ 316252 w 4519987"/>
              <a:gd name="connsiteY76" fmla="*/ 1114425 h 4429225"/>
              <a:gd name="connsiteX77" fmla="*/ 363877 w 4519987"/>
              <a:gd name="connsiteY77" fmla="*/ 1038225 h 4429225"/>
              <a:gd name="connsiteX78" fmla="*/ 382927 w 4519987"/>
              <a:gd name="connsiteY78" fmla="*/ 1009650 h 4429225"/>
              <a:gd name="connsiteX79" fmla="*/ 440077 w 4519987"/>
              <a:gd name="connsiteY79" fmla="*/ 904875 h 4429225"/>
              <a:gd name="connsiteX80" fmla="*/ 478177 w 4519987"/>
              <a:gd name="connsiteY80" fmla="*/ 857250 h 4429225"/>
              <a:gd name="connsiteX81" fmla="*/ 497227 w 4519987"/>
              <a:gd name="connsiteY81" fmla="*/ 828675 h 4429225"/>
              <a:gd name="connsiteX82" fmla="*/ 535327 w 4519987"/>
              <a:gd name="connsiteY82" fmla="*/ 800100 h 4429225"/>
              <a:gd name="connsiteX83" fmla="*/ 602002 w 4519987"/>
              <a:gd name="connsiteY83" fmla="*/ 733425 h 4429225"/>
              <a:gd name="connsiteX84" fmla="*/ 668677 w 4519987"/>
              <a:gd name="connsiteY84" fmla="*/ 676275 h 4429225"/>
              <a:gd name="connsiteX85" fmla="*/ 697252 w 4519987"/>
              <a:gd name="connsiteY85" fmla="*/ 657225 h 4429225"/>
              <a:gd name="connsiteX86" fmla="*/ 840127 w 4519987"/>
              <a:gd name="connsiteY86" fmla="*/ 533400 h 4429225"/>
              <a:gd name="connsiteX87" fmla="*/ 887752 w 4519987"/>
              <a:gd name="connsiteY87" fmla="*/ 504825 h 4429225"/>
              <a:gd name="connsiteX88" fmla="*/ 1167152 w 4519987"/>
              <a:gd name="connsiteY88" fmla="*/ 311150 h 4429225"/>
              <a:gd name="connsiteX89" fmla="*/ 1268752 w 4519987"/>
              <a:gd name="connsiteY89" fmla="*/ 285750 h 4429225"/>
              <a:gd name="connsiteX90" fmla="*/ 1411627 w 4519987"/>
              <a:gd name="connsiteY90" fmla="*/ 190500 h 4429225"/>
              <a:gd name="connsiteX91" fmla="*/ 1449727 w 4519987"/>
              <a:gd name="connsiteY91" fmla="*/ 161925 h 4429225"/>
              <a:gd name="connsiteX92" fmla="*/ 1525927 w 4519987"/>
              <a:gd name="connsiteY92" fmla="*/ 152400 h 4429225"/>
              <a:gd name="connsiteX93" fmla="*/ 1583077 w 4519987"/>
              <a:gd name="connsiteY93" fmla="*/ 142875 h 4429225"/>
              <a:gd name="connsiteX94" fmla="*/ 1716427 w 4519987"/>
              <a:gd name="connsiteY94" fmla="*/ 123825 h 4429225"/>
              <a:gd name="connsiteX95" fmla="*/ 1811677 w 4519987"/>
              <a:gd name="connsiteY95" fmla="*/ 114300 h 4429225"/>
              <a:gd name="connsiteX96" fmla="*/ 1859302 w 4519987"/>
              <a:gd name="connsiteY96" fmla="*/ 104775 h 4429225"/>
              <a:gd name="connsiteX97" fmla="*/ 1916452 w 4519987"/>
              <a:gd name="connsiteY97" fmla="*/ 95250 h 4429225"/>
              <a:gd name="connsiteX98" fmla="*/ 2030752 w 4519987"/>
              <a:gd name="connsiteY98" fmla="*/ 66675 h 4429225"/>
              <a:gd name="connsiteX99" fmla="*/ 2097427 w 4519987"/>
              <a:gd name="connsiteY99" fmla="*/ 47625 h 4429225"/>
              <a:gd name="connsiteX100" fmla="*/ 2164102 w 4519987"/>
              <a:gd name="connsiteY100" fmla="*/ 38100 h 4429225"/>
              <a:gd name="connsiteX101" fmla="*/ 2392702 w 4519987"/>
              <a:gd name="connsiteY10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21002 w 4519987"/>
              <a:gd name="connsiteY54" fmla="*/ 3105150 h 4429225"/>
              <a:gd name="connsiteX55" fmla="*/ 173377 w 4519987"/>
              <a:gd name="connsiteY55" fmla="*/ 3019425 h 4429225"/>
              <a:gd name="connsiteX56" fmla="*/ 144802 w 4519987"/>
              <a:gd name="connsiteY56" fmla="*/ 2924175 h 4429225"/>
              <a:gd name="connsiteX57" fmla="*/ 68602 w 4519987"/>
              <a:gd name="connsiteY57" fmla="*/ 2724150 h 4429225"/>
              <a:gd name="connsiteX58" fmla="*/ 49552 w 4519987"/>
              <a:gd name="connsiteY58" fmla="*/ 2638425 h 4429225"/>
              <a:gd name="connsiteX59" fmla="*/ 40027 w 4519987"/>
              <a:gd name="connsiteY59" fmla="*/ 2562225 h 4429225"/>
              <a:gd name="connsiteX60" fmla="*/ 30502 w 4519987"/>
              <a:gd name="connsiteY60" fmla="*/ 2514600 h 4429225"/>
              <a:gd name="connsiteX61" fmla="*/ 11452 w 4519987"/>
              <a:gd name="connsiteY61" fmla="*/ 2400300 h 4429225"/>
              <a:gd name="connsiteX62" fmla="*/ 20977 w 4519987"/>
              <a:gd name="connsiteY62" fmla="*/ 1905000 h 4429225"/>
              <a:gd name="connsiteX63" fmla="*/ 30502 w 4519987"/>
              <a:gd name="connsiteY63" fmla="*/ 1838325 h 4429225"/>
              <a:gd name="connsiteX64" fmla="*/ 49552 w 4519987"/>
              <a:gd name="connsiteY64" fmla="*/ 1781175 h 4429225"/>
              <a:gd name="connsiteX65" fmla="*/ 59077 w 4519987"/>
              <a:gd name="connsiteY65" fmla="*/ 1743075 h 4429225"/>
              <a:gd name="connsiteX66" fmla="*/ 78127 w 4519987"/>
              <a:gd name="connsiteY66" fmla="*/ 1685925 h 4429225"/>
              <a:gd name="connsiteX67" fmla="*/ 87652 w 4519987"/>
              <a:gd name="connsiteY67" fmla="*/ 1638300 h 4429225"/>
              <a:gd name="connsiteX68" fmla="*/ 106702 w 4519987"/>
              <a:gd name="connsiteY68" fmla="*/ 1590675 h 4429225"/>
              <a:gd name="connsiteX69" fmla="*/ 135277 w 4519987"/>
              <a:gd name="connsiteY69" fmla="*/ 1504950 h 4429225"/>
              <a:gd name="connsiteX70" fmla="*/ 154327 w 4519987"/>
              <a:gd name="connsiteY70" fmla="*/ 1419225 h 4429225"/>
              <a:gd name="connsiteX71" fmla="*/ 230527 w 4519987"/>
              <a:gd name="connsiteY71" fmla="*/ 1276350 h 4429225"/>
              <a:gd name="connsiteX72" fmla="*/ 240052 w 4519987"/>
              <a:gd name="connsiteY72" fmla="*/ 1247775 h 4429225"/>
              <a:gd name="connsiteX73" fmla="*/ 268627 w 4519987"/>
              <a:gd name="connsiteY73" fmla="*/ 1200150 h 4429225"/>
              <a:gd name="connsiteX74" fmla="*/ 287677 w 4519987"/>
              <a:gd name="connsiteY74" fmla="*/ 1152525 h 4429225"/>
              <a:gd name="connsiteX75" fmla="*/ 316252 w 4519987"/>
              <a:gd name="connsiteY75" fmla="*/ 1114425 h 4429225"/>
              <a:gd name="connsiteX76" fmla="*/ 363877 w 4519987"/>
              <a:gd name="connsiteY76" fmla="*/ 1038225 h 4429225"/>
              <a:gd name="connsiteX77" fmla="*/ 382927 w 4519987"/>
              <a:gd name="connsiteY77" fmla="*/ 1009650 h 4429225"/>
              <a:gd name="connsiteX78" fmla="*/ 440077 w 4519987"/>
              <a:gd name="connsiteY78" fmla="*/ 904875 h 4429225"/>
              <a:gd name="connsiteX79" fmla="*/ 478177 w 4519987"/>
              <a:gd name="connsiteY79" fmla="*/ 857250 h 4429225"/>
              <a:gd name="connsiteX80" fmla="*/ 497227 w 4519987"/>
              <a:gd name="connsiteY80" fmla="*/ 828675 h 4429225"/>
              <a:gd name="connsiteX81" fmla="*/ 535327 w 4519987"/>
              <a:gd name="connsiteY81" fmla="*/ 800100 h 4429225"/>
              <a:gd name="connsiteX82" fmla="*/ 602002 w 4519987"/>
              <a:gd name="connsiteY82" fmla="*/ 733425 h 4429225"/>
              <a:gd name="connsiteX83" fmla="*/ 668677 w 4519987"/>
              <a:gd name="connsiteY83" fmla="*/ 676275 h 4429225"/>
              <a:gd name="connsiteX84" fmla="*/ 697252 w 4519987"/>
              <a:gd name="connsiteY84" fmla="*/ 657225 h 4429225"/>
              <a:gd name="connsiteX85" fmla="*/ 840127 w 4519987"/>
              <a:gd name="connsiteY85" fmla="*/ 533400 h 4429225"/>
              <a:gd name="connsiteX86" fmla="*/ 887752 w 4519987"/>
              <a:gd name="connsiteY86" fmla="*/ 504825 h 4429225"/>
              <a:gd name="connsiteX87" fmla="*/ 1167152 w 4519987"/>
              <a:gd name="connsiteY87" fmla="*/ 311150 h 4429225"/>
              <a:gd name="connsiteX88" fmla="*/ 1268752 w 4519987"/>
              <a:gd name="connsiteY88" fmla="*/ 285750 h 4429225"/>
              <a:gd name="connsiteX89" fmla="*/ 1411627 w 4519987"/>
              <a:gd name="connsiteY89" fmla="*/ 190500 h 4429225"/>
              <a:gd name="connsiteX90" fmla="*/ 1449727 w 4519987"/>
              <a:gd name="connsiteY90" fmla="*/ 161925 h 4429225"/>
              <a:gd name="connsiteX91" fmla="*/ 1525927 w 4519987"/>
              <a:gd name="connsiteY91" fmla="*/ 152400 h 4429225"/>
              <a:gd name="connsiteX92" fmla="*/ 1583077 w 4519987"/>
              <a:gd name="connsiteY92" fmla="*/ 142875 h 4429225"/>
              <a:gd name="connsiteX93" fmla="*/ 1716427 w 4519987"/>
              <a:gd name="connsiteY93" fmla="*/ 123825 h 4429225"/>
              <a:gd name="connsiteX94" fmla="*/ 1811677 w 4519987"/>
              <a:gd name="connsiteY94" fmla="*/ 114300 h 4429225"/>
              <a:gd name="connsiteX95" fmla="*/ 1859302 w 4519987"/>
              <a:gd name="connsiteY95" fmla="*/ 104775 h 4429225"/>
              <a:gd name="connsiteX96" fmla="*/ 1916452 w 4519987"/>
              <a:gd name="connsiteY96" fmla="*/ 95250 h 4429225"/>
              <a:gd name="connsiteX97" fmla="*/ 2030752 w 4519987"/>
              <a:gd name="connsiteY97" fmla="*/ 66675 h 4429225"/>
              <a:gd name="connsiteX98" fmla="*/ 2097427 w 4519987"/>
              <a:gd name="connsiteY98" fmla="*/ 47625 h 4429225"/>
              <a:gd name="connsiteX99" fmla="*/ 2164102 w 4519987"/>
              <a:gd name="connsiteY99" fmla="*/ 38100 h 4429225"/>
              <a:gd name="connsiteX100" fmla="*/ 2392702 w 4519987"/>
              <a:gd name="connsiteY10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73377 w 4519987"/>
              <a:gd name="connsiteY54" fmla="*/ 3019425 h 4429225"/>
              <a:gd name="connsiteX55" fmla="*/ 144802 w 4519987"/>
              <a:gd name="connsiteY55" fmla="*/ 2924175 h 4429225"/>
              <a:gd name="connsiteX56" fmla="*/ 68602 w 4519987"/>
              <a:gd name="connsiteY56" fmla="*/ 2724150 h 4429225"/>
              <a:gd name="connsiteX57" fmla="*/ 49552 w 4519987"/>
              <a:gd name="connsiteY57" fmla="*/ 2638425 h 4429225"/>
              <a:gd name="connsiteX58" fmla="*/ 40027 w 4519987"/>
              <a:gd name="connsiteY58" fmla="*/ 2562225 h 4429225"/>
              <a:gd name="connsiteX59" fmla="*/ 30502 w 4519987"/>
              <a:gd name="connsiteY59" fmla="*/ 2514600 h 4429225"/>
              <a:gd name="connsiteX60" fmla="*/ 11452 w 4519987"/>
              <a:gd name="connsiteY60" fmla="*/ 2400300 h 4429225"/>
              <a:gd name="connsiteX61" fmla="*/ 20977 w 4519987"/>
              <a:gd name="connsiteY61" fmla="*/ 1905000 h 4429225"/>
              <a:gd name="connsiteX62" fmla="*/ 30502 w 4519987"/>
              <a:gd name="connsiteY62" fmla="*/ 1838325 h 4429225"/>
              <a:gd name="connsiteX63" fmla="*/ 49552 w 4519987"/>
              <a:gd name="connsiteY63" fmla="*/ 1781175 h 4429225"/>
              <a:gd name="connsiteX64" fmla="*/ 59077 w 4519987"/>
              <a:gd name="connsiteY64" fmla="*/ 1743075 h 4429225"/>
              <a:gd name="connsiteX65" fmla="*/ 78127 w 4519987"/>
              <a:gd name="connsiteY65" fmla="*/ 1685925 h 4429225"/>
              <a:gd name="connsiteX66" fmla="*/ 87652 w 4519987"/>
              <a:gd name="connsiteY66" fmla="*/ 1638300 h 4429225"/>
              <a:gd name="connsiteX67" fmla="*/ 106702 w 4519987"/>
              <a:gd name="connsiteY67" fmla="*/ 1590675 h 4429225"/>
              <a:gd name="connsiteX68" fmla="*/ 135277 w 4519987"/>
              <a:gd name="connsiteY68" fmla="*/ 1504950 h 4429225"/>
              <a:gd name="connsiteX69" fmla="*/ 154327 w 4519987"/>
              <a:gd name="connsiteY69" fmla="*/ 1419225 h 4429225"/>
              <a:gd name="connsiteX70" fmla="*/ 230527 w 4519987"/>
              <a:gd name="connsiteY70" fmla="*/ 1276350 h 4429225"/>
              <a:gd name="connsiteX71" fmla="*/ 240052 w 4519987"/>
              <a:gd name="connsiteY71" fmla="*/ 1247775 h 4429225"/>
              <a:gd name="connsiteX72" fmla="*/ 268627 w 4519987"/>
              <a:gd name="connsiteY72" fmla="*/ 1200150 h 4429225"/>
              <a:gd name="connsiteX73" fmla="*/ 287677 w 4519987"/>
              <a:gd name="connsiteY73" fmla="*/ 1152525 h 4429225"/>
              <a:gd name="connsiteX74" fmla="*/ 316252 w 4519987"/>
              <a:gd name="connsiteY74" fmla="*/ 1114425 h 4429225"/>
              <a:gd name="connsiteX75" fmla="*/ 363877 w 4519987"/>
              <a:gd name="connsiteY75" fmla="*/ 1038225 h 4429225"/>
              <a:gd name="connsiteX76" fmla="*/ 382927 w 4519987"/>
              <a:gd name="connsiteY76" fmla="*/ 1009650 h 4429225"/>
              <a:gd name="connsiteX77" fmla="*/ 440077 w 4519987"/>
              <a:gd name="connsiteY77" fmla="*/ 904875 h 4429225"/>
              <a:gd name="connsiteX78" fmla="*/ 478177 w 4519987"/>
              <a:gd name="connsiteY78" fmla="*/ 857250 h 4429225"/>
              <a:gd name="connsiteX79" fmla="*/ 497227 w 4519987"/>
              <a:gd name="connsiteY79" fmla="*/ 828675 h 4429225"/>
              <a:gd name="connsiteX80" fmla="*/ 535327 w 4519987"/>
              <a:gd name="connsiteY80" fmla="*/ 800100 h 4429225"/>
              <a:gd name="connsiteX81" fmla="*/ 602002 w 4519987"/>
              <a:gd name="connsiteY81" fmla="*/ 733425 h 4429225"/>
              <a:gd name="connsiteX82" fmla="*/ 668677 w 4519987"/>
              <a:gd name="connsiteY82" fmla="*/ 676275 h 4429225"/>
              <a:gd name="connsiteX83" fmla="*/ 697252 w 4519987"/>
              <a:gd name="connsiteY83" fmla="*/ 657225 h 4429225"/>
              <a:gd name="connsiteX84" fmla="*/ 840127 w 4519987"/>
              <a:gd name="connsiteY84" fmla="*/ 533400 h 4429225"/>
              <a:gd name="connsiteX85" fmla="*/ 887752 w 4519987"/>
              <a:gd name="connsiteY85" fmla="*/ 504825 h 4429225"/>
              <a:gd name="connsiteX86" fmla="*/ 1167152 w 4519987"/>
              <a:gd name="connsiteY86" fmla="*/ 311150 h 4429225"/>
              <a:gd name="connsiteX87" fmla="*/ 1268752 w 4519987"/>
              <a:gd name="connsiteY87" fmla="*/ 285750 h 4429225"/>
              <a:gd name="connsiteX88" fmla="*/ 1411627 w 4519987"/>
              <a:gd name="connsiteY88" fmla="*/ 190500 h 4429225"/>
              <a:gd name="connsiteX89" fmla="*/ 1449727 w 4519987"/>
              <a:gd name="connsiteY89" fmla="*/ 161925 h 4429225"/>
              <a:gd name="connsiteX90" fmla="*/ 1525927 w 4519987"/>
              <a:gd name="connsiteY90" fmla="*/ 152400 h 4429225"/>
              <a:gd name="connsiteX91" fmla="*/ 1583077 w 4519987"/>
              <a:gd name="connsiteY91" fmla="*/ 142875 h 4429225"/>
              <a:gd name="connsiteX92" fmla="*/ 1716427 w 4519987"/>
              <a:gd name="connsiteY92" fmla="*/ 123825 h 4429225"/>
              <a:gd name="connsiteX93" fmla="*/ 1811677 w 4519987"/>
              <a:gd name="connsiteY93" fmla="*/ 114300 h 4429225"/>
              <a:gd name="connsiteX94" fmla="*/ 1859302 w 4519987"/>
              <a:gd name="connsiteY94" fmla="*/ 104775 h 4429225"/>
              <a:gd name="connsiteX95" fmla="*/ 1916452 w 4519987"/>
              <a:gd name="connsiteY95" fmla="*/ 95250 h 4429225"/>
              <a:gd name="connsiteX96" fmla="*/ 2030752 w 4519987"/>
              <a:gd name="connsiteY96" fmla="*/ 66675 h 4429225"/>
              <a:gd name="connsiteX97" fmla="*/ 2097427 w 4519987"/>
              <a:gd name="connsiteY97" fmla="*/ 47625 h 4429225"/>
              <a:gd name="connsiteX98" fmla="*/ 2164102 w 4519987"/>
              <a:gd name="connsiteY98" fmla="*/ 38100 h 4429225"/>
              <a:gd name="connsiteX99" fmla="*/ 2392702 w 4519987"/>
              <a:gd name="connsiteY9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9552 w 4519987"/>
              <a:gd name="connsiteY56" fmla="*/ 2638425 h 4429225"/>
              <a:gd name="connsiteX57" fmla="*/ 40027 w 4519987"/>
              <a:gd name="connsiteY57" fmla="*/ 2562225 h 4429225"/>
              <a:gd name="connsiteX58" fmla="*/ 30502 w 4519987"/>
              <a:gd name="connsiteY58" fmla="*/ 2514600 h 4429225"/>
              <a:gd name="connsiteX59" fmla="*/ 11452 w 4519987"/>
              <a:gd name="connsiteY59" fmla="*/ 2400300 h 4429225"/>
              <a:gd name="connsiteX60" fmla="*/ 20977 w 4519987"/>
              <a:gd name="connsiteY60" fmla="*/ 1905000 h 4429225"/>
              <a:gd name="connsiteX61" fmla="*/ 30502 w 4519987"/>
              <a:gd name="connsiteY61" fmla="*/ 1838325 h 4429225"/>
              <a:gd name="connsiteX62" fmla="*/ 49552 w 4519987"/>
              <a:gd name="connsiteY62" fmla="*/ 1781175 h 4429225"/>
              <a:gd name="connsiteX63" fmla="*/ 59077 w 4519987"/>
              <a:gd name="connsiteY63" fmla="*/ 1743075 h 4429225"/>
              <a:gd name="connsiteX64" fmla="*/ 78127 w 4519987"/>
              <a:gd name="connsiteY64" fmla="*/ 1685925 h 4429225"/>
              <a:gd name="connsiteX65" fmla="*/ 87652 w 4519987"/>
              <a:gd name="connsiteY65" fmla="*/ 1638300 h 4429225"/>
              <a:gd name="connsiteX66" fmla="*/ 106702 w 4519987"/>
              <a:gd name="connsiteY66" fmla="*/ 1590675 h 4429225"/>
              <a:gd name="connsiteX67" fmla="*/ 135277 w 4519987"/>
              <a:gd name="connsiteY67" fmla="*/ 1504950 h 4429225"/>
              <a:gd name="connsiteX68" fmla="*/ 154327 w 4519987"/>
              <a:gd name="connsiteY68" fmla="*/ 1419225 h 4429225"/>
              <a:gd name="connsiteX69" fmla="*/ 230527 w 4519987"/>
              <a:gd name="connsiteY69" fmla="*/ 1276350 h 4429225"/>
              <a:gd name="connsiteX70" fmla="*/ 240052 w 4519987"/>
              <a:gd name="connsiteY70" fmla="*/ 1247775 h 4429225"/>
              <a:gd name="connsiteX71" fmla="*/ 268627 w 4519987"/>
              <a:gd name="connsiteY71" fmla="*/ 1200150 h 4429225"/>
              <a:gd name="connsiteX72" fmla="*/ 287677 w 4519987"/>
              <a:gd name="connsiteY72" fmla="*/ 1152525 h 4429225"/>
              <a:gd name="connsiteX73" fmla="*/ 316252 w 4519987"/>
              <a:gd name="connsiteY73" fmla="*/ 1114425 h 4429225"/>
              <a:gd name="connsiteX74" fmla="*/ 363877 w 4519987"/>
              <a:gd name="connsiteY74" fmla="*/ 1038225 h 4429225"/>
              <a:gd name="connsiteX75" fmla="*/ 382927 w 4519987"/>
              <a:gd name="connsiteY75" fmla="*/ 1009650 h 4429225"/>
              <a:gd name="connsiteX76" fmla="*/ 440077 w 4519987"/>
              <a:gd name="connsiteY76" fmla="*/ 904875 h 4429225"/>
              <a:gd name="connsiteX77" fmla="*/ 478177 w 4519987"/>
              <a:gd name="connsiteY77" fmla="*/ 857250 h 4429225"/>
              <a:gd name="connsiteX78" fmla="*/ 497227 w 4519987"/>
              <a:gd name="connsiteY78" fmla="*/ 828675 h 4429225"/>
              <a:gd name="connsiteX79" fmla="*/ 535327 w 4519987"/>
              <a:gd name="connsiteY79" fmla="*/ 800100 h 4429225"/>
              <a:gd name="connsiteX80" fmla="*/ 602002 w 4519987"/>
              <a:gd name="connsiteY80" fmla="*/ 733425 h 4429225"/>
              <a:gd name="connsiteX81" fmla="*/ 668677 w 4519987"/>
              <a:gd name="connsiteY81" fmla="*/ 676275 h 4429225"/>
              <a:gd name="connsiteX82" fmla="*/ 697252 w 4519987"/>
              <a:gd name="connsiteY82" fmla="*/ 657225 h 4429225"/>
              <a:gd name="connsiteX83" fmla="*/ 840127 w 4519987"/>
              <a:gd name="connsiteY83" fmla="*/ 533400 h 4429225"/>
              <a:gd name="connsiteX84" fmla="*/ 887752 w 4519987"/>
              <a:gd name="connsiteY84" fmla="*/ 504825 h 4429225"/>
              <a:gd name="connsiteX85" fmla="*/ 1167152 w 4519987"/>
              <a:gd name="connsiteY85" fmla="*/ 311150 h 4429225"/>
              <a:gd name="connsiteX86" fmla="*/ 1268752 w 4519987"/>
              <a:gd name="connsiteY86" fmla="*/ 285750 h 4429225"/>
              <a:gd name="connsiteX87" fmla="*/ 1411627 w 4519987"/>
              <a:gd name="connsiteY87" fmla="*/ 190500 h 4429225"/>
              <a:gd name="connsiteX88" fmla="*/ 1449727 w 4519987"/>
              <a:gd name="connsiteY88" fmla="*/ 161925 h 4429225"/>
              <a:gd name="connsiteX89" fmla="*/ 1525927 w 4519987"/>
              <a:gd name="connsiteY89" fmla="*/ 152400 h 4429225"/>
              <a:gd name="connsiteX90" fmla="*/ 1583077 w 4519987"/>
              <a:gd name="connsiteY90" fmla="*/ 142875 h 4429225"/>
              <a:gd name="connsiteX91" fmla="*/ 1716427 w 4519987"/>
              <a:gd name="connsiteY91" fmla="*/ 123825 h 4429225"/>
              <a:gd name="connsiteX92" fmla="*/ 1811677 w 4519987"/>
              <a:gd name="connsiteY92" fmla="*/ 114300 h 4429225"/>
              <a:gd name="connsiteX93" fmla="*/ 1859302 w 4519987"/>
              <a:gd name="connsiteY93" fmla="*/ 104775 h 4429225"/>
              <a:gd name="connsiteX94" fmla="*/ 1916452 w 4519987"/>
              <a:gd name="connsiteY94" fmla="*/ 95250 h 4429225"/>
              <a:gd name="connsiteX95" fmla="*/ 2030752 w 4519987"/>
              <a:gd name="connsiteY95" fmla="*/ 66675 h 4429225"/>
              <a:gd name="connsiteX96" fmla="*/ 2097427 w 4519987"/>
              <a:gd name="connsiteY96" fmla="*/ 47625 h 4429225"/>
              <a:gd name="connsiteX97" fmla="*/ 2164102 w 4519987"/>
              <a:gd name="connsiteY97" fmla="*/ 38100 h 4429225"/>
              <a:gd name="connsiteX98" fmla="*/ 2392702 w 4519987"/>
              <a:gd name="connsiteY9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30502 w 4519987"/>
              <a:gd name="connsiteY57" fmla="*/ 2514600 h 4429225"/>
              <a:gd name="connsiteX58" fmla="*/ 11452 w 4519987"/>
              <a:gd name="connsiteY58" fmla="*/ 2400300 h 4429225"/>
              <a:gd name="connsiteX59" fmla="*/ 20977 w 4519987"/>
              <a:gd name="connsiteY59" fmla="*/ 1905000 h 4429225"/>
              <a:gd name="connsiteX60" fmla="*/ 30502 w 4519987"/>
              <a:gd name="connsiteY60" fmla="*/ 1838325 h 4429225"/>
              <a:gd name="connsiteX61" fmla="*/ 49552 w 4519987"/>
              <a:gd name="connsiteY61" fmla="*/ 1781175 h 4429225"/>
              <a:gd name="connsiteX62" fmla="*/ 59077 w 4519987"/>
              <a:gd name="connsiteY62" fmla="*/ 1743075 h 4429225"/>
              <a:gd name="connsiteX63" fmla="*/ 78127 w 4519987"/>
              <a:gd name="connsiteY63" fmla="*/ 1685925 h 4429225"/>
              <a:gd name="connsiteX64" fmla="*/ 87652 w 4519987"/>
              <a:gd name="connsiteY64" fmla="*/ 1638300 h 4429225"/>
              <a:gd name="connsiteX65" fmla="*/ 106702 w 4519987"/>
              <a:gd name="connsiteY65" fmla="*/ 1590675 h 4429225"/>
              <a:gd name="connsiteX66" fmla="*/ 135277 w 4519987"/>
              <a:gd name="connsiteY66" fmla="*/ 1504950 h 4429225"/>
              <a:gd name="connsiteX67" fmla="*/ 154327 w 4519987"/>
              <a:gd name="connsiteY67" fmla="*/ 1419225 h 4429225"/>
              <a:gd name="connsiteX68" fmla="*/ 230527 w 4519987"/>
              <a:gd name="connsiteY68" fmla="*/ 1276350 h 4429225"/>
              <a:gd name="connsiteX69" fmla="*/ 240052 w 4519987"/>
              <a:gd name="connsiteY69" fmla="*/ 1247775 h 4429225"/>
              <a:gd name="connsiteX70" fmla="*/ 268627 w 4519987"/>
              <a:gd name="connsiteY70" fmla="*/ 1200150 h 4429225"/>
              <a:gd name="connsiteX71" fmla="*/ 287677 w 4519987"/>
              <a:gd name="connsiteY71" fmla="*/ 1152525 h 4429225"/>
              <a:gd name="connsiteX72" fmla="*/ 316252 w 4519987"/>
              <a:gd name="connsiteY72" fmla="*/ 1114425 h 4429225"/>
              <a:gd name="connsiteX73" fmla="*/ 363877 w 4519987"/>
              <a:gd name="connsiteY73" fmla="*/ 1038225 h 4429225"/>
              <a:gd name="connsiteX74" fmla="*/ 382927 w 4519987"/>
              <a:gd name="connsiteY74" fmla="*/ 1009650 h 4429225"/>
              <a:gd name="connsiteX75" fmla="*/ 440077 w 4519987"/>
              <a:gd name="connsiteY75" fmla="*/ 904875 h 4429225"/>
              <a:gd name="connsiteX76" fmla="*/ 478177 w 4519987"/>
              <a:gd name="connsiteY76" fmla="*/ 857250 h 4429225"/>
              <a:gd name="connsiteX77" fmla="*/ 497227 w 4519987"/>
              <a:gd name="connsiteY77" fmla="*/ 828675 h 4429225"/>
              <a:gd name="connsiteX78" fmla="*/ 535327 w 4519987"/>
              <a:gd name="connsiteY78" fmla="*/ 800100 h 4429225"/>
              <a:gd name="connsiteX79" fmla="*/ 602002 w 4519987"/>
              <a:gd name="connsiteY79" fmla="*/ 733425 h 4429225"/>
              <a:gd name="connsiteX80" fmla="*/ 668677 w 4519987"/>
              <a:gd name="connsiteY80" fmla="*/ 676275 h 4429225"/>
              <a:gd name="connsiteX81" fmla="*/ 697252 w 4519987"/>
              <a:gd name="connsiteY81" fmla="*/ 657225 h 4429225"/>
              <a:gd name="connsiteX82" fmla="*/ 840127 w 4519987"/>
              <a:gd name="connsiteY82" fmla="*/ 533400 h 4429225"/>
              <a:gd name="connsiteX83" fmla="*/ 887752 w 4519987"/>
              <a:gd name="connsiteY83" fmla="*/ 504825 h 4429225"/>
              <a:gd name="connsiteX84" fmla="*/ 1167152 w 4519987"/>
              <a:gd name="connsiteY84" fmla="*/ 311150 h 4429225"/>
              <a:gd name="connsiteX85" fmla="*/ 1268752 w 4519987"/>
              <a:gd name="connsiteY85" fmla="*/ 285750 h 4429225"/>
              <a:gd name="connsiteX86" fmla="*/ 1411627 w 4519987"/>
              <a:gd name="connsiteY86" fmla="*/ 190500 h 4429225"/>
              <a:gd name="connsiteX87" fmla="*/ 1449727 w 4519987"/>
              <a:gd name="connsiteY87" fmla="*/ 161925 h 4429225"/>
              <a:gd name="connsiteX88" fmla="*/ 1525927 w 4519987"/>
              <a:gd name="connsiteY88" fmla="*/ 152400 h 4429225"/>
              <a:gd name="connsiteX89" fmla="*/ 1583077 w 4519987"/>
              <a:gd name="connsiteY89" fmla="*/ 142875 h 4429225"/>
              <a:gd name="connsiteX90" fmla="*/ 1716427 w 4519987"/>
              <a:gd name="connsiteY90" fmla="*/ 123825 h 4429225"/>
              <a:gd name="connsiteX91" fmla="*/ 1811677 w 4519987"/>
              <a:gd name="connsiteY91" fmla="*/ 114300 h 4429225"/>
              <a:gd name="connsiteX92" fmla="*/ 1859302 w 4519987"/>
              <a:gd name="connsiteY92" fmla="*/ 104775 h 4429225"/>
              <a:gd name="connsiteX93" fmla="*/ 1916452 w 4519987"/>
              <a:gd name="connsiteY93" fmla="*/ 95250 h 4429225"/>
              <a:gd name="connsiteX94" fmla="*/ 2030752 w 4519987"/>
              <a:gd name="connsiteY94" fmla="*/ 66675 h 4429225"/>
              <a:gd name="connsiteX95" fmla="*/ 2097427 w 4519987"/>
              <a:gd name="connsiteY95" fmla="*/ 47625 h 4429225"/>
              <a:gd name="connsiteX96" fmla="*/ 2164102 w 4519987"/>
              <a:gd name="connsiteY96" fmla="*/ 38100 h 4429225"/>
              <a:gd name="connsiteX97" fmla="*/ 2392702 w 4519987"/>
              <a:gd name="connsiteY9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11452 w 4519987"/>
              <a:gd name="connsiteY57" fmla="*/ 2400300 h 4429225"/>
              <a:gd name="connsiteX58" fmla="*/ 20977 w 4519987"/>
              <a:gd name="connsiteY58" fmla="*/ 1905000 h 4429225"/>
              <a:gd name="connsiteX59" fmla="*/ 30502 w 4519987"/>
              <a:gd name="connsiteY59" fmla="*/ 1838325 h 4429225"/>
              <a:gd name="connsiteX60" fmla="*/ 49552 w 4519987"/>
              <a:gd name="connsiteY60" fmla="*/ 1781175 h 4429225"/>
              <a:gd name="connsiteX61" fmla="*/ 59077 w 4519987"/>
              <a:gd name="connsiteY61" fmla="*/ 1743075 h 4429225"/>
              <a:gd name="connsiteX62" fmla="*/ 78127 w 4519987"/>
              <a:gd name="connsiteY62" fmla="*/ 1685925 h 4429225"/>
              <a:gd name="connsiteX63" fmla="*/ 87652 w 4519987"/>
              <a:gd name="connsiteY63" fmla="*/ 1638300 h 4429225"/>
              <a:gd name="connsiteX64" fmla="*/ 106702 w 4519987"/>
              <a:gd name="connsiteY64" fmla="*/ 1590675 h 4429225"/>
              <a:gd name="connsiteX65" fmla="*/ 135277 w 4519987"/>
              <a:gd name="connsiteY65" fmla="*/ 1504950 h 4429225"/>
              <a:gd name="connsiteX66" fmla="*/ 154327 w 4519987"/>
              <a:gd name="connsiteY66" fmla="*/ 1419225 h 4429225"/>
              <a:gd name="connsiteX67" fmla="*/ 230527 w 4519987"/>
              <a:gd name="connsiteY67" fmla="*/ 1276350 h 4429225"/>
              <a:gd name="connsiteX68" fmla="*/ 240052 w 4519987"/>
              <a:gd name="connsiteY68" fmla="*/ 1247775 h 4429225"/>
              <a:gd name="connsiteX69" fmla="*/ 268627 w 4519987"/>
              <a:gd name="connsiteY69" fmla="*/ 1200150 h 4429225"/>
              <a:gd name="connsiteX70" fmla="*/ 287677 w 4519987"/>
              <a:gd name="connsiteY70" fmla="*/ 1152525 h 4429225"/>
              <a:gd name="connsiteX71" fmla="*/ 316252 w 4519987"/>
              <a:gd name="connsiteY71" fmla="*/ 1114425 h 4429225"/>
              <a:gd name="connsiteX72" fmla="*/ 363877 w 4519987"/>
              <a:gd name="connsiteY72" fmla="*/ 1038225 h 4429225"/>
              <a:gd name="connsiteX73" fmla="*/ 382927 w 4519987"/>
              <a:gd name="connsiteY73" fmla="*/ 1009650 h 4429225"/>
              <a:gd name="connsiteX74" fmla="*/ 440077 w 4519987"/>
              <a:gd name="connsiteY74" fmla="*/ 904875 h 4429225"/>
              <a:gd name="connsiteX75" fmla="*/ 478177 w 4519987"/>
              <a:gd name="connsiteY75" fmla="*/ 857250 h 4429225"/>
              <a:gd name="connsiteX76" fmla="*/ 497227 w 4519987"/>
              <a:gd name="connsiteY76" fmla="*/ 828675 h 4429225"/>
              <a:gd name="connsiteX77" fmla="*/ 535327 w 4519987"/>
              <a:gd name="connsiteY77" fmla="*/ 800100 h 4429225"/>
              <a:gd name="connsiteX78" fmla="*/ 602002 w 4519987"/>
              <a:gd name="connsiteY78" fmla="*/ 733425 h 4429225"/>
              <a:gd name="connsiteX79" fmla="*/ 668677 w 4519987"/>
              <a:gd name="connsiteY79" fmla="*/ 676275 h 4429225"/>
              <a:gd name="connsiteX80" fmla="*/ 697252 w 4519987"/>
              <a:gd name="connsiteY80" fmla="*/ 657225 h 4429225"/>
              <a:gd name="connsiteX81" fmla="*/ 840127 w 4519987"/>
              <a:gd name="connsiteY81" fmla="*/ 533400 h 4429225"/>
              <a:gd name="connsiteX82" fmla="*/ 887752 w 4519987"/>
              <a:gd name="connsiteY82" fmla="*/ 504825 h 4429225"/>
              <a:gd name="connsiteX83" fmla="*/ 1167152 w 4519987"/>
              <a:gd name="connsiteY83" fmla="*/ 311150 h 4429225"/>
              <a:gd name="connsiteX84" fmla="*/ 1268752 w 4519987"/>
              <a:gd name="connsiteY84" fmla="*/ 285750 h 4429225"/>
              <a:gd name="connsiteX85" fmla="*/ 1411627 w 4519987"/>
              <a:gd name="connsiteY85" fmla="*/ 190500 h 4429225"/>
              <a:gd name="connsiteX86" fmla="*/ 1449727 w 4519987"/>
              <a:gd name="connsiteY86" fmla="*/ 161925 h 4429225"/>
              <a:gd name="connsiteX87" fmla="*/ 1525927 w 4519987"/>
              <a:gd name="connsiteY87" fmla="*/ 152400 h 4429225"/>
              <a:gd name="connsiteX88" fmla="*/ 1583077 w 4519987"/>
              <a:gd name="connsiteY88" fmla="*/ 142875 h 4429225"/>
              <a:gd name="connsiteX89" fmla="*/ 1716427 w 4519987"/>
              <a:gd name="connsiteY89" fmla="*/ 123825 h 4429225"/>
              <a:gd name="connsiteX90" fmla="*/ 1811677 w 4519987"/>
              <a:gd name="connsiteY90" fmla="*/ 114300 h 4429225"/>
              <a:gd name="connsiteX91" fmla="*/ 1859302 w 4519987"/>
              <a:gd name="connsiteY91" fmla="*/ 104775 h 4429225"/>
              <a:gd name="connsiteX92" fmla="*/ 1916452 w 4519987"/>
              <a:gd name="connsiteY92" fmla="*/ 95250 h 4429225"/>
              <a:gd name="connsiteX93" fmla="*/ 2030752 w 4519987"/>
              <a:gd name="connsiteY93" fmla="*/ 66675 h 4429225"/>
              <a:gd name="connsiteX94" fmla="*/ 2097427 w 4519987"/>
              <a:gd name="connsiteY94" fmla="*/ 47625 h 4429225"/>
              <a:gd name="connsiteX95" fmla="*/ 2164102 w 4519987"/>
              <a:gd name="connsiteY95" fmla="*/ 38100 h 4429225"/>
              <a:gd name="connsiteX96" fmla="*/ 2392702 w 4519987"/>
              <a:gd name="connsiteY9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11452 w 4519987"/>
              <a:gd name="connsiteY56" fmla="*/ 2400300 h 4429225"/>
              <a:gd name="connsiteX57" fmla="*/ 20977 w 4519987"/>
              <a:gd name="connsiteY57" fmla="*/ 1905000 h 4429225"/>
              <a:gd name="connsiteX58" fmla="*/ 30502 w 4519987"/>
              <a:gd name="connsiteY58" fmla="*/ 1838325 h 4429225"/>
              <a:gd name="connsiteX59" fmla="*/ 49552 w 4519987"/>
              <a:gd name="connsiteY59" fmla="*/ 1781175 h 4429225"/>
              <a:gd name="connsiteX60" fmla="*/ 59077 w 4519987"/>
              <a:gd name="connsiteY60" fmla="*/ 1743075 h 4429225"/>
              <a:gd name="connsiteX61" fmla="*/ 78127 w 4519987"/>
              <a:gd name="connsiteY61" fmla="*/ 1685925 h 4429225"/>
              <a:gd name="connsiteX62" fmla="*/ 87652 w 4519987"/>
              <a:gd name="connsiteY62" fmla="*/ 1638300 h 4429225"/>
              <a:gd name="connsiteX63" fmla="*/ 106702 w 4519987"/>
              <a:gd name="connsiteY63" fmla="*/ 1590675 h 4429225"/>
              <a:gd name="connsiteX64" fmla="*/ 135277 w 4519987"/>
              <a:gd name="connsiteY64" fmla="*/ 1504950 h 4429225"/>
              <a:gd name="connsiteX65" fmla="*/ 154327 w 4519987"/>
              <a:gd name="connsiteY65" fmla="*/ 1419225 h 4429225"/>
              <a:gd name="connsiteX66" fmla="*/ 230527 w 4519987"/>
              <a:gd name="connsiteY66" fmla="*/ 1276350 h 4429225"/>
              <a:gd name="connsiteX67" fmla="*/ 240052 w 4519987"/>
              <a:gd name="connsiteY67" fmla="*/ 1247775 h 4429225"/>
              <a:gd name="connsiteX68" fmla="*/ 268627 w 4519987"/>
              <a:gd name="connsiteY68" fmla="*/ 1200150 h 4429225"/>
              <a:gd name="connsiteX69" fmla="*/ 287677 w 4519987"/>
              <a:gd name="connsiteY69" fmla="*/ 1152525 h 4429225"/>
              <a:gd name="connsiteX70" fmla="*/ 316252 w 4519987"/>
              <a:gd name="connsiteY70" fmla="*/ 1114425 h 4429225"/>
              <a:gd name="connsiteX71" fmla="*/ 363877 w 4519987"/>
              <a:gd name="connsiteY71" fmla="*/ 1038225 h 4429225"/>
              <a:gd name="connsiteX72" fmla="*/ 382927 w 4519987"/>
              <a:gd name="connsiteY72" fmla="*/ 1009650 h 4429225"/>
              <a:gd name="connsiteX73" fmla="*/ 440077 w 4519987"/>
              <a:gd name="connsiteY73" fmla="*/ 904875 h 4429225"/>
              <a:gd name="connsiteX74" fmla="*/ 478177 w 4519987"/>
              <a:gd name="connsiteY74" fmla="*/ 857250 h 4429225"/>
              <a:gd name="connsiteX75" fmla="*/ 497227 w 4519987"/>
              <a:gd name="connsiteY75" fmla="*/ 828675 h 4429225"/>
              <a:gd name="connsiteX76" fmla="*/ 535327 w 4519987"/>
              <a:gd name="connsiteY76" fmla="*/ 800100 h 4429225"/>
              <a:gd name="connsiteX77" fmla="*/ 602002 w 4519987"/>
              <a:gd name="connsiteY77" fmla="*/ 733425 h 4429225"/>
              <a:gd name="connsiteX78" fmla="*/ 668677 w 4519987"/>
              <a:gd name="connsiteY78" fmla="*/ 676275 h 4429225"/>
              <a:gd name="connsiteX79" fmla="*/ 697252 w 4519987"/>
              <a:gd name="connsiteY79" fmla="*/ 657225 h 4429225"/>
              <a:gd name="connsiteX80" fmla="*/ 840127 w 4519987"/>
              <a:gd name="connsiteY80" fmla="*/ 533400 h 4429225"/>
              <a:gd name="connsiteX81" fmla="*/ 887752 w 4519987"/>
              <a:gd name="connsiteY81" fmla="*/ 504825 h 4429225"/>
              <a:gd name="connsiteX82" fmla="*/ 1167152 w 4519987"/>
              <a:gd name="connsiteY82" fmla="*/ 311150 h 4429225"/>
              <a:gd name="connsiteX83" fmla="*/ 1268752 w 4519987"/>
              <a:gd name="connsiteY83" fmla="*/ 285750 h 4429225"/>
              <a:gd name="connsiteX84" fmla="*/ 1411627 w 4519987"/>
              <a:gd name="connsiteY84" fmla="*/ 190500 h 4429225"/>
              <a:gd name="connsiteX85" fmla="*/ 1449727 w 4519987"/>
              <a:gd name="connsiteY85" fmla="*/ 161925 h 4429225"/>
              <a:gd name="connsiteX86" fmla="*/ 1525927 w 4519987"/>
              <a:gd name="connsiteY86" fmla="*/ 152400 h 4429225"/>
              <a:gd name="connsiteX87" fmla="*/ 1583077 w 4519987"/>
              <a:gd name="connsiteY87" fmla="*/ 142875 h 4429225"/>
              <a:gd name="connsiteX88" fmla="*/ 1716427 w 4519987"/>
              <a:gd name="connsiteY88" fmla="*/ 123825 h 4429225"/>
              <a:gd name="connsiteX89" fmla="*/ 1811677 w 4519987"/>
              <a:gd name="connsiteY89" fmla="*/ 114300 h 4429225"/>
              <a:gd name="connsiteX90" fmla="*/ 1859302 w 4519987"/>
              <a:gd name="connsiteY90" fmla="*/ 104775 h 4429225"/>
              <a:gd name="connsiteX91" fmla="*/ 1916452 w 4519987"/>
              <a:gd name="connsiteY91" fmla="*/ 95250 h 4429225"/>
              <a:gd name="connsiteX92" fmla="*/ 2030752 w 4519987"/>
              <a:gd name="connsiteY92" fmla="*/ 66675 h 4429225"/>
              <a:gd name="connsiteX93" fmla="*/ 2097427 w 4519987"/>
              <a:gd name="connsiteY93" fmla="*/ 47625 h 4429225"/>
              <a:gd name="connsiteX94" fmla="*/ 2164102 w 4519987"/>
              <a:gd name="connsiteY94" fmla="*/ 38100 h 4429225"/>
              <a:gd name="connsiteX95" fmla="*/ 2392702 w 4519987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49994 w 4501379"/>
              <a:gd name="connsiteY55" fmla="*/ 2724150 h 4429225"/>
              <a:gd name="connsiteX56" fmla="*/ 56344 w 4501379"/>
              <a:gd name="connsiteY56" fmla="*/ 2368550 h 4429225"/>
              <a:gd name="connsiteX57" fmla="*/ 2369 w 4501379"/>
              <a:gd name="connsiteY57" fmla="*/ 1905000 h 4429225"/>
              <a:gd name="connsiteX58" fmla="*/ 11894 w 4501379"/>
              <a:gd name="connsiteY58" fmla="*/ 1838325 h 4429225"/>
              <a:gd name="connsiteX59" fmla="*/ 30944 w 4501379"/>
              <a:gd name="connsiteY59" fmla="*/ 1781175 h 4429225"/>
              <a:gd name="connsiteX60" fmla="*/ 40469 w 4501379"/>
              <a:gd name="connsiteY60" fmla="*/ 1743075 h 4429225"/>
              <a:gd name="connsiteX61" fmla="*/ 59519 w 4501379"/>
              <a:gd name="connsiteY61" fmla="*/ 1685925 h 4429225"/>
              <a:gd name="connsiteX62" fmla="*/ 69044 w 4501379"/>
              <a:gd name="connsiteY62" fmla="*/ 1638300 h 4429225"/>
              <a:gd name="connsiteX63" fmla="*/ 88094 w 4501379"/>
              <a:gd name="connsiteY63" fmla="*/ 1590675 h 4429225"/>
              <a:gd name="connsiteX64" fmla="*/ 116669 w 4501379"/>
              <a:gd name="connsiteY64" fmla="*/ 1504950 h 4429225"/>
              <a:gd name="connsiteX65" fmla="*/ 135719 w 4501379"/>
              <a:gd name="connsiteY65" fmla="*/ 1419225 h 4429225"/>
              <a:gd name="connsiteX66" fmla="*/ 211919 w 4501379"/>
              <a:gd name="connsiteY66" fmla="*/ 1276350 h 4429225"/>
              <a:gd name="connsiteX67" fmla="*/ 221444 w 4501379"/>
              <a:gd name="connsiteY67" fmla="*/ 1247775 h 4429225"/>
              <a:gd name="connsiteX68" fmla="*/ 250019 w 4501379"/>
              <a:gd name="connsiteY68" fmla="*/ 1200150 h 4429225"/>
              <a:gd name="connsiteX69" fmla="*/ 269069 w 4501379"/>
              <a:gd name="connsiteY69" fmla="*/ 1152525 h 4429225"/>
              <a:gd name="connsiteX70" fmla="*/ 297644 w 4501379"/>
              <a:gd name="connsiteY70" fmla="*/ 1114425 h 4429225"/>
              <a:gd name="connsiteX71" fmla="*/ 345269 w 4501379"/>
              <a:gd name="connsiteY71" fmla="*/ 1038225 h 4429225"/>
              <a:gd name="connsiteX72" fmla="*/ 364319 w 4501379"/>
              <a:gd name="connsiteY72" fmla="*/ 1009650 h 4429225"/>
              <a:gd name="connsiteX73" fmla="*/ 421469 w 4501379"/>
              <a:gd name="connsiteY73" fmla="*/ 904875 h 4429225"/>
              <a:gd name="connsiteX74" fmla="*/ 459569 w 4501379"/>
              <a:gd name="connsiteY74" fmla="*/ 857250 h 4429225"/>
              <a:gd name="connsiteX75" fmla="*/ 478619 w 4501379"/>
              <a:gd name="connsiteY75" fmla="*/ 828675 h 4429225"/>
              <a:gd name="connsiteX76" fmla="*/ 516719 w 4501379"/>
              <a:gd name="connsiteY76" fmla="*/ 800100 h 4429225"/>
              <a:gd name="connsiteX77" fmla="*/ 583394 w 4501379"/>
              <a:gd name="connsiteY77" fmla="*/ 733425 h 4429225"/>
              <a:gd name="connsiteX78" fmla="*/ 650069 w 4501379"/>
              <a:gd name="connsiteY78" fmla="*/ 676275 h 4429225"/>
              <a:gd name="connsiteX79" fmla="*/ 678644 w 4501379"/>
              <a:gd name="connsiteY79" fmla="*/ 657225 h 4429225"/>
              <a:gd name="connsiteX80" fmla="*/ 821519 w 4501379"/>
              <a:gd name="connsiteY80" fmla="*/ 533400 h 4429225"/>
              <a:gd name="connsiteX81" fmla="*/ 869144 w 4501379"/>
              <a:gd name="connsiteY81" fmla="*/ 504825 h 4429225"/>
              <a:gd name="connsiteX82" fmla="*/ 1148544 w 4501379"/>
              <a:gd name="connsiteY82" fmla="*/ 311150 h 4429225"/>
              <a:gd name="connsiteX83" fmla="*/ 1250144 w 4501379"/>
              <a:gd name="connsiteY83" fmla="*/ 285750 h 4429225"/>
              <a:gd name="connsiteX84" fmla="*/ 1393019 w 4501379"/>
              <a:gd name="connsiteY84" fmla="*/ 190500 h 4429225"/>
              <a:gd name="connsiteX85" fmla="*/ 1431119 w 4501379"/>
              <a:gd name="connsiteY85" fmla="*/ 161925 h 4429225"/>
              <a:gd name="connsiteX86" fmla="*/ 1507319 w 4501379"/>
              <a:gd name="connsiteY86" fmla="*/ 152400 h 4429225"/>
              <a:gd name="connsiteX87" fmla="*/ 1564469 w 4501379"/>
              <a:gd name="connsiteY87" fmla="*/ 142875 h 4429225"/>
              <a:gd name="connsiteX88" fmla="*/ 1697819 w 4501379"/>
              <a:gd name="connsiteY88" fmla="*/ 123825 h 4429225"/>
              <a:gd name="connsiteX89" fmla="*/ 1793069 w 4501379"/>
              <a:gd name="connsiteY89" fmla="*/ 114300 h 4429225"/>
              <a:gd name="connsiteX90" fmla="*/ 1840694 w 4501379"/>
              <a:gd name="connsiteY90" fmla="*/ 104775 h 4429225"/>
              <a:gd name="connsiteX91" fmla="*/ 1897844 w 4501379"/>
              <a:gd name="connsiteY91" fmla="*/ 95250 h 4429225"/>
              <a:gd name="connsiteX92" fmla="*/ 2012144 w 4501379"/>
              <a:gd name="connsiteY92" fmla="*/ 66675 h 4429225"/>
              <a:gd name="connsiteX93" fmla="*/ 2078819 w 4501379"/>
              <a:gd name="connsiteY93" fmla="*/ 47625 h 4429225"/>
              <a:gd name="connsiteX94" fmla="*/ 2145494 w 4501379"/>
              <a:gd name="connsiteY94" fmla="*/ 38100 h 4429225"/>
              <a:gd name="connsiteX95" fmla="*/ 2374094 w 4501379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56344 w 4501379"/>
              <a:gd name="connsiteY55" fmla="*/ 2368550 h 4429225"/>
              <a:gd name="connsiteX56" fmla="*/ 2369 w 4501379"/>
              <a:gd name="connsiteY56" fmla="*/ 1905000 h 4429225"/>
              <a:gd name="connsiteX57" fmla="*/ 11894 w 4501379"/>
              <a:gd name="connsiteY57" fmla="*/ 1838325 h 4429225"/>
              <a:gd name="connsiteX58" fmla="*/ 30944 w 4501379"/>
              <a:gd name="connsiteY58" fmla="*/ 1781175 h 4429225"/>
              <a:gd name="connsiteX59" fmla="*/ 40469 w 4501379"/>
              <a:gd name="connsiteY59" fmla="*/ 1743075 h 4429225"/>
              <a:gd name="connsiteX60" fmla="*/ 59519 w 4501379"/>
              <a:gd name="connsiteY60" fmla="*/ 1685925 h 4429225"/>
              <a:gd name="connsiteX61" fmla="*/ 69044 w 4501379"/>
              <a:gd name="connsiteY61" fmla="*/ 1638300 h 4429225"/>
              <a:gd name="connsiteX62" fmla="*/ 88094 w 4501379"/>
              <a:gd name="connsiteY62" fmla="*/ 1590675 h 4429225"/>
              <a:gd name="connsiteX63" fmla="*/ 116669 w 4501379"/>
              <a:gd name="connsiteY63" fmla="*/ 1504950 h 4429225"/>
              <a:gd name="connsiteX64" fmla="*/ 135719 w 4501379"/>
              <a:gd name="connsiteY64" fmla="*/ 1419225 h 4429225"/>
              <a:gd name="connsiteX65" fmla="*/ 211919 w 4501379"/>
              <a:gd name="connsiteY65" fmla="*/ 1276350 h 4429225"/>
              <a:gd name="connsiteX66" fmla="*/ 221444 w 4501379"/>
              <a:gd name="connsiteY66" fmla="*/ 1247775 h 4429225"/>
              <a:gd name="connsiteX67" fmla="*/ 250019 w 4501379"/>
              <a:gd name="connsiteY67" fmla="*/ 1200150 h 4429225"/>
              <a:gd name="connsiteX68" fmla="*/ 269069 w 4501379"/>
              <a:gd name="connsiteY68" fmla="*/ 1152525 h 4429225"/>
              <a:gd name="connsiteX69" fmla="*/ 297644 w 4501379"/>
              <a:gd name="connsiteY69" fmla="*/ 1114425 h 4429225"/>
              <a:gd name="connsiteX70" fmla="*/ 345269 w 4501379"/>
              <a:gd name="connsiteY70" fmla="*/ 1038225 h 4429225"/>
              <a:gd name="connsiteX71" fmla="*/ 364319 w 4501379"/>
              <a:gd name="connsiteY71" fmla="*/ 1009650 h 4429225"/>
              <a:gd name="connsiteX72" fmla="*/ 421469 w 4501379"/>
              <a:gd name="connsiteY72" fmla="*/ 904875 h 4429225"/>
              <a:gd name="connsiteX73" fmla="*/ 459569 w 4501379"/>
              <a:gd name="connsiteY73" fmla="*/ 857250 h 4429225"/>
              <a:gd name="connsiteX74" fmla="*/ 478619 w 4501379"/>
              <a:gd name="connsiteY74" fmla="*/ 828675 h 4429225"/>
              <a:gd name="connsiteX75" fmla="*/ 516719 w 4501379"/>
              <a:gd name="connsiteY75" fmla="*/ 800100 h 4429225"/>
              <a:gd name="connsiteX76" fmla="*/ 583394 w 4501379"/>
              <a:gd name="connsiteY76" fmla="*/ 733425 h 4429225"/>
              <a:gd name="connsiteX77" fmla="*/ 650069 w 4501379"/>
              <a:gd name="connsiteY77" fmla="*/ 676275 h 4429225"/>
              <a:gd name="connsiteX78" fmla="*/ 678644 w 4501379"/>
              <a:gd name="connsiteY78" fmla="*/ 657225 h 4429225"/>
              <a:gd name="connsiteX79" fmla="*/ 821519 w 4501379"/>
              <a:gd name="connsiteY79" fmla="*/ 533400 h 4429225"/>
              <a:gd name="connsiteX80" fmla="*/ 869144 w 4501379"/>
              <a:gd name="connsiteY80" fmla="*/ 504825 h 4429225"/>
              <a:gd name="connsiteX81" fmla="*/ 1148544 w 4501379"/>
              <a:gd name="connsiteY81" fmla="*/ 311150 h 4429225"/>
              <a:gd name="connsiteX82" fmla="*/ 1250144 w 4501379"/>
              <a:gd name="connsiteY82" fmla="*/ 285750 h 4429225"/>
              <a:gd name="connsiteX83" fmla="*/ 1393019 w 4501379"/>
              <a:gd name="connsiteY83" fmla="*/ 190500 h 4429225"/>
              <a:gd name="connsiteX84" fmla="*/ 1431119 w 4501379"/>
              <a:gd name="connsiteY84" fmla="*/ 161925 h 4429225"/>
              <a:gd name="connsiteX85" fmla="*/ 1507319 w 4501379"/>
              <a:gd name="connsiteY85" fmla="*/ 152400 h 4429225"/>
              <a:gd name="connsiteX86" fmla="*/ 1564469 w 4501379"/>
              <a:gd name="connsiteY86" fmla="*/ 142875 h 4429225"/>
              <a:gd name="connsiteX87" fmla="*/ 1697819 w 4501379"/>
              <a:gd name="connsiteY87" fmla="*/ 123825 h 4429225"/>
              <a:gd name="connsiteX88" fmla="*/ 1793069 w 4501379"/>
              <a:gd name="connsiteY88" fmla="*/ 114300 h 4429225"/>
              <a:gd name="connsiteX89" fmla="*/ 1840694 w 4501379"/>
              <a:gd name="connsiteY89" fmla="*/ 104775 h 4429225"/>
              <a:gd name="connsiteX90" fmla="*/ 1897844 w 4501379"/>
              <a:gd name="connsiteY90" fmla="*/ 95250 h 4429225"/>
              <a:gd name="connsiteX91" fmla="*/ 2012144 w 4501379"/>
              <a:gd name="connsiteY91" fmla="*/ 66675 h 4429225"/>
              <a:gd name="connsiteX92" fmla="*/ 2078819 w 4501379"/>
              <a:gd name="connsiteY92" fmla="*/ 47625 h 4429225"/>
              <a:gd name="connsiteX93" fmla="*/ 2145494 w 4501379"/>
              <a:gd name="connsiteY93" fmla="*/ 38100 h 4429225"/>
              <a:gd name="connsiteX94" fmla="*/ 2374094 w 4501379"/>
              <a:gd name="connsiteY94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26194 w 4501379"/>
              <a:gd name="connsiteY53" fmla="*/ 292417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6869 w 4501379"/>
              <a:gd name="connsiteY51" fmla="*/ 34702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313644 w 4501379"/>
              <a:gd name="connsiteY46" fmla="*/ 42164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91" fmla="*/ 2374094 w 4501379"/>
              <a:gd name="connsiteY91" fmla="*/ 28575 h 4429294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0" fmla="*/ 2278844 w 4501379"/>
              <a:gd name="connsiteY0" fmla="*/ 0 h 4429294"/>
              <a:gd name="connsiteX1" fmla="*/ 2478869 w 4501379"/>
              <a:gd name="connsiteY1" fmla="*/ 47625 h 4429294"/>
              <a:gd name="connsiteX2" fmla="*/ 2736044 w 4501379"/>
              <a:gd name="connsiteY2" fmla="*/ 66675 h 4429294"/>
              <a:gd name="connsiteX3" fmla="*/ 2812244 w 4501379"/>
              <a:gd name="connsiteY3" fmla="*/ 76200 h 4429294"/>
              <a:gd name="connsiteX4" fmla="*/ 2897969 w 4501379"/>
              <a:gd name="connsiteY4" fmla="*/ 85725 h 4429294"/>
              <a:gd name="connsiteX5" fmla="*/ 2955119 w 4501379"/>
              <a:gd name="connsiteY5" fmla="*/ 114300 h 4429294"/>
              <a:gd name="connsiteX6" fmla="*/ 2993219 w 4501379"/>
              <a:gd name="connsiteY6" fmla="*/ 123825 h 4429294"/>
              <a:gd name="connsiteX7" fmla="*/ 3117044 w 4501379"/>
              <a:gd name="connsiteY7" fmla="*/ 171450 h 4429294"/>
              <a:gd name="connsiteX8" fmla="*/ 3155144 w 4501379"/>
              <a:gd name="connsiteY8" fmla="*/ 190500 h 4429294"/>
              <a:gd name="connsiteX9" fmla="*/ 3221819 w 4501379"/>
              <a:gd name="connsiteY9" fmla="*/ 228600 h 4429294"/>
              <a:gd name="connsiteX10" fmla="*/ 3250394 w 4501379"/>
              <a:gd name="connsiteY10" fmla="*/ 238125 h 4429294"/>
              <a:gd name="connsiteX11" fmla="*/ 3278969 w 4501379"/>
              <a:gd name="connsiteY11" fmla="*/ 257175 h 4429294"/>
              <a:gd name="connsiteX12" fmla="*/ 3307544 w 4501379"/>
              <a:gd name="connsiteY12" fmla="*/ 266700 h 4429294"/>
              <a:gd name="connsiteX13" fmla="*/ 3336119 w 4501379"/>
              <a:gd name="connsiteY13" fmla="*/ 285750 h 4429294"/>
              <a:gd name="connsiteX14" fmla="*/ 3402794 w 4501379"/>
              <a:gd name="connsiteY14" fmla="*/ 323850 h 4429294"/>
              <a:gd name="connsiteX15" fmla="*/ 3450419 w 4501379"/>
              <a:gd name="connsiteY15" fmla="*/ 361950 h 4429294"/>
              <a:gd name="connsiteX16" fmla="*/ 3498044 w 4501379"/>
              <a:gd name="connsiteY16" fmla="*/ 390525 h 4429294"/>
              <a:gd name="connsiteX17" fmla="*/ 3612344 w 4501379"/>
              <a:gd name="connsiteY17" fmla="*/ 485775 h 4429294"/>
              <a:gd name="connsiteX18" fmla="*/ 3726644 w 4501379"/>
              <a:gd name="connsiteY18" fmla="*/ 542925 h 4429294"/>
              <a:gd name="connsiteX19" fmla="*/ 3793319 w 4501379"/>
              <a:gd name="connsiteY19" fmla="*/ 581025 h 4429294"/>
              <a:gd name="connsiteX20" fmla="*/ 4009219 w 4501379"/>
              <a:gd name="connsiteY20" fmla="*/ 819150 h 4429294"/>
              <a:gd name="connsiteX21" fmla="*/ 4145744 w 4501379"/>
              <a:gd name="connsiteY21" fmla="*/ 990600 h 4429294"/>
              <a:gd name="connsiteX22" fmla="*/ 4231469 w 4501379"/>
              <a:gd name="connsiteY22" fmla="*/ 1143000 h 4429294"/>
              <a:gd name="connsiteX23" fmla="*/ 4288619 w 4501379"/>
              <a:gd name="connsiteY23" fmla="*/ 1266825 h 4429294"/>
              <a:gd name="connsiteX24" fmla="*/ 4326719 w 4501379"/>
              <a:gd name="connsiteY24" fmla="*/ 1362075 h 4429294"/>
              <a:gd name="connsiteX25" fmla="*/ 4374344 w 4501379"/>
              <a:gd name="connsiteY25" fmla="*/ 1552575 h 4429294"/>
              <a:gd name="connsiteX26" fmla="*/ 4412444 w 4501379"/>
              <a:gd name="connsiteY26" fmla="*/ 1685925 h 4429294"/>
              <a:gd name="connsiteX27" fmla="*/ 4501344 w 4501379"/>
              <a:gd name="connsiteY27" fmla="*/ 2181225 h 4429294"/>
              <a:gd name="connsiteX28" fmla="*/ 4428319 w 4501379"/>
              <a:gd name="connsiteY28" fmla="*/ 2768600 h 4429294"/>
              <a:gd name="connsiteX29" fmla="*/ 4364819 w 4501379"/>
              <a:gd name="connsiteY29" fmla="*/ 2990850 h 4429294"/>
              <a:gd name="connsiteX30" fmla="*/ 4260044 w 4501379"/>
              <a:gd name="connsiteY30" fmla="*/ 3248025 h 4429294"/>
              <a:gd name="connsiteX31" fmla="*/ 4164794 w 4501379"/>
              <a:gd name="connsiteY31" fmla="*/ 3400425 h 4429294"/>
              <a:gd name="connsiteX32" fmla="*/ 4040969 w 4501379"/>
              <a:gd name="connsiteY32" fmla="*/ 3533775 h 4429294"/>
              <a:gd name="connsiteX33" fmla="*/ 3936194 w 4501379"/>
              <a:gd name="connsiteY33" fmla="*/ 3648075 h 4429294"/>
              <a:gd name="connsiteX34" fmla="*/ 3640919 w 4501379"/>
              <a:gd name="connsiteY34" fmla="*/ 3971925 h 4429294"/>
              <a:gd name="connsiteX35" fmla="*/ 3498044 w 4501379"/>
              <a:gd name="connsiteY35" fmla="*/ 4083050 h 4429294"/>
              <a:gd name="connsiteX36" fmla="*/ 3202769 w 4501379"/>
              <a:gd name="connsiteY36" fmla="*/ 4222750 h 4429294"/>
              <a:gd name="connsiteX37" fmla="*/ 3050369 w 4501379"/>
              <a:gd name="connsiteY37" fmla="*/ 4286250 h 4429294"/>
              <a:gd name="connsiteX38" fmla="*/ 2917019 w 4501379"/>
              <a:gd name="connsiteY38" fmla="*/ 4333875 h 4429294"/>
              <a:gd name="connsiteX39" fmla="*/ 2793194 w 4501379"/>
              <a:gd name="connsiteY39" fmla="*/ 4371975 h 4429294"/>
              <a:gd name="connsiteX40" fmla="*/ 2561419 w 4501379"/>
              <a:gd name="connsiteY40" fmla="*/ 4391025 h 4429294"/>
              <a:gd name="connsiteX41" fmla="*/ 2107394 w 4501379"/>
              <a:gd name="connsiteY41" fmla="*/ 4429125 h 4429294"/>
              <a:gd name="connsiteX42" fmla="*/ 1916894 w 4501379"/>
              <a:gd name="connsiteY42" fmla="*/ 4400550 h 4429294"/>
              <a:gd name="connsiteX43" fmla="*/ 1554944 w 4501379"/>
              <a:gd name="connsiteY43" fmla="*/ 4305300 h 4429294"/>
              <a:gd name="connsiteX44" fmla="*/ 1313644 w 4501379"/>
              <a:gd name="connsiteY44" fmla="*/ 4216400 h 4429294"/>
              <a:gd name="connsiteX45" fmla="*/ 1145369 w 4501379"/>
              <a:gd name="connsiteY45" fmla="*/ 4111625 h 4429294"/>
              <a:gd name="connsiteX46" fmla="*/ 926294 w 4501379"/>
              <a:gd name="connsiteY46" fmla="*/ 3968750 h 4429294"/>
              <a:gd name="connsiteX47" fmla="*/ 592919 w 4501379"/>
              <a:gd name="connsiteY47" fmla="*/ 3657600 h 4429294"/>
              <a:gd name="connsiteX48" fmla="*/ 446869 w 4501379"/>
              <a:gd name="connsiteY48" fmla="*/ 3470275 h 4429294"/>
              <a:gd name="connsiteX49" fmla="*/ 316694 w 4501379"/>
              <a:gd name="connsiteY49" fmla="*/ 3244850 h 4429294"/>
              <a:gd name="connsiteX50" fmla="*/ 164294 w 4501379"/>
              <a:gd name="connsiteY50" fmla="*/ 2892425 h 4429294"/>
              <a:gd name="connsiteX51" fmla="*/ 56344 w 4501379"/>
              <a:gd name="connsiteY51" fmla="*/ 2368550 h 4429294"/>
              <a:gd name="connsiteX52" fmla="*/ 2369 w 4501379"/>
              <a:gd name="connsiteY52" fmla="*/ 1905000 h 4429294"/>
              <a:gd name="connsiteX53" fmla="*/ 11894 w 4501379"/>
              <a:gd name="connsiteY53" fmla="*/ 1838325 h 4429294"/>
              <a:gd name="connsiteX54" fmla="*/ 30944 w 4501379"/>
              <a:gd name="connsiteY54" fmla="*/ 1781175 h 4429294"/>
              <a:gd name="connsiteX55" fmla="*/ 40469 w 4501379"/>
              <a:gd name="connsiteY55" fmla="*/ 1743075 h 4429294"/>
              <a:gd name="connsiteX56" fmla="*/ 59519 w 4501379"/>
              <a:gd name="connsiteY56" fmla="*/ 1685925 h 4429294"/>
              <a:gd name="connsiteX57" fmla="*/ 69044 w 4501379"/>
              <a:gd name="connsiteY57" fmla="*/ 1638300 h 4429294"/>
              <a:gd name="connsiteX58" fmla="*/ 88094 w 4501379"/>
              <a:gd name="connsiteY58" fmla="*/ 1590675 h 4429294"/>
              <a:gd name="connsiteX59" fmla="*/ 116669 w 4501379"/>
              <a:gd name="connsiteY59" fmla="*/ 1504950 h 4429294"/>
              <a:gd name="connsiteX60" fmla="*/ 135719 w 4501379"/>
              <a:gd name="connsiteY60" fmla="*/ 1419225 h 4429294"/>
              <a:gd name="connsiteX61" fmla="*/ 211919 w 4501379"/>
              <a:gd name="connsiteY61" fmla="*/ 1276350 h 4429294"/>
              <a:gd name="connsiteX62" fmla="*/ 221444 w 4501379"/>
              <a:gd name="connsiteY62" fmla="*/ 1247775 h 4429294"/>
              <a:gd name="connsiteX63" fmla="*/ 250019 w 4501379"/>
              <a:gd name="connsiteY63" fmla="*/ 1200150 h 4429294"/>
              <a:gd name="connsiteX64" fmla="*/ 269069 w 4501379"/>
              <a:gd name="connsiteY64" fmla="*/ 1152525 h 4429294"/>
              <a:gd name="connsiteX65" fmla="*/ 297644 w 4501379"/>
              <a:gd name="connsiteY65" fmla="*/ 1114425 h 4429294"/>
              <a:gd name="connsiteX66" fmla="*/ 345269 w 4501379"/>
              <a:gd name="connsiteY66" fmla="*/ 1038225 h 4429294"/>
              <a:gd name="connsiteX67" fmla="*/ 364319 w 4501379"/>
              <a:gd name="connsiteY67" fmla="*/ 1009650 h 4429294"/>
              <a:gd name="connsiteX68" fmla="*/ 421469 w 4501379"/>
              <a:gd name="connsiteY68" fmla="*/ 904875 h 4429294"/>
              <a:gd name="connsiteX69" fmla="*/ 459569 w 4501379"/>
              <a:gd name="connsiteY69" fmla="*/ 857250 h 4429294"/>
              <a:gd name="connsiteX70" fmla="*/ 478619 w 4501379"/>
              <a:gd name="connsiteY70" fmla="*/ 828675 h 4429294"/>
              <a:gd name="connsiteX71" fmla="*/ 516719 w 4501379"/>
              <a:gd name="connsiteY71" fmla="*/ 800100 h 4429294"/>
              <a:gd name="connsiteX72" fmla="*/ 583394 w 4501379"/>
              <a:gd name="connsiteY72" fmla="*/ 733425 h 4429294"/>
              <a:gd name="connsiteX73" fmla="*/ 650069 w 4501379"/>
              <a:gd name="connsiteY73" fmla="*/ 676275 h 4429294"/>
              <a:gd name="connsiteX74" fmla="*/ 678644 w 4501379"/>
              <a:gd name="connsiteY74" fmla="*/ 657225 h 4429294"/>
              <a:gd name="connsiteX75" fmla="*/ 821519 w 4501379"/>
              <a:gd name="connsiteY75" fmla="*/ 533400 h 4429294"/>
              <a:gd name="connsiteX76" fmla="*/ 869144 w 4501379"/>
              <a:gd name="connsiteY76" fmla="*/ 504825 h 4429294"/>
              <a:gd name="connsiteX77" fmla="*/ 1148544 w 4501379"/>
              <a:gd name="connsiteY77" fmla="*/ 311150 h 4429294"/>
              <a:gd name="connsiteX78" fmla="*/ 1250144 w 4501379"/>
              <a:gd name="connsiteY78" fmla="*/ 285750 h 4429294"/>
              <a:gd name="connsiteX79" fmla="*/ 1393019 w 4501379"/>
              <a:gd name="connsiteY79" fmla="*/ 190500 h 4429294"/>
              <a:gd name="connsiteX80" fmla="*/ 1431119 w 4501379"/>
              <a:gd name="connsiteY80" fmla="*/ 161925 h 4429294"/>
              <a:gd name="connsiteX81" fmla="*/ 1507319 w 4501379"/>
              <a:gd name="connsiteY81" fmla="*/ 152400 h 4429294"/>
              <a:gd name="connsiteX82" fmla="*/ 1564469 w 4501379"/>
              <a:gd name="connsiteY82" fmla="*/ 142875 h 4429294"/>
              <a:gd name="connsiteX83" fmla="*/ 1697819 w 4501379"/>
              <a:gd name="connsiteY83" fmla="*/ 123825 h 4429294"/>
              <a:gd name="connsiteX84" fmla="*/ 1793069 w 4501379"/>
              <a:gd name="connsiteY84" fmla="*/ 114300 h 4429294"/>
              <a:gd name="connsiteX85" fmla="*/ 1840694 w 4501379"/>
              <a:gd name="connsiteY85" fmla="*/ 104775 h 4429294"/>
              <a:gd name="connsiteX86" fmla="*/ 1897844 w 4501379"/>
              <a:gd name="connsiteY86" fmla="*/ 95250 h 4429294"/>
              <a:gd name="connsiteX87" fmla="*/ 2012144 w 4501379"/>
              <a:gd name="connsiteY87" fmla="*/ 66675 h 4429294"/>
              <a:gd name="connsiteX88" fmla="*/ 2078819 w 4501379"/>
              <a:gd name="connsiteY88" fmla="*/ 47625 h 4429294"/>
              <a:gd name="connsiteX89" fmla="*/ 2145494 w 4501379"/>
              <a:gd name="connsiteY89" fmla="*/ 38100 h 4429294"/>
              <a:gd name="connsiteX0" fmla="*/ 2278844 w 4501379"/>
              <a:gd name="connsiteY0" fmla="*/ 0 h 4429294"/>
              <a:gd name="connsiteX1" fmla="*/ 2736044 w 4501379"/>
              <a:gd name="connsiteY1" fmla="*/ 666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2993219 w 4501379"/>
              <a:gd name="connsiteY4" fmla="*/ 123825 h 4429294"/>
              <a:gd name="connsiteX5" fmla="*/ 3117044 w 4501379"/>
              <a:gd name="connsiteY5" fmla="*/ 171450 h 4429294"/>
              <a:gd name="connsiteX6" fmla="*/ 3155144 w 4501379"/>
              <a:gd name="connsiteY6" fmla="*/ 190500 h 4429294"/>
              <a:gd name="connsiteX7" fmla="*/ 3221819 w 4501379"/>
              <a:gd name="connsiteY7" fmla="*/ 228600 h 4429294"/>
              <a:gd name="connsiteX8" fmla="*/ 3250394 w 4501379"/>
              <a:gd name="connsiteY8" fmla="*/ 238125 h 4429294"/>
              <a:gd name="connsiteX9" fmla="*/ 3278969 w 4501379"/>
              <a:gd name="connsiteY9" fmla="*/ 257175 h 4429294"/>
              <a:gd name="connsiteX10" fmla="*/ 3307544 w 4501379"/>
              <a:gd name="connsiteY10" fmla="*/ 266700 h 4429294"/>
              <a:gd name="connsiteX11" fmla="*/ 3336119 w 4501379"/>
              <a:gd name="connsiteY11" fmla="*/ 285750 h 4429294"/>
              <a:gd name="connsiteX12" fmla="*/ 3402794 w 4501379"/>
              <a:gd name="connsiteY12" fmla="*/ 323850 h 4429294"/>
              <a:gd name="connsiteX13" fmla="*/ 3450419 w 4501379"/>
              <a:gd name="connsiteY13" fmla="*/ 361950 h 4429294"/>
              <a:gd name="connsiteX14" fmla="*/ 3498044 w 4501379"/>
              <a:gd name="connsiteY14" fmla="*/ 390525 h 4429294"/>
              <a:gd name="connsiteX15" fmla="*/ 3612344 w 4501379"/>
              <a:gd name="connsiteY15" fmla="*/ 485775 h 4429294"/>
              <a:gd name="connsiteX16" fmla="*/ 3726644 w 4501379"/>
              <a:gd name="connsiteY16" fmla="*/ 542925 h 4429294"/>
              <a:gd name="connsiteX17" fmla="*/ 3793319 w 4501379"/>
              <a:gd name="connsiteY17" fmla="*/ 581025 h 4429294"/>
              <a:gd name="connsiteX18" fmla="*/ 4009219 w 4501379"/>
              <a:gd name="connsiteY18" fmla="*/ 819150 h 4429294"/>
              <a:gd name="connsiteX19" fmla="*/ 4145744 w 4501379"/>
              <a:gd name="connsiteY19" fmla="*/ 990600 h 4429294"/>
              <a:gd name="connsiteX20" fmla="*/ 4231469 w 4501379"/>
              <a:gd name="connsiteY20" fmla="*/ 1143000 h 4429294"/>
              <a:gd name="connsiteX21" fmla="*/ 4288619 w 4501379"/>
              <a:gd name="connsiteY21" fmla="*/ 1266825 h 4429294"/>
              <a:gd name="connsiteX22" fmla="*/ 4326719 w 4501379"/>
              <a:gd name="connsiteY22" fmla="*/ 1362075 h 4429294"/>
              <a:gd name="connsiteX23" fmla="*/ 4374344 w 4501379"/>
              <a:gd name="connsiteY23" fmla="*/ 1552575 h 4429294"/>
              <a:gd name="connsiteX24" fmla="*/ 4412444 w 4501379"/>
              <a:gd name="connsiteY24" fmla="*/ 1685925 h 4429294"/>
              <a:gd name="connsiteX25" fmla="*/ 4501344 w 4501379"/>
              <a:gd name="connsiteY25" fmla="*/ 2181225 h 4429294"/>
              <a:gd name="connsiteX26" fmla="*/ 4428319 w 4501379"/>
              <a:gd name="connsiteY26" fmla="*/ 2768600 h 4429294"/>
              <a:gd name="connsiteX27" fmla="*/ 4364819 w 4501379"/>
              <a:gd name="connsiteY27" fmla="*/ 2990850 h 4429294"/>
              <a:gd name="connsiteX28" fmla="*/ 4260044 w 4501379"/>
              <a:gd name="connsiteY28" fmla="*/ 3248025 h 4429294"/>
              <a:gd name="connsiteX29" fmla="*/ 4164794 w 4501379"/>
              <a:gd name="connsiteY29" fmla="*/ 3400425 h 4429294"/>
              <a:gd name="connsiteX30" fmla="*/ 4040969 w 4501379"/>
              <a:gd name="connsiteY30" fmla="*/ 3533775 h 4429294"/>
              <a:gd name="connsiteX31" fmla="*/ 3936194 w 4501379"/>
              <a:gd name="connsiteY31" fmla="*/ 3648075 h 4429294"/>
              <a:gd name="connsiteX32" fmla="*/ 3640919 w 4501379"/>
              <a:gd name="connsiteY32" fmla="*/ 3971925 h 4429294"/>
              <a:gd name="connsiteX33" fmla="*/ 3498044 w 4501379"/>
              <a:gd name="connsiteY33" fmla="*/ 4083050 h 4429294"/>
              <a:gd name="connsiteX34" fmla="*/ 3202769 w 4501379"/>
              <a:gd name="connsiteY34" fmla="*/ 4222750 h 4429294"/>
              <a:gd name="connsiteX35" fmla="*/ 3050369 w 4501379"/>
              <a:gd name="connsiteY35" fmla="*/ 4286250 h 4429294"/>
              <a:gd name="connsiteX36" fmla="*/ 2917019 w 4501379"/>
              <a:gd name="connsiteY36" fmla="*/ 4333875 h 4429294"/>
              <a:gd name="connsiteX37" fmla="*/ 2793194 w 4501379"/>
              <a:gd name="connsiteY37" fmla="*/ 4371975 h 4429294"/>
              <a:gd name="connsiteX38" fmla="*/ 2561419 w 4501379"/>
              <a:gd name="connsiteY38" fmla="*/ 4391025 h 4429294"/>
              <a:gd name="connsiteX39" fmla="*/ 2107394 w 4501379"/>
              <a:gd name="connsiteY39" fmla="*/ 4429125 h 4429294"/>
              <a:gd name="connsiteX40" fmla="*/ 1916894 w 4501379"/>
              <a:gd name="connsiteY40" fmla="*/ 4400550 h 4429294"/>
              <a:gd name="connsiteX41" fmla="*/ 1554944 w 4501379"/>
              <a:gd name="connsiteY41" fmla="*/ 4305300 h 4429294"/>
              <a:gd name="connsiteX42" fmla="*/ 1313644 w 4501379"/>
              <a:gd name="connsiteY42" fmla="*/ 4216400 h 4429294"/>
              <a:gd name="connsiteX43" fmla="*/ 1145369 w 4501379"/>
              <a:gd name="connsiteY43" fmla="*/ 4111625 h 4429294"/>
              <a:gd name="connsiteX44" fmla="*/ 926294 w 4501379"/>
              <a:gd name="connsiteY44" fmla="*/ 3968750 h 4429294"/>
              <a:gd name="connsiteX45" fmla="*/ 592919 w 4501379"/>
              <a:gd name="connsiteY45" fmla="*/ 3657600 h 4429294"/>
              <a:gd name="connsiteX46" fmla="*/ 446869 w 4501379"/>
              <a:gd name="connsiteY46" fmla="*/ 3470275 h 4429294"/>
              <a:gd name="connsiteX47" fmla="*/ 316694 w 4501379"/>
              <a:gd name="connsiteY47" fmla="*/ 3244850 h 4429294"/>
              <a:gd name="connsiteX48" fmla="*/ 164294 w 4501379"/>
              <a:gd name="connsiteY48" fmla="*/ 2892425 h 4429294"/>
              <a:gd name="connsiteX49" fmla="*/ 56344 w 4501379"/>
              <a:gd name="connsiteY49" fmla="*/ 2368550 h 4429294"/>
              <a:gd name="connsiteX50" fmla="*/ 2369 w 4501379"/>
              <a:gd name="connsiteY50" fmla="*/ 1905000 h 4429294"/>
              <a:gd name="connsiteX51" fmla="*/ 11894 w 4501379"/>
              <a:gd name="connsiteY51" fmla="*/ 1838325 h 4429294"/>
              <a:gd name="connsiteX52" fmla="*/ 30944 w 4501379"/>
              <a:gd name="connsiteY52" fmla="*/ 1781175 h 4429294"/>
              <a:gd name="connsiteX53" fmla="*/ 40469 w 4501379"/>
              <a:gd name="connsiteY53" fmla="*/ 1743075 h 4429294"/>
              <a:gd name="connsiteX54" fmla="*/ 59519 w 4501379"/>
              <a:gd name="connsiteY54" fmla="*/ 1685925 h 4429294"/>
              <a:gd name="connsiteX55" fmla="*/ 69044 w 4501379"/>
              <a:gd name="connsiteY55" fmla="*/ 1638300 h 4429294"/>
              <a:gd name="connsiteX56" fmla="*/ 88094 w 4501379"/>
              <a:gd name="connsiteY56" fmla="*/ 1590675 h 4429294"/>
              <a:gd name="connsiteX57" fmla="*/ 116669 w 4501379"/>
              <a:gd name="connsiteY57" fmla="*/ 1504950 h 4429294"/>
              <a:gd name="connsiteX58" fmla="*/ 135719 w 4501379"/>
              <a:gd name="connsiteY58" fmla="*/ 1419225 h 4429294"/>
              <a:gd name="connsiteX59" fmla="*/ 211919 w 4501379"/>
              <a:gd name="connsiteY59" fmla="*/ 1276350 h 4429294"/>
              <a:gd name="connsiteX60" fmla="*/ 221444 w 4501379"/>
              <a:gd name="connsiteY60" fmla="*/ 1247775 h 4429294"/>
              <a:gd name="connsiteX61" fmla="*/ 250019 w 4501379"/>
              <a:gd name="connsiteY61" fmla="*/ 1200150 h 4429294"/>
              <a:gd name="connsiteX62" fmla="*/ 269069 w 4501379"/>
              <a:gd name="connsiteY62" fmla="*/ 1152525 h 4429294"/>
              <a:gd name="connsiteX63" fmla="*/ 297644 w 4501379"/>
              <a:gd name="connsiteY63" fmla="*/ 1114425 h 4429294"/>
              <a:gd name="connsiteX64" fmla="*/ 345269 w 4501379"/>
              <a:gd name="connsiteY64" fmla="*/ 1038225 h 4429294"/>
              <a:gd name="connsiteX65" fmla="*/ 364319 w 4501379"/>
              <a:gd name="connsiteY65" fmla="*/ 1009650 h 4429294"/>
              <a:gd name="connsiteX66" fmla="*/ 421469 w 4501379"/>
              <a:gd name="connsiteY66" fmla="*/ 904875 h 4429294"/>
              <a:gd name="connsiteX67" fmla="*/ 459569 w 4501379"/>
              <a:gd name="connsiteY67" fmla="*/ 857250 h 4429294"/>
              <a:gd name="connsiteX68" fmla="*/ 478619 w 4501379"/>
              <a:gd name="connsiteY68" fmla="*/ 828675 h 4429294"/>
              <a:gd name="connsiteX69" fmla="*/ 516719 w 4501379"/>
              <a:gd name="connsiteY69" fmla="*/ 800100 h 4429294"/>
              <a:gd name="connsiteX70" fmla="*/ 583394 w 4501379"/>
              <a:gd name="connsiteY70" fmla="*/ 733425 h 4429294"/>
              <a:gd name="connsiteX71" fmla="*/ 650069 w 4501379"/>
              <a:gd name="connsiteY71" fmla="*/ 676275 h 4429294"/>
              <a:gd name="connsiteX72" fmla="*/ 678644 w 4501379"/>
              <a:gd name="connsiteY72" fmla="*/ 657225 h 4429294"/>
              <a:gd name="connsiteX73" fmla="*/ 821519 w 4501379"/>
              <a:gd name="connsiteY73" fmla="*/ 533400 h 4429294"/>
              <a:gd name="connsiteX74" fmla="*/ 869144 w 4501379"/>
              <a:gd name="connsiteY74" fmla="*/ 504825 h 4429294"/>
              <a:gd name="connsiteX75" fmla="*/ 1148544 w 4501379"/>
              <a:gd name="connsiteY75" fmla="*/ 311150 h 4429294"/>
              <a:gd name="connsiteX76" fmla="*/ 1250144 w 4501379"/>
              <a:gd name="connsiteY76" fmla="*/ 285750 h 4429294"/>
              <a:gd name="connsiteX77" fmla="*/ 1393019 w 4501379"/>
              <a:gd name="connsiteY77" fmla="*/ 190500 h 4429294"/>
              <a:gd name="connsiteX78" fmla="*/ 1431119 w 4501379"/>
              <a:gd name="connsiteY78" fmla="*/ 161925 h 4429294"/>
              <a:gd name="connsiteX79" fmla="*/ 1507319 w 4501379"/>
              <a:gd name="connsiteY79" fmla="*/ 152400 h 4429294"/>
              <a:gd name="connsiteX80" fmla="*/ 1564469 w 4501379"/>
              <a:gd name="connsiteY80" fmla="*/ 142875 h 4429294"/>
              <a:gd name="connsiteX81" fmla="*/ 1697819 w 4501379"/>
              <a:gd name="connsiteY81" fmla="*/ 123825 h 4429294"/>
              <a:gd name="connsiteX82" fmla="*/ 1793069 w 4501379"/>
              <a:gd name="connsiteY82" fmla="*/ 114300 h 4429294"/>
              <a:gd name="connsiteX83" fmla="*/ 1840694 w 4501379"/>
              <a:gd name="connsiteY83" fmla="*/ 104775 h 4429294"/>
              <a:gd name="connsiteX84" fmla="*/ 1897844 w 4501379"/>
              <a:gd name="connsiteY84" fmla="*/ 95250 h 4429294"/>
              <a:gd name="connsiteX85" fmla="*/ 2012144 w 4501379"/>
              <a:gd name="connsiteY85" fmla="*/ 66675 h 4429294"/>
              <a:gd name="connsiteX86" fmla="*/ 2078819 w 4501379"/>
              <a:gd name="connsiteY86" fmla="*/ 47625 h 4429294"/>
              <a:gd name="connsiteX87" fmla="*/ 2145494 w 4501379"/>
              <a:gd name="connsiteY8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3117044 w 4501379"/>
              <a:gd name="connsiteY4" fmla="*/ 171450 h 4429294"/>
              <a:gd name="connsiteX5" fmla="*/ 3155144 w 4501379"/>
              <a:gd name="connsiteY5" fmla="*/ 190500 h 4429294"/>
              <a:gd name="connsiteX6" fmla="*/ 3221819 w 4501379"/>
              <a:gd name="connsiteY6" fmla="*/ 228600 h 4429294"/>
              <a:gd name="connsiteX7" fmla="*/ 3250394 w 4501379"/>
              <a:gd name="connsiteY7" fmla="*/ 238125 h 4429294"/>
              <a:gd name="connsiteX8" fmla="*/ 3278969 w 4501379"/>
              <a:gd name="connsiteY8" fmla="*/ 257175 h 4429294"/>
              <a:gd name="connsiteX9" fmla="*/ 3307544 w 4501379"/>
              <a:gd name="connsiteY9" fmla="*/ 266700 h 4429294"/>
              <a:gd name="connsiteX10" fmla="*/ 3336119 w 4501379"/>
              <a:gd name="connsiteY10" fmla="*/ 285750 h 4429294"/>
              <a:gd name="connsiteX11" fmla="*/ 3402794 w 4501379"/>
              <a:gd name="connsiteY11" fmla="*/ 323850 h 4429294"/>
              <a:gd name="connsiteX12" fmla="*/ 3450419 w 4501379"/>
              <a:gd name="connsiteY12" fmla="*/ 361950 h 4429294"/>
              <a:gd name="connsiteX13" fmla="*/ 3498044 w 4501379"/>
              <a:gd name="connsiteY13" fmla="*/ 390525 h 4429294"/>
              <a:gd name="connsiteX14" fmla="*/ 3612344 w 4501379"/>
              <a:gd name="connsiteY14" fmla="*/ 485775 h 4429294"/>
              <a:gd name="connsiteX15" fmla="*/ 3726644 w 4501379"/>
              <a:gd name="connsiteY15" fmla="*/ 542925 h 4429294"/>
              <a:gd name="connsiteX16" fmla="*/ 3793319 w 4501379"/>
              <a:gd name="connsiteY16" fmla="*/ 581025 h 4429294"/>
              <a:gd name="connsiteX17" fmla="*/ 4009219 w 4501379"/>
              <a:gd name="connsiteY17" fmla="*/ 819150 h 4429294"/>
              <a:gd name="connsiteX18" fmla="*/ 4145744 w 4501379"/>
              <a:gd name="connsiteY18" fmla="*/ 990600 h 4429294"/>
              <a:gd name="connsiteX19" fmla="*/ 4231469 w 4501379"/>
              <a:gd name="connsiteY19" fmla="*/ 1143000 h 4429294"/>
              <a:gd name="connsiteX20" fmla="*/ 4288619 w 4501379"/>
              <a:gd name="connsiteY20" fmla="*/ 1266825 h 4429294"/>
              <a:gd name="connsiteX21" fmla="*/ 4326719 w 4501379"/>
              <a:gd name="connsiteY21" fmla="*/ 1362075 h 4429294"/>
              <a:gd name="connsiteX22" fmla="*/ 4374344 w 4501379"/>
              <a:gd name="connsiteY22" fmla="*/ 1552575 h 4429294"/>
              <a:gd name="connsiteX23" fmla="*/ 4412444 w 4501379"/>
              <a:gd name="connsiteY23" fmla="*/ 1685925 h 4429294"/>
              <a:gd name="connsiteX24" fmla="*/ 4501344 w 4501379"/>
              <a:gd name="connsiteY24" fmla="*/ 2181225 h 4429294"/>
              <a:gd name="connsiteX25" fmla="*/ 4428319 w 4501379"/>
              <a:gd name="connsiteY25" fmla="*/ 2768600 h 4429294"/>
              <a:gd name="connsiteX26" fmla="*/ 4364819 w 4501379"/>
              <a:gd name="connsiteY26" fmla="*/ 2990850 h 4429294"/>
              <a:gd name="connsiteX27" fmla="*/ 4260044 w 4501379"/>
              <a:gd name="connsiteY27" fmla="*/ 3248025 h 4429294"/>
              <a:gd name="connsiteX28" fmla="*/ 4164794 w 4501379"/>
              <a:gd name="connsiteY28" fmla="*/ 3400425 h 4429294"/>
              <a:gd name="connsiteX29" fmla="*/ 4040969 w 4501379"/>
              <a:gd name="connsiteY29" fmla="*/ 3533775 h 4429294"/>
              <a:gd name="connsiteX30" fmla="*/ 3936194 w 4501379"/>
              <a:gd name="connsiteY30" fmla="*/ 3648075 h 4429294"/>
              <a:gd name="connsiteX31" fmla="*/ 3640919 w 4501379"/>
              <a:gd name="connsiteY31" fmla="*/ 3971925 h 4429294"/>
              <a:gd name="connsiteX32" fmla="*/ 3498044 w 4501379"/>
              <a:gd name="connsiteY32" fmla="*/ 4083050 h 4429294"/>
              <a:gd name="connsiteX33" fmla="*/ 3202769 w 4501379"/>
              <a:gd name="connsiteY33" fmla="*/ 4222750 h 4429294"/>
              <a:gd name="connsiteX34" fmla="*/ 3050369 w 4501379"/>
              <a:gd name="connsiteY34" fmla="*/ 4286250 h 4429294"/>
              <a:gd name="connsiteX35" fmla="*/ 2917019 w 4501379"/>
              <a:gd name="connsiteY35" fmla="*/ 4333875 h 4429294"/>
              <a:gd name="connsiteX36" fmla="*/ 2793194 w 4501379"/>
              <a:gd name="connsiteY36" fmla="*/ 4371975 h 4429294"/>
              <a:gd name="connsiteX37" fmla="*/ 2561419 w 4501379"/>
              <a:gd name="connsiteY37" fmla="*/ 4391025 h 4429294"/>
              <a:gd name="connsiteX38" fmla="*/ 2107394 w 4501379"/>
              <a:gd name="connsiteY38" fmla="*/ 4429125 h 4429294"/>
              <a:gd name="connsiteX39" fmla="*/ 1916894 w 4501379"/>
              <a:gd name="connsiteY39" fmla="*/ 4400550 h 4429294"/>
              <a:gd name="connsiteX40" fmla="*/ 1554944 w 4501379"/>
              <a:gd name="connsiteY40" fmla="*/ 4305300 h 4429294"/>
              <a:gd name="connsiteX41" fmla="*/ 1313644 w 4501379"/>
              <a:gd name="connsiteY41" fmla="*/ 4216400 h 4429294"/>
              <a:gd name="connsiteX42" fmla="*/ 1145369 w 4501379"/>
              <a:gd name="connsiteY42" fmla="*/ 4111625 h 4429294"/>
              <a:gd name="connsiteX43" fmla="*/ 926294 w 4501379"/>
              <a:gd name="connsiteY43" fmla="*/ 3968750 h 4429294"/>
              <a:gd name="connsiteX44" fmla="*/ 592919 w 4501379"/>
              <a:gd name="connsiteY44" fmla="*/ 3657600 h 4429294"/>
              <a:gd name="connsiteX45" fmla="*/ 446869 w 4501379"/>
              <a:gd name="connsiteY45" fmla="*/ 3470275 h 4429294"/>
              <a:gd name="connsiteX46" fmla="*/ 316694 w 4501379"/>
              <a:gd name="connsiteY46" fmla="*/ 3244850 h 4429294"/>
              <a:gd name="connsiteX47" fmla="*/ 164294 w 4501379"/>
              <a:gd name="connsiteY47" fmla="*/ 2892425 h 4429294"/>
              <a:gd name="connsiteX48" fmla="*/ 56344 w 4501379"/>
              <a:gd name="connsiteY48" fmla="*/ 2368550 h 4429294"/>
              <a:gd name="connsiteX49" fmla="*/ 2369 w 4501379"/>
              <a:gd name="connsiteY49" fmla="*/ 1905000 h 4429294"/>
              <a:gd name="connsiteX50" fmla="*/ 11894 w 4501379"/>
              <a:gd name="connsiteY50" fmla="*/ 1838325 h 4429294"/>
              <a:gd name="connsiteX51" fmla="*/ 30944 w 4501379"/>
              <a:gd name="connsiteY51" fmla="*/ 1781175 h 4429294"/>
              <a:gd name="connsiteX52" fmla="*/ 40469 w 4501379"/>
              <a:gd name="connsiteY52" fmla="*/ 1743075 h 4429294"/>
              <a:gd name="connsiteX53" fmla="*/ 59519 w 4501379"/>
              <a:gd name="connsiteY53" fmla="*/ 1685925 h 4429294"/>
              <a:gd name="connsiteX54" fmla="*/ 69044 w 4501379"/>
              <a:gd name="connsiteY54" fmla="*/ 1638300 h 4429294"/>
              <a:gd name="connsiteX55" fmla="*/ 88094 w 4501379"/>
              <a:gd name="connsiteY55" fmla="*/ 1590675 h 4429294"/>
              <a:gd name="connsiteX56" fmla="*/ 116669 w 4501379"/>
              <a:gd name="connsiteY56" fmla="*/ 1504950 h 4429294"/>
              <a:gd name="connsiteX57" fmla="*/ 135719 w 4501379"/>
              <a:gd name="connsiteY57" fmla="*/ 1419225 h 4429294"/>
              <a:gd name="connsiteX58" fmla="*/ 211919 w 4501379"/>
              <a:gd name="connsiteY58" fmla="*/ 1276350 h 4429294"/>
              <a:gd name="connsiteX59" fmla="*/ 221444 w 4501379"/>
              <a:gd name="connsiteY59" fmla="*/ 1247775 h 4429294"/>
              <a:gd name="connsiteX60" fmla="*/ 250019 w 4501379"/>
              <a:gd name="connsiteY60" fmla="*/ 1200150 h 4429294"/>
              <a:gd name="connsiteX61" fmla="*/ 269069 w 4501379"/>
              <a:gd name="connsiteY61" fmla="*/ 1152525 h 4429294"/>
              <a:gd name="connsiteX62" fmla="*/ 297644 w 4501379"/>
              <a:gd name="connsiteY62" fmla="*/ 1114425 h 4429294"/>
              <a:gd name="connsiteX63" fmla="*/ 345269 w 4501379"/>
              <a:gd name="connsiteY63" fmla="*/ 1038225 h 4429294"/>
              <a:gd name="connsiteX64" fmla="*/ 364319 w 4501379"/>
              <a:gd name="connsiteY64" fmla="*/ 1009650 h 4429294"/>
              <a:gd name="connsiteX65" fmla="*/ 421469 w 4501379"/>
              <a:gd name="connsiteY65" fmla="*/ 904875 h 4429294"/>
              <a:gd name="connsiteX66" fmla="*/ 459569 w 4501379"/>
              <a:gd name="connsiteY66" fmla="*/ 857250 h 4429294"/>
              <a:gd name="connsiteX67" fmla="*/ 478619 w 4501379"/>
              <a:gd name="connsiteY67" fmla="*/ 828675 h 4429294"/>
              <a:gd name="connsiteX68" fmla="*/ 516719 w 4501379"/>
              <a:gd name="connsiteY68" fmla="*/ 800100 h 4429294"/>
              <a:gd name="connsiteX69" fmla="*/ 583394 w 4501379"/>
              <a:gd name="connsiteY69" fmla="*/ 733425 h 4429294"/>
              <a:gd name="connsiteX70" fmla="*/ 650069 w 4501379"/>
              <a:gd name="connsiteY70" fmla="*/ 676275 h 4429294"/>
              <a:gd name="connsiteX71" fmla="*/ 678644 w 4501379"/>
              <a:gd name="connsiteY71" fmla="*/ 657225 h 4429294"/>
              <a:gd name="connsiteX72" fmla="*/ 821519 w 4501379"/>
              <a:gd name="connsiteY72" fmla="*/ 533400 h 4429294"/>
              <a:gd name="connsiteX73" fmla="*/ 869144 w 4501379"/>
              <a:gd name="connsiteY73" fmla="*/ 504825 h 4429294"/>
              <a:gd name="connsiteX74" fmla="*/ 1148544 w 4501379"/>
              <a:gd name="connsiteY74" fmla="*/ 311150 h 4429294"/>
              <a:gd name="connsiteX75" fmla="*/ 1250144 w 4501379"/>
              <a:gd name="connsiteY75" fmla="*/ 285750 h 4429294"/>
              <a:gd name="connsiteX76" fmla="*/ 1393019 w 4501379"/>
              <a:gd name="connsiteY76" fmla="*/ 190500 h 4429294"/>
              <a:gd name="connsiteX77" fmla="*/ 1431119 w 4501379"/>
              <a:gd name="connsiteY77" fmla="*/ 161925 h 4429294"/>
              <a:gd name="connsiteX78" fmla="*/ 1507319 w 4501379"/>
              <a:gd name="connsiteY78" fmla="*/ 152400 h 4429294"/>
              <a:gd name="connsiteX79" fmla="*/ 1564469 w 4501379"/>
              <a:gd name="connsiteY79" fmla="*/ 142875 h 4429294"/>
              <a:gd name="connsiteX80" fmla="*/ 1697819 w 4501379"/>
              <a:gd name="connsiteY80" fmla="*/ 123825 h 4429294"/>
              <a:gd name="connsiteX81" fmla="*/ 1793069 w 4501379"/>
              <a:gd name="connsiteY81" fmla="*/ 114300 h 4429294"/>
              <a:gd name="connsiteX82" fmla="*/ 1840694 w 4501379"/>
              <a:gd name="connsiteY82" fmla="*/ 104775 h 4429294"/>
              <a:gd name="connsiteX83" fmla="*/ 1897844 w 4501379"/>
              <a:gd name="connsiteY83" fmla="*/ 95250 h 4429294"/>
              <a:gd name="connsiteX84" fmla="*/ 2012144 w 4501379"/>
              <a:gd name="connsiteY84" fmla="*/ 66675 h 4429294"/>
              <a:gd name="connsiteX85" fmla="*/ 2078819 w 4501379"/>
              <a:gd name="connsiteY85" fmla="*/ 47625 h 4429294"/>
              <a:gd name="connsiteX86" fmla="*/ 2145494 w 4501379"/>
              <a:gd name="connsiteY8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155144 w 4501379"/>
              <a:gd name="connsiteY4" fmla="*/ 190500 h 4429294"/>
              <a:gd name="connsiteX5" fmla="*/ 3221819 w 4501379"/>
              <a:gd name="connsiteY5" fmla="*/ 228600 h 4429294"/>
              <a:gd name="connsiteX6" fmla="*/ 3250394 w 4501379"/>
              <a:gd name="connsiteY6" fmla="*/ 238125 h 4429294"/>
              <a:gd name="connsiteX7" fmla="*/ 3278969 w 4501379"/>
              <a:gd name="connsiteY7" fmla="*/ 257175 h 4429294"/>
              <a:gd name="connsiteX8" fmla="*/ 3307544 w 4501379"/>
              <a:gd name="connsiteY8" fmla="*/ 266700 h 4429294"/>
              <a:gd name="connsiteX9" fmla="*/ 3336119 w 4501379"/>
              <a:gd name="connsiteY9" fmla="*/ 285750 h 4429294"/>
              <a:gd name="connsiteX10" fmla="*/ 3402794 w 4501379"/>
              <a:gd name="connsiteY10" fmla="*/ 323850 h 4429294"/>
              <a:gd name="connsiteX11" fmla="*/ 3450419 w 4501379"/>
              <a:gd name="connsiteY11" fmla="*/ 361950 h 4429294"/>
              <a:gd name="connsiteX12" fmla="*/ 3498044 w 4501379"/>
              <a:gd name="connsiteY12" fmla="*/ 390525 h 4429294"/>
              <a:gd name="connsiteX13" fmla="*/ 3612344 w 4501379"/>
              <a:gd name="connsiteY13" fmla="*/ 485775 h 4429294"/>
              <a:gd name="connsiteX14" fmla="*/ 3726644 w 4501379"/>
              <a:gd name="connsiteY14" fmla="*/ 542925 h 4429294"/>
              <a:gd name="connsiteX15" fmla="*/ 3793319 w 4501379"/>
              <a:gd name="connsiteY15" fmla="*/ 581025 h 4429294"/>
              <a:gd name="connsiteX16" fmla="*/ 4009219 w 4501379"/>
              <a:gd name="connsiteY16" fmla="*/ 819150 h 4429294"/>
              <a:gd name="connsiteX17" fmla="*/ 4145744 w 4501379"/>
              <a:gd name="connsiteY17" fmla="*/ 990600 h 4429294"/>
              <a:gd name="connsiteX18" fmla="*/ 4231469 w 4501379"/>
              <a:gd name="connsiteY18" fmla="*/ 1143000 h 4429294"/>
              <a:gd name="connsiteX19" fmla="*/ 4288619 w 4501379"/>
              <a:gd name="connsiteY19" fmla="*/ 1266825 h 4429294"/>
              <a:gd name="connsiteX20" fmla="*/ 4326719 w 4501379"/>
              <a:gd name="connsiteY20" fmla="*/ 1362075 h 4429294"/>
              <a:gd name="connsiteX21" fmla="*/ 4374344 w 4501379"/>
              <a:gd name="connsiteY21" fmla="*/ 1552575 h 4429294"/>
              <a:gd name="connsiteX22" fmla="*/ 4412444 w 4501379"/>
              <a:gd name="connsiteY22" fmla="*/ 1685925 h 4429294"/>
              <a:gd name="connsiteX23" fmla="*/ 4501344 w 4501379"/>
              <a:gd name="connsiteY23" fmla="*/ 2181225 h 4429294"/>
              <a:gd name="connsiteX24" fmla="*/ 4428319 w 4501379"/>
              <a:gd name="connsiteY24" fmla="*/ 2768600 h 4429294"/>
              <a:gd name="connsiteX25" fmla="*/ 4364819 w 4501379"/>
              <a:gd name="connsiteY25" fmla="*/ 2990850 h 4429294"/>
              <a:gd name="connsiteX26" fmla="*/ 4260044 w 4501379"/>
              <a:gd name="connsiteY26" fmla="*/ 3248025 h 4429294"/>
              <a:gd name="connsiteX27" fmla="*/ 4164794 w 4501379"/>
              <a:gd name="connsiteY27" fmla="*/ 3400425 h 4429294"/>
              <a:gd name="connsiteX28" fmla="*/ 4040969 w 4501379"/>
              <a:gd name="connsiteY28" fmla="*/ 3533775 h 4429294"/>
              <a:gd name="connsiteX29" fmla="*/ 3936194 w 4501379"/>
              <a:gd name="connsiteY29" fmla="*/ 3648075 h 4429294"/>
              <a:gd name="connsiteX30" fmla="*/ 3640919 w 4501379"/>
              <a:gd name="connsiteY30" fmla="*/ 3971925 h 4429294"/>
              <a:gd name="connsiteX31" fmla="*/ 3498044 w 4501379"/>
              <a:gd name="connsiteY31" fmla="*/ 4083050 h 4429294"/>
              <a:gd name="connsiteX32" fmla="*/ 3202769 w 4501379"/>
              <a:gd name="connsiteY32" fmla="*/ 4222750 h 4429294"/>
              <a:gd name="connsiteX33" fmla="*/ 3050369 w 4501379"/>
              <a:gd name="connsiteY33" fmla="*/ 4286250 h 4429294"/>
              <a:gd name="connsiteX34" fmla="*/ 2917019 w 4501379"/>
              <a:gd name="connsiteY34" fmla="*/ 4333875 h 4429294"/>
              <a:gd name="connsiteX35" fmla="*/ 2793194 w 4501379"/>
              <a:gd name="connsiteY35" fmla="*/ 4371975 h 4429294"/>
              <a:gd name="connsiteX36" fmla="*/ 2561419 w 4501379"/>
              <a:gd name="connsiteY36" fmla="*/ 4391025 h 4429294"/>
              <a:gd name="connsiteX37" fmla="*/ 2107394 w 4501379"/>
              <a:gd name="connsiteY37" fmla="*/ 4429125 h 4429294"/>
              <a:gd name="connsiteX38" fmla="*/ 1916894 w 4501379"/>
              <a:gd name="connsiteY38" fmla="*/ 4400550 h 4429294"/>
              <a:gd name="connsiteX39" fmla="*/ 1554944 w 4501379"/>
              <a:gd name="connsiteY39" fmla="*/ 4305300 h 4429294"/>
              <a:gd name="connsiteX40" fmla="*/ 1313644 w 4501379"/>
              <a:gd name="connsiteY40" fmla="*/ 4216400 h 4429294"/>
              <a:gd name="connsiteX41" fmla="*/ 1145369 w 4501379"/>
              <a:gd name="connsiteY41" fmla="*/ 4111625 h 4429294"/>
              <a:gd name="connsiteX42" fmla="*/ 926294 w 4501379"/>
              <a:gd name="connsiteY42" fmla="*/ 3968750 h 4429294"/>
              <a:gd name="connsiteX43" fmla="*/ 592919 w 4501379"/>
              <a:gd name="connsiteY43" fmla="*/ 3657600 h 4429294"/>
              <a:gd name="connsiteX44" fmla="*/ 446869 w 4501379"/>
              <a:gd name="connsiteY44" fmla="*/ 3470275 h 4429294"/>
              <a:gd name="connsiteX45" fmla="*/ 316694 w 4501379"/>
              <a:gd name="connsiteY45" fmla="*/ 3244850 h 4429294"/>
              <a:gd name="connsiteX46" fmla="*/ 164294 w 4501379"/>
              <a:gd name="connsiteY46" fmla="*/ 2892425 h 4429294"/>
              <a:gd name="connsiteX47" fmla="*/ 56344 w 4501379"/>
              <a:gd name="connsiteY47" fmla="*/ 2368550 h 4429294"/>
              <a:gd name="connsiteX48" fmla="*/ 2369 w 4501379"/>
              <a:gd name="connsiteY48" fmla="*/ 1905000 h 4429294"/>
              <a:gd name="connsiteX49" fmla="*/ 11894 w 4501379"/>
              <a:gd name="connsiteY49" fmla="*/ 1838325 h 4429294"/>
              <a:gd name="connsiteX50" fmla="*/ 30944 w 4501379"/>
              <a:gd name="connsiteY50" fmla="*/ 1781175 h 4429294"/>
              <a:gd name="connsiteX51" fmla="*/ 40469 w 4501379"/>
              <a:gd name="connsiteY51" fmla="*/ 1743075 h 4429294"/>
              <a:gd name="connsiteX52" fmla="*/ 59519 w 4501379"/>
              <a:gd name="connsiteY52" fmla="*/ 1685925 h 4429294"/>
              <a:gd name="connsiteX53" fmla="*/ 69044 w 4501379"/>
              <a:gd name="connsiteY53" fmla="*/ 1638300 h 4429294"/>
              <a:gd name="connsiteX54" fmla="*/ 88094 w 4501379"/>
              <a:gd name="connsiteY54" fmla="*/ 1590675 h 4429294"/>
              <a:gd name="connsiteX55" fmla="*/ 116669 w 4501379"/>
              <a:gd name="connsiteY55" fmla="*/ 1504950 h 4429294"/>
              <a:gd name="connsiteX56" fmla="*/ 135719 w 4501379"/>
              <a:gd name="connsiteY56" fmla="*/ 1419225 h 4429294"/>
              <a:gd name="connsiteX57" fmla="*/ 211919 w 4501379"/>
              <a:gd name="connsiteY57" fmla="*/ 1276350 h 4429294"/>
              <a:gd name="connsiteX58" fmla="*/ 221444 w 4501379"/>
              <a:gd name="connsiteY58" fmla="*/ 1247775 h 4429294"/>
              <a:gd name="connsiteX59" fmla="*/ 250019 w 4501379"/>
              <a:gd name="connsiteY59" fmla="*/ 1200150 h 4429294"/>
              <a:gd name="connsiteX60" fmla="*/ 269069 w 4501379"/>
              <a:gd name="connsiteY60" fmla="*/ 1152525 h 4429294"/>
              <a:gd name="connsiteX61" fmla="*/ 297644 w 4501379"/>
              <a:gd name="connsiteY61" fmla="*/ 1114425 h 4429294"/>
              <a:gd name="connsiteX62" fmla="*/ 345269 w 4501379"/>
              <a:gd name="connsiteY62" fmla="*/ 1038225 h 4429294"/>
              <a:gd name="connsiteX63" fmla="*/ 364319 w 4501379"/>
              <a:gd name="connsiteY63" fmla="*/ 1009650 h 4429294"/>
              <a:gd name="connsiteX64" fmla="*/ 421469 w 4501379"/>
              <a:gd name="connsiteY64" fmla="*/ 904875 h 4429294"/>
              <a:gd name="connsiteX65" fmla="*/ 459569 w 4501379"/>
              <a:gd name="connsiteY65" fmla="*/ 857250 h 4429294"/>
              <a:gd name="connsiteX66" fmla="*/ 478619 w 4501379"/>
              <a:gd name="connsiteY66" fmla="*/ 828675 h 4429294"/>
              <a:gd name="connsiteX67" fmla="*/ 516719 w 4501379"/>
              <a:gd name="connsiteY67" fmla="*/ 800100 h 4429294"/>
              <a:gd name="connsiteX68" fmla="*/ 583394 w 4501379"/>
              <a:gd name="connsiteY68" fmla="*/ 733425 h 4429294"/>
              <a:gd name="connsiteX69" fmla="*/ 650069 w 4501379"/>
              <a:gd name="connsiteY69" fmla="*/ 676275 h 4429294"/>
              <a:gd name="connsiteX70" fmla="*/ 678644 w 4501379"/>
              <a:gd name="connsiteY70" fmla="*/ 657225 h 4429294"/>
              <a:gd name="connsiteX71" fmla="*/ 821519 w 4501379"/>
              <a:gd name="connsiteY71" fmla="*/ 533400 h 4429294"/>
              <a:gd name="connsiteX72" fmla="*/ 869144 w 4501379"/>
              <a:gd name="connsiteY72" fmla="*/ 504825 h 4429294"/>
              <a:gd name="connsiteX73" fmla="*/ 1148544 w 4501379"/>
              <a:gd name="connsiteY73" fmla="*/ 311150 h 4429294"/>
              <a:gd name="connsiteX74" fmla="*/ 1250144 w 4501379"/>
              <a:gd name="connsiteY74" fmla="*/ 285750 h 4429294"/>
              <a:gd name="connsiteX75" fmla="*/ 1393019 w 4501379"/>
              <a:gd name="connsiteY75" fmla="*/ 190500 h 4429294"/>
              <a:gd name="connsiteX76" fmla="*/ 1431119 w 4501379"/>
              <a:gd name="connsiteY76" fmla="*/ 161925 h 4429294"/>
              <a:gd name="connsiteX77" fmla="*/ 1507319 w 4501379"/>
              <a:gd name="connsiteY77" fmla="*/ 152400 h 4429294"/>
              <a:gd name="connsiteX78" fmla="*/ 1564469 w 4501379"/>
              <a:gd name="connsiteY78" fmla="*/ 142875 h 4429294"/>
              <a:gd name="connsiteX79" fmla="*/ 1697819 w 4501379"/>
              <a:gd name="connsiteY79" fmla="*/ 123825 h 4429294"/>
              <a:gd name="connsiteX80" fmla="*/ 1793069 w 4501379"/>
              <a:gd name="connsiteY80" fmla="*/ 114300 h 4429294"/>
              <a:gd name="connsiteX81" fmla="*/ 1840694 w 4501379"/>
              <a:gd name="connsiteY81" fmla="*/ 104775 h 4429294"/>
              <a:gd name="connsiteX82" fmla="*/ 1897844 w 4501379"/>
              <a:gd name="connsiteY82" fmla="*/ 95250 h 4429294"/>
              <a:gd name="connsiteX83" fmla="*/ 2012144 w 4501379"/>
              <a:gd name="connsiteY83" fmla="*/ 66675 h 4429294"/>
              <a:gd name="connsiteX84" fmla="*/ 2078819 w 4501379"/>
              <a:gd name="connsiteY84" fmla="*/ 47625 h 4429294"/>
              <a:gd name="connsiteX85" fmla="*/ 2145494 w 4501379"/>
              <a:gd name="connsiteY8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278969 w 4501379"/>
              <a:gd name="connsiteY6" fmla="*/ 257175 h 4429294"/>
              <a:gd name="connsiteX7" fmla="*/ 3307544 w 4501379"/>
              <a:gd name="connsiteY7" fmla="*/ 266700 h 4429294"/>
              <a:gd name="connsiteX8" fmla="*/ 3336119 w 4501379"/>
              <a:gd name="connsiteY8" fmla="*/ 285750 h 4429294"/>
              <a:gd name="connsiteX9" fmla="*/ 3402794 w 4501379"/>
              <a:gd name="connsiteY9" fmla="*/ 323850 h 4429294"/>
              <a:gd name="connsiteX10" fmla="*/ 3450419 w 4501379"/>
              <a:gd name="connsiteY10" fmla="*/ 361950 h 4429294"/>
              <a:gd name="connsiteX11" fmla="*/ 3498044 w 4501379"/>
              <a:gd name="connsiteY11" fmla="*/ 390525 h 4429294"/>
              <a:gd name="connsiteX12" fmla="*/ 3612344 w 4501379"/>
              <a:gd name="connsiteY12" fmla="*/ 485775 h 4429294"/>
              <a:gd name="connsiteX13" fmla="*/ 3726644 w 4501379"/>
              <a:gd name="connsiteY13" fmla="*/ 542925 h 4429294"/>
              <a:gd name="connsiteX14" fmla="*/ 3793319 w 4501379"/>
              <a:gd name="connsiteY14" fmla="*/ 581025 h 4429294"/>
              <a:gd name="connsiteX15" fmla="*/ 4009219 w 4501379"/>
              <a:gd name="connsiteY15" fmla="*/ 819150 h 4429294"/>
              <a:gd name="connsiteX16" fmla="*/ 4145744 w 4501379"/>
              <a:gd name="connsiteY16" fmla="*/ 990600 h 4429294"/>
              <a:gd name="connsiteX17" fmla="*/ 4231469 w 4501379"/>
              <a:gd name="connsiteY17" fmla="*/ 1143000 h 4429294"/>
              <a:gd name="connsiteX18" fmla="*/ 4288619 w 4501379"/>
              <a:gd name="connsiteY18" fmla="*/ 1266825 h 4429294"/>
              <a:gd name="connsiteX19" fmla="*/ 4326719 w 4501379"/>
              <a:gd name="connsiteY19" fmla="*/ 1362075 h 4429294"/>
              <a:gd name="connsiteX20" fmla="*/ 4374344 w 4501379"/>
              <a:gd name="connsiteY20" fmla="*/ 1552575 h 4429294"/>
              <a:gd name="connsiteX21" fmla="*/ 4412444 w 4501379"/>
              <a:gd name="connsiteY21" fmla="*/ 1685925 h 4429294"/>
              <a:gd name="connsiteX22" fmla="*/ 4501344 w 4501379"/>
              <a:gd name="connsiteY22" fmla="*/ 2181225 h 4429294"/>
              <a:gd name="connsiteX23" fmla="*/ 4428319 w 4501379"/>
              <a:gd name="connsiteY23" fmla="*/ 2768600 h 4429294"/>
              <a:gd name="connsiteX24" fmla="*/ 4364819 w 4501379"/>
              <a:gd name="connsiteY24" fmla="*/ 2990850 h 4429294"/>
              <a:gd name="connsiteX25" fmla="*/ 4260044 w 4501379"/>
              <a:gd name="connsiteY25" fmla="*/ 3248025 h 4429294"/>
              <a:gd name="connsiteX26" fmla="*/ 4164794 w 4501379"/>
              <a:gd name="connsiteY26" fmla="*/ 3400425 h 4429294"/>
              <a:gd name="connsiteX27" fmla="*/ 4040969 w 4501379"/>
              <a:gd name="connsiteY27" fmla="*/ 3533775 h 4429294"/>
              <a:gd name="connsiteX28" fmla="*/ 3936194 w 4501379"/>
              <a:gd name="connsiteY28" fmla="*/ 3648075 h 4429294"/>
              <a:gd name="connsiteX29" fmla="*/ 3640919 w 4501379"/>
              <a:gd name="connsiteY29" fmla="*/ 3971925 h 4429294"/>
              <a:gd name="connsiteX30" fmla="*/ 3498044 w 4501379"/>
              <a:gd name="connsiteY30" fmla="*/ 4083050 h 4429294"/>
              <a:gd name="connsiteX31" fmla="*/ 3202769 w 4501379"/>
              <a:gd name="connsiteY31" fmla="*/ 4222750 h 4429294"/>
              <a:gd name="connsiteX32" fmla="*/ 3050369 w 4501379"/>
              <a:gd name="connsiteY32" fmla="*/ 4286250 h 4429294"/>
              <a:gd name="connsiteX33" fmla="*/ 2917019 w 4501379"/>
              <a:gd name="connsiteY33" fmla="*/ 4333875 h 4429294"/>
              <a:gd name="connsiteX34" fmla="*/ 2793194 w 4501379"/>
              <a:gd name="connsiteY34" fmla="*/ 4371975 h 4429294"/>
              <a:gd name="connsiteX35" fmla="*/ 2561419 w 4501379"/>
              <a:gd name="connsiteY35" fmla="*/ 4391025 h 4429294"/>
              <a:gd name="connsiteX36" fmla="*/ 2107394 w 4501379"/>
              <a:gd name="connsiteY36" fmla="*/ 4429125 h 4429294"/>
              <a:gd name="connsiteX37" fmla="*/ 1916894 w 4501379"/>
              <a:gd name="connsiteY37" fmla="*/ 4400550 h 4429294"/>
              <a:gd name="connsiteX38" fmla="*/ 1554944 w 4501379"/>
              <a:gd name="connsiteY38" fmla="*/ 4305300 h 4429294"/>
              <a:gd name="connsiteX39" fmla="*/ 1313644 w 4501379"/>
              <a:gd name="connsiteY39" fmla="*/ 4216400 h 4429294"/>
              <a:gd name="connsiteX40" fmla="*/ 1145369 w 4501379"/>
              <a:gd name="connsiteY40" fmla="*/ 4111625 h 4429294"/>
              <a:gd name="connsiteX41" fmla="*/ 926294 w 4501379"/>
              <a:gd name="connsiteY41" fmla="*/ 3968750 h 4429294"/>
              <a:gd name="connsiteX42" fmla="*/ 592919 w 4501379"/>
              <a:gd name="connsiteY42" fmla="*/ 3657600 h 4429294"/>
              <a:gd name="connsiteX43" fmla="*/ 446869 w 4501379"/>
              <a:gd name="connsiteY43" fmla="*/ 3470275 h 4429294"/>
              <a:gd name="connsiteX44" fmla="*/ 316694 w 4501379"/>
              <a:gd name="connsiteY44" fmla="*/ 3244850 h 4429294"/>
              <a:gd name="connsiteX45" fmla="*/ 164294 w 4501379"/>
              <a:gd name="connsiteY45" fmla="*/ 2892425 h 4429294"/>
              <a:gd name="connsiteX46" fmla="*/ 56344 w 4501379"/>
              <a:gd name="connsiteY46" fmla="*/ 2368550 h 4429294"/>
              <a:gd name="connsiteX47" fmla="*/ 2369 w 4501379"/>
              <a:gd name="connsiteY47" fmla="*/ 1905000 h 4429294"/>
              <a:gd name="connsiteX48" fmla="*/ 11894 w 4501379"/>
              <a:gd name="connsiteY48" fmla="*/ 1838325 h 4429294"/>
              <a:gd name="connsiteX49" fmla="*/ 30944 w 4501379"/>
              <a:gd name="connsiteY49" fmla="*/ 1781175 h 4429294"/>
              <a:gd name="connsiteX50" fmla="*/ 40469 w 4501379"/>
              <a:gd name="connsiteY50" fmla="*/ 1743075 h 4429294"/>
              <a:gd name="connsiteX51" fmla="*/ 59519 w 4501379"/>
              <a:gd name="connsiteY51" fmla="*/ 1685925 h 4429294"/>
              <a:gd name="connsiteX52" fmla="*/ 69044 w 4501379"/>
              <a:gd name="connsiteY52" fmla="*/ 1638300 h 4429294"/>
              <a:gd name="connsiteX53" fmla="*/ 88094 w 4501379"/>
              <a:gd name="connsiteY53" fmla="*/ 1590675 h 4429294"/>
              <a:gd name="connsiteX54" fmla="*/ 116669 w 4501379"/>
              <a:gd name="connsiteY54" fmla="*/ 1504950 h 4429294"/>
              <a:gd name="connsiteX55" fmla="*/ 135719 w 4501379"/>
              <a:gd name="connsiteY55" fmla="*/ 1419225 h 4429294"/>
              <a:gd name="connsiteX56" fmla="*/ 211919 w 4501379"/>
              <a:gd name="connsiteY56" fmla="*/ 1276350 h 4429294"/>
              <a:gd name="connsiteX57" fmla="*/ 221444 w 4501379"/>
              <a:gd name="connsiteY57" fmla="*/ 1247775 h 4429294"/>
              <a:gd name="connsiteX58" fmla="*/ 250019 w 4501379"/>
              <a:gd name="connsiteY58" fmla="*/ 1200150 h 4429294"/>
              <a:gd name="connsiteX59" fmla="*/ 269069 w 4501379"/>
              <a:gd name="connsiteY59" fmla="*/ 1152525 h 4429294"/>
              <a:gd name="connsiteX60" fmla="*/ 297644 w 4501379"/>
              <a:gd name="connsiteY60" fmla="*/ 1114425 h 4429294"/>
              <a:gd name="connsiteX61" fmla="*/ 345269 w 4501379"/>
              <a:gd name="connsiteY61" fmla="*/ 1038225 h 4429294"/>
              <a:gd name="connsiteX62" fmla="*/ 364319 w 4501379"/>
              <a:gd name="connsiteY62" fmla="*/ 1009650 h 4429294"/>
              <a:gd name="connsiteX63" fmla="*/ 421469 w 4501379"/>
              <a:gd name="connsiteY63" fmla="*/ 904875 h 4429294"/>
              <a:gd name="connsiteX64" fmla="*/ 459569 w 4501379"/>
              <a:gd name="connsiteY64" fmla="*/ 857250 h 4429294"/>
              <a:gd name="connsiteX65" fmla="*/ 478619 w 4501379"/>
              <a:gd name="connsiteY65" fmla="*/ 828675 h 4429294"/>
              <a:gd name="connsiteX66" fmla="*/ 516719 w 4501379"/>
              <a:gd name="connsiteY66" fmla="*/ 800100 h 4429294"/>
              <a:gd name="connsiteX67" fmla="*/ 583394 w 4501379"/>
              <a:gd name="connsiteY67" fmla="*/ 733425 h 4429294"/>
              <a:gd name="connsiteX68" fmla="*/ 650069 w 4501379"/>
              <a:gd name="connsiteY68" fmla="*/ 676275 h 4429294"/>
              <a:gd name="connsiteX69" fmla="*/ 678644 w 4501379"/>
              <a:gd name="connsiteY69" fmla="*/ 657225 h 4429294"/>
              <a:gd name="connsiteX70" fmla="*/ 821519 w 4501379"/>
              <a:gd name="connsiteY70" fmla="*/ 533400 h 4429294"/>
              <a:gd name="connsiteX71" fmla="*/ 869144 w 4501379"/>
              <a:gd name="connsiteY71" fmla="*/ 504825 h 4429294"/>
              <a:gd name="connsiteX72" fmla="*/ 1148544 w 4501379"/>
              <a:gd name="connsiteY72" fmla="*/ 311150 h 4429294"/>
              <a:gd name="connsiteX73" fmla="*/ 1250144 w 4501379"/>
              <a:gd name="connsiteY73" fmla="*/ 285750 h 4429294"/>
              <a:gd name="connsiteX74" fmla="*/ 1393019 w 4501379"/>
              <a:gd name="connsiteY74" fmla="*/ 190500 h 4429294"/>
              <a:gd name="connsiteX75" fmla="*/ 1431119 w 4501379"/>
              <a:gd name="connsiteY75" fmla="*/ 161925 h 4429294"/>
              <a:gd name="connsiteX76" fmla="*/ 1507319 w 4501379"/>
              <a:gd name="connsiteY76" fmla="*/ 152400 h 4429294"/>
              <a:gd name="connsiteX77" fmla="*/ 1564469 w 4501379"/>
              <a:gd name="connsiteY77" fmla="*/ 142875 h 4429294"/>
              <a:gd name="connsiteX78" fmla="*/ 1697819 w 4501379"/>
              <a:gd name="connsiteY78" fmla="*/ 123825 h 4429294"/>
              <a:gd name="connsiteX79" fmla="*/ 1793069 w 4501379"/>
              <a:gd name="connsiteY79" fmla="*/ 114300 h 4429294"/>
              <a:gd name="connsiteX80" fmla="*/ 1840694 w 4501379"/>
              <a:gd name="connsiteY80" fmla="*/ 104775 h 4429294"/>
              <a:gd name="connsiteX81" fmla="*/ 1897844 w 4501379"/>
              <a:gd name="connsiteY81" fmla="*/ 95250 h 4429294"/>
              <a:gd name="connsiteX82" fmla="*/ 2012144 w 4501379"/>
              <a:gd name="connsiteY82" fmla="*/ 66675 h 4429294"/>
              <a:gd name="connsiteX83" fmla="*/ 2078819 w 4501379"/>
              <a:gd name="connsiteY83" fmla="*/ 47625 h 4429294"/>
              <a:gd name="connsiteX84" fmla="*/ 2145494 w 4501379"/>
              <a:gd name="connsiteY8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336119 w 4501379"/>
              <a:gd name="connsiteY7" fmla="*/ 285750 h 4429294"/>
              <a:gd name="connsiteX8" fmla="*/ 3402794 w 4501379"/>
              <a:gd name="connsiteY8" fmla="*/ 323850 h 4429294"/>
              <a:gd name="connsiteX9" fmla="*/ 3450419 w 4501379"/>
              <a:gd name="connsiteY9" fmla="*/ 361950 h 4429294"/>
              <a:gd name="connsiteX10" fmla="*/ 3498044 w 4501379"/>
              <a:gd name="connsiteY10" fmla="*/ 390525 h 4429294"/>
              <a:gd name="connsiteX11" fmla="*/ 3612344 w 4501379"/>
              <a:gd name="connsiteY11" fmla="*/ 485775 h 4429294"/>
              <a:gd name="connsiteX12" fmla="*/ 3726644 w 4501379"/>
              <a:gd name="connsiteY12" fmla="*/ 542925 h 4429294"/>
              <a:gd name="connsiteX13" fmla="*/ 3793319 w 4501379"/>
              <a:gd name="connsiteY13" fmla="*/ 581025 h 4429294"/>
              <a:gd name="connsiteX14" fmla="*/ 4009219 w 4501379"/>
              <a:gd name="connsiteY14" fmla="*/ 819150 h 4429294"/>
              <a:gd name="connsiteX15" fmla="*/ 4145744 w 4501379"/>
              <a:gd name="connsiteY15" fmla="*/ 990600 h 4429294"/>
              <a:gd name="connsiteX16" fmla="*/ 4231469 w 4501379"/>
              <a:gd name="connsiteY16" fmla="*/ 1143000 h 4429294"/>
              <a:gd name="connsiteX17" fmla="*/ 4288619 w 4501379"/>
              <a:gd name="connsiteY17" fmla="*/ 1266825 h 4429294"/>
              <a:gd name="connsiteX18" fmla="*/ 4326719 w 4501379"/>
              <a:gd name="connsiteY18" fmla="*/ 1362075 h 4429294"/>
              <a:gd name="connsiteX19" fmla="*/ 4374344 w 4501379"/>
              <a:gd name="connsiteY19" fmla="*/ 1552575 h 4429294"/>
              <a:gd name="connsiteX20" fmla="*/ 4412444 w 4501379"/>
              <a:gd name="connsiteY20" fmla="*/ 1685925 h 4429294"/>
              <a:gd name="connsiteX21" fmla="*/ 4501344 w 4501379"/>
              <a:gd name="connsiteY21" fmla="*/ 2181225 h 4429294"/>
              <a:gd name="connsiteX22" fmla="*/ 4428319 w 4501379"/>
              <a:gd name="connsiteY22" fmla="*/ 2768600 h 4429294"/>
              <a:gd name="connsiteX23" fmla="*/ 4364819 w 4501379"/>
              <a:gd name="connsiteY23" fmla="*/ 2990850 h 4429294"/>
              <a:gd name="connsiteX24" fmla="*/ 4260044 w 4501379"/>
              <a:gd name="connsiteY24" fmla="*/ 3248025 h 4429294"/>
              <a:gd name="connsiteX25" fmla="*/ 4164794 w 4501379"/>
              <a:gd name="connsiteY25" fmla="*/ 3400425 h 4429294"/>
              <a:gd name="connsiteX26" fmla="*/ 4040969 w 4501379"/>
              <a:gd name="connsiteY26" fmla="*/ 3533775 h 4429294"/>
              <a:gd name="connsiteX27" fmla="*/ 3936194 w 4501379"/>
              <a:gd name="connsiteY27" fmla="*/ 3648075 h 4429294"/>
              <a:gd name="connsiteX28" fmla="*/ 3640919 w 4501379"/>
              <a:gd name="connsiteY28" fmla="*/ 3971925 h 4429294"/>
              <a:gd name="connsiteX29" fmla="*/ 3498044 w 4501379"/>
              <a:gd name="connsiteY29" fmla="*/ 4083050 h 4429294"/>
              <a:gd name="connsiteX30" fmla="*/ 3202769 w 4501379"/>
              <a:gd name="connsiteY30" fmla="*/ 4222750 h 4429294"/>
              <a:gd name="connsiteX31" fmla="*/ 3050369 w 4501379"/>
              <a:gd name="connsiteY31" fmla="*/ 4286250 h 4429294"/>
              <a:gd name="connsiteX32" fmla="*/ 2917019 w 4501379"/>
              <a:gd name="connsiteY32" fmla="*/ 4333875 h 4429294"/>
              <a:gd name="connsiteX33" fmla="*/ 2793194 w 4501379"/>
              <a:gd name="connsiteY33" fmla="*/ 4371975 h 4429294"/>
              <a:gd name="connsiteX34" fmla="*/ 2561419 w 4501379"/>
              <a:gd name="connsiteY34" fmla="*/ 4391025 h 4429294"/>
              <a:gd name="connsiteX35" fmla="*/ 2107394 w 4501379"/>
              <a:gd name="connsiteY35" fmla="*/ 4429125 h 4429294"/>
              <a:gd name="connsiteX36" fmla="*/ 1916894 w 4501379"/>
              <a:gd name="connsiteY36" fmla="*/ 4400550 h 4429294"/>
              <a:gd name="connsiteX37" fmla="*/ 1554944 w 4501379"/>
              <a:gd name="connsiteY37" fmla="*/ 4305300 h 4429294"/>
              <a:gd name="connsiteX38" fmla="*/ 1313644 w 4501379"/>
              <a:gd name="connsiteY38" fmla="*/ 4216400 h 4429294"/>
              <a:gd name="connsiteX39" fmla="*/ 1145369 w 4501379"/>
              <a:gd name="connsiteY39" fmla="*/ 4111625 h 4429294"/>
              <a:gd name="connsiteX40" fmla="*/ 926294 w 4501379"/>
              <a:gd name="connsiteY40" fmla="*/ 3968750 h 4429294"/>
              <a:gd name="connsiteX41" fmla="*/ 592919 w 4501379"/>
              <a:gd name="connsiteY41" fmla="*/ 3657600 h 4429294"/>
              <a:gd name="connsiteX42" fmla="*/ 446869 w 4501379"/>
              <a:gd name="connsiteY42" fmla="*/ 3470275 h 4429294"/>
              <a:gd name="connsiteX43" fmla="*/ 316694 w 4501379"/>
              <a:gd name="connsiteY43" fmla="*/ 3244850 h 4429294"/>
              <a:gd name="connsiteX44" fmla="*/ 164294 w 4501379"/>
              <a:gd name="connsiteY44" fmla="*/ 2892425 h 4429294"/>
              <a:gd name="connsiteX45" fmla="*/ 56344 w 4501379"/>
              <a:gd name="connsiteY45" fmla="*/ 2368550 h 4429294"/>
              <a:gd name="connsiteX46" fmla="*/ 2369 w 4501379"/>
              <a:gd name="connsiteY46" fmla="*/ 1905000 h 4429294"/>
              <a:gd name="connsiteX47" fmla="*/ 11894 w 4501379"/>
              <a:gd name="connsiteY47" fmla="*/ 1838325 h 4429294"/>
              <a:gd name="connsiteX48" fmla="*/ 30944 w 4501379"/>
              <a:gd name="connsiteY48" fmla="*/ 1781175 h 4429294"/>
              <a:gd name="connsiteX49" fmla="*/ 40469 w 4501379"/>
              <a:gd name="connsiteY49" fmla="*/ 1743075 h 4429294"/>
              <a:gd name="connsiteX50" fmla="*/ 59519 w 4501379"/>
              <a:gd name="connsiteY50" fmla="*/ 1685925 h 4429294"/>
              <a:gd name="connsiteX51" fmla="*/ 69044 w 4501379"/>
              <a:gd name="connsiteY51" fmla="*/ 1638300 h 4429294"/>
              <a:gd name="connsiteX52" fmla="*/ 88094 w 4501379"/>
              <a:gd name="connsiteY52" fmla="*/ 1590675 h 4429294"/>
              <a:gd name="connsiteX53" fmla="*/ 116669 w 4501379"/>
              <a:gd name="connsiteY53" fmla="*/ 1504950 h 4429294"/>
              <a:gd name="connsiteX54" fmla="*/ 135719 w 4501379"/>
              <a:gd name="connsiteY54" fmla="*/ 1419225 h 4429294"/>
              <a:gd name="connsiteX55" fmla="*/ 211919 w 4501379"/>
              <a:gd name="connsiteY55" fmla="*/ 1276350 h 4429294"/>
              <a:gd name="connsiteX56" fmla="*/ 221444 w 4501379"/>
              <a:gd name="connsiteY56" fmla="*/ 1247775 h 4429294"/>
              <a:gd name="connsiteX57" fmla="*/ 250019 w 4501379"/>
              <a:gd name="connsiteY57" fmla="*/ 1200150 h 4429294"/>
              <a:gd name="connsiteX58" fmla="*/ 269069 w 4501379"/>
              <a:gd name="connsiteY58" fmla="*/ 1152525 h 4429294"/>
              <a:gd name="connsiteX59" fmla="*/ 297644 w 4501379"/>
              <a:gd name="connsiteY59" fmla="*/ 1114425 h 4429294"/>
              <a:gd name="connsiteX60" fmla="*/ 345269 w 4501379"/>
              <a:gd name="connsiteY60" fmla="*/ 1038225 h 4429294"/>
              <a:gd name="connsiteX61" fmla="*/ 364319 w 4501379"/>
              <a:gd name="connsiteY61" fmla="*/ 1009650 h 4429294"/>
              <a:gd name="connsiteX62" fmla="*/ 421469 w 4501379"/>
              <a:gd name="connsiteY62" fmla="*/ 904875 h 4429294"/>
              <a:gd name="connsiteX63" fmla="*/ 459569 w 4501379"/>
              <a:gd name="connsiteY63" fmla="*/ 857250 h 4429294"/>
              <a:gd name="connsiteX64" fmla="*/ 478619 w 4501379"/>
              <a:gd name="connsiteY64" fmla="*/ 828675 h 4429294"/>
              <a:gd name="connsiteX65" fmla="*/ 516719 w 4501379"/>
              <a:gd name="connsiteY65" fmla="*/ 800100 h 4429294"/>
              <a:gd name="connsiteX66" fmla="*/ 583394 w 4501379"/>
              <a:gd name="connsiteY66" fmla="*/ 733425 h 4429294"/>
              <a:gd name="connsiteX67" fmla="*/ 650069 w 4501379"/>
              <a:gd name="connsiteY67" fmla="*/ 676275 h 4429294"/>
              <a:gd name="connsiteX68" fmla="*/ 678644 w 4501379"/>
              <a:gd name="connsiteY68" fmla="*/ 657225 h 4429294"/>
              <a:gd name="connsiteX69" fmla="*/ 821519 w 4501379"/>
              <a:gd name="connsiteY69" fmla="*/ 533400 h 4429294"/>
              <a:gd name="connsiteX70" fmla="*/ 869144 w 4501379"/>
              <a:gd name="connsiteY70" fmla="*/ 504825 h 4429294"/>
              <a:gd name="connsiteX71" fmla="*/ 1148544 w 4501379"/>
              <a:gd name="connsiteY71" fmla="*/ 311150 h 4429294"/>
              <a:gd name="connsiteX72" fmla="*/ 1250144 w 4501379"/>
              <a:gd name="connsiteY72" fmla="*/ 285750 h 4429294"/>
              <a:gd name="connsiteX73" fmla="*/ 1393019 w 4501379"/>
              <a:gd name="connsiteY73" fmla="*/ 190500 h 4429294"/>
              <a:gd name="connsiteX74" fmla="*/ 1431119 w 4501379"/>
              <a:gd name="connsiteY74" fmla="*/ 161925 h 4429294"/>
              <a:gd name="connsiteX75" fmla="*/ 1507319 w 4501379"/>
              <a:gd name="connsiteY75" fmla="*/ 152400 h 4429294"/>
              <a:gd name="connsiteX76" fmla="*/ 1564469 w 4501379"/>
              <a:gd name="connsiteY76" fmla="*/ 142875 h 4429294"/>
              <a:gd name="connsiteX77" fmla="*/ 1697819 w 4501379"/>
              <a:gd name="connsiteY77" fmla="*/ 123825 h 4429294"/>
              <a:gd name="connsiteX78" fmla="*/ 1793069 w 4501379"/>
              <a:gd name="connsiteY78" fmla="*/ 114300 h 4429294"/>
              <a:gd name="connsiteX79" fmla="*/ 1840694 w 4501379"/>
              <a:gd name="connsiteY79" fmla="*/ 104775 h 4429294"/>
              <a:gd name="connsiteX80" fmla="*/ 1897844 w 4501379"/>
              <a:gd name="connsiteY80" fmla="*/ 95250 h 4429294"/>
              <a:gd name="connsiteX81" fmla="*/ 2012144 w 4501379"/>
              <a:gd name="connsiteY81" fmla="*/ 66675 h 4429294"/>
              <a:gd name="connsiteX82" fmla="*/ 2078819 w 4501379"/>
              <a:gd name="connsiteY82" fmla="*/ 47625 h 4429294"/>
              <a:gd name="connsiteX83" fmla="*/ 2145494 w 4501379"/>
              <a:gd name="connsiteY8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402794 w 4501379"/>
              <a:gd name="connsiteY7" fmla="*/ 323850 h 4429294"/>
              <a:gd name="connsiteX8" fmla="*/ 3450419 w 4501379"/>
              <a:gd name="connsiteY8" fmla="*/ 361950 h 4429294"/>
              <a:gd name="connsiteX9" fmla="*/ 3498044 w 4501379"/>
              <a:gd name="connsiteY9" fmla="*/ 390525 h 4429294"/>
              <a:gd name="connsiteX10" fmla="*/ 3612344 w 4501379"/>
              <a:gd name="connsiteY10" fmla="*/ 485775 h 4429294"/>
              <a:gd name="connsiteX11" fmla="*/ 3726644 w 4501379"/>
              <a:gd name="connsiteY11" fmla="*/ 542925 h 4429294"/>
              <a:gd name="connsiteX12" fmla="*/ 3793319 w 4501379"/>
              <a:gd name="connsiteY12" fmla="*/ 581025 h 4429294"/>
              <a:gd name="connsiteX13" fmla="*/ 4009219 w 4501379"/>
              <a:gd name="connsiteY13" fmla="*/ 819150 h 4429294"/>
              <a:gd name="connsiteX14" fmla="*/ 4145744 w 4501379"/>
              <a:gd name="connsiteY14" fmla="*/ 990600 h 4429294"/>
              <a:gd name="connsiteX15" fmla="*/ 4231469 w 4501379"/>
              <a:gd name="connsiteY15" fmla="*/ 1143000 h 4429294"/>
              <a:gd name="connsiteX16" fmla="*/ 4288619 w 4501379"/>
              <a:gd name="connsiteY16" fmla="*/ 1266825 h 4429294"/>
              <a:gd name="connsiteX17" fmla="*/ 4326719 w 4501379"/>
              <a:gd name="connsiteY17" fmla="*/ 1362075 h 4429294"/>
              <a:gd name="connsiteX18" fmla="*/ 4374344 w 4501379"/>
              <a:gd name="connsiteY18" fmla="*/ 1552575 h 4429294"/>
              <a:gd name="connsiteX19" fmla="*/ 4412444 w 4501379"/>
              <a:gd name="connsiteY19" fmla="*/ 1685925 h 4429294"/>
              <a:gd name="connsiteX20" fmla="*/ 4501344 w 4501379"/>
              <a:gd name="connsiteY20" fmla="*/ 2181225 h 4429294"/>
              <a:gd name="connsiteX21" fmla="*/ 4428319 w 4501379"/>
              <a:gd name="connsiteY21" fmla="*/ 2768600 h 4429294"/>
              <a:gd name="connsiteX22" fmla="*/ 4364819 w 4501379"/>
              <a:gd name="connsiteY22" fmla="*/ 2990850 h 4429294"/>
              <a:gd name="connsiteX23" fmla="*/ 4260044 w 4501379"/>
              <a:gd name="connsiteY23" fmla="*/ 3248025 h 4429294"/>
              <a:gd name="connsiteX24" fmla="*/ 4164794 w 4501379"/>
              <a:gd name="connsiteY24" fmla="*/ 3400425 h 4429294"/>
              <a:gd name="connsiteX25" fmla="*/ 4040969 w 4501379"/>
              <a:gd name="connsiteY25" fmla="*/ 3533775 h 4429294"/>
              <a:gd name="connsiteX26" fmla="*/ 3936194 w 4501379"/>
              <a:gd name="connsiteY26" fmla="*/ 3648075 h 4429294"/>
              <a:gd name="connsiteX27" fmla="*/ 3640919 w 4501379"/>
              <a:gd name="connsiteY27" fmla="*/ 3971925 h 4429294"/>
              <a:gd name="connsiteX28" fmla="*/ 3498044 w 4501379"/>
              <a:gd name="connsiteY28" fmla="*/ 4083050 h 4429294"/>
              <a:gd name="connsiteX29" fmla="*/ 3202769 w 4501379"/>
              <a:gd name="connsiteY29" fmla="*/ 4222750 h 4429294"/>
              <a:gd name="connsiteX30" fmla="*/ 3050369 w 4501379"/>
              <a:gd name="connsiteY30" fmla="*/ 4286250 h 4429294"/>
              <a:gd name="connsiteX31" fmla="*/ 2917019 w 4501379"/>
              <a:gd name="connsiteY31" fmla="*/ 4333875 h 4429294"/>
              <a:gd name="connsiteX32" fmla="*/ 2793194 w 4501379"/>
              <a:gd name="connsiteY32" fmla="*/ 4371975 h 4429294"/>
              <a:gd name="connsiteX33" fmla="*/ 2561419 w 4501379"/>
              <a:gd name="connsiteY33" fmla="*/ 4391025 h 4429294"/>
              <a:gd name="connsiteX34" fmla="*/ 2107394 w 4501379"/>
              <a:gd name="connsiteY34" fmla="*/ 4429125 h 4429294"/>
              <a:gd name="connsiteX35" fmla="*/ 1916894 w 4501379"/>
              <a:gd name="connsiteY35" fmla="*/ 4400550 h 4429294"/>
              <a:gd name="connsiteX36" fmla="*/ 1554944 w 4501379"/>
              <a:gd name="connsiteY36" fmla="*/ 4305300 h 4429294"/>
              <a:gd name="connsiteX37" fmla="*/ 1313644 w 4501379"/>
              <a:gd name="connsiteY37" fmla="*/ 4216400 h 4429294"/>
              <a:gd name="connsiteX38" fmla="*/ 1145369 w 4501379"/>
              <a:gd name="connsiteY38" fmla="*/ 4111625 h 4429294"/>
              <a:gd name="connsiteX39" fmla="*/ 926294 w 4501379"/>
              <a:gd name="connsiteY39" fmla="*/ 3968750 h 4429294"/>
              <a:gd name="connsiteX40" fmla="*/ 592919 w 4501379"/>
              <a:gd name="connsiteY40" fmla="*/ 3657600 h 4429294"/>
              <a:gd name="connsiteX41" fmla="*/ 446869 w 4501379"/>
              <a:gd name="connsiteY41" fmla="*/ 3470275 h 4429294"/>
              <a:gd name="connsiteX42" fmla="*/ 316694 w 4501379"/>
              <a:gd name="connsiteY42" fmla="*/ 3244850 h 4429294"/>
              <a:gd name="connsiteX43" fmla="*/ 164294 w 4501379"/>
              <a:gd name="connsiteY43" fmla="*/ 2892425 h 4429294"/>
              <a:gd name="connsiteX44" fmla="*/ 56344 w 4501379"/>
              <a:gd name="connsiteY44" fmla="*/ 2368550 h 4429294"/>
              <a:gd name="connsiteX45" fmla="*/ 2369 w 4501379"/>
              <a:gd name="connsiteY45" fmla="*/ 1905000 h 4429294"/>
              <a:gd name="connsiteX46" fmla="*/ 11894 w 4501379"/>
              <a:gd name="connsiteY46" fmla="*/ 1838325 h 4429294"/>
              <a:gd name="connsiteX47" fmla="*/ 30944 w 4501379"/>
              <a:gd name="connsiteY47" fmla="*/ 1781175 h 4429294"/>
              <a:gd name="connsiteX48" fmla="*/ 40469 w 4501379"/>
              <a:gd name="connsiteY48" fmla="*/ 1743075 h 4429294"/>
              <a:gd name="connsiteX49" fmla="*/ 59519 w 4501379"/>
              <a:gd name="connsiteY49" fmla="*/ 1685925 h 4429294"/>
              <a:gd name="connsiteX50" fmla="*/ 69044 w 4501379"/>
              <a:gd name="connsiteY50" fmla="*/ 1638300 h 4429294"/>
              <a:gd name="connsiteX51" fmla="*/ 88094 w 4501379"/>
              <a:gd name="connsiteY51" fmla="*/ 1590675 h 4429294"/>
              <a:gd name="connsiteX52" fmla="*/ 116669 w 4501379"/>
              <a:gd name="connsiteY52" fmla="*/ 1504950 h 4429294"/>
              <a:gd name="connsiteX53" fmla="*/ 135719 w 4501379"/>
              <a:gd name="connsiteY53" fmla="*/ 1419225 h 4429294"/>
              <a:gd name="connsiteX54" fmla="*/ 211919 w 4501379"/>
              <a:gd name="connsiteY54" fmla="*/ 1276350 h 4429294"/>
              <a:gd name="connsiteX55" fmla="*/ 221444 w 4501379"/>
              <a:gd name="connsiteY55" fmla="*/ 1247775 h 4429294"/>
              <a:gd name="connsiteX56" fmla="*/ 250019 w 4501379"/>
              <a:gd name="connsiteY56" fmla="*/ 1200150 h 4429294"/>
              <a:gd name="connsiteX57" fmla="*/ 269069 w 4501379"/>
              <a:gd name="connsiteY57" fmla="*/ 1152525 h 4429294"/>
              <a:gd name="connsiteX58" fmla="*/ 297644 w 4501379"/>
              <a:gd name="connsiteY58" fmla="*/ 1114425 h 4429294"/>
              <a:gd name="connsiteX59" fmla="*/ 345269 w 4501379"/>
              <a:gd name="connsiteY59" fmla="*/ 1038225 h 4429294"/>
              <a:gd name="connsiteX60" fmla="*/ 364319 w 4501379"/>
              <a:gd name="connsiteY60" fmla="*/ 1009650 h 4429294"/>
              <a:gd name="connsiteX61" fmla="*/ 421469 w 4501379"/>
              <a:gd name="connsiteY61" fmla="*/ 904875 h 4429294"/>
              <a:gd name="connsiteX62" fmla="*/ 459569 w 4501379"/>
              <a:gd name="connsiteY62" fmla="*/ 857250 h 4429294"/>
              <a:gd name="connsiteX63" fmla="*/ 478619 w 4501379"/>
              <a:gd name="connsiteY63" fmla="*/ 828675 h 4429294"/>
              <a:gd name="connsiteX64" fmla="*/ 516719 w 4501379"/>
              <a:gd name="connsiteY64" fmla="*/ 800100 h 4429294"/>
              <a:gd name="connsiteX65" fmla="*/ 583394 w 4501379"/>
              <a:gd name="connsiteY65" fmla="*/ 733425 h 4429294"/>
              <a:gd name="connsiteX66" fmla="*/ 650069 w 4501379"/>
              <a:gd name="connsiteY66" fmla="*/ 676275 h 4429294"/>
              <a:gd name="connsiteX67" fmla="*/ 678644 w 4501379"/>
              <a:gd name="connsiteY67" fmla="*/ 657225 h 4429294"/>
              <a:gd name="connsiteX68" fmla="*/ 821519 w 4501379"/>
              <a:gd name="connsiteY68" fmla="*/ 533400 h 4429294"/>
              <a:gd name="connsiteX69" fmla="*/ 869144 w 4501379"/>
              <a:gd name="connsiteY69" fmla="*/ 504825 h 4429294"/>
              <a:gd name="connsiteX70" fmla="*/ 1148544 w 4501379"/>
              <a:gd name="connsiteY70" fmla="*/ 311150 h 4429294"/>
              <a:gd name="connsiteX71" fmla="*/ 1250144 w 4501379"/>
              <a:gd name="connsiteY71" fmla="*/ 285750 h 4429294"/>
              <a:gd name="connsiteX72" fmla="*/ 1393019 w 4501379"/>
              <a:gd name="connsiteY72" fmla="*/ 190500 h 4429294"/>
              <a:gd name="connsiteX73" fmla="*/ 1431119 w 4501379"/>
              <a:gd name="connsiteY73" fmla="*/ 161925 h 4429294"/>
              <a:gd name="connsiteX74" fmla="*/ 1507319 w 4501379"/>
              <a:gd name="connsiteY74" fmla="*/ 152400 h 4429294"/>
              <a:gd name="connsiteX75" fmla="*/ 1564469 w 4501379"/>
              <a:gd name="connsiteY75" fmla="*/ 142875 h 4429294"/>
              <a:gd name="connsiteX76" fmla="*/ 1697819 w 4501379"/>
              <a:gd name="connsiteY76" fmla="*/ 123825 h 4429294"/>
              <a:gd name="connsiteX77" fmla="*/ 1793069 w 4501379"/>
              <a:gd name="connsiteY77" fmla="*/ 114300 h 4429294"/>
              <a:gd name="connsiteX78" fmla="*/ 1840694 w 4501379"/>
              <a:gd name="connsiteY78" fmla="*/ 104775 h 4429294"/>
              <a:gd name="connsiteX79" fmla="*/ 1897844 w 4501379"/>
              <a:gd name="connsiteY79" fmla="*/ 95250 h 4429294"/>
              <a:gd name="connsiteX80" fmla="*/ 2012144 w 4501379"/>
              <a:gd name="connsiteY80" fmla="*/ 66675 h 4429294"/>
              <a:gd name="connsiteX81" fmla="*/ 2078819 w 4501379"/>
              <a:gd name="connsiteY81" fmla="*/ 47625 h 4429294"/>
              <a:gd name="connsiteX82" fmla="*/ 2145494 w 4501379"/>
              <a:gd name="connsiteY8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307544 w 4501379"/>
              <a:gd name="connsiteY5" fmla="*/ 266700 h 4429294"/>
              <a:gd name="connsiteX6" fmla="*/ 3402794 w 4501379"/>
              <a:gd name="connsiteY6" fmla="*/ 323850 h 4429294"/>
              <a:gd name="connsiteX7" fmla="*/ 3450419 w 4501379"/>
              <a:gd name="connsiteY7" fmla="*/ 361950 h 4429294"/>
              <a:gd name="connsiteX8" fmla="*/ 3498044 w 4501379"/>
              <a:gd name="connsiteY8" fmla="*/ 390525 h 4429294"/>
              <a:gd name="connsiteX9" fmla="*/ 3612344 w 4501379"/>
              <a:gd name="connsiteY9" fmla="*/ 485775 h 4429294"/>
              <a:gd name="connsiteX10" fmla="*/ 3726644 w 4501379"/>
              <a:gd name="connsiteY10" fmla="*/ 542925 h 4429294"/>
              <a:gd name="connsiteX11" fmla="*/ 3793319 w 4501379"/>
              <a:gd name="connsiteY11" fmla="*/ 581025 h 4429294"/>
              <a:gd name="connsiteX12" fmla="*/ 4009219 w 4501379"/>
              <a:gd name="connsiteY12" fmla="*/ 819150 h 4429294"/>
              <a:gd name="connsiteX13" fmla="*/ 4145744 w 4501379"/>
              <a:gd name="connsiteY13" fmla="*/ 990600 h 4429294"/>
              <a:gd name="connsiteX14" fmla="*/ 4231469 w 4501379"/>
              <a:gd name="connsiteY14" fmla="*/ 1143000 h 4429294"/>
              <a:gd name="connsiteX15" fmla="*/ 4288619 w 4501379"/>
              <a:gd name="connsiteY15" fmla="*/ 1266825 h 4429294"/>
              <a:gd name="connsiteX16" fmla="*/ 4326719 w 4501379"/>
              <a:gd name="connsiteY16" fmla="*/ 1362075 h 4429294"/>
              <a:gd name="connsiteX17" fmla="*/ 4374344 w 4501379"/>
              <a:gd name="connsiteY17" fmla="*/ 1552575 h 4429294"/>
              <a:gd name="connsiteX18" fmla="*/ 4412444 w 4501379"/>
              <a:gd name="connsiteY18" fmla="*/ 1685925 h 4429294"/>
              <a:gd name="connsiteX19" fmla="*/ 4501344 w 4501379"/>
              <a:gd name="connsiteY19" fmla="*/ 2181225 h 4429294"/>
              <a:gd name="connsiteX20" fmla="*/ 4428319 w 4501379"/>
              <a:gd name="connsiteY20" fmla="*/ 2768600 h 4429294"/>
              <a:gd name="connsiteX21" fmla="*/ 4364819 w 4501379"/>
              <a:gd name="connsiteY21" fmla="*/ 2990850 h 4429294"/>
              <a:gd name="connsiteX22" fmla="*/ 4260044 w 4501379"/>
              <a:gd name="connsiteY22" fmla="*/ 3248025 h 4429294"/>
              <a:gd name="connsiteX23" fmla="*/ 4164794 w 4501379"/>
              <a:gd name="connsiteY23" fmla="*/ 3400425 h 4429294"/>
              <a:gd name="connsiteX24" fmla="*/ 4040969 w 4501379"/>
              <a:gd name="connsiteY24" fmla="*/ 3533775 h 4429294"/>
              <a:gd name="connsiteX25" fmla="*/ 3936194 w 4501379"/>
              <a:gd name="connsiteY25" fmla="*/ 3648075 h 4429294"/>
              <a:gd name="connsiteX26" fmla="*/ 3640919 w 4501379"/>
              <a:gd name="connsiteY26" fmla="*/ 3971925 h 4429294"/>
              <a:gd name="connsiteX27" fmla="*/ 3498044 w 4501379"/>
              <a:gd name="connsiteY27" fmla="*/ 4083050 h 4429294"/>
              <a:gd name="connsiteX28" fmla="*/ 3202769 w 4501379"/>
              <a:gd name="connsiteY28" fmla="*/ 4222750 h 4429294"/>
              <a:gd name="connsiteX29" fmla="*/ 3050369 w 4501379"/>
              <a:gd name="connsiteY29" fmla="*/ 4286250 h 4429294"/>
              <a:gd name="connsiteX30" fmla="*/ 2917019 w 4501379"/>
              <a:gd name="connsiteY30" fmla="*/ 4333875 h 4429294"/>
              <a:gd name="connsiteX31" fmla="*/ 2793194 w 4501379"/>
              <a:gd name="connsiteY31" fmla="*/ 4371975 h 4429294"/>
              <a:gd name="connsiteX32" fmla="*/ 2561419 w 4501379"/>
              <a:gd name="connsiteY32" fmla="*/ 4391025 h 4429294"/>
              <a:gd name="connsiteX33" fmla="*/ 2107394 w 4501379"/>
              <a:gd name="connsiteY33" fmla="*/ 4429125 h 4429294"/>
              <a:gd name="connsiteX34" fmla="*/ 1916894 w 4501379"/>
              <a:gd name="connsiteY34" fmla="*/ 4400550 h 4429294"/>
              <a:gd name="connsiteX35" fmla="*/ 1554944 w 4501379"/>
              <a:gd name="connsiteY35" fmla="*/ 4305300 h 4429294"/>
              <a:gd name="connsiteX36" fmla="*/ 1313644 w 4501379"/>
              <a:gd name="connsiteY36" fmla="*/ 4216400 h 4429294"/>
              <a:gd name="connsiteX37" fmla="*/ 1145369 w 4501379"/>
              <a:gd name="connsiteY37" fmla="*/ 4111625 h 4429294"/>
              <a:gd name="connsiteX38" fmla="*/ 926294 w 4501379"/>
              <a:gd name="connsiteY38" fmla="*/ 3968750 h 4429294"/>
              <a:gd name="connsiteX39" fmla="*/ 592919 w 4501379"/>
              <a:gd name="connsiteY39" fmla="*/ 3657600 h 4429294"/>
              <a:gd name="connsiteX40" fmla="*/ 446869 w 4501379"/>
              <a:gd name="connsiteY40" fmla="*/ 3470275 h 4429294"/>
              <a:gd name="connsiteX41" fmla="*/ 316694 w 4501379"/>
              <a:gd name="connsiteY41" fmla="*/ 3244850 h 4429294"/>
              <a:gd name="connsiteX42" fmla="*/ 164294 w 4501379"/>
              <a:gd name="connsiteY42" fmla="*/ 2892425 h 4429294"/>
              <a:gd name="connsiteX43" fmla="*/ 56344 w 4501379"/>
              <a:gd name="connsiteY43" fmla="*/ 2368550 h 4429294"/>
              <a:gd name="connsiteX44" fmla="*/ 2369 w 4501379"/>
              <a:gd name="connsiteY44" fmla="*/ 1905000 h 4429294"/>
              <a:gd name="connsiteX45" fmla="*/ 11894 w 4501379"/>
              <a:gd name="connsiteY45" fmla="*/ 1838325 h 4429294"/>
              <a:gd name="connsiteX46" fmla="*/ 30944 w 4501379"/>
              <a:gd name="connsiteY46" fmla="*/ 1781175 h 4429294"/>
              <a:gd name="connsiteX47" fmla="*/ 40469 w 4501379"/>
              <a:gd name="connsiteY47" fmla="*/ 1743075 h 4429294"/>
              <a:gd name="connsiteX48" fmla="*/ 59519 w 4501379"/>
              <a:gd name="connsiteY48" fmla="*/ 1685925 h 4429294"/>
              <a:gd name="connsiteX49" fmla="*/ 69044 w 4501379"/>
              <a:gd name="connsiteY49" fmla="*/ 1638300 h 4429294"/>
              <a:gd name="connsiteX50" fmla="*/ 88094 w 4501379"/>
              <a:gd name="connsiteY50" fmla="*/ 1590675 h 4429294"/>
              <a:gd name="connsiteX51" fmla="*/ 116669 w 4501379"/>
              <a:gd name="connsiteY51" fmla="*/ 1504950 h 4429294"/>
              <a:gd name="connsiteX52" fmla="*/ 135719 w 4501379"/>
              <a:gd name="connsiteY52" fmla="*/ 1419225 h 4429294"/>
              <a:gd name="connsiteX53" fmla="*/ 211919 w 4501379"/>
              <a:gd name="connsiteY53" fmla="*/ 1276350 h 4429294"/>
              <a:gd name="connsiteX54" fmla="*/ 221444 w 4501379"/>
              <a:gd name="connsiteY54" fmla="*/ 1247775 h 4429294"/>
              <a:gd name="connsiteX55" fmla="*/ 250019 w 4501379"/>
              <a:gd name="connsiteY55" fmla="*/ 1200150 h 4429294"/>
              <a:gd name="connsiteX56" fmla="*/ 269069 w 4501379"/>
              <a:gd name="connsiteY56" fmla="*/ 1152525 h 4429294"/>
              <a:gd name="connsiteX57" fmla="*/ 297644 w 4501379"/>
              <a:gd name="connsiteY57" fmla="*/ 1114425 h 4429294"/>
              <a:gd name="connsiteX58" fmla="*/ 345269 w 4501379"/>
              <a:gd name="connsiteY58" fmla="*/ 1038225 h 4429294"/>
              <a:gd name="connsiteX59" fmla="*/ 364319 w 4501379"/>
              <a:gd name="connsiteY59" fmla="*/ 1009650 h 4429294"/>
              <a:gd name="connsiteX60" fmla="*/ 421469 w 4501379"/>
              <a:gd name="connsiteY60" fmla="*/ 904875 h 4429294"/>
              <a:gd name="connsiteX61" fmla="*/ 459569 w 4501379"/>
              <a:gd name="connsiteY61" fmla="*/ 857250 h 4429294"/>
              <a:gd name="connsiteX62" fmla="*/ 478619 w 4501379"/>
              <a:gd name="connsiteY62" fmla="*/ 828675 h 4429294"/>
              <a:gd name="connsiteX63" fmla="*/ 516719 w 4501379"/>
              <a:gd name="connsiteY63" fmla="*/ 800100 h 4429294"/>
              <a:gd name="connsiteX64" fmla="*/ 583394 w 4501379"/>
              <a:gd name="connsiteY64" fmla="*/ 733425 h 4429294"/>
              <a:gd name="connsiteX65" fmla="*/ 650069 w 4501379"/>
              <a:gd name="connsiteY65" fmla="*/ 676275 h 4429294"/>
              <a:gd name="connsiteX66" fmla="*/ 678644 w 4501379"/>
              <a:gd name="connsiteY66" fmla="*/ 657225 h 4429294"/>
              <a:gd name="connsiteX67" fmla="*/ 821519 w 4501379"/>
              <a:gd name="connsiteY67" fmla="*/ 533400 h 4429294"/>
              <a:gd name="connsiteX68" fmla="*/ 869144 w 4501379"/>
              <a:gd name="connsiteY68" fmla="*/ 504825 h 4429294"/>
              <a:gd name="connsiteX69" fmla="*/ 1148544 w 4501379"/>
              <a:gd name="connsiteY69" fmla="*/ 311150 h 4429294"/>
              <a:gd name="connsiteX70" fmla="*/ 1250144 w 4501379"/>
              <a:gd name="connsiteY70" fmla="*/ 285750 h 4429294"/>
              <a:gd name="connsiteX71" fmla="*/ 1393019 w 4501379"/>
              <a:gd name="connsiteY71" fmla="*/ 190500 h 4429294"/>
              <a:gd name="connsiteX72" fmla="*/ 1431119 w 4501379"/>
              <a:gd name="connsiteY72" fmla="*/ 161925 h 4429294"/>
              <a:gd name="connsiteX73" fmla="*/ 1507319 w 4501379"/>
              <a:gd name="connsiteY73" fmla="*/ 152400 h 4429294"/>
              <a:gd name="connsiteX74" fmla="*/ 1564469 w 4501379"/>
              <a:gd name="connsiteY74" fmla="*/ 142875 h 4429294"/>
              <a:gd name="connsiteX75" fmla="*/ 1697819 w 4501379"/>
              <a:gd name="connsiteY75" fmla="*/ 123825 h 4429294"/>
              <a:gd name="connsiteX76" fmla="*/ 1793069 w 4501379"/>
              <a:gd name="connsiteY76" fmla="*/ 114300 h 4429294"/>
              <a:gd name="connsiteX77" fmla="*/ 1840694 w 4501379"/>
              <a:gd name="connsiteY77" fmla="*/ 104775 h 4429294"/>
              <a:gd name="connsiteX78" fmla="*/ 1897844 w 4501379"/>
              <a:gd name="connsiteY78" fmla="*/ 95250 h 4429294"/>
              <a:gd name="connsiteX79" fmla="*/ 2012144 w 4501379"/>
              <a:gd name="connsiteY79" fmla="*/ 66675 h 4429294"/>
              <a:gd name="connsiteX80" fmla="*/ 2078819 w 4501379"/>
              <a:gd name="connsiteY80" fmla="*/ 47625 h 4429294"/>
              <a:gd name="connsiteX81" fmla="*/ 2145494 w 4501379"/>
              <a:gd name="connsiteY8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498044 w 4501379"/>
              <a:gd name="connsiteY7" fmla="*/ 390525 h 4429294"/>
              <a:gd name="connsiteX8" fmla="*/ 3612344 w 4501379"/>
              <a:gd name="connsiteY8" fmla="*/ 485775 h 4429294"/>
              <a:gd name="connsiteX9" fmla="*/ 3726644 w 4501379"/>
              <a:gd name="connsiteY9" fmla="*/ 542925 h 4429294"/>
              <a:gd name="connsiteX10" fmla="*/ 3793319 w 4501379"/>
              <a:gd name="connsiteY10" fmla="*/ 581025 h 4429294"/>
              <a:gd name="connsiteX11" fmla="*/ 4009219 w 4501379"/>
              <a:gd name="connsiteY11" fmla="*/ 819150 h 4429294"/>
              <a:gd name="connsiteX12" fmla="*/ 4145744 w 4501379"/>
              <a:gd name="connsiteY12" fmla="*/ 990600 h 4429294"/>
              <a:gd name="connsiteX13" fmla="*/ 4231469 w 4501379"/>
              <a:gd name="connsiteY13" fmla="*/ 1143000 h 4429294"/>
              <a:gd name="connsiteX14" fmla="*/ 4288619 w 4501379"/>
              <a:gd name="connsiteY14" fmla="*/ 1266825 h 4429294"/>
              <a:gd name="connsiteX15" fmla="*/ 4326719 w 4501379"/>
              <a:gd name="connsiteY15" fmla="*/ 1362075 h 4429294"/>
              <a:gd name="connsiteX16" fmla="*/ 4374344 w 4501379"/>
              <a:gd name="connsiteY16" fmla="*/ 1552575 h 4429294"/>
              <a:gd name="connsiteX17" fmla="*/ 4412444 w 4501379"/>
              <a:gd name="connsiteY17" fmla="*/ 1685925 h 4429294"/>
              <a:gd name="connsiteX18" fmla="*/ 4501344 w 4501379"/>
              <a:gd name="connsiteY18" fmla="*/ 2181225 h 4429294"/>
              <a:gd name="connsiteX19" fmla="*/ 4428319 w 4501379"/>
              <a:gd name="connsiteY19" fmla="*/ 2768600 h 4429294"/>
              <a:gd name="connsiteX20" fmla="*/ 4364819 w 4501379"/>
              <a:gd name="connsiteY20" fmla="*/ 2990850 h 4429294"/>
              <a:gd name="connsiteX21" fmla="*/ 4260044 w 4501379"/>
              <a:gd name="connsiteY21" fmla="*/ 3248025 h 4429294"/>
              <a:gd name="connsiteX22" fmla="*/ 4164794 w 4501379"/>
              <a:gd name="connsiteY22" fmla="*/ 3400425 h 4429294"/>
              <a:gd name="connsiteX23" fmla="*/ 4040969 w 4501379"/>
              <a:gd name="connsiteY23" fmla="*/ 3533775 h 4429294"/>
              <a:gd name="connsiteX24" fmla="*/ 3936194 w 4501379"/>
              <a:gd name="connsiteY24" fmla="*/ 3648075 h 4429294"/>
              <a:gd name="connsiteX25" fmla="*/ 3640919 w 4501379"/>
              <a:gd name="connsiteY25" fmla="*/ 3971925 h 4429294"/>
              <a:gd name="connsiteX26" fmla="*/ 3498044 w 4501379"/>
              <a:gd name="connsiteY26" fmla="*/ 4083050 h 4429294"/>
              <a:gd name="connsiteX27" fmla="*/ 3202769 w 4501379"/>
              <a:gd name="connsiteY27" fmla="*/ 4222750 h 4429294"/>
              <a:gd name="connsiteX28" fmla="*/ 3050369 w 4501379"/>
              <a:gd name="connsiteY28" fmla="*/ 4286250 h 4429294"/>
              <a:gd name="connsiteX29" fmla="*/ 2917019 w 4501379"/>
              <a:gd name="connsiteY29" fmla="*/ 4333875 h 4429294"/>
              <a:gd name="connsiteX30" fmla="*/ 2793194 w 4501379"/>
              <a:gd name="connsiteY30" fmla="*/ 4371975 h 4429294"/>
              <a:gd name="connsiteX31" fmla="*/ 2561419 w 4501379"/>
              <a:gd name="connsiteY31" fmla="*/ 4391025 h 4429294"/>
              <a:gd name="connsiteX32" fmla="*/ 2107394 w 4501379"/>
              <a:gd name="connsiteY32" fmla="*/ 4429125 h 4429294"/>
              <a:gd name="connsiteX33" fmla="*/ 1916894 w 4501379"/>
              <a:gd name="connsiteY33" fmla="*/ 4400550 h 4429294"/>
              <a:gd name="connsiteX34" fmla="*/ 1554944 w 4501379"/>
              <a:gd name="connsiteY34" fmla="*/ 4305300 h 4429294"/>
              <a:gd name="connsiteX35" fmla="*/ 1313644 w 4501379"/>
              <a:gd name="connsiteY35" fmla="*/ 4216400 h 4429294"/>
              <a:gd name="connsiteX36" fmla="*/ 1145369 w 4501379"/>
              <a:gd name="connsiteY36" fmla="*/ 4111625 h 4429294"/>
              <a:gd name="connsiteX37" fmla="*/ 926294 w 4501379"/>
              <a:gd name="connsiteY37" fmla="*/ 3968750 h 4429294"/>
              <a:gd name="connsiteX38" fmla="*/ 592919 w 4501379"/>
              <a:gd name="connsiteY38" fmla="*/ 3657600 h 4429294"/>
              <a:gd name="connsiteX39" fmla="*/ 446869 w 4501379"/>
              <a:gd name="connsiteY39" fmla="*/ 3470275 h 4429294"/>
              <a:gd name="connsiteX40" fmla="*/ 316694 w 4501379"/>
              <a:gd name="connsiteY40" fmla="*/ 3244850 h 4429294"/>
              <a:gd name="connsiteX41" fmla="*/ 164294 w 4501379"/>
              <a:gd name="connsiteY41" fmla="*/ 2892425 h 4429294"/>
              <a:gd name="connsiteX42" fmla="*/ 56344 w 4501379"/>
              <a:gd name="connsiteY42" fmla="*/ 2368550 h 4429294"/>
              <a:gd name="connsiteX43" fmla="*/ 2369 w 4501379"/>
              <a:gd name="connsiteY43" fmla="*/ 1905000 h 4429294"/>
              <a:gd name="connsiteX44" fmla="*/ 11894 w 4501379"/>
              <a:gd name="connsiteY44" fmla="*/ 1838325 h 4429294"/>
              <a:gd name="connsiteX45" fmla="*/ 30944 w 4501379"/>
              <a:gd name="connsiteY45" fmla="*/ 1781175 h 4429294"/>
              <a:gd name="connsiteX46" fmla="*/ 40469 w 4501379"/>
              <a:gd name="connsiteY46" fmla="*/ 1743075 h 4429294"/>
              <a:gd name="connsiteX47" fmla="*/ 59519 w 4501379"/>
              <a:gd name="connsiteY47" fmla="*/ 1685925 h 4429294"/>
              <a:gd name="connsiteX48" fmla="*/ 69044 w 4501379"/>
              <a:gd name="connsiteY48" fmla="*/ 1638300 h 4429294"/>
              <a:gd name="connsiteX49" fmla="*/ 88094 w 4501379"/>
              <a:gd name="connsiteY49" fmla="*/ 1590675 h 4429294"/>
              <a:gd name="connsiteX50" fmla="*/ 116669 w 4501379"/>
              <a:gd name="connsiteY50" fmla="*/ 1504950 h 4429294"/>
              <a:gd name="connsiteX51" fmla="*/ 135719 w 4501379"/>
              <a:gd name="connsiteY51" fmla="*/ 1419225 h 4429294"/>
              <a:gd name="connsiteX52" fmla="*/ 211919 w 4501379"/>
              <a:gd name="connsiteY52" fmla="*/ 1276350 h 4429294"/>
              <a:gd name="connsiteX53" fmla="*/ 221444 w 4501379"/>
              <a:gd name="connsiteY53" fmla="*/ 1247775 h 4429294"/>
              <a:gd name="connsiteX54" fmla="*/ 250019 w 4501379"/>
              <a:gd name="connsiteY54" fmla="*/ 1200150 h 4429294"/>
              <a:gd name="connsiteX55" fmla="*/ 269069 w 4501379"/>
              <a:gd name="connsiteY55" fmla="*/ 1152525 h 4429294"/>
              <a:gd name="connsiteX56" fmla="*/ 297644 w 4501379"/>
              <a:gd name="connsiteY56" fmla="*/ 1114425 h 4429294"/>
              <a:gd name="connsiteX57" fmla="*/ 345269 w 4501379"/>
              <a:gd name="connsiteY57" fmla="*/ 1038225 h 4429294"/>
              <a:gd name="connsiteX58" fmla="*/ 364319 w 4501379"/>
              <a:gd name="connsiteY58" fmla="*/ 1009650 h 4429294"/>
              <a:gd name="connsiteX59" fmla="*/ 421469 w 4501379"/>
              <a:gd name="connsiteY59" fmla="*/ 904875 h 4429294"/>
              <a:gd name="connsiteX60" fmla="*/ 459569 w 4501379"/>
              <a:gd name="connsiteY60" fmla="*/ 857250 h 4429294"/>
              <a:gd name="connsiteX61" fmla="*/ 478619 w 4501379"/>
              <a:gd name="connsiteY61" fmla="*/ 828675 h 4429294"/>
              <a:gd name="connsiteX62" fmla="*/ 516719 w 4501379"/>
              <a:gd name="connsiteY62" fmla="*/ 800100 h 4429294"/>
              <a:gd name="connsiteX63" fmla="*/ 583394 w 4501379"/>
              <a:gd name="connsiteY63" fmla="*/ 733425 h 4429294"/>
              <a:gd name="connsiteX64" fmla="*/ 650069 w 4501379"/>
              <a:gd name="connsiteY64" fmla="*/ 676275 h 4429294"/>
              <a:gd name="connsiteX65" fmla="*/ 678644 w 4501379"/>
              <a:gd name="connsiteY65" fmla="*/ 657225 h 4429294"/>
              <a:gd name="connsiteX66" fmla="*/ 821519 w 4501379"/>
              <a:gd name="connsiteY66" fmla="*/ 533400 h 4429294"/>
              <a:gd name="connsiteX67" fmla="*/ 869144 w 4501379"/>
              <a:gd name="connsiteY67" fmla="*/ 504825 h 4429294"/>
              <a:gd name="connsiteX68" fmla="*/ 1148544 w 4501379"/>
              <a:gd name="connsiteY68" fmla="*/ 311150 h 4429294"/>
              <a:gd name="connsiteX69" fmla="*/ 1250144 w 4501379"/>
              <a:gd name="connsiteY69" fmla="*/ 285750 h 4429294"/>
              <a:gd name="connsiteX70" fmla="*/ 1393019 w 4501379"/>
              <a:gd name="connsiteY70" fmla="*/ 190500 h 4429294"/>
              <a:gd name="connsiteX71" fmla="*/ 1431119 w 4501379"/>
              <a:gd name="connsiteY71" fmla="*/ 161925 h 4429294"/>
              <a:gd name="connsiteX72" fmla="*/ 1507319 w 4501379"/>
              <a:gd name="connsiteY72" fmla="*/ 152400 h 4429294"/>
              <a:gd name="connsiteX73" fmla="*/ 1564469 w 4501379"/>
              <a:gd name="connsiteY73" fmla="*/ 142875 h 4429294"/>
              <a:gd name="connsiteX74" fmla="*/ 1697819 w 4501379"/>
              <a:gd name="connsiteY74" fmla="*/ 123825 h 4429294"/>
              <a:gd name="connsiteX75" fmla="*/ 1793069 w 4501379"/>
              <a:gd name="connsiteY75" fmla="*/ 114300 h 4429294"/>
              <a:gd name="connsiteX76" fmla="*/ 1840694 w 4501379"/>
              <a:gd name="connsiteY76" fmla="*/ 104775 h 4429294"/>
              <a:gd name="connsiteX77" fmla="*/ 1897844 w 4501379"/>
              <a:gd name="connsiteY77" fmla="*/ 95250 h 4429294"/>
              <a:gd name="connsiteX78" fmla="*/ 2012144 w 4501379"/>
              <a:gd name="connsiteY78" fmla="*/ 66675 h 4429294"/>
              <a:gd name="connsiteX79" fmla="*/ 2078819 w 4501379"/>
              <a:gd name="connsiteY79" fmla="*/ 47625 h 4429294"/>
              <a:gd name="connsiteX80" fmla="*/ 2145494 w 4501379"/>
              <a:gd name="connsiteY8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612344 w 4501379"/>
              <a:gd name="connsiteY7" fmla="*/ 485775 h 4429294"/>
              <a:gd name="connsiteX8" fmla="*/ 3726644 w 4501379"/>
              <a:gd name="connsiteY8" fmla="*/ 542925 h 4429294"/>
              <a:gd name="connsiteX9" fmla="*/ 3793319 w 4501379"/>
              <a:gd name="connsiteY9" fmla="*/ 581025 h 4429294"/>
              <a:gd name="connsiteX10" fmla="*/ 4009219 w 4501379"/>
              <a:gd name="connsiteY10" fmla="*/ 819150 h 4429294"/>
              <a:gd name="connsiteX11" fmla="*/ 4145744 w 4501379"/>
              <a:gd name="connsiteY11" fmla="*/ 990600 h 4429294"/>
              <a:gd name="connsiteX12" fmla="*/ 4231469 w 4501379"/>
              <a:gd name="connsiteY12" fmla="*/ 1143000 h 4429294"/>
              <a:gd name="connsiteX13" fmla="*/ 4288619 w 4501379"/>
              <a:gd name="connsiteY13" fmla="*/ 1266825 h 4429294"/>
              <a:gd name="connsiteX14" fmla="*/ 4326719 w 4501379"/>
              <a:gd name="connsiteY14" fmla="*/ 1362075 h 4429294"/>
              <a:gd name="connsiteX15" fmla="*/ 4374344 w 4501379"/>
              <a:gd name="connsiteY15" fmla="*/ 1552575 h 4429294"/>
              <a:gd name="connsiteX16" fmla="*/ 4412444 w 4501379"/>
              <a:gd name="connsiteY16" fmla="*/ 1685925 h 4429294"/>
              <a:gd name="connsiteX17" fmla="*/ 4501344 w 4501379"/>
              <a:gd name="connsiteY17" fmla="*/ 2181225 h 4429294"/>
              <a:gd name="connsiteX18" fmla="*/ 4428319 w 4501379"/>
              <a:gd name="connsiteY18" fmla="*/ 2768600 h 4429294"/>
              <a:gd name="connsiteX19" fmla="*/ 4364819 w 4501379"/>
              <a:gd name="connsiteY19" fmla="*/ 2990850 h 4429294"/>
              <a:gd name="connsiteX20" fmla="*/ 4260044 w 4501379"/>
              <a:gd name="connsiteY20" fmla="*/ 3248025 h 4429294"/>
              <a:gd name="connsiteX21" fmla="*/ 4164794 w 4501379"/>
              <a:gd name="connsiteY21" fmla="*/ 3400425 h 4429294"/>
              <a:gd name="connsiteX22" fmla="*/ 4040969 w 4501379"/>
              <a:gd name="connsiteY22" fmla="*/ 3533775 h 4429294"/>
              <a:gd name="connsiteX23" fmla="*/ 3936194 w 4501379"/>
              <a:gd name="connsiteY23" fmla="*/ 3648075 h 4429294"/>
              <a:gd name="connsiteX24" fmla="*/ 3640919 w 4501379"/>
              <a:gd name="connsiteY24" fmla="*/ 3971925 h 4429294"/>
              <a:gd name="connsiteX25" fmla="*/ 3498044 w 4501379"/>
              <a:gd name="connsiteY25" fmla="*/ 4083050 h 4429294"/>
              <a:gd name="connsiteX26" fmla="*/ 3202769 w 4501379"/>
              <a:gd name="connsiteY26" fmla="*/ 4222750 h 4429294"/>
              <a:gd name="connsiteX27" fmla="*/ 3050369 w 4501379"/>
              <a:gd name="connsiteY27" fmla="*/ 4286250 h 4429294"/>
              <a:gd name="connsiteX28" fmla="*/ 2917019 w 4501379"/>
              <a:gd name="connsiteY28" fmla="*/ 4333875 h 4429294"/>
              <a:gd name="connsiteX29" fmla="*/ 2793194 w 4501379"/>
              <a:gd name="connsiteY29" fmla="*/ 4371975 h 4429294"/>
              <a:gd name="connsiteX30" fmla="*/ 2561419 w 4501379"/>
              <a:gd name="connsiteY30" fmla="*/ 4391025 h 4429294"/>
              <a:gd name="connsiteX31" fmla="*/ 2107394 w 4501379"/>
              <a:gd name="connsiteY31" fmla="*/ 4429125 h 4429294"/>
              <a:gd name="connsiteX32" fmla="*/ 1916894 w 4501379"/>
              <a:gd name="connsiteY32" fmla="*/ 4400550 h 4429294"/>
              <a:gd name="connsiteX33" fmla="*/ 1554944 w 4501379"/>
              <a:gd name="connsiteY33" fmla="*/ 4305300 h 4429294"/>
              <a:gd name="connsiteX34" fmla="*/ 1313644 w 4501379"/>
              <a:gd name="connsiteY34" fmla="*/ 4216400 h 4429294"/>
              <a:gd name="connsiteX35" fmla="*/ 1145369 w 4501379"/>
              <a:gd name="connsiteY35" fmla="*/ 4111625 h 4429294"/>
              <a:gd name="connsiteX36" fmla="*/ 926294 w 4501379"/>
              <a:gd name="connsiteY36" fmla="*/ 3968750 h 4429294"/>
              <a:gd name="connsiteX37" fmla="*/ 592919 w 4501379"/>
              <a:gd name="connsiteY37" fmla="*/ 3657600 h 4429294"/>
              <a:gd name="connsiteX38" fmla="*/ 446869 w 4501379"/>
              <a:gd name="connsiteY38" fmla="*/ 3470275 h 4429294"/>
              <a:gd name="connsiteX39" fmla="*/ 316694 w 4501379"/>
              <a:gd name="connsiteY39" fmla="*/ 3244850 h 4429294"/>
              <a:gd name="connsiteX40" fmla="*/ 164294 w 4501379"/>
              <a:gd name="connsiteY40" fmla="*/ 2892425 h 4429294"/>
              <a:gd name="connsiteX41" fmla="*/ 56344 w 4501379"/>
              <a:gd name="connsiteY41" fmla="*/ 2368550 h 4429294"/>
              <a:gd name="connsiteX42" fmla="*/ 2369 w 4501379"/>
              <a:gd name="connsiteY42" fmla="*/ 1905000 h 4429294"/>
              <a:gd name="connsiteX43" fmla="*/ 11894 w 4501379"/>
              <a:gd name="connsiteY43" fmla="*/ 1838325 h 4429294"/>
              <a:gd name="connsiteX44" fmla="*/ 30944 w 4501379"/>
              <a:gd name="connsiteY44" fmla="*/ 1781175 h 4429294"/>
              <a:gd name="connsiteX45" fmla="*/ 40469 w 4501379"/>
              <a:gd name="connsiteY45" fmla="*/ 1743075 h 4429294"/>
              <a:gd name="connsiteX46" fmla="*/ 59519 w 4501379"/>
              <a:gd name="connsiteY46" fmla="*/ 1685925 h 4429294"/>
              <a:gd name="connsiteX47" fmla="*/ 69044 w 4501379"/>
              <a:gd name="connsiteY47" fmla="*/ 1638300 h 4429294"/>
              <a:gd name="connsiteX48" fmla="*/ 88094 w 4501379"/>
              <a:gd name="connsiteY48" fmla="*/ 1590675 h 4429294"/>
              <a:gd name="connsiteX49" fmla="*/ 116669 w 4501379"/>
              <a:gd name="connsiteY49" fmla="*/ 1504950 h 4429294"/>
              <a:gd name="connsiteX50" fmla="*/ 135719 w 4501379"/>
              <a:gd name="connsiteY50" fmla="*/ 1419225 h 4429294"/>
              <a:gd name="connsiteX51" fmla="*/ 211919 w 4501379"/>
              <a:gd name="connsiteY51" fmla="*/ 1276350 h 4429294"/>
              <a:gd name="connsiteX52" fmla="*/ 221444 w 4501379"/>
              <a:gd name="connsiteY52" fmla="*/ 1247775 h 4429294"/>
              <a:gd name="connsiteX53" fmla="*/ 250019 w 4501379"/>
              <a:gd name="connsiteY53" fmla="*/ 1200150 h 4429294"/>
              <a:gd name="connsiteX54" fmla="*/ 269069 w 4501379"/>
              <a:gd name="connsiteY54" fmla="*/ 1152525 h 4429294"/>
              <a:gd name="connsiteX55" fmla="*/ 297644 w 4501379"/>
              <a:gd name="connsiteY55" fmla="*/ 1114425 h 4429294"/>
              <a:gd name="connsiteX56" fmla="*/ 345269 w 4501379"/>
              <a:gd name="connsiteY56" fmla="*/ 1038225 h 4429294"/>
              <a:gd name="connsiteX57" fmla="*/ 364319 w 4501379"/>
              <a:gd name="connsiteY57" fmla="*/ 1009650 h 4429294"/>
              <a:gd name="connsiteX58" fmla="*/ 421469 w 4501379"/>
              <a:gd name="connsiteY58" fmla="*/ 904875 h 4429294"/>
              <a:gd name="connsiteX59" fmla="*/ 459569 w 4501379"/>
              <a:gd name="connsiteY59" fmla="*/ 857250 h 4429294"/>
              <a:gd name="connsiteX60" fmla="*/ 478619 w 4501379"/>
              <a:gd name="connsiteY60" fmla="*/ 828675 h 4429294"/>
              <a:gd name="connsiteX61" fmla="*/ 516719 w 4501379"/>
              <a:gd name="connsiteY61" fmla="*/ 800100 h 4429294"/>
              <a:gd name="connsiteX62" fmla="*/ 583394 w 4501379"/>
              <a:gd name="connsiteY62" fmla="*/ 733425 h 4429294"/>
              <a:gd name="connsiteX63" fmla="*/ 650069 w 4501379"/>
              <a:gd name="connsiteY63" fmla="*/ 676275 h 4429294"/>
              <a:gd name="connsiteX64" fmla="*/ 678644 w 4501379"/>
              <a:gd name="connsiteY64" fmla="*/ 657225 h 4429294"/>
              <a:gd name="connsiteX65" fmla="*/ 821519 w 4501379"/>
              <a:gd name="connsiteY65" fmla="*/ 533400 h 4429294"/>
              <a:gd name="connsiteX66" fmla="*/ 869144 w 4501379"/>
              <a:gd name="connsiteY66" fmla="*/ 504825 h 4429294"/>
              <a:gd name="connsiteX67" fmla="*/ 1148544 w 4501379"/>
              <a:gd name="connsiteY67" fmla="*/ 311150 h 4429294"/>
              <a:gd name="connsiteX68" fmla="*/ 1250144 w 4501379"/>
              <a:gd name="connsiteY68" fmla="*/ 285750 h 4429294"/>
              <a:gd name="connsiteX69" fmla="*/ 1393019 w 4501379"/>
              <a:gd name="connsiteY69" fmla="*/ 190500 h 4429294"/>
              <a:gd name="connsiteX70" fmla="*/ 1431119 w 4501379"/>
              <a:gd name="connsiteY70" fmla="*/ 161925 h 4429294"/>
              <a:gd name="connsiteX71" fmla="*/ 1507319 w 4501379"/>
              <a:gd name="connsiteY71" fmla="*/ 152400 h 4429294"/>
              <a:gd name="connsiteX72" fmla="*/ 1564469 w 4501379"/>
              <a:gd name="connsiteY72" fmla="*/ 142875 h 4429294"/>
              <a:gd name="connsiteX73" fmla="*/ 1697819 w 4501379"/>
              <a:gd name="connsiteY73" fmla="*/ 123825 h 4429294"/>
              <a:gd name="connsiteX74" fmla="*/ 1793069 w 4501379"/>
              <a:gd name="connsiteY74" fmla="*/ 114300 h 4429294"/>
              <a:gd name="connsiteX75" fmla="*/ 1840694 w 4501379"/>
              <a:gd name="connsiteY75" fmla="*/ 104775 h 4429294"/>
              <a:gd name="connsiteX76" fmla="*/ 1897844 w 4501379"/>
              <a:gd name="connsiteY76" fmla="*/ 95250 h 4429294"/>
              <a:gd name="connsiteX77" fmla="*/ 2012144 w 4501379"/>
              <a:gd name="connsiteY77" fmla="*/ 66675 h 4429294"/>
              <a:gd name="connsiteX78" fmla="*/ 2078819 w 4501379"/>
              <a:gd name="connsiteY78" fmla="*/ 47625 h 4429294"/>
              <a:gd name="connsiteX79" fmla="*/ 2145494 w 4501379"/>
              <a:gd name="connsiteY7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26644 w 4501379"/>
              <a:gd name="connsiteY7" fmla="*/ 542925 h 4429294"/>
              <a:gd name="connsiteX8" fmla="*/ 3793319 w 4501379"/>
              <a:gd name="connsiteY8" fmla="*/ 581025 h 4429294"/>
              <a:gd name="connsiteX9" fmla="*/ 4009219 w 4501379"/>
              <a:gd name="connsiteY9" fmla="*/ 819150 h 4429294"/>
              <a:gd name="connsiteX10" fmla="*/ 4145744 w 4501379"/>
              <a:gd name="connsiteY10" fmla="*/ 990600 h 4429294"/>
              <a:gd name="connsiteX11" fmla="*/ 4231469 w 4501379"/>
              <a:gd name="connsiteY11" fmla="*/ 1143000 h 4429294"/>
              <a:gd name="connsiteX12" fmla="*/ 4288619 w 4501379"/>
              <a:gd name="connsiteY12" fmla="*/ 1266825 h 4429294"/>
              <a:gd name="connsiteX13" fmla="*/ 4326719 w 4501379"/>
              <a:gd name="connsiteY13" fmla="*/ 1362075 h 4429294"/>
              <a:gd name="connsiteX14" fmla="*/ 4374344 w 4501379"/>
              <a:gd name="connsiteY14" fmla="*/ 1552575 h 4429294"/>
              <a:gd name="connsiteX15" fmla="*/ 4412444 w 4501379"/>
              <a:gd name="connsiteY15" fmla="*/ 1685925 h 4429294"/>
              <a:gd name="connsiteX16" fmla="*/ 4501344 w 4501379"/>
              <a:gd name="connsiteY16" fmla="*/ 2181225 h 4429294"/>
              <a:gd name="connsiteX17" fmla="*/ 4428319 w 4501379"/>
              <a:gd name="connsiteY17" fmla="*/ 2768600 h 4429294"/>
              <a:gd name="connsiteX18" fmla="*/ 4364819 w 4501379"/>
              <a:gd name="connsiteY18" fmla="*/ 2990850 h 4429294"/>
              <a:gd name="connsiteX19" fmla="*/ 4260044 w 4501379"/>
              <a:gd name="connsiteY19" fmla="*/ 3248025 h 4429294"/>
              <a:gd name="connsiteX20" fmla="*/ 4164794 w 4501379"/>
              <a:gd name="connsiteY20" fmla="*/ 3400425 h 4429294"/>
              <a:gd name="connsiteX21" fmla="*/ 4040969 w 4501379"/>
              <a:gd name="connsiteY21" fmla="*/ 3533775 h 4429294"/>
              <a:gd name="connsiteX22" fmla="*/ 3936194 w 4501379"/>
              <a:gd name="connsiteY22" fmla="*/ 3648075 h 4429294"/>
              <a:gd name="connsiteX23" fmla="*/ 3640919 w 4501379"/>
              <a:gd name="connsiteY23" fmla="*/ 3971925 h 4429294"/>
              <a:gd name="connsiteX24" fmla="*/ 3498044 w 4501379"/>
              <a:gd name="connsiteY24" fmla="*/ 4083050 h 4429294"/>
              <a:gd name="connsiteX25" fmla="*/ 3202769 w 4501379"/>
              <a:gd name="connsiteY25" fmla="*/ 4222750 h 4429294"/>
              <a:gd name="connsiteX26" fmla="*/ 3050369 w 4501379"/>
              <a:gd name="connsiteY26" fmla="*/ 4286250 h 4429294"/>
              <a:gd name="connsiteX27" fmla="*/ 2917019 w 4501379"/>
              <a:gd name="connsiteY27" fmla="*/ 4333875 h 4429294"/>
              <a:gd name="connsiteX28" fmla="*/ 2793194 w 4501379"/>
              <a:gd name="connsiteY28" fmla="*/ 4371975 h 4429294"/>
              <a:gd name="connsiteX29" fmla="*/ 2561419 w 4501379"/>
              <a:gd name="connsiteY29" fmla="*/ 4391025 h 4429294"/>
              <a:gd name="connsiteX30" fmla="*/ 2107394 w 4501379"/>
              <a:gd name="connsiteY30" fmla="*/ 4429125 h 4429294"/>
              <a:gd name="connsiteX31" fmla="*/ 1916894 w 4501379"/>
              <a:gd name="connsiteY31" fmla="*/ 4400550 h 4429294"/>
              <a:gd name="connsiteX32" fmla="*/ 1554944 w 4501379"/>
              <a:gd name="connsiteY32" fmla="*/ 4305300 h 4429294"/>
              <a:gd name="connsiteX33" fmla="*/ 1313644 w 4501379"/>
              <a:gd name="connsiteY33" fmla="*/ 4216400 h 4429294"/>
              <a:gd name="connsiteX34" fmla="*/ 1145369 w 4501379"/>
              <a:gd name="connsiteY34" fmla="*/ 4111625 h 4429294"/>
              <a:gd name="connsiteX35" fmla="*/ 926294 w 4501379"/>
              <a:gd name="connsiteY35" fmla="*/ 3968750 h 4429294"/>
              <a:gd name="connsiteX36" fmla="*/ 592919 w 4501379"/>
              <a:gd name="connsiteY36" fmla="*/ 3657600 h 4429294"/>
              <a:gd name="connsiteX37" fmla="*/ 446869 w 4501379"/>
              <a:gd name="connsiteY37" fmla="*/ 3470275 h 4429294"/>
              <a:gd name="connsiteX38" fmla="*/ 316694 w 4501379"/>
              <a:gd name="connsiteY38" fmla="*/ 3244850 h 4429294"/>
              <a:gd name="connsiteX39" fmla="*/ 164294 w 4501379"/>
              <a:gd name="connsiteY39" fmla="*/ 2892425 h 4429294"/>
              <a:gd name="connsiteX40" fmla="*/ 56344 w 4501379"/>
              <a:gd name="connsiteY40" fmla="*/ 2368550 h 4429294"/>
              <a:gd name="connsiteX41" fmla="*/ 2369 w 4501379"/>
              <a:gd name="connsiteY41" fmla="*/ 1905000 h 4429294"/>
              <a:gd name="connsiteX42" fmla="*/ 11894 w 4501379"/>
              <a:gd name="connsiteY42" fmla="*/ 1838325 h 4429294"/>
              <a:gd name="connsiteX43" fmla="*/ 30944 w 4501379"/>
              <a:gd name="connsiteY43" fmla="*/ 1781175 h 4429294"/>
              <a:gd name="connsiteX44" fmla="*/ 40469 w 4501379"/>
              <a:gd name="connsiteY44" fmla="*/ 1743075 h 4429294"/>
              <a:gd name="connsiteX45" fmla="*/ 59519 w 4501379"/>
              <a:gd name="connsiteY45" fmla="*/ 1685925 h 4429294"/>
              <a:gd name="connsiteX46" fmla="*/ 69044 w 4501379"/>
              <a:gd name="connsiteY46" fmla="*/ 1638300 h 4429294"/>
              <a:gd name="connsiteX47" fmla="*/ 88094 w 4501379"/>
              <a:gd name="connsiteY47" fmla="*/ 1590675 h 4429294"/>
              <a:gd name="connsiteX48" fmla="*/ 116669 w 4501379"/>
              <a:gd name="connsiteY48" fmla="*/ 1504950 h 4429294"/>
              <a:gd name="connsiteX49" fmla="*/ 135719 w 4501379"/>
              <a:gd name="connsiteY49" fmla="*/ 1419225 h 4429294"/>
              <a:gd name="connsiteX50" fmla="*/ 211919 w 4501379"/>
              <a:gd name="connsiteY50" fmla="*/ 1276350 h 4429294"/>
              <a:gd name="connsiteX51" fmla="*/ 221444 w 4501379"/>
              <a:gd name="connsiteY51" fmla="*/ 1247775 h 4429294"/>
              <a:gd name="connsiteX52" fmla="*/ 250019 w 4501379"/>
              <a:gd name="connsiteY52" fmla="*/ 1200150 h 4429294"/>
              <a:gd name="connsiteX53" fmla="*/ 269069 w 4501379"/>
              <a:gd name="connsiteY53" fmla="*/ 1152525 h 4429294"/>
              <a:gd name="connsiteX54" fmla="*/ 297644 w 4501379"/>
              <a:gd name="connsiteY54" fmla="*/ 1114425 h 4429294"/>
              <a:gd name="connsiteX55" fmla="*/ 345269 w 4501379"/>
              <a:gd name="connsiteY55" fmla="*/ 1038225 h 4429294"/>
              <a:gd name="connsiteX56" fmla="*/ 364319 w 4501379"/>
              <a:gd name="connsiteY56" fmla="*/ 1009650 h 4429294"/>
              <a:gd name="connsiteX57" fmla="*/ 421469 w 4501379"/>
              <a:gd name="connsiteY57" fmla="*/ 904875 h 4429294"/>
              <a:gd name="connsiteX58" fmla="*/ 459569 w 4501379"/>
              <a:gd name="connsiteY58" fmla="*/ 857250 h 4429294"/>
              <a:gd name="connsiteX59" fmla="*/ 478619 w 4501379"/>
              <a:gd name="connsiteY59" fmla="*/ 828675 h 4429294"/>
              <a:gd name="connsiteX60" fmla="*/ 516719 w 4501379"/>
              <a:gd name="connsiteY60" fmla="*/ 800100 h 4429294"/>
              <a:gd name="connsiteX61" fmla="*/ 583394 w 4501379"/>
              <a:gd name="connsiteY61" fmla="*/ 733425 h 4429294"/>
              <a:gd name="connsiteX62" fmla="*/ 650069 w 4501379"/>
              <a:gd name="connsiteY62" fmla="*/ 676275 h 4429294"/>
              <a:gd name="connsiteX63" fmla="*/ 678644 w 4501379"/>
              <a:gd name="connsiteY63" fmla="*/ 657225 h 4429294"/>
              <a:gd name="connsiteX64" fmla="*/ 821519 w 4501379"/>
              <a:gd name="connsiteY64" fmla="*/ 533400 h 4429294"/>
              <a:gd name="connsiteX65" fmla="*/ 869144 w 4501379"/>
              <a:gd name="connsiteY65" fmla="*/ 504825 h 4429294"/>
              <a:gd name="connsiteX66" fmla="*/ 1148544 w 4501379"/>
              <a:gd name="connsiteY66" fmla="*/ 311150 h 4429294"/>
              <a:gd name="connsiteX67" fmla="*/ 1250144 w 4501379"/>
              <a:gd name="connsiteY67" fmla="*/ 285750 h 4429294"/>
              <a:gd name="connsiteX68" fmla="*/ 1393019 w 4501379"/>
              <a:gd name="connsiteY68" fmla="*/ 190500 h 4429294"/>
              <a:gd name="connsiteX69" fmla="*/ 1431119 w 4501379"/>
              <a:gd name="connsiteY69" fmla="*/ 161925 h 4429294"/>
              <a:gd name="connsiteX70" fmla="*/ 1507319 w 4501379"/>
              <a:gd name="connsiteY70" fmla="*/ 152400 h 4429294"/>
              <a:gd name="connsiteX71" fmla="*/ 1564469 w 4501379"/>
              <a:gd name="connsiteY71" fmla="*/ 142875 h 4429294"/>
              <a:gd name="connsiteX72" fmla="*/ 1697819 w 4501379"/>
              <a:gd name="connsiteY72" fmla="*/ 123825 h 4429294"/>
              <a:gd name="connsiteX73" fmla="*/ 1793069 w 4501379"/>
              <a:gd name="connsiteY73" fmla="*/ 114300 h 4429294"/>
              <a:gd name="connsiteX74" fmla="*/ 1840694 w 4501379"/>
              <a:gd name="connsiteY74" fmla="*/ 104775 h 4429294"/>
              <a:gd name="connsiteX75" fmla="*/ 1897844 w 4501379"/>
              <a:gd name="connsiteY75" fmla="*/ 95250 h 4429294"/>
              <a:gd name="connsiteX76" fmla="*/ 2012144 w 4501379"/>
              <a:gd name="connsiteY76" fmla="*/ 66675 h 4429294"/>
              <a:gd name="connsiteX77" fmla="*/ 2078819 w 4501379"/>
              <a:gd name="connsiteY77" fmla="*/ 47625 h 4429294"/>
              <a:gd name="connsiteX78" fmla="*/ 2145494 w 4501379"/>
              <a:gd name="connsiteY7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93319 w 4501379"/>
              <a:gd name="connsiteY7" fmla="*/ 581025 h 4429294"/>
              <a:gd name="connsiteX8" fmla="*/ 4009219 w 4501379"/>
              <a:gd name="connsiteY8" fmla="*/ 819150 h 4429294"/>
              <a:gd name="connsiteX9" fmla="*/ 4145744 w 4501379"/>
              <a:gd name="connsiteY9" fmla="*/ 990600 h 4429294"/>
              <a:gd name="connsiteX10" fmla="*/ 4231469 w 4501379"/>
              <a:gd name="connsiteY10" fmla="*/ 1143000 h 4429294"/>
              <a:gd name="connsiteX11" fmla="*/ 4288619 w 4501379"/>
              <a:gd name="connsiteY11" fmla="*/ 1266825 h 4429294"/>
              <a:gd name="connsiteX12" fmla="*/ 4326719 w 4501379"/>
              <a:gd name="connsiteY12" fmla="*/ 1362075 h 4429294"/>
              <a:gd name="connsiteX13" fmla="*/ 4374344 w 4501379"/>
              <a:gd name="connsiteY13" fmla="*/ 1552575 h 4429294"/>
              <a:gd name="connsiteX14" fmla="*/ 4412444 w 4501379"/>
              <a:gd name="connsiteY14" fmla="*/ 1685925 h 4429294"/>
              <a:gd name="connsiteX15" fmla="*/ 4501344 w 4501379"/>
              <a:gd name="connsiteY15" fmla="*/ 2181225 h 4429294"/>
              <a:gd name="connsiteX16" fmla="*/ 4428319 w 4501379"/>
              <a:gd name="connsiteY16" fmla="*/ 2768600 h 4429294"/>
              <a:gd name="connsiteX17" fmla="*/ 4364819 w 4501379"/>
              <a:gd name="connsiteY17" fmla="*/ 2990850 h 4429294"/>
              <a:gd name="connsiteX18" fmla="*/ 4260044 w 4501379"/>
              <a:gd name="connsiteY18" fmla="*/ 3248025 h 4429294"/>
              <a:gd name="connsiteX19" fmla="*/ 4164794 w 4501379"/>
              <a:gd name="connsiteY19" fmla="*/ 3400425 h 4429294"/>
              <a:gd name="connsiteX20" fmla="*/ 4040969 w 4501379"/>
              <a:gd name="connsiteY20" fmla="*/ 3533775 h 4429294"/>
              <a:gd name="connsiteX21" fmla="*/ 3936194 w 4501379"/>
              <a:gd name="connsiteY21" fmla="*/ 3648075 h 4429294"/>
              <a:gd name="connsiteX22" fmla="*/ 3640919 w 4501379"/>
              <a:gd name="connsiteY22" fmla="*/ 3971925 h 4429294"/>
              <a:gd name="connsiteX23" fmla="*/ 3498044 w 4501379"/>
              <a:gd name="connsiteY23" fmla="*/ 4083050 h 4429294"/>
              <a:gd name="connsiteX24" fmla="*/ 3202769 w 4501379"/>
              <a:gd name="connsiteY24" fmla="*/ 4222750 h 4429294"/>
              <a:gd name="connsiteX25" fmla="*/ 3050369 w 4501379"/>
              <a:gd name="connsiteY25" fmla="*/ 4286250 h 4429294"/>
              <a:gd name="connsiteX26" fmla="*/ 2917019 w 4501379"/>
              <a:gd name="connsiteY26" fmla="*/ 4333875 h 4429294"/>
              <a:gd name="connsiteX27" fmla="*/ 2793194 w 4501379"/>
              <a:gd name="connsiteY27" fmla="*/ 4371975 h 4429294"/>
              <a:gd name="connsiteX28" fmla="*/ 2561419 w 4501379"/>
              <a:gd name="connsiteY28" fmla="*/ 4391025 h 4429294"/>
              <a:gd name="connsiteX29" fmla="*/ 2107394 w 4501379"/>
              <a:gd name="connsiteY29" fmla="*/ 4429125 h 4429294"/>
              <a:gd name="connsiteX30" fmla="*/ 1916894 w 4501379"/>
              <a:gd name="connsiteY30" fmla="*/ 4400550 h 4429294"/>
              <a:gd name="connsiteX31" fmla="*/ 1554944 w 4501379"/>
              <a:gd name="connsiteY31" fmla="*/ 4305300 h 4429294"/>
              <a:gd name="connsiteX32" fmla="*/ 1313644 w 4501379"/>
              <a:gd name="connsiteY32" fmla="*/ 4216400 h 4429294"/>
              <a:gd name="connsiteX33" fmla="*/ 1145369 w 4501379"/>
              <a:gd name="connsiteY33" fmla="*/ 4111625 h 4429294"/>
              <a:gd name="connsiteX34" fmla="*/ 926294 w 4501379"/>
              <a:gd name="connsiteY34" fmla="*/ 3968750 h 4429294"/>
              <a:gd name="connsiteX35" fmla="*/ 592919 w 4501379"/>
              <a:gd name="connsiteY35" fmla="*/ 3657600 h 4429294"/>
              <a:gd name="connsiteX36" fmla="*/ 446869 w 4501379"/>
              <a:gd name="connsiteY36" fmla="*/ 3470275 h 4429294"/>
              <a:gd name="connsiteX37" fmla="*/ 316694 w 4501379"/>
              <a:gd name="connsiteY37" fmla="*/ 3244850 h 4429294"/>
              <a:gd name="connsiteX38" fmla="*/ 164294 w 4501379"/>
              <a:gd name="connsiteY38" fmla="*/ 2892425 h 4429294"/>
              <a:gd name="connsiteX39" fmla="*/ 56344 w 4501379"/>
              <a:gd name="connsiteY39" fmla="*/ 2368550 h 4429294"/>
              <a:gd name="connsiteX40" fmla="*/ 2369 w 4501379"/>
              <a:gd name="connsiteY40" fmla="*/ 1905000 h 4429294"/>
              <a:gd name="connsiteX41" fmla="*/ 11894 w 4501379"/>
              <a:gd name="connsiteY41" fmla="*/ 1838325 h 4429294"/>
              <a:gd name="connsiteX42" fmla="*/ 30944 w 4501379"/>
              <a:gd name="connsiteY42" fmla="*/ 1781175 h 4429294"/>
              <a:gd name="connsiteX43" fmla="*/ 40469 w 4501379"/>
              <a:gd name="connsiteY43" fmla="*/ 1743075 h 4429294"/>
              <a:gd name="connsiteX44" fmla="*/ 59519 w 4501379"/>
              <a:gd name="connsiteY44" fmla="*/ 1685925 h 4429294"/>
              <a:gd name="connsiteX45" fmla="*/ 69044 w 4501379"/>
              <a:gd name="connsiteY45" fmla="*/ 1638300 h 4429294"/>
              <a:gd name="connsiteX46" fmla="*/ 88094 w 4501379"/>
              <a:gd name="connsiteY46" fmla="*/ 1590675 h 4429294"/>
              <a:gd name="connsiteX47" fmla="*/ 116669 w 4501379"/>
              <a:gd name="connsiteY47" fmla="*/ 1504950 h 4429294"/>
              <a:gd name="connsiteX48" fmla="*/ 135719 w 4501379"/>
              <a:gd name="connsiteY48" fmla="*/ 1419225 h 4429294"/>
              <a:gd name="connsiteX49" fmla="*/ 211919 w 4501379"/>
              <a:gd name="connsiteY49" fmla="*/ 1276350 h 4429294"/>
              <a:gd name="connsiteX50" fmla="*/ 221444 w 4501379"/>
              <a:gd name="connsiteY50" fmla="*/ 1247775 h 4429294"/>
              <a:gd name="connsiteX51" fmla="*/ 250019 w 4501379"/>
              <a:gd name="connsiteY51" fmla="*/ 1200150 h 4429294"/>
              <a:gd name="connsiteX52" fmla="*/ 269069 w 4501379"/>
              <a:gd name="connsiteY52" fmla="*/ 1152525 h 4429294"/>
              <a:gd name="connsiteX53" fmla="*/ 297644 w 4501379"/>
              <a:gd name="connsiteY53" fmla="*/ 1114425 h 4429294"/>
              <a:gd name="connsiteX54" fmla="*/ 345269 w 4501379"/>
              <a:gd name="connsiteY54" fmla="*/ 1038225 h 4429294"/>
              <a:gd name="connsiteX55" fmla="*/ 364319 w 4501379"/>
              <a:gd name="connsiteY55" fmla="*/ 1009650 h 4429294"/>
              <a:gd name="connsiteX56" fmla="*/ 421469 w 4501379"/>
              <a:gd name="connsiteY56" fmla="*/ 904875 h 4429294"/>
              <a:gd name="connsiteX57" fmla="*/ 459569 w 4501379"/>
              <a:gd name="connsiteY57" fmla="*/ 857250 h 4429294"/>
              <a:gd name="connsiteX58" fmla="*/ 478619 w 4501379"/>
              <a:gd name="connsiteY58" fmla="*/ 828675 h 4429294"/>
              <a:gd name="connsiteX59" fmla="*/ 516719 w 4501379"/>
              <a:gd name="connsiteY59" fmla="*/ 800100 h 4429294"/>
              <a:gd name="connsiteX60" fmla="*/ 583394 w 4501379"/>
              <a:gd name="connsiteY60" fmla="*/ 733425 h 4429294"/>
              <a:gd name="connsiteX61" fmla="*/ 650069 w 4501379"/>
              <a:gd name="connsiteY61" fmla="*/ 676275 h 4429294"/>
              <a:gd name="connsiteX62" fmla="*/ 678644 w 4501379"/>
              <a:gd name="connsiteY62" fmla="*/ 657225 h 4429294"/>
              <a:gd name="connsiteX63" fmla="*/ 821519 w 4501379"/>
              <a:gd name="connsiteY63" fmla="*/ 533400 h 4429294"/>
              <a:gd name="connsiteX64" fmla="*/ 869144 w 4501379"/>
              <a:gd name="connsiteY64" fmla="*/ 504825 h 4429294"/>
              <a:gd name="connsiteX65" fmla="*/ 1148544 w 4501379"/>
              <a:gd name="connsiteY65" fmla="*/ 311150 h 4429294"/>
              <a:gd name="connsiteX66" fmla="*/ 1250144 w 4501379"/>
              <a:gd name="connsiteY66" fmla="*/ 285750 h 4429294"/>
              <a:gd name="connsiteX67" fmla="*/ 1393019 w 4501379"/>
              <a:gd name="connsiteY67" fmla="*/ 190500 h 4429294"/>
              <a:gd name="connsiteX68" fmla="*/ 1431119 w 4501379"/>
              <a:gd name="connsiteY68" fmla="*/ 161925 h 4429294"/>
              <a:gd name="connsiteX69" fmla="*/ 1507319 w 4501379"/>
              <a:gd name="connsiteY69" fmla="*/ 152400 h 4429294"/>
              <a:gd name="connsiteX70" fmla="*/ 1564469 w 4501379"/>
              <a:gd name="connsiteY70" fmla="*/ 142875 h 4429294"/>
              <a:gd name="connsiteX71" fmla="*/ 1697819 w 4501379"/>
              <a:gd name="connsiteY71" fmla="*/ 123825 h 4429294"/>
              <a:gd name="connsiteX72" fmla="*/ 1793069 w 4501379"/>
              <a:gd name="connsiteY72" fmla="*/ 114300 h 4429294"/>
              <a:gd name="connsiteX73" fmla="*/ 1840694 w 4501379"/>
              <a:gd name="connsiteY73" fmla="*/ 104775 h 4429294"/>
              <a:gd name="connsiteX74" fmla="*/ 1897844 w 4501379"/>
              <a:gd name="connsiteY74" fmla="*/ 95250 h 4429294"/>
              <a:gd name="connsiteX75" fmla="*/ 2012144 w 4501379"/>
              <a:gd name="connsiteY75" fmla="*/ 66675 h 4429294"/>
              <a:gd name="connsiteX76" fmla="*/ 2078819 w 4501379"/>
              <a:gd name="connsiteY76" fmla="*/ 47625 h 4429294"/>
              <a:gd name="connsiteX77" fmla="*/ 2145494 w 4501379"/>
              <a:gd name="connsiteY7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393019 w 4501379"/>
              <a:gd name="connsiteY66" fmla="*/ 190500 h 4429294"/>
              <a:gd name="connsiteX67" fmla="*/ 1431119 w 4501379"/>
              <a:gd name="connsiteY67" fmla="*/ 161925 h 4429294"/>
              <a:gd name="connsiteX68" fmla="*/ 1507319 w 4501379"/>
              <a:gd name="connsiteY68" fmla="*/ 152400 h 4429294"/>
              <a:gd name="connsiteX69" fmla="*/ 1564469 w 4501379"/>
              <a:gd name="connsiteY69" fmla="*/ 142875 h 4429294"/>
              <a:gd name="connsiteX70" fmla="*/ 1697819 w 4501379"/>
              <a:gd name="connsiteY70" fmla="*/ 123825 h 4429294"/>
              <a:gd name="connsiteX71" fmla="*/ 1793069 w 4501379"/>
              <a:gd name="connsiteY71" fmla="*/ 114300 h 4429294"/>
              <a:gd name="connsiteX72" fmla="*/ 1840694 w 4501379"/>
              <a:gd name="connsiteY72" fmla="*/ 104775 h 4429294"/>
              <a:gd name="connsiteX73" fmla="*/ 1897844 w 4501379"/>
              <a:gd name="connsiteY73" fmla="*/ 95250 h 4429294"/>
              <a:gd name="connsiteX74" fmla="*/ 2012144 w 4501379"/>
              <a:gd name="connsiteY74" fmla="*/ 66675 h 4429294"/>
              <a:gd name="connsiteX75" fmla="*/ 2078819 w 4501379"/>
              <a:gd name="connsiteY75" fmla="*/ 47625 h 4429294"/>
              <a:gd name="connsiteX76" fmla="*/ 2145494 w 4501379"/>
              <a:gd name="connsiteY7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431119 w 4501379"/>
              <a:gd name="connsiteY66" fmla="*/ 161925 h 4429294"/>
              <a:gd name="connsiteX67" fmla="*/ 1507319 w 4501379"/>
              <a:gd name="connsiteY67" fmla="*/ 152400 h 4429294"/>
              <a:gd name="connsiteX68" fmla="*/ 1564469 w 4501379"/>
              <a:gd name="connsiteY68" fmla="*/ 142875 h 4429294"/>
              <a:gd name="connsiteX69" fmla="*/ 1697819 w 4501379"/>
              <a:gd name="connsiteY69" fmla="*/ 123825 h 4429294"/>
              <a:gd name="connsiteX70" fmla="*/ 1793069 w 4501379"/>
              <a:gd name="connsiteY70" fmla="*/ 114300 h 4429294"/>
              <a:gd name="connsiteX71" fmla="*/ 1840694 w 4501379"/>
              <a:gd name="connsiteY71" fmla="*/ 104775 h 4429294"/>
              <a:gd name="connsiteX72" fmla="*/ 1897844 w 4501379"/>
              <a:gd name="connsiteY72" fmla="*/ 95250 h 4429294"/>
              <a:gd name="connsiteX73" fmla="*/ 2012144 w 4501379"/>
              <a:gd name="connsiteY73" fmla="*/ 66675 h 4429294"/>
              <a:gd name="connsiteX74" fmla="*/ 2078819 w 4501379"/>
              <a:gd name="connsiteY74" fmla="*/ 47625 h 4429294"/>
              <a:gd name="connsiteX75" fmla="*/ 2145494 w 4501379"/>
              <a:gd name="connsiteY7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507319 w 4501379"/>
              <a:gd name="connsiteY66" fmla="*/ 152400 h 4429294"/>
              <a:gd name="connsiteX67" fmla="*/ 1564469 w 4501379"/>
              <a:gd name="connsiteY67" fmla="*/ 142875 h 4429294"/>
              <a:gd name="connsiteX68" fmla="*/ 1697819 w 4501379"/>
              <a:gd name="connsiteY68" fmla="*/ 123825 h 4429294"/>
              <a:gd name="connsiteX69" fmla="*/ 1793069 w 4501379"/>
              <a:gd name="connsiteY69" fmla="*/ 114300 h 4429294"/>
              <a:gd name="connsiteX70" fmla="*/ 1840694 w 4501379"/>
              <a:gd name="connsiteY70" fmla="*/ 104775 h 4429294"/>
              <a:gd name="connsiteX71" fmla="*/ 1897844 w 4501379"/>
              <a:gd name="connsiteY71" fmla="*/ 95250 h 4429294"/>
              <a:gd name="connsiteX72" fmla="*/ 2012144 w 4501379"/>
              <a:gd name="connsiteY72" fmla="*/ 66675 h 4429294"/>
              <a:gd name="connsiteX73" fmla="*/ 2078819 w 4501379"/>
              <a:gd name="connsiteY73" fmla="*/ 47625 h 4429294"/>
              <a:gd name="connsiteX74" fmla="*/ 2145494 w 4501379"/>
              <a:gd name="connsiteY7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697819 w 4501379"/>
              <a:gd name="connsiteY67" fmla="*/ 123825 h 4429294"/>
              <a:gd name="connsiteX68" fmla="*/ 1793069 w 4501379"/>
              <a:gd name="connsiteY68" fmla="*/ 114300 h 4429294"/>
              <a:gd name="connsiteX69" fmla="*/ 1840694 w 4501379"/>
              <a:gd name="connsiteY69" fmla="*/ 104775 h 4429294"/>
              <a:gd name="connsiteX70" fmla="*/ 1897844 w 4501379"/>
              <a:gd name="connsiteY70" fmla="*/ 95250 h 4429294"/>
              <a:gd name="connsiteX71" fmla="*/ 2012144 w 4501379"/>
              <a:gd name="connsiteY71" fmla="*/ 66675 h 4429294"/>
              <a:gd name="connsiteX72" fmla="*/ 2078819 w 4501379"/>
              <a:gd name="connsiteY72" fmla="*/ 47625 h 4429294"/>
              <a:gd name="connsiteX73" fmla="*/ 2145494 w 4501379"/>
              <a:gd name="connsiteY7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793069 w 4501379"/>
              <a:gd name="connsiteY67" fmla="*/ 114300 h 4429294"/>
              <a:gd name="connsiteX68" fmla="*/ 1840694 w 4501379"/>
              <a:gd name="connsiteY68" fmla="*/ 104775 h 4429294"/>
              <a:gd name="connsiteX69" fmla="*/ 1897844 w 4501379"/>
              <a:gd name="connsiteY69" fmla="*/ 95250 h 4429294"/>
              <a:gd name="connsiteX70" fmla="*/ 2012144 w 4501379"/>
              <a:gd name="connsiteY70" fmla="*/ 66675 h 4429294"/>
              <a:gd name="connsiteX71" fmla="*/ 2078819 w 4501379"/>
              <a:gd name="connsiteY71" fmla="*/ 47625 h 4429294"/>
              <a:gd name="connsiteX72" fmla="*/ 2145494 w 4501379"/>
              <a:gd name="connsiteY7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40694 w 4501379"/>
              <a:gd name="connsiteY67" fmla="*/ 104775 h 4429294"/>
              <a:gd name="connsiteX68" fmla="*/ 1897844 w 4501379"/>
              <a:gd name="connsiteY68" fmla="*/ 95250 h 4429294"/>
              <a:gd name="connsiteX69" fmla="*/ 2012144 w 4501379"/>
              <a:gd name="connsiteY69" fmla="*/ 66675 h 4429294"/>
              <a:gd name="connsiteX70" fmla="*/ 2078819 w 4501379"/>
              <a:gd name="connsiteY70" fmla="*/ 47625 h 4429294"/>
              <a:gd name="connsiteX71" fmla="*/ 2145494 w 4501379"/>
              <a:gd name="connsiteY7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97844 w 4501379"/>
              <a:gd name="connsiteY67" fmla="*/ 95250 h 4429294"/>
              <a:gd name="connsiteX68" fmla="*/ 2012144 w 4501379"/>
              <a:gd name="connsiteY68" fmla="*/ 66675 h 4429294"/>
              <a:gd name="connsiteX69" fmla="*/ 2078819 w 4501379"/>
              <a:gd name="connsiteY69" fmla="*/ 47625 h 4429294"/>
              <a:gd name="connsiteX70" fmla="*/ 2145494 w 4501379"/>
              <a:gd name="connsiteY7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12144 w 4501379"/>
              <a:gd name="connsiteY67" fmla="*/ 66675 h 4429294"/>
              <a:gd name="connsiteX68" fmla="*/ 2078819 w 4501379"/>
              <a:gd name="connsiteY68" fmla="*/ 47625 h 4429294"/>
              <a:gd name="connsiteX69" fmla="*/ 2145494 w 4501379"/>
              <a:gd name="connsiteY6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78819 w 4501379"/>
              <a:gd name="connsiteY67" fmla="*/ 47625 h 4429294"/>
              <a:gd name="connsiteX68" fmla="*/ 2145494 w 4501379"/>
              <a:gd name="connsiteY6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145494 w 4501379"/>
              <a:gd name="connsiteY6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621619 w 4501379"/>
              <a:gd name="connsiteY66" fmla="*/ 11112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678644 w 4501379"/>
              <a:gd name="connsiteY60" fmla="*/ 657225 h 4429294"/>
              <a:gd name="connsiteX61" fmla="*/ 821519 w 4501379"/>
              <a:gd name="connsiteY61" fmla="*/ 533400 h 4429294"/>
              <a:gd name="connsiteX62" fmla="*/ 869144 w 4501379"/>
              <a:gd name="connsiteY62" fmla="*/ 504825 h 4429294"/>
              <a:gd name="connsiteX63" fmla="*/ 1148544 w 4501379"/>
              <a:gd name="connsiteY63" fmla="*/ 311150 h 4429294"/>
              <a:gd name="connsiteX64" fmla="*/ 1507319 w 4501379"/>
              <a:gd name="connsiteY64" fmla="*/ 152400 h 4429294"/>
              <a:gd name="connsiteX65" fmla="*/ 1621619 w 4501379"/>
              <a:gd name="connsiteY65" fmla="*/ 111125 h 4429294"/>
              <a:gd name="connsiteX66" fmla="*/ 2253444 w 4501379"/>
              <a:gd name="connsiteY6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21519 w 4501379"/>
              <a:gd name="connsiteY60" fmla="*/ 533400 h 4429294"/>
              <a:gd name="connsiteX61" fmla="*/ 869144 w 4501379"/>
              <a:gd name="connsiteY61" fmla="*/ 504825 h 4429294"/>
              <a:gd name="connsiteX62" fmla="*/ 1148544 w 4501379"/>
              <a:gd name="connsiteY62" fmla="*/ 311150 h 4429294"/>
              <a:gd name="connsiteX63" fmla="*/ 1507319 w 4501379"/>
              <a:gd name="connsiteY63" fmla="*/ 152400 h 4429294"/>
              <a:gd name="connsiteX64" fmla="*/ 1621619 w 4501379"/>
              <a:gd name="connsiteY64" fmla="*/ 111125 h 4429294"/>
              <a:gd name="connsiteX65" fmla="*/ 2253444 w 4501379"/>
              <a:gd name="connsiteY6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69144 w 4501379"/>
              <a:gd name="connsiteY60" fmla="*/ 504825 h 4429294"/>
              <a:gd name="connsiteX61" fmla="*/ 1148544 w 4501379"/>
              <a:gd name="connsiteY61" fmla="*/ 311150 h 4429294"/>
              <a:gd name="connsiteX62" fmla="*/ 1507319 w 4501379"/>
              <a:gd name="connsiteY62" fmla="*/ 152400 h 4429294"/>
              <a:gd name="connsiteX63" fmla="*/ 1621619 w 4501379"/>
              <a:gd name="connsiteY63" fmla="*/ 111125 h 4429294"/>
              <a:gd name="connsiteX64" fmla="*/ 2253444 w 4501379"/>
              <a:gd name="connsiteY6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64319 w 4501379"/>
              <a:gd name="connsiteY53" fmla="*/ 1009650 h 4429294"/>
              <a:gd name="connsiteX54" fmla="*/ 421469 w 4501379"/>
              <a:gd name="connsiteY54" fmla="*/ 904875 h 4429294"/>
              <a:gd name="connsiteX55" fmla="*/ 459569 w 4501379"/>
              <a:gd name="connsiteY55" fmla="*/ 857250 h 4429294"/>
              <a:gd name="connsiteX56" fmla="*/ 478619 w 4501379"/>
              <a:gd name="connsiteY56" fmla="*/ 828675 h 4429294"/>
              <a:gd name="connsiteX57" fmla="*/ 516719 w 4501379"/>
              <a:gd name="connsiteY57" fmla="*/ 800100 h 4429294"/>
              <a:gd name="connsiteX58" fmla="*/ 650069 w 4501379"/>
              <a:gd name="connsiteY58" fmla="*/ 676275 h 4429294"/>
              <a:gd name="connsiteX59" fmla="*/ 869144 w 4501379"/>
              <a:gd name="connsiteY59" fmla="*/ 504825 h 4429294"/>
              <a:gd name="connsiteX60" fmla="*/ 1148544 w 4501379"/>
              <a:gd name="connsiteY60" fmla="*/ 311150 h 4429294"/>
              <a:gd name="connsiteX61" fmla="*/ 1507319 w 4501379"/>
              <a:gd name="connsiteY61" fmla="*/ 152400 h 4429294"/>
              <a:gd name="connsiteX62" fmla="*/ 1621619 w 4501379"/>
              <a:gd name="connsiteY62" fmla="*/ 111125 h 4429294"/>
              <a:gd name="connsiteX63" fmla="*/ 2253444 w 4501379"/>
              <a:gd name="connsiteY63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21469 w 4501379"/>
              <a:gd name="connsiteY53" fmla="*/ 904875 h 4429294"/>
              <a:gd name="connsiteX54" fmla="*/ 459569 w 4501379"/>
              <a:gd name="connsiteY54" fmla="*/ 857250 h 4429294"/>
              <a:gd name="connsiteX55" fmla="*/ 478619 w 4501379"/>
              <a:gd name="connsiteY55" fmla="*/ 828675 h 4429294"/>
              <a:gd name="connsiteX56" fmla="*/ 516719 w 4501379"/>
              <a:gd name="connsiteY56" fmla="*/ 800100 h 4429294"/>
              <a:gd name="connsiteX57" fmla="*/ 650069 w 4501379"/>
              <a:gd name="connsiteY57" fmla="*/ 676275 h 4429294"/>
              <a:gd name="connsiteX58" fmla="*/ 869144 w 4501379"/>
              <a:gd name="connsiteY58" fmla="*/ 504825 h 4429294"/>
              <a:gd name="connsiteX59" fmla="*/ 1148544 w 4501379"/>
              <a:gd name="connsiteY59" fmla="*/ 311150 h 4429294"/>
              <a:gd name="connsiteX60" fmla="*/ 1507319 w 4501379"/>
              <a:gd name="connsiteY60" fmla="*/ 152400 h 4429294"/>
              <a:gd name="connsiteX61" fmla="*/ 1621619 w 4501379"/>
              <a:gd name="connsiteY61" fmla="*/ 111125 h 4429294"/>
              <a:gd name="connsiteX62" fmla="*/ 2253444 w 4501379"/>
              <a:gd name="connsiteY62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478619 w 4501379"/>
              <a:gd name="connsiteY54" fmla="*/ 828675 h 4429294"/>
              <a:gd name="connsiteX55" fmla="*/ 516719 w 4501379"/>
              <a:gd name="connsiteY55" fmla="*/ 800100 h 4429294"/>
              <a:gd name="connsiteX56" fmla="*/ 650069 w 4501379"/>
              <a:gd name="connsiteY56" fmla="*/ 676275 h 4429294"/>
              <a:gd name="connsiteX57" fmla="*/ 869144 w 4501379"/>
              <a:gd name="connsiteY57" fmla="*/ 504825 h 4429294"/>
              <a:gd name="connsiteX58" fmla="*/ 1148544 w 4501379"/>
              <a:gd name="connsiteY58" fmla="*/ 311150 h 4429294"/>
              <a:gd name="connsiteX59" fmla="*/ 1507319 w 4501379"/>
              <a:gd name="connsiteY59" fmla="*/ 152400 h 4429294"/>
              <a:gd name="connsiteX60" fmla="*/ 1621619 w 4501379"/>
              <a:gd name="connsiteY60" fmla="*/ 111125 h 4429294"/>
              <a:gd name="connsiteX61" fmla="*/ 2253444 w 4501379"/>
              <a:gd name="connsiteY61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516719 w 4501379"/>
              <a:gd name="connsiteY54" fmla="*/ 800100 h 4429294"/>
              <a:gd name="connsiteX55" fmla="*/ 650069 w 4501379"/>
              <a:gd name="connsiteY55" fmla="*/ 676275 h 4429294"/>
              <a:gd name="connsiteX56" fmla="*/ 869144 w 4501379"/>
              <a:gd name="connsiteY56" fmla="*/ 504825 h 4429294"/>
              <a:gd name="connsiteX57" fmla="*/ 1148544 w 4501379"/>
              <a:gd name="connsiteY57" fmla="*/ 311150 h 4429294"/>
              <a:gd name="connsiteX58" fmla="*/ 1507319 w 4501379"/>
              <a:gd name="connsiteY58" fmla="*/ 152400 h 4429294"/>
              <a:gd name="connsiteX59" fmla="*/ 1621619 w 4501379"/>
              <a:gd name="connsiteY59" fmla="*/ 111125 h 4429294"/>
              <a:gd name="connsiteX60" fmla="*/ 2253444 w 4501379"/>
              <a:gd name="connsiteY60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69069 w 4501379"/>
              <a:gd name="connsiteY50" fmla="*/ 1152525 h 4429294"/>
              <a:gd name="connsiteX51" fmla="*/ 297644 w 4501379"/>
              <a:gd name="connsiteY51" fmla="*/ 1114425 h 4429294"/>
              <a:gd name="connsiteX52" fmla="*/ 459569 w 4501379"/>
              <a:gd name="connsiteY52" fmla="*/ 857250 h 4429294"/>
              <a:gd name="connsiteX53" fmla="*/ 516719 w 4501379"/>
              <a:gd name="connsiteY53" fmla="*/ 800100 h 4429294"/>
              <a:gd name="connsiteX54" fmla="*/ 650069 w 4501379"/>
              <a:gd name="connsiteY54" fmla="*/ 676275 h 4429294"/>
              <a:gd name="connsiteX55" fmla="*/ 869144 w 4501379"/>
              <a:gd name="connsiteY55" fmla="*/ 504825 h 4429294"/>
              <a:gd name="connsiteX56" fmla="*/ 1148544 w 4501379"/>
              <a:gd name="connsiteY56" fmla="*/ 311150 h 4429294"/>
              <a:gd name="connsiteX57" fmla="*/ 1507319 w 4501379"/>
              <a:gd name="connsiteY57" fmla="*/ 152400 h 4429294"/>
              <a:gd name="connsiteX58" fmla="*/ 1621619 w 4501379"/>
              <a:gd name="connsiteY58" fmla="*/ 111125 h 4429294"/>
              <a:gd name="connsiteX59" fmla="*/ 2253444 w 4501379"/>
              <a:gd name="connsiteY59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97644 w 4501379"/>
              <a:gd name="connsiteY50" fmla="*/ 1114425 h 4429294"/>
              <a:gd name="connsiteX51" fmla="*/ 459569 w 4501379"/>
              <a:gd name="connsiteY51" fmla="*/ 857250 h 4429294"/>
              <a:gd name="connsiteX52" fmla="*/ 516719 w 4501379"/>
              <a:gd name="connsiteY52" fmla="*/ 800100 h 4429294"/>
              <a:gd name="connsiteX53" fmla="*/ 650069 w 4501379"/>
              <a:gd name="connsiteY53" fmla="*/ 676275 h 4429294"/>
              <a:gd name="connsiteX54" fmla="*/ 869144 w 4501379"/>
              <a:gd name="connsiteY54" fmla="*/ 504825 h 4429294"/>
              <a:gd name="connsiteX55" fmla="*/ 1148544 w 4501379"/>
              <a:gd name="connsiteY55" fmla="*/ 311150 h 4429294"/>
              <a:gd name="connsiteX56" fmla="*/ 1507319 w 4501379"/>
              <a:gd name="connsiteY56" fmla="*/ 152400 h 4429294"/>
              <a:gd name="connsiteX57" fmla="*/ 1621619 w 4501379"/>
              <a:gd name="connsiteY57" fmla="*/ 111125 h 4429294"/>
              <a:gd name="connsiteX58" fmla="*/ 2253444 w 4501379"/>
              <a:gd name="connsiteY58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97644 w 4501379"/>
              <a:gd name="connsiteY49" fmla="*/ 1114425 h 4429294"/>
              <a:gd name="connsiteX50" fmla="*/ 459569 w 4501379"/>
              <a:gd name="connsiteY50" fmla="*/ 857250 h 4429294"/>
              <a:gd name="connsiteX51" fmla="*/ 516719 w 4501379"/>
              <a:gd name="connsiteY51" fmla="*/ 800100 h 4429294"/>
              <a:gd name="connsiteX52" fmla="*/ 650069 w 4501379"/>
              <a:gd name="connsiteY52" fmla="*/ 676275 h 4429294"/>
              <a:gd name="connsiteX53" fmla="*/ 869144 w 4501379"/>
              <a:gd name="connsiteY53" fmla="*/ 504825 h 4429294"/>
              <a:gd name="connsiteX54" fmla="*/ 1148544 w 4501379"/>
              <a:gd name="connsiteY54" fmla="*/ 311150 h 4429294"/>
              <a:gd name="connsiteX55" fmla="*/ 1507319 w 4501379"/>
              <a:gd name="connsiteY55" fmla="*/ 152400 h 4429294"/>
              <a:gd name="connsiteX56" fmla="*/ 1621619 w 4501379"/>
              <a:gd name="connsiteY56" fmla="*/ 111125 h 4429294"/>
              <a:gd name="connsiteX57" fmla="*/ 2253444 w 4501379"/>
              <a:gd name="connsiteY5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35719 w 4501379"/>
              <a:gd name="connsiteY46" fmla="*/ 1419225 h 4429294"/>
              <a:gd name="connsiteX47" fmla="*/ 211919 w 4501379"/>
              <a:gd name="connsiteY47" fmla="*/ 1276350 h 4429294"/>
              <a:gd name="connsiteX48" fmla="*/ 297644 w 4501379"/>
              <a:gd name="connsiteY48" fmla="*/ 1114425 h 4429294"/>
              <a:gd name="connsiteX49" fmla="*/ 459569 w 4501379"/>
              <a:gd name="connsiteY49" fmla="*/ 857250 h 4429294"/>
              <a:gd name="connsiteX50" fmla="*/ 516719 w 4501379"/>
              <a:gd name="connsiteY50" fmla="*/ 800100 h 4429294"/>
              <a:gd name="connsiteX51" fmla="*/ 650069 w 4501379"/>
              <a:gd name="connsiteY51" fmla="*/ 676275 h 4429294"/>
              <a:gd name="connsiteX52" fmla="*/ 869144 w 4501379"/>
              <a:gd name="connsiteY52" fmla="*/ 504825 h 4429294"/>
              <a:gd name="connsiteX53" fmla="*/ 1148544 w 4501379"/>
              <a:gd name="connsiteY53" fmla="*/ 311150 h 4429294"/>
              <a:gd name="connsiteX54" fmla="*/ 1507319 w 4501379"/>
              <a:gd name="connsiteY54" fmla="*/ 152400 h 4429294"/>
              <a:gd name="connsiteX55" fmla="*/ 1621619 w 4501379"/>
              <a:gd name="connsiteY55" fmla="*/ 111125 h 4429294"/>
              <a:gd name="connsiteX56" fmla="*/ 2253444 w 4501379"/>
              <a:gd name="connsiteY5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88094 w 4501379"/>
              <a:gd name="connsiteY44" fmla="*/ 1590675 h 4429294"/>
              <a:gd name="connsiteX45" fmla="*/ 135719 w 4501379"/>
              <a:gd name="connsiteY45" fmla="*/ 1419225 h 4429294"/>
              <a:gd name="connsiteX46" fmla="*/ 211919 w 4501379"/>
              <a:gd name="connsiteY46" fmla="*/ 1276350 h 4429294"/>
              <a:gd name="connsiteX47" fmla="*/ 297644 w 4501379"/>
              <a:gd name="connsiteY47" fmla="*/ 1114425 h 4429294"/>
              <a:gd name="connsiteX48" fmla="*/ 459569 w 4501379"/>
              <a:gd name="connsiteY48" fmla="*/ 857250 h 4429294"/>
              <a:gd name="connsiteX49" fmla="*/ 516719 w 4501379"/>
              <a:gd name="connsiteY49" fmla="*/ 800100 h 4429294"/>
              <a:gd name="connsiteX50" fmla="*/ 650069 w 4501379"/>
              <a:gd name="connsiteY50" fmla="*/ 676275 h 4429294"/>
              <a:gd name="connsiteX51" fmla="*/ 869144 w 4501379"/>
              <a:gd name="connsiteY51" fmla="*/ 504825 h 4429294"/>
              <a:gd name="connsiteX52" fmla="*/ 1148544 w 4501379"/>
              <a:gd name="connsiteY52" fmla="*/ 311150 h 4429294"/>
              <a:gd name="connsiteX53" fmla="*/ 1507319 w 4501379"/>
              <a:gd name="connsiteY53" fmla="*/ 152400 h 4429294"/>
              <a:gd name="connsiteX54" fmla="*/ 1621619 w 4501379"/>
              <a:gd name="connsiteY54" fmla="*/ 111125 h 4429294"/>
              <a:gd name="connsiteX55" fmla="*/ 2253444 w 4501379"/>
              <a:gd name="connsiteY5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88094 w 4501379"/>
              <a:gd name="connsiteY43" fmla="*/ 1590675 h 4429294"/>
              <a:gd name="connsiteX44" fmla="*/ 135719 w 4501379"/>
              <a:gd name="connsiteY44" fmla="*/ 1419225 h 4429294"/>
              <a:gd name="connsiteX45" fmla="*/ 211919 w 4501379"/>
              <a:gd name="connsiteY45" fmla="*/ 1276350 h 4429294"/>
              <a:gd name="connsiteX46" fmla="*/ 297644 w 4501379"/>
              <a:gd name="connsiteY46" fmla="*/ 1114425 h 4429294"/>
              <a:gd name="connsiteX47" fmla="*/ 459569 w 4501379"/>
              <a:gd name="connsiteY47" fmla="*/ 857250 h 4429294"/>
              <a:gd name="connsiteX48" fmla="*/ 516719 w 4501379"/>
              <a:gd name="connsiteY48" fmla="*/ 800100 h 4429294"/>
              <a:gd name="connsiteX49" fmla="*/ 650069 w 4501379"/>
              <a:gd name="connsiteY49" fmla="*/ 676275 h 4429294"/>
              <a:gd name="connsiteX50" fmla="*/ 869144 w 4501379"/>
              <a:gd name="connsiteY50" fmla="*/ 504825 h 4429294"/>
              <a:gd name="connsiteX51" fmla="*/ 1148544 w 4501379"/>
              <a:gd name="connsiteY51" fmla="*/ 311150 h 4429294"/>
              <a:gd name="connsiteX52" fmla="*/ 1507319 w 4501379"/>
              <a:gd name="connsiteY52" fmla="*/ 152400 h 4429294"/>
              <a:gd name="connsiteX53" fmla="*/ 1621619 w 4501379"/>
              <a:gd name="connsiteY53" fmla="*/ 111125 h 4429294"/>
              <a:gd name="connsiteX54" fmla="*/ 2253444 w 4501379"/>
              <a:gd name="connsiteY5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88094 w 4501379"/>
              <a:gd name="connsiteY42" fmla="*/ 1590675 h 4429294"/>
              <a:gd name="connsiteX43" fmla="*/ 135719 w 4501379"/>
              <a:gd name="connsiteY43" fmla="*/ 1419225 h 4429294"/>
              <a:gd name="connsiteX44" fmla="*/ 211919 w 4501379"/>
              <a:gd name="connsiteY44" fmla="*/ 1276350 h 4429294"/>
              <a:gd name="connsiteX45" fmla="*/ 297644 w 4501379"/>
              <a:gd name="connsiteY45" fmla="*/ 1114425 h 4429294"/>
              <a:gd name="connsiteX46" fmla="*/ 459569 w 4501379"/>
              <a:gd name="connsiteY46" fmla="*/ 857250 h 4429294"/>
              <a:gd name="connsiteX47" fmla="*/ 516719 w 4501379"/>
              <a:gd name="connsiteY47" fmla="*/ 800100 h 4429294"/>
              <a:gd name="connsiteX48" fmla="*/ 650069 w 4501379"/>
              <a:gd name="connsiteY48" fmla="*/ 676275 h 4429294"/>
              <a:gd name="connsiteX49" fmla="*/ 869144 w 4501379"/>
              <a:gd name="connsiteY49" fmla="*/ 504825 h 4429294"/>
              <a:gd name="connsiteX50" fmla="*/ 1148544 w 4501379"/>
              <a:gd name="connsiteY50" fmla="*/ 311150 h 4429294"/>
              <a:gd name="connsiteX51" fmla="*/ 1507319 w 4501379"/>
              <a:gd name="connsiteY51" fmla="*/ 152400 h 4429294"/>
              <a:gd name="connsiteX52" fmla="*/ 1621619 w 4501379"/>
              <a:gd name="connsiteY52" fmla="*/ 111125 h 4429294"/>
              <a:gd name="connsiteX53" fmla="*/ 2253444 w 4501379"/>
              <a:gd name="connsiteY53" fmla="*/ 12700 h 4429294"/>
              <a:gd name="connsiteX0" fmla="*/ 2277090 w 4499625"/>
              <a:gd name="connsiteY0" fmla="*/ 0 h 4429294"/>
              <a:gd name="connsiteX1" fmla="*/ 2600940 w 4499625"/>
              <a:gd name="connsiteY1" fmla="*/ 15875 h 4429294"/>
              <a:gd name="connsiteX2" fmla="*/ 2896215 w 4499625"/>
              <a:gd name="connsiteY2" fmla="*/ 85725 h 4429294"/>
              <a:gd name="connsiteX3" fmla="*/ 3115290 w 4499625"/>
              <a:gd name="connsiteY3" fmla="*/ 171450 h 4429294"/>
              <a:gd name="connsiteX4" fmla="*/ 3220065 w 4499625"/>
              <a:gd name="connsiteY4" fmla="*/ 228600 h 4429294"/>
              <a:gd name="connsiteX5" fmla="*/ 3401040 w 4499625"/>
              <a:gd name="connsiteY5" fmla="*/ 323850 h 4429294"/>
              <a:gd name="connsiteX6" fmla="*/ 3791565 w 4499625"/>
              <a:gd name="connsiteY6" fmla="*/ 581025 h 4429294"/>
              <a:gd name="connsiteX7" fmla="*/ 4007465 w 4499625"/>
              <a:gd name="connsiteY7" fmla="*/ 819150 h 4429294"/>
              <a:gd name="connsiteX8" fmla="*/ 4143990 w 4499625"/>
              <a:gd name="connsiteY8" fmla="*/ 990600 h 4429294"/>
              <a:gd name="connsiteX9" fmla="*/ 4229715 w 4499625"/>
              <a:gd name="connsiteY9" fmla="*/ 1143000 h 4429294"/>
              <a:gd name="connsiteX10" fmla="*/ 4286865 w 4499625"/>
              <a:gd name="connsiteY10" fmla="*/ 1266825 h 4429294"/>
              <a:gd name="connsiteX11" fmla="*/ 4324965 w 4499625"/>
              <a:gd name="connsiteY11" fmla="*/ 1362075 h 4429294"/>
              <a:gd name="connsiteX12" fmla="*/ 4372590 w 4499625"/>
              <a:gd name="connsiteY12" fmla="*/ 1552575 h 4429294"/>
              <a:gd name="connsiteX13" fmla="*/ 4410690 w 4499625"/>
              <a:gd name="connsiteY13" fmla="*/ 1685925 h 4429294"/>
              <a:gd name="connsiteX14" fmla="*/ 4499590 w 4499625"/>
              <a:gd name="connsiteY14" fmla="*/ 2181225 h 4429294"/>
              <a:gd name="connsiteX15" fmla="*/ 4426565 w 4499625"/>
              <a:gd name="connsiteY15" fmla="*/ 2768600 h 4429294"/>
              <a:gd name="connsiteX16" fmla="*/ 4363065 w 4499625"/>
              <a:gd name="connsiteY16" fmla="*/ 2990850 h 4429294"/>
              <a:gd name="connsiteX17" fmla="*/ 4258290 w 4499625"/>
              <a:gd name="connsiteY17" fmla="*/ 3248025 h 4429294"/>
              <a:gd name="connsiteX18" fmla="*/ 4163040 w 4499625"/>
              <a:gd name="connsiteY18" fmla="*/ 3400425 h 4429294"/>
              <a:gd name="connsiteX19" fmla="*/ 4039215 w 4499625"/>
              <a:gd name="connsiteY19" fmla="*/ 3533775 h 4429294"/>
              <a:gd name="connsiteX20" fmla="*/ 3934440 w 4499625"/>
              <a:gd name="connsiteY20" fmla="*/ 3648075 h 4429294"/>
              <a:gd name="connsiteX21" fmla="*/ 3639165 w 4499625"/>
              <a:gd name="connsiteY21" fmla="*/ 3971925 h 4429294"/>
              <a:gd name="connsiteX22" fmla="*/ 3496290 w 4499625"/>
              <a:gd name="connsiteY22" fmla="*/ 4083050 h 4429294"/>
              <a:gd name="connsiteX23" fmla="*/ 3201015 w 4499625"/>
              <a:gd name="connsiteY23" fmla="*/ 4222750 h 4429294"/>
              <a:gd name="connsiteX24" fmla="*/ 3048615 w 4499625"/>
              <a:gd name="connsiteY24" fmla="*/ 4286250 h 4429294"/>
              <a:gd name="connsiteX25" fmla="*/ 2915265 w 4499625"/>
              <a:gd name="connsiteY25" fmla="*/ 4333875 h 4429294"/>
              <a:gd name="connsiteX26" fmla="*/ 2791440 w 4499625"/>
              <a:gd name="connsiteY26" fmla="*/ 4371975 h 4429294"/>
              <a:gd name="connsiteX27" fmla="*/ 2559665 w 4499625"/>
              <a:gd name="connsiteY27" fmla="*/ 4391025 h 4429294"/>
              <a:gd name="connsiteX28" fmla="*/ 2105640 w 4499625"/>
              <a:gd name="connsiteY28" fmla="*/ 4429125 h 4429294"/>
              <a:gd name="connsiteX29" fmla="*/ 1915140 w 4499625"/>
              <a:gd name="connsiteY29" fmla="*/ 4400550 h 4429294"/>
              <a:gd name="connsiteX30" fmla="*/ 1553190 w 4499625"/>
              <a:gd name="connsiteY30" fmla="*/ 4305300 h 4429294"/>
              <a:gd name="connsiteX31" fmla="*/ 1311890 w 4499625"/>
              <a:gd name="connsiteY31" fmla="*/ 4216400 h 4429294"/>
              <a:gd name="connsiteX32" fmla="*/ 1143615 w 4499625"/>
              <a:gd name="connsiteY32" fmla="*/ 4111625 h 4429294"/>
              <a:gd name="connsiteX33" fmla="*/ 924540 w 4499625"/>
              <a:gd name="connsiteY33" fmla="*/ 3968750 h 4429294"/>
              <a:gd name="connsiteX34" fmla="*/ 591165 w 4499625"/>
              <a:gd name="connsiteY34" fmla="*/ 3657600 h 4429294"/>
              <a:gd name="connsiteX35" fmla="*/ 445115 w 4499625"/>
              <a:gd name="connsiteY35" fmla="*/ 3470275 h 4429294"/>
              <a:gd name="connsiteX36" fmla="*/ 314940 w 4499625"/>
              <a:gd name="connsiteY36" fmla="*/ 3244850 h 4429294"/>
              <a:gd name="connsiteX37" fmla="*/ 162540 w 4499625"/>
              <a:gd name="connsiteY37" fmla="*/ 2892425 h 4429294"/>
              <a:gd name="connsiteX38" fmla="*/ 54590 w 4499625"/>
              <a:gd name="connsiteY38" fmla="*/ 2368550 h 4429294"/>
              <a:gd name="connsiteX39" fmla="*/ 615 w 4499625"/>
              <a:gd name="connsiteY39" fmla="*/ 1905000 h 4429294"/>
              <a:gd name="connsiteX40" fmla="*/ 29190 w 4499625"/>
              <a:gd name="connsiteY40" fmla="*/ 1781175 h 4429294"/>
              <a:gd name="connsiteX41" fmla="*/ 86340 w 4499625"/>
              <a:gd name="connsiteY41" fmla="*/ 1590675 h 4429294"/>
              <a:gd name="connsiteX42" fmla="*/ 133965 w 4499625"/>
              <a:gd name="connsiteY42" fmla="*/ 1419225 h 4429294"/>
              <a:gd name="connsiteX43" fmla="*/ 210165 w 4499625"/>
              <a:gd name="connsiteY43" fmla="*/ 1276350 h 4429294"/>
              <a:gd name="connsiteX44" fmla="*/ 295890 w 4499625"/>
              <a:gd name="connsiteY44" fmla="*/ 1114425 h 4429294"/>
              <a:gd name="connsiteX45" fmla="*/ 457815 w 4499625"/>
              <a:gd name="connsiteY45" fmla="*/ 857250 h 4429294"/>
              <a:gd name="connsiteX46" fmla="*/ 514965 w 4499625"/>
              <a:gd name="connsiteY46" fmla="*/ 800100 h 4429294"/>
              <a:gd name="connsiteX47" fmla="*/ 648315 w 4499625"/>
              <a:gd name="connsiteY47" fmla="*/ 676275 h 4429294"/>
              <a:gd name="connsiteX48" fmla="*/ 867390 w 4499625"/>
              <a:gd name="connsiteY48" fmla="*/ 504825 h 4429294"/>
              <a:gd name="connsiteX49" fmla="*/ 1146790 w 4499625"/>
              <a:gd name="connsiteY49" fmla="*/ 311150 h 4429294"/>
              <a:gd name="connsiteX50" fmla="*/ 1505565 w 4499625"/>
              <a:gd name="connsiteY50" fmla="*/ 152400 h 4429294"/>
              <a:gd name="connsiteX51" fmla="*/ 1619865 w 4499625"/>
              <a:gd name="connsiteY51" fmla="*/ 111125 h 4429294"/>
              <a:gd name="connsiteX52" fmla="*/ 2251690 w 4499625"/>
              <a:gd name="connsiteY52" fmla="*/ 12700 h 4429294"/>
              <a:gd name="connsiteX0" fmla="*/ 2249427 w 4471962"/>
              <a:gd name="connsiteY0" fmla="*/ 0 h 4429294"/>
              <a:gd name="connsiteX1" fmla="*/ 2573277 w 4471962"/>
              <a:gd name="connsiteY1" fmla="*/ 15875 h 4429294"/>
              <a:gd name="connsiteX2" fmla="*/ 2868552 w 4471962"/>
              <a:gd name="connsiteY2" fmla="*/ 85725 h 4429294"/>
              <a:gd name="connsiteX3" fmla="*/ 3087627 w 4471962"/>
              <a:gd name="connsiteY3" fmla="*/ 171450 h 4429294"/>
              <a:gd name="connsiteX4" fmla="*/ 3192402 w 4471962"/>
              <a:gd name="connsiteY4" fmla="*/ 228600 h 4429294"/>
              <a:gd name="connsiteX5" fmla="*/ 3373377 w 4471962"/>
              <a:gd name="connsiteY5" fmla="*/ 323850 h 4429294"/>
              <a:gd name="connsiteX6" fmla="*/ 3763902 w 4471962"/>
              <a:gd name="connsiteY6" fmla="*/ 581025 h 4429294"/>
              <a:gd name="connsiteX7" fmla="*/ 3979802 w 4471962"/>
              <a:gd name="connsiteY7" fmla="*/ 819150 h 4429294"/>
              <a:gd name="connsiteX8" fmla="*/ 4116327 w 4471962"/>
              <a:gd name="connsiteY8" fmla="*/ 990600 h 4429294"/>
              <a:gd name="connsiteX9" fmla="*/ 4202052 w 4471962"/>
              <a:gd name="connsiteY9" fmla="*/ 1143000 h 4429294"/>
              <a:gd name="connsiteX10" fmla="*/ 4259202 w 4471962"/>
              <a:gd name="connsiteY10" fmla="*/ 1266825 h 4429294"/>
              <a:gd name="connsiteX11" fmla="*/ 4297302 w 4471962"/>
              <a:gd name="connsiteY11" fmla="*/ 1362075 h 4429294"/>
              <a:gd name="connsiteX12" fmla="*/ 4344927 w 4471962"/>
              <a:gd name="connsiteY12" fmla="*/ 1552575 h 4429294"/>
              <a:gd name="connsiteX13" fmla="*/ 4383027 w 4471962"/>
              <a:gd name="connsiteY13" fmla="*/ 1685925 h 4429294"/>
              <a:gd name="connsiteX14" fmla="*/ 4471927 w 4471962"/>
              <a:gd name="connsiteY14" fmla="*/ 2181225 h 4429294"/>
              <a:gd name="connsiteX15" fmla="*/ 4398902 w 4471962"/>
              <a:gd name="connsiteY15" fmla="*/ 2768600 h 4429294"/>
              <a:gd name="connsiteX16" fmla="*/ 4335402 w 4471962"/>
              <a:gd name="connsiteY16" fmla="*/ 2990850 h 4429294"/>
              <a:gd name="connsiteX17" fmla="*/ 4230627 w 4471962"/>
              <a:gd name="connsiteY17" fmla="*/ 3248025 h 4429294"/>
              <a:gd name="connsiteX18" fmla="*/ 4135377 w 4471962"/>
              <a:gd name="connsiteY18" fmla="*/ 3400425 h 4429294"/>
              <a:gd name="connsiteX19" fmla="*/ 4011552 w 4471962"/>
              <a:gd name="connsiteY19" fmla="*/ 3533775 h 4429294"/>
              <a:gd name="connsiteX20" fmla="*/ 3906777 w 4471962"/>
              <a:gd name="connsiteY20" fmla="*/ 3648075 h 4429294"/>
              <a:gd name="connsiteX21" fmla="*/ 3611502 w 4471962"/>
              <a:gd name="connsiteY21" fmla="*/ 3971925 h 4429294"/>
              <a:gd name="connsiteX22" fmla="*/ 3468627 w 4471962"/>
              <a:gd name="connsiteY22" fmla="*/ 4083050 h 4429294"/>
              <a:gd name="connsiteX23" fmla="*/ 3173352 w 4471962"/>
              <a:gd name="connsiteY23" fmla="*/ 4222750 h 4429294"/>
              <a:gd name="connsiteX24" fmla="*/ 3020952 w 4471962"/>
              <a:gd name="connsiteY24" fmla="*/ 4286250 h 4429294"/>
              <a:gd name="connsiteX25" fmla="*/ 2887602 w 4471962"/>
              <a:gd name="connsiteY25" fmla="*/ 4333875 h 4429294"/>
              <a:gd name="connsiteX26" fmla="*/ 2763777 w 4471962"/>
              <a:gd name="connsiteY26" fmla="*/ 4371975 h 4429294"/>
              <a:gd name="connsiteX27" fmla="*/ 2532002 w 4471962"/>
              <a:gd name="connsiteY27" fmla="*/ 4391025 h 4429294"/>
              <a:gd name="connsiteX28" fmla="*/ 2077977 w 4471962"/>
              <a:gd name="connsiteY28" fmla="*/ 4429125 h 4429294"/>
              <a:gd name="connsiteX29" fmla="*/ 1887477 w 4471962"/>
              <a:gd name="connsiteY29" fmla="*/ 4400550 h 4429294"/>
              <a:gd name="connsiteX30" fmla="*/ 1525527 w 4471962"/>
              <a:gd name="connsiteY30" fmla="*/ 4305300 h 4429294"/>
              <a:gd name="connsiteX31" fmla="*/ 1284227 w 4471962"/>
              <a:gd name="connsiteY31" fmla="*/ 4216400 h 4429294"/>
              <a:gd name="connsiteX32" fmla="*/ 1115952 w 4471962"/>
              <a:gd name="connsiteY32" fmla="*/ 4111625 h 4429294"/>
              <a:gd name="connsiteX33" fmla="*/ 896877 w 4471962"/>
              <a:gd name="connsiteY33" fmla="*/ 3968750 h 4429294"/>
              <a:gd name="connsiteX34" fmla="*/ 563502 w 4471962"/>
              <a:gd name="connsiteY34" fmla="*/ 3657600 h 4429294"/>
              <a:gd name="connsiteX35" fmla="*/ 417452 w 4471962"/>
              <a:gd name="connsiteY35" fmla="*/ 3470275 h 4429294"/>
              <a:gd name="connsiteX36" fmla="*/ 287277 w 4471962"/>
              <a:gd name="connsiteY36" fmla="*/ 3244850 h 4429294"/>
              <a:gd name="connsiteX37" fmla="*/ 134877 w 4471962"/>
              <a:gd name="connsiteY37" fmla="*/ 2892425 h 4429294"/>
              <a:gd name="connsiteX38" fmla="*/ 26927 w 4471962"/>
              <a:gd name="connsiteY38" fmla="*/ 2368550 h 4429294"/>
              <a:gd name="connsiteX39" fmla="*/ 1527 w 4471962"/>
              <a:gd name="connsiteY39" fmla="*/ 1781175 h 4429294"/>
              <a:gd name="connsiteX40" fmla="*/ 58677 w 4471962"/>
              <a:gd name="connsiteY40" fmla="*/ 1590675 h 4429294"/>
              <a:gd name="connsiteX41" fmla="*/ 106302 w 4471962"/>
              <a:gd name="connsiteY41" fmla="*/ 1419225 h 4429294"/>
              <a:gd name="connsiteX42" fmla="*/ 182502 w 4471962"/>
              <a:gd name="connsiteY42" fmla="*/ 1276350 h 4429294"/>
              <a:gd name="connsiteX43" fmla="*/ 268227 w 4471962"/>
              <a:gd name="connsiteY43" fmla="*/ 1114425 h 4429294"/>
              <a:gd name="connsiteX44" fmla="*/ 430152 w 4471962"/>
              <a:gd name="connsiteY44" fmla="*/ 857250 h 4429294"/>
              <a:gd name="connsiteX45" fmla="*/ 487302 w 4471962"/>
              <a:gd name="connsiteY45" fmla="*/ 800100 h 4429294"/>
              <a:gd name="connsiteX46" fmla="*/ 620652 w 4471962"/>
              <a:gd name="connsiteY46" fmla="*/ 676275 h 4429294"/>
              <a:gd name="connsiteX47" fmla="*/ 839727 w 4471962"/>
              <a:gd name="connsiteY47" fmla="*/ 504825 h 4429294"/>
              <a:gd name="connsiteX48" fmla="*/ 1119127 w 4471962"/>
              <a:gd name="connsiteY48" fmla="*/ 311150 h 4429294"/>
              <a:gd name="connsiteX49" fmla="*/ 1477902 w 4471962"/>
              <a:gd name="connsiteY49" fmla="*/ 152400 h 4429294"/>
              <a:gd name="connsiteX50" fmla="*/ 1592202 w 4471962"/>
              <a:gd name="connsiteY50" fmla="*/ 111125 h 4429294"/>
              <a:gd name="connsiteX51" fmla="*/ 2224027 w 4471962"/>
              <a:gd name="connsiteY51" fmla="*/ 12700 h 4429294"/>
              <a:gd name="connsiteX0" fmla="*/ 2231942 w 4454477"/>
              <a:gd name="connsiteY0" fmla="*/ 0 h 4429294"/>
              <a:gd name="connsiteX1" fmla="*/ 2555792 w 4454477"/>
              <a:gd name="connsiteY1" fmla="*/ 15875 h 4429294"/>
              <a:gd name="connsiteX2" fmla="*/ 2851067 w 4454477"/>
              <a:gd name="connsiteY2" fmla="*/ 85725 h 4429294"/>
              <a:gd name="connsiteX3" fmla="*/ 3070142 w 4454477"/>
              <a:gd name="connsiteY3" fmla="*/ 171450 h 4429294"/>
              <a:gd name="connsiteX4" fmla="*/ 3174917 w 4454477"/>
              <a:gd name="connsiteY4" fmla="*/ 228600 h 4429294"/>
              <a:gd name="connsiteX5" fmla="*/ 3355892 w 4454477"/>
              <a:gd name="connsiteY5" fmla="*/ 323850 h 4429294"/>
              <a:gd name="connsiteX6" fmla="*/ 3746417 w 4454477"/>
              <a:gd name="connsiteY6" fmla="*/ 581025 h 4429294"/>
              <a:gd name="connsiteX7" fmla="*/ 3962317 w 4454477"/>
              <a:gd name="connsiteY7" fmla="*/ 819150 h 4429294"/>
              <a:gd name="connsiteX8" fmla="*/ 4098842 w 4454477"/>
              <a:gd name="connsiteY8" fmla="*/ 990600 h 4429294"/>
              <a:gd name="connsiteX9" fmla="*/ 4184567 w 4454477"/>
              <a:gd name="connsiteY9" fmla="*/ 1143000 h 4429294"/>
              <a:gd name="connsiteX10" fmla="*/ 4241717 w 4454477"/>
              <a:gd name="connsiteY10" fmla="*/ 1266825 h 4429294"/>
              <a:gd name="connsiteX11" fmla="*/ 4279817 w 4454477"/>
              <a:gd name="connsiteY11" fmla="*/ 1362075 h 4429294"/>
              <a:gd name="connsiteX12" fmla="*/ 4327442 w 4454477"/>
              <a:gd name="connsiteY12" fmla="*/ 1552575 h 4429294"/>
              <a:gd name="connsiteX13" fmla="*/ 4365542 w 4454477"/>
              <a:gd name="connsiteY13" fmla="*/ 1685925 h 4429294"/>
              <a:gd name="connsiteX14" fmla="*/ 4454442 w 4454477"/>
              <a:gd name="connsiteY14" fmla="*/ 2181225 h 4429294"/>
              <a:gd name="connsiteX15" fmla="*/ 4381417 w 4454477"/>
              <a:gd name="connsiteY15" fmla="*/ 2768600 h 4429294"/>
              <a:gd name="connsiteX16" fmla="*/ 4317917 w 4454477"/>
              <a:gd name="connsiteY16" fmla="*/ 2990850 h 4429294"/>
              <a:gd name="connsiteX17" fmla="*/ 4213142 w 4454477"/>
              <a:gd name="connsiteY17" fmla="*/ 3248025 h 4429294"/>
              <a:gd name="connsiteX18" fmla="*/ 4117892 w 4454477"/>
              <a:gd name="connsiteY18" fmla="*/ 3400425 h 4429294"/>
              <a:gd name="connsiteX19" fmla="*/ 3994067 w 4454477"/>
              <a:gd name="connsiteY19" fmla="*/ 3533775 h 4429294"/>
              <a:gd name="connsiteX20" fmla="*/ 3889292 w 4454477"/>
              <a:gd name="connsiteY20" fmla="*/ 3648075 h 4429294"/>
              <a:gd name="connsiteX21" fmla="*/ 3594017 w 4454477"/>
              <a:gd name="connsiteY21" fmla="*/ 3971925 h 4429294"/>
              <a:gd name="connsiteX22" fmla="*/ 3451142 w 4454477"/>
              <a:gd name="connsiteY22" fmla="*/ 4083050 h 4429294"/>
              <a:gd name="connsiteX23" fmla="*/ 3155867 w 4454477"/>
              <a:gd name="connsiteY23" fmla="*/ 4222750 h 4429294"/>
              <a:gd name="connsiteX24" fmla="*/ 3003467 w 4454477"/>
              <a:gd name="connsiteY24" fmla="*/ 4286250 h 4429294"/>
              <a:gd name="connsiteX25" fmla="*/ 2870117 w 4454477"/>
              <a:gd name="connsiteY25" fmla="*/ 4333875 h 4429294"/>
              <a:gd name="connsiteX26" fmla="*/ 2746292 w 4454477"/>
              <a:gd name="connsiteY26" fmla="*/ 4371975 h 4429294"/>
              <a:gd name="connsiteX27" fmla="*/ 2514517 w 4454477"/>
              <a:gd name="connsiteY27" fmla="*/ 4391025 h 4429294"/>
              <a:gd name="connsiteX28" fmla="*/ 2060492 w 4454477"/>
              <a:gd name="connsiteY28" fmla="*/ 4429125 h 4429294"/>
              <a:gd name="connsiteX29" fmla="*/ 1869992 w 4454477"/>
              <a:gd name="connsiteY29" fmla="*/ 4400550 h 4429294"/>
              <a:gd name="connsiteX30" fmla="*/ 1508042 w 4454477"/>
              <a:gd name="connsiteY30" fmla="*/ 4305300 h 4429294"/>
              <a:gd name="connsiteX31" fmla="*/ 1266742 w 4454477"/>
              <a:gd name="connsiteY31" fmla="*/ 4216400 h 4429294"/>
              <a:gd name="connsiteX32" fmla="*/ 1098467 w 4454477"/>
              <a:gd name="connsiteY32" fmla="*/ 4111625 h 4429294"/>
              <a:gd name="connsiteX33" fmla="*/ 879392 w 4454477"/>
              <a:gd name="connsiteY33" fmla="*/ 3968750 h 4429294"/>
              <a:gd name="connsiteX34" fmla="*/ 546017 w 4454477"/>
              <a:gd name="connsiteY34" fmla="*/ 3657600 h 4429294"/>
              <a:gd name="connsiteX35" fmla="*/ 399967 w 4454477"/>
              <a:gd name="connsiteY35" fmla="*/ 3470275 h 4429294"/>
              <a:gd name="connsiteX36" fmla="*/ 269792 w 4454477"/>
              <a:gd name="connsiteY36" fmla="*/ 3244850 h 4429294"/>
              <a:gd name="connsiteX37" fmla="*/ 117392 w 4454477"/>
              <a:gd name="connsiteY37" fmla="*/ 2892425 h 4429294"/>
              <a:gd name="connsiteX38" fmla="*/ 9442 w 4454477"/>
              <a:gd name="connsiteY38" fmla="*/ 2368550 h 4429294"/>
              <a:gd name="connsiteX39" fmla="*/ 15792 w 4454477"/>
              <a:gd name="connsiteY39" fmla="*/ 1870075 h 4429294"/>
              <a:gd name="connsiteX40" fmla="*/ 41192 w 4454477"/>
              <a:gd name="connsiteY40" fmla="*/ 1590675 h 4429294"/>
              <a:gd name="connsiteX41" fmla="*/ 88817 w 4454477"/>
              <a:gd name="connsiteY41" fmla="*/ 1419225 h 4429294"/>
              <a:gd name="connsiteX42" fmla="*/ 165017 w 4454477"/>
              <a:gd name="connsiteY42" fmla="*/ 1276350 h 4429294"/>
              <a:gd name="connsiteX43" fmla="*/ 250742 w 4454477"/>
              <a:gd name="connsiteY43" fmla="*/ 1114425 h 4429294"/>
              <a:gd name="connsiteX44" fmla="*/ 412667 w 4454477"/>
              <a:gd name="connsiteY44" fmla="*/ 857250 h 4429294"/>
              <a:gd name="connsiteX45" fmla="*/ 469817 w 4454477"/>
              <a:gd name="connsiteY45" fmla="*/ 800100 h 4429294"/>
              <a:gd name="connsiteX46" fmla="*/ 603167 w 4454477"/>
              <a:gd name="connsiteY46" fmla="*/ 676275 h 4429294"/>
              <a:gd name="connsiteX47" fmla="*/ 822242 w 4454477"/>
              <a:gd name="connsiteY47" fmla="*/ 504825 h 4429294"/>
              <a:gd name="connsiteX48" fmla="*/ 1101642 w 4454477"/>
              <a:gd name="connsiteY48" fmla="*/ 311150 h 4429294"/>
              <a:gd name="connsiteX49" fmla="*/ 1460417 w 4454477"/>
              <a:gd name="connsiteY49" fmla="*/ 152400 h 4429294"/>
              <a:gd name="connsiteX50" fmla="*/ 1574717 w 4454477"/>
              <a:gd name="connsiteY50" fmla="*/ 111125 h 4429294"/>
              <a:gd name="connsiteX51" fmla="*/ 2206542 w 4454477"/>
              <a:gd name="connsiteY51" fmla="*/ 12700 h 4429294"/>
              <a:gd name="connsiteX0" fmla="*/ 2233750 w 4456285"/>
              <a:gd name="connsiteY0" fmla="*/ 0 h 4429294"/>
              <a:gd name="connsiteX1" fmla="*/ 2557600 w 4456285"/>
              <a:gd name="connsiteY1" fmla="*/ 15875 h 4429294"/>
              <a:gd name="connsiteX2" fmla="*/ 2852875 w 4456285"/>
              <a:gd name="connsiteY2" fmla="*/ 85725 h 4429294"/>
              <a:gd name="connsiteX3" fmla="*/ 3071950 w 4456285"/>
              <a:gd name="connsiteY3" fmla="*/ 171450 h 4429294"/>
              <a:gd name="connsiteX4" fmla="*/ 3176725 w 4456285"/>
              <a:gd name="connsiteY4" fmla="*/ 228600 h 4429294"/>
              <a:gd name="connsiteX5" fmla="*/ 3357700 w 4456285"/>
              <a:gd name="connsiteY5" fmla="*/ 323850 h 4429294"/>
              <a:gd name="connsiteX6" fmla="*/ 3748225 w 4456285"/>
              <a:gd name="connsiteY6" fmla="*/ 581025 h 4429294"/>
              <a:gd name="connsiteX7" fmla="*/ 3964125 w 4456285"/>
              <a:gd name="connsiteY7" fmla="*/ 819150 h 4429294"/>
              <a:gd name="connsiteX8" fmla="*/ 4100650 w 4456285"/>
              <a:gd name="connsiteY8" fmla="*/ 990600 h 4429294"/>
              <a:gd name="connsiteX9" fmla="*/ 4186375 w 4456285"/>
              <a:gd name="connsiteY9" fmla="*/ 1143000 h 4429294"/>
              <a:gd name="connsiteX10" fmla="*/ 4243525 w 4456285"/>
              <a:gd name="connsiteY10" fmla="*/ 1266825 h 4429294"/>
              <a:gd name="connsiteX11" fmla="*/ 4281625 w 4456285"/>
              <a:gd name="connsiteY11" fmla="*/ 1362075 h 4429294"/>
              <a:gd name="connsiteX12" fmla="*/ 4329250 w 4456285"/>
              <a:gd name="connsiteY12" fmla="*/ 1552575 h 4429294"/>
              <a:gd name="connsiteX13" fmla="*/ 4367350 w 4456285"/>
              <a:gd name="connsiteY13" fmla="*/ 1685925 h 4429294"/>
              <a:gd name="connsiteX14" fmla="*/ 4456250 w 4456285"/>
              <a:gd name="connsiteY14" fmla="*/ 2181225 h 4429294"/>
              <a:gd name="connsiteX15" fmla="*/ 4383225 w 4456285"/>
              <a:gd name="connsiteY15" fmla="*/ 2768600 h 4429294"/>
              <a:gd name="connsiteX16" fmla="*/ 4319725 w 4456285"/>
              <a:gd name="connsiteY16" fmla="*/ 2990850 h 4429294"/>
              <a:gd name="connsiteX17" fmla="*/ 4214950 w 4456285"/>
              <a:gd name="connsiteY17" fmla="*/ 3248025 h 4429294"/>
              <a:gd name="connsiteX18" fmla="*/ 4119700 w 4456285"/>
              <a:gd name="connsiteY18" fmla="*/ 3400425 h 4429294"/>
              <a:gd name="connsiteX19" fmla="*/ 3995875 w 4456285"/>
              <a:gd name="connsiteY19" fmla="*/ 3533775 h 4429294"/>
              <a:gd name="connsiteX20" fmla="*/ 3891100 w 4456285"/>
              <a:gd name="connsiteY20" fmla="*/ 3648075 h 4429294"/>
              <a:gd name="connsiteX21" fmla="*/ 3595825 w 4456285"/>
              <a:gd name="connsiteY21" fmla="*/ 3971925 h 4429294"/>
              <a:gd name="connsiteX22" fmla="*/ 3452950 w 4456285"/>
              <a:gd name="connsiteY22" fmla="*/ 4083050 h 4429294"/>
              <a:gd name="connsiteX23" fmla="*/ 3157675 w 4456285"/>
              <a:gd name="connsiteY23" fmla="*/ 4222750 h 4429294"/>
              <a:gd name="connsiteX24" fmla="*/ 3005275 w 4456285"/>
              <a:gd name="connsiteY24" fmla="*/ 4286250 h 4429294"/>
              <a:gd name="connsiteX25" fmla="*/ 2871925 w 4456285"/>
              <a:gd name="connsiteY25" fmla="*/ 4333875 h 4429294"/>
              <a:gd name="connsiteX26" fmla="*/ 2748100 w 4456285"/>
              <a:gd name="connsiteY26" fmla="*/ 4371975 h 4429294"/>
              <a:gd name="connsiteX27" fmla="*/ 2516325 w 4456285"/>
              <a:gd name="connsiteY27" fmla="*/ 4391025 h 4429294"/>
              <a:gd name="connsiteX28" fmla="*/ 2062300 w 4456285"/>
              <a:gd name="connsiteY28" fmla="*/ 4429125 h 4429294"/>
              <a:gd name="connsiteX29" fmla="*/ 1871800 w 4456285"/>
              <a:gd name="connsiteY29" fmla="*/ 4400550 h 4429294"/>
              <a:gd name="connsiteX30" fmla="*/ 1509850 w 4456285"/>
              <a:gd name="connsiteY30" fmla="*/ 4305300 h 4429294"/>
              <a:gd name="connsiteX31" fmla="*/ 1268550 w 4456285"/>
              <a:gd name="connsiteY31" fmla="*/ 4216400 h 4429294"/>
              <a:gd name="connsiteX32" fmla="*/ 1100275 w 4456285"/>
              <a:gd name="connsiteY32" fmla="*/ 4111625 h 4429294"/>
              <a:gd name="connsiteX33" fmla="*/ 881200 w 4456285"/>
              <a:gd name="connsiteY33" fmla="*/ 3968750 h 4429294"/>
              <a:gd name="connsiteX34" fmla="*/ 547825 w 4456285"/>
              <a:gd name="connsiteY34" fmla="*/ 3657600 h 4429294"/>
              <a:gd name="connsiteX35" fmla="*/ 401775 w 4456285"/>
              <a:gd name="connsiteY35" fmla="*/ 3470275 h 4429294"/>
              <a:gd name="connsiteX36" fmla="*/ 271600 w 4456285"/>
              <a:gd name="connsiteY36" fmla="*/ 3244850 h 4429294"/>
              <a:gd name="connsiteX37" fmla="*/ 119200 w 4456285"/>
              <a:gd name="connsiteY37" fmla="*/ 2892425 h 4429294"/>
              <a:gd name="connsiteX38" fmla="*/ 11250 w 4456285"/>
              <a:gd name="connsiteY38" fmla="*/ 2368550 h 4429294"/>
              <a:gd name="connsiteX39" fmla="*/ 17600 w 4456285"/>
              <a:gd name="connsiteY39" fmla="*/ 1870075 h 4429294"/>
              <a:gd name="connsiteX40" fmla="*/ 90625 w 4456285"/>
              <a:gd name="connsiteY40" fmla="*/ 1419225 h 4429294"/>
              <a:gd name="connsiteX41" fmla="*/ 166825 w 4456285"/>
              <a:gd name="connsiteY41" fmla="*/ 1276350 h 4429294"/>
              <a:gd name="connsiteX42" fmla="*/ 252550 w 4456285"/>
              <a:gd name="connsiteY42" fmla="*/ 1114425 h 4429294"/>
              <a:gd name="connsiteX43" fmla="*/ 414475 w 4456285"/>
              <a:gd name="connsiteY43" fmla="*/ 857250 h 4429294"/>
              <a:gd name="connsiteX44" fmla="*/ 471625 w 4456285"/>
              <a:gd name="connsiteY44" fmla="*/ 800100 h 4429294"/>
              <a:gd name="connsiteX45" fmla="*/ 604975 w 4456285"/>
              <a:gd name="connsiteY45" fmla="*/ 676275 h 4429294"/>
              <a:gd name="connsiteX46" fmla="*/ 824050 w 4456285"/>
              <a:gd name="connsiteY46" fmla="*/ 504825 h 4429294"/>
              <a:gd name="connsiteX47" fmla="*/ 1103450 w 4456285"/>
              <a:gd name="connsiteY47" fmla="*/ 311150 h 4429294"/>
              <a:gd name="connsiteX48" fmla="*/ 1462225 w 4456285"/>
              <a:gd name="connsiteY48" fmla="*/ 152400 h 4429294"/>
              <a:gd name="connsiteX49" fmla="*/ 1576525 w 4456285"/>
              <a:gd name="connsiteY49" fmla="*/ 111125 h 4429294"/>
              <a:gd name="connsiteX50" fmla="*/ 2208350 w 4456285"/>
              <a:gd name="connsiteY50" fmla="*/ 12700 h 4429294"/>
              <a:gd name="connsiteX0" fmla="*/ 2237540 w 4460075"/>
              <a:gd name="connsiteY0" fmla="*/ 0 h 4429294"/>
              <a:gd name="connsiteX1" fmla="*/ 2561390 w 4460075"/>
              <a:gd name="connsiteY1" fmla="*/ 15875 h 4429294"/>
              <a:gd name="connsiteX2" fmla="*/ 2856665 w 4460075"/>
              <a:gd name="connsiteY2" fmla="*/ 85725 h 4429294"/>
              <a:gd name="connsiteX3" fmla="*/ 3075740 w 4460075"/>
              <a:gd name="connsiteY3" fmla="*/ 171450 h 4429294"/>
              <a:gd name="connsiteX4" fmla="*/ 3180515 w 4460075"/>
              <a:gd name="connsiteY4" fmla="*/ 228600 h 4429294"/>
              <a:gd name="connsiteX5" fmla="*/ 3361490 w 4460075"/>
              <a:gd name="connsiteY5" fmla="*/ 323850 h 4429294"/>
              <a:gd name="connsiteX6" fmla="*/ 3752015 w 4460075"/>
              <a:gd name="connsiteY6" fmla="*/ 581025 h 4429294"/>
              <a:gd name="connsiteX7" fmla="*/ 3967915 w 4460075"/>
              <a:gd name="connsiteY7" fmla="*/ 819150 h 4429294"/>
              <a:gd name="connsiteX8" fmla="*/ 4104440 w 4460075"/>
              <a:gd name="connsiteY8" fmla="*/ 990600 h 4429294"/>
              <a:gd name="connsiteX9" fmla="*/ 4190165 w 4460075"/>
              <a:gd name="connsiteY9" fmla="*/ 1143000 h 4429294"/>
              <a:gd name="connsiteX10" fmla="*/ 4247315 w 4460075"/>
              <a:gd name="connsiteY10" fmla="*/ 1266825 h 4429294"/>
              <a:gd name="connsiteX11" fmla="*/ 4285415 w 4460075"/>
              <a:gd name="connsiteY11" fmla="*/ 1362075 h 4429294"/>
              <a:gd name="connsiteX12" fmla="*/ 4333040 w 4460075"/>
              <a:gd name="connsiteY12" fmla="*/ 1552575 h 4429294"/>
              <a:gd name="connsiteX13" fmla="*/ 4371140 w 4460075"/>
              <a:gd name="connsiteY13" fmla="*/ 1685925 h 4429294"/>
              <a:gd name="connsiteX14" fmla="*/ 4460040 w 4460075"/>
              <a:gd name="connsiteY14" fmla="*/ 2181225 h 4429294"/>
              <a:gd name="connsiteX15" fmla="*/ 4387015 w 4460075"/>
              <a:gd name="connsiteY15" fmla="*/ 2768600 h 4429294"/>
              <a:gd name="connsiteX16" fmla="*/ 4323515 w 4460075"/>
              <a:gd name="connsiteY16" fmla="*/ 2990850 h 4429294"/>
              <a:gd name="connsiteX17" fmla="*/ 4218740 w 4460075"/>
              <a:gd name="connsiteY17" fmla="*/ 3248025 h 4429294"/>
              <a:gd name="connsiteX18" fmla="*/ 4123490 w 4460075"/>
              <a:gd name="connsiteY18" fmla="*/ 3400425 h 4429294"/>
              <a:gd name="connsiteX19" fmla="*/ 3999665 w 4460075"/>
              <a:gd name="connsiteY19" fmla="*/ 3533775 h 4429294"/>
              <a:gd name="connsiteX20" fmla="*/ 3894890 w 4460075"/>
              <a:gd name="connsiteY20" fmla="*/ 3648075 h 4429294"/>
              <a:gd name="connsiteX21" fmla="*/ 3599615 w 4460075"/>
              <a:gd name="connsiteY21" fmla="*/ 3971925 h 4429294"/>
              <a:gd name="connsiteX22" fmla="*/ 3456740 w 4460075"/>
              <a:gd name="connsiteY22" fmla="*/ 4083050 h 4429294"/>
              <a:gd name="connsiteX23" fmla="*/ 3161465 w 4460075"/>
              <a:gd name="connsiteY23" fmla="*/ 4222750 h 4429294"/>
              <a:gd name="connsiteX24" fmla="*/ 3009065 w 4460075"/>
              <a:gd name="connsiteY24" fmla="*/ 4286250 h 4429294"/>
              <a:gd name="connsiteX25" fmla="*/ 2875715 w 4460075"/>
              <a:gd name="connsiteY25" fmla="*/ 4333875 h 4429294"/>
              <a:gd name="connsiteX26" fmla="*/ 2751890 w 4460075"/>
              <a:gd name="connsiteY26" fmla="*/ 4371975 h 4429294"/>
              <a:gd name="connsiteX27" fmla="*/ 2520115 w 4460075"/>
              <a:gd name="connsiteY27" fmla="*/ 4391025 h 4429294"/>
              <a:gd name="connsiteX28" fmla="*/ 2066090 w 4460075"/>
              <a:gd name="connsiteY28" fmla="*/ 4429125 h 4429294"/>
              <a:gd name="connsiteX29" fmla="*/ 1875590 w 4460075"/>
              <a:gd name="connsiteY29" fmla="*/ 4400550 h 4429294"/>
              <a:gd name="connsiteX30" fmla="*/ 1513640 w 4460075"/>
              <a:gd name="connsiteY30" fmla="*/ 4305300 h 4429294"/>
              <a:gd name="connsiteX31" fmla="*/ 1272340 w 4460075"/>
              <a:gd name="connsiteY31" fmla="*/ 4216400 h 4429294"/>
              <a:gd name="connsiteX32" fmla="*/ 1104065 w 4460075"/>
              <a:gd name="connsiteY32" fmla="*/ 4111625 h 4429294"/>
              <a:gd name="connsiteX33" fmla="*/ 884990 w 4460075"/>
              <a:gd name="connsiteY33" fmla="*/ 3968750 h 4429294"/>
              <a:gd name="connsiteX34" fmla="*/ 551615 w 4460075"/>
              <a:gd name="connsiteY34" fmla="*/ 3657600 h 4429294"/>
              <a:gd name="connsiteX35" fmla="*/ 405565 w 4460075"/>
              <a:gd name="connsiteY35" fmla="*/ 3470275 h 4429294"/>
              <a:gd name="connsiteX36" fmla="*/ 275390 w 4460075"/>
              <a:gd name="connsiteY36" fmla="*/ 3244850 h 4429294"/>
              <a:gd name="connsiteX37" fmla="*/ 122990 w 4460075"/>
              <a:gd name="connsiteY37" fmla="*/ 2892425 h 4429294"/>
              <a:gd name="connsiteX38" fmla="*/ 15040 w 4460075"/>
              <a:gd name="connsiteY38" fmla="*/ 2368550 h 4429294"/>
              <a:gd name="connsiteX39" fmla="*/ 21390 w 4460075"/>
              <a:gd name="connsiteY39" fmla="*/ 1870075 h 4429294"/>
              <a:gd name="connsiteX40" fmla="*/ 170615 w 4460075"/>
              <a:gd name="connsiteY40" fmla="*/ 1276350 h 4429294"/>
              <a:gd name="connsiteX41" fmla="*/ 256340 w 4460075"/>
              <a:gd name="connsiteY41" fmla="*/ 1114425 h 4429294"/>
              <a:gd name="connsiteX42" fmla="*/ 418265 w 4460075"/>
              <a:gd name="connsiteY42" fmla="*/ 857250 h 4429294"/>
              <a:gd name="connsiteX43" fmla="*/ 475415 w 4460075"/>
              <a:gd name="connsiteY43" fmla="*/ 800100 h 4429294"/>
              <a:gd name="connsiteX44" fmla="*/ 608765 w 4460075"/>
              <a:gd name="connsiteY44" fmla="*/ 676275 h 4429294"/>
              <a:gd name="connsiteX45" fmla="*/ 827840 w 4460075"/>
              <a:gd name="connsiteY45" fmla="*/ 504825 h 4429294"/>
              <a:gd name="connsiteX46" fmla="*/ 1107240 w 4460075"/>
              <a:gd name="connsiteY46" fmla="*/ 311150 h 4429294"/>
              <a:gd name="connsiteX47" fmla="*/ 1466015 w 4460075"/>
              <a:gd name="connsiteY47" fmla="*/ 152400 h 4429294"/>
              <a:gd name="connsiteX48" fmla="*/ 1580315 w 4460075"/>
              <a:gd name="connsiteY48" fmla="*/ 111125 h 4429294"/>
              <a:gd name="connsiteX49" fmla="*/ 2212140 w 4460075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5706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76140 w 4460800"/>
              <a:gd name="connsiteY42" fmla="*/ 800100 h 4429294"/>
              <a:gd name="connsiteX43" fmla="*/ 609490 w 4460800"/>
              <a:gd name="connsiteY43" fmla="*/ 676275 h 4429294"/>
              <a:gd name="connsiteX44" fmla="*/ 828565 w 4460800"/>
              <a:gd name="connsiteY44" fmla="*/ 504825 h 4429294"/>
              <a:gd name="connsiteX45" fmla="*/ 1107965 w 4460800"/>
              <a:gd name="connsiteY45" fmla="*/ 311150 h 4429294"/>
              <a:gd name="connsiteX46" fmla="*/ 1466740 w 4460800"/>
              <a:gd name="connsiteY46" fmla="*/ 152400 h 4429294"/>
              <a:gd name="connsiteX47" fmla="*/ 1581040 w 4460800"/>
              <a:gd name="connsiteY47" fmla="*/ 111125 h 4429294"/>
              <a:gd name="connsiteX48" fmla="*/ 2212865 w 4460800"/>
              <a:gd name="connsiteY48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48" fmla="*/ 2238265 w 4460800"/>
              <a:gd name="connsiteY48" fmla="*/ 0 h 4429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460800" h="4429294">
                <a:moveTo>
                  <a:pt x="2238265" y="0"/>
                </a:moveTo>
                <a:cubicBezTo>
                  <a:pt x="2346215" y="5292"/>
                  <a:pt x="2458928" y="1588"/>
                  <a:pt x="2562115" y="15875"/>
                </a:cubicBezTo>
                <a:cubicBezTo>
                  <a:pt x="2665302" y="30162"/>
                  <a:pt x="2798653" y="69321"/>
                  <a:pt x="2857390" y="85725"/>
                </a:cubicBezTo>
                <a:cubicBezTo>
                  <a:pt x="2943115" y="111654"/>
                  <a:pt x="3033603" y="153988"/>
                  <a:pt x="3076465" y="171450"/>
                </a:cubicBezTo>
                <a:cubicBezTo>
                  <a:pt x="3130440" y="195262"/>
                  <a:pt x="3133615" y="203200"/>
                  <a:pt x="3181240" y="228600"/>
                </a:cubicBezTo>
                <a:cubicBezTo>
                  <a:pt x="3228865" y="254000"/>
                  <a:pt x="3266965" y="265113"/>
                  <a:pt x="3362215" y="323850"/>
                </a:cubicBezTo>
                <a:cubicBezTo>
                  <a:pt x="3457465" y="382588"/>
                  <a:pt x="3651669" y="498475"/>
                  <a:pt x="3752740" y="581025"/>
                </a:cubicBezTo>
                <a:cubicBezTo>
                  <a:pt x="3853811" y="663575"/>
                  <a:pt x="3909903" y="750888"/>
                  <a:pt x="3968640" y="819150"/>
                </a:cubicBezTo>
                <a:cubicBezTo>
                  <a:pt x="4027378" y="887413"/>
                  <a:pt x="4068123" y="936625"/>
                  <a:pt x="4105165" y="990600"/>
                </a:cubicBezTo>
                <a:cubicBezTo>
                  <a:pt x="4142207" y="1044575"/>
                  <a:pt x="4175015" y="1109663"/>
                  <a:pt x="4190890" y="1143000"/>
                </a:cubicBezTo>
                <a:cubicBezTo>
                  <a:pt x="4214703" y="1189038"/>
                  <a:pt x="4232165" y="1230313"/>
                  <a:pt x="4248040" y="1266825"/>
                </a:cubicBezTo>
                <a:cubicBezTo>
                  <a:pt x="4263915" y="1303338"/>
                  <a:pt x="4271853" y="1314450"/>
                  <a:pt x="4286140" y="1362075"/>
                </a:cubicBezTo>
                <a:cubicBezTo>
                  <a:pt x="4300427" y="1409700"/>
                  <a:pt x="4319478" y="1498600"/>
                  <a:pt x="4333765" y="1552575"/>
                </a:cubicBezTo>
                <a:cubicBezTo>
                  <a:pt x="4348053" y="1606550"/>
                  <a:pt x="4350698" y="1581150"/>
                  <a:pt x="4371865" y="1685925"/>
                </a:cubicBezTo>
                <a:cubicBezTo>
                  <a:pt x="4393032" y="1790700"/>
                  <a:pt x="4459178" y="1982788"/>
                  <a:pt x="4460765" y="2181225"/>
                </a:cubicBezTo>
                <a:cubicBezTo>
                  <a:pt x="4462352" y="2379662"/>
                  <a:pt x="4410494" y="2633663"/>
                  <a:pt x="4387740" y="2768600"/>
                </a:cubicBezTo>
                <a:cubicBezTo>
                  <a:pt x="4364986" y="2903537"/>
                  <a:pt x="4352286" y="2910946"/>
                  <a:pt x="4324240" y="2990850"/>
                </a:cubicBezTo>
                <a:cubicBezTo>
                  <a:pt x="4296194" y="3070754"/>
                  <a:pt x="4252802" y="3179763"/>
                  <a:pt x="4219465" y="3248025"/>
                </a:cubicBezTo>
                <a:cubicBezTo>
                  <a:pt x="4186128" y="3316287"/>
                  <a:pt x="4160728" y="3352800"/>
                  <a:pt x="4124215" y="3400425"/>
                </a:cubicBezTo>
                <a:cubicBezTo>
                  <a:pt x="4087703" y="3448050"/>
                  <a:pt x="4038490" y="3492500"/>
                  <a:pt x="4000390" y="3533775"/>
                </a:cubicBezTo>
                <a:lnTo>
                  <a:pt x="3895615" y="3648075"/>
                </a:lnTo>
                <a:cubicBezTo>
                  <a:pt x="3797190" y="3756025"/>
                  <a:pt x="3673365" y="3899429"/>
                  <a:pt x="3600340" y="3971925"/>
                </a:cubicBezTo>
                <a:cubicBezTo>
                  <a:pt x="3527315" y="4044421"/>
                  <a:pt x="3530490" y="4041246"/>
                  <a:pt x="3457465" y="4083050"/>
                </a:cubicBezTo>
                <a:cubicBezTo>
                  <a:pt x="3384440" y="4124854"/>
                  <a:pt x="3236802" y="4188883"/>
                  <a:pt x="3162190" y="4222750"/>
                </a:cubicBezTo>
                <a:cubicBezTo>
                  <a:pt x="3087578" y="4256617"/>
                  <a:pt x="3038173" y="4283885"/>
                  <a:pt x="3009790" y="4286250"/>
                </a:cubicBezTo>
                <a:cubicBezTo>
                  <a:pt x="2947977" y="4310975"/>
                  <a:pt x="2954113" y="4309602"/>
                  <a:pt x="2876440" y="4333875"/>
                </a:cubicBezTo>
                <a:cubicBezTo>
                  <a:pt x="2853306" y="4341104"/>
                  <a:pt x="2811882" y="4362450"/>
                  <a:pt x="2752615" y="4371975"/>
                </a:cubicBezTo>
                <a:cubicBezTo>
                  <a:pt x="2693348" y="4381500"/>
                  <a:pt x="2635140" y="4381500"/>
                  <a:pt x="2520840" y="4391025"/>
                </a:cubicBezTo>
                <a:cubicBezTo>
                  <a:pt x="2406540" y="4400550"/>
                  <a:pt x="2174236" y="4427538"/>
                  <a:pt x="2066815" y="4429125"/>
                </a:cubicBezTo>
                <a:cubicBezTo>
                  <a:pt x="1959394" y="4430712"/>
                  <a:pt x="1968390" y="4421187"/>
                  <a:pt x="1876315" y="4400550"/>
                </a:cubicBezTo>
                <a:cubicBezTo>
                  <a:pt x="1784240" y="4379913"/>
                  <a:pt x="1614907" y="4335992"/>
                  <a:pt x="1514365" y="4305300"/>
                </a:cubicBezTo>
                <a:cubicBezTo>
                  <a:pt x="1413823" y="4274608"/>
                  <a:pt x="1353498" y="4246033"/>
                  <a:pt x="1273065" y="4216400"/>
                </a:cubicBezTo>
                <a:cubicBezTo>
                  <a:pt x="1206390" y="4187825"/>
                  <a:pt x="1169348" y="4152900"/>
                  <a:pt x="1104790" y="4111625"/>
                </a:cubicBezTo>
                <a:cubicBezTo>
                  <a:pt x="1040232" y="4070350"/>
                  <a:pt x="977790" y="4044421"/>
                  <a:pt x="885715" y="3968750"/>
                </a:cubicBezTo>
                <a:cubicBezTo>
                  <a:pt x="793640" y="3893079"/>
                  <a:pt x="632244" y="3740679"/>
                  <a:pt x="552340" y="3657600"/>
                </a:cubicBezTo>
                <a:cubicBezTo>
                  <a:pt x="472436" y="3574521"/>
                  <a:pt x="452327" y="3539067"/>
                  <a:pt x="406290" y="3470275"/>
                </a:cubicBezTo>
                <a:cubicBezTo>
                  <a:pt x="360253" y="3401483"/>
                  <a:pt x="323211" y="3341158"/>
                  <a:pt x="276115" y="3244850"/>
                </a:cubicBezTo>
                <a:cubicBezTo>
                  <a:pt x="229019" y="3148542"/>
                  <a:pt x="167107" y="3038475"/>
                  <a:pt x="123715" y="2892425"/>
                </a:cubicBezTo>
                <a:cubicBezTo>
                  <a:pt x="80323" y="2746375"/>
                  <a:pt x="37990" y="2553758"/>
                  <a:pt x="15765" y="2368550"/>
                </a:cubicBezTo>
                <a:cubicBezTo>
                  <a:pt x="-6460" y="2183342"/>
                  <a:pt x="-5931" y="2044700"/>
                  <a:pt x="22115" y="1870075"/>
                </a:cubicBezTo>
                <a:cubicBezTo>
                  <a:pt x="50161" y="1695450"/>
                  <a:pt x="139590" y="1446742"/>
                  <a:pt x="184040" y="1320800"/>
                </a:cubicBezTo>
                <a:cubicBezTo>
                  <a:pt x="228490" y="1194858"/>
                  <a:pt x="217907" y="1221846"/>
                  <a:pt x="288815" y="1114425"/>
                </a:cubicBezTo>
                <a:cubicBezTo>
                  <a:pt x="359723" y="1007004"/>
                  <a:pt x="519532" y="777875"/>
                  <a:pt x="609490" y="676275"/>
                </a:cubicBezTo>
                <a:cubicBezTo>
                  <a:pt x="699448" y="574675"/>
                  <a:pt x="745486" y="565679"/>
                  <a:pt x="828565" y="504825"/>
                </a:cubicBezTo>
                <a:cubicBezTo>
                  <a:pt x="911644" y="443971"/>
                  <a:pt x="997898" y="379942"/>
                  <a:pt x="1107965" y="311150"/>
                </a:cubicBezTo>
                <a:cubicBezTo>
                  <a:pt x="1214328" y="252413"/>
                  <a:pt x="1387894" y="185737"/>
                  <a:pt x="1466740" y="152400"/>
                </a:cubicBezTo>
                <a:cubicBezTo>
                  <a:pt x="1545586" y="119063"/>
                  <a:pt x="1456686" y="134408"/>
                  <a:pt x="1581040" y="111125"/>
                </a:cubicBezTo>
                <a:cubicBezTo>
                  <a:pt x="1810698" y="67733"/>
                  <a:pt x="1945107" y="-7408"/>
                  <a:pt x="2212865" y="12700"/>
                </a:cubicBezTo>
                <a:lnTo>
                  <a:pt x="2238265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81" name="Graphic 56">
            <a:extLst>
              <a:ext uri="{FF2B5EF4-FFF2-40B4-BE49-F238E27FC236}">
                <a16:creationId xmlns:a16="http://schemas.microsoft.com/office/drawing/2014/main" id="{879B921D-0CD7-9662-C028-BA3F91DCCB4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18338" y="3666231"/>
            <a:ext cx="278081" cy="278082"/>
          </a:xfrm>
          <a:prstGeom prst="rect">
            <a:avLst/>
          </a:prstGeom>
        </p:spPr>
      </p:pic>
      <p:grpSp>
        <p:nvGrpSpPr>
          <p:cNvPr id="196" name="Group 195">
            <a:extLst>
              <a:ext uri="{FF2B5EF4-FFF2-40B4-BE49-F238E27FC236}">
                <a16:creationId xmlns:a16="http://schemas.microsoft.com/office/drawing/2014/main" id="{709CCB2F-9073-B9A7-6845-DA9CF916D290}"/>
              </a:ext>
            </a:extLst>
          </p:cNvPr>
          <p:cNvGrpSpPr/>
          <p:nvPr/>
        </p:nvGrpSpPr>
        <p:grpSpPr>
          <a:xfrm>
            <a:off x="668942" y="5554487"/>
            <a:ext cx="246978" cy="273957"/>
            <a:chOff x="8476022" y="3227294"/>
            <a:chExt cx="246978" cy="273957"/>
          </a:xfrm>
        </p:grpSpPr>
        <p:sp>
          <p:nvSpPr>
            <p:cNvPr id="187" name="Freeform: Shape 333">
              <a:extLst>
                <a:ext uri="{FF2B5EF4-FFF2-40B4-BE49-F238E27FC236}">
                  <a16:creationId xmlns:a16="http://schemas.microsoft.com/office/drawing/2014/main" id="{C1403B36-65EE-D411-5DD7-3D9EC11807C7}"/>
                </a:ext>
              </a:extLst>
            </p:cNvPr>
            <p:cNvSpPr/>
            <p:nvPr/>
          </p:nvSpPr>
          <p:spPr>
            <a:xfrm rot="21410080">
              <a:off x="8499732" y="3317825"/>
              <a:ext cx="186956" cy="18342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91" name="Graphic 20">
              <a:extLst>
                <a:ext uri="{FF2B5EF4-FFF2-40B4-BE49-F238E27FC236}">
                  <a16:creationId xmlns:a16="http://schemas.microsoft.com/office/drawing/2014/main" id="{254ECA12-D01B-8323-819C-21F2AC3952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8476022" y="3227294"/>
              <a:ext cx="246978" cy="246978"/>
            </a:xfrm>
            <a:prstGeom prst="rect">
              <a:avLst/>
            </a:prstGeom>
          </p:spPr>
        </p:pic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C94F27E-EAE1-E908-6ED0-263D5B3B4901}"/>
              </a:ext>
            </a:extLst>
          </p:cNvPr>
          <p:cNvGrpSpPr/>
          <p:nvPr/>
        </p:nvGrpSpPr>
        <p:grpSpPr>
          <a:xfrm>
            <a:off x="634845" y="5218233"/>
            <a:ext cx="235386" cy="254275"/>
            <a:chOff x="8474624" y="4268547"/>
            <a:chExt cx="235386" cy="254275"/>
          </a:xfrm>
        </p:grpSpPr>
        <p:sp>
          <p:nvSpPr>
            <p:cNvPr id="188" name="Freeform: Shape 333">
              <a:extLst>
                <a:ext uri="{FF2B5EF4-FFF2-40B4-BE49-F238E27FC236}">
                  <a16:creationId xmlns:a16="http://schemas.microsoft.com/office/drawing/2014/main" id="{724C9B46-606F-8D19-5FD2-608366FD2233}"/>
                </a:ext>
              </a:extLst>
            </p:cNvPr>
            <p:cNvSpPr/>
            <p:nvPr/>
          </p:nvSpPr>
          <p:spPr>
            <a:xfrm rot="21410080">
              <a:off x="8499732" y="4339396"/>
              <a:ext cx="186956" cy="18342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192" name="Graphic 23">
              <a:extLst>
                <a:ext uri="{FF2B5EF4-FFF2-40B4-BE49-F238E27FC236}">
                  <a16:creationId xmlns:a16="http://schemas.microsoft.com/office/drawing/2014/main" id="{23A2E491-F6D1-F486-EE43-67680FBD07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8474624" y="4268547"/>
              <a:ext cx="235386" cy="235386"/>
            </a:xfrm>
            <a:prstGeom prst="rect">
              <a:avLst/>
            </a:prstGeom>
          </p:spPr>
        </p:pic>
      </p:grpSp>
      <p:sp>
        <p:nvSpPr>
          <p:cNvPr id="189" name="Freeform: Shape 333">
            <a:extLst>
              <a:ext uri="{FF2B5EF4-FFF2-40B4-BE49-F238E27FC236}">
                <a16:creationId xmlns:a16="http://schemas.microsoft.com/office/drawing/2014/main" id="{2A18A357-B933-B883-01A0-93AA69FA4B91}"/>
              </a:ext>
            </a:extLst>
          </p:cNvPr>
          <p:cNvSpPr/>
          <p:nvPr/>
        </p:nvSpPr>
        <p:spPr>
          <a:xfrm rot="21410080">
            <a:off x="7137795" y="3304729"/>
            <a:ext cx="186956" cy="183426"/>
          </a:xfrm>
          <a:custGeom>
            <a:avLst/>
            <a:gdLst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557212 w 2171700"/>
              <a:gd name="connsiteY139" fmla="*/ 105200 h 2164296"/>
              <a:gd name="connsiteX140" fmla="*/ 619125 w 2171700"/>
              <a:gd name="connsiteY140" fmla="*/ 71863 h 2164296"/>
              <a:gd name="connsiteX141" fmla="*/ 633412 w 2171700"/>
              <a:gd name="connsiteY141" fmla="*/ 52813 h 2164296"/>
              <a:gd name="connsiteX142" fmla="*/ 652462 w 2171700"/>
              <a:gd name="connsiteY142" fmla="*/ 48050 h 2164296"/>
              <a:gd name="connsiteX143" fmla="*/ 676275 w 2171700"/>
              <a:gd name="connsiteY143" fmla="*/ 38525 h 2164296"/>
              <a:gd name="connsiteX144" fmla="*/ 719137 w 2171700"/>
              <a:gd name="connsiteY144" fmla="*/ 24238 h 2164296"/>
              <a:gd name="connsiteX145" fmla="*/ 747712 w 2171700"/>
              <a:gd name="connsiteY145" fmla="*/ 14713 h 2164296"/>
              <a:gd name="connsiteX146" fmla="*/ 795337 w 2171700"/>
              <a:gd name="connsiteY146" fmla="*/ 9950 h 2164296"/>
              <a:gd name="connsiteX147" fmla="*/ 866775 w 2171700"/>
              <a:gd name="connsiteY14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619125 w 2171700"/>
              <a:gd name="connsiteY139" fmla="*/ 71863 h 2164296"/>
              <a:gd name="connsiteX140" fmla="*/ 633412 w 2171700"/>
              <a:gd name="connsiteY140" fmla="*/ 52813 h 2164296"/>
              <a:gd name="connsiteX141" fmla="*/ 652462 w 2171700"/>
              <a:gd name="connsiteY141" fmla="*/ 48050 h 2164296"/>
              <a:gd name="connsiteX142" fmla="*/ 676275 w 2171700"/>
              <a:gd name="connsiteY142" fmla="*/ 38525 h 2164296"/>
              <a:gd name="connsiteX143" fmla="*/ 719137 w 2171700"/>
              <a:gd name="connsiteY143" fmla="*/ 24238 h 2164296"/>
              <a:gd name="connsiteX144" fmla="*/ 747712 w 2171700"/>
              <a:gd name="connsiteY144" fmla="*/ 14713 h 2164296"/>
              <a:gd name="connsiteX145" fmla="*/ 795337 w 2171700"/>
              <a:gd name="connsiteY145" fmla="*/ 9950 h 2164296"/>
              <a:gd name="connsiteX146" fmla="*/ 866775 w 2171700"/>
              <a:gd name="connsiteY14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57325 w 2171700"/>
              <a:gd name="connsiteY67" fmla="*/ 1995913 h 2164296"/>
              <a:gd name="connsiteX68" fmla="*/ 1419225 w 2171700"/>
              <a:gd name="connsiteY68" fmla="*/ 2014963 h 2164296"/>
              <a:gd name="connsiteX69" fmla="*/ 1404937 w 2171700"/>
              <a:gd name="connsiteY69" fmla="*/ 2029250 h 2164296"/>
              <a:gd name="connsiteX70" fmla="*/ 1333500 w 2171700"/>
              <a:gd name="connsiteY70" fmla="*/ 2053063 h 2164296"/>
              <a:gd name="connsiteX71" fmla="*/ 1319212 w 2171700"/>
              <a:gd name="connsiteY71" fmla="*/ 2062588 h 2164296"/>
              <a:gd name="connsiteX72" fmla="*/ 1281112 w 2171700"/>
              <a:gd name="connsiteY72" fmla="*/ 2072113 h 2164296"/>
              <a:gd name="connsiteX73" fmla="*/ 1257300 w 2171700"/>
              <a:gd name="connsiteY73" fmla="*/ 2086400 h 2164296"/>
              <a:gd name="connsiteX74" fmla="*/ 1204912 w 2171700"/>
              <a:gd name="connsiteY74" fmla="*/ 2100688 h 2164296"/>
              <a:gd name="connsiteX75" fmla="*/ 1162050 w 2171700"/>
              <a:gd name="connsiteY75" fmla="*/ 2119738 h 2164296"/>
              <a:gd name="connsiteX76" fmla="*/ 1143000 w 2171700"/>
              <a:gd name="connsiteY76" fmla="*/ 2134025 h 2164296"/>
              <a:gd name="connsiteX77" fmla="*/ 1071562 w 2171700"/>
              <a:gd name="connsiteY77" fmla="*/ 2148313 h 2164296"/>
              <a:gd name="connsiteX78" fmla="*/ 1042987 w 2171700"/>
              <a:gd name="connsiteY78" fmla="*/ 2162600 h 2164296"/>
              <a:gd name="connsiteX79" fmla="*/ 909637 w 2171700"/>
              <a:gd name="connsiteY79" fmla="*/ 2157838 h 2164296"/>
              <a:gd name="connsiteX80" fmla="*/ 800100 w 2171700"/>
              <a:gd name="connsiteY80" fmla="*/ 2105450 h 2164296"/>
              <a:gd name="connsiteX81" fmla="*/ 762000 w 2171700"/>
              <a:gd name="connsiteY81" fmla="*/ 2091163 h 2164296"/>
              <a:gd name="connsiteX82" fmla="*/ 714375 w 2171700"/>
              <a:gd name="connsiteY82" fmla="*/ 2062588 h 2164296"/>
              <a:gd name="connsiteX83" fmla="*/ 657225 w 2171700"/>
              <a:gd name="connsiteY83" fmla="*/ 2038775 h 2164296"/>
              <a:gd name="connsiteX84" fmla="*/ 623887 w 2171700"/>
              <a:gd name="connsiteY84" fmla="*/ 2005438 h 2164296"/>
              <a:gd name="connsiteX85" fmla="*/ 585787 w 2171700"/>
              <a:gd name="connsiteY85" fmla="*/ 1976863 h 2164296"/>
              <a:gd name="connsiteX86" fmla="*/ 571500 w 2171700"/>
              <a:gd name="connsiteY86" fmla="*/ 1957813 h 2164296"/>
              <a:gd name="connsiteX87" fmla="*/ 557212 w 2171700"/>
              <a:gd name="connsiteY87" fmla="*/ 1934000 h 2164296"/>
              <a:gd name="connsiteX88" fmla="*/ 523875 w 2171700"/>
              <a:gd name="connsiteY88" fmla="*/ 1895900 h 2164296"/>
              <a:gd name="connsiteX89" fmla="*/ 495300 w 2171700"/>
              <a:gd name="connsiteY89" fmla="*/ 1848275 h 2164296"/>
              <a:gd name="connsiteX90" fmla="*/ 471487 w 2171700"/>
              <a:gd name="connsiteY90" fmla="*/ 1819700 h 2164296"/>
              <a:gd name="connsiteX91" fmla="*/ 447675 w 2171700"/>
              <a:gd name="connsiteY91" fmla="*/ 1781600 h 2164296"/>
              <a:gd name="connsiteX92" fmla="*/ 400050 w 2171700"/>
              <a:gd name="connsiteY92" fmla="*/ 1738738 h 2164296"/>
              <a:gd name="connsiteX93" fmla="*/ 381000 w 2171700"/>
              <a:gd name="connsiteY93" fmla="*/ 1705400 h 2164296"/>
              <a:gd name="connsiteX94" fmla="*/ 366712 w 2171700"/>
              <a:gd name="connsiteY94" fmla="*/ 1686350 h 2164296"/>
              <a:gd name="connsiteX95" fmla="*/ 347662 w 2171700"/>
              <a:gd name="connsiteY95" fmla="*/ 1657775 h 2164296"/>
              <a:gd name="connsiteX96" fmla="*/ 290512 w 2171700"/>
              <a:gd name="connsiteY96" fmla="*/ 1600625 h 2164296"/>
              <a:gd name="connsiteX97" fmla="*/ 266700 w 2171700"/>
              <a:gd name="connsiteY97" fmla="*/ 1576813 h 2164296"/>
              <a:gd name="connsiteX98" fmla="*/ 252412 w 2171700"/>
              <a:gd name="connsiteY98" fmla="*/ 1562525 h 2164296"/>
              <a:gd name="connsiteX99" fmla="*/ 214312 w 2171700"/>
              <a:gd name="connsiteY99" fmla="*/ 1538713 h 2164296"/>
              <a:gd name="connsiteX100" fmla="*/ 190500 w 2171700"/>
              <a:gd name="connsiteY100" fmla="*/ 1510138 h 2164296"/>
              <a:gd name="connsiteX101" fmla="*/ 166687 w 2171700"/>
              <a:gd name="connsiteY101" fmla="*/ 1491088 h 2164296"/>
              <a:gd name="connsiteX102" fmla="*/ 147637 w 2171700"/>
              <a:gd name="connsiteY102" fmla="*/ 1462513 h 2164296"/>
              <a:gd name="connsiteX103" fmla="*/ 123825 w 2171700"/>
              <a:gd name="connsiteY103" fmla="*/ 1438700 h 2164296"/>
              <a:gd name="connsiteX104" fmla="*/ 114300 w 2171700"/>
              <a:gd name="connsiteY104" fmla="*/ 1424413 h 2164296"/>
              <a:gd name="connsiteX105" fmla="*/ 95250 w 2171700"/>
              <a:gd name="connsiteY105" fmla="*/ 1405363 h 2164296"/>
              <a:gd name="connsiteX106" fmla="*/ 76200 w 2171700"/>
              <a:gd name="connsiteY106" fmla="*/ 1376788 h 2164296"/>
              <a:gd name="connsiteX107" fmla="*/ 61912 w 2171700"/>
              <a:gd name="connsiteY107" fmla="*/ 1362500 h 2164296"/>
              <a:gd name="connsiteX108" fmla="*/ 52387 w 2171700"/>
              <a:gd name="connsiteY108" fmla="*/ 1348213 h 2164296"/>
              <a:gd name="connsiteX109" fmla="*/ 38100 w 2171700"/>
              <a:gd name="connsiteY109" fmla="*/ 1329163 h 2164296"/>
              <a:gd name="connsiteX110" fmla="*/ 33337 w 2171700"/>
              <a:gd name="connsiteY110" fmla="*/ 1305350 h 2164296"/>
              <a:gd name="connsiteX111" fmla="*/ 9525 w 2171700"/>
              <a:gd name="connsiteY111" fmla="*/ 1257725 h 2164296"/>
              <a:gd name="connsiteX112" fmla="*/ 0 w 2171700"/>
              <a:gd name="connsiteY112" fmla="*/ 1200575 h 2164296"/>
              <a:gd name="connsiteX113" fmla="*/ 4762 w 2171700"/>
              <a:gd name="connsiteY113" fmla="*/ 991025 h 2164296"/>
              <a:gd name="connsiteX114" fmla="*/ 42862 w 2171700"/>
              <a:gd name="connsiteY114" fmla="*/ 929113 h 2164296"/>
              <a:gd name="connsiteX115" fmla="*/ 66675 w 2171700"/>
              <a:gd name="connsiteY115" fmla="*/ 891013 h 2164296"/>
              <a:gd name="connsiteX116" fmla="*/ 85725 w 2171700"/>
              <a:gd name="connsiteY116" fmla="*/ 848150 h 2164296"/>
              <a:gd name="connsiteX117" fmla="*/ 109537 w 2171700"/>
              <a:gd name="connsiteY117" fmla="*/ 795763 h 2164296"/>
              <a:gd name="connsiteX118" fmla="*/ 128587 w 2171700"/>
              <a:gd name="connsiteY118" fmla="*/ 762425 h 2164296"/>
              <a:gd name="connsiteX119" fmla="*/ 147637 w 2171700"/>
              <a:gd name="connsiteY119" fmla="*/ 733850 h 2164296"/>
              <a:gd name="connsiteX120" fmla="*/ 209550 w 2171700"/>
              <a:gd name="connsiteY120" fmla="*/ 610025 h 2164296"/>
              <a:gd name="connsiteX121" fmla="*/ 214312 w 2171700"/>
              <a:gd name="connsiteY121" fmla="*/ 581450 h 2164296"/>
              <a:gd name="connsiteX122" fmla="*/ 238125 w 2171700"/>
              <a:gd name="connsiteY122" fmla="*/ 538588 h 2164296"/>
              <a:gd name="connsiteX123" fmla="*/ 252412 w 2171700"/>
              <a:gd name="connsiteY123" fmla="*/ 500488 h 2164296"/>
              <a:gd name="connsiteX124" fmla="*/ 266700 w 2171700"/>
              <a:gd name="connsiteY124" fmla="*/ 471913 h 2164296"/>
              <a:gd name="connsiteX125" fmla="*/ 276225 w 2171700"/>
              <a:gd name="connsiteY125" fmla="*/ 443338 h 2164296"/>
              <a:gd name="connsiteX126" fmla="*/ 285750 w 2171700"/>
              <a:gd name="connsiteY126" fmla="*/ 429050 h 2164296"/>
              <a:gd name="connsiteX127" fmla="*/ 295275 w 2171700"/>
              <a:gd name="connsiteY127" fmla="*/ 405238 h 2164296"/>
              <a:gd name="connsiteX128" fmla="*/ 314325 w 2171700"/>
              <a:gd name="connsiteY128" fmla="*/ 381425 h 2164296"/>
              <a:gd name="connsiteX129" fmla="*/ 333375 w 2171700"/>
              <a:gd name="connsiteY129" fmla="*/ 333800 h 2164296"/>
              <a:gd name="connsiteX130" fmla="*/ 361950 w 2171700"/>
              <a:gd name="connsiteY130" fmla="*/ 290938 h 2164296"/>
              <a:gd name="connsiteX131" fmla="*/ 385762 w 2171700"/>
              <a:gd name="connsiteY131" fmla="*/ 248075 h 2164296"/>
              <a:gd name="connsiteX132" fmla="*/ 400050 w 2171700"/>
              <a:gd name="connsiteY132" fmla="*/ 229025 h 2164296"/>
              <a:gd name="connsiteX133" fmla="*/ 423862 w 2171700"/>
              <a:gd name="connsiteY133" fmla="*/ 214738 h 2164296"/>
              <a:gd name="connsiteX134" fmla="*/ 447675 w 2171700"/>
              <a:gd name="connsiteY134" fmla="*/ 190925 h 2164296"/>
              <a:gd name="connsiteX135" fmla="*/ 461962 w 2171700"/>
              <a:gd name="connsiteY135" fmla="*/ 181400 h 2164296"/>
              <a:gd name="connsiteX136" fmla="*/ 495300 w 2171700"/>
              <a:gd name="connsiteY136" fmla="*/ 143300 h 2164296"/>
              <a:gd name="connsiteX137" fmla="*/ 509587 w 2171700"/>
              <a:gd name="connsiteY137" fmla="*/ 133775 h 2164296"/>
              <a:gd name="connsiteX138" fmla="*/ 619125 w 2171700"/>
              <a:gd name="connsiteY138" fmla="*/ 71863 h 2164296"/>
              <a:gd name="connsiteX139" fmla="*/ 633412 w 2171700"/>
              <a:gd name="connsiteY139" fmla="*/ 52813 h 2164296"/>
              <a:gd name="connsiteX140" fmla="*/ 652462 w 2171700"/>
              <a:gd name="connsiteY140" fmla="*/ 48050 h 2164296"/>
              <a:gd name="connsiteX141" fmla="*/ 676275 w 2171700"/>
              <a:gd name="connsiteY141" fmla="*/ 38525 h 2164296"/>
              <a:gd name="connsiteX142" fmla="*/ 719137 w 2171700"/>
              <a:gd name="connsiteY142" fmla="*/ 24238 h 2164296"/>
              <a:gd name="connsiteX143" fmla="*/ 747712 w 2171700"/>
              <a:gd name="connsiteY143" fmla="*/ 14713 h 2164296"/>
              <a:gd name="connsiteX144" fmla="*/ 795337 w 2171700"/>
              <a:gd name="connsiteY144" fmla="*/ 9950 h 2164296"/>
              <a:gd name="connsiteX145" fmla="*/ 866775 w 2171700"/>
              <a:gd name="connsiteY14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19225 w 2171700"/>
              <a:gd name="connsiteY67" fmla="*/ 2014963 h 2164296"/>
              <a:gd name="connsiteX68" fmla="*/ 1404937 w 2171700"/>
              <a:gd name="connsiteY68" fmla="*/ 2029250 h 2164296"/>
              <a:gd name="connsiteX69" fmla="*/ 1333500 w 2171700"/>
              <a:gd name="connsiteY69" fmla="*/ 2053063 h 2164296"/>
              <a:gd name="connsiteX70" fmla="*/ 1319212 w 2171700"/>
              <a:gd name="connsiteY70" fmla="*/ 2062588 h 2164296"/>
              <a:gd name="connsiteX71" fmla="*/ 1281112 w 2171700"/>
              <a:gd name="connsiteY71" fmla="*/ 2072113 h 2164296"/>
              <a:gd name="connsiteX72" fmla="*/ 1257300 w 2171700"/>
              <a:gd name="connsiteY72" fmla="*/ 2086400 h 2164296"/>
              <a:gd name="connsiteX73" fmla="*/ 1204912 w 2171700"/>
              <a:gd name="connsiteY73" fmla="*/ 2100688 h 2164296"/>
              <a:gd name="connsiteX74" fmla="*/ 1162050 w 2171700"/>
              <a:gd name="connsiteY74" fmla="*/ 2119738 h 2164296"/>
              <a:gd name="connsiteX75" fmla="*/ 1143000 w 2171700"/>
              <a:gd name="connsiteY75" fmla="*/ 2134025 h 2164296"/>
              <a:gd name="connsiteX76" fmla="*/ 1071562 w 2171700"/>
              <a:gd name="connsiteY76" fmla="*/ 2148313 h 2164296"/>
              <a:gd name="connsiteX77" fmla="*/ 1042987 w 2171700"/>
              <a:gd name="connsiteY77" fmla="*/ 2162600 h 2164296"/>
              <a:gd name="connsiteX78" fmla="*/ 909637 w 2171700"/>
              <a:gd name="connsiteY78" fmla="*/ 2157838 h 2164296"/>
              <a:gd name="connsiteX79" fmla="*/ 800100 w 2171700"/>
              <a:gd name="connsiteY79" fmla="*/ 2105450 h 2164296"/>
              <a:gd name="connsiteX80" fmla="*/ 762000 w 2171700"/>
              <a:gd name="connsiteY80" fmla="*/ 2091163 h 2164296"/>
              <a:gd name="connsiteX81" fmla="*/ 714375 w 2171700"/>
              <a:gd name="connsiteY81" fmla="*/ 2062588 h 2164296"/>
              <a:gd name="connsiteX82" fmla="*/ 657225 w 2171700"/>
              <a:gd name="connsiteY82" fmla="*/ 2038775 h 2164296"/>
              <a:gd name="connsiteX83" fmla="*/ 623887 w 2171700"/>
              <a:gd name="connsiteY83" fmla="*/ 2005438 h 2164296"/>
              <a:gd name="connsiteX84" fmla="*/ 585787 w 2171700"/>
              <a:gd name="connsiteY84" fmla="*/ 1976863 h 2164296"/>
              <a:gd name="connsiteX85" fmla="*/ 571500 w 2171700"/>
              <a:gd name="connsiteY85" fmla="*/ 1957813 h 2164296"/>
              <a:gd name="connsiteX86" fmla="*/ 557212 w 2171700"/>
              <a:gd name="connsiteY86" fmla="*/ 1934000 h 2164296"/>
              <a:gd name="connsiteX87" fmla="*/ 523875 w 2171700"/>
              <a:gd name="connsiteY87" fmla="*/ 1895900 h 2164296"/>
              <a:gd name="connsiteX88" fmla="*/ 495300 w 2171700"/>
              <a:gd name="connsiteY88" fmla="*/ 1848275 h 2164296"/>
              <a:gd name="connsiteX89" fmla="*/ 471487 w 2171700"/>
              <a:gd name="connsiteY89" fmla="*/ 1819700 h 2164296"/>
              <a:gd name="connsiteX90" fmla="*/ 447675 w 2171700"/>
              <a:gd name="connsiteY90" fmla="*/ 1781600 h 2164296"/>
              <a:gd name="connsiteX91" fmla="*/ 400050 w 2171700"/>
              <a:gd name="connsiteY91" fmla="*/ 1738738 h 2164296"/>
              <a:gd name="connsiteX92" fmla="*/ 381000 w 2171700"/>
              <a:gd name="connsiteY92" fmla="*/ 1705400 h 2164296"/>
              <a:gd name="connsiteX93" fmla="*/ 366712 w 2171700"/>
              <a:gd name="connsiteY93" fmla="*/ 1686350 h 2164296"/>
              <a:gd name="connsiteX94" fmla="*/ 347662 w 2171700"/>
              <a:gd name="connsiteY94" fmla="*/ 1657775 h 2164296"/>
              <a:gd name="connsiteX95" fmla="*/ 290512 w 2171700"/>
              <a:gd name="connsiteY95" fmla="*/ 1600625 h 2164296"/>
              <a:gd name="connsiteX96" fmla="*/ 266700 w 2171700"/>
              <a:gd name="connsiteY96" fmla="*/ 1576813 h 2164296"/>
              <a:gd name="connsiteX97" fmla="*/ 252412 w 2171700"/>
              <a:gd name="connsiteY97" fmla="*/ 1562525 h 2164296"/>
              <a:gd name="connsiteX98" fmla="*/ 214312 w 2171700"/>
              <a:gd name="connsiteY98" fmla="*/ 1538713 h 2164296"/>
              <a:gd name="connsiteX99" fmla="*/ 190500 w 2171700"/>
              <a:gd name="connsiteY99" fmla="*/ 1510138 h 2164296"/>
              <a:gd name="connsiteX100" fmla="*/ 166687 w 2171700"/>
              <a:gd name="connsiteY100" fmla="*/ 1491088 h 2164296"/>
              <a:gd name="connsiteX101" fmla="*/ 147637 w 2171700"/>
              <a:gd name="connsiteY101" fmla="*/ 1462513 h 2164296"/>
              <a:gd name="connsiteX102" fmla="*/ 123825 w 2171700"/>
              <a:gd name="connsiteY102" fmla="*/ 1438700 h 2164296"/>
              <a:gd name="connsiteX103" fmla="*/ 114300 w 2171700"/>
              <a:gd name="connsiteY103" fmla="*/ 1424413 h 2164296"/>
              <a:gd name="connsiteX104" fmla="*/ 95250 w 2171700"/>
              <a:gd name="connsiteY104" fmla="*/ 1405363 h 2164296"/>
              <a:gd name="connsiteX105" fmla="*/ 76200 w 2171700"/>
              <a:gd name="connsiteY105" fmla="*/ 1376788 h 2164296"/>
              <a:gd name="connsiteX106" fmla="*/ 61912 w 2171700"/>
              <a:gd name="connsiteY106" fmla="*/ 1362500 h 2164296"/>
              <a:gd name="connsiteX107" fmla="*/ 52387 w 2171700"/>
              <a:gd name="connsiteY107" fmla="*/ 1348213 h 2164296"/>
              <a:gd name="connsiteX108" fmla="*/ 38100 w 2171700"/>
              <a:gd name="connsiteY108" fmla="*/ 1329163 h 2164296"/>
              <a:gd name="connsiteX109" fmla="*/ 33337 w 2171700"/>
              <a:gd name="connsiteY109" fmla="*/ 1305350 h 2164296"/>
              <a:gd name="connsiteX110" fmla="*/ 9525 w 2171700"/>
              <a:gd name="connsiteY110" fmla="*/ 1257725 h 2164296"/>
              <a:gd name="connsiteX111" fmla="*/ 0 w 2171700"/>
              <a:gd name="connsiteY111" fmla="*/ 1200575 h 2164296"/>
              <a:gd name="connsiteX112" fmla="*/ 4762 w 2171700"/>
              <a:gd name="connsiteY112" fmla="*/ 991025 h 2164296"/>
              <a:gd name="connsiteX113" fmla="*/ 42862 w 2171700"/>
              <a:gd name="connsiteY113" fmla="*/ 929113 h 2164296"/>
              <a:gd name="connsiteX114" fmla="*/ 66675 w 2171700"/>
              <a:gd name="connsiteY114" fmla="*/ 891013 h 2164296"/>
              <a:gd name="connsiteX115" fmla="*/ 85725 w 2171700"/>
              <a:gd name="connsiteY115" fmla="*/ 848150 h 2164296"/>
              <a:gd name="connsiteX116" fmla="*/ 109537 w 2171700"/>
              <a:gd name="connsiteY116" fmla="*/ 795763 h 2164296"/>
              <a:gd name="connsiteX117" fmla="*/ 128587 w 2171700"/>
              <a:gd name="connsiteY117" fmla="*/ 762425 h 2164296"/>
              <a:gd name="connsiteX118" fmla="*/ 147637 w 2171700"/>
              <a:gd name="connsiteY118" fmla="*/ 733850 h 2164296"/>
              <a:gd name="connsiteX119" fmla="*/ 209550 w 2171700"/>
              <a:gd name="connsiteY119" fmla="*/ 610025 h 2164296"/>
              <a:gd name="connsiteX120" fmla="*/ 214312 w 2171700"/>
              <a:gd name="connsiteY120" fmla="*/ 581450 h 2164296"/>
              <a:gd name="connsiteX121" fmla="*/ 238125 w 2171700"/>
              <a:gd name="connsiteY121" fmla="*/ 538588 h 2164296"/>
              <a:gd name="connsiteX122" fmla="*/ 252412 w 2171700"/>
              <a:gd name="connsiteY122" fmla="*/ 500488 h 2164296"/>
              <a:gd name="connsiteX123" fmla="*/ 266700 w 2171700"/>
              <a:gd name="connsiteY123" fmla="*/ 471913 h 2164296"/>
              <a:gd name="connsiteX124" fmla="*/ 276225 w 2171700"/>
              <a:gd name="connsiteY124" fmla="*/ 443338 h 2164296"/>
              <a:gd name="connsiteX125" fmla="*/ 285750 w 2171700"/>
              <a:gd name="connsiteY125" fmla="*/ 429050 h 2164296"/>
              <a:gd name="connsiteX126" fmla="*/ 295275 w 2171700"/>
              <a:gd name="connsiteY126" fmla="*/ 405238 h 2164296"/>
              <a:gd name="connsiteX127" fmla="*/ 314325 w 2171700"/>
              <a:gd name="connsiteY127" fmla="*/ 381425 h 2164296"/>
              <a:gd name="connsiteX128" fmla="*/ 333375 w 2171700"/>
              <a:gd name="connsiteY128" fmla="*/ 333800 h 2164296"/>
              <a:gd name="connsiteX129" fmla="*/ 361950 w 2171700"/>
              <a:gd name="connsiteY129" fmla="*/ 290938 h 2164296"/>
              <a:gd name="connsiteX130" fmla="*/ 385762 w 2171700"/>
              <a:gd name="connsiteY130" fmla="*/ 248075 h 2164296"/>
              <a:gd name="connsiteX131" fmla="*/ 400050 w 2171700"/>
              <a:gd name="connsiteY131" fmla="*/ 229025 h 2164296"/>
              <a:gd name="connsiteX132" fmla="*/ 423862 w 2171700"/>
              <a:gd name="connsiteY132" fmla="*/ 214738 h 2164296"/>
              <a:gd name="connsiteX133" fmla="*/ 447675 w 2171700"/>
              <a:gd name="connsiteY133" fmla="*/ 190925 h 2164296"/>
              <a:gd name="connsiteX134" fmla="*/ 461962 w 2171700"/>
              <a:gd name="connsiteY134" fmla="*/ 181400 h 2164296"/>
              <a:gd name="connsiteX135" fmla="*/ 495300 w 2171700"/>
              <a:gd name="connsiteY135" fmla="*/ 143300 h 2164296"/>
              <a:gd name="connsiteX136" fmla="*/ 509587 w 2171700"/>
              <a:gd name="connsiteY136" fmla="*/ 133775 h 2164296"/>
              <a:gd name="connsiteX137" fmla="*/ 619125 w 2171700"/>
              <a:gd name="connsiteY137" fmla="*/ 71863 h 2164296"/>
              <a:gd name="connsiteX138" fmla="*/ 633412 w 2171700"/>
              <a:gd name="connsiteY138" fmla="*/ 52813 h 2164296"/>
              <a:gd name="connsiteX139" fmla="*/ 652462 w 2171700"/>
              <a:gd name="connsiteY139" fmla="*/ 48050 h 2164296"/>
              <a:gd name="connsiteX140" fmla="*/ 676275 w 2171700"/>
              <a:gd name="connsiteY140" fmla="*/ 38525 h 2164296"/>
              <a:gd name="connsiteX141" fmla="*/ 719137 w 2171700"/>
              <a:gd name="connsiteY141" fmla="*/ 24238 h 2164296"/>
              <a:gd name="connsiteX142" fmla="*/ 747712 w 2171700"/>
              <a:gd name="connsiteY142" fmla="*/ 14713 h 2164296"/>
              <a:gd name="connsiteX143" fmla="*/ 795337 w 2171700"/>
              <a:gd name="connsiteY143" fmla="*/ 9950 h 2164296"/>
              <a:gd name="connsiteX144" fmla="*/ 866775 w 2171700"/>
              <a:gd name="connsiteY14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04937 w 2171700"/>
              <a:gd name="connsiteY67" fmla="*/ 2029250 h 2164296"/>
              <a:gd name="connsiteX68" fmla="*/ 1333500 w 2171700"/>
              <a:gd name="connsiteY68" fmla="*/ 2053063 h 2164296"/>
              <a:gd name="connsiteX69" fmla="*/ 1319212 w 2171700"/>
              <a:gd name="connsiteY69" fmla="*/ 2062588 h 2164296"/>
              <a:gd name="connsiteX70" fmla="*/ 1281112 w 2171700"/>
              <a:gd name="connsiteY70" fmla="*/ 2072113 h 2164296"/>
              <a:gd name="connsiteX71" fmla="*/ 1257300 w 2171700"/>
              <a:gd name="connsiteY71" fmla="*/ 2086400 h 2164296"/>
              <a:gd name="connsiteX72" fmla="*/ 1204912 w 2171700"/>
              <a:gd name="connsiteY72" fmla="*/ 2100688 h 2164296"/>
              <a:gd name="connsiteX73" fmla="*/ 1162050 w 2171700"/>
              <a:gd name="connsiteY73" fmla="*/ 2119738 h 2164296"/>
              <a:gd name="connsiteX74" fmla="*/ 1143000 w 2171700"/>
              <a:gd name="connsiteY74" fmla="*/ 2134025 h 2164296"/>
              <a:gd name="connsiteX75" fmla="*/ 1071562 w 2171700"/>
              <a:gd name="connsiteY75" fmla="*/ 2148313 h 2164296"/>
              <a:gd name="connsiteX76" fmla="*/ 1042987 w 2171700"/>
              <a:gd name="connsiteY76" fmla="*/ 2162600 h 2164296"/>
              <a:gd name="connsiteX77" fmla="*/ 909637 w 2171700"/>
              <a:gd name="connsiteY77" fmla="*/ 2157838 h 2164296"/>
              <a:gd name="connsiteX78" fmla="*/ 800100 w 2171700"/>
              <a:gd name="connsiteY78" fmla="*/ 2105450 h 2164296"/>
              <a:gd name="connsiteX79" fmla="*/ 762000 w 2171700"/>
              <a:gd name="connsiteY79" fmla="*/ 2091163 h 2164296"/>
              <a:gd name="connsiteX80" fmla="*/ 714375 w 2171700"/>
              <a:gd name="connsiteY80" fmla="*/ 2062588 h 2164296"/>
              <a:gd name="connsiteX81" fmla="*/ 657225 w 2171700"/>
              <a:gd name="connsiteY81" fmla="*/ 2038775 h 2164296"/>
              <a:gd name="connsiteX82" fmla="*/ 623887 w 2171700"/>
              <a:gd name="connsiteY82" fmla="*/ 2005438 h 2164296"/>
              <a:gd name="connsiteX83" fmla="*/ 585787 w 2171700"/>
              <a:gd name="connsiteY83" fmla="*/ 1976863 h 2164296"/>
              <a:gd name="connsiteX84" fmla="*/ 571500 w 2171700"/>
              <a:gd name="connsiteY84" fmla="*/ 1957813 h 2164296"/>
              <a:gd name="connsiteX85" fmla="*/ 557212 w 2171700"/>
              <a:gd name="connsiteY85" fmla="*/ 1934000 h 2164296"/>
              <a:gd name="connsiteX86" fmla="*/ 523875 w 2171700"/>
              <a:gd name="connsiteY86" fmla="*/ 1895900 h 2164296"/>
              <a:gd name="connsiteX87" fmla="*/ 495300 w 2171700"/>
              <a:gd name="connsiteY87" fmla="*/ 1848275 h 2164296"/>
              <a:gd name="connsiteX88" fmla="*/ 471487 w 2171700"/>
              <a:gd name="connsiteY88" fmla="*/ 1819700 h 2164296"/>
              <a:gd name="connsiteX89" fmla="*/ 447675 w 2171700"/>
              <a:gd name="connsiteY89" fmla="*/ 1781600 h 2164296"/>
              <a:gd name="connsiteX90" fmla="*/ 400050 w 2171700"/>
              <a:gd name="connsiteY90" fmla="*/ 1738738 h 2164296"/>
              <a:gd name="connsiteX91" fmla="*/ 381000 w 2171700"/>
              <a:gd name="connsiteY91" fmla="*/ 1705400 h 2164296"/>
              <a:gd name="connsiteX92" fmla="*/ 366712 w 2171700"/>
              <a:gd name="connsiteY92" fmla="*/ 1686350 h 2164296"/>
              <a:gd name="connsiteX93" fmla="*/ 347662 w 2171700"/>
              <a:gd name="connsiteY93" fmla="*/ 1657775 h 2164296"/>
              <a:gd name="connsiteX94" fmla="*/ 290512 w 2171700"/>
              <a:gd name="connsiteY94" fmla="*/ 1600625 h 2164296"/>
              <a:gd name="connsiteX95" fmla="*/ 266700 w 2171700"/>
              <a:gd name="connsiteY95" fmla="*/ 1576813 h 2164296"/>
              <a:gd name="connsiteX96" fmla="*/ 252412 w 2171700"/>
              <a:gd name="connsiteY96" fmla="*/ 1562525 h 2164296"/>
              <a:gd name="connsiteX97" fmla="*/ 214312 w 2171700"/>
              <a:gd name="connsiteY97" fmla="*/ 1538713 h 2164296"/>
              <a:gd name="connsiteX98" fmla="*/ 190500 w 2171700"/>
              <a:gd name="connsiteY98" fmla="*/ 1510138 h 2164296"/>
              <a:gd name="connsiteX99" fmla="*/ 166687 w 2171700"/>
              <a:gd name="connsiteY99" fmla="*/ 1491088 h 2164296"/>
              <a:gd name="connsiteX100" fmla="*/ 147637 w 2171700"/>
              <a:gd name="connsiteY100" fmla="*/ 1462513 h 2164296"/>
              <a:gd name="connsiteX101" fmla="*/ 123825 w 2171700"/>
              <a:gd name="connsiteY101" fmla="*/ 1438700 h 2164296"/>
              <a:gd name="connsiteX102" fmla="*/ 114300 w 2171700"/>
              <a:gd name="connsiteY102" fmla="*/ 1424413 h 2164296"/>
              <a:gd name="connsiteX103" fmla="*/ 95250 w 2171700"/>
              <a:gd name="connsiteY103" fmla="*/ 1405363 h 2164296"/>
              <a:gd name="connsiteX104" fmla="*/ 76200 w 2171700"/>
              <a:gd name="connsiteY104" fmla="*/ 1376788 h 2164296"/>
              <a:gd name="connsiteX105" fmla="*/ 61912 w 2171700"/>
              <a:gd name="connsiteY105" fmla="*/ 1362500 h 2164296"/>
              <a:gd name="connsiteX106" fmla="*/ 52387 w 2171700"/>
              <a:gd name="connsiteY106" fmla="*/ 1348213 h 2164296"/>
              <a:gd name="connsiteX107" fmla="*/ 38100 w 2171700"/>
              <a:gd name="connsiteY107" fmla="*/ 1329163 h 2164296"/>
              <a:gd name="connsiteX108" fmla="*/ 33337 w 2171700"/>
              <a:gd name="connsiteY108" fmla="*/ 1305350 h 2164296"/>
              <a:gd name="connsiteX109" fmla="*/ 9525 w 2171700"/>
              <a:gd name="connsiteY109" fmla="*/ 1257725 h 2164296"/>
              <a:gd name="connsiteX110" fmla="*/ 0 w 2171700"/>
              <a:gd name="connsiteY110" fmla="*/ 1200575 h 2164296"/>
              <a:gd name="connsiteX111" fmla="*/ 4762 w 2171700"/>
              <a:gd name="connsiteY111" fmla="*/ 991025 h 2164296"/>
              <a:gd name="connsiteX112" fmla="*/ 42862 w 2171700"/>
              <a:gd name="connsiteY112" fmla="*/ 929113 h 2164296"/>
              <a:gd name="connsiteX113" fmla="*/ 66675 w 2171700"/>
              <a:gd name="connsiteY113" fmla="*/ 891013 h 2164296"/>
              <a:gd name="connsiteX114" fmla="*/ 85725 w 2171700"/>
              <a:gd name="connsiteY114" fmla="*/ 848150 h 2164296"/>
              <a:gd name="connsiteX115" fmla="*/ 109537 w 2171700"/>
              <a:gd name="connsiteY115" fmla="*/ 795763 h 2164296"/>
              <a:gd name="connsiteX116" fmla="*/ 128587 w 2171700"/>
              <a:gd name="connsiteY116" fmla="*/ 762425 h 2164296"/>
              <a:gd name="connsiteX117" fmla="*/ 147637 w 2171700"/>
              <a:gd name="connsiteY117" fmla="*/ 733850 h 2164296"/>
              <a:gd name="connsiteX118" fmla="*/ 209550 w 2171700"/>
              <a:gd name="connsiteY118" fmla="*/ 610025 h 2164296"/>
              <a:gd name="connsiteX119" fmla="*/ 214312 w 2171700"/>
              <a:gd name="connsiteY119" fmla="*/ 581450 h 2164296"/>
              <a:gd name="connsiteX120" fmla="*/ 238125 w 2171700"/>
              <a:gd name="connsiteY120" fmla="*/ 538588 h 2164296"/>
              <a:gd name="connsiteX121" fmla="*/ 252412 w 2171700"/>
              <a:gd name="connsiteY121" fmla="*/ 500488 h 2164296"/>
              <a:gd name="connsiteX122" fmla="*/ 266700 w 2171700"/>
              <a:gd name="connsiteY122" fmla="*/ 471913 h 2164296"/>
              <a:gd name="connsiteX123" fmla="*/ 276225 w 2171700"/>
              <a:gd name="connsiteY123" fmla="*/ 443338 h 2164296"/>
              <a:gd name="connsiteX124" fmla="*/ 285750 w 2171700"/>
              <a:gd name="connsiteY124" fmla="*/ 429050 h 2164296"/>
              <a:gd name="connsiteX125" fmla="*/ 295275 w 2171700"/>
              <a:gd name="connsiteY125" fmla="*/ 405238 h 2164296"/>
              <a:gd name="connsiteX126" fmla="*/ 314325 w 2171700"/>
              <a:gd name="connsiteY126" fmla="*/ 381425 h 2164296"/>
              <a:gd name="connsiteX127" fmla="*/ 333375 w 2171700"/>
              <a:gd name="connsiteY127" fmla="*/ 333800 h 2164296"/>
              <a:gd name="connsiteX128" fmla="*/ 361950 w 2171700"/>
              <a:gd name="connsiteY128" fmla="*/ 290938 h 2164296"/>
              <a:gd name="connsiteX129" fmla="*/ 385762 w 2171700"/>
              <a:gd name="connsiteY129" fmla="*/ 248075 h 2164296"/>
              <a:gd name="connsiteX130" fmla="*/ 400050 w 2171700"/>
              <a:gd name="connsiteY130" fmla="*/ 229025 h 2164296"/>
              <a:gd name="connsiteX131" fmla="*/ 423862 w 2171700"/>
              <a:gd name="connsiteY131" fmla="*/ 214738 h 2164296"/>
              <a:gd name="connsiteX132" fmla="*/ 447675 w 2171700"/>
              <a:gd name="connsiteY132" fmla="*/ 190925 h 2164296"/>
              <a:gd name="connsiteX133" fmla="*/ 461962 w 2171700"/>
              <a:gd name="connsiteY133" fmla="*/ 181400 h 2164296"/>
              <a:gd name="connsiteX134" fmla="*/ 495300 w 2171700"/>
              <a:gd name="connsiteY134" fmla="*/ 143300 h 2164296"/>
              <a:gd name="connsiteX135" fmla="*/ 509587 w 2171700"/>
              <a:gd name="connsiteY135" fmla="*/ 133775 h 2164296"/>
              <a:gd name="connsiteX136" fmla="*/ 619125 w 2171700"/>
              <a:gd name="connsiteY136" fmla="*/ 71863 h 2164296"/>
              <a:gd name="connsiteX137" fmla="*/ 633412 w 2171700"/>
              <a:gd name="connsiteY137" fmla="*/ 52813 h 2164296"/>
              <a:gd name="connsiteX138" fmla="*/ 652462 w 2171700"/>
              <a:gd name="connsiteY138" fmla="*/ 48050 h 2164296"/>
              <a:gd name="connsiteX139" fmla="*/ 676275 w 2171700"/>
              <a:gd name="connsiteY139" fmla="*/ 38525 h 2164296"/>
              <a:gd name="connsiteX140" fmla="*/ 719137 w 2171700"/>
              <a:gd name="connsiteY140" fmla="*/ 24238 h 2164296"/>
              <a:gd name="connsiteX141" fmla="*/ 747712 w 2171700"/>
              <a:gd name="connsiteY141" fmla="*/ 14713 h 2164296"/>
              <a:gd name="connsiteX142" fmla="*/ 795337 w 2171700"/>
              <a:gd name="connsiteY142" fmla="*/ 9950 h 2164296"/>
              <a:gd name="connsiteX143" fmla="*/ 866775 w 2171700"/>
              <a:gd name="connsiteY14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19312 w 2171700"/>
              <a:gd name="connsiteY36" fmla="*/ 1048175 h 2164296"/>
              <a:gd name="connsiteX37" fmla="*/ 2124075 w 2171700"/>
              <a:gd name="connsiteY37" fmla="*/ 1086275 h 2164296"/>
              <a:gd name="connsiteX38" fmla="*/ 2128837 w 2171700"/>
              <a:gd name="connsiteY38" fmla="*/ 1148188 h 2164296"/>
              <a:gd name="connsiteX39" fmla="*/ 2143125 w 2171700"/>
              <a:gd name="connsiteY39" fmla="*/ 1191050 h 2164296"/>
              <a:gd name="connsiteX40" fmla="*/ 2147887 w 2171700"/>
              <a:gd name="connsiteY40" fmla="*/ 1224388 h 2164296"/>
              <a:gd name="connsiteX41" fmla="*/ 2166937 w 2171700"/>
              <a:gd name="connsiteY41" fmla="*/ 1276775 h 2164296"/>
              <a:gd name="connsiteX42" fmla="*/ 2171700 w 2171700"/>
              <a:gd name="connsiteY42" fmla="*/ 1300588 h 2164296"/>
              <a:gd name="connsiteX43" fmla="*/ 2166937 w 2171700"/>
              <a:gd name="connsiteY43" fmla="*/ 1514900 h 2164296"/>
              <a:gd name="connsiteX44" fmla="*/ 2157412 w 2171700"/>
              <a:gd name="connsiteY44" fmla="*/ 1529188 h 2164296"/>
              <a:gd name="connsiteX45" fmla="*/ 2147887 w 2171700"/>
              <a:gd name="connsiteY45" fmla="*/ 1562525 h 2164296"/>
              <a:gd name="connsiteX46" fmla="*/ 2138362 w 2171700"/>
              <a:gd name="connsiteY46" fmla="*/ 1576813 h 2164296"/>
              <a:gd name="connsiteX47" fmla="*/ 2133600 w 2171700"/>
              <a:gd name="connsiteY47" fmla="*/ 1600625 h 2164296"/>
              <a:gd name="connsiteX48" fmla="*/ 2119312 w 2171700"/>
              <a:gd name="connsiteY48" fmla="*/ 1614913 h 2164296"/>
              <a:gd name="connsiteX49" fmla="*/ 2109787 w 2171700"/>
              <a:gd name="connsiteY49" fmla="*/ 1629200 h 2164296"/>
              <a:gd name="connsiteX50" fmla="*/ 2081212 w 2171700"/>
              <a:gd name="connsiteY50" fmla="*/ 1657775 h 2164296"/>
              <a:gd name="connsiteX51" fmla="*/ 2052637 w 2171700"/>
              <a:gd name="connsiteY51" fmla="*/ 1686350 h 2164296"/>
              <a:gd name="connsiteX52" fmla="*/ 2043112 w 2171700"/>
              <a:gd name="connsiteY52" fmla="*/ 1700638 h 2164296"/>
              <a:gd name="connsiteX53" fmla="*/ 2028825 w 2171700"/>
              <a:gd name="connsiteY53" fmla="*/ 1710163 h 2164296"/>
              <a:gd name="connsiteX54" fmla="*/ 2005012 w 2171700"/>
              <a:gd name="connsiteY54" fmla="*/ 1724450 h 2164296"/>
              <a:gd name="connsiteX55" fmla="*/ 1981200 w 2171700"/>
              <a:gd name="connsiteY55" fmla="*/ 1743500 h 2164296"/>
              <a:gd name="connsiteX56" fmla="*/ 1909762 w 2171700"/>
              <a:gd name="connsiteY56" fmla="*/ 1772075 h 2164296"/>
              <a:gd name="connsiteX57" fmla="*/ 1890712 w 2171700"/>
              <a:gd name="connsiteY57" fmla="*/ 1786363 h 2164296"/>
              <a:gd name="connsiteX58" fmla="*/ 1843087 w 2171700"/>
              <a:gd name="connsiteY58" fmla="*/ 1814938 h 2164296"/>
              <a:gd name="connsiteX59" fmla="*/ 1828800 w 2171700"/>
              <a:gd name="connsiteY59" fmla="*/ 1833988 h 2164296"/>
              <a:gd name="connsiteX60" fmla="*/ 1776412 w 2171700"/>
              <a:gd name="connsiteY60" fmla="*/ 1862563 h 2164296"/>
              <a:gd name="connsiteX61" fmla="*/ 1728787 w 2171700"/>
              <a:gd name="connsiteY61" fmla="*/ 1872088 h 2164296"/>
              <a:gd name="connsiteX62" fmla="*/ 1709737 w 2171700"/>
              <a:gd name="connsiteY62" fmla="*/ 1881613 h 2164296"/>
              <a:gd name="connsiteX63" fmla="*/ 1647825 w 2171700"/>
              <a:gd name="connsiteY63" fmla="*/ 1895900 h 2164296"/>
              <a:gd name="connsiteX64" fmla="*/ 1619250 w 2171700"/>
              <a:gd name="connsiteY64" fmla="*/ 1910188 h 2164296"/>
              <a:gd name="connsiteX65" fmla="*/ 1571625 w 2171700"/>
              <a:gd name="connsiteY65" fmla="*/ 1929238 h 2164296"/>
              <a:gd name="connsiteX66" fmla="*/ 1404937 w 2171700"/>
              <a:gd name="connsiteY66" fmla="*/ 2029250 h 2164296"/>
              <a:gd name="connsiteX67" fmla="*/ 1333500 w 2171700"/>
              <a:gd name="connsiteY67" fmla="*/ 2053063 h 2164296"/>
              <a:gd name="connsiteX68" fmla="*/ 1319212 w 2171700"/>
              <a:gd name="connsiteY68" fmla="*/ 2062588 h 2164296"/>
              <a:gd name="connsiteX69" fmla="*/ 1281112 w 2171700"/>
              <a:gd name="connsiteY69" fmla="*/ 2072113 h 2164296"/>
              <a:gd name="connsiteX70" fmla="*/ 1257300 w 2171700"/>
              <a:gd name="connsiteY70" fmla="*/ 2086400 h 2164296"/>
              <a:gd name="connsiteX71" fmla="*/ 1204912 w 2171700"/>
              <a:gd name="connsiteY71" fmla="*/ 2100688 h 2164296"/>
              <a:gd name="connsiteX72" fmla="*/ 1162050 w 2171700"/>
              <a:gd name="connsiteY72" fmla="*/ 2119738 h 2164296"/>
              <a:gd name="connsiteX73" fmla="*/ 1143000 w 2171700"/>
              <a:gd name="connsiteY73" fmla="*/ 2134025 h 2164296"/>
              <a:gd name="connsiteX74" fmla="*/ 1071562 w 2171700"/>
              <a:gd name="connsiteY74" fmla="*/ 2148313 h 2164296"/>
              <a:gd name="connsiteX75" fmla="*/ 1042987 w 2171700"/>
              <a:gd name="connsiteY75" fmla="*/ 2162600 h 2164296"/>
              <a:gd name="connsiteX76" fmla="*/ 909637 w 2171700"/>
              <a:gd name="connsiteY76" fmla="*/ 2157838 h 2164296"/>
              <a:gd name="connsiteX77" fmla="*/ 800100 w 2171700"/>
              <a:gd name="connsiteY77" fmla="*/ 2105450 h 2164296"/>
              <a:gd name="connsiteX78" fmla="*/ 762000 w 2171700"/>
              <a:gd name="connsiteY78" fmla="*/ 2091163 h 2164296"/>
              <a:gd name="connsiteX79" fmla="*/ 714375 w 2171700"/>
              <a:gd name="connsiteY79" fmla="*/ 2062588 h 2164296"/>
              <a:gd name="connsiteX80" fmla="*/ 657225 w 2171700"/>
              <a:gd name="connsiteY80" fmla="*/ 2038775 h 2164296"/>
              <a:gd name="connsiteX81" fmla="*/ 623887 w 2171700"/>
              <a:gd name="connsiteY81" fmla="*/ 2005438 h 2164296"/>
              <a:gd name="connsiteX82" fmla="*/ 585787 w 2171700"/>
              <a:gd name="connsiteY82" fmla="*/ 1976863 h 2164296"/>
              <a:gd name="connsiteX83" fmla="*/ 571500 w 2171700"/>
              <a:gd name="connsiteY83" fmla="*/ 1957813 h 2164296"/>
              <a:gd name="connsiteX84" fmla="*/ 557212 w 2171700"/>
              <a:gd name="connsiteY84" fmla="*/ 1934000 h 2164296"/>
              <a:gd name="connsiteX85" fmla="*/ 523875 w 2171700"/>
              <a:gd name="connsiteY85" fmla="*/ 1895900 h 2164296"/>
              <a:gd name="connsiteX86" fmla="*/ 495300 w 2171700"/>
              <a:gd name="connsiteY86" fmla="*/ 1848275 h 2164296"/>
              <a:gd name="connsiteX87" fmla="*/ 471487 w 2171700"/>
              <a:gd name="connsiteY87" fmla="*/ 1819700 h 2164296"/>
              <a:gd name="connsiteX88" fmla="*/ 447675 w 2171700"/>
              <a:gd name="connsiteY88" fmla="*/ 1781600 h 2164296"/>
              <a:gd name="connsiteX89" fmla="*/ 400050 w 2171700"/>
              <a:gd name="connsiteY89" fmla="*/ 1738738 h 2164296"/>
              <a:gd name="connsiteX90" fmla="*/ 381000 w 2171700"/>
              <a:gd name="connsiteY90" fmla="*/ 1705400 h 2164296"/>
              <a:gd name="connsiteX91" fmla="*/ 366712 w 2171700"/>
              <a:gd name="connsiteY91" fmla="*/ 1686350 h 2164296"/>
              <a:gd name="connsiteX92" fmla="*/ 347662 w 2171700"/>
              <a:gd name="connsiteY92" fmla="*/ 1657775 h 2164296"/>
              <a:gd name="connsiteX93" fmla="*/ 290512 w 2171700"/>
              <a:gd name="connsiteY93" fmla="*/ 1600625 h 2164296"/>
              <a:gd name="connsiteX94" fmla="*/ 266700 w 2171700"/>
              <a:gd name="connsiteY94" fmla="*/ 1576813 h 2164296"/>
              <a:gd name="connsiteX95" fmla="*/ 252412 w 2171700"/>
              <a:gd name="connsiteY95" fmla="*/ 1562525 h 2164296"/>
              <a:gd name="connsiteX96" fmla="*/ 214312 w 2171700"/>
              <a:gd name="connsiteY96" fmla="*/ 1538713 h 2164296"/>
              <a:gd name="connsiteX97" fmla="*/ 190500 w 2171700"/>
              <a:gd name="connsiteY97" fmla="*/ 1510138 h 2164296"/>
              <a:gd name="connsiteX98" fmla="*/ 166687 w 2171700"/>
              <a:gd name="connsiteY98" fmla="*/ 1491088 h 2164296"/>
              <a:gd name="connsiteX99" fmla="*/ 147637 w 2171700"/>
              <a:gd name="connsiteY99" fmla="*/ 1462513 h 2164296"/>
              <a:gd name="connsiteX100" fmla="*/ 123825 w 2171700"/>
              <a:gd name="connsiteY100" fmla="*/ 1438700 h 2164296"/>
              <a:gd name="connsiteX101" fmla="*/ 114300 w 2171700"/>
              <a:gd name="connsiteY101" fmla="*/ 1424413 h 2164296"/>
              <a:gd name="connsiteX102" fmla="*/ 95250 w 2171700"/>
              <a:gd name="connsiteY102" fmla="*/ 1405363 h 2164296"/>
              <a:gd name="connsiteX103" fmla="*/ 76200 w 2171700"/>
              <a:gd name="connsiteY103" fmla="*/ 1376788 h 2164296"/>
              <a:gd name="connsiteX104" fmla="*/ 61912 w 2171700"/>
              <a:gd name="connsiteY104" fmla="*/ 1362500 h 2164296"/>
              <a:gd name="connsiteX105" fmla="*/ 52387 w 2171700"/>
              <a:gd name="connsiteY105" fmla="*/ 1348213 h 2164296"/>
              <a:gd name="connsiteX106" fmla="*/ 38100 w 2171700"/>
              <a:gd name="connsiteY106" fmla="*/ 1329163 h 2164296"/>
              <a:gd name="connsiteX107" fmla="*/ 33337 w 2171700"/>
              <a:gd name="connsiteY107" fmla="*/ 1305350 h 2164296"/>
              <a:gd name="connsiteX108" fmla="*/ 9525 w 2171700"/>
              <a:gd name="connsiteY108" fmla="*/ 1257725 h 2164296"/>
              <a:gd name="connsiteX109" fmla="*/ 0 w 2171700"/>
              <a:gd name="connsiteY109" fmla="*/ 1200575 h 2164296"/>
              <a:gd name="connsiteX110" fmla="*/ 4762 w 2171700"/>
              <a:gd name="connsiteY110" fmla="*/ 991025 h 2164296"/>
              <a:gd name="connsiteX111" fmla="*/ 42862 w 2171700"/>
              <a:gd name="connsiteY111" fmla="*/ 929113 h 2164296"/>
              <a:gd name="connsiteX112" fmla="*/ 66675 w 2171700"/>
              <a:gd name="connsiteY112" fmla="*/ 891013 h 2164296"/>
              <a:gd name="connsiteX113" fmla="*/ 85725 w 2171700"/>
              <a:gd name="connsiteY113" fmla="*/ 848150 h 2164296"/>
              <a:gd name="connsiteX114" fmla="*/ 109537 w 2171700"/>
              <a:gd name="connsiteY114" fmla="*/ 795763 h 2164296"/>
              <a:gd name="connsiteX115" fmla="*/ 128587 w 2171700"/>
              <a:gd name="connsiteY115" fmla="*/ 762425 h 2164296"/>
              <a:gd name="connsiteX116" fmla="*/ 147637 w 2171700"/>
              <a:gd name="connsiteY116" fmla="*/ 733850 h 2164296"/>
              <a:gd name="connsiteX117" fmla="*/ 209550 w 2171700"/>
              <a:gd name="connsiteY117" fmla="*/ 610025 h 2164296"/>
              <a:gd name="connsiteX118" fmla="*/ 214312 w 2171700"/>
              <a:gd name="connsiteY118" fmla="*/ 581450 h 2164296"/>
              <a:gd name="connsiteX119" fmla="*/ 238125 w 2171700"/>
              <a:gd name="connsiteY119" fmla="*/ 538588 h 2164296"/>
              <a:gd name="connsiteX120" fmla="*/ 252412 w 2171700"/>
              <a:gd name="connsiteY120" fmla="*/ 500488 h 2164296"/>
              <a:gd name="connsiteX121" fmla="*/ 266700 w 2171700"/>
              <a:gd name="connsiteY121" fmla="*/ 471913 h 2164296"/>
              <a:gd name="connsiteX122" fmla="*/ 276225 w 2171700"/>
              <a:gd name="connsiteY122" fmla="*/ 443338 h 2164296"/>
              <a:gd name="connsiteX123" fmla="*/ 285750 w 2171700"/>
              <a:gd name="connsiteY123" fmla="*/ 429050 h 2164296"/>
              <a:gd name="connsiteX124" fmla="*/ 295275 w 2171700"/>
              <a:gd name="connsiteY124" fmla="*/ 405238 h 2164296"/>
              <a:gd name="connsiteX125" fmla="*/ 314325 w 2171700"/>
              <a:gd name="connsiteY125" fmla="*/ 381425 h 2164296"/>
              <a:gd name="connsiteX126" fmla="*/ 333375 w 2171700"/>
              <a:gd name="connsiteY126" fmla="*/ 333800 h 2164296"/>
              <a:gd name="connsiteX127" fmla="*/ 361950 w 2171700"/>
              <a:gd name="connsiteY127" fmla="*/ 290938 h 2164296"/>
              <a:gd name="connsiteX128" fmla="*/ 385762 w 2171700"/>
              <a:gd name="connsiteY128" fmla="*/ 248075 h 2164296"/>
              <a:gd name="connsiteX129" fmla="*/ 400050 w 2171700"/>
              <a:gd name="connsiteY129" fmla="*/ 229025 h 2164296"/>
              <a:gd name="connsiteX130" fmla="*/ 423862 w 2171700"/>
              <a:gd name="connsiteY130" fmla="*/ 214738 h 2164296"/>
              <a:gd name="connsiteX131" fmla="*/ 447675 w 2171700"/>
              <a:gd name="connsiteY131" fmla="*/ 190925 h 2164296"/>
              <a:gd name="connsiteX132" fmla="*/ 461962 w 2171700"/>
              <a:gd name="connsiteY132" fmla="*/ 181400 h 2164296"/>
              <a:gd name="connsiteX133" fmla="*/ 495300 w 2171700"/>
              <a:gd name="connsiteY133" fmla="*/ 143300 h 2164296"/>
              <a:gd name="connsiteX134" fmla="*/ 509587 w 2171700"/>
              <a:gd name="connsiteY134" fmla="*/ 133775 h 2164296"/>
              <a:gd name="connsiteX135" fmla="*/ 619125 w 2171700"/>
              <a:gd name="connsiteY135" fmla="*/ 71863 h 2164296"/>
              <a:gd name="connsiteX136" fmla="*/ 633412 w 2171700"/>
              <a:gd name="connsiteY136" fmla="*/ 52813 h 2164296"/>
              <a:gd name="connsiteX137" fmla="*/ 652462 w 2171700"/>
              <a:gd name="connsiteY137" fmla="*/ 48050 h 2164296"/>
              <a:gd name="connsiteX138" fmla="*/ 676275 w 2171700"/>
              <a:gd name="connsiteY138" fmla="*/ 38525 h 2164296"/>
              <a:gd name="connsiteX139" fmla="*/ 719137 w 2171700"/>
              <a:gd name="connsiteY139" fmla="*/ 24238 h 2164296"/>
              <a:gd name="connsiteX140" fmla="*/ 747712 w 2171700"/>
              <a:gd name="connsiteY140" fmla="*/ 14713 h 2164296"/>
              <a:gd name="connsiteX141" fmla="*/ 795337 w 2171700"/>
              <a:gd name="connsiteY141" fmla="*/ 9950 h 2164296"/>
              <a:gd name="connsiteX142" fmla="*/ 866775 w 2171700"/>
              <a:gd name="connsiteY14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24075 w 2171700"/>
              <a:gd name="connsiteY36" fmla="*/ 1086275 h 2164296"/>
              <a:gd name="connsiteX37" fmla="*/ 2128837 w 2171700"/>
              <a:gd name="connsiteY37" fmla="*/ 1148188 h 2164296"/>
              <a:gd name="connsiteX38" fmla="*/ 2143125 w 2171700"/>
              <a:gd name="connsiteY38" fmla="*/ 1191050 h 2164296"/>
              <a:gd name="connsiteX39" fmla="*/ 2147887 w 2171700"/>
              <a:gd name="connsiteY39" fmla="*/ 1224388 h 2164296"/>
              <a:gd name="connsiteX40" fmla="*/ 2166937 w 2171700"/>
              <a:gd name="connsiteY40" fmla="*/ 1276775 h 2164296"/>
              <a:gd name="connsiteX41" fmla="*/ 2171700 w 2171700"/>
              <a:gd name="connsiteY41" fmla="*/ 1300588 h 2164296"/>
              <a:gd name="connsiteX42" fmla="*/ 2166937 w 2171700"/>
              <a:gd name="connsiteY42" fmla="*/ 1514900 h 2164296"/>
              <a:gd name="connsiteX43" fmla="*/ 2157412 w 2171700"/>
              <a:gd name="connsiteY43" fmla="*/ 1529188 h 2164296"/>
              <a:gd name="connsiteX44" fmla="*/ 2147887 w 2171700"/>
              <a:gd name="connsiteY44" fmla="*/ 1562525 h 2164296"/>
              <a:gd name="connsiteX45" fmla="*/ 2138362 w 2171700"/>
              <a:gd name="connsiteY45" fmla="*/ 1576813 h 2164296"/>
              <a:gd name="connsiteX46" fmla="*/ 2133600 w 2171700"/>
              <a:gd name="connsiteY46" fmla="*/ 1600625 h 2164296"/>
              <a:gd name="connsiteX47" fmla="*/ 2119312 w 2171700"/>
              <a:gd name="connsiteY47" fmla="*/ 1614913 h 2164296"/>
              <a:gd name="connsiteX48" fmla="*/ 2109787 w 2171700"/>
              <a:gd name="connsiteY48" fmla="*/ 1629200 h 2164296"/>
              <a:gd name="connsiteX49" fmla="*/ 2081212 w 2171700"/>
              <a:gd name="connsiteY49" fmla="*/ 1657775 h 2164296"/>
              <a:gd name="connsiteX50" fmla="*/ 2052637 w 2171700"/>
              <a:gd name="connsiteY50" fmla="*/ 1686350 h 2164296"/>
              <a:gd name="connsiteX51" fmla="*/ 2043112 w 2171700"/>
              <a:gd name="connsiteY51" fmla="*/ 1700638 h 2164296"/>
              <a:gd name="connsiteX52" fmla="*/ 2028825 w 2171700"/>
              <a:gd name="connsiteY52" fmla="*/ 1710163 h 2164296"/>
              <a:gd name="connsiteX53" fmla="*/ 2005012 w 2171700"/>
              <a:gd name="connsiteY53" fmla="*/ 1724450 h 2164296"/>
              <a:gd name="connsiteX54" fmla="*/ 1981200 w 2171700"/>
              <a:gd name="connsiteY54" fmla="*/ 1743500 h 2164296"/>
              <a:gd name="connsiteX55" fmla="*/ 1909762 w 2171700"/>
              <a:gd name="connsiteY55" fmla="*/ 1772075 h 2164296"/>
              <a:gd name="connsiteX56" fmla="*/ 1890712 w 2171700"/>
              <a:gd name="connsiteY56" fmla="*/ 1786363 h 2164296"/>
              <a:gd name="connsiteX57" fmla="*/ 1843087 w 2171700"/>
              <a:gd name="connsiteY57" fmla="*/ 1814938 h 2164296"/>
              <a:gd name="connsiteX58" fmla="*/ 1828800 w 2171700"/>
              <a:gd name="connsiteY58" fmla="*/ 1833988 h 2164296"/>
              <a:gd name="connsiteX59" fmla="*/ 1776412 w 2171700"/>
              <a:gd name="connsiteY59" fmla="*/ 1862563 h 2164296"/>
              <a:gd name="connsiteX60" fmla="*/ 1728787 w 2171700"/>
              <a:gd name="connsiteY60" fmla="*/ 1872088 h 2164296"/>
              <a:gd name="connsiteX61" fmla="*/ 1709737 w 2171700"/>
              <a:gd name="connsiteY61" fmla="*/ 1881613 h 2164296"/>
              <a:gd name="connsiteX62" fmla="*/ 1647825 w 2171700"/>
              <a:gd name="connsiteY62" fmla="*/ 1895900 h 2164296"/>
              <a:gd name="connsiteX63" fmla="*/ 1619250 w 2171700"/>
              <a:gd name="connsiteY63" fmla="*/ 1910188 h 2164296"/>
              <a:gd name="connsiteX64" fmla="*/ 1571625 w 2171700"/>
              <a:gd name="connsiteY64" fmla="*/ 1929238 h 2164296"/>
              <a:gd name="connsiteX65" fmla="*/ 1404937 w 2171700"/>
              <a:gd name="connsiteY65" fmla="*/ 2029250 h 2164296"/>
              <a:gd name="connsiteX66" fmla="*/ 1333500 w 2171700"/>
              <a:gd name="connsiteY66" fmla="*/ 2053063 h 2164296"/>
              <a:gd name="connsiteX67" fmla="*/ 1319212 w 2171700"/>
              <a:gd name="connsiteY67" fmla="*/ 2062588 h 2164296"/>
              <a:gd name="connsiteX68" fmla="*/ 1281112 w 2171700"/>
              <a:gd name="connsiteY68" fmla="*/ 2072113 h 2164296"/>
              <a:gd name="connsiteX69" fmla="*/ 1257300 w 2171700"/>
              <a:gd name="connsiteY69" fmla="*/ 2086400 h 2164296"/>
              <a:gd name="connsiteX70" fmla="*/ 1204912 w 2171700"/>
              <a:gd name="connsiteY70" fmla="*/ 2100688 h 2164296"/>
              <a:gd name="connsiteX71" fmla="*/ 1162050 w 2171700"/>
              <a:gd name="connsiteY71" fmla="*/ 2119738 h 2164296"/>
              <a:gd name="connsiteX72" fmla="*/ 1143000 w 2171700"/>
              <a:gd name="connsiteY72" fmla="*/ 2134025 h 2164296"/>
              <a:gd name="connsiteX73" fmla="*/ 1071562 w 2171700"/>
              <a:gd name="connsiteY73" fmla="*/ 2148313 h 2164296"/>
              <a:gd name="connsiteX74" fmla="*/ 1042987 w 2171700"/>
              <a:gd name="connsiteY74" fmla="*/ 2162600 h 2164296"/>
              <a:gd name="connsiteX75" fmla="*/ 909637 w 2171700"/>
              <a:gd name="connsiteY75" fmla="*/ 2157838 h 2164296"/>
              <a:gd name="connsiteX76" fmla="*/ 800100 w 2171700"/>
              <a:gd name="connsiteY76" fmla="*/ 2105450 h 2164296"/>
              <a:gd name="connsiteX77" fmla="*/ 762000 w 2171700"/>
              <a:gd name="connsiteY77" fmla="*/ 2091163 h 2164296"/>
              <a:gd name="connsiteX78" fmla="*/ 714375 w 2171700"/>
              <a:gd name="connsiteY78" fmla="*/ 2062588 h 2164296"/>
              <a:gd name="connsiteX79" fmla="*/ 657225 w 2171700"/>
              <a:gd name="connsiteY79" fmla="*/ 2038775 h 2164296"/>
              <a:gd name="connsiteX80" fmla="*/ 623887 w 2171700"/>
              <a:gd name="connsiteY80" fmla="*/ 2005438 h 2164296"/>
              <a:gd name="connsiteX81" fmla="*/ 585787 w 2171700"/>
              <a:gd name="connsiteY81" fmla="*/ 1976863 h 2164296"/>
              <a:gd name="connsiteX82" fmla="*/ 571500 w 2171700"/>
              <a:gd name="connsiteY82" fmla="*/ 1957813 h 2164296"/>
              <a:gd name="connsiteX83" fmla="*/ 557212 w 2171700"/>
              <a:gd name="connsiteY83" fmla="*/ 1934000 h 2164296"/>
              <a:gd name="connsiteX84" fmla="*/ 523875 w 2171700"/>
              <a:gd name="connsiteY84" fmla="*/ 1895900 h 2164296"/>
              <a:gd name="connsiteX85" fmla="*/ 495300 w 2171700"/>
              <a:gd name="connsiteY85" fmla="*/ 1848275 h 2164296"/>
              <a:gd name="connsiteX86" fmla="*/ 471487 w 2171700"/>
              <a:gd name="connsiteY86" fmla="*/ 1819700 h 2164296"/>
              <a:gd name="connsiteX87" fmla="*/ 447675 w 2171700"/>
              <a:gd name="connsiteY87" fmla="*/ 1781600 h 2164296"/>
              <a:gd name="connsiteX88" fmla="*/ 400050 w 2171700"/>
              <a:gd name="connsiteY88" fmla="*/ 1738738 h 2164296"/>
              <a:gd name="connsiteX89" fmla="*/ 381000 w 2171700"/>
              <a:gd name="connsiteY89" fmla="*/ 1705400 h 2164296"/>
              <a:gd name="connsiteX90" fmla="*/ 366712 w 2171700"/>
              <a:gd name="connsiteY90" fmla="*/ 1686350 h 2164296"/>
              <a:gd name="connsiteX91" fmla="*/ 347662 w 2171700"/>
              <a:gd name="connsiteY91" fmla="*/ 1657775 h 2164296"/>
              <a:gd name="connsiteX92" fmla="*/ 290512 w 2171700"/>
              <a:gd name="connsiteY92" fmla="*/ 1600625 h 2164296"/>
              <a:gd name="connsiteX93" fmla="*/ 266700 w 2171700"/>
              <a:gd name="connsiteY93" fmla="*/ 1576813 h 2164296"/>
              <a:gd name="connsiteX94" fmla="*/ 252412 w 2171700"/>
              <a:gd name="connsiteY94" fmla="*/ 1562525 h 2164296"/>
              <a:gd name="connsiteX95" fmla="*/ 214312 w 2171700"/>
              <a:gd name="connsiteY95" fmla="*/ 1538713 h 2164296"/>
              <a:gd name="connsiteX96" fmla="*/ 190500 w 2171700"/>
              <a:gd name="connsiteY96" fmla="*/ 1510138 h 2164296"/>
              <a:gd name="connsiteX97" fmla="*/ 166687 w 2171700"/>
              <a:gd name="connsiteY97" fmla="*/ 1491088 h 2164296"/>
              <a:gd name="connsiteX98" fmla="*/ 147637 w 2171700"/>
              <a:gd name="connsiteY98" fmla="*/ 1462513 h 2164296"/>
              <a:gd name="connsiteX99" fmla="*/ 123825 w 2171700"/>
              <a:gd name="connsiteY99" fmla="*/ 1438700 h 2164296"/>
              <a:gd name="connsiteX100" fmla="*/ 114300 w 2171700"/>
              <a:gd name="connsiteY100" fmla="*/ 1424413 h 2164296"/>
              <a:gd name="connsiteX101" fmla="*/ 95250 w 2171700"/>
              <a:gd name="connsiteY101" fmla="*/ 1405363 h 2164296"/>
              <a:gd name="connsiteX102" fmla="*/ 76200 w 2171700"/>
              <a:gd name="connsiteY102" fmla="*/ 1376788 h 2164296"/>
              <a:gd name="connsiteX103" fmla="*/ 61912 w 2171700"/>
              <a:gd name="connsiteY103" fmla="*/ 1362500 h 2164296"/>
              <a:gd name="connsiteX104" fmla="*/ 52387 w 2171700"/>
              <a:gd name="connsiteY104" fmla="*/ 1348213 h 2164296"/>
              <a:gd name="connsiteX105" fmla="*/ 38100 w 2171700"/>
              <a:gd name="connsiteY105" fmla="*/ 1329163 h 2164296"/>
              <a:gd name="connsiteX106" fmla="*/ 33337 w 2171700"/>
              <a:gd name="connsiteY106" fmla="*/ 1305350 h 2164296"/>
              <a:gd name="connsiteX107" fmla="*/ 9525 w 2171700"/>
              <a:gd name="connsiteY107" fmla="*/ 1257725 h 2164296"/>
              <a:gd name="connsiteX108" fmla="*/ 0 w 2171700"/>
              <a:gd name="connsiteY108" fmla="*/ 1200575 h 2164296"/>
              <a:gd name="connsiteX109" fmla="*/ 4762 w 2171700"/>
              <a:gd name="connsiteY109" fmla="*/ 991025 h 2164296"/>
              <a:gd name="connsiteX110" fmla="*/ 42862 w 2171700"/>
              <a:gd name="connsiteY110" fmla="*/ 929113 h 2164296"/>
              <a:gd name="connsiteX111" fmla="*/ 66675 w 2171700"/>
              <a:gd name="connsiteY111" fmla="*/ 891013 h 2164296"/>
              <a:gd name="connsiteX112" fmla="*/ 85725 w 2171700"/>
              <a:gd name="connsiteY112" fmla="*/ 848150 h 2164296"/>
              <a:gd name="connsiteX113" fmla="*/ 109537 w 2171700"/>
              <a:gd name="connsiteY113" fmla="*/ 795763 h 2164296"/>
              <a:gd name="connsiteX114" fmla="*/ 128587 w 2171700"/>
              <a:gd name="connsiteY114" fmla="*/ 762425 h 2164296"/>
              <a:gd name="connsiteX115" fmla="*/ 147637 w 2171700"/>
              <a:gd name="connsiteY115" fmla="*/ 733850 h 2164296"/>
              <a:gd name="connsiteX116" fmla="*/ 209550 w 2171700"/>
              <a:gd name="connsiteY116" fmla="*/ 610025 h 2164296"/>
              <a:gd name="connsiteX117" fmla="*/ 214312 w 2171700"/>
              <a:gd name="connsiteY117" fmla="*/ 581450 h 2164296"/>
              <a:gd name="connsiteX118" fmla="*/ 238125 w 2171700"/>
              <a:gd name="connsiteY118" fmla="*/ 538588 h 2164296"/>
              <a:gd name="connsiteX119" fmla="*/ 252412 w 2171700"/>
              <a:gd name="connsiteY119" fmla="*/ 500488 h 2164296"/>
              <a:gd name="connsiteX120" fmla="*/ 266700 w 2171700"/>
              <a:gd name="connsiteY120" fmla="*/ 471913 h 2164296"/>
              <a:gd name="connsiteX121" fmla="*/ 276225 w 2171700"/>
              <a:gd name="connsiteY121" fmla="*/ 443338 h 2164296"/>
              <a:gd name="connsiteX122" fmla="*/ 285750 w 2171700"/>
              <a:gd name="connsiteY122" fmla="*/ 429050 h 2164296"/>
              <a:gd name="connsiteX123" fmla="*/ 295275 w 2171700"/>
              <a:gd name="connsiteY123" fmla="*/ 405238 h 2164296"/>
              <a:gd name="connsiteX124" fmla="*/ 314325 w 2171700"/>
              <a:gd name="connsiteY124" fmla="*/ 381425 h 2164296"/>
              <a:gd name="connsiteX125" fmla="*/ 333375 w 2171700"/>
              <a:gd name="connsiteY125" fmla="*/ 333800 h 2164296"/>
              <a:gd name="connsiteX126" fmla="*/ 361950 w 2171700"/>
              <a:gd name="connsiteY126" fmla="*/ 290938 h 2164296"/>
              <a:gd name="connsiteX127" fmla="*/ 385762 w 2171700"/>
              <a:gd name="connsiteY127" fmla="*/ 248075 h 2164296"/>
              <a:gd name="connsiteX128" fmla="*/ 400050 w 2171700"/>
              <a:gd name="connsiteY128" fmla="*/ 229025 h 2164296"/>
              <a:gd name="connsiteX129" fmla="*/ 423862 w 2171700"/>
              <a:gd name="connsiteY129" fmla="*/ 214738 h 2164296"/>
              <a:gd name="connsiteX130" fmla="*/ 447675 w 2171700"/>
              <a:gd name="connsiteY130" fmla="*/ 190925 h 2164296"/>
              <a:gd name="connsiteX131" fmla="*/ 461962 w 2171700"/>
              <a:gd name="connsiteY131" fmla="*/ 181400 h 2164296"/>
              <a:gd name="connsiteX132" fmla="*/ 495300 w 2171700"/>
              <a:gd name="connsiteY132" fmla="*/ 143300 h 2164296"/>
              <a:gd name="connsiteX133" fmla="*/ 509587 w 2171700"/>
              <a:gd name="connsiteY133" fmla="*/ 133775 h 2164296"/>
              <a:gd name="connsiteX134" fmla="*/ 619125 w 2171700"/>
              <a:gd name="connsiteY134" fmla="*/ 71863 h 2164296"/>
              <a:gd name="connsiteX135" fmla="*/ 633412 w 2171700"/>
              <a:gd name="connsiteY135" fmla="*/ 52813 h 2164296"/>
              <a:gd name="connsiteX136" fmla="*/ 652462 w 2171700"/>
              <a:gd name="connsiteY136" fmla="*/ 48050 h 2164296"/>
              <a:gd name="connsiteX137" fmla="*/ 676275 w 2171700"/>
              <a:gd name="connsiteY137" fmla="*/ 38525 h 2164296"/>
              <a:gd name="connsiteX138" fmla="*/ 719137 w 2171700"/>
              <a:gd name="connsiteY138" fmla="*/ 24238 h 2164296"/>
              <a:gd name="connsiteX139" fmla="*/ 747712 w 2171700"/>
              <a:gd name="connsiteY139" fmla="*/ 14713 h 2164296"/>
              <a:gd name="connsiteX140" fmla="*/ 795337 w 2171700"/>
              <a:gd name="connsiteY140" fmla="*/ 9950 h 2164296"/>
              <a:gd name="connsiteX141" fmla="*/ 866775 w 2171700"/>
              <a:gd name="connsiteY14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47675 w 2171700"/>
              <a:gd name="connsiteY86" fmla="*/ 1781600 h 2164296"/>
              <a:gd name="connsiteX87" fmla="*/ 400050 w 2171700"/>
              <a:gd name="connsiteY87" fmla="*/ 1738738 h 2164296"/>
              <a:gd name="connsiteX88" fmla="*/ 381000 w 2171700"/>
              <a:gd name="connsiteY88" fmla="*/ 1705400 h 2164296"/>
              <a:gd name="connsiteX89" fmla="*/ 366712 w 2171700"/>
              <a:gd name="connsiteY89" fmla="*/ 1686350 h 2164296"/>
              <a:gd name="connsiteX90" fmla="*/ 347662 w 2171700"/>
              <a:gd name="connsiteY90" fmla="*/ 1657775 h 2164296"/>
              <a:gd name="connsiteX91" fmla="*/ 290512 w 2171700"/>
              <a:gd name="connsiteY91" fmla="*/ 1600625 h 2164296"/>
              <a:gd name="connsiteX92" fmla="*/ 266700 w 2171700"/>
              <a:gd name="connsiteY92" fmla="*/ 1576813 h 2164296"/>
              <a:gd name="connsiteX93" fmla="*/ 252412 w 2171700"/>
              <a:gd name="connsiteY93" fmla="*/ 1562525 h 2164296"/>
              <a:gd name="connsiteX94" fmla="*/ 214312 w 2171700"/>
              <a:gd name="connsiteY94" fmla="*/ 1538713 h 2164296"/>
              <a:gd name="connsiteX95" fmla="*/ 190500 w 2171700"/>
              <a:gd name="connsiteY95" fmla="*/ 1510138 h 2164296"/>
              <a:gd name="connsiteX96" fmla="*/ 166687 w 2171700"/>
              <a:gd name="connsiteY96" fmla="*/ 1491088 h 2164296"/>
              <a:gd name="connsiteX97" fmla="*/ 147637 w 2171700"/>
              <a:gd name="connsiteY97" fmla="*/ 1462513 h 2164296"/>
              <a:gd name="connsiteX98" fmla="*/ 123825 w 2171700"/>
              <a:gd name="connsiteY98" fmla="*/ 1438700 h 2164296"/>
              <a:gd name="connsiteX99" fmla="*/ 114300 w 2171700"/>
              <a:gd name="connsiteY99" fmla="*/ 1424413 h 2164296"/>
              <a:gd name="connsiteX100" fmla="*/ 95250 w 2171700"/>
              <a:gd name="connsiteY100" fmla="*/ 1405363 h 2164296"/>
              <a:gd name="connsiteX101" fmla="*/ 76200 w 2171700"/>
              <a:gd name="connsiteY101" fmla="*/ 1376788 h 2164296"/>
              <a:gd name="connsiteX102" fmla="*/ 61912 w 2171700"/>
              <a:gd name="connsiteY102" fmla="*/ 1362500 h 2164296"/>
              <a:gd name="connsiteX103" fmla="*/ 52387 w 2171700"/>
              <a:gd name="connsiteY103" fmla="*/ 1348213 h 2164296"/>
              <a:gd name="connsiteX104" fmla="*/ 38100 w 2171700"/>
              <a:gd name="connsiteY104" fmla="*/ 1329163 h 2164296"/>
              <a:gd name="connsiteX105" fmla="*/ 33337 w 2171700"/>
              <a:gd name="connsiteY105" fmla="*/ 1305350 h 2164296"/>
              <a:gd name="connsiteX106" fmla="*/ 9525 w 2171700"/>
              <a:gd name="connsiteY106" fmla="*/ 1257725 h 2164296"/>
              <a:gd name="connsiteX107" fmla="*/ 0 w 2171700"/>
              <a:gd name="connsiteY107" fmla="*/ 1200575 h 2164296"/>
              <a:gd name="connsiteX108" fmla="*/ 4762 w 2171700"/>
              <a:gd name="connsiteY108" fmla="*/ 991025 h 2164296"/>
              <a:gd name="connsiteX109" fmla="*/ 42862 w 2171700"/>
              <a:gd name="connsiteY109" fmla="*/ 929113 h 2164296"/>
              <a:gd name="connsiteX110" fmla="*/ 66675 w 2171700"/>
              <a:gd name="connsiteY110" fmla="*/ 891013 h 2164296"/>
              <a:gd name="connsiteX111" fmla="*/ 85725 w 2171700"/>
              <a:gd name="connsiteY111" fmla="*/ 848150 h 2164296"/>
              <a:gd name="connsiteX112" fmla="*/ 109537 w 2171700"/>
              <a:gd name="connsiteY112" fmla="*/ 795763 h 2164296"/>
              <a:gd name="connsiteX113" fmla="*/ 128587 w 2171700"/>
              <a:gd name="connsiteY113" fmla="*/ 762425 h 2164296"/>
              <a:gd name="connsiteX114" fmla="*/ 147637 w 2171700"/>
              <a:gd name="connsiteY114" fmla="*/ 733850 h 2164296"/>
              <a:gd name="connsiteX115" fmla="*/ 209550 w 2171700"/>
              <a:gd name="connsiteY115" fmla="*/ 610025 h 2164296"/>
              <a:gd name="connsiteX116" fmla="*/ 214312 w 2171700"/>
              <a:gd name="connsiteY116" fmla="*/ 581450 h 2164296"/>
              <a:gd name="connsiteX117" fmla="*/ 238125 w 2171700"/>
              <a:gd name="connsiteY117" fmla="*/ 538588 h 2164296"/>
              <a:gd name="connsiteX118" fmla="*/ 252412 w 2171700"/>
              <a:gd name="connsiteY118" fmla="*/ 500488 h 2164296"/>
              <a:gd name="connsiteX119" fmla="*/ 266700 w 2171700"/>
              <a:gd name="connsiteY119" fmla="*/ 471913 h 2164296"/>
              <a:gd name="connsiteX120" fmla="*/ 276225 w 2171700"/>
              <a:gd name="connsiteY120" fmla="*/ 443338 h 2164296"/>
              <a:gd name="connsiteX121" fmla="*/ 285750 w 2171700"/>
              <a:gd name="connsiteY121" fmla="*/ 429050 h 2164296"/>
              <a:gd name="connsiteX122" fmla="*/ 295275 w 2171700"/>
              <a:gd name="connsiteY122" fmla="*/ 405238 h 2164296"/>
              <a:gd name="connsiteX123" fmla="*/ 314325 w 2171700"/>
              <a:gd name="connsiteY123" fmla="*/ 381425 h 2164296"/>
              <a:gd name="connsiteX124" fmla="*/ 333375 w 2171700"/>
              <a:gd name="connsiteY124" fmla="*/ 333800 h 2164296"/>
              <a:gd name="connsiteX125" fmla="*/ 361950 w 2171700"/>
              <a:gd name="connsiteY125" fmla="*/ 290938 h 2164296"/>
              <a:gd name="connsiteX126" fmla="*/ 385762 w 2171700"/>
              <a:gd name="connsiteY126" fmla="*/ 248075 h 2164296"/>
              <a:gd name="connsiteX127" fmla="*/ 400050 w 2171700"/>
              <a:gd name="connsiteY127" fmla="*/ 229025 h 2164296"/>
              <a:gd name="connsiteX128" fmla="*/ 423862 w 2171700"/>
              <a:gd name="connsiteY128" fmla="*/ 214738 h 2164296"/>
              <a:gd name="connsiteX129" fmla="*/ 447675 w 2171700"/>
              <a:gd name="connsiteY129" fmla="*/ 190925 h 2164296"/>
              <a:gd name="connsiteX130" fmla="*/ 461962 w 2171700"/>
              <a:gd name="connsiteY130" fmla="*/ 181400 h 2164296"/>
              <a:gd name="connsiteX131" fmla="*/ 495300 w 2171700"/>
              <a:gd name="connsiteY131" fmla="*/ 143300 h 2164296"/>
              <a:gd name="connsiteX132" fmla="*/ 509587 w 2171700"/>
              <a:gd name="connsiteY132" fmla="*/ 133775 h 2164296"/>
              <a:gd name="connsiteX133" fmla="*/ 619125 w 2171700"/>
              <a:gd name="connsiteY133" fmla="*/ 71863 h 2164296"/>
              <a:gd name="connsiteX134" fmla="*/ 633412 w 2171700"/>
              <a:gd name="connsiteY134" fmla="*/ 52813 h 2164296"/>
              <a:gd name="connsiteX135" fmla="*/ 652462 w 2171700"/>
              <a:gd name="connsiteY135" fmla="*/ 48050 h 2164296"/>
              <a:gd name="connsiteX136" fmla="*/ 676275 w 2171700"/>
              <a:gd name="connsiteY136" fmla="*/ 38525 h 2164296"/>
              <a:gd name="connsiteX137" fmla="*/ 719137 w 2171700"/>
              <a:gd name="connsiteY137" fmla="*/ 24238 h 2164296"/>
              <a:gd name="connsiteX138" fmla="*/ 747712 w 2171700"/>
              <a:gd name="connsiteY138" fmla="*/ 14713 h 2164296"/>
              <a:gd name="connsiteX139" fmla="*/ 795337 w 2171700"/>
              <a:gd name="connsiteY139" fmla="*/ 9950 h 2164296"/>
              <a:gd name="connsiteX140" fmla="*/ 866775 w 2171700"/>
              <a:gd name="connsiteY14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00050 w 2171700"/>
              <a:gd name="connsiteY86" fmla="*/ 1738738 h 2164296"/>
              <a:gd name="connsiteX87" fmla="*/ 381000 w 2171700"/>
              <a:gd name="connsiteY87" fmla="*/ 1705400 h 2164296"/>
              <a:gd name="connsiteX88" fmla="*/ 366712 w 2171700"/>
              <a:gd name="connsiteY88" fmla="*/ 1686350 h 2164296"/>
              <a:gd name="connsiteX89" fmla="*/ 347662 w 2171700"/>
              <a:gd name="connsiteY89" fmla="*/ 1657775 h 2164296"/>
              <a:gd name="connsiteX90" fmla="*/ 290512 w 2171700"/>
              <a:gd name="connsiteY90" fmla="*/ 1600625 h 2164296"/>
              <a:gd name="connsiteX91" fmla="*/ 266700 w 2171700"/>
              <a:gd name="connsiteY91" fmla="*/ 1576813 h 2164296"/>
              <a:gd name="connsiteX92" fmla="*/ 252412 w 2171700"/>
              <a:gd name="connsiteY92" fmla="*/ 1562525 h 2164296"/>
              <a:gd name="connsiteX93" fmla="*/ 214312 w 2171700"/>
              <a:gd name="connsiteY93" fmla="*/ 1538713 h 2164296"/>
              <a:gd name="connsiteX94" fmla="*/ 190500 w 2171700"/>
              <a:gd name="connsiteY94" fmla="*/ 1510138 h 2164296"/>
              <a:gd name="connsiteX95" fmla="*/ 166687 w 2171700"/>
              <a:gd name="connsiteY95" fmla="*/ 1491088 h 2164296"/>
              <a:gd name="connsiteX96" fmla="*/ 147637 w 2171700"/>
              <a:gd name="connsiteY96" fmla="*/ 1462513 h 2164296"/>
              <a:gd name="connsiteX97" fmla="*/ 123825 w 2171700"/>
              <a:gd name="connsiteY97" fmla="*/ 1438700 h 2164296"/>
              <a:gd name="connsiteX98" fmla="*/ 114300 w 2171700"/>
              <a:gd name="connsiteY98" fmla="*/ 1424413 h 2164296"/>
              <a:gd name="connsiteX99" fmla="*/ 95250 w 2171700"/>
              <a:gd name="connsiteY99" fmla="*/ 1405363 h 2164296"/>
              <a:gd name="connsiteX100" fmla="*/ 76200 w 2171700"/>
              <a:gd name="connsiteY100" fmla="*/ 1376788 h 2164296"/>
              <a:gd name="connsiteX101" fmla="*/ 61912 w 2171700"/>
              <a:gd name="connsiteY101" fmla="*/ 1362500 h 2164296"/>
              <a:gd name="connsiteX102" fmla="*/ 52387 w 2171700"/>
              <a:gd name="connsiteY102" fmla="*/ 1348213 h 2164296"/>
              <a:gd name="connsiteX103" fmla="*/ 38100 w 2171700"/>
              <a:gd name="connsiteY103" fmla="*/ 1329163 h 2164296"/>
              <a:gd name="connsiteX104" fmla="*/ 33337 w 2171700"/>
              <a:gd name="connsiteY104" fmla="*/ 1305350 h 2164296"/>
              <a:gd name="connsiteX105" fmla="*/ 9525 w 2171700"/>
              <a:gd name="connsiteY105" fmla="*/ 1257725 h 2164296"/>
              <a:gd name="connsiteX106" fmla="*/ 0 w 2171700"/>
              <a:gd name="connsiteY106" fmla="*/ 1200575 h 2164296"/>
              <a:gd name="connsiteX107" fmla="*/ 4762 w 2171700"/>
              <a:gd name="connsiteY107" fmla="*/ 991025 h 2164296"/>
              <a:gd name="connsiteX108" fmla="*/ 42862 w 2171700"/>
              <a:gd name="connsiteY108" fmla="*/ 929113 h 2164296"/>
              <a:gd name="connsiteX109" fmla="*/ 66675 w 2171700"/>
              <a:gd name="connsiteY109" fmla="*/ 891013 h 2164296"/>
              <a:gd name="connsiteX110" fmla="*/ 85725 w 2171700"/>
              <a:gd name="connsiteY110" fmla="*/ 848150 h 2164296"/>
              <a:gd name="connsiteX111" fmla="*/ 109537 w 2171700"/>
              <a:gd name="connsiteY111" fmla="*/ 795763 h 2164296"/>
              <a:gd name="connsiteX112" fmla="*/ 128587 w 2171700"/>
              <a:gd name="connsiteY112" fmla="*/ 762425 h 2164296"/>
              <a:gd name="connsiteX113" fmla="*/ 147637 w 2171700"/>
              <a:gd name="connsiteY113" fmla="*/ 733850 h 2164296"/>
              <a:gd name="connsiteX114" fmla="*/ 209550 w 2171700"/>
              <a:gd name="connsiteY114" fmla="*/ 610025 h 2164296"/>
              <a:gd name="connsiteX115" fmla="*/ 214312 w 2171700"/>
              <a:gd name="connsiteY115" fmla="*/ 581450 h 2164296"/>
              <a:gd name="connsiteX116" fmla="*/ 238125 w 2171700"/>
              <a:gd name="connsiteY116" fmla="*/ 538588 h 2164296"/>
              <a:gd name="connsiteX117" fmla="*/ 252412 w 2171700"/>
              <a:gd name="connsiteY117" fmla="*/ 500488 h 2164296"/>
              <a:gd name="connsiteX118" fmla="*/ 266700 w 2171700"/>
              <a:gd name="connsiteY118" fmla="*/ 471913 h 2164296"/>
              <a:gd name="connsiteX119" fmla="*/ 276225 w 2171700"/>
              <a:gd name="connsiteY119" fmla="*/ 443338 h 2164296"/>
              <a:gd name="connsiteX120" fmla="*/ 285750 w 2171700"/>
              <a:gd name="connsiteY120" fmla="*/ 429050 h 2164296"/>
              <a:gd name="connsiteX121" fmla="*/ 295275 w 2171700"/>
              <a:gd name="connsiteY121" fmla="*/ 405238 h 2164296"/>
              <a:gd name="connsiteX122" fmla="*/ 314325 w 2171700"/>
              <a:gd name="connsiteY122" fmla="*/ 381425 h 2164296"/>
              <a:gd name="connsiteX123" fmla="*/ 333375 w 2171700"/>
              <a:gd name="connsiteY123" fmla="*/ 333800 h 2164296"/>
              <a:gd name="connsiteX124" fmla="*/ 361950 w 2171700"/>
              <a:gd name="connsiteY124" fmla="*/ 290938 h 2164296"/>
              <a:gd name="connsiteX125" fmla="*/ 385762 w 2171700"/>
              <a:gd name="connsiteY125" fmla="*/ 248075 h 2164296"/>
              <a:gd name="connsiteX126" fmla="*/ 400050 w 2171700"/>
              <a:gd name="connsiteY126" fmla="*/ 229025 h 2164296"/>
              <a:gd name="connsiteX127" fmla="*/ 423862 w 2171700"/>
              <a:gd name="connsiteY127" fmla="*/ 214738 h 2164296"/>
              <a:gd name="connsiteX128" fmla="*/ 447675 w 2171700"/>
              <a:gd name="connsiteY128" fmla="*/ 190925 h 2164296"/>
              <a:gd name="connsiteX129" fmla="*/ 461962 w 2171700"/>
              <a:gd name="connsiteY129" fmla="*/ 181400 h 2164296"/>
              <a:gd name="connsiteX130" fmla="*/ 495300 w 2171700"/>
              <a:gd name="connsiteY130" fmla="*/ 143300 h 2164296"/>
              <a:gd name="connsiteX131" fmla="*/ 509587 w 2171700"/>
              <a:gd name="connsiteY131" fmla="*/ 133775 h 2164296"/>
              <a:gd name="connsiteX132" fmla="*/ 619125 w 2171700"/>
              <a:gd name="connsiteY132" fmla="*/ 71863 h 2164296"/>
              <a:gd name="connsiteX133" fmla="*/ 633412 w 2171700"/>
              <a:gd name="connsiteY133" fmla="*/ 52813 h 2164296"/>
              <a:gd name="connsiteX134" fmla="*/ 652462 w 2171700"/>
              <a:gd name="connsiteY134" fmla="*/ 48050 h 2164296"/>
              <a:gd name="connsiteX135" fmla="*/ 676275 w 2171700"/>
              <a:gd name="connsiteY135" fmla="*/ 38525 h 2164296"/>
              <a:gd name="connsiteX136" fmla="*/ 719137 w 2171700"/>
              <a:gd name="connsiteY136" fmla="*/ 24238 h 2164296"/>
              <a:gd name="connsiteX137" fmla="*/ 747712 w 2171700"/>
              <a:gd name="connsiteY137" fmla="*/ 14713 h 2164296"/>
              <a:gd name="connsiteX138" fmla="*/ 795337 w 2171700"/>
              <a:gd name="connsiteY138" fmla="*/ 9950 h 2164296"/>
              <a:gd name="connsiteX139" fmla="*/ 866775 w 2171700"/>
              <a:gd name="connsiteY13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400050 w 2171700"/>
              <a:gd name="connsiteY85" fmla="*/ 1738738 h 2164296"/>
              <a:gd name="connsiteX86" fmla="*/ 381000 w 2171700"/>
              <a:gd name="connsiteY86" fmla="*/ 1705400 h 2164296"/>
              <a:gd name="connsiteX87" fmla="*/ 366712 w 2171700"/>
              <a:gd name="connsiteY87" fmla="*/ 1686350 h 2164296"/>
              <a:gd name="connsiteX88" fmla="*/ 347662 w 2171700"/>
              <a:gd name="connsiteY88" fmla="*/ 1657775 h 2164296"/>
              <a:gd name="connsiteX89" fmla="*/ 290512 w 2171700"/>
              <a:gd name="connsiteY89" fmla="*/ 1600625 h 2164296"/>
              <a:gd name="connsiteX90" fmla="*/ 266700 w 2171700"/>
              <a:gd name="connsiteY90" fmla="*/ 1576813 h 2164296"/>
              <a:gd name="connsiteX91" fmla="*/ 252412 w 2171700"/>
              <a:gd name="connsiteY91" fmla="*/ 1562525 h 2164296"/>
              <a:gd name="connsiteX92" fmla="*/ 214312 w 2171700"/>
              <a:gd name="connsiteY92" fmla="*/ 1538713 h 2164296"/>
              <a:gd name="connsiteX93" fmla="*/ 190500 w 2171700"/>
              <a:gd name="connsiteY93" fmla="*/ 1510138 h 2164296"/>
              <a:gd name="connsiteX94" fmla="*/ 166687 w 2171700"/>
              <a:gd name="connsiteY94" fmla="*/ 1491088 h 2164296"/>
              <a:gd name="connsiteX95" fmla="*/ 147637 w 2171700"/>
              <a:gd name="connsiteY95" fmla="*/ 1462513 h 2164296"/>
              <a:gd name="connsiteX96" fmla="*/ 123825 w 2171700"/>
              <a:gd name="connsiteY96" fmla="*/ 1438700 h 2164296"/>
              <a:gd name="connsiteX97" fmla="*/ 114300 w 2171700"/>
              <a:gd name="connsiteY97" fmla="*/ 1424413 h 2164296"/>
              <a:gd name="connsiteX98" fmla="*/ 95250 w 2171700"/>
              <a:gd name="connsiteY98" fmla="*/ 1405363 h 2164296"/>
              <a:gd name="connsiteX99" fmla="*/ 76200 w 2171700"/>
              <a:gd name="connsiteY99" fmla="*/ 1376788 h 2164296"/>
              <a:gd name="connsiteX100" fmla="*/ 61912 w 2171700"/>
              <a:gd name="connsiteY100" fmla="*/ 1362500 h 2164296"/>
              <a:gd name="connsiteX101" fmla="*/ 52387 w 2171700"/>
              <a:gd name="connsiteY101" fmla="*/ 1348213 h 2164296"/>
              <a:gd name="connsiteX102" fmla="*/ 38100 w 2171700"/>
              <a:gd name="connsiteY102" fmla="*/ 1329163 h 2164296"/>
              <a:gd name="connsiteX103" fmla="*/ 33337 w 2171700"/>
              <a:gd name="connsiteY103" fmla="*/ 1305350 h 2164296"/>
              <a:gd name="connsiteX104" fmla="*/ 9525 w 2171700"/>
              <a:gd name="connsiteY104" fmla="*/ 1257725 h 2164296"/>
              <a:gd name="connsiteX105" fmla="*/ 0 w 2171700"/>
              <a:gd name="connsiteY105" fmla="*/ 1200575 h 2164296"/>
              <a:gd name="connsiteX106" fmla="*/ 4762 w 2171700"/>
              <a:gd name="connsiteY106" fmla="*/ 991025 h 2164296"/>
              <a:gd name="connsiteX107" fmla="*/ 42862 w 2171700"/>
              <a:gd name="connsiteY107" fmla="*/ 929113 h 2164296"/>
              <a:gd name="connsiteX108" fmla="*/ 66675 w 2171700"/>
              <a:gd name="connsiteY108" fmla="*/ 891013 h 2164296"/>
              <a:gd name="connsiteX109" fmla="*/ 85725 w 2171700"/>
              <a:gd name="connsiteY109" fmla="*/ 848150 h 2164296"/>
              <a:gd name="connsiteX110" fmla="*/ 109537 w 2171700"/>
              <a:gd name="connsiteY110" fmla="*/ 795763 h 2164296"/>
              <a:gd name="connsiteX111" fmla="*/ 128587 w 2171700"/>
              <a:gd name="connsiteY111" fmla="*/ 762425 h 2164296"/>
              <a:gd name="connsiteX112" fmla="*/ 147637 w 2171700"/>
              <a:gd name="connsiteY112" fmla="*/ 733850 h 2164296"/>
              <a:gd name="connsiteX113" fmla="*/ 209550 w 2171700"/>
              <a:gd name="connsiteY113" fmla="*/ 610025 h 2164296"/>
              <a:gd name="connsiteX114" fmla="*/ 214312 w 2171700"/>
              <a:gd name="connsiteY114" fmla="*/ 581450 h 2164296"/>
              <a:gd name="connsiteX115" fmla="*/ 238125 w 2171700"/>
              <a:gd name="connsiteY115" fmla="*/ 538588 h 2164296"/>
              <a:gd name="connsiteX116" fmla="*/ 252412 w 2171700"/>
              <a:gd name="connsiteY116" fmla="*/ 500488 h 2164296"/>
              <a:gd name="connsiteX117" fmla="*/ 266700 w 2171700"/>
              <a:gd name="connsiteY117" fmla="*/ 471913 h 2164296"/>
              <a:gd name="connsiteX118" fmla="*/ 276225 w 2171700"/>
              <a:gd name="connsiteY118" fmla="*/ 443338 h 2164296"/>
              <a:gd name="connsiteX119" fmla="*/ 285750 w 2171700"/>
              <a:gd name="connsiteY119" fmla="*/ 429050 h 2164296"/>
              <a:gd name="connsiteX120" fmla="*/ 295275 w 2171700"/>
              <a:gd name="connsiteY120" fmla="*/ 405238 h 2164296"/>
              <a:gd name="connsiteX121" fmla="*/ 314325 w 2171700"/>
              <a:gd name="connsiteY121" fmla="*/ 381425 h 2164296"/>
              <a:gd name="connsiteX122" fmla="*/ 333375 w 2171700"/>
              <a:gd name="connsiteY122" fmla="*/ 333800 h 2164296"/>
              <a:gd name="connsiteX123" fmla="*/ 361950 w 2171700"/>
              <a:gd name="connsiteY123" fmla="*/ 290938 h 2164296"/>
              <a:gd name="connsiteX124" fmla="*/ 385762 w 2171700"/>
              <a:gd name="connsiteY124" fmla="*/ 248075 h 2164296"/>
              <a:gd name="connsiteX125" fmla="*/ 400050 w 2171700"/>
              <a:gd name="connsiteY125" fmla="*/ 229025 h 2164296"/>
              <a:gd name="connsiteX126" fmla="*/ 423862 w 2171700"/>
              <a:gd name="connsiteY126" fmla="*/ 214738 h 2164296"/>
              <a:gd name="connsiteX127" fmla="*/ 447675 w 2171700"/>
              <a:gd name="connsiteY127" fmla="*/ 190925 h 2164296"/>
              <a:gd name="connsiteX128" fmla="*/ 461962 w 2171700"/>
              <a:gd name="connsiteY128" fmla="*/ 181400 h 2164296"/>
              <a:gd name="connsiteX129" fmla="*/ 495300 w 2171700"/>
              <a:gd name="connsiteY129" fmla="*/ 143300 h 2164296"/>
              <a:gd name="connsiteX130" fmla="*/ 509587 w 2171700"/>
              <a:gd name="connsiteY130" fmla="*/ 133775 h 2164296"/>
              <a:gd name="connsiteX131" fmla="*/ 619125 w 2171700"/>
              <a:gd name="connsiteY131" fmla="*/ 71863 h 2164296"/>
              <a:gd name="connsiteX132" fmla="*/ 633412 w 2171700"/>
              <a:gd name="connsiteY132" fmla="*/ 52813 h 2164296"/>
              <a:gd name="connsiteX133" fmla="*/ 652462 w 2171700"/>
              <a:gd name="connsiteY133" fmla="*/ 48050 h 2164296"/>
              <a:gd name="connsiteX134" fmla="*/ 676275 w 2171700"/>
              <a:gd name="connsiteY134" fmla="*/ 38525 h 2164296"/>
              <a:gd name="connsiteX135" fmla="*/ 719137 w 2171700"/>
              <a:gd name="connsiteY135" fmla="*/ 24238 h 2164296"/>
              <a:gd name="connsiteX136" fmla="*/ 747712 w 2171700"/>
              <a:gd name="connsiteY136" fmla="*/ 14713 h 2164296"/>
              <a:gd name="connsiteX137" fmla="*/ 795337 w 2171700"/>
              <a:gd name="connsiteY137" fmla="*/ 9950 h 2164296"/>
              <a:gd name="connsiteX138" fmla="*/ 866775 w 2171700"/>
              <a:gd name="connsiteY13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381000 w 2171700"/>
              <a:gd name="connsiteY85" fmla="*/ 1705400 h 2164296"/>
              <a:gd name="connsiteX86" fmla="*/ 366712 w 2171700"/>
              <a:gd name="connsiteY86" fmla="*/ 1686350 h 2164296"/>
              <a:gd name="connsiteX87" fmla="*/ 347662 w 2171700"/>
              <a:gd name="connsiteY87" fmla="*/ 1657775 h 2164296"/>
              <a:gd name="connsiteX88" fmla="*/ 290512 w 2171700"/>
              <a:gd name="connsiteY88" fmla="*/ 1600625 h 2164296"/>
              <a:gd name="connsiteX89" fmla="*/ 266700 w 2171700"/>
              <a:gd name="connsiteY89" fmla="*/ 1576813 h 2164296"/>
              <a:gd name="connsiteX90" fmla="*/ 252412 w 2171700"/>
              <a:gd name="connsiteY90" fmla="*/ 1562525 h 2164296"/>
              <a:gd name="connsiteX91" fmla="*/ 214312 w 2171700"/>
              <a:gd name="connsiteY91" fmla="*/ 1538713 h 2164296"/>
              <a:gd name="connsiteX92" fmla="*/ 190500 w 2171700"/>
              <a:gd name="connsiteY92" fmla="*/ 1510138 h 2164296"/>
              <a:gd name="connsiteX93" fmla="*/ 166687 w 2171700"/>
              <a:gd name="connsiteY93" fmla="*/ 1491088 h 2164296"/>
              <a:gd name="connsiteX94" fmla="*/ 147637 w 2171700"/>
              <a:gd name="connsiteY94" fmla="*/ 1462513 h 2164296"/>
              <a:gd name="connsiteX95" fmla="*/ 123825 w 2171700"/>
              <a:gd name="connsiteY95" fmla="*/ 1438700 h 2164296"/>
              <a:gd name="connsiteX96" fmla="*/ 114300 w 2171700"/>
              <a:gd name="connsiteY96" fmla="*/ 1424413 h 2164296"/>
              <a:gd name="connsiteX97" fmla="*/ 95250 w 2171700"/>
              <a:gd name="connsiteY97" fmla="*/ 1405363 h 2164296"/>
              <a:gd name="connsiteX98" fmla="*/ 76200 w 2171700"/>
              <a:gd name="connsiteY98" fmla="*/ 1376788 h 2164296"/>
              <a:gd name="connsiteX99" fmla="*/ 61912 w 2171700"/>
              <a:gd name="connsiteY99" fmla="*/ 1362500 h 2164296"/>
              <a:gd name="connsiteX100" fmla="*/ 52387 w 2171700"/>
              <a:gd name="connsiteY100" fmla="*/ 1348213 h 2164296"/>
              <a:gd name="connsiteX101" fmla="*/ 38100 w 2171700"/>
              <a:gd name="connsiteY101" fmla="*/ 1329163 h 2164296"/>
              <a:gd name="connsiteX102" fmla="*/ 33337 w 2171700"/>
              <a:gd name="connsiteY102" fmla="*/ 1305350 h 2164296"/>
              <a:gd name="connsiteX103" fmla="*/ 9525 w 2171700"/>
              <a:gd name="connsiteY103" fmla="*/ 1257725 h 2164296"/>
              <a:gd name="connsiteX104" fmla="*/ 0 w 2171700"/>
              <a:gd name="connsiteY104" fmla="*/ 1200575 h 2164296"/>
              <a:gd name="connsiteX105" fmla="*/ 4762 w 2171700"/>
              <a:gd name="connsiteY105" fmla="*/ 991025 h 2164296"/>
              <a:gd name="connsiteX106" fmla="*/ 42862 w 2171700"/>
              <a:gd name="connsiteY106" fmla="*/ 929113 h 2164296"/>
              <a:gd name="connsiteX107" fmla="*/ 66675 w 2171700"/>
              <a:gd name="connsiteY107" fmla="*/ 891013 h 2164296"/>
              <a:gd name="connsiteX108" fmla="*/ 85725 w 2171700"/>
              <a:gd name="connsiteY108" fmla="*/ 848150 h 2164296"/>
              <a:gd name="connsiteX109" fmla="*/ 109537 w 2171700"/>
              <a:gd name="connsiteY109" fmla="*/ 795763 h 2164296"/>
              <a:gd name="connsiteX110" fmla="*/ 128587 w 2171700"/>
              <a:gd name="connsiteY110" fmla="*/ 762425 h 2164296"/>
              <a:gd name="connsiteX111" fmla="*/ 147637 w 2171700"/>
              <a:gd name="connsiteY111" fmla="*/ 733850 h 2164296"/>
              <a:gd name="connsiteX112" fmla="*/ 209550 w 2171700"/>
              <a:gd name="connsiteY112" fmla="*/ 610025 h 2164296"/>
              <a:gd name="connsiteX113" fmla="*/ 214312 w 2171700"/>
              <a:gd name="connsiteY113" fmla="*/ 581450 h 2164296"/>
              <a:gd name="connsiteX114" fmla="*/ 238125 w 2171700"/>
              <a:gd name="connsiteY114" fmla="*/ 538588 h 2164296"/>
              <a:gd name="connsiteX115" fmla="*/ 252412 w 2171700"/>
              <a:gd name="connsiteY115" fmla="*/ 500488 h 2164296"/>
              <a:gd name="connsiteX116" fmla="*/ 266700 w 2171700"/>
              <a:gd name="connsiteY116" fmla="*/ 471913 h 2164296"/>
              <a:gd name="connsiteX117" fmla="*/ 276225 w 2171700"/>
              <a:gd name="connsiteY117" fmla="*/ 443338 h 2164296"/>
              <a:gd name="connsiteX118" fmla="*/ 285750 w 2171700"/>
              <a:gd name="connsiteY118" fmla="*/ 429050 h 2164296"/>
              <a:gd name="connsiteX119" fmla="*/ 295275 w 2171700"/>
              <a:gd name="connsiteY119" fmla="*/ 405238 h 2164296"/>
              <a:gd name="connsiteX120" fmla="*/ 314325 w 2171700"/>
              <a:gd name="connsiteY120" fmla="*/ 381425 h 2164296"/>
              <a:gd name="connsiteX121" fmla="*/ 333375 w 2171700"/>
              <a:gd name="connsiteY121" fmla="*/ 333800 h 2164296"/>
              <a:gd name="connsiteX122" fmla="*/ 361950 w 2171700"/>
              <a:gd name="connsiteY122" fmla="*/ 290938 h 2164296"/>
              <a:gd name="connsiteX123" fmla="*/ 385762 w 2171700"/>
              <a:gd name="connsiteY123" fmla="*/ 248075 h 2164296"/>
              <a:gd name="connsiteX124" fmla="*/ 400050 w 2171700"/>
              <a:gd name="connsiteY124" fmla="*/ 229025 h 2164296"/>
              <a:gd name="connsiteX125" fmla="*/ 423862 w 2171700"/>
              <a:gd name="connsiteY125" fmla="*/ 214738 h 2164296"/>
              <a:gd name="connsiteX126" fmla="*/ 447675 w 2171700"/>
              <a:gd name="connsiteY126" fmla="*/ 190925 h 2164296"/>
              <a:gd name="connsiteX127" fmla="*/ 461962 w 2171700"/>
              <a:gd name="connsiteY127" fmla="*/ 181400 h 2164296"/>
              <a:gd name="connsiteX128" fmla="*/ 495300 w 2171700"/>
              <a:gd name="connsiteY128" fmla="*/ 143300 h 2164296"/>
              <a:gd name="connsiteX129" fmla="*/ 509587 w 2171700"/>
              <a:gd name="connsiteY129" fmla="*/ 133775 h 2164296"/>
              <a:gd name="connsiteX130" fmla="*/ 619125 w 2171700"/>
              <a:gd name="connsiteY130" fmla="*/ 71863 h 2164296"/>
              <a:gd name="connsiteX131" fmla="*/ 633412 w 2171700"/>
              <a:gd name="connsiteY131" fmla="*/ 52813 h 2164296"/>
              <a:gd name="connsiteX132" fmla="*/ 652462 w 2171700"/>
              <a:gd name="connsiteY132" fmla="*/ 48050 h 2164296"/>
              <a:gd name="connsiteX133" fmla="*/ 676275 w 2171700"/>
              <a:gd name="connsiteY133" fmla="*/ 38525 h 2164296"/>
              <a:gd name="connsiteX134" fmla="*/ 719137 w 2171700"/>
              <a:gd name="connsiteY134" fmla="*/ 24238 h 2164296"/>
              <a:gd name="connsiteX135" fmla="*/ 747712 w 2171700"/>
              <a:gd name="connsiteY135" fmla="*/ 14713 h 2164296"/>
              <a:gd name="connsiteX136" fmla="*/ 795337 w 2171700"/>
              <a:gd name="connsiteY136" fmla="*/ 9950 h 2164296"/>
              <a:gd name="connsiteX137" fmla="*/ 866775 w 2171700"/>
              <a:gd name="connsiteY13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28587 w 2171700"/>
              <a:gd name="connsiteY109" fmla="*/ 762425 h 2164296"/>
              <a:gd name="connsiteX110" fmla="*/ 147637 w 2171700"/>
              <a:gd name="connsiteY110" fmla="*/ 733850 h 2164296"/>
              <a:gd name="connsiteX111" fmla="*/ 209550 w 2171700"/>
              <a:gd name="connsiteY111" fmla="*/ 610025 h 2164296"/>
              <a:gd name="connsiteX112" fmla="*/ 214312 w 2171700"/>
              <a:gd name="connsiteY112" fmla="*/ 581450 h 2164296"/>
              <a:gd name="connsiteX113" fmla="*/ 238125 w 2171700"/>
              <a:gd name="connsiteY113" fmla="*/ 538588 h 2164296"/>
              <a:gd name="connsiteX114" fmla="*/ 252412 w 2171700"/>
              <a:gd name="connsiteY114" fmla="*/ 500488 h 2164296"/>
              <a:gd name="connsiteX115" fmla="*/ 266700 w 2171700"/>
              <a:gd name="connsiteY115" fmla="*/ 471913 h 2164296"/>
              <a:gd name="connsiteX116" fmla="*/ 276225 w 2171700"/>
              <a:gd name="connsiteY116" fmla="*/ 443338 h 2164296"/>
              <a:gd name="connsiteX117" fmla="*/ 285750 w 2171700"/>
              <a:gd name="connsiteY117" fmla="*/ 429050 h 2164296"/>
              <a:gd name="connsiteX118" fmla="*/ 295275 w 2171700"/>
              <a:gd name="connsiteY118" fmla="*/ 405238 h 2164296"/>
              <a:gd name="connsiteX119" fmla="*/ 314325 w 2171700"/>
              <a:gd name="connsiteY119" fmla="*/ 381425 h 2164296"/>
              <a:gd name="connsiteX120" fmla="*/ 333375 w 2171700"/>
              <a:gd name="connsiteY120" fmla="*/ 333800 h 2164296"/>
              <a:gd name="connsiteX121" fmla="*/ 361950 w 2171700"/>
              <a:gd name="connsiteY121" fmla="*/ 290938 h 2164296"/>
              <a:gd name="connsiteX122" fmla="*/ 385762 w 2171700"/>
              <a:gd name="connsiteY122" fmla="*/ 248075 h 2164296"/>
              <a:gd name="connsiteX123" fmla="*/ 400050 w 2171700"/>
              <a:gd name="connsiteY123" fmla="*/ 229025 h 2164296"/>
              <a:gd name="connsiteX124" fmla="*/ 423862 w 2171700"/>
              <a:gd name="connsiteY124" fmla="*/ 214738 h 2164296"/>
              <a:gd name="connsiteX125" fmla="*/ 447675 w 2171700"/>
              <a:gd name="connsiteY125" fmla="*/ 190925 h 2164296"/>
              <a:gd name="connsiteX126" fmla="*/ 461962 w 2171700"/>
              <a:gd name="connsiteY126" fmla="*/ 181400 h 2164296"/>
              <a:gd name="connsiteX127" fmla="*/ 495300 w 2171700"/>
              <a:gd name="connsiteY127" fmla="*/ 143300 h 2164296"/>
              <a:gd name="connsiteX128" fmla="*/ 509587 w 2171700"/>
              <a:gd name="connsiteY128" fmla="*/ 133775 h 2164296"/>
              <a:gd name="connsiteX129" fmla="*/ 619125 w 2171700"/>
              <a:gd name="connsiteY129" fmla="*/ 71863 h 2164296"/>
              <a:gd name="connsiteX130" fmla="*/ 633412 w 2171700"/>
              <a:gd name="connsiteY130" fmla="*/ 52813 h 2164296"/>
              <a:gd name="connsiteX131" fmla="*/ 652462 w 2171700"/>
              <a:gd name="connsiteY131" fmla="*/ 48050 h 2164296"/>
              <a:gd name="connsiteX132" fmla="*/ 676275 w 2171700"/>
              <a:gd name="connsiteY132" fmla="*/ 38525 h 2164296"/>
              <a:gd name="connsiteX133" fmla="*/ 719137 w 2171700"/>
              <a:gd name="connsiteY133" fmla="*/ 24238 h 2164296"/>
              <a:gd name="connsiteX134" fmla="*/ 747712 w 2171700"/>
              <a:gd name="connsiteY134" fmla="*/ 14713 h 2164296"/>
              <a:gd name="connsiteX135" fmla="*/ 795337 w 2171700"/>
              <a:gd name="connsiteY135" fmla="*/ 9950 h 2164296"/>
              <a:gd name="connsiteX136" fmla="*/ 866775 w 2171700"/>
              <a:gd name="connsiteY13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47637 w 2171700"/>
              <a:gd name="connsiteY109" fmla="*/ 733850 h 2164296"/>
              <a:gd name="connsiteX110" fmla="*/ 209550 w 2171700"/>
              <a:gd name="connsiteY110" fmla="*/ 610025 h 2164296"/>
              <a:gd name="connsiteX111" fmla="*/ 214312 w 2171700"/>
              <a:gd name="connsiteY111" fmla="*/ 581450 h 2164296"/>
              <a:gd name="connsiteX112" fmla="*/ 238125 w 2171700"/>
              <a:gd name="connsiteY112" fmla="*/ 538588 h 2164296"/>
              <a:gd name="connsiteX113" fmla="*/ 252412 w 2171700"/>
              <a:gd name="connsiteY113" fmla="*/ 500488 h 2164296"/>
              <a:gd name="connsiteX114" fmla="*/ 266700 w 2171700"/>
              <a:gd name="connsiteY114" fmla="*/ 471913 h 2164296"/>
              <a:gd name="connsiteX115" fmla="*/ 276225 w 2171700"/>
              <a:gd name="connsiteY115" fmla="*/ 443338 h 2164296"/>
              <a:gd name="connsiteX116" fmla="*/ 285750 w 2171700"/>
              <a:gd name="connsiteY116" fmla="*/ 429050 h 2164296"/>
              <a:gd name="connsiteX117" fmla="*/ 295275 w 2171700"/>
              <a:gd name="connsiteY117" fmla="*/ 405238 h 2164296"/>
              <a:gd name="connsiteX118" fmla="*/ 314325 w 2171700"/>
              <a:gd name="connsiteY118" fmla="*/ 381425 h 2164296"/>
              <a:gd name="connsiteX119" fmla="*/ 333375 w 2171700"/>
              <a:gd name="connsiteY119" fmla="*/ 333800 h 2164296"/>
              <a:gd name="connsiteX120" fmla="*/ 361950 w 2171700"/>
              <a:gd name="connsiteY120" fmla="*/ 290938 h 2164296"/>
              <a:gd name="connsiteX121" fmla="*/ 385762 w 2171700"/>
              <a:gd name="connsiteY121" fmla="*/ 248075 h 2164296"/>
              <a:gd name="connsiteX122" fmla="*/ 400050 w 2171700"/>
              <a:gd name="connsiteY122" fmla="*/ 229025 h 2164296"/>
              <a:gd name="connsiteX123" fmla="*/ 423862 w 2171700"/>
              <a:gd name="connsiteY123" fmla="*/ 214738 h 2164296"/>
              <a:gd name="connsiteX124" fmla="*/ 447675 w 2171700"/>
              <a:gd name="connsiteY124" fmla="*/ 190925 h 2164296"/>
              <a:gd name="connsiteX125" fmla="*/ 461962 w 2171700"/>
              <a:gd name="connsiteY125" fmla="*/ 181400 h 2164296"/>
              <a:gd name="connsiteX126" fmla="*/ 495300 w 2171700"/>
              <a:gd name="connsiteY126" fmla="*/ 143300 h 2164296"/>
              <a:gd name="connsiteX127" fmla="*/ 509587 w 2171700"/>
              <a:gd name="connsiteY127" fmla="*/ 133775 h 2164296"/>
              <a:gd name="connsiteX128" fmla="*/ 619125 w 2171700"/>
              <a:gd name="connsiteY128" fmla="*/ 71863 h 2164296"/>
              <a:gd name="connsiteX129" fmla="*/ 633412 w 2171700"/>
              <a:gd name="connsiteY129" fmla="*/ 52813 h 2164296"/>
              <a:gd name="connsiteX130" fmla="*/ 652462 w 2171700"/>
              <a:gd name="connsiteY130" fmla="*/ 48050 h 2164296"/>
              <a:gd name="connsiteX131" fmla="*/ 676275 w 2171700"/>
              <a:gd name="connsiteY131" fmla="*/ 38525 h 2164296"/>
              <a:gd name="connsiteX132" fmla="*/ 719137 w 2171700"/>
              <a:gd name="connsiteY132" fmla="*/ 24238 h 2164296"/>
              <a:gd name="connsiteX133" fmla="*/ 747712 w 2171700"/>
              <a:gd name="connsiteY133" fmla="*/ 14713 h 2164296"/>
              <a:gd name="connsiteX134" fmla="*/ 795337 w 2171700"/>
              <a:gd name="connsiteY134" fmla="*/ 9950 h 2164296"/>
              <a:gd name="connsiteX135" fmla="*/ 866775 w 2171700"/>
              <a:gd name="connsiteY13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371600 w 2171700"/>
              <a:gd name="connsiteY11" fmla="*/ 86150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28787 w 2171700"/>
              <a:gd name="connsiteY57" fmla="*/ 1872088 h 2164296"/>
              <a:gd name="connsiteX58" fmla="*/ 1709737 w 2171700"/>
              <a:gd name="connsiteY58" fmla="*/ 1881613 h 2164296"/>
              <a:gd name="connsiteX59" fmla="*/ 1647825 w 2171700"/>
              <a:gd name="connsiteY59" fmla="*/ 1895900 h 2164296"/>
              <a:gd name="connsiteX60" fmla="*/ 1619250 w 2171700"/>
              <a:gd name="connsiteY60" fmla="*/ 1910188 h 2164296"/>
              <a:gd name="connsiteX61" fmla="*/ 1571625 w 2171700"/>
              <a:gd name="connsiteY61" fmla="*/ 1929238 h 2164296"/>
              <a:gd name="connsiteX62" fmla="*/ 1404937 w 2171700"/>
              <a:gd name="connsiteY62" fmla="*/ 2029250 h 2164296"/>
              <a:gd name="connsiteX63" fmla="*/ 1333500 w 2171700"/>
              <a:gd name="connsiteY63" fmla="*/ 2053063 h 2164296"/>
              <a:gd name="connsiteX64" fmla="*/ 1319212 w 2171700"/>
              <a:gd name="connsiteY64" fmla="*/ 2062588 h 2164296"/>
              <a:gd name="connsiteX65" fmla="*/ 1281112 w 2171700"/>
              <a:gd name="connsiteY65" fmla="*/ 2072113 h 2164296"/>
              <a:gd name="connsiteX66" fmla="*/ 1257300 w 2171700"/>
              <a:gd name="connsiteY66" fmla="*/ 2086400 h 2164296"/>
              <a:gd name="connsiteX67" fmla="*/ 1204912 w 2171700"/>
              <a:gd name="connsiteY67" fmla="*/ 2100688 h 2164296"/>
              <a:gd name="connsiteX68" fmla="*/ 1162050 w 2171700"/>
              <a:gd name="connsiteY68" fmla="*/ 2119738 h 2164296"/>
              <a:gd name="connsiteX69" fmla="*/ 1143000 w 2171700"/>
              <a:gd name="connsiteY69" fmla="*/ 2134025 h 2164296"/>
              <a:gd name="connsiteX70" fmla="*/ 1071562 w 2171700"/>
              <a:gd name="connsiteY70" fmla="*/ 2148313 h 2164296"/>
              <a:gd name="connsiteX71" fmla="*/ 1042987 w 2171700"/>
              <a:gd name="connsiteY71" fmla="*/ 2162600 h 2164296"/>
              <a:gd name="connsiteX72" fmla="*/ 909637 w 2171700"/>
              <a:gd name="connsiteY72" fmla="*/ 2157838 h 2164296"/>
              <a:gd name="connsiteX73" fmla="*/ 800100 w 2171700"/>
              <a:gd name="connsiteY73" fmla="*/ 2105450 h 2164296"/>
              <a:gd name="connsiteX74" fmla="*/ 762000 w 2171700"/>
              <a:gd name="connsiteY74" fmla="*/ 2091163 h 2164296"/>
              <a:gd name="connsiteX75" fmla="*/ 714375 w 2171700"/>
              <a:gd name="connsiteY75" fmla="*/ 2062588 h 2164296"/>
              <a:gd name="connsiteX76" fmla="*/ 657225 w 2171700"/>
              <a:gd name="connsiteY76" fmla="*/ 2038775 h 2164296"/>
              <a:gd name="connsiteX77" fmla="*/ 623887 w 2171700"/>
              <a:gd name="connsiteY77" fmla="*/ 2005438 h 2164296"/>
              <a:gd name="connsiteX78" fmla="*/ 585787 w 2171700"/>
              <a:gd name="connsiteY78" fmla="*/ 1976863 h 2164296"/>
              <a:gd name="connsiteX79" fmla="*/ 571500 w 2171700"/>
              <a:gd name="connsiteY79" fmla="*/ 1957813 h 2164296"/>
              <a:gd name="connsiteX80" fmla="*/ 557212 w 2171700"/>
              <a:gd name="connsiteY80" fmla="*/ 1934000 h 2164296"/>
              <a:gd name="connsiteX81" fmla="*/ 523875 w 2171700"/>
              <a:gd name="connsiteY81" fmla="*/ 1895900 h 2164296"/>
              <a:gd name="connsiteX82" fmla="*/ 381000 w 2171700"/>
              <a:gd name="connsiteY82" fmla="*/ 1705400 h 2164296"/>
              <a:gd name="connsiteX83" fmla="*/ 366712 w 2171700"/>
              <a:gd name="connsiteY83" fmla="*/ 1686350 h 2164296"/>
              <a:gd name="connsiteX84" fmla="*/ 347662 w 2171700"/>
              <a:gd name="connsiteY84" fmla="*/ 1657775 h 2164296"/>
              <a:gd name="connsiteX85" fmla="*/ 290512 w 2171700"/>
              <a:gd name="connsiteY85" fmla="*/ 1600625 h 2164296"/>
              <a:gd name="connsiteX86" fmla="*/ 266700 w 2171700"/>
              <a:gd name="connsiteY86" fmla="*/ 1576813 h 2164296"/>
              <a:gd name="connsiteX87" fmla="*/ 252412 w 2171700"/>
              <a:gd name="connsiteY87" fmla="*/ 1562525 h 2164296"/>
              <a:gd name="connsiteX88" fmla="*/ 214312 w 2171700"/>
              <a:gd name="connsiteY88" fmla="*/ 1538713 h 2164296"/>
              <a:gd name="connsiteX89" fmla="*/ 190500 w 2171700"/>
              <a:gd name="connsiteY89" fmla="*/ 1510138 h 2164296"/>
              <a:gd name="connsiteX90" fmla="*/ 166687 w 2171700"/>
              <a:gd name="connsiteY90" fmla="*/ 1491088 h 2164296"/>
              <a:gd name="connsiteX91" fmla="*/ 147637 w 2171700"/>
              <a:gd name="connsiteY91" fmla="*/ 1462513 h 2164296"/>
              <a:gd name="connsiteX92" fmla="*/ 123825 w 2171700"/>
              <a:gd name="connsiteY92" fmla="*/ 1438700 h 2164296"/>
              <a:gd name="connsiteX93" fmla="*/ 114300 w 2171700"/>
              <a:gd name="connsiteY93" fmla="*/ 1424413 h 2164296"/>
              <a:gd name="connsiteX94" fmla="*/ 95250 w 2171700"/>
              <a:gd name="connsiteY94" fmla="*/ 1405363 h 2164296"/>
              <a:gd name="connsiteX95" fmla="*/ 76200 w 2171700"/>
              <a:gd name="connsiteY95" fmla="*/ 1376788 h 2164296"/>
              <a:gd name="connsiteX96" fmla="*/ 61912 w 2171700"/>
              <a:gd name="connsiteY96" fmla="*/ 1362500 h 2164296"/>
              <a:gd name="connsiteX97" fmla="*/ 52387 w 2171700"/>
              <a:gd name="connsiteY97" fmla="*/ 1348213 h 2164296"/>
              <a:gd name="connsiteX98" fmla="*/ 38100 w 2171700"/>
              <a:gd name="connsiteY98" fmla="*/ 1329163 h 2164296"/>
              <a:gd name="connsiteX99" fmla="*/ 33337 w 2171700"/>
              <a:gd name="connsiteY99" fmla="*/ 1305350 h 2164296"/>
              <a:gd name="connsiteX100" fmla="*/ 9525 w 2171700"/>
              <a:gd name="connsiteY100" fmla="*/ 1257725 h 2164296"/>
              <a:gd name="connsiteX101" fmla="*/ 0 w 2171700"/>
              <a:gd name="connsiteY101" fmla="*/ 1200575 h 2164296"/>
              <a:gd name="connsiteX102" fmla="*/ 4762 w 2171700"/>
              <a:gd name="connsiteY102" fmla="*/ 991025 h 2164296"/>
              <a:gd name="connsiteX103" fmla="*/ 42862 w 2171700"/>
              <a:gd name="connsiteY103" fmla="*/ 929113 h 2164296"/>
              <a:gd name="connsiteX104" fmla="*/ 66675 w 2171700"/>
              <a:gd name="connsiteY104" fmla="*/ 891013 h 2164296"/>
              <a:gd name="connsiteX105" fmla="*/ 85725 w 2171700"/>
              <a:gd name="connsiteY105" fmla="*/ 848150 h 2164296"/>
              <a:gd name="connsiteX106" fmla="*/ 147637 w 2171700"/>
              <a:gd name="connsiteY106" fmla="*/ 733850 h 2164296"/>
              <a:gd name="connsiteX107" fmla="*/ 209550 w 2171700"/>
              <a:gd name="connsiteY107" fmla="*/ 610025 h 2164296"/>
              <a:gd name="connsiteX108" fmla="*/ 214312 w 2171700"/>
              <a:gd name="connsiteY108" fmla="*/ 581450 h 2164296"/>
              <a:gd name="connsiteX109" fmla="*/ 238125 w 2171700"/>
              <a:gd name="connsiteY109" fmla="*/ 538588 h 2164296"/>
              <a:gd name="connsiteX110" fmla="*/ 252412 w 2171700"/>
              <a:gd name="connsiteY110" fmla="*/ 500488 h 2164296"/>
              <a:gd name="connsiteX111" fmla="*/ 266700 w 2171700"/>
              <a:gd name="connsiteY111" fmla="*/ 471913 h 2164296"/>
              <a:gd name="connsiteX112" fmla="*/ 276225 w 2171700"/>
              <a:gd name="connsiteY112" fmla="*/ 443338 h 2164296"/>
              <a:gd name="connsiteX113" fmla="*/ 285750 w 2171700"/>
              <a:gd name="connsiteY113" fmla="*/ 429050 h 2164296"/>
              <a:gd name="connsiteX114" fmla="*/ 295275 w 2171700"/>
              <a:gd name="connsiteY114" fmla="*/ 405238 h 2164296"/>
              <a:gd name="connsiteX115" fmla="*/ 314325 w 2171700"/>
              <a:gd name="connsiteY115" fmla="*/ 381425 h 2164296"/>
              <a:gd name="connsiteX116" fmla="*/ 333375 w 2171700"/>
              <a:gd name="connsiteY116" fmla="*/ 333800 h 2164296"/>
              <a:gd name="connsiteX117" fmla="*/ 361950 w 2171700"/>
              <a:gd name="connsiteY117" fmla="*/ 290938 h 2164296"/>
              <a:gd name="connsiteX118" fmla="*/ 385762 w 2171700"/>
              <a:gd name="connsiteY118" fmla="*/ 248075 h 2164296"/>
              <a:gd name="connsiteX119" fmla="*/ 400050 w 2171700"/>
              <a:gd name="connsiteY119" fmla="*/ 229025 h 2164296"/>
              <a:gd name="connsiteX120" fmla="*/ 423862 w 2171700"/>
              <a:gd name="connsiteY120" fmla="*/ 214738 h 2164296"/>
              <a:gd name="connsiteX121" fmla="*/ 447675 w 2171700"/>
              <a:gd name="connsiteY121" fmla="*/ 190925 h 2164296"/>
              <a:gd name="connsiteX122" fmla="*/ 461962 w 2171700"/>
              <a:gd name="connsiteY122" fmla="*/ 181400 h 2164296"/>
              <a:gd name="connsiteX123" fmla="*/ 495300 w 2171700"/>
              <a:gd name="connsiteY123" fmla="*/ 143300 h 2164296"/>
              <a:gd name="connsiteX124" fmla="*/ 509587 w 2171700"/>
              <a:gd name="connsiteY124" fmla="*/ 133775 h 2164296"/>
              <a:gd name="connsiteX125" fmla="*/ 619125 w 2171700"/>
              <a:gd name="connsiteY125" fmla="*/ 71863 h 2164296"/>
              <a:gd name="connsiteX126" fmla="*/ 633412 w 2171700"/>
              <a:gd name="connsiteY126" fmla="*/ 52813 h 2164296"/>
              <a:gd name="connsiteX127" fmla="*/ 652462 w 2171700"/>
              <a:gd name="connsiteY127" fmla="*/ 48050 h 2164296"/>
              <a:gd name="connsiteX128" fmla="*/ 676275 w 2171700"/>
              <a:gd name="connsiteY128" fmla="*/ 38525 h 2164296"/>
              <a:gd name="connsiteX129" fmla="*/ 719137 w 2171700"/>
              <a:gd name="connsiteY129" fmla="*/ 24238 h 2164296"/>
              <a:gd name="connsiteX130" fmla="*/ 747712 w 2171700"/>
              <a:gd name="connsiteY130" fmla="*/ 14713 h 2164296"/>
              <a:gd name="connsiteX131" fmla="*/ 795337 w 2171700"/>
              <a:gd name="connsiteY131" fmla="*/ 9950 h 2164296"/>
              <a:gd name="connsiteX132" fmla="*/ 866775 w 2171700"/>
              <a:gd name="connsiteY13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09737 w 2171700"/>
              <a:gd name="connsiteY57" fmla="*/ 1881613 h 2164296"/>
              <a:gd name="connsiteX58" fmla="*/ 1647825 w 2171700"/>
              <a:gd name="connsiteY58" fmla="*/ 1895900 h 2164296"/>
              <a:gd name="connsiteX59" fmla="*/ 1619250 w 2171700"/>
              <a:gd name="connsiteY59" fmla="*/ 1910188 h 2164296"/>
              <a:gd name="connsiteX60" fmla="*/ 1571625 w 2171700"/>
              <a:gd name="connsiteY60" fmla="*/ 1929238 h 2164296"/>
              <a:gd name="connsiteX61" fmla="*/ 1404937 w 2171700"/>
              <a:gd name="connsiteY61" fmla="*/ 2029250 h 2164296"/>
              <a:gd name="connsiteX62" fmla="*/ 1333500 w 2171700"/>
              <a:gd name="connsiteY62" fmla="*/ 2053063 h 2164296"/>
              <a:gd name="connsiteX63" fmla="*/ 1319212 w 2171700"/>
              <a:gd name="connsiteY63" fmla="*/ 2062588 h 2164296"/>
              <a:gd name="connsiteX64" fmla="*/ 1281112 w 2171700"/>
              <a:gd name="connsiteY64" fmla="*/ 2072113 h 2164296"/>
              <a:gd name="connsiteX65" fmla="*/ 1257300 w 2171700"/>
              <a:gd name="connsiteY65" fmla="*/ 2086400 h 2164296"/>
              <a:gd name="connsiteX66" fmla="*/ 1204912 w 2171700"/>
              <a:gd name="connsiteY66" fmla="*/ 2100688 h 2164296"/>
              <a:gd name="connsiteX67" fmla="*/ 1162050 w 2171700"/>
              <a:gd name="connsiteY67" fmla="*/ 2119738 h 2164296"/>
              <a:gd name="connsiteX68" fmla="*/ 1143000 w 2171700"/>
              <a:gd name="connsiteY68" fmla="*/ 2134025 h 2164296"/>
              <a:gd name="connsiteX69" fmla="*/ 1071562 w 2171700"/>
              <a:gd name="connsiteY69" fmla="*/ 2148313 h 2164296"/>
              <a:gd name="connsiteX70" fmla="*/ 1042987 w 2171700"/>
              <a:gd name="connsiteY70" fmla="*/ 2162600 h 2164296"/>
              <a:gd name="connsiteX71" fmla="*/ 909637 w 2171700"/>
              <a:gd name="connsiteY71" fmla="*/ 2157838 h 2164296"/>
              <a:gd name="connsiteX72" fmla="*/ 800100 w 2171700"/>
              <a:gd name="connsiteY72" fmla="*/ 2105450 h 2164296"/>
              <a:gd name="connsiteX73" fmla="*/ 762000 w 2171700"/>
              <a:gd name="connsiteY73" fmla="*/ 2091163 h 2164296"/>
              <a:gd name="connsiteX74" fmla="*/ 714375 w 2171700"/>
              <a:gd name="connsiteY74" fmla="*/ 2062588 h 2164296"/>
              <a:gd name="connsiteX75" fmla="*/ 657225 w 2171700"/>
              <a:gd name="connsiteY75" fmla="*/ 2038775 h 2164296"/>
              <a:gd name="connsiteX76" fmla="*/ 623887 w 2171700"/>
              <a:gd name="connsiteY76" fmla="*/ 2005438 h 2164296"/>
              <a:gd name="connsiteX77" fmla="*/ 585787 w 2171700"/>
              <a:gd name="connsiteY77" fmla="*/ 1976863 h 2164296"/>
              <a:gd name="connsiteX78" fmla="*/ 571500 w 2171700"/>
              <a:gd name="connsiteY78" fmla="*/ 1957813 h 2164296"/>
              <a:gd name="connsiteX79" fmla="*/ 557212 w 2171700"/>
              <a:gd name="connsiteY79" fmla="*/ 1934000 h 2164296"/>
              <a:gd name="connsiteX80" fmla="*/ 523875 w 2171700"/>
              <a:gd name="connsiteY80" fmla="*/ 1895900 h 2164296"/>
              <a:gd name="connsiteX81" fmla="*/ 381000 w 2171700"/>
              <a:gd name="connsiteY81" fmla="*/ 1705400 h 2164296"/>
              <a:gd name="connsiteX82" fmla="*/ 366712 w 2171700"/>
              <a:gd name="connsiteY82" fmla="*/ 1686350 h 2164296"/>
              <a:gd name="connsiteX83" fmla="*/ 347662 w 2171700"/>
              <a:gd name="connsiteY83" fmla="*/ 1657775 h 2164296"/>
              <a:gd name="connsiteX84" fmla="*/ 290512 w 2171700"/>
              <a:gd name="connsiteY84" fmla="*/ 1600625 h 2164296"/>
              <a:gd name="connsiteX85" fmla="*/ 266700 w 2171700"/>
              <a:gd name="connsiteY85" fmla="*/ 1576813 h 2164296"/>
              <a:gd name="connsiteX86" fmla="*/ 252412 w 2171700"/>
              <a:gd name="connsiteY86" fmla="*/ 1562525 h 2164296"/>
              <a:gd name="connsiteX87" fmla="*/ 214312 w 2171700"/>
              <a:gd name="connsiteY87" fmla="*/ 1538713 h 2164296"/>
              <a:gd name="connsiteX88" fmla="*/ 190500 w 2171700"/>
              <a:gd name="connsiteY88" fmla="*/ 1510138 h 2164296"/>
              <a:gd name="connsiteX89" fmla="*/ 166687 w 2171700"/>
              <a:gd name="connsiteY89" fmla="*/ 1491088 h 2164296"/>
              <a:gd name="connsiteX90" fmla="*/ 147637 w 2171700"/>
              <a:gd name="connsiteY90" fmla="*/ 1462513 h 2164296"/>
              <a:gd name="connsiteX91" fmla="*/ 123825 w 2171700"/>
              <a:gd name="connsiteY91" fmla="*/ 1438700 h 2164296"/>
              <a:gd name="connsiteX92" fmla="*/ 114300 w 2171700"/>
              <a:gd name="connsiteY92" fmla="*/ 1424413 h 2164296"/>
              <a:gd name="connsiteX93" fmla="*/ 95250 w 2171700"/>
              <a:gd name="connsiteY93" fmla="*/ 1405363 h 2164296"/>
              <a:gd name="connsiteX94" fmla="*/ 76200 w 2171700"/>
              <a:gd name="connsiteY94" fmla="*/ 1376788 h 2164296"/>
              <a:gd name="connsiteX95" fmla="*/ 61912 w 2171700"/>
              <a:gd name="connsiteY95" fmla="*/ 1362500 h 2164296"/>
              <a:gd name="connsiteX96" fmla="*/ 52387 w 2171700"/>
              <a:gd name="connsiteY96" fmla="*/ 1348213 h 2164296"/>
              <a:gd name="connsiteX97" fmla="*/ 38100 w 2171700"/>
              <a:gd name="connsiteY97" fmla="*/ 1329163 h 2164296"/>
              <a:gd name="connsiteX98" fmla="*/ 33337 w 2171700"/>
              <a:gd name="connsiteY98" fmla="*/ 1305350 h 2164296"/>
              <a:gd name="connsiteX99" fmla="*/ 9525 w 2171700"/>
              <a:gd name="connsiteY99" fmla="*/ 1257725 h 2164296"/>
              <a:gd name="connsiteX100" fmla="*/ 0 w 2171700"/>
              <a:gd name="connsiteY100" fmla="*/ 1200575 h 2164296"/>
              <a:gd name="connsiteX101" fmla="*/ 4762 w 2171700"/>
              <a:gd name="connsiteY101" fmla="*/ 991025 h 2164296"/>
              <a:gd name="connsiteX102" fmla="*/ 42862 w 2171700"/>
              <a:gd name="connsiteY102" fmla="*/ 929113 h 2164296"/>
              <a:gd name="connsiteX103" fmla="*/ 66675 w 2171700"/>
              <a:gd name="connsiteY103" fmla="*/ 891013 h 2164296"/>
              <a:gd name="connsiteX104" fmla="*/ 85725 w 2171700"/>
              <a:gd name="connsiteY104" fmla="*/ 848150 h 2164296"/>
              <a:gd name="connsiteX105" fmla="*/ 147637 w 2171700"/>
              <a:gd name="connsiteY105" fmla="*/ 733850 h 2164296"/>
              <a:gd name="connsiteX106" fmla="*/ 209550 w 2171700"/>
              <a:gd name="connsiteY106" fmla="*/ 610025 h 2164296"/>
              <a:gd name="connsiteX107" fmla="*/ 214312 w 2171700"/>
              <a:gd name="connsiteY107" fmla="*/ 581450 h 2164296"/>
              <a:gd name="connsiteX108" fmla="*/ 238125 w 2171700"/>
              <a:gd name="connsiteY108" fmla="*/ 538588 h 2164296"/>
              <a:gd name="connsiteX109" fmla="*/ 252412 w 2171700"/>
              <a:gd name="connsiteY109" fmla="*/ 500488 h 2164296"/>
              <a:gd name="connsiteX110" fmla="*/ 266700 w 2171700"/>
              <a:gd name="connsiteY110" fmla="*/ 471913 h 2164296"/>
              <a:gd name="connsiteX111" fmla="*/ 276225 w 2171700"/>
              <a:gd name="connsiteY111" fmla="*/ 443338 h 2164296"/>
              <a:gd name="connsiteX112" fmla="*/ 285750 w 2171700"/>
              <a:gd name="connsiteY112" fmla="*/ 429050 h 2164296"/>
              <a:gd name="connsiteX113" fmla="*/ 295275 w 2171700"/>
              <a:gd name="connsiteY113" fmla="*/ 405238 h 2164296"/>
              <a:gd name="connsiteX114" fmla="*/ 314325 w 2171700"/>
              <a:gd name="connsiteY114" fmla="*/ 381425 h 2164296"/>
              <a:gd name="connsiteX115" fmla="*/ 333375 w 2171700"/>
              <a:gd name="connsiteY115" fmla="*/ 333800 h 2164296"/>
              <a:gd name="connsiteX116" fmla="*/ 361950 w 2171700"/>
              <a:gd name="connsiteY116" fmla="*/ 290938 h 2164296"/>
              <a:gd name="connsiteX117" fmla="*/ 385762 w 2171700"/>
              <a:gd name="connsiteY117" fmla="*/ 248075 h 2164296"/>
              <a:gd name="connsiteX118" fmla="*/ 400050 w 2171700"/>
              <a:gd name="connsiteY118" fmla="*/ 229025 h 2164296"/>
              <a:gd name="connsiteX119" fmla="*/ 423862 w 2171700"/>
              <a:gd name="connsiteY119" fmla="*/ 214738 h 2164296"/>
              <a:gd name="connsiteX120" fmla="*/ 447675 w 2171700"/>
              <a:gd name="connsiteY120" fmla="*/ 190925 h 2164296"/>
              <a:gd name="connsiteX121" fmla="*/ 461962 w 2171700"/>
              <a:gd name="connsiteY121" fmla="*/ 181400 h 2164296"/>
              <a:gd name="connsiteX122" fmla="*/ 495300 w 2171700"/>
              <a:gd name="connsiteY122" fmla="*/ 143300 h 2164296"/>
              <a:gd name="connsiteX123" fmla="*/ 509587 w 2171700"/>
              <a:gd name="connsiteY123" fmla="*/ 133775 h 2164296"/>
              <a:gd name="connsiteX124" fmla="*/ 619125 w 2171700"/>
              <a:gd name="connsiteY124" fmla="*/ 71863 h 2164296"/>
              <a:gd name="connsiteX125" fmla="*/ 633412 w 2171700"/>
              <a:gd name="connsiteY125" fmla="*/ 52813 h 2164296"/>
              <a:gd name="connsiteX126" fmla="*/ 652462 w 2171700"/>
              <a:gd name="connsiteY126" fmla="*/ 48050 h 2164296"/>
              <a:gd name="connsiteX127" fmla="*/ 676275 w 2171700"/>
              <a:gd name="connsiteY127" fmla="*/ 38525 h 2164296"/>
              <a:gd name="connsiteX128" fmla="*/ 719137 w 2171700"/>
              <a:gd name="connsiteY128" fmla="*/ 24238 h 2164296"/>
              <a:gd name="connsiteX129" fmla="*/ 747712 w 2171700"/>
              <a:gd name="connsiteY129" fmla="*/ 14713 h 2164296"/>
              <a:gd name="connsiteX130" fmla="*/ 795337 w 2171700"/>
              <a:gd name="connsiteY130" fmla="*/ 9950 h 2164296"/>
              <a:gd name="connsiteX131" fmla="*/ 866775 w 2171700"/>
              <a:gd name="connsiteY13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619250 w 2171700"/>
              <a:gd name="connsiteY58" fmla="*/ 1910188 h 2164296"/>
              <a:gd name="connsiteX59" fmla="*/ 1571625 w 2171700"/>
              <a:gd name="connsiteY59" fmla="*/ 1929238 h 2164296"/>
              <a:gd name="connsiteX60" fmla="*/ 1404937 w 2171700"/>
              <a:gd name="connsiteY60" fmla="*/ 2029250 h 2164296"/>
              <a:gd name="connsiteX61" fmla="*/ 1333500 w 2171700"/>
              <a:gd name="connsiteY61" fmla="*/ 2053063 h 2164296"/>
              <a:gd name="connsiteX62" fmla="*/ 1319212 w 2171700"/>
              <a:gd name="connsiteY62" fmla="*/ 2062588 h 2164296"/>
              <a:gd name="connsiteX63" fmla="*/ 1281112 w 2171700"/>
              <a:gd name="connsiteY63" fmla="*/ 2072113 h 2164296"/>
              <a:gd name="connsiteX64" fmla="*/ 1257300 w 2171700"/>
              <a:gd name="connsiteY64" fmla="*/ 2086400 h 2164296"/>
              <a:gd name="connsiteX65" fmla="*/ 1204912 w 2171700"/>
              <a:gd name="connsiteY65" fmla="*/ 2100688 h 2164296"/>
              <a:gd name="connsiteX66" fmla="*/ 1162050 w 2171700"/>
              <a:gd name="connsiteY66" fmla="*/ 2119738 h 2164296"/>
              <a:gd name="connsiteX67" fmla="*/ 1143000 w 2171700"/>
              <a:gd name="connsiteY67" fmla="*/ 2134025 h 2164296"/>
              <a:gd name="connsiteX68" fmla="*/ 1071562 w 2171700"/>
              <a:gd name="connsiteY68" fmla="*/ 2148313 h 2164296"/>
              <a:gd name="connsiteX69" fmla="*/ 1042987 w 2171700"/>
              <a:gd name="connsiteY69" fmla="*/ 2162600 h 2164296"/>
              <a:gd name="connsiteX70" fmla="*/ 909637 w 2171700"/>
              <a:gd name="connsiteY70" fmla="*/ 2157838 h 2164296"/>
              <a:gd name="connsiteX71" fmla="*/ 800100 w 2171700"/>
              <a:gd name="connsiteY71" fmla="*/ 2105450 h 2164296"/>
              <a:gd name="connsiteX72" fmla="*/ 762000 w 2171700"/>
              <a:gd name="connsiteY72" fmla="*/ 2091163 h 2164296"/>
              <a:gd name="connsiteX73" fmla="*/ 714375 w 2171700"/>
              <a:gd name="connsiteY73" fmla="*/ 2062588 h 2164296"/>
              <a:gd name="connsiteX74" fmla="*/ 657225 w 2171700"/>
              <a:gd name="connsiteY74" fmla="*/ 2038775 h 2164296"/>
              <a:gd name="connsiteX75" fmla="*/ 623887 w 2171700"/>
              <a:gd name="connsiteY75" fmla="*/ 2005438 h 2164296"/>
              <a:gd name="connsiteX76" fmla="*/ 585787 w 2171700"/>
              <a:gd name="connsiteY76" fmla="*/ 1976863 h 2164296"/>
              <a:gd name="connsiteX77" fmla="*/ 571500 w 2171700"/>
              <a:gd name="connsiteY77" fmla="*/ 1957813 h 2164296"/>
              <a:gd name="connsiteX78" fmla="*/ 557212 w 2171700"/>
              <a:gd name="connsiteY78" fmla="*/ 1934000 h 2164296"/>
              <a:gd name="connsiteX79" fmla="*/ 523875 w 2171700"/>
              <a:gd name="connsiteY79" fmla="*/ 1895900 h 2164296"/>
              <a:gd name="connsiteX80" fmla="*/ 381000 w 2171700"/>
              <a:gd name="connsiteY80" fmla="*/ 1705400 h 2164296"/>
              <a:gd name="connsiteX81" fmla="*/ 366712 w 2171700"/>
              <a:gd name="connsiteY81" fmla="*/ 1686350 h 2164296"/>
              <a:gd name="connsiteX82" fmla="*/ 347662 w 2171700"/>
              <a:gd name="connsiteY82" fmla="*/ 1657775 h 2164296"/>
              <a:gd name="connsiteX83" fmla="*/ 290512 w 2171700"/>
              <a:gd name="connsiteY83" fmla="*/ 1600625 h 2164296"/>
              <a:gd name="connsiteX84" fmla="*/ 266700 w 2171700"/>
              <a:gd name="connsiteY84" fmla="*/ 1576813 h 2164296"/>
              <a:gd name="connsiteX85" fmla="*/ 252412 w 2171700"/>
              <a:gd name="connsiteY85" fmla="*/ 1562525 h 2164296"/>
              <a:gd name="connsiteX86" fmla="*/ 214312 w 2171700"/>
              <a:gd name="connsiteY86" fmla="*/ 1538713 h 2164296"/>
              <a:gd name="connsiteX87" fmla="*/ 190500 w 2171700"/>
              <a:gd name="connsiteY87" fmla="*/ 1510138 h 2164296"/>
              <a:gd name="connsiteX88" fmla="*/ 166687 w 2171700"/>
              <a:gd name="connsiteY88" fmla="*/ 1491088 h 2164296"/>
              <a:gd name="connsiteX89" fmla="*/ 147637 w 2171700"/>
              <a:gd name="connsiteY89" fmla="*/ 1462513 h 2164296"/>
              <a:gd name="connsiteX90" fmla="*/ 123825 w 2171700"/>
              <a:gd name="connsiteY90" fmla="*/ 1438700 h 2164296"/>
              <a:gd name="connsiteX91" fmla="*/ 114300 w 2171700"/>
              <a:gd name="connsiteY91" fmla="*/ 1424413 h 2164296"/>
              <a:gd name="connsiteX92" fmla="*/ 95250 w 2171700"/>
              <a:gd name="connsiteY92" fmla="*/ 1405363 h 2164296"/>
              <a:gd name="connsiteX93" fmla="*/ 76200 w 2171700"/>
              <a:gd name="connsiteY93" fmla="*/ 1376788 h 2164296"/>
              <a:gd name="connsiteX94" fmla="*/ 61912 w 2171700"/>
              <a:gd name="connsiteY94" fmla="*/ 1362500 h 2164296"/>
              <a:gd name="connsiteX95" fmla="*/ 52387 w 2171700"/>
              <a:gd name="connsiteY95" fmla="*/ 1348213 h 2164296"/>
              <a:gd name="connsiteX96" fmla="*/ 38100 w 2171700"/>
              <a:gd name="connsiteY96" fmla="*/ 1329163 h 2164296"/>
              <a:gd name="connsiteX97" fmla="*/ 33337 w 2171700"/>
              <a:gd name="connsiteY97" fmla="*/ 1305350 h 2164296"/>
              <a:gd name="connsiteX98" fmla="*/ 9525 w 2171700"/>
              <a:gd name="connsiteY98" fmla="*/ 1257725 h 2164296"/>
              <a:gd name="connsiteX99" fmla="*/ 0 w 2171700"/>
              <a:gd name="connsiteY99" fmla="*/ 1200575 h 2164296"/>
              <a:gd name="connsiteX100" fmla="*/ 4762 w 2171700"/>
              <a:gd name="connsiteY100" fmla="*/ 991025 h 2164296"/>
              <a:gd name="connsiteX101" fmla="*/ 42862 w 2171700"/>
              <a:gd name="connsiteY101" fmla="*/ 929113 h 2164296"/>
              <a:gd name="connsiteX102" fmla="*/ 66675 w 2171700"/>
              <a:gd name="connsiteY102" fmla="*/ 891013 h 2164296"/>
              <a:gd name="connsiteX103" fmla="*/ 85725 w 2171700"/>
              <a:gd name="connsiteY103" fmla="*/ 848150 h 2164296"/>
              <a:gd name="connsiteX104" fmla="*/ 147637 w 2171700"/>
              <a:gd name="connsiteY104" fmla="*/ 733850 h 2164296"/>
              <a:gd name="connsiteX105" fmla="*/ 209550 w 2171700"/>
              <a:gd name="connsiteY105" fmla="*/ 610025 h 2164296"/>
              <a:gd name="connsiteX106" fmla="*/ 214312 w 2171700"/>
              <a:gd name="connsiteY106" fmla="*/ 581450 h 2164296"/>
              <a:gd name="connsiteX107" fmla="*/ 238125 w 2171700"/>
              <a:gd name="connsiteY107" fmla="*/ 538588 h 2164296"/>
              <a:gd name="connsiteX108" fmla="*/ 252412 w 2171700"/>
              <a:gd name="connsiteY108" fmla="*/ 500488 h 2164296"/>
              <a:gd name="connsiteX109" fmla="*/ 266700 w 2171700"/>
              <a:gd name="connsiteY109" fmla="*/ 471913 h 2164296"/>
              <a:gd name="connsiteX110" fmla="*/ 276225 w 2171700"/>
              <a:gd name="connsiteY110" fmla="*/ 443338 h 2164296"/>
              <a:gd name="connsiteX111" fmla="*/ 285750 w 2171700"/>
              <a:gd name="connsiteY111" fmla="*/ 429050 h 2164296"/>
              <a:gd name="connsiteX112" fmla="*/ 295275 w 2171700"/>
              <a:gd name="connsiteY112" fmla="*/ 405238 h 2164296"/>
              <a:gd name="connsiteX113" fmla="*/ 314325 w 2171700"/>
              <a:gd name="connsiteY113" fmla="*/ 381425 h 2164296"/>
              <a:gd name="connsiteX114" fmla="*/ 333375 w 2171700"/>
              <a:gd name="connsiteY114" fmla="*/ 333800 h 2164296"/>
              <a:gd name="connsiteX115" fmla="*/ 361950 w 2171700"/>
              <a:gd name="connsiteY115" fmla="*/ 290938 h 2164296"/>
              <a:gd name="connsiteX116" fmla="*/ 385762 w 2171700"/>
              <a:gd name="connsiteY116" fmla="*/ 248075 h 2164296"/>
              <a:gd name="connsiteX117" fmla="*/ 400050 w 2171700"/>
              <a:gd name="connsiteY117" fmla="*/ 229025 h 2164296"/>
              <a:gd name="connsiteX118" fmla="*/ 423862 w 2171700"/>
              <a:gd name="connsiteY118" fmla="*/ 214738 h 2164296"/>
              <a:gd name="connsiteX119" fmla="*/ 447675 w 2171700"/>
              <a:gd name="connsiteY119" fmla="*/ 190925 h 2164296"/>
              <a:gd name="connsiteX120" fmla="*/ 461962 w 2171700"/>
              <a:gd name="connsiteY120" fmla="*/ 181400 h 2164296"/>
              <a:gd name="connsiteX121" fmla="*/ 495300 w 2171700"/>
              <a:gd name="connsiteY121" fmla="*/ 143300 h 2164296"/>
              <a:gd name="connsiteX122" fmla="*/ 509587 w 2171700"/>
              <a:gd name="connsiteY122" fmla="*/ 133775 h 2164296"/>
              <a:gd name="connsiteX123" fmla="*/ 619125 w 2171700"/>
              <a:gd name="connsiteY123" fmla="*/ 71863 h 2164296"/>
              <a:gd name="connsiteX124" fmla="*/ 633412 w 2171700"/>
              <a:gd name="connsiteY124" fmla="*/ 52813 h 2164296"/>
              <a:gd name="connsiteX125" fmla="*/ 652462 w 2171700"/>
              <a:gd name="connsiteY125" fmla="*/ 48050 h 2164296"/>
              <a:gd name="connsiteX126" fmla="*/ 676275 w 2171700"/>
              <a:gd name="connsiteY126" fmla="*/ 38525 h 2164296"/>
              <a:gd name="connsiteX127" fmla="*/ 719137 w 2171700"/>
              <a:gd name="connsiteY127" fmla="*/ 24238 h 2164296"/>
              <a:gd name="connsiteX128" fmla="*/ 747712 w 2171700"/>
              <a:gd name="connsiteY128" fmla="*/ 14713 h 2164296"/>
              <a:gd name="connsiteX129" fmla="*/ 795337 w 2171700"/>
              <a:gd name="connsiteY129" fmla="*/ 9950 h 2164296"/>
              <a:gd name="connsiteX130" fmla="*/ 866775 w 2171700"/>
              <a:gd name="connsiteY13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571625 w 2171700"/>
              <a:gd name="connsiteY58" fmla="*/ 1929238 h 2164296"/>
              <a:gd name="connsiteX59" fmla="*/ 1404937 w 2171700"/>
              <a:gd name="connsiteY59" fmla="*/ 2029250 h 2164296"/>
              <a:gd name="connsiteX60" fmla="*/ 1333500 w 2171700"/>
              <a:gd name="connsiteY60" fmla="*/ 2053063 h 2164296"/>
              <a:gd name="connsiteX61" fmla="*/ 1319212 w 2171700"/>
              <a:gd name="connsiteY61" fmla="*/ 2062588 h 2164296"/>
              <a:gd name="connsiteX62" fmla="*/ 1281112 w 2171700"/>
              <a:gd name="connsiteY62" fmla="*/ 2072113 h 2164296"/>
              <a:gd name="connsiteX63" fmla="*/ 1257300 w 2171700"/>
              <a:gd name="connsiteY63" fmla="*/ 2086400 h 2164296"/>
              <a:gd name="connsiteX64" fmla="*/ 1204912 w 2171700"/>
              <a:gd name="connsiteY64" fmla="*/ 2100688 h 2164296"/>
              <a:gd name="connsiteX65" fmla="*/ 1162050 w 2171700"/>
              <a:gd name="connsiteY65" fmla="*/ 2119738 h 2164296"/>
              <a:gd name="connsiteX66" fmla="*/ 1143000 w 2171700"/>
              <a:gd name="connsiteY66" fmla="*/ 2134025 h 2164296"/>
              <a:gd name="connsiteX67" fmla="*/ 1071562 w 2171700"/>
              <a:gd name="connsiteY67" fmla="*/ 2148313 h 2164296"/>
              <a:gd name="connsiteX68" fmla="*/ 1042987 w 2171700"/>
              <a:gd name="connsiteY68" fmla="*/ 2162600 h 2164296"/>
              <a:gd name="connsiteX69" fmla="*/ 909637 w 2171700"/>
              <a:gd name="connsiteY69" fmla="*/ 2157838 h 2164296"/>
              <a:gd name="connsiteX70" fmla="*/ 800100 w 2171700"/>
              <a:gd name="connsiteY70" fmla="*/ 2105450 h 2164296"/>
              <a:gd name="connsiteX71" fmla="*/ 762000 w 2171700"/>
              <a:gd name="connsiteY71" fmla="*/ 2091163 h 2164296"/>
              <a:gd name="connsiteX72" fmla="*/ 714375 w 2171700"/>
              <a:gd name="connsiteY72" fmla="*/ 2062588 h 2164296"/>
              <a:gd name="connsiteX73" fmla="*/ 657225 w 2171700"/>
              <a:gd name="connsiteY73" fmla="*/ 2038775 h 2164296"/>
              <a:gd name="connsiteX74" fmla="*/ 623887 w 2171700"/>
              <a:gd name="connsiteY74" fmla="*/ 2005438 h 2164296"/>
              <a:gd name="connsiteX75" fmla="*/ 585787 w 2171700"/>
              <a:gd name="connsiteY75" fmla="*/ 1976863 h 2164296"/>
              <a:gd name="connsiteX76" fmla="*/ 571500 w 2171700"/>
              <a:gd name="connsiteY76" fmla="*/ 1957813 h 2164296"/>
              <a:gd name="connsiteX77" fmla="*/ 557212 w 2171700"/>
              <a:gd name="connsiteY77" fmla="*/ 1934000 h 2164296"/>
              <a:gd name="connsiteX78" fmla="*/ 523875 w 2171700"/>
              <a:gd name="connsiteY78" fmla="*/ 1895900 h 2164296"/>
              <a:gd name="connsiteX79" fmla="*/ 381000 w 2171700"/>
              <a:gd name="connsiteY79" fmla="*/ 1705400 h 2164296"/>
              <a:gd name="connsiteX80" fmla="*/ 366712 w 2171700"/>
              <a:gd name="connsiteY80" fmla="*/ 1686350 h 2164296"/>
              <a:gd name="connsiteX81" fmla="*/ 347662 w 2171700"/>
              <a:gd name="connsiteY81" fmla="*/ 1657775 h 2164296"/>
              <a:gd name="connsiteX82" fmla="*/ 290512 w 2171700"/>
              <a:gd name="connsiteY82" fmla="*/ 1600625 h 2164296"/>
              <a:gd name="connsiteX83" fmla="*/ 266700 w 2171700"/>
              <a:gd name="connsiteY83" fmla="*/ 1576813 h 2164296"/>
              <a:gd name="connsiteX84" fmla="*/ 252412 w 2171700"/>
              <a:gd name="connsiteY84" fmla="*/ 1562525 h 2164296"/>
              <a:gd name="connsiteX85" fmla="*/ 214312 w 2171700"/>
              <a:gd name="connsiteY85" fmla="*/ 1538713 h 2164296"/>
              <a:gd name="connsiteX86" fmla="*/ 190500 w 2171700"/>
              <a:gd name="connsiteY86" fmla="*/ 1510138 h 2164296"/>
              <a:gd name="connsiteX87" fmla="*/ 166687 w 2171700"/>
              <a:gd name="connsiteY87" fmla="*/ 1491088 h 2164296"/>
              <a:gd name="connsiteX88" fmla="*/ 147637 w 2171700"/>
              <a:gd name="connsiteY88" fmla="*/ 1462513 h 2164296"/>
              <a:gd name="connsiteX89" fmla="*/ 123825 w 2171700"/>
              <a:gd name="connsiteY89" fmla="*/ 1438700 h 2164296"/>
              <a:gd name="connsiteX90" fmla="*/ 114300 w 2171700"/>
              <a:gd name="connsiteY90" fmla="*/ 1424413 h 2164296"/>
              <a:gd name="connsiteX91" fmla="*/ 95250 w 2171700"/>
              <a:gd name="connsiteY91" fmla="*/ 1405363 h 2164296"/>
              <a:gd name="connsiteX92" fmla="*/ 76200 w 2171700"/>
              <a:gd name="connsiteY92" fmla="*/ 1376788 h 2164296"/>
              <a:gd name="connsiteX93" fmla="*/ 61912 w 2171700"/>
              <a:gd name="connsiteY93" fmla="*/ 1362500 h 2164296"/>
              <a:gd name="connsiteX94" fmla="*/ 52387 w 2171700"/>
              <a:gd name="connsiteY94" fmla="*/ 1348213 h 2164296"/>
              <a:gd name="connsiteX95" fmla="*/ 38100 w 2171700"/>
              <a:gd name="connsiteY95" fmla="*/ 1329163 h 2164296"/>
              <a:gd name="connsiteX96" fmla="*/ 33337 w 2171700"/>
              <a:gd name="connsiteY96" fmla="*/ 1305350 h 2164296"/>
              <a:gd name="connsiteX97" fmla="*/ 9525 w 2171700"/>
              <a:gd name="connsiteY97" fmla="*/ 1257725 h 2164296"/>
              <a:gd name="connsiteX98" fmla="*/ 0 w 2171700"/>
              <a:gd name="connsiteY98" fmla="*/ 1200575 h 2164296"/>
              <a:gd name="connsiteX99" fmla="*/ 4762 w 2171700"/>
              <a:gd name="connsiteY99" fmla="*/ 991025 h 2164296"/>
              <a:gd name="connsiteX100" fmla="*/ 42862 w 2171700"/>
              <a:gd name="connsiteY100" fmla="*/ 929113 h 2164296"/>
              <a:gd name="connsiteX101" fmla="*/ 66675 w 2171700"/>
              <a:gd name="connsiteY101" fmla="*/ 891013 h 2164296"/>
              <a:gd name="connsiteX102" fmla="*/ 85725 w 2171700"/>
              <a:gd name="connsiteY102" fmla="*/ 848150 h 2164296"/>
              <a:gd name="connsiteX103" fmla="*/ 147637 w 2171700"/>
              <a:gd name="connsiteY103" fmla="*/ 733850 h 2164296"/>
              <a:gd name="connsiteX104" fmla="*/ 209550 w 2171700"/>
              <a:gd name="connsiteY104" fmla="*/ 610025 h 2164296"/>
              <a:gd name="connsiteX105" fmla="*/ 214312 w 2171700"/>
              <a:gd name="connsiteY105" fmla="*/ 581450 h 2164296"/>
              <a:gd name="connsiteX106" fmla="*/ 238125 w 2171700"/>
              <a:gd name="connsiteY106" fmla="*/ 538588 h 2164296"/>
              <a:gd name="connsiteX107" fmla="*/ 252412 w 2171700"/>
              <a:gd name="connsiteY107" fmla="*/ 500488 h 2164296"/>
              <a:gd name="connsiteX108" fmla="*/ 266700 w 2171700"/>
              <a:gd name="connsiteY108" fmla="*/ 471913 h 2164296"/>
              <a:gd name="connsiteX109" fmla="*/ 276225 w 2171700"/>
              <a:gd name="connsiteY109" fmla="*/ 443338 h 2164296"/>
              <a:gd name="connsiteX110" fmla="*/ 285750 w 2171700"/>
              <a:gd name="connsiteY110" fmla="*/ 429050 h 2164296"/>
              <a:gd name="connsiteX111" fmla="*/ 295275 w 2171700"/>
              <a:gd name="connsiteY111" fmla="*/ 405238 h 2164296"/>
              <a:gd name="connsiteX112" fmla="*/ 314325 w 2171700"/>
              <a:gd name="connsiteY112" fmla="*/ 381425 h 2164296"/>
              <a:gd name="connsiteX113" fmla="*/ 333375 w 2171700"/>
              <a:gd name="connsiteY113" fmla="*/ 333800 h 2164296"/>
              <a:gd name="connsiteX114" fmla="*/ 361950 w 2171700"/>
              <a:gd name="connsiteY114" fmla="*/ 290938 h 2164296"/>
              <a:gd name="connsiteX115" fmla="*/ 385762 w 2171700"/>
              <a:gd name="connsiteY115" fmla="*/ 248075 h 2164296"/>
              <a:gd name="connsiteX116" fmla="*/ 400050 w 2171700"/>
              <a:gd name="connsiteY116" fmla="*/ 229025 h 2164296"/>
              <a:gd name="connsiteX117" fmla="*/ 423862 w 2171700"/>
              <a:gd name="connsiteY117" fmla="*/ 214738 h 2164296"/>
              <a:gd name="connsiteX118" fmla="*/ 447675 w 2171700"/>
              <a:gd name="connsiteY118" fmla="*/ 190925 h 2164296"/>
              <a:gd name="connsiteX119" fmla="*/ 461962 w 2171700"/>
              <a:gd name="connsiteY119" fmla="*/ 181400 h 2164296"/>
              <a:gd name="connsiteX120" fmla="*/ 495300 w 2171700"/>
              <a:gd name="connsiteY120" fmla="*/ 143300 h 2164296"/>
              <a:gd name="connsiteX121" fmla="*/ 509587 w 2171700"/>
              <a:gd name="connsiteY121" fmla="*/ 133775 h 2164296"/>
              <a:gd name="connsiteX122" fmla="*/ 619125 w 2171700"/>
              <a:gd name="connsiteY122" fmla="*/ 71863 h 2164296"/>
              <a:gd name="connsiteX123" fmla="*/ 633412 w 2171700"/>
              <a:gd name="connsiteY123" fmla="*/ 52813 h 2164296"/>
              <a:gd name="connsiteX124" fmla="*/ 652462 w 2171700"/>
              <a:gd name="connsiteY124" fmla="*/ 48050 h 2164296"/>
              <a:gd name="connsiteX125" fmla="*/ 676275 w 2171700"/>
              <a:gd name="connsiteY125" fmla="*/ 38525 h 2164296"/>
              <a:gd name="connsiteX126" fmla="*/ 719137 w 2171700"/>
              <a:gd name="connsiteY126" fmla="*/ 24238 h 2164296"/>
              <a:gd name="connsiteX127" fmla="*/ 747712 w 2171700"/>
              <a:gd name="connsiteY127" fmla="*/ 14713 h 2164296"/>
              <a:gd name="connsiteX128" fmla="*/ 795337 w 2171700"/>
              <a:gd name="connsiteY128" fmla="*/ 9950 h 2164296"/>
              <a:gd name="connsiteX129" fmla="*/ 866775 w 2171700"/>
              <a:gd name="connsiteY12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404937 w 2171700"/>
              <a:gd name="connsiteY58" fmla="*/ 2029250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12174 w 2183774"/>
              <a:gd name="connsiteY0" fmla="*/ 425 h 2164296"/>
              <a:gd name="connsiteX1" fmla="*/ 964574 w 2183774"/>
              <a:gd name="connsiteY1" fmla="*/ 5188 h 2164296"/>
              <a:gd name="connsiteX2" fmla="*/ 988386 w 2183774"/>
              <a:gd name="connsiteY2" fmla="*/ 9950 h 2164296"/>
              <a:gd name="connsiteX3" fmla="*/ 1055061 w 2183774"/>
              <a:gd name="connsiteY3" fmla="*/ 19475 h 2164296"/>
              <a:gd name="connsiteX4" fmla="*/ 1083636 w 2183774"/>
              <a:gd name="connsiteY4" fmla="*/ 24238 h 2164296"/>
              <a:gd name="connsiteX5" fmla="*/ 1107449 w 2183774"/>
              <a:gd name="connsiteY5" fmla="*/ 38525 h 2164296"/>
              <a:gd name="connsiteX6" fmla="*/ 1150311 w 2183774"/>
              <a:gd name="connsiteY6" fmla="*/ 48050 h 2164296"/>
              <a:gd name="connsiteX7" fmla="*/ 1169361 w 2183774"/>
              <a:gd name="connsiteY7" fmla="*/ 52813 h 2164296"/>
              <a:gd name="connsiteX8" fmla="*/ 1202699 w 2183774"/>
              <a:gd name="connsiteY8" fmla="*/ 57575 h 2164296"/>
              <a:gd name="connsiteX9" fmla="*/ 1297949 w 2183774"/>
              <a:gd name="connsiteY9" fmla="*/ 71863 h 2164296"/>
              <a:gd name="connsiteX10" fmla="*/ 1469399 w 2183774"/>
              <a:gd name="connsiteY10" fmla="*/ 109963 h 2164296"/>
              <a:gd name="connsiteX11" fmla="*/ 1493211 w 2183774"/>
              <a:gd name="connsiteY11" fmla="*/ 114725 h 2164296"/>
              <a:gd name="connsiteX12" fmla="*/ 1631324 w 2183774"/>
              <a:gd name="connsiteY12" fmla="*/ 124250 h 2164296"/>
              <a:gd name="connsiteX13" fmla="*/ 1664661 w 2183774"/>
              <a:gd name="connsiteY13" fmla="*/ 129013 h 2164296"/>
              <a:gd name="connsiteX14" fmla="*/ 1688474 w 2183774"/>
              <a:gd name="connsiteY14" fmla="*/ 133775 h 2164296"/>
              <a:gd name="connsiteX15" fmla="*/ 1736099 w 2183774"/>
              <a:gd name="connsiteY15" fmla="*/ 138538 h 2164296"/>
              <a:gd name="connsiteX16" fmla="*/ 1774199 w 2183774"/>
              <a:gd name="connsiteY16" fmla="*/ 152825 h 2164296"/>
              <a:gd name="connsiteX17" fmla="*/ 1788486 w 2183774"/>
              <a:gd name="connsiteY17" fmla="*/ 162350 h 2164296"/>
              <a:gd name="connsiteX18" fmla="*/ 1812299 w 2183774"/>
              <a:gd name="connsiteY18" fmla="*/ 167113 h 2164296"/>
              <a:gd name="connsiteX19" fmla="*/ 1836111 w 2183774"/>
              <a:gd name="connsiteY19" fmla="*/ 181400 h 2164296"/>
              <a:gd name="connsiteX20" fmla="*/ 1859924 w 2183774"/>
              <a:gd name="connsiteY20" fmla="*/ 190925 h 2164296"/>
              <a:gd name="connsiteX21" fmla="*/ 1874211 w 2183774"/>
              <a:gd name="connsiteY21" fmla="*/ 205213 h 2164296"/>
              <a:gd name="connsiteX22" fmla="*/ 1907549 w 2183774"/>
              <a:gd name="connsiteY22" fmla="*/ 229025 h 2164296"/>
              <a:gd name="connsiteX23" fmla="*/ 1959936 w 2183774"/>
              <a:gd name="connsiteY23" fmla="*/ 267125 h 2164296"/>
              <a:gd name="connsiteX24" fmla="*/ 1983749 w 2183774"/>
              <a:gd name="connsiteY24" fmla="*/ 295700 h 2164296"/>
              <a:gd name="connsiteX25" fmla="*/ 2017086 w 2183774"/>
              <a:gd name="connsiteY25" fmla="*/ 348088 h 2164296"/>
              <a:gd name="connsiteX26" fmla="*/ 2036136 w 2183774"/>
              <a:gd name="connsiteY26" fmla="*/ 410000 h 2164296"/>
              <a:gd name="connsiteX27" fmla="*/ 2045661 w 2183774"/>
              <a:gd name="connsiteY27" fmla="*/ 443338 h 2164296"/>
              <a:gd name="connsiteX28" fmla="*/ 2050424 w 2183774"/>
              <a:gd name="connsiteY28" fmla="*/ 457625 h 2164296"/>
              <a:gd name="connsiteX29" fmla="*/ 2059949 w 2183774"/>
              <a:gd name="connsiteY29" fmla="*/ 476675 h 2164296"/>
              <a:gd name="connsiteX30" fmla="*/ 2078999 w 2183774"/>
              <a:gd name="connsiteY30" fmla="*/ 548113 h 2164296"/>
              <a:gd name="connsiteX31" fmla="*/ 2093286 w 2183774"/>
              <a:gd name="connsiteY31" fmla="*/ 610025 h 2164296"/>
              <a:gd name="connsiteX32" fmla="*/ 2098049 w 2183774"/>
              <a:gd name="connsiteY32" fmla="*/ 914825 h 2164296"/>
              <a:gd name="connsiteX33" fmla="*/ 2136149 w 2183774"/>
              <a:gd name="connsiteY33" fmla="*/ 1086275 h 2164296"/>
              <a:gd name="connsiteX34" fmla="*/ 2140911 w 2183774"/>
              <a:gd name="connsiteY34" fmla="*/ 1148188 h 2164296"/>
              <a:gd name="connsiteX35" fmla="*/ 2155199 w 2183774"/>
              <a:gd name="connsiteY35" fmla="*/ 1191050 h 2164296"/>
              <a:gd name="connsiteX36" fmla="*/ 2159961 w 2183774"/>
              <a:gd name="connsiteY36" fmla="*/ 1224388 h 2164296"/>
              <a:gd name="connsiteX37" fmla="*/ 2179011 w 2183774"/>
              <a:gd name="connsiteY37" fmla="*/ 1276775 h 2164296"/>
              <a:gd name="connsiteX38" fmla="*/ 2183774 w 2183774"/>
              <a:gd name="connsiteY38" fmla="*/ 1300588 h 2164296"/>
              <a:gd name="connsiteX39" fmla="*/ 2179011 w 2183774"/>
              <a:gd name="connsiteY39" fmla="*/ 1514900 h 2164296"/>
              <a:gd name="connsiteX40" fmla="*/ 2169486 w 2183774"/>
              <a:gd name="connsiteY40" fmla="*/ 1529188 h 2164296"/>
              <a:gd name="connsiteX41" fmla="*/ 2159961 w 2183774"/>
              <a:gd name="connsiteY41" fmla="*/ 1562525 h 2164296"/>
              <a:gd name="connsiteX42" fmla="*/ 2150436 w 2183774"/>
              <a:gd name="connsiteY42" fmla="*/ 1576813 h 2164296"/>
              <a:gd name="connsiteX43" fmla="*/ 2145674 w 2183774"/>
              <a:gd name="connsiteY43" fmla="*/ 1600625 h 2164296"/>
              <a:gd name="connsiteX44" fmla="*/ 2131386 w 2183774"/>
              <a:gd name="connsiteY44" fmla="*/ 1614913 h 2164296"/>
              <a:gd name="connsiteX45" fmla="*/ 2121861 w 2183774"/>
              <a:gd name="connsiteY45" fmla="*/ 1629200 h 2164296"/>
              <a:gd name="connsiteX46" fmla="*/ 2093286 w 2183774"/>
              <a:gd name="connsiteY46" fmla="*/ 1657775 h 2164296"/>
              <a:gd name="connsiteX47" fmla="*/ 2064711 w 2183774"/>
              <a:gd name="connsiteY47" fmla="*/ 1686350 h 2164296"/>
              <a:gd name="connsiteX48" fmla="*/ 2055186 w 2183774"/>
              <a:gd name="connsiteY48" fmla="*/ 1700638 h 2164296"/>
              <a:gd name="connsiteX49" fmla="*/ 2040899 w 2183774"/>
              <a:gd name="connsiteY49" fmla="*/ 1710163 h 2164296"/>
              <a:gd name="connsiteX50" fmla="*/ 2017086 w 2183774"/>
              <a:gd name="connsiteY50" fmla="*/ 1724450 h 2164296"/>
              <a:gd name="connsiteX51" fmla="*/ 1993274 w 2183774"/>
              <a:gd name="connsiteY51" fmla="*/ 1743500 h 2164296"/>
              <a:gd name="connsiteX52" fmla="*/ 1921836 w 2183774"/>
              <a:gd name="connsiteY52" fmla="*/ 1772075 h 2164296"/>
              <a:gd name="connsiteX53" fmla="*/ 1902786 w 2183774"/>
              <a:gd name="connsiteY53" fmla="*/ 1786363 h 2164296"/>
              <a:gd name="connsiteX54" fmla="*/ 1855161 w 2183774"/>
              <a:gd name="connsiteY54" fmla="*/ 1814938 h 2164296"/>
              <a:gd name="connsiteX55" fmla="*/ 1840874 w 2183774"/>
              <a:gd name="connsiteY55" fmla="*/ 1833988 h 2164296"/>
              <a:gd name="connsiteX56" fmla="*/ 1788486 w 2183774"/>
              <a:gd name="connsiteY56" fmla="*/ 1862563 h 2164296"/>
              <a:gd name="connsiteX57" fmla="*/ 1645612 w 2183774"/>
              <a:gd name="connsiteY57" fmla="*/ 1891137 h 2164296"/>
              <a:gd name="connsiteX58" fmla="*/ 1397961 w 2183774"/>
              <a:gd name="connsiteY58" fmla="*/ 2014962 h 2164296"/>
              <a:gd name="connsiteX59" fmla="*/ 1345574 w 2183774"/>
              <a:gd name="connsiteY59" fmla="*/ 2053063 h 2164296"/>
              <a:gd name="connsiteX60" fmla="*/ 1331286 w 2183774"/>
              <a:gd name="connsiteY60" fmla="*/ 2062588 h 2164296"/>
              <a:gd name="connsiteX61" fmla="*/ 1293186 w 2183774"/>
              <a:gd name="connsiteY61" fmla="*/ 2072113 h 2164296"/>
              <a:gd name="connsiteX62" fmla="*/ 1269374 w 2183774"/>
              <a:gd name="connsiteY62" fmla="*/ 2086400 h 2164296"/>
              <a:gd name="connsiteX63" fmla="*/ 1216986 w 2183774"/>
              <a:gd name="connsiteY63" fmla="*/ 2100688 h 2164296"/>
              <a:gd name="connsiteX64" fmla="*/ 1174124 w 2183774"/>
              <a:gd name="connsiteY64" fmla="*/ 2119738 h 2164296"/>
              <a:gd name="connsiteX65" fmla="*/ 1155074 w 2183774"/>
              <a:gd name="connsiteY65" fmla="*/ 2134025 h 2164296"/>
              <a:gd name="connsiteX66" fmla="*/ 1083636 w 2183774"/>
              <a:gd name="connsiteY66" fmla="*/ 2148313 h 2164296"/>
              <a:gd name="connsiteX67" fmla="*/ 1055061 w 2183774"/>
              <a:gd name="connsiteY67" fmla="*/ 2162600 h 2164296"/>
              <a:gd name="connsiteX68" fmla="*/ 921711 w 2183774"/>
              <a:gd name="connsiteY68" fmla="*/ 2157838 h 2164296"/>
              <a:gd name="connsiteX69" fmla="*/ 812174 w 2183774"/>
              <a:gd name="connsiteY69" fmla="*/ 2105450 h 2164296"/>
              <a:gd name="connsiteX70" fmla="*/ 774074 w 2183774"/>
              <a:gd name="connsiteY70" fmla="*/ 2091163 h 2164296"/>
              <a:gd name="connsiteX71" fmla="*/ 726449 w 2183774"/>
              <a:gd name="connsiteY71" fmla="*/ 2062588 h 2164296"/>
              <a:gd name="connsiteX72" fmla="*/ 669299 w 2183774"/>
              <a:gd name="connsiteY72" fmla="*/ 2038775 h 2164296"/>
              <a:gd name="connsiteX73" fmla="*/ 635961 w 2183774"/>
              <a:gd name="connsiteY73" fmla="*/ 2005438 h 2164296"/>
              <a:gd name="connsiteX74" fmla="*/ 597861 w 2183774"/>
              <a:gd name="connsiteY74" fmla="*/ 1976863 h 2164296"/>
              <a:gd name="connsiteX75" fmla="*/ 583574 w 2183774"/>
              <a:gd name="connsiteY75" fmla="*/ 1957813 h 2164296"/>
              <a:gd name="connsiteX76" fmla="*/ 569286 w 2183774"/>
              <a:gd name="connsiteY76" fmla="*/ 1934000 h 2164296"/>
              <a:gd name="connsiteX77" fmla="*/ 535949 w 2183774"/>
              <a:gd name="connsiteY77" fmla="*/ 1895900 h 2164296"/>
              <a:gd name="connsiteX78" fmla="*/ 393074 w 2183774"/>
              <a:gd name="connsiteY78" fmla="*/ 1705400 h 2164296"/>
              <a:gd name="connsiteX79" fmla="*/ 378786 w 2183774"/>
              <a:gd name="connsiteY79" fmla="*/ 1686350 h 2164296"/>
              <a:gd name="connsiteX80" fmla="*/ 359736 w 2183774"/>
              <a:gd name="connsiteY80" fmla="*/ 1657775 h 2164296"/>
              <a:gd name="connsiteX81" fmla="*/ 302586 w 2183774"/>
              <a:gd name="connsiteY81" fmla="*/ 1600625 h 2164296"/>
              <a:gd name="connsiteX82" fmla="*/ 278774 w 2183774"/>
              <a:gd name="connsiteY82" fmla="*/ 1576813 h 2164296"/>
              <a:gd name="connsiteX83" fmla="*/ 264486 w 2183774"/>
              <a:gd name="connsiteY83" fmla="*/ 1562525 h 2164296"/>
              <a:gd name="connsiteX84" fmla="*/ 226386 w 2183774"/>
              <a:gd name="connsiteY84" fmla="*/ 1538713 h 2164296"/>
              <a:gd name="connsiteX85" fmla="*/ 202574 w 2183774"/>
              <a:gd name="connsiteY85" fmla="*/ 1510138 h 2164296"/>
              <a:gd name="connsiteX86" fmla="*/ 178761 w 2183774"/>
              <a:gd name="connsiteY86" fmla="*/ 1491088 h 2164296"/>
              <a:gd name="connsiteX87" fmla="*/ 159711 w 2183774"/>
              <a:gd name="connsiteY87" fmla="*/ 1462513 h 2164296"/>
              <a:gd name="connsiteX88" fmla="*/ 135899 w 2183774"/>
              <a:gd name="connsiteY88" fmla="*/ 1438700 h 2164296"/>
              <a:gd name="connsiteX89" fmla="*/ 126374 w 2183774"/>
              <a:gd name="connsiteY89" fmla="*/ 1424413 h 2164296"/>
              <a:gd name="connsiteX90" fmla="*/ 107324 w 2183774"/>
              <a:gd name="connsiteY90" fmla="*/ 1405363 h 2164296"/>
              <a:gd name="connsiteX91" fmla="*/ 88274 w 2183774"/>
              <a:gd name="connsiteY91" fmla="*/ 1376788 h 2164296"/>
              <a:gd name="connsiteX92" fmla="*/ 73986 w 2183774"/>
              <a:gd name="connsiteY92" fmla="*/ 1362500 h 2164296"/>
              <a:gd name="connsiteX93" fmla="*/ 64461 w 2183774"/>
              <a:gd name="connsiteY93" fmla="*/ 1348213 h 2164296"/>
              <a:gd name="connsiteX94" fmla="*/ 50174 w 2183774"/>
              <a:gd name="connsiteY94" fmla="*/ 1329163 h 2164296"/>
              <a:gd name="connsiteX95" fmla="*/ 45411 w 2183774"/>
              <a:gd name="connsiteY95" fmla="*/ 1305350 h 2164296"/>
              <a:gd name="connsiteX96" fmla="*/ 21599 w 2183774"/>
              <a:gd name="connsiteY96" fmla="*/ 1257725 h 2164296"/>
              <a:gd name="connsiteX97" fmla="*/ 12074 w 2183774"/>
              <a:gd name="connsiteY97" fmla="*/ 1200575 h 2164296"/>
              <a:gd name="connsiteX98" fmla="*/ 16836 w 2183774"/>
              <a:gd name="connsiteY98" fmla="*/ 991025 h 2164296"/>
              <a:gd name="connsiteX99" fmla="*/ 54936 w 2183774"/>
              <a:gd name="connsiteY99" fmla="*/ 929113 h 2164296"/>
              <a:gd name="connsiteX100" fmla="*/ 78749 w 2183774"/>
              <a:gd name="connsiteY100" fmla="*/ 891013 h 2164296"/>
              <a:gd name="connsiteX101" fmla="*/ 97799 w 2183774"/>
              <a:gd name="connsiteY101" fmla="*/ 848150 h 2164296"/>
              <a:gd name="connsiteX102" fmla="*/ 159711 w 2183774"/>
              <a:gd name="connsiteY102" fmla="*/ 733850 h 2164296"/>
              <a:gd name="connsiteX103" fmla="*/ 221624 w 2183774"/>
              <a:gd name="connsiteY103" fmla="*/ 610025 h 2164296"/>
              <a:gd name="connsiteX104" fmla="*/ 226386 w 2183774"/>
              <a:gd name="connsiteY104" fmla="*/ 581450 h 2164296"/>
              <a:gd name="connsiteX105" fmla="*/ 250199 w 2183774"/>
              <a:gd name="connsiteY105" fmla="*/ 538588 h 2164296"/>
              <a:gd name="connsiteX106" fmla="*/ 264486 w 2183774"/>
              <a:gd name="connsiteY106" fmla="*/ 500488 h 2164296"/>
              <a:gd name="connsiteX107" fmla="*/ 278774 w 2183774"/>
              <a:gd name="connsiteY107" fmla="*/ 471913 h 2164296"/>
              <a:gd name="connsiteX108" fmla="*/ 288299 w 2183774"/>
              <a:gd name="connsiteY108" fmla="*/ 443338 h 2164296"/>
              <a:gd name="connsiteX109" fmla="*/ 297824 w 2183774"/>
              <a:gd name="connsiteY109" fmla="*/ 429050 h 2164296"/>
              <a:gd name="connsiteX110" fmla="*/ 307349 w 2183774"/>
              <a:gd name="connsiteY110" fmla="*/ 405238 h 2164296"/>
              <a:gd name="connsiteX111" fmla="*/ 326399 w 2183774"/>
              <a:gd name="connsiteY111" fmla="*/ 381425 h 2164296"/>
              <a:gd name="connsiteX112" fmla="*/ 345449 w 2183774"/>
              <a:gd name="connsiteY112" fmla="*/ 333800 h 2164296"/>
              <a:gd name="connsiteX113" fmla="*/ 374024 w 2183774"/>
              <a:gd name="connsiteY113" fmla="*/ 290938 h 2164296"/>
              <a:gd name="connsiteX114" fmla="*/ 397836 w 2183774"/>
              <a:gd name="connsiteY114" fmla="*/ 248075 h 2164296"/>
              <a:gd name="connsiteX115" fmla="*/ 412124 w 2183774"/>
              <a:gd name="connsiteY115" fmla="*/ 229025 h 2164296"/>
              <a:gd name="connsiteX116" fmla="*/ 435936 w 2183774"/>
              <a:gd name="connsiteY116" fmla="*/ 214738 h 2164296"/>
              <a:gd name="connsiteX117" fmla="*/ 459749 w 2183774"/>
              <a:gd name="connsiteY117" fmla="*/ 190925 h 2164296"/>
              <a:gd name="connsiteX118" fmla="*/ 474036 w 2183774"/>
              <a:gd name="connsiteY118" fmla="*/ 181400 h 2164296"/>
              <a:gd name="connsiteX119" fmla="*/ 507374 w 2183774"/>
              <a:gd name="connsiteY119" fmla="*/ 143300 h 2164296"/>
              <a:gd name="connsiteX120" fmla="*/ 521661 w 2183774"/>
              <a:gd name="connsiteY120" fmla="*/ 133775 h 2164296"/>
              <a:gd name="connsiteX121" fmla="*/ 631199 w 2183774"/>
              <a:gd name="connsiteY121" fmla="*/ 71863 h 2164296"/>
              <a:gd name="connsiteX122" fmla="*/ 645486 w 2183774"/>
              <a:gd name="connsiteY122" fmla="*/ 52813 h 2164296"/>
              <a:gd name="connsiteX123" fmla="*/ 664536 w 2183774"/>
              <a:gd name="connsiteY123" fmla="*/ 48050 h 2164296"/>
              <a:gd name="connsiteX124" fmla="*/ 688349 w 2183774"/>
              <a:gd name="connsiteY124" fmla="*/ 38525 h 2164296"/>
              <a:gd name="connsiteX125" fmla="*/ 731211 w 2183774"/>
              <a:gd name="connsiteY125" fmla="*/ 24238 h 2164296"/>
              <a:gd name="connsiteX126" fmla="*/ 759786 w 2183774"/>
              <a:gd name="connsiteY126" fmla="*/ 14713 h 2164296"/>
              <a:gd name="connsiteX127" fmla="*/ 807411 w 2183774"/>
              <a:gd name="connsiteY127" fmla="*/ 9950 h 2164296"/>
              <a:gd name="connsiteX128" fmla="*/ 878849 w 2183774"/>
              <a:gd name="connsiteY128" fmla="*/ 425 h 2164296"/>
              <a:gd name="connsiteX0" fmla="*/ 797660 w 2169260"/>
              <a:gd name="connsiteY0" fmla="*/ 425 h 2164296"/>
              <a:gd name="connsiteX1" fmla="*/ 950060 w 2169260"/>
              <a:gd name="connsiteY1" fmla="*/ 5188 h 2164296"/>
              <a:gd name="connsiteX2" fmla="*/ 973872 w 2169260"/>
              <a:gd name="connsiteY2" fmla="*/ 9950 h 2164296"/>
              <a:gd name="connsiteX3" fmla="*/ 1040547 w 2169260"/>
              <a:gd name="connsiteY3" fmla="*/ 19475 h 2164296"/>
              <a:gd name="connsiteX4" fmla="*/ 1069122 w 2169260"/>
              <a:gd name="connsiteY4" fmla="*/ 24238 h 2164296"/>
              <a:gd name="connsiteX5" fmla="*/ 1092935 w 2169260"/>
              <a:gd name="connsiteY5" fmla="*/ 38525 h 2164296"/>
              <a:gd name="connsiteX6" fmla="*/ 1135797 w 2169260"/>
              <a:gd name="connsiteY6" fmla="*/ 48050 h 2164296"/>
              <a:gd name="connsiteX7" fmla="*/ 1154847 w 2169260"/>
              <a:gd name="connsiteY7" fmla="*/ 52813 h 2164296"/>
              <a:gd name="connsiteX8" fmla="*/ 1188185 w 2169260"/>
              <a:gd name="connsiteY8" fmla="*/ 57575 h 2164296"/>
              <a:gd name="connsiteX9" fmla="*/ 1283435 w 2169260"/>
              <a:gd name="connsiteY9" fmla="*/ 71863 h 2164296"/>
              <a:gd name="connsiteX10" fmla="*/ 1454885 w 2169260"/>
              <a:gd name="connsiteY10" fmla="*/ 109963 h 2164296"/>
              <a:gd name="connsiteX11" fmla="*/ 1478697 w 2169260"/>
              <a:gd name="connsiteY11" fmla="*/ 114725 h 2164296"/>
              <a:gd name="connsiteX12" fmla="*/ 1616810 w 2169260"/>
              <a:gd name="connsiteY12" fmla="*/ 124250 h 2164296"/>
              <a:gd name="connsiteX13" fmla="*/ 1650147 w 2169260"/>
              <a:gd name="connsiteY13" fmla="*/ 129013 h 2164296"/>
              <a:gd name="connsiteX14" fmla="*/ 1673960 w 2169260"/>
              <a:gd name="connsiteY14" fmla="*/ 133775 h 2164296"/>
              <a:gd name="connsiteX15" fmla="*/ 1721585 w 2169260"/>
              <a:gd name="connsiteY15" fmla="*/ 138538 h 2164296"/>
              <a:gd name="connsiteX16" fmla="*/ 1759685 w 2169260"/>
              <a:gd name="connsiteY16" fmla="*/ 152825 h 2164296"/>
              <a:gd name="connsiteX17" fmla="*/ 1773972 w 2169260"/>
              <a:gd name="connsiteY17" fmla="*/ 162350 h 2164296"/>
              <a:gd name="connsiteX18" fmla="*/ 1797785 w 2169260"/>
              <a:gd name="connsiteY18" fmla="*/ 167113 h 2164296"/>
              <a:gd name="connsiteX19" fmla="*/ 1821597 w 2169260"/>
              <a:gd name="connsiteY19" fmla="*/ 181400 h 2164296"/>
              <a:gd name="connsiteX20" fmla="*/ 1845410 w 2169260"/>
              <a:gd name="connsiteY20" fmla="*/ 190925 h 2164296"/>
              <a:gd name="connsiteX21" fmla="*/ 1859697 w 2169260"/>
              <a:gd name="connsiteY21" fmla="*/ 205213 h 2164296"/>
              <a:gd name="connsiteX22" fmla="*/ 1893035 w 2169260"/>
              <a:gd name="connsiteY22" fmla="*/ 229025 h 2164296"/>
              <a:gd name="connsiteX23" fmla="*/ 1945422 w 2169260"/>
              <a:gd name="connsiteY23" fmla="*/ 267125 h 2164296"/>
              <a:gd name="connsiteX24" fmla="*/ 1969235 w 2169260"/>
              <a:gd name="connsiteY24" fmla="*/ 295700 h 2164296"/>
              <a:gd name="connsiteX25" fmla="*/ 2002572 w 2169260"/>
              <a:gd name="connsiteY25" fmla="*/ 348088 h 2164296"/>
              <a:gd name="connsiteX26" fmla="*/ 2021622 w 2169260"/>
              <a:gd name="connsiteY26" fmla="*/ 410000 h 2164296"/>
              <a:gd name="connsiteX27" fmla="*/ 2031147 w 2169260"/>
              <a:gd name="connsiteY27" fmla="*/ 443338 h 2164296"/>
              <a:gd name="connsiteX28" fmla="*/ 2035910 w 2169260"/>
              <a:gd name="connsiteY28" fmla="*/ 457625 h 2164296"/>
              <a:gd name="connsiteX29" fmla="*/ 2045435 w 2169260"/>
              <a:gd name="connsiteY29" fmla="*/ 476675 h 2164296"/>
              <a:gd name="connsiteX30" fmla="*/ 2064485 w 2169260"/>
              <a:gd name="connsiteY30" fmla="*/ 548113 h 2164296"/>
              <a:gd name="connsiteX31" fmla="*/ 2078772 w 2169260"/>
              <a:gd name="connsiteY31" fmla="*/ 610025 h 2164296"/>
              <a:gd name="connsiteX32" fmla="*/ 2083535 w 2169260"/>
              <a:gd name="connsiteY32" fmla="*/ 914825 h 2164296"/>
              <a:gd name="connsiteX33" fmla="*/ 2121635 w 2169260"/>
              <a:gd name="connsiteY33" fmla="*/ 1086275 h 2164296"/>
              <a:gd name="connsiteX34" fmla="*/ 2126397 w 2169260"/>
              <a:gd name="connsiteY34" fmla="*/ 1148188 h 2164296"/>
              <a:gd name="connsiteX35" fmla="*/ 2140685 w 2169260"/>
              <a:gd name="connsiteY35" fmla="*/ 1191050 h 2164296"/>
              <a:gd name="connsiteX36" fmla="*/ 2145447 w 2169260"/>
              <a:gd name="connsiteY36" fmla="*/ 1224388 h 2164296"/>
              <a:gd name="connsiteX37" fmla="*/ 2164497 w 2169260"/>
              <a:gd name="connsiteY37" fmla="*/ 1276775 h 2164296"/>
              <a:gd name="connsiteX38" fmla="*/ 2169260 w 2169260"/>
              <a:gd name="connsiteY38" fmla="*/ 1300588 h 2164296"/>
              <a:gd name="connsiteX39" fmla="*/ 2164497 w 2169260"/>
              <a:gd name="connsiteY39" fmla="*/ 1514900 h 2164296"/>
              <a:gd name="connsiteX40" fmla="*/ 2154972 w 2169260"/>
              <a:gd name="connsiteY40" fmla="*/ 1529188 h 2164296"/>
              <a:gd name="connsiteX41" fmla="*/ 2145447 w 2169260"/>
              <a:gd name="connsiteY41" fmla="*/ 1562525 h 2164296"/>
              <a:gd name="connsiteX42" fmla="*/ 2135922 w 2169260"/>
              <a:gd name="connsiteY42" fmla="*/ 1576813 h 2164296"/>
              <a:gd name="connsiteX43" fmla="*/ 2131160 w 2169260"/>
              <a:gd name="connsiteY43" fmla="*/ 1600625 h 2164296"/>
              <a:gd name="connsiteX44" fmla="*/ 2116872 w 2169260"/>
              <a:gd name="connsiteY44" fmla="*/ 1614913 h 2164296"/>
              <a:gd name="connsiteX45" fmla="*/ 2107347 w 2169260"/>
              <a:gd name="connsiteY45" fmla="*/ 1629200 h 2164296"/>
              <a:gd name="connsiteX46" fmla="*/ 2078772 w 2169260"/>
              <a:gd name="connsiteY46" fmla="*/ 1657775 h 2164296"/>
              <a:gd name="connsiteX47" fmla="*/ 2050197 w 2169260"/>
              <a:gd name="connsiteY47" fmla="*/ 1686350 h 2164296"/>
              <a:gd name="connsiteX48" fmla="*/ 2040672 w 2169260"/>
              <a:gd name="connsiteY48" fmla="*/ 1700638 h 2164296"/>
              <a:gd name="connsiteX49" fmla="*/ 2026385 w 2169260"/>
              <a:gd name="connsiteY49" fmla="*/ 1710163 h 2164296"/>
              <a:gd name="connsiteX50" fmla="*/ 2002572 w 2169260"/>
              <a:gd name="connsiteY50" fmla="*/ 1724450 h 2164296"/>
              <a:gd name="connsiteX51" fmla="*/ 1978760 w 2169260"/>
              <a:gd name="connsiteY51" fmla="*/ 1743500 h 2164296"/>
              <a:gd name="connsiteX52" fmla="*/ 1907322 w 2169260"/>
              <a:gd name="connsiteY52" fmla="*/ 1772075 h 2164296"/>
              <a:gd name="connsiteX53" fmla="*/ 1888272 w 2169260"/>
              <a:gd name="connsiteY53" fmla="*/ 1786363 h 2164296"/>
              <a:gd name="connsiteX54" fmla="*/ 1840647 w 2169260"/>
              <a:gd name="connsiteY54" fmla="*/ 1814938 h 2164296"/>
              <a:gd name="connsiteX55" fmla="*/ 1826360 w 2169260"/>
              <a:gd name="connsiteY55" fmla="*/ 1833988 h 2164296"/>
              <a:gd name="connsiteX56" fmla="*/ 1773972 w 2169260"/>
              <a:gd name="connsiteY56" fmla="*/ 1862563 h 2164296"/>
              <a:gd name="connsiteX57" fmla="*/ 1631098 w 2169260"/>
              <a:gd name="connsiteY57" fmla="*/ 1891137 h 2164296"/>
              <a:gd name="connsiteX58" fmla="*/ 1383447 w 2169260"/>
              <a:gd name="connsiteY58" fmla="*/ 2014962 h 2164296"/>
              <a:gd name="connsiteX59" fmla="*/ 1331060 w 2169260"/>
              <a:gd name="connsiteY59" fmla="*/ 2053063 h 2164296"/>
              <a:gd name="connsiteX60" fmla="*/ 1316772 w 2169260"/>
              <a:gd name="connsiteY60" fmla="*/ 2062588 h 2164296"/>
              <a:gd name="connsiteX61" fmla="*/ 1278672 w 2169260"/>
              <a:gd name="connsiteY61" fmla="*/ 2072113 h 2164296"/>
              <a:gd name="connsiteX62" fmla="*/ 1254860 w 2169260"/>
              <a:gd name="connsiteY62" fmla="*/ 2086400 h 2164296"/>
              <a:gd name="connsiteX63" fmla="*/ 1202472 w 2169260"/>
              <a:gd name="connsiteY63" fmla="*/ 2100688 h 2164296"/>
              <a:gd name="connsiteX64" fmla="*/ 1159610 w 2169260"/>
              <a:gd name="connsiteY64" fmla="*/ 2119738 h 2164296"/>
              <a:gd name="connsiteX65" fmla="*/ 1140560 w 2169260"/>
              <a:gd name="connsiteY65" fmla="*/ 2134025 h 2164296"/>
              <a:gd name="connsiteX66" fmla="*/ 1069122 w 2169260"/>
              <a:gd name="connsiteY66" fmla="*/ 2148313 h 2164296"/>
              <a:gd name="connsiteX67" fmla="*/ 1040547 w 2169260"/>
              <a:gd name="connsiteY67" fmla="*/ 2162600 h 2164296"/>
              <a:gd name="connsiteX68" fmla="*/ 907197 w 2169260"/>
              <a:gd name="connsiteY68" fmla="*/ 2157838 h 2164296"/>
              <a:gd name="connsiteX69" fmla="*/ 797660 w 2169260"/>
              <a:gd name="connsiteY69" fmla="*/ 2105450 h 2164296"/>
              <a:gd name="connsiteX70" fmla="*/ 759560 w 2169260"/>
              <a:gd name="connsiteY70" fmla="*/ 2091163 h 2164296"/>
              <a:gd name="connsiteX71" fmla="*/ 711935 w 2169260"/>
              <a:gd name="connsiteY71" fmla="*/ 2062588 h 2164296"/>
              <a:gd name="connsiteX72" fmla="*/ 654785 w 2169260"/>
              <a:gd name="connsiteY72" fmla="*/ 2038775 h 2164296"/>
              <a:gd name="connsiteX73" fmla="*/ 621447 w 2169260"/>
              <a:gd name="connsiteY73" fmla="*/ 2005438 h 2164296"/>
              <a:gd name="connsiteX74" fmla="*/ 583347 w 2169260"/>
              <a:gd name="connsiteY74" fmla="*/ 1976863 h 2164296"/>
              <a:gd name="connsiteX75" fmla="*/ 569060 w 2169260"/>
              <a:gd name="connsiteY75" fmla="*/ 1957813 h 2164296"/>
              <a:gd name="connsiteX76" fmla="*/ 554772 w 2169260"/>
              <a:gd name="connsiteY76" fmla="*/ 1934000 h 2164296"/>
              <a:gd name="connsiteX77" fmla="*/ 521435 w 2169260"/>
              <a:gd name="connsiteY77" fmla="*/ 1895900 h 2164296"/>
              <a:gd name="connsiteX78" fmla="*/ 378560 w 2169260"/>
              <a:gd name="connsiteY78" fmla="*/ 1705400 h 2164296"/>
              <a:gd name="connsiteX79" fmla="*/ 364272 w 2169260"/>
              <a:gd name="connsiteY79" fmla="*/ 1686350 h 2164296"/>
              <a:gd name="connsiteX80" fmla="*/ 345222 w 2169260"/>
              <a:gd name="connsiteY80" fmla="*/ 1657775 h 2164296"/>
              <a:gd name="connsiteX81" fmla="*/ 288072 w 2169260"/>
              <a:gd name="connsiteY81" fmla="*/ 1600625 h 2164296"/>
              <a:gd name="connsiteX82" fmla="*/ 264260 w 2169260"/>
              <a:gd name="connsiteY82" fmla="*/ 1576813 h 2164296"/>
              <a:gd name="connsiteX83" fmla="*/ 249972 w 2169260"/>
              <a:gd name="connsiteY83" fmla="*/ 1562525 h 2164296"/>
              <a:gd name="connsiteX84" fmla="*/ 211872 w 2169260"/>
              <a:gd name="connsiteY84" fmla="*/ 1538713 h 2164296"/>
              <a:gd name="connsiteX85" fmla="*/ 188060 w 2169260"/>
              <a:gd name="connsiteY85" fmla="*/ 1510138 h 2164296"/>
              <a:gd name="connsiteX86" fmla="*/ 164247 w 2169260"/>
              <a:gd name="connsiteY86" fmla="*/ 1491088 h 2164296"/>
              <a:gd name="connsiteX87" fmla="*/ 145197 w 2169260"/>
              <a:gd name="connsiteY87" fmla="*/ 1462513 h 2164296"/>
              <a:gd name="connsiteX88" fmla="*/ 121385 w 2169260"/>
              <a:gd name="connsiteY88" fmla="*/ 1438700 h 2164296"/>
              <a:gd name="connsiteX89" fmla="*/ 111860 w 2169260"/>
              <a:gd name="connsiteY89" fmla="*/ 1424413 h 2164296"/>
              <a:gd name="connsiteX90" fmla="*/ 92810 w 2169260"/>
              <a:gd name="connsiteY90" fmla="*/ 1405363 h 2164296"/>
              <a:gd name="connsiteX91" fmla="*/ 73760 w 2169260"/>
              <a:gd name="connsiteY91" fmla="*/ 1376788 h 2164296"/>
              <a:gd name="connsiteX92" fmla="*/ 59472 w 2169260"/>
              <a:gd name="connsiteY92" fmla="*/ 1362500 h 2164296"/>
              <a:gd name="connsiteX93" fmla="*/ 49947 w 2169260"/>
              <a:gd name="connsiteY93" fmla="*/ 1348213 h 2164296"/>
              <a:gd name="connsiteX94" fmla="*/ 35660 w 2169260"/>
              <a:gd name="connsiteY94" fmla="*/ 1329163 h 2164296"/>
              <a:gd name="connsiteX95" fmla="*/ 30897 w 2169260"/>
              <a:gd name="connsiteY95" fmla="*/ 1305350 h 2164296"/>
              <a:gd name="connsiteX96" fmla="*/ 7085 w 2169260"/>
              <a:gd name="connsiteY96" fmla="*/ 1257725 h 2164296"/>
              <a:gd name="connsiteX97" fmla="*/ 2322 w 2169260"/>
              <a:gd name="connsiteY97" fmla="*/ 991025 h 2164296"/>
              <a:gd name="connsiteX98" fmla="*/ 40422 w 2169260"/>
              <a:gd name="connsiteY98" fmla="*/ 929113 h 2164296"/>
              <a:gd name="connsiteX99" fmla="*/ 64235 w 2169260"/>
              <a:gd name="connsiteY99" fmla="*/ 891013 h 2164296"/>
              <a:gd name="connsiteX100" fmla="*/ 83285 w 2169260"/>
              <a:gd name="connsiteY100" fmla="*/ 848150 h 2164296"/>
              <a:gd name="connsiteX101" fmla="*/ 145197 w 2169260"/>
              <a:gd name="connsiteY101" fmla="*/ 733850 h 2164296"/>
              <a:gd name="connsiteX102" fmla="*/ 207110 w 2169260"/>
              <a:gd name="connsiteY102" fmla="*/ 610025 h 2164296"/>
              <a:gd name="connsiteX103" fmla="*/ 211872 w 2169260"/>
              <a:gd name="connsiteY103" fmla="*/ 581450 h 2164296"/>
              <a:gd name="connsiteX104" fmla="*/ 235685 w 2169260"/>
              <a:gd name="connsiteY104" fmla="*/ 538588 h 2164296"/>
              <a:gd name="connsiteX105" fmla="*/ 249972 w 2169260"/>
              <a:gd name="connsiteY105" fmla="*/ 500488 h 2164296"/>
              <a:gd name="connsiteX106" fmla="*/ 264260 w 2169260"/>
              <a:gd name="connsiteY106" fmla="*/ 471913 h 2164296"/>
              <a:gd name="connsiteX107" fmla="*/ 273785 w 2169260"/>
              <a:gd name="connsiteY107" fmla="*/ 443338 h 2164296"/>
              <a:gd name="connsiteX108" fmla="*/ 283310 w 2169260"/>
              <a:gd name="connsiteY108" fmla="*/ 429050 h 2164296"/>
              <a:gd name="connsiteX109" fmla="*/ 292835 w 2169260"/>
              <a:gd name="connsiteY109" fmla="*/ 405238 h 2164296"/>
              <a:gd name="connsiteX110" fmla="*/ 311885 w 2169260"/>
              <a:gd name="connsiteY110" fmla="*/ 381425 h 2164296"/>
              <a:gd name="connsiteX111" fmla="*/ 330935 w 2169260"/>
              <a:gd name="connsiteY111" fmla="*/ 333800 h 2164296"/>
              <a:gd name="connsiteX112" fmla="*/ 359510 w 2169260"/>
              <a:gd name="connsiteY112" fmla="*/ 290938 h 2164296"/>
              <a:gd name="connsiteX113" fmla="*/ 383322 w 2169260"/>
              <a:gd name="connsiteY113" fmla="*/ 248075 h 2164296"/>
              <a:gd name="connsiteX114" fmla="*/ 397610 w 2169260"/>
              <a:gd name="connsiteY114" fmla="*/ 229025 h 2164296"/>
              <a:gd name="connsiteX115" fmla="*/ 421422 w 2169260"/>
              <a:gd name="connsiteY115" fmla="*/ 214738 h 2164296"/>
              <a:gd name="connsiteX116" fmla="*/ 445235 w 2169260"/>
              <a:gd name="connsiteY116" fmla="*/ 190925 h 2164296"/>
              <a:gd name="connsiteX117" fmla="*/ 459522 w 2169260"/>
              <a:gd name="connsiteY117" fmla="*/ 181400 h 2164296"/>
              <a:gd name="connsiteX118" fmla="*/ 492860 w 2169260"/>
              <a:gd name="connsiteY118" fmla="*/ 143300 h 2164296"/>
              <a:gd name="connsiteX119" fmla="*/ 507147 w 2169260"/>
              <a:gd name="connsiteY119" fmla="*/ 133775 h 2164296"/>
              <a:gd name="connsiteX120" fmla="*/ 616685 w 2169260"/>
              <a:gd name="connsiteY120" fmla="*/ 71863 h 2164296"/>
              <a:gd name="connsiteX121" fmla="*/ 630972 w 2169260"/>
              <a:gd name="connsiteY121" fmla="*/ 52813 h 2164296"/>
              <a:gd name="connsiteX122" fmla="*/ 650022 w 2169260"/>
              <a:gd name="connsiteY122" fmla="*/ 48050 h 2164296"/>
              <a:gd name="connsiteX123" fmla="*/ 673835 w 2169260"/>
              <a:gd name="connsiteY123" fmla="*/ 38525 h 2164296"/>
              <a:gd name="connsiteX124" fmla="*/ 716697 w 2169260"/>
              <a:gd name="connsiteY124" fmla="*/ 24238 h 2164296"/>
              <a:gd name="connsiteX125" fmla="*/ 745272 w 2169260"/>
              <a:gd name="connsiteY125" fmla="*/ 14713 h 2164296"/>
              <a:gd name="connsiteX126" fmla="*/ 792897 w 2169260"/>
              <a:gd name="connsiteY126" fmla="*/ 9950 h 2164296"/>
              <a:gd name="connsiteX127" fmla="*/ 864335 w 2169260"/>
              <a:gd name="connsiteY127" fmla="*/ 425 h 2164296"/>
              <a:gd name="connsiteX0" fmla="*/ 829383 w 2200983"/>
              <a:gd name="connsiteY0" fmla="*/ 425 h 2164296"/>
              <a:gd name="connsiteX1" fmla="*/ 981783 w 2200983"/>
              <a:gd name="connsiteY1" fmla="*/ 5188 h 2164296"/>
              <a:gd name="connsiteX2" fmla="*/ 1005595 w 2200983"/>
              <a:gd name="connsiteY2" fmla="*/ 9950 h 2164296"/>
              <a:gd name="connsiteX3" fmla="*/ 1072270 w 2200983"/>
              <a:gd name="connsiteY3" fmla="*/ 19475 h 2164296"/>
              <a:gd name="connsiteX4" fmla="*/ 1100845 w 2200983"/>
              <a:gd name="connsiteY4" fmla="*/ 24238 h 2164296"/>
              <a:gd name="connsiteX5" fmla="*/ 1124658 w 2200983"/>
              <a:gd name="connsiteY5" fmla="*/ 38525 h 2164296"/>
              <a:gd name="connsiteX6" fmla="*/ 1167520 w 2200983"/>
              <a:gd name="connsiteY6" fmla="*/ 48050 h 2164296"/>
              <a:gd name="connsiteX7" fmla="*/ 1186570 w 2200983"/>
              <a:gd name="connsiteY7" fmla="*/ 52813 h 2164296"/>
              <a:gd name="connsiteX8" fmla="*/ 1219908 w 2200983"/>
              <a:gd name="connsiteY8" fmla="*/ 57575 h 2164296"/>
              <a:gd name="connsiteX9" fmla="*/ 1315158 w 2200983"/>
              <a:gd name="connsiteY9" fmla="*/ 71863 h 2164296"/>
              <a:gd name="connsiteX10" fmla="*/ 1486608 w 2200983"/>
              <a:gd name="connsiteY10" fmla="*/ 109963 h 2164296"/>
              <a:gd name="connsiteX11" fmla="*/ 1510420 w 2200983"/>
              <a:gd name="connsiteY11" fmla="*/ 114725 h 2164296"/>
              <a:gd name="connsiteX12" fmla="*/ 1648533 w 2200983"/>
              <a:gd name="connsiteY12" fmla="*/ 124250 h 2164296"/>
              <a:gd name="connsiteX13" fmla="*/ 1681870 w 2200983"/>
              <a:gd name="connsiteY13" fmla="*/ 129013 h 2164296"/>
              <a:gd name="connsiteX14" fmla="*/ 1705683 w 2200983"/>
              <a:gd name="connsiteY14" fmla="*/ 133775 h 2164296"/>
              <a:gd name="connsiteX15" fmla="*/ 1753308 w 2200983"/>
              <a:gd name="connsiteY15" fmla="*/ 138538 h 2164296"/>
              <a:gd name="connsiteX16" fmla="*/ 1791408 w 2200983"/>
              <a:gd name="connsiteY16" fmla="*/ 152825 h 2164296"/>
              <a:gd name="connsiteX17" fmla="*/ 1805695 w 2200983"/>
              <a:gd name="connsiteY17" fmla="*/ 162350 h 2164296"/>
              <a:gd name="connsiteX18" fmla="*/ 1829508 w 2200983"/>
              <a:gd name="connsiteY18" fmla="*/ 167113 h 2164296"/>
              <a:gd name="connsiteX19" fmla="*/ 1853320 w 2200983"/>
              <a:gd name="connsiteY19" fmla="*/ 181400 h 2164296"/>
              <a:gd name="connsiteX20" fmla="*/ 1877133 w 2200983"/>
              <a:gd name="connsiteY20" fmla="*/ 190925 h 2164296"/>
              <a:gd name="connsiteX21" fmla="*/ 1891420 w 2200983"/>
              <a:gd name="connsiteY21" fmla="*/ 205213 h 2164296"/>
              <a:gd name="connsiteX22" fmla="*/ 1924758 w 2200983"/>
              <a:gd name="connsiteY22" fmla="*/ 229025 h 2164296"/>
              <a:gd name="connsiteX23" fmla="*/ 1977145 w 2200983"/>
              <a:gd name="connsiteY23" fmla="*/ 267125 h 2164296"/>
              <a:gd name="connsiteX24" fmla="*/ 2000958 w 2200983"/>
              <a:gd name="connsiteY24" fmla="*/ 295700 h 2164296"/>
              <a:gd name="connsiteX25" fmla="*/ 2034295 w 2200983"/>
              <a:gd name="connsiteY25" fmla="*/ 348088 h 2164296"/>
              <a:gd name="connsiteX26" fmla="*/ 2053345 w 2200983"/>
              <a:gd name="connsiteY26" fmla="*/ 410000 h 2164296"/>
              <a:gd name="connsiteX27" fmla="*/ 2062870 w 2200983"/>
              <a:gd name="connsiteY27" fmla="*/ 443338 h 2164296"/>
              <a:gd name="connsiteX28" fmla="*/ 2067633 w 2200983"/>
              <a:gd name="connsiteY28" fmla="*/ 457625 h 2164296"/>
              <a:gd name="connsiteX29" fmla="*/ 2077158 w 2200983"/>
              <a:gd name="connsiteY29" fmla="*/ 476675 h 2164296"/>
              <a:gd name="connsiteX30" fmla="*/ 2096208 w 2200983"/>
              <a:gd name="connsiteY30" fmla="*/ 548113 h 2164296"/>
              <a:gd name="connsiteX31" fmla="*/ 2110495 w 2200983"/>
              <a:gd name="connsiteY31" fmla="*/ 610025 h 2164296"/>
              <a:gd name="connsiteX32" fmla="*/ 2115258 w 2200983"/>
              <a:gd name="connsiteY32" fmla="*/ 914825 h 2164296"/>
              <a:gd name="connsiteX33" fmla="*/ 2153358 w 2200983"/>
              <a:gd name="connsiteY33" fmla="*/ 1086275 h 2164296"/>
              <a:gd name="connsiteX34" fmla="*/ 2158120 w 2200983"/>
              <a:gd name="connsiteY34" fmla="*/ 1148188 h 2164296"/>
              <a:gd name="connsiteX35" fmla="*/ 2172408 w 2200983"/>
              <a:gd name="connsiteY35" fmla="*/ 1191050 h 2164296"/>
              <a:gd name="connsiteX36" fmla="*/ 2177170 w 2200983"/>
              <a:gd name="connsiteY36" fmla="*/ 1224388 h 2164296"/>
              <a:gd name="connsiteX37" fmla="*/ 2196220 w 2200983"/>
              <a:gd name="connsiteY37" fmla="*/ 1276775 h 2164296"/>
              <a:gd name="connsiteX38" fmla="*/ 2200983 w 2200983"/>
              <a:gd name="connsiteY38" fmla="*/ 1300588 h 2164296"/>
              <a:gd name="connsiteX39" fmla="*/ 2196220 w 2200983"/>
              <a:gd name="connsiteY39" fmla="*/ 1514900 h 2164296"/>
              <a:gd name="connsiteX40" fmla="*/ 2186695 w 2200983"/>
              <a:gd name="connsiteY40" fmla="*/ 1529188 h 2164296"/>
              <a:gd name="connsiteX41" fmla="*/ 2177170 w 2200983"/>
              <a:gd name="connsiteY41" fmla="*/ 1562525 h 2164296"/>
              <a:gd name="connsiteX42" fmla="*/ 2167645 w 2200983"/>
              <a:gd name="connsiteY42" fmla="*/ 1576813 h 2164296"/>
              <a:gd name="connsiteX43" fmla="*/ 2162883 w 2200983"/>
              <a:gd name="connsiteY43" fmla="*/ 1600625 h 2164296"/>
              <a:gd name="connsiteX44" fmla="*/ 2148595 w 2200983"/>
              <a:gd name="connsiteY44" fmla="*/ 1614913 h 2164296"/>
              <a:gd name="connsiteX45" fmla="*/ 2139070 w 2200983"/>
              <a:gd name="connsiteY45" fmla="*/ 1629200 h 2164296"/>
              <a:gd name="connsiteX46" fmla="*/ 2110495 w 2200983"/>
              <a:gd name="connsiteY46" fmla="*/ 1657775 h 2164296"/>
              <a:gd name="connsiteX47" fmla="*/ 2081920 w 2200983"/>
              <a:gd name="connsiteY47" fmla="*/ 1686350 h 2164296"/>
              <a:gd name="connsiteX48" fmla="*/ 2072395 w 2200983"/>
              <a:gd name="connsiteY48" fmla="*/ 1700638 h 2164296"/>
              <a:gd name="connsiteX49" fmla="*/ 2058108 w 2200983"/>
              <a:gd name="connsiteY49" fmla="*/ 1710163 h 2164296"/>
              <a:gd name="connsiteX50" fmla="*/ 2034295 w 2200983"/>
              <a:gd name="connsiteY50" fmla="*/ 1724450 h 2164296"/>
              <a:gd name="connsiteX51" fmla="*/ 2010483 w 2200983"/>
              <a:gd name="connsiteY51" fmla="*/ 1743500 h 2164296"/>
              <a:gd name="connsiteX52" fmla="*/ 1939045 w 2200983"/>
              <a:gd name="connsiteY52" fmla="*/ 1772075 h 2164296"/>
              <a:gd name="connsiteX53" fmla="*/ 1919995 w 2200983"/>
              <a:gd name="connsiteY53" fmla="*/ 1786363 h 2164296"/>
              <a:gd name="connsiteX54" fmla="*/ 1872370 w 2200983"/>
              <a:gd name="connsiteY54" fmla="*/ 1814938 h 2164296"/>
              <a:gd name="connsiteX55" fmla="*/ 1858083 w 2200983"/>
              <a:gd name="connsiteY55" fmla="*/ 1833988 h 2164296"/>
              <a:gd name="connsiteX56" fmla="*/ 1805695 w 2200983"/>
              <a:gd name="connsiteY56" fmla="*/ 1862563 h 2164296"/>
              <a:gd name="connsiteX57" fmla="*/ 1662821 w 2200983"/>
              <a:gd name="connsiteY57" fmla="*/ 1891137 h 2164296"/>
              <a:gd name="connsiteX58" fmla="*/ 1415170 w 2200983"/>
              <a:gd name="connsiteY58" fmla="*/ 2014962 h 2164296"/>
              <a:gd name="connsiteX59" fmla="*/ 1362783 w 2200983"/>
              <a:gd name="connsiteY59" fmla="*/ 2053063 h 2164296"/>
              <a:gd name="connsiteX60" fmla="*/ 1348495 w 2200983"/>
              <a:gd name="connsiteY60" fmla="*/ 2062588 h 2164296"/>
              <a:gd name="connsiteX61" fmla="*/ 1310395 w 2200983"/>
              <a:gd name="connsiteY61" fmla="*/ 2072113 h 2164296"/>
              <a:gd name="connsiteX62" fmla="*/ 1286583 w 2200983"/>
              <a:gd name="connsiteY62" fmla="*/ 2086400 h 2164296"/>
              <a:gd name="connsiteX63" fmla="*/ 1234195 w 2200983"/>
              <a:gd name="connsiteY63" fmla="*/ 2100688 h 2164296"/>
              <a:gd name="connsiteX64" fmla="*/ 1191333 w 2200983"/>
              <a:gd name="connsiteY64" fmla="*/ 2119738 h 2164296"/>
              <a:gd name="connsiteX65" fmla="*/ 1172283 w 2200983"/>
              <a:gd name="connsiteY65" fmla="*/ 2134025 h 2164296"/>
              <a:gd name="connsiteX66" fmla="*/ 1100845 w 2200983"/>
              <a:gd name="connsiteY66" fmla="*/ 2148313 h 2164296"/>
              <a:gd name="connsiteX67" fmla="*/ 1072270 w 2200983"/>
              <a:gd name="connsiteY67" fmla="*/ 2162600 h 2164296"/>
              <a:gd name="connsiteX68" fmla="*/ 938920 w 2200983"/>
              <a:gd name="connsiteY68" fmla="*/ 2157838 h 2164296"/>
              <a:gd name="connsiteX69" fmla="*/ 829383 w 2200983"/>
              <a:gd name="connsiteY69" fmla="*/ 2105450 h 2164296"/>
              <a:gd name="connsiteX70" fmla="*/ 791283 w 2200983"/>
              <a:gd name="connsiteY70" fmla="*/ 2091163 h 2164296"/>
              <a:gd name="connsiteX71" fmla="*/ 743658 w 2200983"/>
              <a:gd name="connsiteY71" fmla="*/ 2062588 h 2164296"/>
              <a:gd name="connsiteX72" fmla="*/ 686508 w 2200983"/>
              <a:gd name="connsiteY72" fmla="*/ 2038775 h 2164296"/>
              <a:gd name="connsiteX73" fmla="*/ 653170 w 2200983"/>
              <a:gd name="connsiteY73" fmla="*/ 2005438 h 2164296"/>
              <a:gd name="connsiteX74" fmla="*/ 615070 w 2200983"/>
              <a:gd name="connsiteY74" fmla="*/ 1976863 h 2164296"/>
              <a:gd name="connsiteX75" fmla="*/ 600783 w 2200983"/>
              <a:gd name="connsiteY75" fmla="*/ 1957813 h 2164296"/>
              <a:gd name="connsiteX76" fmla="*/ 586495 w 2200983"/>
              <a:gd name="connsiteY76" fmla="*/ 1934000 h 2164296"/>
              <a:gd name="connsiteX77" fmla="*/ 553158 w 2200983"/>
              <a:gd name="connsiteY77" fmla="*/ 1895900 h 2164296"/>
              <a:gd name="connsiteX78" fmla="*/ 410283 w 2200983"/>
              <a:gd name="connsiteY78" fmla="*/ 1705400 h 2164296"/>
              <a:gd name="connsiteX79" fmla="*/ 395995 w 2200983"/>
              <a:gd name="connsiteY79" fmla="*/ 1686350 h 2164296"/>
              <a:gd name="connsiteX80" fmla="*/ 376945 w 2200983"/>
              <a:gd name="connsiteY80" fmla="*/ 1657775 h 2164296"/>
              <a:gd name="connsiteX81" fmla="*/ 319795 w 2200983"/>
              <a:gd name="connsiteY81" fmla="*/ 1600625 h 2164296"/>
              <a:gd name="connsiteX82" fmla="*/ 295983 w 2200983"/>
              <a:gd name="connsiteY82" fmla="*/ 1576813 h 2164296"/>
              <a:gd name="connsiteX83" fmla="*/ 281695 w 2200983"/>
              <a:gd name="connsiteY83" fmla="*/ 1562525 h 2164296"/>
              <a:gd name="connsiteX84" fmla="*/ 243595 w 2200983"/>
              <a:gd name="connsiteY84" fmla="*/ 1538713 h 2164296"/>
              <a:gd name="connsiteX85" fmla="*/ 219783 w 2200983"/>
              <a:gd name="connsiteY85" fmla="*/ 1510138 h 2164296"/>
              <a:gd name="connsiteX86" fmla="*/ 195970 w 2200983"/>
              <a:gd name="connsiteY86" fmla="*/ 1491088 h 2164296"/>
              <a:gd name="connsiteX87" fmla="*/ 176920 w 2200983"/>
              <a:gd name="connsiteY87" fmla="*/ 1462513 h 2164296"/>
              <a:gd name="connsiteX88" fmla="*/ 153108 w 2200983"/>
              <a:gd name="connsiteY88" fmla="*/ 1438700 h 2164296"/>
              <a:gd name="connsiteX89" fmla="*/ 143583 w 2200983"/>
              <a:gd name="connsiteY89" fmla="*/ 1424413 h 2164296"/>
              <a:gd name="connsiteX90" fmla="*/ 124533 w 2200983"/>
              <a:gd name="connsiteY90" fmla="*/ 1405363 h 2164296"/>
              <a:gd name="connsiteX91" fmla="*/ 105483 w 2200983"/>
              <a:gd name="connsiteY91" fmla="*/ 1376788 h 2164296"/>
              <a:gd name="connsiteX92" fmla="*/ 91195 w 2200983"/>
              <a:gd name="connsiteY92" fmla="*/ 1362500 h 2164296"/>
              <a:gd name="connsiteX93" fmla="*/ 81670 w 2200983"/>
              <a:gd name="connsiteY93" fmla="*/ 1348213 h 2164296"/>
              <a:gd name="connsiteX94" fmla="*/ 67383 w 2200983"/>
              <a:gd name="connsiteY94" fmla="*/ 1329163 h 2164296"/>
              <a:gd name="connsiteX95" fmla="*/ 62620 w 2200983"/>
              <a:gd name="connsiteY95" fmla="*/ 1305350 h 2164296"/>
              <a:gd name="connsiteX96" fmla="*/ 38808 w 2200983"/>
              <a:gd name="connsiteY96" fmla="*/ 1257725 h 2164296"/>
              <a:gd name="connsiteX97" fmla="*/ 34045 w 2200983"/>
              <a:gd name="connsiteY97" fmla="*/ 991025 h 2164296"/>
              <a:gd name="connsiteX98" fmla="*/ 72145 w 2200983"/>
              <a:gd name="connsiteY98" fmla="*/ 929113 h 2164296"/>
              <a:gd name="connsiteX99" fmla="*/ 95958 w 2200983"/>
              <a:gd name="connsiteY99" fmla="*/ 891013 h 2164296"/>
              <a:gd name="connsiteX100" fmla="*/ 115008 w 2200983"/>
              <a:gd name="connsiteY100" fmla="*/ 848150 h 2164296"/>
              <a:gd name="connsiteX101" fmla="*/ 176920 w 2200983"/>
              <a:gd name="connsiteY101" fmla="*/ 733850 h 2164296"/>
              <a:gd name="connsiteX102" fmla="*/ 238833 w 2200983"/>
              <a:gd name="connsiteY102" fmla="*/ 610025 h 2164296"/>
              <a:gd name="connsiteX103" fmla="*/ 243595 w 2200983"/>
              <a:gd name="connsiteY103" fmla="*/ 581450 h 2164296"/>
              <a:gd name="connsiteX104" fmla="*/ 267408 w 2200983"/>
              <a:gd name="connsiteY104" fmla="*/ 538588 h 2164296"/>
              <a:gd name="connsiteX105" fmla="*/ 281695 w 2200983"/>
              <a:gd name="connsiteY105" fmla="*/ 500488 h 2164296"/>
              <a:gd name="connsiteX106" fmla="*/ 295983 w 2200983"/>
              <a:gd name="connsiteY106" fmla="*/ 471913 h 2164296"/>
              <a:gd name="connsiteX107" fmla="*/ 305508 w 2200983"/>
              <a:gd name="connsiteY107" fmla="*/ 443338 h 2164296"/>
              <a:gd name="connsiteX108" fmla="*/ 315033 w 2200983"/>
              <a:gd name="connsiteY108" fmla="*/ 429050 h 2164296"/>
              <a:gd name="connsiteX109" fmla="*/ 324558 w 2200983"/>
              <a:gd name="connsiteY109" fmla="*/ 405238 h 2164296"/>
              <a:gd name="connsiteX110" fmla="*/ 343608 w 2200983"/>
              <a:gd name="connsiteY110" fmla="*/ 381425 h 2164296"/>
              <a:gd name="connsiteX111" fmla="*/ 362658 w 2200983"/>
              <a:gd name="connsiteY111" fmla="*/ 333800 h 2164296"/>
              <a:gd name="connsiteX112" fmla="*/ 391233 w 2200983"/>
              <a:gd name="connsiteY112" fmla="*/ 290938 h 2164296"/>
              <a:gd name="connsiteX113" fmla="*/ 415045 w 2200983"/>
              <a:gd name="connsiteY113" fmla="*/ 248075 h 2164296"/>
              <a:gd name="connsiteX114" fmla="*/ 429333 w 2200983"/>
              <a:gd name="connsiteY114" fmla="*/ 229025 h 2164296"/>
              <a:gd name="connsiteX115" fmla="*/ 453145 w 2200983"/>
              <a:gd name="connsiteY115" fmla="*/ 214738 h 2164296"/>
              <a:gd name="connsiteX116" fmla="*/ 476958 w 2200983"/>
              <a:gd name="connsiteY116" fmla="*/ 190925 h 2164296"/>
              <a:gd name="connsiteX117" fmla="*/ 491245 w 2200983"/>
              <a:gd name="connsiteY117" fmla="*/ 181400 h 2164296"/>
              <a:gd name="connsiteX118" fmla="*/ 524583 w 2200983"/>
              <a:gd name="connsiteY118" fmla="*/ 143300 h 2164296"/>
              <a:gd name="connsiteX119" fmla="*/ 538870 w 2200983"/>
              <a:gd name="connsiteY119" fmla="*/ 133775 h 2164296"/>
              <a:gd name="connsiteX120" fmla="*/ 648408 w 2200983"/>
              <a:gd name="connsiteY120" fmla="*/ 71863 h 2164296"/>
              <a:gd name="connsiteX121" fmla="*/ 662695 w 2200983"/>
              <a:gd name="connsiteY121" fmla="*/ 52813 h 2164296"/>
              <a:gd name="connsiteX122" fmla="*/ 681745 w 2200983"/>
              <a:gd name="connsiteY122" fmla="*/ 48050 h 2164296"/>
              <a:gd name="connsiteX123" fmla="*/ 705558 w 2200983"/>
              <a:gd name="connsiteY123" fmla="*/ 38525 h 2164296"/>
              <a:gd name="connsiteX124" fmla="*/ 748420 w 2200983"/>
              <a:gd name="connsiteY124" fmla="*/ 24238 h 2164296"/>
              <a:gd name="connsiteX125" fmla="*/ 776995 w 2200983"/>
              <a:gd name="connsiteY125" fmla="*/ 14713 h 2164296"/>
              <a:gd name="connsiteX126" fmla="*/ 824620 w 2200983"/>
              <a:gd name="connsiteY126" fmla="*/ 9950 h 2164296"/>
              <a:gd name="connsiteX127" fmla="*/ 896058 w 2200983"/>
              <a:gd name="connsiteY127" fmla="*/ 425 h 2164296"/>
              <a:gd name="connsiteX0" fmla="*/ 795412 w 2167012"/>
              <a:gd name="connsiteY0" fmla="*/ 425 h 2164296"/>
              <a:gd name="connsiteX1" fmla="*/ 947812 w 2167012"/>
              <a:gd name="connsiteY1" fmla="*/ 5188 h 2164296"/>
              <a:gd name="connsiteX2" fmla="*/ 971624 w 2167012"/>
              <a:gd name="connsiteY2" fmla="*/ 9950 h 2164296"/>
              <a:gd name="connsiteX3" fmla="*/ 1038299 w 2167012"/>
              <a:gd name="connsiteY3" fmla="*/ 19475 h 2164296"/>
              <a:gd name="connsiteX4" fmla="*/ 1066874 w 2167012"/>
              <a:gd name="connsiteY4" fmla="*/ 24238 h 2164296"/>
              <a:gd name="connsiteX5" fmla="*/ 1090687 w 2167012"/>
              <a:gd name="connsiteY5" fmla="*/ 38525 h 2164296"/>
              <a:gd name="connsiteX6" fmla="*/ 1133549 w 2167012"/>
              <a:gd name="connsiteY6" fmla="*/ 48050 h 2164296"/>
              <a:gd name="connsiteX7" fmla="*/ 1152599 w 2167012"/>
              <a:gd name="connsiteY7" fmla="*/ 52813 h 2164296"/>
              <a:gd name="connsiteX8" fmla="*/ 1185937 w 2167012"/>
              <a:gd name="connsiteY8" fmla="*/ 57575 h 2164296"/>
              <a:gd name="connsiteX9" fmla="*/ 1281187 w 2167012"/>
              <a:gd name="connsiteY9" fmla="*/ 71863 h 2164296"/>
              <a:gd name="connsiteX10" fmla="*/ 1452637 w 2167012"/>
              <a:gd name="connsiteY10" fmla="*/ 109963 h 2164296"/>
              <a:gd name="connsiteX11" fmla="*/ 1476449 w 2167012"/>
              <a:gd name="connsiteY11" fmla="*/ 114725 h 2164296"/>
              <a:gd name="connsiteX12" fmla="*/ 1614562 w 2167012"/>
              <a:gd name="connsiteY12" fmla="*/ 124250 h 2164296"/>
              <a:gd name="connsiteX13" fmla="*/ 1647899 w 2167012"/>
              <a:gd name="connsiteY13" fmla="*/ 129013 h 2164296"/>
              <a:gd name="connsiteX14" fmla="*/ 1671712 w 2167012"/>
              <a:gd name="connsiteY14" fmla="*/ 133775 h 2164296"/>
              <a:gd name="connsiteX15" fmla="*/ 1719337 w 2167012"/>
              <a:gd name="connsiteY15" fmla="*/ 138538 h 2164296"/>
              <a:gd name="connsiteX16" fmla="*/ 1757437 w 2167012"/>
              <a:gd name="connsiteY16" fmla="*/ 152825 h 2164296"/>
              <a:gd name="connsiteX17" fmla="*/ 1771724 w 2167012"/>
              <a:gd name="connsiteY17" fmla="*/ 162350 h 2164296"/>
              <a:gd name="connsiteX18" fmla="*/ 1795537 w 2167012"/>
              <a:gd name="connsiteY18" fmla="*/ 167113 h 2164296"/>
              <a:gd name="connsiteX19" fmla="*/ 1819349 w 2167012"/>
              <a:gd name="connsiteY19" fmla="*/ 181400 h 2164296"/>
              <a:gd name="connsiteX20" fmla="*/ 1843162 w 2167012"/>
              <a:gd name="connsiteY20" fmla="*/ 190925 h 2164296"/>
              <a:gd name="connsiteX21" fmla="*/ 1857449 w 2167012"/>
              <a:gd name="connsiteY21" fmla="*/ 205213 h 2164296"/>
              <a:gd name="connsiteX22" fmla="*/ 1890787 w 2167012"/>
              <a:gd name="connsiteY22" fmla="*/ 229025 h 2164296"/>
              <a:gd name="connsiteX23" fmla="*/ 1943174 w 2167012"/>
              <a:gd name="connsiteY23" fmla="*/ 267125 h 2164296"/>
              <a:gd name="connsiteX24" fmla="*/ 1966987 w 2167012"/>
              <a:gd name="connsiteY24" fmla="*/ 295700 h 2164296"/>
              <a:gd name="connsiteX25" fmla="*/ 2000324 w 2167012"/>
              <a:gd name="connsiteY25" fmla="*/ 348088 h 2164296"/>
              <a:gd name="connsiteX26" fmla="*/ 2019374 w 2167012"/>
              <a:gd name="connsiteY26" fmla="*/ 410000 h 2164296"/>
              <a:gd name="connsiteX27" fmla="*/ 2028899 w 2167012"/>
              <a:gd name="connsiteY27" fmla="*/ 443338 h 2164296"/>
              <a:gd name="connsiteX28" fmla="*/ 2033662 w 2167012"/>
              <a:gd name="connsiteY28" fmla="*/ 457625 h 2164296"/>
              <a:gd name="connsiteX29" fmla="*/ 2043187 w 2167012"/>
              <a:gd name="connsiteY29" fmla="*/ 476675 h 2164296"/>
              <a:gd name="connsiteX30" fmla="*/ 2062237 w 2167012"/>
              <a:gd name="connsiteY30" fmla="*/ 548113 h 2164296"/>
              <a:gd name="connsiteX31" fmla="*/ 2076524 w 2167012"/>
              <a:gd name="connsiteY31" fmla="*/ 610025 h 2164296"/>
              <a:gd name="connsiteX32" fmla="*/ 2081287 w 2167012"/>
              <a:gd name="connsiteY32" fmla="*/ 914825 h 2164296"/>
              <a:gd name="connsiteX33" fmla="*/ 2119387 w 2167012"/>
              <a:gd name="connsiteY33" fmla="*/ 1086275 h 2164296"/>
              <a:gd name="connsiteX34" fmla="*/ 2124149 w 2167012"/>
              <a:gd name="connsiteY34" fmla="*/ 1148188 h 2164296"/>
              <a:gd name="connsiteX35" fmla="*/ 2138437 w 2167012"/>
              <a:gd name="connsiteY35" fmla="*/ 1191050 h 2164296"/>
              <a:gd name="connsiteX36" fmla="*/ 2143199 w 2167012"/>
              <a:gd name="connsiteY36" fmla="*/ 1224388 h 2164296"/>
              <a:gd name="connsiteX37" fmla="*/ 2162249 w 2167012"/>
              <a:gd name="connsiteY37" fmla="*/ 1276775 h 2164296"/>
              <a:gd name="connsiteX38" fmla="*/ 2167012 w 2167012"/>
              <a:gd name="connsiteY38" fmla="*/ 1300588 h 2164296"/>
              <a:gd name="connsiteX39" fmla="*/ 2162249 w 2167012"/>
              <a:gd name="connsiteY39" fmla="*/ 1514900 h 2164296"/>
              <a:gd name="connsiteX40" fmla="*/ 2152724 w 2167012"/>
              <a:gd name="connsiteY40" fmla="*/ 1529188 h 2164296"/>
              <a:gd name="connsiteX41" fmla="*/ 2143199 w 2167012"/>
              <a:gd name="connsiteY41" fmla="*/ 1562525 h 2164296"/>
              <a:gd name="connsiteX42" fmla="*/ 2133674 w 2167012"/>
              <a:gd name="connsiteY42" fmla="*/ 1576813 h 2164296"/>
              <a:gd name="connsiteX43" fmla="*/ 2128912 w 2167012"/>
              <a:gd name="connsiteY43" fmla="*/ 1600625 h 2164296"/>
              <a:gd name="connsiteX44" fmla="*/ 2114624 w 2167012"/>
              <a:gd name="connsiteY44" fmla="*/ 1614913 h 2164296"/>
              <a:gd name="connsiteX45" fmla="*/ 2105099 w 2167012"/>
              <a:gd name="connsiteY45" fmla="*/ 1629200 h 2164296"/>
              <a:gd name="connsiteX46" fmla="*/ 2076524 w 2167012"/>
              <a:gd name="connsiteY46" fmla="*/ 1657775 h 2164296"/>
              <a:gd name="connsiteX47" fmla="*/ 2047949 w 2167012"/>
              <a:gd name="connsiteY47" fmla="*/ 1686350 h 2164296"/>
              <a:gd name="connsiteX48" fmla="*/ 2038424 w 2167012"/>
              <a:gd name="connsiteY48" fmla="*/ 1700638 h 2164296"/>
              <a:gd name="connsiteX49" fmla="*/ 2024137 w 2167012"/>
              <a:gd name="connsiteY49" fmla="*/ 1710163 h 2164296"/>
              <a:gd name="connsiteX50" fmla="*/ 2000324 w 2167012"/>
              <a:gd name="connsiteY50" fmla="*/ 1724450 h 2164296"/>
              <a:gd name="connsiteX51" fmla="*/ 1976512 w 2167012"/>
              <a:gd name="connsiteY51" fmla="*/ 1743500 h 2164296"/>
              <a:gd name="connsiteX52" fmla="*/ 1905074 w 2167012"/>
              <a:gd name="connsiteY52" fmla="*/ 1772075 h 2164296"/>
              <a:gd name="connsiteX53" fmla="*/ 1886024 w 2167012"/>
              <a:gd name="connsiteY53" fmla="*/ 1786363 h 2164296"/>
              <a:gd name="connsiteX54" fmla="*/ 1838399 w 2167012"/>
              <a:gd name="connsiteY54" fmla="*/ 1814938 h 2164296"/>
              <a:gd name="connsiteX55" fmla="*/ 1824112 w 2167012"/>
              <a:gd name="connsiteY55" fmla="*/ 1833988 h 2164296"/>
              <a:gd name="connsiteX56" fmla="*/ 1771724 w 2167012"/>
              <a:gd name="connsiteY56" fmla="*/ 1862563 h 2164296"/>
              <a:gd name="connsiteX57" fmla="*/ 1628850 w 2167012"/>
              <a:gd name="connsiteY57" fmla="*/ 1891137 h 2164296"/>
              <a:gd name="connsiteX58" fmla="*/ 1381199 w 2167012"/>
              <a:gd name="connsiteY58" fmla="*/ 2014962 h 2164296"/>
              <a:gd name="connsiteX59" fmla="*/ 1328812 w 2167012"/>
              <a:gd name="connsiteY59" fmla="*/ 2053063 h 2164296"/>
              <a:gd name="connsiteX60" fmla="*/ 1314524 w 2167012"/>
              <a:gd name="connsiteY60" fmla="*/ 2062588 h 2164296"/>
              <a:gd name="connsiteX61" fmla="*/ 1276424 w 2167012"/>
              <a:gd name="connsiteY61" fmla="*/ 2072113 h 2164296"/>
              <a:gd name="connsiteX62" fmla="*/ 1252612 w 2167012"/>
              <a:gd name="connsiteY62" fmla="*/ 2086400 h 2164296"/>
              <a:gd name="connsiteX63" fmla="*/ 1200224 w 2167012"/>
              <a:gd name="connsiteY63" fmla="*/ 2100688 h 2164296"/>
              <a:gd name="connsiteX64" fmla="*/ 1157362 w 2167012"/>
              <a:gd name="connsiteY64" fmla="*/ 2119738 h 2164296"/>
              <a:gd name="connsiteX65" fmla="*/ 1138312 w 2167012"/>
              <a:gd name="connsiteY65" fmla="*/ 2134025 h 2164296"/>
              <a:gd name="connsiteX66" fmla="*/ 1066874 w 2167012"/>
              <a:gd name="connsiteY66" fmla="*/ 2148313 h 2164296"/>
              <a:gd name="connsiteX67" fmla="*/ 1038299 w 2167012"/>
              <a:gd name="connsiteY67" fmla="*/ 2162600 h 2164296"/>
              <a:gd name="connsiteX68" fmla="*/ 904949 w 2167012"/>
              <a:gd name="connsiteY68" fmla="*/ 2157838 h 2164296"/>
              <a:gd name="connsiteX69" fmla="*/ 795412 w 2167012"/>
              <a:gd name="connsiteY69" fmla="*/ 2105450 h 2164296"/>
              <a:gd name="connsiteX70" fmla="*/ 757312 w 2167012"/>
              <a:gd name="connsiteY70" fmla="*/ 2091163 h 2164296"/>
              <a:gd name="connsiteX71" fmla="*/ 709687 w 2167012"/>
              <a:gd name="connsiteY71" fmla="*/ 2062588 h 2164296"/>
              <a:gd name="connsiteX72" fmla="*/ 652537 w 2167012"/>
              <a:gd name="connsiteY72" fmla="*/ 2038775 h 2164296"/>
              <a:gd name="connsiteX73" fmla="*/ 619199 w 2167012"/>
              <a:gd name="connsiteY73" fmla="*/ 2005438 h 2164296"/>
              <a:gd name="connsiteX74" fmla="*/ 581099 w 2167012"/>
              <a:gd name="connsiteY74" fmla="*/ 1976863 h 2164296"/>
              <a:gd name="connsiteX75" fmla="*/ 566812 w 2167012"/>
              <a:gd name="connsiteY75" fmla="*/ 1957813 h 2164296"/>
              <a:gd name="connsiteX76" fmla="*/ 552524 w 2167012"/>
              <a:gd name="connsiteY76" fmla="*/ 1934000 h 2164296"/>
              <a:gd name="connsiteX77" fmla="*/ 519187 w 2167012"/>
              <a:gd name="connsiteY77" fmla="*/ 1895900 h 2164296"/>
              <a:gd name="connsiteX78" fmla="*/ 376312 w 2167012"/>
              <a:gd name="connsiteY78" fmla="*/ 1705400 h 2164296"/>
              <a:gd name="connsiteX79" fmla="*/ 362024 w 2167012"/>
              <a:gd name="connsiteY79" fmla="*/ 1686350 h 2164296"/>
              <a:gd name="connsiteX80" fmla="*/ 342974 w 2167012"/>
              <a:gd name="connsiteY80" fmla="*/ 1657775 h 2164296"/>
              <a:gd name="connsiteX81" fmla="*/ 285824 w 2167012"/>
              <a:gd name="connsiteY81" fmla="*/ 1600625 h 2164296"/>
              <a:gd name="connsiteX82" fmla="*/ 262012 w 2167012"/>
              <a:gd name="connsiteY82" fmla="*/ 1576813 h 2164296"/>
              <a:gd name="connsiteX83" fmla="*/ 247724 w 2167012"/>
              <a:gd name="connsiteY83" fmla="*/ 1562525 h 2164296"/>
              <a:gd name="connsiteX84" fmla="*/ 209624 w 2167012"/>
              <a:gd name="connsiteY84" fmla="*/ 1538713 h 2164296"/>
              <a:gd name="connsiteX85" fmla="*/ 185812 w 2167012"/>
              <a:gd name="connsiteY85" fmla="*/ 1510138 h 2164296"/>
              <a:gd name="connsiteX86" fmla="*/ 161999 w 2167012"/>
              <a:gd name="connsiteY86" fmla="*/ 1491088 h 2164296"/>
              <a:gd name="connsiteX87" fmla="*/ 142949 w 2167012"/>
              <a:gd name="connsiteY87" fmla="*/ 1462513 h 2164296"/>
              <a:gd name="connsiteX88" fmla="*/ 119137 w 2167012"/>
              <a:gd name="connsiteY88" fmla="*/ 1438700 h 2164296"/>
              <a:gd name="connsiteX89" fmla="*/ 109612 w 2167012"/>
              <a:gd name="connsiteY89" fmla="*/ 1424413 h 2164296"/>
              <a:gd name="connsiteX90" fmla="*/ 90562 w 2167012"/>
              <a:gd name="connsiteY90" fmla="*/ 1405363 h 2164296"/>
              <a:gd name="connsiteX91" fmla="*/ 71512 w 2167012"/>
              <a:gd name="connsiteY91" fmla="*/ 1376788 h 2164296"/>
              <a:gd name="connsiteX92" fmla="*/ 57224 w 2167012"/>
              <a:gd name="connsiteY92" fmla="*/ 1362500 h 2164296"/>
              <a:gd name="connsiteX93" fmla="*/ 47699 w 2167012"/>
              <a:gd name="connsiteY93" fmla="*/ 1348213 h 2164296"/>
              <a:gd name="connsiteX94" fmla="*/ 33412 w 2167012"/>
              <a:gd name="connsiteY94" fmla="*/ 1329163 h 2164296"/>
              <a:gd name="connsiteX95" fmla="*/ 28649 w 2167012"/>
              <a:gd name="connsiteY95" fmla="*/ 1305350 h 2164296"/>
              <a:gd name="connsiteX96" fmla="*/ 74 w 2167012"/>
              <a:gd name="connsiteY96" fmla="*/ 991025 h 2164296"/>
              <a:gd name="connsiteX97" fmla="*/ 38174 w 2167012"/>
              <a:gd name="connsiteY97" fmla="*/ 929113 h 2164296"/>
              <a:gd name="connsiteX98" fmla="*/ 61987 w 2167012"/>
              <a:gd name="connsiteY98" fmla="*/ 891013 h 2164296"/>
              <a:gd name="connsiteX99" fmla="*/ 81037 w 2167012"/>
              <a:gd name="connsiteY99" fmla="*/ 848150 h 2164296"/>
              <a:gd name="connsiteX100" fmla="*/ 142949 w 2167012"/>
              <a:gd name="connsiteY100" fmla="*/ 733850 h 2164296"/>
              <a:gd name="connsiteX101" fmla="*/ 204862 w 2167012"/>
              <a:gd name="connsiteY101" fmla="*/ 610025 h 2164296"/>
              <a:gd name="connsiteX102" fmla="*/ 209624 w 2167012"/>
              <a:gd name="connsiteY102" fmla="*/ 581450 h 2164296"/>
              <a:gd name="connsiteX103" fmla="*/ 233437 w 2167012"/>
              <a:gd name="connsiteY103" fmla="*/ 538588 h 2164296"/>
              <a:gd name="connsiteX104" fmla="*/ 247724 w 2167012"/>
              <a:gd name="connsiteY104" fmla="*/ 500488 h 2164296"/>
              <a:gd name="connsiteX105" fmla="*/ 262012 w 2167012"/>
              <a:gd name="connsiteY105" fmla="*/ 471913 h 2164296"/>
              <a:gd name="connsiteX106" fmla="*/ 271537 w 2167012"/>
              <a:gd name="connsiteY106" fmla="*/ 443338 h 2164296"/>
              <a:gd name="connsiteX107" fmla="*/ 281062 w 2167012"/>
              <a:gd name="connsiteY107" fmla="*/ 429050 h 2164296"/>
              <a:gd name="connsiteX108" fmla="*/ 290587 w 2167012"/>
              <a:gd name="connsiteY108" fmla="*/ 405238 h 2164296"/>
              <a:gd name="connsiteX109" fmla="*/ 309637 w 2167012"/>
              <a:gd name="connsiteY109" fmla="*/ 381425 h 2164296"/>
              <a:gd name="connsiteX110" fmla="*/ 328687 w 2167012"/>
              <a:gd name="connsiteY110" fmla="*/ 333800 h 2164296"/>
              <a:gd name="connsiteX111" fmla="*/ 357262 w 2167012"/>
              <a:gd name="connsiteY111" fmla="*/ 290938 h 2164296"/>
              <a:gd name="connsiteX112" fmla="*/ 381074 w 2167012"/>
              <a:gd name="connsiteY112" fmla="*/ 248075 h 2164296"/>
              <a:gd name="connsiteX113" fmla="*/ 395362 w 2167012"/>
              <a:gd name="connsiteY113" fmla="*/ 229025 h 2164296"/>
              <a:gd name="connsiteX114" fmla="*/ 419174 w 2167012"/>
              <a:gd name="connsiteY114" fmla="*/ 214738 h 2164296"/>
              <a:gd name="connsiteX115" fmla="*/ 442987 w 2167012"/>
              <a:gd name="connsiteY115" fmla="*/ 190925 h 2164296"/>
              <a:gd name="connsiteX116" fmla="*/ 457274 w 2167012"/>
              <a:gd name="connsiteY116" fmla="*/ 181400 h 2164296"/>
              <a:gd name="connsiteX117" fmla="*/ 490612 w 2167012"/>
              <a:gd name="connsiteY117" fmla="*/ 143300 h 2164296"/>
              <a:gd name="connsiteX118" fmla="*/ 504899 w 2167012"/>
              <a:gd name="connsiteY118" fmla="*/ 133775 h 2164296"/>
              <a:gd name="connsiteX119" fmla="*/ 614437 w 2167012"/>
              <a:gd name="connsiteY119" fmla="*/ 71863 h 2164296"/>
              <a:gd name="connsiteX120" fmla="*/ 628724 w 2167012"/>
              <a:gd name="connsiteY120" fmla="*/ 52813 h 2164296"/>
              <a:gd name="connsiteX121" fmla="*/ 647774 w 2167012"/>
              <a:gd name="connsiteY121" fmla="*/ 48050 h 2164296"/>
              <a:gd name="connsiteX122" fmla="*/ 671587 w 2167012"/>
              <a:gd name="connsiteY122" fmla="*/ 38525 h 2164296"/>
              <a:gd name="connsiteX123" fmla="*/ 714449 w 2167012"/>
              <a:gd name="connsiteY123" fmla="*/ 24238 h 2164296"/>
              <a:gd name="connsiteX124" fmla="*/ 743024 w 2167012"/>
              <a:gd name="connsiteY124" fmla="*/ 14713 h 2164296"/>
              <a:gd name="connsiteX125" fmla="*/ 790649 w 2167012"/>
              <a:gd name="connsiteY125" fmla="*/ 9950 h 2164296"/>
              <a:gd name="connsiteX126" fmla="*/ 862087 w 2167012"/>
              <a:gd name="connsiteY126" fmla="*/ 425 h 2164296"/>
              <a:gd name="connsiteX0" fmla="*/ 826759 w 2198359"/>
              <a:gd name="connsiteY0" fmla="*/ 425 h 2164296"/>
              <a:gd name="connsiteX1" fmla="*/ 979159 w 2198359"/>
              <a:gd name="connsiteY1" fmla="*/ 5188 h 2164296"/>
              <a:gd name="connsiteX2" fmla="*/ 1002971 w 2198359"/>
              <a:gd name="connsiteY2" fmla="*/ 9950 h 2164296"/>
              <a:gd name="connsiteX3" fmla="*/ 1069646 w 2198359"/>
              <a:gd name="connsiteY3" fmla="*/ 19475 h 2164296"/>
              <a:gd name="connsiteX4" fmla="*/ 1098221 w 2198359"/>
              <a:gd name="connsiteY4" fmla="*/ 24238 h 2164296"/>
              <a:gd name="connsiteX5" fmla="*/ 1122034 w 2198359"/>
              <a:gd name="connsiteY5" fmla="*/ 38525 h 2164296"/>
              <a:gd name="connsiteX6" fmla="*/ 1164896 w 2198359"/>
              <a:gd name="connsiteY6" fmla="*/ 48050 h 2164296"/>
              <a:gd name="connsiteX7" fmla="*/ 1183946 w 2198359"/>
              <a:gd name="connsiteY7" fmla="*/ 52813 h 2164296"/>
              <a:gd name="connsiteX8" fmla="*/ 1217284 w 2198359"/>
              <a:gd name="connsiteY8" fmla="*/ 57575 h 2164296"/>
              <a:gd name="connsiteX9" fmla="*/ 1312534 w 2198359"/>
              <a:gd name="connsiteY9" fmla="*/ 71863 h 2164296"/>
              <a:gd name="connsiteX10" fmla="*/ 1483984 w 2198359"/>
              <a:gd name="connsiteY10" fmla="*/ 109963 h 2164296"/>
              <a:gd name="connsiteX11" fmla="*/ 1507796 w 2198359"/>
              <a:gd name="connsiteY11" fmla="*/ 114725 h 2164296"/>
              <a:gd name="connsiteX12" fmla="*/ 1645909 w 2198359"/>
              <a:gd name="connsiteY12" fmla="*/ 124250 h 2164296"/>
              <a:gd name="connsiteX13" fmla="*/ 1679246 w 2198359"/>
              <a:gd name="connsiteY13" fmla="*/ 129013 h 2164296"/>
              <a:gd name="connsiteX14" fmla="*/ 1703059 w 2198359"/>
              <a:gd name="connsiteY14" fmla="*/ 133775 h 2164296"/>
              <a:gd name="connsiteX15" fmla="*/ 1750684 w 2198359"/>
              <a:gd name="connsiteY15" fmla="*/ 138538 h 2164296"/>
              <a:gd name="connsiteX16" fmla="*/ 1788784 w 2198359"/>
              <a:gd name="connsiteY16" fmla="*/ 152825 h 2164296"/>
              <a:gd name="connsiteX17" fmla="*/ 1803071 w 2198359"/>
              <a:gd name="connsiteY17" fmla="*/ 162350 h 2164296"/>
              <a:gd name="connsiteX18" fmla="*/ 1826884 w 2198359"/>
              <a:gd name="connsiteY18" fmla="*/ 167113 h 2164296"/>
              <a:gd name="connsiteX19" fmla="*/ 1850696 w 2198359"/>
              <a:gd name="connsiteY19" fmla="*/ 181400 h 2164296"/>
              <a:gd name="connsiteX20" fmla="*/ 1874509 w 2198359"/>
              <a:gd name="connsiteY20" fmla="*/ 190925 h 2164296"/>
              <a:gd name="connsiteX21" fmla="*/ 1888796 w 2198359"/>
              <a:gd name="connsiteY21" fmla="*/ 205213 h 2164296"/>
              <a:gd name="connsiteX22" fmla="*/ 1922134 w 2198359"/>
              <a:gd name="connsiteY22" fmla="*/ 229025 h 2164296"/>
              <a:gd name="connsiteX23" fmla="*/ 1974521 w 2198359"/>
              <a:gd name="connsiteY23" fmla="*/ 267125 h 2164296"/>
              <a:gd name="connsiteX24" fmla="*/ 1998334 w 2198359"/>
              <a:gd name="connsiteY24" fmla="*/ 295700 h 2164296"/>
              <a:gd name="connsiteX25" fmla="*/ 2031671 w 2198359"/>
              <a:gd name="connsiteY25" fmla="*/ 348088 h 2164296"/>
              <a:gd name="connsiteX26" fmla="*/ 2050721 w 2198359"/>
              <a:gd name="connsiteY26" fmla="*/ 410000 h 2164296"/>
              <a:gd name="connsiteX27" fmla="*/ 2060246 w 2198359"/>
              <a:gd name="connsiteY27" fmla="*/ 443338 h 2164296"/>
              <a:gd name="connsiteX28" fmla="*/ 2065009 w 2198359"/>
              <a:gd name="connsiteY28" fmla="*/ 457625 h 2164296"/>
              <a:gd name="connsiteX29" fmla="*/ 2074534 w 2198359"/>
              <a:gd name="connsiteY29" fmla="*/ 476675 h 2164296"/>
              <a:gd name="connsiteX30" fmla="*/ 2093584 w 2198359"/>
              <a:gd name="connsiteY30" fmla="*/ 548113 h 2164296"/>
              <a:gd name="connsiteX31" fmla="*/ 2107871 w 2198359"/>
              <a:gd name="connsiteY31" fmla="*/ 610025 h 2164296"/>
              <a:gd name="connsiteX32" fmla="*/ 2112634 w 2198359"/>
              <a:gd name="connsiteY32" fmla="*/ 914825 h 2164296"/>
              <a:gd name="connsiteX33" fmla="*/ 2150734 w 2198359"/>
              <a:gd name="connsiteY33" fmla="*/ 1086275 h 2164296"/>
              <a:gd name="connsiteX34" fmla="*/ 2155496 w 2198359"/>
              <a:gd name="connsiteY34" fmla="*/ 1148188 h 2164296"/>
              <a:gd name="connsiteX35" fmla="*/ 2169784 w 2198359"/>
              <a:gd name="connsiteY35" fmla="*/ 1191050 h 2164296"/>
              <a:gd name="connsiteX36" fmla="*/ 2174546 w 2198359"/>
              <a:gd name="connsiteY36" fmla="*/ 1224388 h 2164296"/>
              <a:gd name="connsiteX37" fmla="*/ 2193596 w 2198359"/>
              <a:gd name="connsiteY37" fmla="*/ 1276775 h 2164296"/>
              <a:gd name="connsiteX38" fmla="*/ 2198359 w 2198359"/>
              <a:gd name="connsiteY38" fmla="*/ 1300588 h 2164296"/>
              <a:gd name="connsiteX39" fmla="*/ 2193596 w 2198359"/>
              <a:gd name="connsiteY39" fmla="*/ 1514900 h 2164296"/>
              <a:gd name="connsiteX40" fmla="*/ 2184071 w 2198359"/>
              <a:gd name="connsiteY40" fmla="*/ 1529188 h 2164296"/>
              <a:gd name="connsiteX41" fmla="*/ 2174546 w 2198359"/>
              <a:gd name="connsiteY41" fmla="*/ 1562525 h 2164296"/>
              <a:gd name="connsiteX42" fmla="*/ 2165021 w 2198359"/>
              <a:gd name="connsiteY42" fmla="*/ 1576813 h 2164296"/>
              <a:gd name="connsiteX43" fmla="*/ 2160259 w 2198359"/>
              <a:gd name="connsiteY43" fmla="*/ 1600625 h 2164296"/>
              <a:gd name="connsiteX44" fmla="*/ 2145971 w 2198359"/>
              <a:gd name="connsiteY44" fmla="*/ 1614913 h 2164296"/>
              <a:gd name="connsiteX45" fmla="*/ 2136446 w 2198359"/>
              <a:gd name="connsiteY45" fmla="*/ 1629200 h 2164296"/>
              <a:gd name="connsiteX46" fmla="*/ 2107871 w 2198359"/>
              <a:gd name="connsiteY46" fmla="*/ 1657775 h 2164296"/>
              <a:gd name="connsiteX47" fmla="*/ 2079296 w 2198359"/>
              <a:gd name="connsiteY47" fmla="*/ 1686350 h 2164296"/>
              <a:gd name="connsiteX48" fmla="*/ 2069771 w 2198359"/>
              <a:gd name="connsiteY48" fmla="*/ 1700638 h 2164296"/>
              <a:gd name="connsiteX49" fmla="*/ 2055484 w 2198359"/>
              <a:gd name="connsiteY49" fmla="*/ 1710163 h 2164296"/>
              <a:gd name="connsiteX50" fmla="*/ 2031671 w 2198359"/>
              <a:gd name="connsiteY50" fmla="*/ 1724450 h 2164296"/>
              <a:gd name="connsiteX51" fmla="*/ 2007859 w 2198359"/>
              <a:gd name="connsiteY51" fmla="*/ 1743500 h 2164296"/>
              <a:gd name="connsiteX52" fmla="*/ 1936421 w 2198359"/>
              <a:gd name="connsiteY52" fmla="*/ 1772075 h 2164296"/>
              <a:gd name="connsiteX53" fmla="*/ 1917371 w 2198359"/>
              <a:gd name="connsiteY53" fmla="*/ 1786363 h 2164296"/>
              <a:gd name="connsiteX54" fmla="*/ 1869746 w 2198359"/>
              <a:gd name="connsiteY54" fmla="*/ 1814938 h 2164296"/>
              <a:gd name="connsiteX55" fmla="*/ 1855459 w 2198359"/>
              <a:gd name="connsiteY55" fmla="*/ 1833988 h 2164296"/>
              <a:gd name="connsiteX56" fmla="*/ 1803071 w 2198359"/>
              <a:gd name="connsiteY56" fmla="*/ 1862563 h 2164296"/>
              <a:gd name="connsiteX57" fmla="*/ 1660197 w 2198359"/>
              <a:gd name="connsiteY57" fmla="*/ 1891137 h 2164296"/>
              <a:gd name="connsiteX58" fmla="*/ 1412546 w 2198359"/>
              <a:gd name="connsiteY58" fmla="*/ 2014962 h 2164296"/>
              <a:gd name="connsiteX59" fmla="*/ 1360159 w 2198359"/>
              <a:gd name="connsiteY59" fmla="*/ 2053063 h 2164296"/>
              <a:gd name="connsiteX60" fmla="*/ 1345871 w 2198359"/>
              <a:gd name="connsiteY60" fmla="*/ 2062588 h 2164296"/>
              <a:gd name="connsiteX61" fmla="*/ 1307771 w 2198359"/>
              <a:gd name="connsiteY61" fmla="*/ 2072113 h 2164296"/>
              <a:gd name="connsiteX62" fmla="*/ 1283959 w 2198359"/>
              <a:gd name="connsiteY62" fmla="*/ 2086400 h 2164296"/>
              <a:gd name="connsiteX63" fmla="*/ 1231571 w 2198359"/>
              <a:gd name="connsiteY63" fmla="*/ 2100688 h 2164296"/>
              <a:gd name="connsiteX64" fmla="*/ 1188709 w 2198359"/>
              <a:gd name="connsiteY64" fmla="*/ 2119738 h 2164296"/>
              <a:gd name="connsiteX65" fmla="*/ 1169659 w 2198359"/>
              <a:gd name="connsiteY65" fmla="*/ 2134025 h 2164296"/>
              <a:gd name="connsiteX66" fmla="*/ 1098221 w 2198359"/>
              <a:gd name="connsiteY66" fmla="*/ 2148313 h 2164296"/>
              <a:gd name="connsiteX67" fmla="*/ 1069646 w 2198359"/>
              <a:gd name="connsiteY67" fmla="*/ 2162600 h 2164296"/>
              <a:gd name="connsiteX68" fmla="*/ 936296 w 2198359"/>
              <a:gd name="connsiteY68" fmla="*/ 2157838 h 2164296"/>
              <a:gd name="connsiteX69" fmla="*/ 826759 w 2198359"/>
              <a:gd name="connsiteY69" fmla="*/ 2105450 h 2164296"/>
              <a:gd name="connsiteX70" fmla="*/ 788659 w 2198359"/>
              <a:gd name="connsiteY70" fmla="*/ 2091163 h 2164296"/>
              <a:gd name="connsiteX71" fmla="*/ 741034 w 2198359"/>
              <a:gd name="connsiteY71" fmla="*/ 2062588 h 2164296"/>
              <a:gd name="connsiteX72" fmla="*/ 683884 w 2198359"/>
              <a:gd name="connsiteY72" fmla="*/ 2038775 h 2164296"/>
              <a:gd name="connsiteX73" fmla="*/ 650546 w 2198359"/>
              <a:gd name="connsiteY73" fmla="*/ 2005438 h 2164296"/>
              <a:gd name="connsiteX74" fmla="*/ 612446 w 2198359"/>
              <a:gd name="connsiteY74" fmla="*/ 1976863 h 2164296"/>
              <a:gd name="connsiteX75" fmla="*/ 598159 w 2198359"/>
              <a:gd name="connsiteY75" fmla="*/ 1957813 h 2164296"/>
              <a:gd name="connsiteX76" fmla="*/ 583871 w 2198359"/>
              <a:gd name="connsiteY76" fmla="*/ 1934000 h 2164296"/>
              <a:gd name="connsiteX77" fmla="*/ 550534 w 2198359"/>
              <a:gd name="connsiteY77" fmla="*/ 1895900 h 2164296"/>
              <a:gd name="connsiteX78" fmla="*/ 407659 w 2198359"/>
              <a:gd name="connsiteY78" fmla="*/ 1705400 h 2164296"/>
              <a:gd name="connsiteX79" fmla="*/ 393371 w 2198359"/>
              <a:gd name="connsiteY79" fmla="*/ 1686350 h 2164296"/>
              <a:gd name="connsiteX80" fmla="*/ 374321 w 2198359"/>
              <a:gd name="connsiteY80" fmla="*/ 1657775 h 2164296"/>
              <a:gd name="connsiteX81" fmla="*/ 317171 w 2198359"/>
              <a:gd name="connsiteY81" fmla="*/ 1600625 h 2164296"/>
              <a:gd name="connsiteX82" fmla="*/ 293359 w 2198359"/>
              <a:gd name="connsiteY82" fmla="*/ 1576813 h 2164296"/>
              <a:gd name="connsiteX83" fmla="*/ 279071 w 2198359"/>
              <a:gd name="connsiteY83" fmla="*/ 1562525 h 2164296"/>
              <a:gd name="connsiteX84" fmla="*/ 240971 w 2198359"/>
              <a:gd name="connsiteY84" fmla="*/ 1538713 h 2164296"/>
              <a:gd name="connsiteX85" fmla="*/ 217159 w 2198359"/>
              <a:gd name="connsiteY85" fmla="*/ 1510138 h 2164296"/>
              <a:gd name="connsiteX86" fmla="*/ 193346 w 2198359"/>
              <a:gd name="connsiteY86" fmla="*/ 1491088 h 2164296"/>
              <a:gd name="connsiteX87" fmla="*/ 174296 w 2198359"/>
              <a:gd name="connsiteY87" fmla="*/ 1462513 h 2164296"/>
              <a:gd name="connsiteX88" fmla="*/ 150484 w 2198359"/>
              <a:gd name="connsiteY88" fmla="*/ 1438700 h 2164296"/>
              <a:gd name="connsiteX89" fmla="*/ 140959 w 2198359"/>
              <a:gd name="connsiteY89" fmla="*/ 1424413 h 2164296"/>
              <a:gd name="connsiteX90" fmla="*/ 121909 w 2198359"/>
              <a:gd name="connsiteY90" fmla="*/ 1405363 h 2164296"/>
              <a:gd name="connsiteX91" fmla="*/ 102859 w 2198359"/>
              <a:gd name="connsiteY91" fmla="*/ 1376788 h 2164296"/>
              <a:gd name="connsiteX92" fmla="*/ 88571 w 2198359"/>
              <a:gd name="connsiteY92" fmla="*/ 1362500 h 2164296"/>
              <a:gd name="connsiteX93" fmla="*/ 79046 w 2198359"/>
              <a:gd name="connsiteY93" fmla="*/ 1348213 h 2164296"/>
              <a:gd name="connsiteX94" fmla="*/ 64759 w 2198359"/>
              <a:gd name="connsiteY94" fmla="*/ 1329163 h 2164296"/>
              <a:gd name="connsiteX95" fmla="*/ 59996 w 2198359"/>
              <a:gd name="connsiteY95" fmla="*/ 1305350 h 2164296"/>
              <a:gd name="connsiteX96" fmla="*/ 31421 w 2198359"/>
              <a:gd name="connsiteY96" fmla="*/ 991025 h 2164296"/>
              <a:gd name="connsiteX97" fmla="*/ 69521 w 2198359"/>
              <a:gd name="connsiteY97" fmla="*/ 929113 h 2164296"/>
              <a:gd name="connsiteX98" fmla="*/ 93334 w 2198359"/>
              <a:gd name="connsiteY98" fmla="*/ 891013 h 2164296"/>
              <a:gd name="connsiteX99" fmla="*/ 112384 w 2198359"/>
              <a:gd name="connsiteY99" fmla="*/ 848150 h 2164296"/>
              <a:gd name="connsiteX100" fmla="*/ 174296 w 2198359"/>
              <a:gd name="connsiteY100" fmla="*/ 733850 h 2164296"/>
              <a:gd name="connsiteX101" fmla="*/ 236209 w 2198359"/>
              <a:gd name="connsiteY101" fmla="*/ 610025 h 2164296"/>
              <a:gd name="connsiteX102" fmla="*/ 240971 w 2198359"/>
              <a:gd name="connsiteY102" fmla="*/ 581450 h 2164296"/>
              <a:gd name="connsiteX103" fmla="*/ 264784 w 2198359"/>
              <a:gd name="connsiteY103" fmla="*/ 538588 h 2164296"/>
              <a:gd name="connsiteX104" fmla="*/ 279071 w 2198359"/>
              <a:gd name="connsiteY104" fmla="*/ 500488 h 2164296"/>
              <a:gd name="connsiteX105" fmla="*/ 293359 w 2198359"/>
              <a:gd name="connsiteY105" fmla="*/ 471913 h 2164296"/>
              <a:gd name="connsiteX106" fmla="*/ 302884 w 2198359"/>
              <a:gd name="connsiteY106" fmla="*/ 443338 h 2164296"/>
              <a:gd name="connsiteX107" fmla="*/ 312409 w 2198359"/>
              <a:gd name="connsiteY107" fmla="*/ 429050 h 2164296"/>
              <a:gd name="connsiteX108" fmla="*/ 321934 w 2198359"/>
              <a:gd name="connsiteY108" fmla="*/ 405238 h 2164296"/>
              <a:gd name="connsiteX109" fmla="*/ 340984 w 2198359"/>
              <a:gd name="connsiteY109" fmla="*/ 381425 h 2164296"/>
              <a:gd name="connsiteX110" fmla="*/ 360034 w 2198359"/>
              <a:gd name="connsiteY110" fmla="*/ 333800 h 2164296"/>
              <a:gd name="connsiteX111" fmla="*/ 388609 w 2198359"/>
              <a:gd name="connsiteY111" fmla="*/ 290938 h 2164296"/>
              <a:gd name="connsiteX112" fmla="*/ 412421 w 2198359"/>
              <a:gd name="connsiteY112" fmla="*/ 248075 h 2164296"/>
              <a:gd name="connsiteX113" fmla="*/ 426709 w 2198359"/>
              <a:gd name="connsiteY113" fmla="*/ 229025 h 2164296"/>
              <a:gd name="connsiteX114" fmla="*/ 450521 w 2198359"/>
              <a:gd name="connsiteY114" fmla="*/ 214738 h 2164296"/>
              <a:gd name="connsiteX115" fmla="*/ 474334 w 2198359"/>
              <a:gd name="connsiteY115" fmla="*/ 190925 h 2164296"/>
              <a:gd name="connsiteX116" fmla="*/ 488621 w 2198359"/>
              <a:gd name="connsiteY116" fmla="*/ 181400 h 2164296"/>
              <a:gd name="connsiteX117" fmla="*/ 521959 w 2198359"/>
              <a:gd name="connsiteY117" fmla="*/ 143300 h 2164296"/>
              <a:gd name="connsiteX118" fmla="*/ 536246 w 2198359"/>
              <a:gd name="connsiteY118" fmla="*/ 133775 h 2164296"/>
              <a:gd name="connsiteX119" fmla="*/ 645784 w 2198359"/>
              <a:gd name="connsiteY119" fmla="*/ 71863 h 2164296"/>
              <a:gd name="connsiteX120" fmla="*/ 660071 w 2198359"/>
              <a:gd name="connsiteY120" fmla="*/ 52813 h 2164296"/>
              <a:gd name="connsiteX121" fmla="*/ 679121 w 2198359"/>
              <a:gd name="connsiteY121" fmla="*/ 48050 h 2164296"/>
              <a:gd name="connsiteX122" fmla="*/ 702934 w 2198359"/>
              <a:gd name="connsiteY122" fmla="*/ 38525 h 2164296"/>
              <a:gd name="connsiteX123" fmla="*/ 745796 w 2198359"/>
              <a:gd name="connsiteY123" fmla="*/ 24238 h 2164296"/>
              <a:gd name="connsiteX124" fmla="*/ 774371 w 2198359"/>
              <a:gd name="connsiteY124" fmla="*/ 14713 h 2164296"/>
              <a:gd name="connsiteX125" fmla="*/ 821996 w 2198359"/>
              <a:gd name="connsiteY125" fmla="*/ 9950 h 2164296"/>
              <a:gd name="connsiteX126" fmla="*/ 893434 w 2198359"/>
              <a:gd name="connsiteY126" fmla="*/ 425 h 2164296"/>
              <a:gd name="connsiteX0" fmla="*/ 827164 w 2198764"/>
              <a:gd name="connsiteY0" fmla="*/ 425 h 2164296"/>
              <a:gd name="connsiteX1" fmla="*/ 979564 w 2198764"/>
              <a:gd name="connsiteY1" fmla="*/ 5188 h 2164296"/>
              <a:gd name="connsiteX2" fmla="*/ 1003376 w 2198764"/>
              <a:gd name="connsiteY2" fmla="*/ 9950 h 2164296"/>
              <a:gd name="connsiteX3" fmla="*/ 1070051 w 2198764"/>
              <a:gd name="connsiteY3" fmla="*/ 19475 h 2164296"/>
              <a:gd name="connsiteX4" fmla="*/ 1098626 w 2198764"/>
              <a:gd name="connsiteY4" fmla="*/ 24238 h 2164296"/>
              <a:gd name="connsiteX5" fmla="*/ 1122439 w 2198764"/>
              <a:gd name="connsiteY5" fmla="*/ 38525 h 2164296"/>
              <a:gd name="connsiteX6" fmla="*/ 1165301 w 2198764"/>
              <a:gd name="connsiteY6" fmla="*/ 48050 h 2164296"/>
              <a:gd name="connsiteX7" fmla="*/ 1184351 w 2198764"/>
              <a:gd name="connsiteY7" fmla="*/ 52813 h 2164296"/>
              <a:gd name="connsiteX8" fmla="*/ 1217689 w 2198764"/>
              <a:gd name="connsiteY8" fmla="*/ 57575 h 2164296"/>
              <a:gd name="connsiteX9" fmla="*/ 1312939 w 2198764"/>
              <a:gd name="connsiteY9" fmla="*/ 71863 h 2164296"/>
              <a:gd name="connsiteX10" fmla="*/ 1484389 w 2198764"/>
              <a:gd name="connsiteY10" fmla="*/ 109963 h 2164296"/>
              <a:gd name="connsiteX11" fmla="*/ 1508201 w 2198764"/>
              <a:gd name="connsiteY11" fmla="*/ 114725 h 2164296"/>
              <a:gd name="connsiteX12" fmla="*/ 1646314 w 2198764"/>
              <a:gd name="connsiteY12" fmla="*/ 124250 h 2164296"/>
              <a:gd name="connsiteX13" fmla="*/ 1679651 w 2198764"/>
              <a:gd name="connsiteY13" fmla="*/ 129013 h 2164296"/>
              <a:gd name="connsiteX14" fmla="*/ 1703464 w 2198764"/>
              <a:gd name="connsiteY14" fmla="*/ 133775 h 2164296"/>
              <a:gd name="connsiteX15" fmla="*/ 1751089 w 2198764"/>
              <a:gd name="connsiteY15" fmla="*/ 138538 h 2164296"/>
              <a:gd name="connsiteX16" fmla="*/ 1789189 w 2198764"/>
              <a:gd name="connsiteY16" fmla="*/ 152825 h 2164296"/>
              <a:gd name="connsiteX17" fmla="*/ 1803476 w 2198764"/>
              <a:gd name="connsiteY17" fmla="*/ 162350 h 2164296"/>
              <a:gd name="connsiteX18" fmla="*/ 1827289 w 2198764"/>
              <a:gd name="connsiteY18" fmla="*/ 167113 h 2164296"/>
              <a:gd name="connsiteX19" fmla="*/ 1851101 w 2198764"/>
              <a:gd name="connsiteY19" fmla="*/ 181400 h 2164296"/>
              <a:gd name="connsiteX20" fmla="*/ 1874914 w 2198764"/>
              <a:gd name="connsiteY20" fmla="*/ 190925 h 2164296"/>
              <a:gd name="connsiteX21" fmla="*/ 1889201 w 2198764"/>
              <a:gd name="connsiteY21" fmla="*/ 205213 h 2164296"/>
              <a:gd name="connsiteX22" fmla="*/ 1922539 w 2198764"/>
              <a:gd name="connsiteY22" fmla="*/ 229025 h 2164296"/>
              <a:gd name="connsiteX23" fmla="*/ 1974926 w 2198764"/>
              <a:gd name="connsiteY23" fmla="*/ 267125 h 2164296"/>
              <a:gd name="connsiteX24" fmla="*/ 1998739 w 2198764"/>
              <a:gd name="connsiteY24" fmla="*/ 295700 h 2164296"/>
              <a:gd name="connsiteX25" fmla="*/ 2032076 w 2198764"/>
              <a:gd name="connsiteY25" fmla="*/ 348088 h 2164296"/>
              <a:gd name="connsiteX26" fmla="*/ 2051126 w 2198764"/>
              <a:gd name="connsiteY26" fmla="*/ 410000 h 2164296"/>
              <a:gd name="connsiteX27" fmla="*/ 2060651 w 2198764"/>
              <a:gd name="connsiteY27" fmla="*/ 443338 h 2164296"/>
              <a:gd name="connsiteX28" fmla="*/ 2065414 w 2198764"/>
              <a:gd name="connsiteY28" fmla="*/ 457625 h 2164296"/>
              <a:gd name="connsiteX29" fmla="*/ 2074939 w 2198764"/>
              <a:gd name="connsiteY29" fmla="*/ 476675 h 2164296"/>
              <a:gd name="connsiteX30" fmla="*/ 2093989 w 2198764"/>
              <a:gd name="connsiteY30" fmla="*/ 548113 h 2164296"/>
              <a:gd name="connsiteX31" fmla="*/ 2108276 w 2198764"/>
              <a:gd name="connsiteY31" fmla="*/ 610025 h 2164296"/>
              <a:gd name="connsiteX32" fmla="*/ 2113039 w 2198764"/>
              <a:gd name="connsiteY32" fmla="*/ 914825 h 2164296"/>
              <a:gd name="connsiteX33" fmla="*/ 2151139 w 2198764"/>
              <a:gd name="connsiteY33" fmla="*/ 1086275 h 2164296"/>
              <a:gd name="connsiteX34" fmla="*/ 2155901 w 2198764"/>
              <a:gd name="connsiteY34" fmla="*/ 1148188 h 2164296"/>
              <a:gd name="connsiteX35" fmla="*/ 2170189 w 2198764"/>
              <a:gd name="connsiteY35" fmla="*/ 1191050 h 2164296"/>
              <a:gd name="connsiteX36" fmla="*/ 2174951 w 2198764"/>
              <a:gd name="connsiteY36" fmla="*/ 1224388 h 2164296"/>
              <a:gd name="connsiteX37" fmla="*/ 2194001 w 2198764"/>
              <a:gd name="connsiteY37" fmla="*/ 1276775 h 2164296"/>
              <a:gd name="connsiteX38" fmla="*/ 2198764 w 2198764"/>
              <a:gd name="connsiteY38" fmla="*/ 1300588 h 2164296"/>
              <a:gd name="connsiteX39" fmla="*/ 2194001 w 2198764"/>
              <a:gd name="connsiteY39" fmla="*/ 1514900 h 2164296"/>
              <a:gd name="connsiteX40" fmla="*/ 2184476 w 2198764"/>
              <a:gd name="connsiteY40" fmla="*/ 1529188 h 2164296"/>
              <a:gd name="connsiteX41" fmla="*/ 2174951 w 2198764"/>
              <a:gd name="connsiteY41" fmla="*/ 1562525 h 2164296"/>
              <a:gd name="connsiteX42" fmla="*/ 2165426 w 2198764"/>
              <a:gd name="connsiteY42" fmla="*/ 1576813 h 2164296"/>
              <a:gd name="connsiteX43" fmla="*/ 2160664 w 2198764"/>
              <a:gd name="connsiteY43" fmla="*/ 1600625 h 2164296"/>
              <a:gd name="connsiteX44" fmla="*/ 2146376 w 2198764"/>
              <a:gd name="connsiteY44" fmla="*/ 1614913 h 2164296"/>
              <a:gd name="connsiteX45" fmla="*/ 2136851 w 2198764"/>
              <a:gd name="connsiteY45" fmla="*/ 1629200 h 2164296"/>
              <a:gd name="connsiteX46" fmla="*/ 2108276 w 2198764"/>
              <a:gd name="connsiteY46" fmla="*/ 1657775 h 2164296"/>
              <a:gd name="connsiteX47" fmla="*/ 2079701 w 2198764"/>
              <a:gd name="connsiteY47" fmla="*/ 1686350 h 2164296"/>
              <a:gd name="connsiteX48" fmla="*/ 2070176 w 2198764"/>
              <a:gd name="connsiteY48" fmla="*/ 1700638 h 2164296"/>
              <a:gd name="connsiteX49" fmla="*/ 2055889 w 2198764"/>
              <a:gd name="connsiteY49" fmla="*/ 1710163 h 2164296"/>
              <a:gd name="connsiteX50" fmla="*/ 2032076 w 2198764"/>
              <a:gd name="connsiteY50" fmla="*/ 1724450 h 2164296"/>
              <a:gd name="connsiteX51" fmla="*/ 2008264 w 2198764"/>
              <a:gd name="connsiteY51" fmla="*/ 1743500 h 2164296"/>
              <a:gd name="connsiteX52" fmla="*/ 1936826 w 2198764"/>
              <a:gd name="connsiteY52" fmla="*/ 1772075 h 2164296"/>
              <a:gd name="connsiteX53" fmla="*/ 1917776 w 2198764"/>
              <a:gd name="connsiteY53" fmla="*/ 1786363 h 2164296"/>
              <a:gd name="connsiteX54" fmla="*/ 1870151 w 2198764"/>
              <a:gd name="connsiteY54" fmla="*/ 1814938 h 2164296"/>
              <a:gd name="connsiteX55" fmla="*/ 1855864 w 2198764"/>
              <a:gd name="connsiteY55" fmla="*/ 1833988 h 2164296"/>
              <a:gd name="connsiteX56" fmla="*/ 1803476 w 2198764"/>
              <a:gd name="connsiteY56" fmla="*/ 1862563 h 2164296"/>
              <a:gd name="connsiteX57" fmla="*/ 1660602 w 2198764"/>
              <a:gd name="connsiteY57" fmla="*/ 1891137 h 2164296"/>
              <a:gd name="connsiteX58" fmla="*/ 1412951 w 2198764"/>
              <a:gd name="connsiteY58" fmla="*/ 2014962 h 2164296"/>
              <a:gd name="connsiteX59" fmla="*/ 1360564 w 2198764"/>
              <a:gd name="connsiteY59" fmla="*/ 2053063 h 2164296"/>
              <a:gd name="connsiteX60" fmla="*/ 1346276 w 2198764"/>
              <a:gd name="connsiteY60" fmla="*/ 2062588 h 2164296"/>
              <a:gd name="connsiteX61" fmla="*/ 1308176 w 2198764"/>
              <a:gd name="connsiteY61" fmla="*/ 2072113 h 2164296"/>
              <a:gd name="connsiteX62" fmla="*/ 1284364 w 2198764"/>
              <a:gd name="connsiteY62" fmla="*/ 2086400 h 2164296"/>
              <a:gd name="connsiteX63" fmla="*/ 1231976 w 2198764"/>
              <a:gd name="connsiteY63" fmla="*/ 2100688 h 2164296"/>
              <a:gd name="connsiteX64" fmla="*/ 1189114 w 2198764"/>
              <a:gd name="connsiteY64" fmla="*/ 2119738 h 2164296"/>
              <a:gd name="connsiteX65" fmla="*/ 1170064 w 2198764"/>
              <a:gd name="connsiteY65" fmla="*/ 2134025 h 2164296"/>
              <a:gd name="connsiteX66" fmla="*/ 1098626 w 2198764"/>
              <a:gd name="connsiteY66" fmla="*/ 2148313 h 2164296"/>
              <a:gd name="connsiteX67" fmla="*/ 1070051 w 2198764"/>
              <a:gd name="connsiteY67" fmla="*/ 2162600 h 2164296"/>
              <a:gd name="connsiteX68" fmla="*/ 936701 w 2198764"/>
              <a:gd name="connsiteY68" fmla="*/ 2157838 h 2164296"/>
              <a:gd name="connsiteX69" fmla="*/ 827164 w 2198764"/>
              <a:gd name="connsiteY69" fmla="*/ 2105450 h 2164296"/>
              <a:gd name="connsiteX70" fmla="*/ 789064 w 2198764"/>
              <a:gd name="connsiteY70" fmla="*/ 2091163 h 2164296"/>
              <a:gd name="connsiteX71" fmla="*/ 741439 w 2198764"/>
              <a:gd name="connsiteY71" fmla="*/ 2062588 h 2164296"/>
              <a:gd name="connsiteX72" fmla="*/ 684289 w 2198764"/>
              <a:gd name="connsiteY72" fmla="*/ 2038775 h 2164296"/>
              <a:gd name="connsiteX73" fmla="*/ 650951 w 2198764"/>
              <a:gd name="connsiteY73" fmla="*/ 2005438 h 2164296"/>
              <a:gd name="connsiteX74" fmla="*/ 612851 w 2198764"/>
              <a:gd name="connsiteY74" fmla="*/ 1976863 h 2164296"/>
              <a:gd name="connsiteX75" fmla="*/ 598564 w 2198764"/>
              <a:gd name="connsiteY75" fmla="*/ 1957813 h 2164296"/>
              <a:gd name="connsiteX76" fmla="*/ 584276 w 2198764"/>
              <a:gd name="connsiteY76" fmla="*/ 1934000 h 2164296"/>
              <a:gd name="connsiteX77" fmla="*/ 550939 w 2198764"/>
              <a:gd name="connsiteY77" fmla="*/ 1895900 h 2164296"/>
              <a:gd name="connsiteX78" fmla="*/ 408064 w 2198764"/>
              <a:gd name="connsiteY78" fmla="*/ 1705400 h 2164296"/>
              <a:gd name="connsiteX79" fmla="*/ 393776 w 2198764"/>
              <a:gd name="connsiteY79" fmla="*/ 1686350 h 2164296"/>
              <a:gd name="connsiteX80" fmla="*/ 374726 w 2198764"/>
              <a:gd name="connsiteY80" fmla="*/ 1657775 h 2164296"/>
              <a:gd name="connsiteX81" fmla="*/ 317576 w 2198764"/>
              <a:gd name="connsiteY81" fmla="*/ 1600625 h 2164296"/>
              <a:gd name="connsiteX82" fmla="*/ 293764 w 2198764"/>
              <a:gd name="connsiteY82" fmla="*/ 1576813 h 2164296"/>
              <a:gd name="connsiteX83" fmla="*/ 279476 w 2198764"/>
              <a:gd name="connsiteY83" fmla="*/ 1562525 h 2164296"/>
              <a:gd name="connsiteX84" fmla="*/ 241376 w 2198764"/>
              <a:gd name="connsiteY84" fmla="*/ 1538713 h 2164296"/>
              <a:gd name="connsiteX85" fmla="*/ 217564 w 2198764"/>
              <a:gd name="connsiteY85" fmla="*/ 1510138 h 2164296"/>
              <a:gd name="connsiteX86" fmla="*/ 193751 w 2198764"/>
              <a:gd name="connsiteY86" fmla="*/ 1491088 h 2164296"/>
              <a:gd name="connsiteX87" fmla="*/ 174701 w 2198764"/>
              <a:gd name="connsiteY87" fmla="*/ 1462513 h 2164296"/>
              <a:gd name="connsiteX88" fmla="*/ 150889 w 2198764"/>
              <a:gd name="connsiteY88" fmla="*/ 1438700 h 2164296"/>
              <a:gd name="connsiteX89" fmla="*/ 141364 w 2198764"/>
              <a:gd name="connsiteY89" fmla="*/ 1424413 h 2164296"/>
              <a:gd name="connsiteX90" fmla="*/ 122314 w 2198764"/>
              <a:gd name="connsiteY90" fmla="*/ 1405363 h 2164296"/>
              <a:gd name="connsiteX91" fmla="*/ 103264 w 2198764"/>
              <a:gd name="connsiteY91" fmla="*/ 1376788 h 2164296"/>
              <a:gd name="connsiteX92" fmla="*/ 88976 w 2198764"/>
              <a:gd name="connsiteY92" fmla="*/ 1362500 h 2164296"/>
              <a:gd name="connsiteX93" fmla="*/ 79451 w 2198764"/>
              <a:gd name="connsiteY93" fmla="*/ 1348213 h 2164296"/>
              <a:gd name="connsiteX94" fmla="*/ 60401 w 2198764"/>
              <a:gd name="connsiteY94" fmla="*/ 1305350 h 2164296"/>
              <a:gd name="connsiteX95" fmla="*/ 31826 w 2198764"/>
              <a:gd name="connsiteY95" fmla="*/ 991025 h 2164296"/>
              <a:gd name="connsiteX96" fmla="*/ 69926 w 2198764"/>
              <a:gd name="connsiteY96" fmla="*/ 929113 h 2164296"/>
              <a:gd name="connsiteX97" fmla="*/ 93739 w 2198764"/>
              <a:gd name="connsiteY97" fmla="*/ 891013 h 2164296"/>
              <a:gd name="connsiteX98" fmla="*/ 112789 w 2198764"/>
              <a:gd name="connsiteY98" fmla="*/ 848150 h 2164296"/>
              <a:gd name="connsiteX99" fmla="*/ 174701 w 2198764"/>
              <a:gd name="connsiteY99" fmla="*/ 733850 h 2164296"/>
              <a:gd name="connsiteX100" fmla="*/ 236614 w 2198764"/>
              <a:gd name="connsiteY100" fmla="*/ 610025 h 2164296"/>
              <a:gd name="connsiteX101" fmla="*/ 241376 w 2198764"/>
              <a:gd name="connsiteY101" fmla="*/ 581450 h 2164296"/>
              <a:gd name="connsiteX102" fmla="*/ 265189 w 2198764"/>
              <a:gd name="connsiteY102" fmla="*/ 538588 h 2164296"/>
              <a:gd name="connsiteX103" fmla="*/ 279476 w 2198764"/>
              <a:gd name="connsiteY103" fmla="*/ 500488 h 2164296"/>
              <a:gd name="connsiteX104" fmla="*/ 293764 w 2198764"/>
              <a:gd name="connsiteY104" fmla="*/ 471913 h 2164296"/>
              <a:gd name="connsiteX105" fmla="*/ 303289 w 2198764"/>
              <a:gd name="connsiteY105" fmla="*/ 443338 h 2164296"/>
              <a:gd name="connsiteX106" fmla="*/ 312814 w 2198764"/>
              <a:gd name="connsiteY106" fmla="*/ 429050 h 2164296"/>
              <a:gd name="connsiteX107" fmla="*/ 322339 w 2198764"/>
              <a:gd name="connsiteY107" fmla="*/ 405238 h 2164296"/>
              <a:gd name="connsiteX108" fmla="*/ 341389 w 2198764"/>
              <a:gd name="connsiteY108" fmla="*/ 381425 h 2164296"/>
              <a:gd name="connsiteX109" fmla="*/ 360439 w 2198764"/>
              <a:gd name="connsiteY109" fmla="*/ 333800 h 2164296"/>
              <a:gd name="connsiteX110" fmla="*/ 389014 w 2198764"/>
              <a:gd name="connsiteY110" fmla="*/ 290938 h 2164296"/>
              <a:gd name="connsiteX111" fmla="*/ 412826 w 2198764"/>
              <a:gd name="connsiteY111" fmla="*/ 248075 h 2164296"/>
              <a:gd name="connsiteX112" fmla="*/ 427114 w 2198764"/>
              <a:gd name="connsiteY112" fmla="*/ 229025 h 2164296"/>
              <a:gd name="connsiteX113" fmla="*/ 450926 w 2198764"/>
              <a:gd name="connsiteY113" fmla="*/ 214738 h 2164296"/>
              <a:gd name="connsiteX114" fmla="*/ 474739 w 2198764"/>
              <a:gd name="connsiteY114" fmla="*/ 190925 h 2164296"/>
              <a:gd name="connsiteX115" fmla="*/ 489026 w 2198764"/>
              <a:gd name="connsiteY115" fmla="*/ 181400 h 2164296"/>
              <a:gd name="connsiteX116" fmla="*/ 522364 w 2198764"/>
              <a:gd name="connsiteY116" fmla="*/ 143300 h 2164296"/>
              <a:gd name="connsiteX117" fmla="*/ 536651 w 2198764"/>
              <a:gd name="connsiteY117" fmla="*/ 133775 h 2164296"/>
              <a:gd name="connsiteX118" fmla="*/ 646189 w 2198764"/>
              <a:gd name="connsiteY118" fmla="*/ 71863 h 2164296"/>
              <a:gd name="connsiteX119" fmla="*/ 660476 w 2198764"/>
              <a:gd name="connsiteY119" fmla="*/ 52813 h 2164296"/>
              <a:gd name="connsiteX120" fmla="*/ 679526 w 2198764"/>
              <a:gd name="connsiteY120" fmla="*/ 48050 h 2164296"/>
              <a:gd name="connsiteX121" fmla="*/ 703339 w 2198764"/>
              <a:gd name="connsiteY121" fmla="*/ 38525 h 2164296"/>
              <a:gd name="connsiteX122" fmla="*/ 746201 w 2198764"/>
              <a:gd name="connsiteY122" fmla="*/ 24238 h 2164296"/>
              <a:gd name="connsiteX123" fmla="*/ 774776 w 2198764"/>
              <a:gd name="connsiteY123" fmla="*/ 14713 h 2164296"/>
              <a:gd name="connsiteX124" fmla="*/ 822401 w 2198764"/>
              <a:gd name="connsiteY124" fmla="*/ 9950 h 2164296"/>
              <a:gd name="connsiteX125" fmla="*/ 893839 w 2198764"/>
              <a:gd name="connsiteY125" fmla="*/ 425 h 2164296"/>
              <a:gd name="connsiteX0" fmla="*/ 831710 w 2203310"/>
              <a:gd name="connsiteY0" fmla="*/ 425 h 2164296"/>
              <a:gd name="connsiteX1" fmla="*/ 984110 w 2203310"/>
              <a:gd name="connsiteY1" fmla="*/ 5188 h 2164296"/>
              <a:gd name="connsiteX2" fmla="*/ 1007922 w 2203310"/>
              <a:gd name="connsiteY2" fmla="*/ 9950 h 2164296"/>
              <a:gd name="connsiteX3" fmla="*/ 1074597 w 2203310"/>
              <a:gd name="connsiteY3" fmla="*/ 19475 h 2164296"/>
              <a:gd name="connsiteX4" fmla="*/ 1103172 w 2203310"/>
              <a:gd name="connsiteY4" fmla="*/ 24238 h 2164296"/>
              <a:gd name="connsiteX5" fmla="*/ 1126985 w 2203310"/>
              <a:gd name="connsiteY5" fmla="*/ 38525 h 2164296"/>
              <a:gd name="connsiteX6" fmla="*/ 1169847 w 2203310"/>
              <a:gd name="connsiteY6" fmla="*/ 48050 h 2164296"/>
              <a:gd name="connsiteX7" fmla="*/ 1188897 w 2203310"/>
              <a:gd name="connsiteY7" fmla="*/ 52813 h 2164296"/>
              <a:gd name="connsiteX8" fmla="*/ 1222235 w 2203310"/>
              <a:gd name="connsiteY8" fmla="*/ 57575 h 2164296"/>
              <a:gd name="connsiteX9" fmla="*/ 1317485 w 2203310"/>
              <a:gd name="connsiteY9" fmla="*/ 71863 h 2164296"/>
              <a:gd name="connsiteX10" fmla="*/ 1488935 w 2203310"/>
              <a:gd name="connsiteY10" fmla="*/ 109963 h 2164296"/>
              <a:gd name="connsiteX11" fmla="*/ 1512747 w 2203310"/>
              <a:gd name="connsiteY11" fmla="*/ 114725 h 2164296"/>
              <a:gd name="connsiteX12" fmla="*/ 1650860 w 2203310"/>
              <a:gd name="connsiteY12" fmla="*/ 124250 h 2164296"/>
              <a:gd name="connsiteX13" fmla="*/ 1684197 w 2203310"/>
              <a:gd name="connsiteY13" fmla="*/ 129013 h 2164296"/>
              <a:gd name="connsiteX14" fmla="*/ 1708010 w 2203310"/>
              <a:gd name="connsiteY14" fmla="*/ 133775 h 2164296"/>
              <a:gd name="connsiteX15" fmla="*/ 1755635 w 2203310"/>
              <a:gd name="connsiteY15" fmla="*/ 138538 h 2164296"/>
              <a:gd name="connsiteX16" fmla="*/ 1793735 w 2203310"/>
              <a:gd name="connsiteY16" fmla="*/ 152825 h 2164296"/>
              <a:gd name="connsiteX17" fmla="*/ 1808022 w 2203310"/>
              <a:gd name="connsiteY17" fmla="*/ 162350 h 2164296"/>
              <a:gd name="connsiteX18" fmla="*/ 1831835 w 2203310"/>
              <a:gd name="connsiteY18" fmla="*/ 167113 h 2164296"/>
              <a:gd name="connsiteX19" fmla="*/ 1855647 w 2203310"/>
              <a:gd name="connsiteY19" fmla="*/ 181400 h 2164296"/>
              <a:gd name="connsiteX20" fmla="*/ 1879460 w 2203310"/>
              <a:gd name="connsiteY20" fmla="*/ 190925 h 2164296"/>
              <a:gd name="connsiteX21" fmla="*/ 1893747 w 2203310"/>
              <a:gd name="connsiteY21" fmla="*/ 205213 h 2164296"/>
              <a:gd name="connsiteX22" fmla="*/ 1927085 w 2203310"/>
              <a:gd name="connsiteY22" fmla="*/ 229025 h 2164296"/>
              <a:gd name="connsiteX23" fmla="*/ 1979472 w 2203310"/>
              <a:gd name="connsiteY23" fmla="*/ 267125 h 2164296"/>
              <a:gd name="connsiteX24" fmla="*/ 2003285 w 2203310"/>
              <a:gd name="connsiteY24" fmla="*/ 295700 h 2164296"/>
              <a:gd name="connsiteX25" fmla="*/ 2036622 w 2203310"/>
              <a:gd name="connsiteY25" fmla="*/ 348088 h 2164296"/>
              <a:gd name="connsiteX26" fmla="*/ 2055672 w 2203310"/>
              <a:gd name="connsiteY26" fmla="*/ 410000 h 2164296"/>
              <a:gd name="connsiteX27" fmla="*/ 2065197 w 2203310"/>
              <a:gd name="connsiteY27" fmla="*/ 443338 h 2164296"/>
              <a:gd name="connsiteX28" fmla="*/ 2069960 w 2203310"/>
              <a:gd name="connsiteY28" fmla="*/ 457625 h 2164296"/>
              <a:gd name="connsiteX29" fmla="*/ 2079485 w 2203310"/>
              <a:gd name="connsiteY29" fmla="*/ 476675 h 2164296"/>
              <a:gd name="connsiteX30" fmla="*/ 2098535 w 2203310"/>
              <a:gd name="connsiteY30" fmla="*/ 548113 h 2164296"/>
              <a:gd name="connsiteX31" fmla="*/ 2112822 w 2203310"/>
              <a:gd name="connsiteY31" fmla="*/ 610025 h 2164296"/>
              <a:gd name="connsiteX32" fmla="*/ 2117585 w 2203310"/>
              <a:gd name="connsiteY32" fmla="*/ 914825 h 2164296"/>
              <a:gd name="connsiteX33" fmla="*/ 2155685 w 2203310"/>
              <a:gd name="connsiteY33" fmla="*/ 1086275 h 2164296"/>
              <a:gd name="connsiteX34" fmla="*/ 2160447 w 2203310"/>
              <a:gd name="connsiteY34" fmla="*/ 1148188 h 2164296"/>
              <a:gd name="connsiteX35" fmla="*/ 2174735 w 2203310"/>
              <a:gd name="connsiteY35" fmla="*/ 1191050 h 2164296"/>
              <a:gd name="connsiteX36" fmla="*/ 2179497 w 2203310"/>
              <a:gd name="connsiteY36" fmla="*/ 1224388 h 2164296"/>
              <a:gd name="connsiteX37" fmla="*/ 2198547 w 2203310"/>
              <a:gd name="connsiteY37" fmla="*/ 1276775 h 2164296"/>
              <a:gd name="connsiteX38" fmla="*/ 2203310 w 2203310"/>
              <a:gd name="connsiteY38" fmla="*/ 1300588 h 2164296"/>
              <a:gd name="connsiteX39" fmla="*/ 2198547 w 2203310"/>
              <a:gd name="connsiteY39" fmla="*/ 1514900 h 2164296"/>
              <a:gd name="connsiteX40" fmla="*/ 2189022 w 2203310"/>
              <a:gd name="connsiteY40" fmla="*/ 1529188 h 2164296"/>
              <a:gd name="connsiteX41" fmla="*/ 2179497 w 2203310"/>
              <a:gd name="connsiteY41" fmla="*/ 1562525 h 2164296"/>
              <a:gd name="connsiteX42" fmla="*/ 2169972 w 2203310"/>
              <a:gd name="connsiteY42" fmla="*/ 1576813 h 2164296"/>
              <a:gd name="connsiteX43" fmla="*/ 2165210 w 2203310"/>
              <a:gd name="connsiteY43" fmla="*/ 1600625 h 2164296"/>
              <a:gd name="connsiteX44" fmla="*/ 2150922 w 2203310"/>
              <a:gd name="connsiteY44" fmla="*/ 1614913 h 2164296"/>
              <a:gd name="connsiteX45" fmla="*/ 2141397 w 2203310"/>
              <a:gd name="connsiteY45" fmla="*/ 1629200 h 2164296"/>
              <a:gd name="connsiteX46" fmla="*/ 2112822 w 2203310"/>
              <a:gd name="connsiteY46" fmla="*/ 1657775 h 2164296"/>
              <a:gd name="connsiteX47" fmla="*/ 2084247 w 2203310"/>
              <a:gd name="connsiteY47" fmla="*/ 1686350 h 2164296"/>
              <a:gd name="connsiteX48" fmla="*/ 2074722 w 2203310"/>
              <a:gd name="connsiteY48" fmla="*/ 1700638 h 2164296"/>
              <a:gd name="connsiteX49" fmla="*/ 2060435 w 2203310"/>
              <a:gd name="connsiteY49" fmla="*/ 1710163 h 2164296"/>
              <a:gd name="connsiteX50" fmla="*/ 2036622 w 2203310"/>
              <a:gd name="connsiteY50" fmla="*/ 1724450 h 2164296"/>
              <a:gd name="connsiteX51" fmla="*/ 2012810 w 2203310"/>
              <a:gd name="connsiteY51" fmla="*/ 1743500 h 2164296"/>
              <a:gd name="connsiteX52" fmla="*/ 1941372 w 2203310"/>
              <a:gd name="connsiteY52" fmla="*/ 1772075 h 2164296"/>
              <a:gd name="connsiteX53" fmla="*/ 1922322 w 2203310"/>
              <a:gd name="connsiteY53" fmla="*/ 1786363 h 2164296"/>
              <a:gd name="connsiteX54" fmla="*/ 1874697 w 2203310"/>
              <a:gd name="connsiteY54" fmla="*/ 1814938 h 2164296"/>
              <a:gd name="connsiteX55" fmla="*/ 1860410 w 2203310"/>
              <a:gd name="connsiteY55" fmla="*/ 1833988 h 2164296"/>
              <a:gd name="connsiteX56" fmla="*/ 1808022 w 2203310"/>
              <a:gd name="connsiteY56" fmla="*/ 1862563 h 2164296"/>
              <a:gd name="connsiteX57" fmla="*/ 1665148 w 2203310"/>
              <a:gd name="connsiteY57" fmla="*/ 1891137 h 2164296"/>
              <a:gd name="connsiteX58" fmla="*/ 1417497 w 2203310"/>
              <a:gd name="connsiteY58" fmla="*/ 2014962 h 2164296"/>
              <a:gd name="connsiteX59" fmla="*/ 1365110 w 2203310"/>
              <a:gd name="connsiteY59" fmla="*/ 2053063 h 2164296"/>
              <a:gd name="connsiteX60" fmla="*/ 1350822 w 2203310"/>
              <a:gd name="connsiteY60" fmla="*/ 2062588 h 2164296"/>
              <a:gd name="connsiteX61" fmla="*/ 1312722 w 2203310"/>
              <a:gd name="connsiteY61" fmla="*/ 2072113 h 2164296"/>
              <a:gd name="connsiteX62" fmla="*/ 1288910 w 2203310"/>
              <a:gd name="connsiteY62" fmla="*/ 2086400 h 2164296"/>
              <a:gd name="connsiteX63" fmla="*/ 1236522 w 2203310"/>
              <a:gd name="connsiteY63" fmla="*/ 2100688 h 2164296"/>
              <a:gd name="connsiteX64" fmla="*/ 1193660 w 2203310"/>
              <a:gd name="connsiteY64" fmla="*/ 2119738 h 2164296"/>
              <a:gd name="connsiteX65" fmla="*/ 1174610 w 2203310"/>
              <a:gd name="connsiteY65" fmla="*/ 2134025 h 2164296"/>
              <a:gd name="connsiteX66" fmla="*/ 1103172 w 2203310"/>
              <a:gd name="connsiteY66" fmla="*/ 2148313 h 2164296"/>
              <a:gd name="connsiteX67" fmla="*/ 1074597 w 2203310"/>
              <a:gd name="connsiteY67" fmla="*/ 2162600 h 2164296"/>
              <a:gd name="connsiteX68" fmla="*/ 941247 w 2203310"/>
              <a:gd name="connsiteY68" fmla="*/ 2157838 h 2164296"/>
              <a:gd name="connsiteX69" fmla="*/ 831710 w 2203310"/>
              <a:gd name="connsiteY69" fmla="*/ 2105450 h 2164296"/>
              <a:gd name="connsiteX70" fmla="*/ 793610 w 2203310"/>
              <a:gd name="connsiteY70" fmla="*/ 2091163 h 2164296"/>
              <a:gd name="connsiteX71" fmla="*/ 745985 w 2203310"/>
              <a:gd name="connsiteY71" fmla="*/ 2062588 h 2164296"/>
              <a:gd name="connsiteX72" fmla="*/ 688835 w 2203310"/>
              <a:gd name="connsiteY72" fmla="*/ 2038775 h 2164296"/>
              <a:gd name="connsiteX73" fmla="*/ 655497 w 2203310"/>
              <a:gd name="connsiteY73" fmla="*/ 2005438 h 2164296"/>
              <a:gd name="connsiteX74" fmla="*/ 617397 w 2203310"/>
              <a:gd name="connsiteY74" fmla="*/ 1976863 h 2164296"/>
              <a:gd name="connsiteX75" fmla="*/ 603110 w 2203310"/>
              <a:gd name="connsiteY75" fmla="*/ 1957813 h 2164296"/>
              <a:gd name="connsiteX76" fmla="*/ 588822 w 2203310"/>
              <a:gd name="connsiteY76" fmla="*/ 1934000 h 2164296"/>
              <a:gd name="connsiteX77" fmla="*/ 555485 w 2203310"/>
              <a:gd name="connsiteY77" fmla="*/ 1895900 h 2164296"/>
              <a:gd name="connsiteX78" fmla="*/ 412610 w 2203310"/>
              <a:gd name="connsiteY78" fmla="*/ 1705400 h 2164296"/>
              <a:gd name="connsiteX79" fmla="*/ 398322 w 2203310"/>
              <a:gd name="connsiteY79" fmla="*/ 1686350 h 2164296"/>
              <a:gd name="connsiteX80" fmla="*/ 379272 w 2203310"/>
              <a:gd name="connsiteY80" fmla="*/ 1657775 h 2164296"/>
              <a:gd name="connsiteX81" fmla="*/ 322122 w 2203310"/>
              <a:gd name="connsiteY81" fmla="*/ 1600625 h 2164296"/>
              <a:gd name="connsiteX82" fmla="*/ 298310 w 2203310"/>
              <a:gd name="connsiteY82" fmla="*/ 1576813 h 2164296"/>
              <a:gd name="connsiteX83" fmla="*/ 284022 w 2203310"/>
              <a:gd name="connsiteY83" fmla="*/ 1562525 h 2164296"/>
              <a:gd name="connsiteX84" fmla="*/ 245922 w 2203310"/>
              <a:gd name="connsiteY84" fmla="*/ 1538713 h 2164296"/>
              <a:gd name="connsiteX85" fmla="*/ 222110 w 2203310"/>
              <a:gd name="connsiteY85" fmla="*/ 1510138 h 2164296"/>
              <a:gd name="connsiteX86" fmla="*/ 198297 w 2203310"/>
              <a:gd name="connsiteY86" fmla="*/ 1491088 h 2164296"/>
              <a:gd name="connsiteX87" fmla="*/ 179247 w 2203310"/>
              <a:gd name="connsiteY87" fmla="*/ 1462513 h 2164296"/>
              <a:gd name="connsiteX88" fmla="*/ 155435 w 2203310"/>
              <a:gd name="connsiteY88" fmla="*/ 1438700 h 2164296"/>
              <a:gd name="connsiteX89" fmla="*/ 145910 w 2203310"/>
              <a:gd name="connsiteY89" fmla="*/ 1424413 h 2164296"/>
              <a:gd name="connsiteX90" fmla="*/ 126860 w 2203310"/>
              <a:gd name="connsiteY90" fmla="*/ 1405363 h 2164296"/>
              <a:gd name="connsiteX91" fmla="*/ 107810 w 2203310"/>
              <a:gd name="connsiteY91" fmla="*/ 1376788 h 2164296"/>
              <a:gd name="connsiteX92" fmla="*/ 93522 w 2203310"/>
              <a:gd name="connsiteY92" fmla="*/ 1362500 h 2164296"/>
              <a:gd name="connsiteX93" fmla="*/ 83997 w 2203310"/>
              <a:gd name="connsiteY93" fmla="*/ 1348213 h 2164296"/>
              <a:gd name="connsiteX94" fmla="*/ 64947 w 2203310"/>
              <a:gd name="connsiteY94" fmla="*/ 1305350 h 2164296"/>
              <a:gd name="connsiteX95" fmla="*/ 36372 w 2203310"/>
              <a:gd name="connsiteY95" fmla="*/ 991025 h 2164296"/>
              <a:gd name="connsiteX96" fmla="*/ 74472 w 2203310"/>
              <a:gd name="connsiteY96" fmla="*/ 929113 h 2164296"/>
              <a:gd name="connsiteX97" fmla="*/ 98285 w 2203310"/>
              <a:gd name="connsiteY97" fmla="*/ 891013 h 2164296"/>
              <a:gd name="connsiteX98" fmla="*/ 117335 w 2203310"/>
              <a:gd name="connsiteY98" fmla="*/ 848150 h 2164296"/>
              <a:gd name="connsiteX99" fmla="*/ 179247 w 2203310"/>
              <a:gd name="connsiteY99" fmla="*/ 733850 h 2164296"/>
              <a:gd name="connsiteX100" fmla="*/ 241160 w 2203310"/>
              <a:gd name="connsiteY100" fmla="*/ 610025 h 2164296"/>
              <a:gd name="connsiteX101" fmla="*/ 245922 w 2203310"/>
              <a:gd name="connsiteY101" fmla="*/ 581450 h 2164296"/>
              <a:gd name="connsiteX102" fmla="*/ 269735 w 2203310"/>
              <a:gd name="connsiteY102" fmla="*/ 538588 h 2164296"/>
              <a:gd name="connsiteX103" fmla="*/ 284022 w 2203310"/>
              <a:gd name="connsiteY103" fmla="*/ 500488 h 2164296"/>
              <a:gd name="connsiteX104" fmla="*/ 298310 w 2203310"/>
              <a:gd name="connsiteY104" fmla="*/ 471913 h 2164296"/>
              <a:gd name="connsiteX105" fmla="*/ 307835 w 2203310"/>
              <a:gd name="connsiteY105" fmla="*/ 443338 h 2164296"/>
              <a:gd name="connsiteX106" fmla="*/ 317360 w 2203310"/>
              <a:gd name="connsiteY106" fmla="*/ 429050 h 2164296"/>
              <a:gd name="connsiteX107" fmla="*/ 326885 w 2203310"/>
              <a:gd name="connsiteY107" fmla="*/ 405238 h 2164296"/>
              <a:gd name="connsiteX108" fmla="*/ 345935 w 2203310"/>
              <a:gd name="connsiteY108" fmla="*/ 381425 h 2164296"/>
              <a:gd name="connsiteX109" fmla="*/ 364985 w 2203310"/>
              <a:gd name="connsiteY109" fmla="*/ 333800 h 2164296"/>
              <a:gd name="connsiteX110" fmla="*/ 393560 w 2203310"/>
              <a:gd name="connsiteY110" fmla="*/ 290938 h 2164296"/>
              <a:gd name="connsiteX111" fmla="*/ 417372 w 2203310"/>
              <a:gd name="connsiteY111" fmla="*/ 248075 h 2164296"/>
              <a:gd name="connsiteX112" fmla="*/ 431660 w 2203310"/>
              <a:gd name="connsiteY112" fmla="*/ 229025 h 2164296"/>
              <a:gd name="connsiteX113" fmla="*/ 455472 w 2203310"/>
              <a:gd name="connsiteY113" fmla="*/ 214738 h 2164296"/>
              <a:gd name="connsiteX114" fmla="*/ 479285 w 2203310"/>
              <a:gd name="connsiteY114" fmla="*/ 190925 h 2164296"/>
              <a:gd name="connsiteX115" fmla="*/ 493572 w 2203310"/>
              <a:gd name="connsiteY115" fmla="*/ 181400 h 2164296"/>
              <a:gd name="connsiteX116" fmla="*/ 526910 w 2203310"/>
              <a:gd name="connsiteY116" fmla="*/ 143300 h 2164296"/>
              <a:gd name="connsiteX117" fmla="*/ 541197 w 2203310"/>
              <a:gd name="connsiteY117" fmla="*/ 133775 h 2164296"/>
              <a:gd name="connsiteX118" fmla="*/ 650735 w 2203310"/>
              <a:gd name="connsiteY118" fmla="*/ 71863 h 2164296"/>
              <a:gd name="connsiteX119" fmla="*/ 665022 w 2203310"/>
              <a:gd name="connsiteY119" fmla="*/ 52813 h 2164296"/>
              <a:gd name="connsiteX120" fmla="*/ 684072 w 2203310"/>
              <a:gd name="connsiteY120" fmla="*/ 48050 h 2164296"/>
              <a:gd name="connsiteX121" fmla="*/ 707885 w 2203310"/>
              <a:gd name="connsiteY121" fmla="*/ 38525 h 2164296"/>
              <a:gd name="connsiteX122" fmla="*/ 750747 w 2203310"/>
              <a:gd name="connsiteY122" fmla="*/ 24238 h 2164296"/>
              <a:gd name="connsiteX123" fmla="*/ 779322 w 2203310"/>
              <a:gd name="connsiteY123" fmla="*/ 14713 h 2164296"/>
              <a:gd name="connsiteX124" fmla="*/ 826947 w 2203310"/>
              <a:gd name="connsiteY124" fmla="*/ 9950 h 2164296"/>
              <a:gd name="connsiteX125" fmla="*/ 898385 w 2203310"/>
              <a:gd name="connsiteY125" fmla="*/ 425 h 2164296"/>
              <a:gd name="connsiteX0" fmla="*/ 827440 w 2199040"/>
              <a:gd name="connsiteY0" fmla="*/ 425 h 2164296"/>
              <a:gd name="connsiteX1" fmla="*/ 979840 w 2199040"/>
              <a:gd name="connsiteY1" fmla="*/ 5188 h 2164296"/>
              <a:gd name="connsiteX2" fmla="*/ 1003652 w 2199040"/>
              <a:gd name="connsiteY2" fmla="*/ 9950 h 2164296"/>
              <a:gd name="connsiteX3" fmla="*/ 1070327 w 2199040"/>
              <a:gd name="connsiteY3" fmla="*/ 19475 h 2164296"/>
              <a:gd name="connsiteX4" fmla="*/ 1098902 w 2199040"/>
              <a:gd name="connsiteY4" fmla="*/ 24238 h 2164296"/>
              <a:gd name="connsiteX5" fmla="*/ 1122715 w 2199040"/>
              <a:gd name="connsiteY5" fmla="*/ 38525 h 2164296"/>
              <a:gd name="connsiteX6" fmla="*/ 1165577 w 2199040"/>
              <a:gd name="connsiteY6" fmla="*/ 48050 h 2164296"/>
              <a:gd name="connsiteX7" fmla="*/ 1184627 w 2199040"/>
              <a:gd name="connsiteY7" fmla="*/ 52813 h 2164296"/>
              <a:gd name="connsiteX8" fmla="*/ 1217965 w 2199040"/>
              <a:gd name="connsiteY8" fmla="*/ 57575 h 2164296"/>
              <a:gd name="connsiteX9" fmla="*/ 1313215 w 2199040"/>
              <a:gd name="connsiteY9" fmla="*/ 71863 h 2164296"/>
              <a:gd name="connsiteX10" fmla="*/ 1484665 w 2199040"/>
              <a:gd name="connsiteY10" fmla="*/ 109963 h 2164296"/>
              <a:gd name="connsiteX11" fmla="*/ 1508477 w 2199040"/>
              <a:gd name="connsiteY11" fmla="*/ 114725 h 2164296"/>
              <a:gd name="connsiteX12" fmla="*/ 1646590 w 2199040"/>
              <a:gd name="connsiteY12" fmla="*/ 124250 h 2164296"/>
              <a:gd name="connsiteX13" fmla="*/ 1679927 w 2199040"/>
              <a:gd name="connsiteY13" fmla="*/ 129013 h 2164296"/>
              <a:gd name="connsiteX14" fmla="*/ 1703740 w 2199040"/>
              <a:gd name="connsiteY14" fmla="*/ 133775 h 2164296"/>
              <a:gd name="connsiteX15" fmla="*/ 1751365 w 2199040"/>
              <a:gd name="connsiteY15" fmla="*/ 138538 h 2164296"/>
              <a:gd name="connsiteX16" fmla="*/ 1789465 w 2199040"/>
              <a:gd name="connsiteY16" fmla="*/ 152825 h 2164296"/>
              <a:gd name="connsiteX17" fmla="*/ 1803752 w 2199040"/>
              <a:gd name="connsiteY17" fmla="*/ 162350 h 2164296"/>
              <a:gd name="connsiteX18" fmla="*/ 1827565 w 2199040"/>
              <a:gd name="connsiteY18" fmla="*/ 167113 h 2164296"/>
              <a:gd name="connsiteX19" fmla="*/ 1851377 w 2199040"/>
              <a:gd name="connsiteY19" fmla="*/ 181400 h 2164296"/>
              <a:gd name="connsiteX20" fmla="*/ 1875190 w 2199040"/>
              <a:gd name="connsiteY20" fmla="*/ 190925 h 2164296"/>
              <a:gd name="connsiteX21" fmla="*/ 1889477 w 2199040"/>
              <a:gd name="connsiteY21" fmla="*/ 205213 h 2164296"/>
              <a:gd name="connsiteX22" fmla="*/ 1922815 w 2199040"/>
              <a:gd name="connsiteY22" fmla="*/ 229025 h 2164296"/>
              <a:gd name="connsiteX23" fmla="*/ 1975202 w 2199040"/>
              <a:gd name="connsiteY23" fmla="*/ 267125 h 2164296"/>
              <a:gd name="connsiteX24" fmla="*/ 1999015 w 2199040"/>
              <a:gd name="connsiteY24" fmla="*/ 295700 h 2164296"/>
              <a:gd name="connsiteX25" fmla="*/ 2032352 w 2199040"/>
              <a:gd name="connsiteY25" fmla="*/ 348088 h 2164296"/>
              <a:gd name="connsiteX26" fmla="*/ 2051402 w 2199040"/>
              <a:gd name="connsiteY26" fmla="*/ 410000 h 2164296"/>
              <a:gd name="connsiteX27" fmla="*/ 2060927 w 2199040"/>
              <a:gd name="connsiteY27" fmla="*/ 443338 h 2164296"/>
              <a:gd name="connsiteX28" fmla="*/ 2065690 w 2199040"/>
              <a:gd name="connsiteY28" fmla="*/ 457625 h 2164296"/>
              <a:gd name="connsiteX29" fmla="*/ 2075215 w 2199040"/>
              <a:gd name="connsiteY29" fmla="*/ 476675 h 2164296"/>
              <a:gd name="connsiteX30" fmla="*/ 2094265 w 2199040"/>
              <a:gd name="connsiteY30" fmla="*/ 548113 h 2164296"/>
              <a:gd name="connsiteX31" fmla="*/ 2108552 w 2199040"/>
              <a:gd name="connsiteY31" fmla="*/ 610025 h 2164296"/>
              <a:gd name="connsiteX32" fmla="*/ 2113315 w 2199040"/>
              <a:gd name="connsiteY32" fmla="*/ 914825 h 2164296"/>
              <a:gd name="connsiteX33" fmla="*/ 2151415 w 2199040"/>
              <a:gd name="connsiteY33" fmla="*/ 1086275 h 2164296"/>
              <a:gd name="connsiteX34" fmla="*/ 2156177 w 2199040"/>
              <a:gd name="connsiteY34" fmla="*/ 1148188 h 2164296"/>
              <a:gd name="connsiteX35" fmla="*/ 2170465 w 2199040"/>
              <a:gd name="connsiteY35" fmla="*/ 1191050 h 2164296"/>
              <a:gd name="connsiteX36" fmla="*/ 2175227 w 2199040"/>
              <a:gd name="connsiteY36" fmla="*/ 1224388 h 2164296"/>
              <a:gd name="connsiteX37" fmla="*/ 2194277 w 2199040"/>
              <a:gd name="connsiteY37" fmla="*/ 1276775 h 2164296"/>
              <a:gd name="connsiteX38" fmla="*/ 2199040 w 2199040"/>
              <a:gd name="connsiteY38" fmla="*/ 1300588 h 2164296"/>
              <a:gd name="connsiteX39" fmla="*/ 2194277 w 2199040"/>
              <a:gd name="connsiteY39" fmla="*/ 1514900 h 2164296"/>
              <a:gd name="connsiteX40" fmla="*/ 2184752 w 2199040"/>
              <a:gd name="connsiteY40" fmla="*/ 1529188 h 2164296"/>
              <a:gd name="connsiteX41" fmla="*/ 2175227 w 2199040"/>
              <a:gd name="connsiteY41" fmla="*/ 1562525 h 2164296"/>
              <a:gd name="connsiteX42" fmla="*/ 2165702 w 2199040"/>
              <a:gd name="connsiteY42" fmla="*/ 1576813 h 2164296"/>
              <a:gd name="connsiteX43" fmla="*/ 2160940 w 2199040"/>
              <a:gd name="connsiteY43" fmla="*/ 1600625 h 2164296"/>
              <a:gd name="connsiteX44" fmla="*/ 2146652 w 2199040"/>
              <a:gd name="connsiteY44" fmla="*/ 1614913 h 2164296"/>
              <a:gd name="connsiteX45" fmla="*/ 2137127 w 2199040"/>
              <a:gd name="connsiteY45" fmla="*/ 1629200 h 2164296"/>
              <a:gd name="connsiteX46" fmla="*/ 2108552 w 2199040"/>
              <a:gd name="connsiteY46" fmla="*/ 1657775 h 2164296"/>
              <a:gd name="connsiteX47" fmla="*/ 2079977 w 2199040"/>
              <a:gd name="connsiteY47" fmla="*/ 1686350 h 2164296"/>
              <a:gd name="connsiteX48" fmla="*/ 2070452 w 2199040"/>
              <a:gd name="connsiteY48" fmla="*/ 1700638 h 2164296"/>
              <a:gd name="connsiteX49" fmla="*/ 2056165 w 2199040"/>
              <a:gd name="connsiteY49" fmla="*/ 1710163 h 2164296"/>
              <a:gd name="connsiteX50" fmla="*/ 2032352 w 2199040"/>
              <a:gd name="connsiteY50" fmla="*/ 1724450 h 2164296"/>
              <a:gd name="connsiteX51" fmla="*/ 2008540 w 2199040"/>
              <a:gd name="connsiteY51" fmla="*/ 1743500 h 2164296"/>
              <a:gd name="connsiteX52" fmla="*/ 1937102 w 2199040"/>
              <a:gd name="connsiteY52" fmla="*/ 1772075 h 2164296"/>
              <a:gd name="connsiteX53" fmla="*/ 1918052 w 2199040"/>
              <a:gd name="connsiteY53" fmla="*/ 1786363 h 2164296"/>
              <a:gd name="connsiteX54" fmla="*/ 1870427 w 2199040"/>
              <a:gd name="connsiteY54" fmla="*/ 1814938 h 2164296"/>
              <a:gd name="connsiteX55" fmla="*/ 1856140 w 2199040"/>
              <a:gd name="connsiteY55" fmla="*/ 1833988 h 2164296"/>
              <a:gd name="connsiteX56" fmla="*/ 1803752 w 2199040"/>
              <a:gd name="connsiteY56" fmla="*/ 1862563 h 2164296"/>
              <a:gd name="connsiteX57" fmla="*/ 1660878 w 2199040"/>
              <a:gd name="connsiteY57" fmla="*/ 1891137 h 2164296"/>
              <a:gd name="connsiteX58" fmla="*/ 1413227 w 2199040"/>
              <a:gd name="connsiteY58" fmla="*/ 2014962 h 2164296"/>
              <a:gd name="connsiteX59" fmla="*/ 1360840 w 2199040"/>
              <a:gd name="connsiteY59" fmla="*/ 2053063 h 2164296"/>
              <a:gd name="connsiteX60" fmla="*/ 1346552 w 2199040"/>
              <a:gd name="connsiteY60" fmla="*/ 2062588 h 2164296"/>
              <a:gd name="connsiteX61" fmla="*/ 1308452 w 2199040"/>
              <a:gd name="connsiteY61" fmla="*/ 2072113 h 2164296"/>
              <a:gd name="connsiteX62" fmla="*/ 1284640 w 2199040"/>
              <a:gd name="connsiteY62" fmla="*/ 2086400 h 2164296"/>
              <a:gd name="connsiteX63" fmla="*/ 1232252 w 2199040"/>
              <a:gd name="connsiteY63" fmla="*/ 2100688 h 2164296"/>
              <a:gd name="connsiteX64" fmla="*/ 1189390 w 2199040"/>
              <a:gd name="connsiteY64" fmla="*/ 2119738 h 2164296"/>
              <a:gd name="connsiteX65" fmla="*/ 1170340 w 2199040"/>
              <a:gd name="connsiteY65" fmla="*/ 2134025 h 2164296"/>
              <a:gd name="connsiteX66" fmla="*/ 1098902 w 2199040"/>
              <a:gd name="connsiteY66" fmla="*/ 2148313 h 2164296"/>
              <a:gd name="connsiteX67" fmla="*/ 1070327 w 2199040"/>
              <a:gd name="connsiteY67" fmla="*/ 2162600 h 2164296"/>
              <a:gd name="connsiteX68" fmla="*/ 936977 w 2199040"/>
              <a:gd name="connsiteY68" fmla="*/ 2157838 h 2164296"/>
              <a:gd name="connsiteX69" fmla="*/ 827440 w 2199040"/>
              <a:gd name="connsiteY69" fmla="*/ 2105450 h 2164296"/>
              <a:gd name="connsiteX70" fmla="*/ 789340 w 2199040"/>
              <a:gd name="connsiteY70" fmla="*/ 2091163 h 2164296"/>
              <a:gd name="connsiteX71" fmla="*/ 741715 w 2199040"/>
              <a:gd name="connsiteY71" fmla="*/ 2062588 h 2164296"/>
              <a:gd name="connsiteX72" fmla="*/ 684565 w 2199040"/>
              <a:gd name="connsiteY72" fmla="*/ 2038775 h 2164296"/>
              <a:gd name="connsiteX73" fmla="*/ 651227 w 2199040"/>
              <a:gd name="connsiteY73" fmla="*/ 2005438 h 2164296"/>
              <a:gd name="connsiteX74" fmla="*/ 613127 w 2199040"/>
              <a:gd name="connsiteY74" fmla="*/ 1976863 h 2164296"/>
              <a:gd name="connsiteX75" fmla="*/ 598840 w 2199040"/>
              <a:gd name="connsiteY75" fmla="*/ 1957813 h 2164296"/>
              <a:gd name="connsiteX76" fmla="*/ 584552 w 2199040"/>
              <a:gd name="connsiteY76" fmla="*/ 1934000 h 2164296"/>
              <a:gd name="connsiteX77" fmla="*/ 551215 w 2199040"/>
              <a:gd name="connsiteY77" fmla="*/ 1895900 h 2164296"/>
              <a:gd name="connsiteX78" fmla="*/ 408340 w 2199040"/>
              <a:gd name="connsiteY78" fmla="*/ 1705400 h 2164296"/>
              <a:gd name="connsiteX79" fmla="*/ 394052 w 2199040"/>
              <a:gd name="connsiteY79" fmla="*/ 1686350 h 2164296"/>
              <a:gd name="connsiteX80" fmla="*/ 375002 w 2199040"/>
              <a:gd name="connsiteY80" fmla="*/ 1657775 h 2164296"/>
              <a:gd name="connsiteX81" fmla="*/ 317852 w 2199040"/>
              <a:gd name="connsiteY81" fmla="*/ 1600625 h 2164296"/>
              <a:gd name="connsiteX82" fmla="*/ 294040 w 2199040"/>
              <a:gd name="connsiteY82" fmla="*/ 1576813 h 2164296"/>
              <a:gd name="connsiteX83" fmla="*/ 279752 w 2199040"/>
              <a:gd name="connsiteY83" fmla="*/ 1562525 h 2164296"/>
              <a:gd name="connsiteX84" fmla="*/ 241652 w 2199040"/>
              <a:gd name="connsiteY84" fmla="*/ 1538713 h 2164296"/>
              <a:gd name="connsiteX85" fmla="*/ 217840 w 2199040"/>
              <a:gd name="connsiteY85" fmla="*/ 1510138 h 2164296"/>
              <a:gd name="connsiteX86" fmla="*/ 194027 w 2199040"/>
              <a:gd name="connsiteY86" fmla="*/ 1491088 h 2164296"/>
              <a:gd name="connsiteX87" fmla="*/ 174977 w 2199040"/>
              <a:gd name="connsiteY87" fmla="*/ 1462513 h 2164296"/>
              <a:gd name="connsiteX88" fmla="*/ 151165 w 2199040"/>
              <a:gd name="connsiteY88" fmla="*/ 1438700 h 2164296"/>
              <a:gd name="connsiteX89" fmla="*/ 141640 w 2199040"/>
              <a:gd name="connsiteY89" fmla="*/ 1424413 h 2164296"/>
              <a:gd name="connsiteX90" fmla="*/ 122590 w 2199040"/>
              <a:gd name="connsiteY90" fmla="*/ 1405363 h 2164296"/>
              <a:gd name="connsiteX91" fmla="*/ 103540 w 2199040"/>
              <a:gd name="connsiteY91" fmla="*/ 1376788 h 2164296"/>
              <a:gd name="connsiteX92" fmla="*/ 89252 w 2199040"/>
              <a:gd name="connsiteY92" fmla="*/ 1362500 h 2164296"/>
              <a:gd name="connsiteX93" fmla="*/ 60677 w 2199040"/>
              <a:gd name="connsiteY93" fmla="*/ 1305350 h 2164296"/>
              <a:gd name="connsiteX94" fmla="*/ 32102 w 2199040"/>
              <a:gd name="connsiteY94" fmla="*/ 991025 h 2164296"/>
              <a:gd name="connsiteX95" fmla="*/ 70202 w 2199040"/>
              <a:gd name="connsiteY95" fmla="*/ 929113 h 2164296"/>
              <a:gd name="connsiteX96" fmla="*/ 94015 w 2199040"/>
              <a:gd name="connsiteY96" fmla="*/ 891013 h 2164296"/>
              <a:gd name="connsiteX97" fmla="*/ 113065 w 2199040"/>
              <a:gd name="connsiteY97" fmla="*/ 848150 h 2164296"/>
              <a:gd name="connsiteX98" fmla="*/ 174977 w 2199040"/>
              <a:gd name="connsiteY98" fmla="*/ 733850 h 2164296"/>
              <a:gd name="connsiteX99" fmla="*/ 236890 w 2199040"/>
              <a:gd name="connsiteY99" fmla="*/ 610025 h 2164296"/>
              <a:gd name="connsiteX100" fmla="*/ 241652 w 2199040"/>
              <a:gd name="connsiteY100" fmla="*/ 581450 h 2164296"/>
              <a:gd name="connsiteX101" fmla="*/ 265465 w 2199040"/>
              <a:gd name="connsiteY101" fmla="*/ 538588 h 2164296"/>
              <a:gd name="connsiteX102" fmla="*/ 279752 w 2199040"/>
              <a:gd name="connsiteY102" fmla="*/ 500488 h 2164296"/>
              <a:gd name="connsiteX103" fmla="*/ 294040 w 2199040"/>
              <a:gd name="connsiteY103" fmla="*/ 471913 h 2164296"/>
              <a:gd name="connsiteX104" fmla="*/ 303565 w 2199040"/>
              <a:gd name="connsiteY104" fmla="*/ 443338 h 2164296"/>
              <a:gd name="connsiteX105" fmla="*/ 313090 w 2199040"/>
              <a:gd name="connsiteY105" fmla="*/ 429050 h 2164296"/>
              <a:gd name="connsiteX106" fmla="*/ 322615 w 2199040"/>
              <a:gd name="connsiteY106" fmla="*/ 405238 h 2164296"/>
              <a:gd name="connsiteX107" fmla="*/ 341665 w 2199040"/>
              <a:gd name="connsiteY107" fmla="*/ 381425 h 2164296"/>
              <a:gd name="connsiteX108" fmla="*/ 360715 w 2199040"/>
              <a:gd name="connsiteY108" fmla="*/ 333800 h 2164296"/>
              <a:gd name="connsiteX109" fmla="*/ 389290 w 2199040"/>
              <a:gd name="connsiteY109" fmla="*/ 290938 h 2164296"/>
              <a:gd name="connsiteX110" fmla="*/ 413102 w 2199040"/>
              <a:gd name="connsiteY110" fmla="*/ 248075 h 2164296"/>
              <a:gd name="connsiteX111" fmla="*/ 427390 w 2199040"/>
              <a:gd name="connsiteY111" fmla="*/ 229025 h 2164296"/>
              <a:gd name="connsiteX112" fmla="*/ 451202 w 2199040"/>
              <a:gd name="connsiteY112" fmla="*/ 214738 h 2164296"/>
              <a:gd name="connsiteX113" fmla="*/ 475015 w 2199040"/>
              <a:gd name="connsiteY113" fmla="*/ 190925 h 2164296"/>
              <a:gd name="connsiteX114" fmla="*/ 489302 w 2199040"/>
              <a:gd name="connsiteY114" fmla="*/ 181400 h 2164296"/>
              <a:gd name="connsiteX115" fmla="*/ 522640 w 2199040"/>
              <a:gd name="connsiteY115" fmla="*/ 143300 h 2164296"/>
              <a:gd name="connsiteX116" fmla="*/ 536927 w 2199040"/>
              <a:gd name="connsiteY116" fmla="*/ 133775 h 2164296"/>
              <a:gd name="connsiteX117" fmla="*/ 646465 w 2199040"/>
              <a:gd name="connsiteY117" fmla="*/ 71863 h 2164296"/>
              <a:gd name="connsiteX118" fmla="*/ 660752 w 2199040"/>
              <a:gd name="connsiteY118" fmla="*/ 52813 h 2164296"/>
              <a:gd name="connsiteX119" fmla="*/ 679802 w 2199040"/>
              <a:gd name="connsiteY119" fmla="*/ 48050 h 2164296"/>
              <a:gd name="connsiteX120" fmla="*/ 703615 w 2199040"/>
              <a:gd name="connsiteY120" fmla="*/ 38525 h 2164296"/>
              <a:gd name="connsiteX121" fmla="*/ 746477 w 2199040"/>
              <a:gd name="connsiteY121" fmla="*/ 24238 h 2164296"/>
              <a:gd name="connsiteX122" fmla="*/ 775052 w 2199040"/>
              <a:gd name="connsiteY122" fmla="*/ 14713 h 2164296"/>
              <a:gd name="connsiteX123" fmla="*/ 822677 w 2199040"/>
              <a:gd name="connsiteY123" fmla="*/ 9950 h 2164296"/>
              <a:gd name="connsiteX124" fmla="*/ 894115 w 2199040"/>
              <a:gd name="connsiteY124" fmla="*/ 425 h 2164296"/>
              <a:gd name="connsiteX0" fmla="*/ 827859 w 2199459"/>
              <a:gd name="connsiteY0" fmla="*/ 425 h 2164296"/>
              <a:gd name="connsiteX1" fmla="*/ 980259 w 2199459"/>
              <a:gd name="connsiteY1" fmla="*/ 5188 h 2164296"/>
              <a:gd name="connsiteX2" fmla="*/ 1004071 w 2199459"/>
              <a:gd name="connsiteY2" fmla="*/ 9950 h 2164296"/>
              <a:gd name="connsiteX3" fmla="*/ 1070746 w 2199459"/>
              <a:gd name="connsiteY3" fmla="*/ 19475 h 2164296"/>
              <a:gd name="connsiteX4" fmla="*/ 1099321 w 2199459"/>
              <a:gd name="connsiteY4" fmla="*/ 24238 h 2164296"/>
              <a:gd name="connsiteX5" fmla="*/ 1123134 w 2199459"/>
              <a:gd name="connsiteY5" fmla="*/ 38525 h 2164296"/>
              <a:gd name="connsiteX6" fmla="*/ 1165996 w 2199459"/>
              <a:gd name="connsiteY6" fmla="*/ 48050 h 2164296"/>
              <a:gd name="connsiteX7" fmla="*/ 1185046 w 2199459"/>
              <a:gd name="connsiteY7" fmla="*/ 52813 h 2164296"/>
              <a:gd name="connsiteX8" fmla="*/ 1218384 w 2199459"/>
              <a:gd name="connsiteY8" fmla="*/ 57575 h 2164296"/>
              <a:gd name="connsiteX9" fmla="*/ 1313634 w 2199459"/>
              <a:gd name="connsiteY9" fmla="*/ 71863 h 2164296"/>
              <a:gd name="connsiteX10" fmla="*/ 1485084 w 2199459"/>
              <a:gd name="connsiteY10" fmla="*/ 109963 h 2164296"/>
              <a:gd name="connsiteX11" fmla="*/ 1508896 w 2199459"/>
              <a:gd name="connsiteY11" fmla="*/ 114725 h 2164296"/>
              <a:gd name="connsiteX12" fmla="*/ 1647009 w 2199459"/>
              <a:gd name="connsiteY12" fmla="*/ 124250 h 2164296"/>
              <a:gd name="connsiteX13" fmla="*/ 1680346 w 2199459"/>
              <a:gd name="connsiteY13" fmla="*/ 129013 h 2164296"/>
              <a:gd name="connsiteX14" fmla="*/ 1704159 w 2199459"/>
              <a:gd name="connsiteY14" fmla="*/ 133775 h 2164296"/>
              <a:gd name="connsiteX15" fmla="*/ 1751784 w 2199459"/>
              <a:gd name="connsiteY15" fmla="*/ 138538 h 2164296"/>
              <a:gd name="connsiteX16" fmla="*/ 1789884 w 2199459"/>
              <a:gd name="connsiteY16" fmla="*/ 152825 h 2164296"/>
              <a:gd name="connsiteX17" fmla="*/ 1804171 w 2199459"/>
              <a:gd name="connsiteY17" fmla="*/ 162350 h 2164296"/>
              <a:gd name="connsiteX18" fmla="*/ 1827984 w 2199459"/>
              <a:gd name="connsiteY18" fmla="*/ 167113 h 2164296"/>
              <a:gd name="connsiteX19" fmla="*/ 1851796 w 2199459"/>
              <a:gd name="connsiteY19" fmla="*/ 181400 h 2164296"/>
              <a:gd name="connsiteX20" fmla="*/ 1875609 w 2199459"/>
              <a:gd name="connsiteY20" fmla="*/ 190925 h 2164296"/>
              <a:gd name="connsiteX21" fmla="*/ 1889896 w 2199459"/>
              <a:gd name="connsiteY21" fmla="*/ 205213 h 2164296"/>
              <a:gd name="connsiteX22" fmla="*/ 1923234 w 2199459"/>
              <a:gd name="connsiteY22" fmla="*/ 229025 h 2164296"/>
              <a:gd name="connsiteX23" fmla="*/ 1975621 w 2199459"/>
              <a:gd name="connsiteY23" fmla="*/ 267125 h 2164296"/>
              <a:gd name="connsiteX24" fmla="*/ 1999434 w 2199459"/>
              <a:gd name="connsiteY24" fmla="*/ 295700 h 2164296"/>
              <a:gd name="connsiteX25" fmla="*/ 2032771 w 2199459"/>
              <a:gd name="connsiteY25" fmla="*/ 348088 h 2164296"/>
              <a:gd name="connsiteX26" fmla="*/ 2051821 w 2199459"/>
              <a:gd name="connsiteY26" fmla="*/ 410000 h 2164296"/>
              <a:gd name="connsiteX27" fmla="*/ 2061346 w 2199459"/>
              <a:gd name="connsiteY27" fmla="*/ 443338 h 2164296"/>
              <a:gd name="connsiteX28" fmla="*/ 2066109 w 2199459"/>
              <a:gd name="connsiteY28" fmla="*/ 457625 h 2164296"/>
              <a:gd name="connsiteX29" fmla="*/ 2075634 w 2199459"/>
              <a:gd name="connsiteY29" fmla="*/ 476675 h 2164296"/>
              <a:gd name="connsiteX30" fmla="*/ 2094684 w 2199459"/>
              <a:gd name="connsiteY30" fmla="*/ 548113 h 2164296"/>
              <a:gd name="connsiteX31" fmla="*/ 2108971 w 2199459"/>
              <a:gd name="connsiteY31" fmla="*/ 610025 h 2164296"/>
              <a:gd name="connsiteX32" fmla="*/ 2113734 w 2199459"/>
              <a:gd name="connsiteY32" fmla="*/ 914825 h 2164296"/>
              <a:gd name="connsiteX33" fmla="*/ 2151834 w 2199459"/>
              <a:gd name="connsiteY33" fmla="*/ 1086275 h 2164296"/>
              <a:gd name="connsiteX34" fmla="*/ 2156596 w 2199459"/>
              <a:gd name="connsiteY34" fmla="*/ 1148188 h 2164296"/>
              <a:gd name="connsiteX35" fmla="*/ 2170884 w 2199459"/>
              <a:gd name="connsiteY35" fmla="*/ 1191050 h 2164296"/>
              <a:gd name="connsiteX36" fmla="*/ 2175646 w 2199459"/>
              <a:gd name="connsiteY36" fmla="*/ 1224388 h 2164296"/>
              <a:gd name="connsiteX37" fmla="*/ 2194696 w 2199459"/>
              <a:gd name="connsiteY37" fmla="*/ 1276775 h 2164296"/>
              <a:gd name="connsiteX38" fmla="*/ 2199459 w 2199459"/>
              <a:gd name="connsiteY38" fmla="*/ 1300588 h 2164296"/>
              <a:gd name="connsiteX39" fmla="*/ 2194696 w 2199459"/>
              <a:gd name="connsiteY39" fmla="*/ 1514900 h 2164296"/>
              <a:gd name="connsiteX40" fmla="*/ 2185171 w 2199459"/>
              <a:gd name="connsiteY40" fmla="*/ 1529188 h 2164296"/>
              <a:gd name="connsiteX41" fmla="*/ 2175646 w 2199459"/>
              <a:gd name="connsiteY41" fmla="*/ 1562525 h 2164296"/>
              <a:gd name="connsiteX42" fmla="*/ 2166121 w 2199459"/>
              <a:gd name="connsiteY42" fmla="*/ 1576813 h 2164296"/>
              <a:gd name="connsiteX43" fmla="*/ 2161359 w 2199459"/>
              <a:gd name="connsiteY43" fmla="*/ 1600625 h 2164296"/>
              <a:gd name="connsiteX44" fmla="*/ 2147071 w 2199459"/>
              <a:gd name="connsiteY44" fmla="*/ 1614913 h 2164296"/>
              <a:gd name="connsiteX45" fmla="*/ 2137546 w 2199459"/>
              <a:gd name="connsiteY45" fmla="*/ 1629200 h 2164296"/>
              <a:gd name="connsiteX46" fmla="*/ 2108971 w 2199459"/>
              <a:gd name="connsiteY46" fmla="*/ 1657775 h 2164296"/>
              <a:gd name="connsiteX47" fmla="*/ 2080396 w 2199459"/>
              <a:gd name="connsiteY47" fmla="*/ 1686350 h 2164296"/>
              <a:gd name="connsiteX48" fmla="*/ 2070871 w 2199459"/>
              <a:gd name="connsiteY48" fmla="*/ 1700638 h 2164296"/>
              <a:gd name="connsiteX49" fmla="*/ 2056584 w 2199459"/>
              <a:gd name="connsiteY49" fmla="*/ 1710163 h 2164296"/>
              <a:gd name="connsiteX50" fmla="*/ 2032771 w 2199459"/>
              <a:gd name="connsiteY50" fmla="*/ 1724450 h 2164296"/>
              <a:gd name="connsiteX51" fmla="*/ 2008959 w 2199459"/>
              <a:gd name="connsiteY51" fmla="*/ 1743500 h 2164296"/>
              <a:gd name="connsiteX52" fmla="*/ 1937521 w 2199459"/>
              <a:gd name="connsiteY52" fmla="*/ 1772075 h 2164296"/>
              <a:gd name="connsiteX53" fmla="*/ 1918471 w 2199459"/>
              <a:gd name="connsiteY53" fmla="*/ 1786363 h 2164296"/>
              <a:gd name="connsiteX54" fmla="*/ 1870846 w 2199459"/>
              <a:gd name="connsiteY54" fmla="*/ 1814938 h 2164296"/>
              <a:gd name="connsiteX55" fmla="*/ 1856559 w 2199459"/>
              <a:gd name="connsiteY55" fmla="*/ 1833988 h 2164296"/>
              <a:gd name="connsiteX56" fmla="*/ 1804171 w 2199459"/>
              <a:gd name="connsiteY56" fmla="*/ 1862563 h 2164296"/>
              <a:gd name="connsiteX57" fmla="*/ 1661297 w 2199459"/>
              <a:gd name="connsiteY57" fmla="*/ 1891137 h 2164296"/>
              <a:gd name="connsiteX58" fmla="*/ 1413646 w 2199459"/>
              <a:gd name="connsiteY58" fmla="*/ 2014962 h 2164296"/>
              <a:gd name="connsiteX59" fmla="*/ 1361259 w 2199459"/>
              <a:gd name="connsiteY59" fmla="*/ 2053063 h 2164296"/>
              <a:gd name="connsiteX60" fmla="*/ 1346971 w 2199459"/>
              <a:gd name="connsiteY60" fmla="*/ 2062588 h 2164296"/>
              <a:gd name="connsiteX61" fmla="*/ 1308871 w 2199459"/>
              <a:gd name="connsiteY61" fmla="*/ 2072113 h 2164296"/>
              <a:gd name="connsiteX62" fmla="*/ 1285059 w 2199459"/>
              <a:gd name="connsiteY62" fmla="*/ 2086400 h 2164296"/>
              <a:gd name="connsiteX63" fmla="*/ 1232671 w 2199459"/>
              <a:gd name="connsiteY63" fmla="*/ 2100688 h 2164296"/>
              <a:gd name="connsiteX64" fmla="*/ 1189809 w 2199459"/>
              <a:gd name="connsiteY64" fmla="*/ 2119738 h 2164296"/>
              <a:gd name="connsiteX65" fmla="*/ 1170759 w 2199459"/>
              <a:gd name="connsiteY65" fmla="*/ 2134025 h 2164296"/>
              <a:gd name="connsiteX66" fmla="*/ 1099321 w 2199459"/>
              <a:gd name="connsiteY66" fmla="*/ 2148313 h 2164296"/>
              <a:gd name="connsiteX67" fmla="*/ 1070746 w 2199459"/>
              <a:gd name="connsiteY67" fmla="*/ 2162600 h 2164296"/>
              <a:gd name="connsiteX68" fmla="*/ 937396 w 2199459"/>
              <a:gd name="connsiteY68" fmla="*/ 2157838 h 2164296"/>
              <a:gd name="connsiteX69" fmla="*/ 827859 w 2199459"/>
              <a:gd name="connsiteY69" fmla="*/ 2105450 h 2164296"/>
              <a:gd name="connsiteX70" fmla="*/ 789759 w 2199459"/>
              <a:gd name="connsiteY70" fmla="*/ 2091163 h 2164296"/>
              <a:gd name="connsiteX71" fmla="*/ 742134 w 2199459"/>
              <a:gd name="connsiteY71" fmla="*/ 2062588 h 2164296"/>
              <a:gd name="connsiteX72" fmla="*/ 684984 w 2199459"/>
              <a:gd name="connsiteY72" fmla="*/ 2038775 h 2164296"/>
              <a:gd name="connsiteX73" fmla="*/ 651646 w 2199459"/>
              <a:gd name="connsiteY73" fmla="*/ 2005438 h 2164296"/>
              <a:gd name="connsiteX74" fmla="*/ 613546 w 2199459"/>
              <a:gd name="connsiteY74" fmla="*/ 1976863 h 2164296"/>
              <a:gd name="connsiteX75" fmla="*/ 599259 w 2199459"/>
              <a:gd name="connsiteY75" fmla="*/ 1957813 h 2164296"/>
              <a:gd name="connsiteX76" fmla="*/ 584971 w 2199459"/>
              <a:gd name="connsiteY76" fmla="*/ 1934000 h 2164296"/>
              <a:gd name="connsiteX77" fmla="*/ 551634 w 2199459"/>
              <a:gd name="connsiteY77" fmla="*/ 1895900 h 2164296"/>
              <a:gd name="connsiteX78" fmla="*/ 408759 w 2199459"/>
              <a:gd name="connsiteY78" fmla="*/ 1705400 h 2164296"/>
              <a:gd name="connsiteX79" fmla="*/ 394471 w 2199459"/>
              <a:gd name="connsiteY79" fmla="*/ 1686350 h 2164296"/>
              <a:gd name="connsiteX80" fmla="*/ 375421 w 2199459"/>
              <a:gd name="connsiteY80" fmla="*/ 1657775 h 2164296"/>
              <a:gd name="connsiteX81" fmla="*/ 318271 w 2199459"/>
              <a:gd name="connsiteY81" fmla="*/ 1600625 h 2164296"/>
              <a:gd name="connsiteX82" fmla="*/ 294459 w 2199459"/>
              <a:gd name="connsiteY82" fmla="*/ 1576813 h 2164296"/>
              <a:gd name="connsiteX83" fmla="*/ 280171 w 2199459"/>
              <a:gd name="connsiteY83" fmla="*/ 1562525 h 2164296"/>
              <a:gd name="connsiteX84" fmla="*/ 242071 w 2199459"/>
              <a:gd name="connsiteY84" fmla="*/ 1538713 h 2164296"/>
              <a:gd name="connsiteX85" fmla="*/ 218259 w 2199459"/>
              <a:gd name="connsiteY85" fmla="*/ 1510138 h 2164296"/>
              <a:gd name="connsiteX86" fmla="*/ 194446 w 2199459"/>
              <a:gd name="connsiteY86" fmla="*/ 1491088 h 2164296"/>
              <a:gd name="connsiteX87" fmla="*/ 175396 w 2199459"/>
              <a:gd name="connsiteY87" fmla="*/ 1462513 h 2164296"/>
              <a:gd name="connsiteX88" fmla="*/ 151584 w 2199459"/>
              <a:gd name="connsiteY88" fmla="*/ 1438700 h 2164296"/>
              <a:gd name="connsiteX89" fmla="*/ 142059 w 2199459"/>
              <a:gd name="connsiteY89" fmla="*/ 1424413 h 2164296"/>
              <a:gd name="connsiteX90" fmla="*/ 123009 w 2199459"/>
              <a:gd name="connsiteY90" fmla="*/ 1405363 h 2164296"/>
              <a:gd name="connsiteX91" fmla="*/ 103959 w 2199459"/>
              <a:gd name="connsiteY91" fmla="*/ 1376788 h 2164296"/>
              <a:gd name="connsiteX92" fmla="*/ 61096 w 2199459"/>
              <a:gd name="connsiteY92" fmla="*/ 1305350 h 2164296"/>
              <a:gd name="connsiteX93" fmla="*/ 32521 w 2199459"/>
              <a:gd name="connsiteY93" fmla="*/ 991025 h 2164296"/>
              <a:gd name="connsiteX94" fmla="*/ 70621 w 2199459"/>
              <a:gd name="connsiteY94" fmla="*/ 929113 h 2164296"/>
              <a:gd name="connsiteX95" fmla="*/ 94434 w 2199459"/>
              <a:gd name="connsiteY95" fmla="*/ 891013 h 2164296"/>
              <a:gd name="connsiteX96" fmla="*/ 113484 w 2199459"/>
              <a:gd name="connsiteY96" fmla="*/ 848150 h 2164296"/>
              <a:gd name="connsiteX97" fmla="*/ 175396 w 2199459"/>
              <a:gd name="connsiteY97" fmla="*/ 733850 h 2164296"/>
              <a:gd name="connsiteX98" fmla="*/ 237309 w 2199459"/>
              <a:gd name="connsiteY98" fmla="*/ 610025 h 2164296"/>
              <a:gd name="connsiteX99" fmla="*/ 242071 w 2199459"/>
              <a:gd name="connsiteY99" fmla="*/ 581450 h 2164296"/>
              <a:gd name="connsiteX100" fmla="*/ 265884 w 2199459"/>
              <a:gd name="connsiteY100" fmla="*/ 538588 h 2164296"/>
              <a:gd name="connsiteX101" fmla="*/ 280171 w 2199459"/>
              <a:gd name="connsiteY101" fmla="*/ 500488 h 2164296"/>
              <a:gd name="connsiteX102" fmla="*/ 294459 w 2199459"/>
              <a:gd name="connsiteY102" fmla="*/ 471913 h 2164296"/>
              <a:gd name="connsiteX103" fmla="*/ 303984 w 2199459"/>
              <a:gd name="connsiteY103" fmla="*/ 443338 h 2164296"/>
              <a:gd name="connsiteX104" fmla="*/ 313509 w 2199459"/>
              <a:gd name="connsiteY104" fmla="*/ 429050 h 2164296"/>
              <a:gd name="connsiteX105" fmla="*/ 323034 w 2199459"/>
              <a:gd name="connsiteY105" fmla="*/ 405238 h 2164296"/>
              <a:gd name="connsiteX106" fmla="*/ 342084 w 2199459"/>
              <a:gd name="connsiteY106" fmla="*/ 381425 h 2164296"/>
              <a:gd name="connsiteX107" fmla="*/ 361134 w 2199459"/>
              <a:gd name="connsiteY107" fmla="*/ 333800 h 2164296"/>
              <a:gd name="connsiteX108" fmla="*/ 389709 w 2199459"/>
              <a:gd name="connsiteY108" fmla="*/ 290938 h 2164296"/>
              <a:gd name="connsiteX109" fmla="*/ 413521 w 2199459"/>
              <a:gd name="connsiteY109" fmla="*/ 248075 h 2164296"/>
              <a:gd name="connsiteX110" fmla="*/ 427809 w 2199459"/>
              <a:gd name="connsiteY110" fmla="*/ 229025 h 2164296"/>
              <a:gd name="connsiteX111" fmla="*/ 451621 w 2199459"/>
              <a:gd name="connsiteY111" fmla="*/ 214738 h 2164296"/>
              <a:gd name="connsiteX112" fmla="*/ 475434 w 2199459"/>
              <a:gd name="connsiteY112" fmla="*/ 190925 h 2164296"/>
              <a:gd name="connsiteX113" fmla="*/ 489721 w 2199459"/>
              <a:gd name="connsiteY113" fmla="*/ 181400 h 2164296"/>
              <a:gd name="connsiteX114" fmla="*/ 523059 w 2199459"/>
              <a:gd name="connsiteY114" fmla="*/ 143300 h 2164296"/>
              <a:gd name="connsiteX115" fmla="*/ 537346 w 2199459"/>
              <a:gd name="connsiteY115" fmla="*/ 133775 h 2164296"/>
              <a:gd name="connsiteX116" fmla="*/ 646884 w 2199459"/>
              <a:gd name="connsiteY116" fmla="*/ 71863 h 2164296"/>
              <a:gd name="connsiteX117" fmla="*/ 661171 w 2199459"/>
              <a:gd name="connsiteY117" fmla="*/ 52813 h 2164296"/>
              <a:gd name="connsiteX118" fmla="*/ 680221 w 2199459"/>
              <a:gd name="connsiteY118" fmla="*/ 48050 h 2164296"/>
              <a:gd name="connsiteX119" fmla="*/ 704034 w 2199459"/>
              <a:gd name="connsiteY119" fmla="*/ 38525 h 2164296"/>
              <a:gd name="connsiteX120" fmla="*/ 746896 w 2199459"/>
              <a:gd name="connsiteY120" fmla="*/ 24238 h 2164296"/>
              <a:gd name="connsiteX121" fmla="*/ 775471 w 2199459"/>
              <a:gd name="connsiteY121" fmla="*/ 14713 h 2164296"/>
              <a:gd name="connsiteX122" fmla="*/ 823096 w 2199459"/>
              <a:gd name="connsiteY122" fmla="*/ 9950 h 2164296"/>
              <a:gd name="connsiteX123" fmla="*/ 894534 w 2199459"/>
              <a:gd name="connsiteY123" fmla="*/ 425 h 2164296"/>
              <a:gd name="connsiteX0" fmla="*/ 828432 w 2200032"/>
              <a:gd name="connsiteY0" fmla="*/ 425 h 2164296"/>
              <a:gd name="connsiteX1" fmla="*/ 980832 w 2200032"/>
              <a:gd name="connsiteY1" fmla="*/ 5188 h 2164296"/>
              <a:gd name="connsiteX2" fmla="*/ 1004644 w 2200032"/>
              <a:gd name="connsiteY2" fmla="*/ 9950 h 2164296"/>
              <a:gd name="connsiteX3" fmla="*/ 1071319 w 2200032"/>
              <a:gd name="connsiteY3" fmla="*/ 19475 h 2164296"/>
              <a:gd name="connsiteX4" fmla="*/ 1099894 w 2200032"/>
              <a:gd name="connsiteY4" fmla="*/ 24238 h 2164296"/>
              <a:gd name="connsiteX5" fmla="*/ 1123707 w 2200032"/>
              <a:gd name="connsiteY5" fmla="*/ 38525 h 2164296"/>
              <a:gd name="connsiteX6" fmla="*/ 1166569 w 2200032"/>
              <a:gd name="connsiteY6" fmla="*/ 48050 h 2164296"/>
              <a:gd name="connsiteX7" fmla="*/ 1185619 w 2200032"/>
              <a:gd name="connsiteY7" fmla="*/ 52813 h 2164296"/>
              <a:gd name="connsiteX8" fmla="*/ 1218957 w 2200032"/>
              <a:gd name="connsiteY8" fmla="*/ 57575 h 2164296"/>
              <a:gd name="connsiteX9" fmla="*/ 1314207 w 2200032"/>
              <a:gd name="connsiteY9" fmla="*/ 71863 h 2164296"/>
              <a:gd name="connsiteX10" fmla="*/ 1485657 w 2200032"/>
              <a:gd name="connsiteY10" fmla="*/ 109963 h 2164296"/>
              <a:gd name="connsiteX11" fmla="*/ 1509469 w 2200032"/>
              <a:gd name="connsiteY11" fmla="*/ 114725 h 2164296"/>
              <a:gd name="connsiteX12" fmla="*/ 1647582 w 2200032"/>
              <a:gd name="connsiteY12" fmla="*/ 124250 h 2164296"/>
              <a:gd name="connsiteX13" fmla="*/ 1680919 w 2200032"/>
              <a:gd name="connsiteY13" fmla="*/ 129013 h 2164296"/>
              <a:gd name="connsiteX14" fmla="*/ 1704732 w 2200032"/>
              <a:gd name="connsiteY14" fmla="*/ 133775 h 2164296"/>
              <a:gd name="connsiteX15" fmla="*/ 1752357 w 2200032"/>
              <a:gd name="connsiteY15" fmla="*/ 138538 h 2164296"/>
              <a:gd name="connsiteX16" fmla="*/ 1790457 w 2200032"/>
              <a:gd name="connsiteY16" fmla="*/ 152825 h 2164296"/>
              <a:gd name="connsiteX17" fmla="*/ 1804744 w 2200032"/>
              <a:gd name="connsiteY17" fmla="*/ 162350 h 2164296"/>
              <a:gd name="connsiteX18" fmla="*/ 1828557 w 2200032"/>
              <a:gd name="connsiteY18" fmla="*/ 167113 h 2164296"/>
              <a:gd name="connsiteX19" fmla="*/ 1852369 w 2200032"/>
              <a:gd name="connsiteY19" fmla="*/ 181400 h 2164296"/>
              <a:gd name="connsiteX20" fmla="*/ 1876182 w 2200032"/>
              <a:gd name="connsiteY20" fmla="*/ 190925 h 2164296"/>
              <a:gd name="connsiteX21" fmla="*/ 1890469 w 2200032"/>
              <a:gd name="connsiteY21" fmla="*/ 205213 h 2164296"/>
              <a:gd name="connsiteX22" fmla="*/ 1923807 w 2200032"/>
              <a:gd name="connsiteY22" fmla="*/ 229025 h 2164296"/>
              <a:gd name="connsiteX23" fmla="*/ 1976194 w 2200032"/>
              <a:gd name="connsiteY23" fmla="*/ 267125 h 2164296"/>
              <a:gd name="connsiteX24" fmla="*/ 2000007 w 2200032"/>
              <a:gd name="connsiteY24" fmla="*/ 295700 h 2164296"/>
              <a:gd name="connsiteX25" fmla="*/ 2033344 w 2200032"/>
              <a:gd name="connsiteY25" fmla="*/ 348088 h 2164296"/>
              <a:gd name="connsiteX26" fmla="*/ 2052394 w 2200032"/>
              <a:gd name="connsiteY26" fmla="*/ 410000 h 2164296"/>
              <a:gd name="connsiteX27" fmla="*/ 2061919 w 2200032"/>
              <a:gd name="connsiteY27" fmla="*/ 443338 h 2164296"/>
              <a:gd name="connsiteX28" fmla="*/ 2066682 w 2200032"/>
              <a:gd name="connsiteY28" fmla="*/ 457625 h 2164296"/>
              <a:gd name="connsiteX29" fmla="*/ 2076207 w 2200032"/>
              <a:gd name="connsiteY29" fmla="*/ 476675 h 2164296"/>
              <a:gd name="connsiteX30" fmla="*/ 2095257 w 2200032"/>
              <a:gd name="connsiteY30" fmla="*/ 548113 h 2164296"/>
              <a:gd name="connsiteX31" fmla="*/ 2109544 w 2200032"/>
              <a:gd name="connsiteY31" fmla="*/ 610025 h 2164296"/>
              <a:gd name="connsiteX32" fmla="*/ 2114307 w 2200032"/>
              <a:gd name="connsiteY32" fmla="*/ 914825 h 2164296"/>
              <a:gd name="connsiteX33" fmla="*/ 2152407 w 2200032"/>
              <a:gd name="connsiteY33" fmla="*/ 1086275 h 2164296"/>
              <a:gd name="connsiteX34" fmla="*/ 2157169 w 2200032"/>
              <a:gd name="connsiteY34" fmla="*/ 1148188 h 2164296"/>
              <a:gd name="connsiteX35" fmla="*/ 2171457 w 2200032"/>
              <a:gd name="connsiteY35" fmla="*/ 1191050 h 2164296"/>
              <a:gd name="connsiteX36" fmla="*/ 2176219 w 2200032"/>
              <a:gd name="connsiteY36" fmla="*/ 1224388 h 2164296"/>
              <a:gd name="connsiteX37" fmla="*/ 2195269 w 2200032"/>
              <a:gd name="connsiteY37" fmla="*/ 1276775 h 2164296"/>
              <a:gd name="connsiteX38" fmla="*/ 2200032 w 2200032"/>
              <a:gd name="connsiteY38" fmla="*/ 1300588 h 2164296"/>
              <a:gd name="connsiteX39" fmla="*/ 2195269 w 2200032"/>
              <a:gd name="connsiteY39" fmla="*/ 1514900 h 2164296"/>
              <a:gd name="connsiteX40" fmla="*/ 2185744 w 2200032"/>
              <a:gd name="connsiteY40" fmla="*/ 1529188 h 2164296"/>
              <a:gd name="connsiteX41" fmla="*/ 2176219 w 2200032"/>
              <a:gd name="connsiteY41" fmla="*/ 1562525 h 2164296"/>
              <a:gd name="connsiteX42" fmla="*/ 2166694 w 2200032"/>
              <a:gd name="connsiteY42" fmla="*/ 1576813 h 2164296"/>
              <a:gd name="connsiteX43" fmla="*/ 2161932 w 2200032"/>
              <a:gd name="connsiteY43" fmla="*/ 1600625 h 2164296"/>
              <a:gd name="connsiteX44" fmla="*/ 2147644 w 2200032"/>
              <a:gd name="connsiteY44" fmla="*/ 1614913 h 2164296"/>
              <a:gd name="connsiteX45" fmla="*/ 2138119 w 2200032"/>
              <a:gd name="connsiteY45" fmla="*/ 1629200 h 2164296"/>
              <a:gd name="connsiteX46" fmla="*/ 2109544 w 2200032"/>
              <a:gd name="connsiteY46" fmla="*/ 1657775 h 2164296"/>
              <a:gd name="connsiteX47" fmla="*/ 2080969 w 2200032"/>
              <a:gd name="connsiteY47" fmla="*/ 1686350 h 2164296"/>
              <a:gd name="connsiteX48" fmla="*/ 2071444 w 2200032"/>
              <a:gd name="connsiteY48" fmla="*/ 1700638 h 2164296"/>
              <a:gd name="connsiteX49" fmla="*/ 2057157 w 2200032"/>
              <a:gd name="connsiteY49" fmla="*/ 1710163 h 2164296"/>
              <a:gd name="connsiteX50" fmla="*/ 2033344 w 2200032"/>
              <a:gd name="connsiteY50" fmla="*/ 1724450 h 2164296"/>
              <a:gd name="connsiteX51" fmla="*/ 2009532 w 2200032"/>
              <a:gd name="connsiteY51" fmla="*/ 1743500 h 2164296"/>
              <a:gd name="connsiteX52" fmla="*/ 1938094 w 2200032"/>
              <a:gd name="connsiteY52" fmla="*/ 1772075 h 2164296"/>
              <a:gd name="connsiteX53" fmla="*/ 1919044 w 2200032"/>
              <a:gd name="connsiteY53" fmla="*/ 1786363 h 2164296"/>
              <a:gd name="connsiteX54" fmla="*/ 1871419 w 2200032"/>
              <a:gd name="connsiteY54" fmla="*/ 1814938 h 2164296"/>
              <a:gd name="connsiteX55" fmla="*/ 1857132 w 2200032"/>
              <a:gd name="connsiteY55" fmla="*/ 1833988 h 2164296"/>
              <a:gd name="connsiteX56" fmla="*/ 1804744 w 2200032"/>
              <a:gd name="connsiteY56" fmla="*/ 1862563 h 2164296"/>
              <a:gd name="connsiteX57" fmla="*/ 1661870 w 2200032"/>
              <a:gd name="connsiteY57" fmla="*/ 1891137 h 2164296"/>
              <a:gd name="connsiteX58" fmla="*/ 1414219 w 2200032"/>
              <a:gd name="connsiteY58" fmla="*/ 2014962 h 2164296"/>
              <a:gd name="connsiteX59" fmla="*/ 1361832 w 2200032"/>
              <a:gd name="connsiteY59" fmla="*/ 2053063 h 2164296"/>
              <a:gd name="connsiteX60" fmla="*/ 1347544 w 2200032"/>
              <a:gd name="connsiteY60" fmla="*/ 2062588 h 2164296"/>
              <a:gd name="connsiteX61" fmla="*/ 1309444 w 2200032"/>
              <a:gd name="connsiteY61" fmla="*/ 2072113 h 2164296"/>
              <a:gd name="connsiteX62" fmla="*/ 1285632 w 2200032"/>
              <a:gd name="connsiteY62" fmla="*/ 2086400 h 2164296"/>
              <a:gd name="connsiteX63" fmla="*/ 1233244 w 2200032"/>
              <a:gd name="connsiteY63" fmla="*/ 2100688 h 2164296"/>
              <a:gd name="connsiteX64" fmla="*/ 1190382 w 2200032"/>
              <a:gd name="connsiteY64" fmla="*/ 2119738 h 2164296"/>
              <a:gd name="connsiteX65" fmla="*/ 1171332 w 2200032"/>
              <a:gd name="connsiteY65" fmla="*/ 2134025 h 2164296"/>
              <a:gd name="connsiteX66" fmla="*/ 1099894 w 2200032"/>
              <a:gd name="connsiteY66" fmla="*/ 2148313 h 2164296"/>
              <a:gd name="connsiteX67" fmla="*/ 1071319 w 2200032"/>
              <a:gd name="connsiteY67" fmla="*/ 2162600 h 2164296"/>
              <a:gd name="connsiteX68" fmla="*/ 937969 w 2200032"/>
              <a:gd name="connsiteY68" fmla="*/ 2157838 h 2164296"/>
              <a:gd name="connsiteX69" fmla="*/ 828432 w 2200032"/>
              <a:gd name="connsiteY69" fmla="*/ 2105450 h 2164296"/>
              <a:gd name="connsiteX70" fmla="*/ 790332 w 2200032"/>
              <a:gd name="connsiteY70" fmla="*/ 2091163 h 2164296"/>
              <a:gd name="connsiteX71" fmla="*/ 742707 w 2200032"/>
              <a:gd name="connsiteY71" fmla="*/ 2062588 h 2164296"/>
              <a:gd name="connsiteX72" fmla="*/ 685557 w 2200032"/>
              <a:gd name="connsiteY72" fmla="*/ 2038775 h 2164296"/>
              <a:gd name="connsiteX73" fmla="*/ 652219 w 2200032"/>
              <a:gd name="connsiteY73" fmla="*/ 2005438 h 2164296"/>
              <a:gd name="connsiteX74" fmla="*/ 614119 w 2200032"/>
              <a:gd name="connsiteY74" fmla="*/ 1976863 h 2164296"/>
              <a:gd name="connsiteX75" fmla="*/ 599832 w 2200032"/>
              <a:gd name="connsiteY75" fmla="*/ 1957813 h 2164296"/>
              <a:gd name="connsiteX76" fmla="*/ 585544 w 2200032"/>
              <a:gd name="connsiteY76" fmla="*/ 1934000 h 2164296"/>
              <a:gd name="connsiteX77" fmla="*/ 552207 w 2200032"/>
              <a:gd name="connsiteY77" fmla="*/ 1895900 h 2164296"/>
              <a:gd name="connsiteX78" fmla="*/ 409332 w 2200032"/>
              <a:gd name="connsiteY78" fmla="*/ 1705400 h 2164296"/>
              <a:gd name="connsiteX79" fmla="*/ 395044 w 2200032"/>
              <a:gd name="connsiteY79" fmla="*/ 1686350 h 2164296"/>
              <a:gd name="connsiteX80" fmla="*/ 375994 w 2200032"/>
              <a:gd name="connsiteY80" fmla="*/ 1657775 h 2164296"/>
              <a:gd name="connsiteX81" fmla="*/ 318844 w 2200032"/>
              <a:gd name="connsiteY81" fmla="*/ 1600625 h 2164296"/>
              <a:gd name="connsiteX82" fmla="*/ 295032 w 2200032"/>
              <a:gd name="connsiteY82" fmla="*/ 1576813 h 2164296"/>
              <a:gd name="connsiteX83" fmla="*/ 280744 w 2200032"/>
              <a:gd name="connsiteY83" fmla="*/ 1562525 h 2164296"/>
              <a:gd name="connsiteX84" fmla="*/ 242644 w 2200032"/>
              <a:gd name="connsiteY84" fmla="*/ 1538713 h 2164296"/>
              <a:gd name="connsiteX85" fmla="*/ 218832 w 2200032"/>
              <a:gd name="connsiteY85" fmla="*/ 1510138 h 2164296"/>
              <a:gd name="connsiteX86" fmla="*/ 195019 w 2200032"/>
              <a:gd name="connsiteY86" fmla="*/ 1491088 h 2164296"/>
              <a:gd name="connsiteX87" fmla="*/ 175969 w 2200032"/>
              <a:gd name="connsiteY87" fmla="*/ 1462513 h 2164296"/>
              <a:gd name="connsiteX88" fmla="*/ 152157 w 2200032"/>
              <a:gd name="connsiteY88" fmla="*/ 1438700 h 2164296"/>
              <a:gd name="connsiteX89" fmla="*/ 142632 w 2200032"/>
              <a:gd name="connsiteY89" fmla="*/ 1424413 h 2164296"/>
              <a:gd name="connsiteX90" fmla="*/ 123582 w 2200032"/>
              <a:gd name="connsiteY90" fmla="*/ 1405363 h 2164296"/>
              <a:gd name="connsiteX91" fmla="*/ 61669 w 2200032"/>
              <a:gd name="connsiteY91" fmla="*/ 1305350 h 2164296"/>
              <a:gd name="connsiteX92" fmla="*/ 33094 w 2200032"/>
              <a:gd name="connsiteY92" fmla="*/ 991025 h 2164296"/>
              <a:gd name="connsiteX93" fmla="*/ 71194 w 2200032"/>
              <a:gd name="connsiteY93" fmla="*/ 929113 h 2164296"/>
              <a:gd name="connsiteX94" fmla="*/ 95007 w 2200032"/>
              <a:gd name="connsiteY94" fmla="*/ 891013 h 2164296"/>
              <a:gd name="connsiteX95" fmla="*/ 114057 w 2200032"/>
              <a:gd name="connsiteY95" fmla="*/ 848150 h 2164296"/>
              <a:gd name="connsiteX96" fmla="*/ 175969 w 2200032"/>
              <a:gd name="connsiteY96" fmla="*/ 733850 h 2164296"/>
              <a:gd name="connsiteX97" fmla="*/ 237882 w 2200032"/>
              <a:gd name="connsiteY97" fmla="*/ 610025 h 2164296"/>
              <a:gd name="connsiteX98" fmla="*/ 242644 w 2200032"/>
              <a:gd name="connsiteY98" fmla="*/ 581450 h 2164296"/>
              <a:gd name="connsiteX99" fmla="*/ 266457 w 2200032"/>
              <a:gd name="connsiteY99" fmla="*/ 538588 h 2164296"/>
              <a:gd name="connsiteX100" fmla="*/ 280744 w 2200032"/>
              <a:gd name="connsiteY100" fmla="*/ 500488 h 2164296"/>
              <a:gd name="connsiteX101" fmla="*/ 295032 w 2200032"/>
              <a:gd name="connsiteY101" fmla="*/ 471913 h 2164296"/>
              <a:gd name="connsiteX102" fmla="*/ 304557 w 2200032"/>
              <a:gd name="connsiteY102" fmla="*/ 443338 h 2164296"/>
              <a:gd name="connsiteX103" fmla="*/ 314082 w 2200032"/>
              <a:gd name="connsiteY103" fmla="*/ 429050 h 2164296"/>
              <a:gd name="connsiteX104" fmla="*/ 323607 w 2200032"/>
              <a:gd name="connsiteY104" fmla="*/ 405238 h 2164296"/>
              <a:gd name="connsiteX105" fmla="*/ 342657 w 2200032"/>
              <a:gd name="connsiteY105" fmla="*/ 381425 h 2164296"/>
              <a:gd name="connsiteX106" fmla="*/ 361707 w 2200032"/>
              <a:gd name="connsiteY106" fmla="*/ 333800 h 2164296"/>
              <a:gd name="connsiteX107" fmla="*/ 390282 w 2200032"/>
              <a:gd name="connsiteY107" fmla="*/ 290938 h 2164296"/>
              <a:gd name="connsiteX108" fmla="*/ 414094 w 2200032"/>
              <a:gd name="connsiteY108" fmla="*/ 248075 h 2164296"/>
              <a:gd name="connsiteX109" fmla="*/ 428382 w 2200032"/>
              <a:gd name="connsiteY109" fmla="*/ 229025 h 2164296"/>
              <a:gd name="connsiteX110" fmla="*/ 452194 w 2200032"/>
              <a:gd name="connsiteY110" fmla="*/ 214738 h 2164296"/>
              <a:gd name="connsiteX111" fmla="*/ 476007 w 2200032"/>
              <a:gd name="connsiteY111" fmla="*/ 190925 h 2164296"/>
              <a:gd name="connsiteX112" fmla="*/ 490294 w 2200032"/>
              <a:gd name="connsiteY112" fmla="*/ 181400 h 2164296"/>
              <a:gd name="connsiteX113" fmla="*/ 523632 w 2200032"/>
              <a:gd name="connsiteY113" fmla="*/ 143300 h 2164296"/>
              <a:gd name="connsiteX114" fmla="*/ 537919 w 2200032"/>
              <a:gd name="connsiteY114" fmla="*/ 133775 h 2164296"/>
              <a:gd name="connsiteX115" fmla="*/ 647457 w 2200032"/>
              <a:gd name="connsiteY115" fmla="*/ 71863 h 2164296"/>
              <a:gd name="connsiteX116" fmla="*/ 661744 w 2200032"/>
              <a:gd name="connsiteY116" fmla="*/ 52813 h 2164296"/>
              <a:gd name="connsiteX117" fmla="*/ 680794 w 2200032"/>
              <a:gd name="connsiteY117" fmla="*/ 48050 h 2164296"/>
              <a:gd name="connsiteX118" fmla="*/ 704607 w 2200032"/>
              <a:gd name="connsiteY118" fmla="*/ 38525 h 2164296"/>
              <a:gd name="connsiteX119" fmla="*/ 747469 w 2200032"/>
              <a:gd name="connsiteY119" fmla="*/ 24238 h 2164296"/>
              <a:gd name="connsiteX120" fmla="*/ 776044 w 2200032"/>
              <a:gd name="connsiteY120" fmla="*/ 14713 h 2164296"/>
              <a:gd name="connsiteX121" fmla="*/ 823669 w 2200032"/>
              <a:gd name="connsiteY121" fmla="*/ 9950 h 2164296"/>
              <a:gd name="connsiteX122" fmla="*/ 895107 w 2200032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810660 w 2205948"/>
              <a:gd name="connsiteY56" fmla="*/ 1862563 h 2164296"/>
              <a:gd name="connsiteX57" fmla="*/ 1667786 w 2205948"/>
              <a:gd name="connsiteY57" fmla="*/ 1891137 h 2164296"/>
              <a:gd name="connsiteX58" fmla="*/ 1420135 w 2205948"/>
              <a:gd name="connsiteY58" fmla="*/ 2014962 h 2164296"/>
              <a:gd name="connsiteX59" fmla="*/ 1367748 w 2205948"/>
              <a:gd name="connsiteY59" fmla="*/ 2053063 h 2164296"/>
              <a:gd name="connsiteX60" fmla="*/ 1353460 w 2205948"/>
              <a:gd name="connsiteY60" fmla="*/ 2062588 h 2164296"/>
              <a:gd name="connsiteX61" fmla="*/ 1315360 w 2205948"/>
              <a:gd name="connsiteY61" fmla="*/ 2072113 h 2164296"/>
              <a:gd name="connsiteX62" fmla="*/ 1291548 w 2205948"/>
              <a:gd name="connsiteY62" fmla="*/ 2086400 h 2164296"/>
              <a:gd name="connsiteX63" fmla="*/ 1239160 w 2205948"/>
              <a:gd name="connsiteY63" fmla="*/ 2100688 h 2164296"/>
              <a:gd name="connsiteX64" fmla="*/ 1196298 w 2205948"/>
              <a:gd name="connsiteY64" fmla="*/ 2119738 h 2164296"/>
              <a:gd name="connsiteX65" fmla="*/ 1177248 w 2205948"/>
              <a:gd name="connsiteY65" fmla="*/ 2134025 h 2164296"/>
              <a:gd name="connsiteX66" fmla="*/ 1105810 w 2205948"/>
              <a:gd name="connsiteY66" fmla="*/ 2148313 h 2164296"/>
              <a:gd name="connsiteX67" fmla="*/ 1077235 w 2205948"/>
              <a:gd name="connsiteY67" fmla="*/ 2162600 h 2164296"/>
              <a:gd name="connsiteX68" fmla="*/ 943885 w 2205948"/>
              <a:gd name="connsiteY68" fmla="*/ 2157838 h 2164296"/>
              <a:gd name="connsiteX69" fmla="*/ 834348 w 2205948"/>
              <a:gd name="connsiteY69" fmla="*/ 2105450 h 2164296"/>
              <a:gd name="connsiteX70" fmla="*/ 796248 w 2205948"/>
              <a:gd name="connsiteY70" fmla="*/ 2091163 h 2164296"/>
              <a:gd name="connsiteX71" fmla="*/ 748623 w 2205948"/>
              <a:gd name="connsiteY71" fmla="*/ 2062588 h 2164296"/>
              <a:gd name="connsiteX72" fmla="*/ 691473 w 2205948"/>
              <a:gd name="connsiteY72" fmla="*/ 2038775 h 2164296"/>
              <a:gd name="connsiteX73" fmla="*/ 658135 w 2205948"/>
              <a:gd name="connsiteY73" fmla="*/ 2005438 h 2164296"/>
              <a:gd name="connsiteX74" fmla="*/ 620035 w 2205948"/>
              <a:gd name="connsiteY74" fmla="*/ 1976863 h 2164296"/>
              <a:gd name="connsiteX75" fmla="*/ 605748 w 2205948"/>
              <a:gd name="connsiteY75" fmla="*/ 1957813 h 2164296"/>
              <a:gd name="connsiteX76" fmla="*/ 591460 w 2205948"/>
              <a:gd name="connsiteY76" fmla="*/ 1934000 h 2164296"/>
              <a:gd name="connsiteX77" fmla="*/ 558123 w 2205948"/>
              <a:gd name="connsiteY77" fmla="*/ 1895900 h 2164296"/>
              <a:gd name="connsiteX78" fmla="*/ 415248 w 2205948"/>
              <a:gd name="connsiteY78" fmla="*/ 1705400 h 2164296"/>
              <a:gd name="connsiteX79" fmla="*/ 400960 w 2205948"/>
              <a:gd name="connsiteY79" fmla="*/ 1686350 h 2164296"/>
              <a:gd name="connsiteX80" fmla="*/ 381910 w 2205948"/>
              <a:gd name="connsiteY80" fmla="*/ 1657775 h 2164296"/>
              <a:gd name="connsiteX81" fmla="*/ 324760 w 2205948"/>
              <a:gd name="connsiteY81" fmla="*/ 1600625 h 2164296"/>
              <a:gd name="connsiteX82" fmla="*/ 300948 w 2205948"/>
              <a:gd name="connsiteY82" fmla="*/ 1576813 h 2164296"/>
              <a:gd name="connsiteX83" fmla="*/ 286660 w 2205948"/>
              <a:gd name="connsiteY83" fmla="*/ 1562525 h 2164296"/>
              <a:gd name="connsiteX84" fmla="*/ 248560 w 2205948"/>
              <a:gd name="connsiteY84" fmla="*/ 1538713 h 2164296"/>
              <a:gd name="connsiteX85" fmla="*/ 224748 w 2205948"/>
              <a:gd name="connsiteY85" fmla="*/ 1510138 h 2164296"/>
              <a:gd name="connsiteX86" fmla="*/ 200935 w 2205948"/>
              <a:gd name="connsiteY86" fmla="*/ 1491088 h 2164296"/>
              <a:gd name="connsiteX87" fmla="*/ 181885 w 2205948"/>
              <a:gd name="connsiteY87" fmla="*/ 1462513 h 2164296"/>
              <a:gd name="connsiteX88" fmla="*/ 158073 w 2205948"/>
              <a:gd name="connsiteY88" fmla="*/ 1438700 h 2164296"/>
              <a:gd name="connsiteX89" fmla="*/ 148548 w 2205948"/>
              <a:gd name="connsiteY89" fmla="*/ 1424413 h 2164296"/>
              <a:gd name="connsiteX90" fmla="*/ 129498 w 2205948"/>
              <a:gd name="connsiteY90" fmla="*/ 1405363 h 2164296"/>
              <a:gd name="connsiteX91" fmla="*/ 67585 w 2205948"/>
              <a:gd name="connsiteY91" fmla="*/ 1305350 h 2164296"/>
              <a:gd name="connsiteX92" fmla="*/ 39010 w 2205948"/>
              <a:gd name="connsiteY92" fmla="*/ 991025 h 2164296"/>
              <a:gd name="connsiteX93" fmla="*/ 77110 w 2205948"/>
              <a:gd name="connsiteY93" fmla="*/ 929113 h 2164296"/>
              <a:gd name="connsiteX94" fmla="*/ 100923 w 2205948"/>
              <a:gd name="connsiteY94" fmla="*/ 891013 h 2164296"/>
              <a:gd name="connsiteX95" fmla="*/ 119973 w 2205948"/>
              <a:gd name="connsiteY95" fmla="*/ 848150 h 2164296"/>
              <a:gd name="connsiteX96" fmla="*/ 181885 w 2205948"/>
              <a:gd name="connsiteY96" fmla="*/ 733850 h 2164296"/>
              <a:gd name="connsiteX97" fmla="*/ 243798 w 2205948"/>
              <a:gd name="connsiteY97" fmla="*/ 610025 h 2164296"/>
              <a:gd name="connsiteX98" fmla="*/ 248560 w 2205948"/>
              <a:gd name="connsiteY98" fmla="*/ 581450 h 2164296"/>
              <a:gd name="connsiteX99" fmla="*/ 272373 w 2205948"/>
              <a:gd name="connsiteY99" fmla="*/ 538588 h 2164296"/>
              <a:gd name="connsiteX100" fmla="*/ 286660 w 2205948"/>
              <a:gd name="connsiteY100" fmla="*/ 500488 h 2164296"/>
              <a:gd name="connsiteX101" fmla="*/ 300948 w 2205948"/>
              <a:gd name="connsiteY101" fmla="*/ 471913 h 2164296"/>
              <a:gd name="connsiteX102" fmla="*/ 310473 w 2205948"/>
              <a:gd name="connsiteY102" fmla="*/ 443338 h 2164296"/>
              <a:gd name="connsiteX103" fmla="*/ 319998 w 2205948"/>
              <a:gd name="connsiteY103" fmla="*/ 429050 h 2164296"/>
              <a:gd name="connsiteX104" fmla="*/ 329523 w 2205948"/>
              <a:gd name="connsiteY104" fmla="*/ 405238 h 2164296"/>
              <a:gd name="connsiteX105" fmla="*/ 348573 w 2205948"/>
              <a:gd name="connsiteY105" fmla="*/ 381425 h 2164296"/>
              <a:gd name="connsiteX106" fmla="*/ 367623 w 2205948"/>
              <a:gd name="connsiteY106" fmla="*/ 333800 h 2164296"/>
              <a:gd name="connsiteX107" fmla="*/ 396198 w 2205948"/>
              <a:gd name="connsiteY107" fmla="*/ 290938 h 2164296"/>
              <a:gd name="connsiteX108" fmla="*/ 420010 w 2205948"/>
              <a:gd name="connsiteY108" fmla="*/ 248075 h 2164296"/>
              <a:gd name="connsiteX109" fmla="*/ 434298 w 2205948"/>
              <a:gd name="connsiteY109" fmla="*/ 229025 h 2164296"/>
              <a:gd name="connsiteX110" fmla="*/ 458110 w 2205948"/>
              <a:gd name="connsiteY110" fmla="*/ 214738 h 2164296"/>
              <a:gd name="connsiteX111" fmla="*/ 481923 w 2205948"/>
              <a:gd name="connsiteY111" fmla="*/ 190925 h 2164296"/>
              <a:gd name="connsiteX112" fmla="*/ 496210 w 2205948"/>
              <a:gd name="connsiteY112" fmla="*/ 181400 h 2164296"/>
              <a:gd name="connsiteX113" fmla="*/ 529548 w 2205948"/>
              <a:gd name="connsiteY113" fmla="*/ 143300 h 2164296"/>
              <a:gd name="connsiteX114" fmla="*/ 543835 w 2205948"/>
              <a:gd name="connsiteY114" fmla="*/ 133775 h 2164296"/>
              <a:gd name="connsiteX115" fmla="*/ 653373 w 2205948"/>
              <a:gd name="connsiteY115" fmla="*/ 71863 h 2164296"/>
              <a:gd name="connsiteX116" fmla="*/ 667660 w 2205948"/>
              <a:gd name="connsiteY116" fmla="*/ 52813 h 2164296"/>
              <a:gd name="connsiteX117" fmla="*/ 686710 w 2205948"/>
              <a:gd name="connsiteY117" fmla="*/ 48050 h 2164296"/>
              <a:gd name="connsiteX118" fmla="*/ 710523 w 2205948"/>
              <a:gd name="connsiteY118" fmla="*/ 38525 h 2164296"/>
              <a:gd name="connsiteX119" fmla="*/ 753385 w 2205948"/>
              <a:gd name="connsiteY119" fmla="*/ 24238 h 2164296"/>
              <a:gd name="connsiteX120" fmla="*/ 781960 w 2205948"/>
              <a:gd name="connsiteY120" fmla="*/ 14713 h 2164296"/>
              <a:gd name="connsiteX121" fmla="*/ 829585 w 2205948"/>
              <a:gd name="connsiteY121" fmla="*/ 9950 h 2164296"/>
              <a:gd name="connsiteX122" fmla="*/ 901023 w 2205948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667786 w 2205948"/>
              <a:gd name="connsiteY56" fmla="*/ 1891137 h 2164296"/>
              <a:gd name="connsiteX57" fmla="*/ 1420135 w 2205948"/>
              <a:gd name="connsiteY57" fmla="*/ 2014962 h 2164296"/>
              <a:gd name="connsiteX58" fmla="*/ 1367748 w 2205948"/>
              <a:gd name="connsiteY58" fmla="*/ 2053063 h 2164296"/>
              <a:gd name="connsiteX59" fmla="*/ 1353460 w 2205948"/>
              <a:gd name="connsiteY59" fmla="*/ 2062588 h 2164296"/>
              <a:gd name="connsiteX60" fmla="*/ 1315360 w 2205948"/>
              <a:gd name="connsiteY60" fmla="*/ 2072113 h 2164296"/>
              <a:gd name="connsiteX61" fmla="*/ 1291548 w 2205948"/>
              <a:gd name="connsiteY61" fmla="*/ 2086400 h 2164296"/>
              <a:gd name="connsiteX62" fmla="*/ 1239160 w 2205948"/>
              <a:gd name="connsiteY62" fmla="*/ 2100688 h 2164296"/>
              <a:gd name="connsiteX63" fmla="*/ 1196298 w 2205948"/>
              <a:gd name="connsiteY63" fmla="*/ 2119738 h 2164296"/>
              <a:gd name="connsiteX64" fmla="*/ 1177248 w 2205948"/>
              <a:gd name="connsiteY64" fmla="*/ 2134025 h 2164296"/>
              <a:gd name="connsiteX65" fmla="*/ 1105810 w 2205948"/>
              <a:gd name="connsiteY65" fmla="*/ 2148313 h 2164296"/>
              <a:gd name="connsiteX66" fmla="*/ 1077235 w 2205948"/>
              <a:gd name="connsiteY66" fmla="*/ 2162600 h 2164296"/>
              <a:gd name="connsiteX67" fmla="*/ 943885 w 2205948"/>
              <a:gd name="connsiteY67" fmla="*/ 2157838 h 2164296"/>
              <a:gd name="connsiteX68" fmla="*/ 834348 w 2205948"/>
              <a:gd name="connsiteY68" fmla="*/ 2105450 h 2164296"/>
              <a:gd name="connsiteX69" fmla="*/ 796248 w 2205948"/>
              <a:gd name="connsiteY69" fmla="*/ 2091163 h 2164296"/>
              <a:gd name="connsiteX70" fmla="*/ 748623 w 2205948"/>
              <a:gd name="connsiteY70" fmla="*/ 2062588 h 2164296"/>
              <a:gd name="connsiteX71" fmla="*/ 691473 w 2205948"/>
              <a:gd name="connsiteY71" fmla="*/ 2038775 h 2164296"/>
              <a:gd name="connsiteX72" fmla="*/ 658135 w 2205948"/>
              <a:gd name="connsiteY72" fmla="*/ 2005438 h 2164296"/>
              <a:gd name="connsiteX73" fmla="*/ 620035 w 2205948"/>
              <a:gd name="connsiteY73" fmla="*/ 1976863 h 2164296"/>
              <a:gd name="connsiteX74" fmla="*/ 605748 w 2205948"/>
              <a:gd name="connsiteY74" fmla="*/ 1957813 h 2164296"/>
              <a:gd name="connsiteX75" fmla="*/ 591460 w 2205948"/>
              <a:gd name="connsiteY75" fmla="*/ 1934000 h 2164296"/>
              <a:gd name="connsiteX76" fmla="*/ 558123 w 2205948"/>
              <a:gd name="connsiteY76" fmla="*/ 1895900 h 2164296"/>
              <a:gd name="connsiteX77" fmla="*/ 415248 w 2205948"/>
              <a:gd name="connsiteY77" fmla="*/ 1705400 h 2164296"/>
              <a:gd name="connsiteX78" fmla="*/ 400960 w 2205948"/>
              <a:gd name="connsiteY78" fmla="*/ 1686350 h 2164296"/>
              <a:gd name="connsiteX79" fmla="*/ 381910 w 2205948"/>
              <a:gd name="connsiteY79" fmla="*/ 1657775 h 2164296"/>
              <a:gd name="connsiteX80" fmla="*/ 324760 w 2205948"/>
              <a:gd name="connsiteY80" fmla="*/ 1600625 h 2164296"/>
              <a:gd name="connsiteX81" fmla="*/ 300948 w 2205948"/>
              <a:gd name="connsiteY81" fmla="*/ 1576813 h 2164296"/>
              <a:gd name="connsiteX82" fmla="*/ 286660 w 2205948"/>
              <a:gd name="connsiteY82" fmla="*/ 1562525 h 2164296"/>
              <a:gd name="connsiteX83" fmla="*/ 248560 w 2205948"/>
              <a:gd name="connsiteY83" fmla="*/ 1538713 h 2164296"/>
              <a:gd name="connsiteX84" fmla="*/ 224748 w 2205948"/>
              <a:gd name="connsiteY84" fmla="*/ 1510138 h 2164296"/>
              <a:gd name="connsiteX85" fmla="*/ 200935 w 2205948"/>
              <a:gd name="connsiteY85" fmla="*/ 1491088 h 2164296"/>
              <a:gd name="connsiteX86" fmla="*/ 181885 w 2205948"/>
              <a:gd name="connsiteY86" fmla="*/ 1462513 h 2164296"/>
              <a:gd name="connsiteX87" fmla="*/ 158073 w 2205948"/>
              <a:gd name="connsiteY87" fmla="*/ 1438700 h 2164296"/>
              <a:gd name="connsiteX88" fmla="*/ 148548 w 2205948"/>
              <a:gd name="connsiteY88" fmla="*/ 1424413 h 2164296"/>
              <a:gd name="connsiteX89" fmla="*/ 129498 w 2205948"/>
              <a:gd name="connsiteY89" fmla="*/ 1405363 h 2164296"/>
              <a:gd name="connsiteX90" fmla="*/ 67585 w 2205948"/>
              <a:gd name="connsiteY90" fmla="*/ 1305350 h 2164296"/>
              <a:gd name="connsiteX91" fmla="*/ 39010 w 2205948"/>
              <a:gd name="connsiteY91" fmla="*/ 991025 h 2164296"/>
              <a:gd name="connsiteX92" fmla="*/ 77110 w 2205948"/>
              <a:gd name="connsiteY92" fmla="*/ 929113 h 2164296"/>
              <a:gd name="connsiteX93" fmla="*/ 100923 w 2205948"/>
              <a:gd name="connsiteY93" fmla="*/ 891013 h 2164296"/>
              <a:gd name="connsiteX94" fmla="*/ 119973 w 2205948"/>
              <a:gd name="connsiteY94" fmla="*/ 848150 h 2164296"/>
              <a:gd name="connsiteX95" fmla="*/ 181885 w 2205948"/>
              <a:gd name="connsiteY95" fmla="*/ 733850 h 2164296"/>
              <a:gd name="connsiteX96" fmla="*/ 243798 w 2205948"/>
              <a:gd name="connsiteY96" fmla="*/ 610025 h 2164296"/>
              <a:gd name="connsiteX97" fmla="*/ 248560 w 2205948"/>
              <a:gd name="connsiteY97" fmla="*/ 581450 h 2164296"/>
              <a:gd name="connsiteX98" fmla="*/ 272373 w 2205948"/>
              <a:gd name="connsiteY98" fmla="*/ 538588 h 2164296"/>
              <a:gd name="connsiteX99" fmla="*/ 286660 w 2205948"/>
              <a:gd name="connsiteY99" fmla="*/ 500488 h 2164296"/>
              <a:gd name="connsiteX100" fmla="*/ 300948 w 2205948"/>
              <a:gd name="connsiteY100" fmla="*/ 471913 h 2164296"/>
              <a:gd name="connsiteX101" fmla="*/ 310473 w 2205948"/>
              <a:gd name="connsiteY101" fmla="*/ 443338 h 2164296"/>
              <a:gd name="connsiteX102" fmla="*/ 319998 w 2205948"/>
              <a:gd name="connsiteY102" fmla="*/ 429050 h 2164296"/>
              <a:gd name="connsiteX103" fmla="*/ 329523 w 2205948"/>
              <a:gd name="connsiteY103" fmla="*/ 405238 h 2164296"/>
              <a:gd name="connsiteX104" fmla="*/ 348573 w 2205948"/>
              <a:gd name="connsiteY104" fmla="*/ 381425 h 2164296"/>
              <a:gd name="connsiteX105" fmla="*/ 367623 w 2205948"/>
              <a:gd name="connsiteY105" fmla="*/ 333800 h 2164296"/>
              <a:gd name="connsiteX106" fmla="*/ 396198 w 2205948"/>
              <a:gd name="connsiteY106" fmla="*/ 290938 h 2164296"/>
              <a:gd name="connsiteX107" fmla="*/ 420010 w 2205948"/>
              <a:gd name="connsiteY107" fmla="*/ 248075 h 2164296"/>
              <a:gd name="connsiteX108" fmla="*/ 434298 w 2205948"/>
              <a:gd name="connsiteY108" fmla="*/ 229025 h 2164296"/>
              <a:gd name="connsiteX109" fmla="*/ 458110 w 2205948"/>
              <a:gd name="connsiteY109" fmla="*/ 214738 h 2164296"/>
              <a:gd name="connsiteX110" fmla="*/ 481923 w 2205948"/>
              <a:gd name="connsiteY110" fmla="*/ 190925 h 2164296"/>
              <a:gd name="connsiteX111" fmla="*/ 496210 w 2205948"/>
              <a:gd name="connsiteY111" fmla="*/ 181400 h 2164296"/>
              <a:gd name="connsiteX112" fmla="*/ 529548 w 2205948"/>
              <a:gd name="connsiteY112" fmla="*/ 143300 h 2164296"/>
              <a:gd name="connsiteX113" fmla="*/ 543835 w 2205948"/>
              <a:gd name="connsiteY113" fmla="*/ 133775 h 2164296"/>
              <a:gd name="connsiteX114" fmla="*/ 653373 w 2205948"/>
              <a:gd name="connsiteY114" fmla="*/ 71863 h 2164296"/>
              <a:gd name="connsiteX115" fmla="*/ 667660 w 2205948"/>
              <a:gd name="connsiteY115" fmla="*/ 52813 h 2164296"/>
              <a:gd name="connsiteX116" fmla="*/ 686710 w 2205948"/>
              <a:gd name="connsiteY116" fmla="*/ 48050 h 2164296"/>
              <a:gd name="connsiteX117" fmla="*/ 710523 w 2205948"/>
              <a:gd name="connsiteY117" fmla="*/ 38525 h 2164296"/>
              <a:gd name="connsiteX118" fmla="*/ 753385 w 2205948"/>
              <a:gd name="connsiteY118" fmla="*/ 24238 h 2164296"/>
              <a:gd name="connsiteX119" fmla="*/ 781960 w 2205948"/>
              <a:gd name="connsiteY119" fmla="*/ 14713 h 2164296"/>
              <a:gd name="connsiteX120" fmla="*/ 829585 w 2205948"/>
              <a:gd name="connsiteY120" fmla="*/ 9950 h 2164296"/>
              <a:gd name="connsiteX121" fmla="*/ 901023 w 2205948"/>
              <a:gd name="connsiteY121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67786 w 2205948"/>
              <a:gd name="connsiteY55" fmla="*/ 189113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96173 w 2205948"/>
              <a:gd name="connsiteY94" fmla="*/ 75290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205948" h="2164296">
                <a:moveTo>
                  <a:pt x="834348" y="425"/>
                </a:moveTo>
                <a:cubicBezTo>
                  <a:pt x="885148" y="2013"/>
                  <a:pt x="935997" y="2445"/>
                  <a:pt x="986748" y="5188"/>
                </a:cubicBezTo>
                <a:cubicBezTo>
                  <a:pt x="994831" y="5625"/>
                  <a:pt x="1002565" y="8688"/>
                  <a:pt x="1010560" y="9950"/>
                </a:cubicBezTo>
                <a:cubicBezTo>
                  <a:pt x="1032736" y="13451"/>
                  <a:pt x="1055010" y="16300"/>
                  <a:pt x="1077235" y="19475"/>
                </a:cubicBezTo>
                <a:cubicBezTo>
                  <a:pt x="1086794" y="20841"/>
                  <a:pt x="1096285" y="22650"/>
                  <a:pt x="1105810" y="24238"/>
                </a:cubicBezTo>
                <a:cubicBezTo>
                  <a:pt x="1113748" y="29000"/>
                  <a:pt x="1121344" y="34385"/>
                  <a:pt x="1129623" y="38525"/>
                </a:cubicBezTo>
                <a:cubicBezTo>
                  <a:pt x="1141985" y="44706"/>
                  <a:pt x="1160282" y="45609"/>
                  <a:pt x="1172485" y="48050"/>
                </a:cubicBezTo>
                <a:cubicBezTo>
                  <a:pt x="1178903" y="49334"/>
                  <a:pt x="1185095" y="51642"/>
                  <a:pt x="1191535" y="52813"/>
                </a:cubicBezTo>
                <a:cubicBezTo>
                  <a:pt x="1202579" y="54821"/>
                  <a:pt x="1213800" y="55730"/>
                  <a:pt x="1224873" y="57575"/>
                </a:cubicBezTo>
                <a:cubicBezTo>
                  <a:pt x="1309563" y="71689"/>
                  <a:pt x="1244912" y="63505"/>
                  <a:pt x="1320123" y="71863"/>
                </a:cubicBezTo>
                <a:cubicBezTo>
                  <a:pt x="1364573" y="80594"/>
                  <a:pt x="1459029" y="102819"/>
                  <a:pt x="1491573" y="109963"/>
                </a:cubicBezTo>
                <a:cubicBezTo>
                  <a:pt x="1524117" y="117107"/>
                  <a:pt x="1507340" y="113831"/>
                  <a:pt x="1515385" y="114725"/>
                </a:cubicBezTo>
                <a:cubicBezTo>
                  <a:pt x="1541305" y="117605"/>
                  <a:pt x="1632093" y="122912"/>
                  <a:pt x="1653498" y="124250"/>
                </a:cubicBezTo>
                <a:cubicBezTo>
                  <a:pt x="1664610" y="125838"/>
                  <a:pt x="1675763" y="127168"/>
                  <a:pt x="1686835" y="129013"/>
                </a:cubicBezTo>
                <a:cubicBezTo>
                  <a:pt x="1694820" y="130344"/>
                  <a:pt x="1702624" y="132705"/>
                  <a:pt x="1710648" y="133775"/>
                </a:cubicBezTo>
                <a:cubicBezTo>
                  <a:pt x="1726462" y="135884"/>
                  <a:pt x="1742398" y="136950"/>
                  <a:pt x="1758273" y="138538"/>
                </a:cubicBezTo>
                <a:cubicBezTo>
                  <a:pt x="1770973" y="143300"/>
                  <a:pt x="1784025" y="147212"/>
                  <a:pt x="1796373" y="152825"/>
                </a:cubicBezTo>
                <a:cubicBezTo>
                  <a:pt x="1801584" y="155193"/>
                  <a:pt x="1805301" y="160340"/>
                  <a:pt x="1810660" y="162350"/>
                </a:cubicBezTo>
                <a:cubicBezTo>
                  <a:pt x="1818239" y="165192"/>
                  <a:pt x="1826535" y="165525"/>
                  <a:pt x="1834473" y="167113"/>
                </a:cubicBezTo>
                <a:cubicBezTo>
                  <a:pt x="1842410" y="171875"/>
                  <a:pt x="1850006" y="177260"/>
                  <a:pt x="1858285" y="181400"/>
                </a:cubicBezTo>
                <a:cubicBezTo>
                  <a:pt x="1865932" y="185223"/>
                  <a:pt x="1874848" y="186394"/>
                  <a:pt x="1882098" y="190925"/>
                </a:cubicBezTo>
                <a:cubicBezTo>
                  <a:pt x="1887809" y="194495"/>
                  <a:pt x="1891271" y="200830"/>
                  <a:pt x="1896385" y="205213"/>
                </a:cubicBezTo>
                <a:cubicBezTo>
                  <a:pt x="1911948" y="218553"/>
                  <a:pt x="1914647" y="218257"/>
                  <a:pt x="1929723" y="229025"/>
                </a:cubicBezTo>
                <a:cubicBezTo>
                  <a:pt x="1947293" y="241575"/>
                  <a:pt x="1968287" y="250538"/>
                  <a:pt x="1982110" y="267125"/>
                </a:cubicBezTo>
                <a:cubicBezTo>
                  <a:pt x="1990048" y="276650"/>
                  <a:pt x="1998484" y="285781"/>
                  <a:pt x="2005923" y="295700"/>
                </a:cubicBezTo>
                <a:cubicBezTo>
                  <a:pt x="2018018" y="311827"/>
                  <a:pt x="2028859" y="330752"/>
                  <a:pt x="2039260" y="348088"/>
                </a:cubicBezTo>
                <a:cubicBezTo>
                  <a:pt x="2066720" y="444198"/>
                  <a:pt x="2031945" y="324314"/>
                  <a:pt x="2058310" y="410000"/>
                </a:cubicBezTo>
                <a:cubicBezTo>
                  <a:pt x="2061709" y="421046"/>
                  <a:pt x="2064514" y="432268"/>
                  <a:pt x="2067835" y="443338"/>
                </a:cubicBezTo>
                <a:cubicBezTo>
                  <a:pt x="2069278" y="448146"/>
                  <a:pt x="2070620" y="453011"/>
                  <a:pt x="2072598" y="457625"/>
                </a:cubicBezTo>
                <a:cubicBezTo>
                  <a:pt x="2075395" y="464150"/>
                  <a:pt x="2078948" y="470325"/>
                  <a:pt x="2082123" y="476675"/>
                </a:cubicBezTo>
                <a:cubicBezTo>
                  <a:pt x="2094919" y="553458"/>
                  <a:pt x="2075163" y="444071"/>
                  <a:pt x="2101173" y="548113"/>
                </a:cubicBezTo>
                <a:cubicBezTo>
                  <a:pt x="2112661" y="594066"/>
                  <a:pt x="2108131" y="573376"/>
                  <a:pt x="2115460" y="610025"/>
                </a:cubicBezTo>
                <a:cubicBezTo>
                  <a:pt x="2117048" y="711625"/>
                  <a:pt x="2113079" y="835450"/>
                  <a:pt x="2120223" y="914825"/>
                </a:cubicBezTo>
                <a:cubicBezTo>
                  <a:pt x="2127367" y="994200"/>
                  <a:pt x="2151179" y="1047381"/>
                  <a:pt x="2158323" y="1086275"/>
                </a:cubicBezTo>
                <a:cubicBezTo>
                  <a:pt x="2165467" y="1125169"/>
                  <a:pt x="2159382" y="1127823"/>
                  <a:pt x="2163085" y="1148188"/>
                </a:cubicBezTo>
                <a:cubicBezTo>
                  <a:pt x="2165779" y="1163005"/>
                  <a:pt x="2172610" y="1176763"/>
                  <a:pt x="2177373" y="1191050"/>
                </a:cubicBezTo>
                <a:cubicBezTo>
                  <a:pt x="2178960" y="1202163"/>
                  <a:pt x="2179611" y="1213450"/>
                  <a:pt x="2182135" y="1224388"/>
                </a:cubicBezTo>
                <a:cubicBezTo>
                  <a:pt x="2191028" y="1262928"/>
                  <a:pt x="2190771" y="1242062"/>
                  <a:pt x="2201185" y="1276775"/>
                </a:cubicBezTo>
                <a:cubicBezTo>
                  <a:pt x="2203511" y="1284528"/>
                  <a:pt x="2204360" y="1292650"/>
                  <a:pt x="2205948" y="1300588"/>
                </a:cubicBezTo>
                <a:cubicBezTo>
                  <a:pt x="2204360" y="1372025"/>
                  <a:pt x="2205642" y="1443584"/>
                  <a:pt x="2201185" y="1514900"/>
                </a:cubicBezTo>
                <a:cubicBezTo>
                  <a:pt x="2200828" y="1520613"/>
                  <a:pt x="2194220" y="1524068"/>
                  <a:pt x="2191660" y="1529188"/>
                </a:cubicBezTo>
                <a:cubicBezTo>
                  <a:pt x="2182397" y="1547715"/>
                  <a:pt x="2191286" y="1541174"/>
                  <a:pt x="2182135" y="1562525"/>
                </a:cubicBezTo>
                <a:cubicBezTo>
                  <a:pt x="2179880" y="1567786"/>
                  <a:pt x="2175785" y="1572050"/>
                  <a:pt x="2172610" y="1576813"/>
                </a:cubicBezTo>
                <a:cubicBezTo>
                  <a:pt x="2171023" y="1584750"/>
                  <a:pt x="2171468" y="1593385"/>
                  <a:pt x="2167848" y="1600625"/>
                </a:cubicBezTo>
                <a:cubicBezTo>
                  <a:pt x="2164836" y="1606649"/>
                  <a:pt x="2157872" y="1609739"/>
                  <a:pt x="2153560" y="1614913"/>
                </a:cubicBezTo>
                <a:cubicBezTo>
                  <a:pt x="2149896" y="1619310"/>
                  <a:pt x="2147838" y="1624922"/>
                  <a:pt x="2144035" y="1629200"/>
                </a:cubicBezTo>
                <a:cubicBezTo>
                  <a:pt x="2135086" y="1639268"/>
                  <a:pt x="2123542" y="1646999"/>
                  <a:pt x="2115460" y="1657775"/>
                </a:cubicBezTo>
                <a:cubicBezTo>
                  <a:pt x="2097739" y="1681404"/>
                  <a:pt x="2107777" y="1672422"/>
                  <a:pt x="2086885" y="1686350"/>
                </a:cubicBezTo>
                <a:cubicBezTo>
                  <a:pt x="2083710" y="1691113"/>
                  <a:pt x="2081407" y="1696590"/>
                  <a:pt x="2077360" y="1700638"/>
                </a:cubicBezTo>
                <a:cubicBezTo>
                  <a:pt x="2073313" y="1704685"/>
                  <a:pt x="2067927" y="1707130"/>
                  <a:pt x="2063073" y="1710163"/>
                </a:cubicBezTo>
                <a:cubicBezTo>
                  <a:pt x="2055223" y="1715069"/>
                  <a:pt x="2046843" y="1719142"/>
                  <a:pt x="2039260" y="1724450"/>
                </a:cubicBezTo>
                <a:cubicBezTo>
                  <a:pt x="2030933" y="1730279"/>
                  <a:pt x="2024432" y="1738744"/>
                  <a:pt x="2015448" y="1743500"/>
                </a:cubicBezTo>
                <a:cubicBezTo>
                  <a:pt x="1989180" y="1757407"/>
                  <a:pt x="1969237" y="1763667"/>
                  <a:pt x="1944010" y="1772075"/>
                </a:cubicBezTo>
                <a:cubicBezTo>
                  <a:pt x="1937660" y="1776838"/>
                  <a:pt x="1931637" y="1782071"/>
                  <a:pt x="1924960" y="1786363"/>
                </a:cubicBezTo>
                <a:cubicBezTo>
                  <a:pt x="1909387" y="1796374"/>
                  <a:pt x="1922578" y="1800651"/>
                  <a:pt x="1877335" y="1814938"/>
                </a:cubicBezTo>
                <a:cubicBezTo>
                  <a:pt x="1832092" y="1829225"/>
                  <a:pt x="1729699" y="1838750"/>
                  <a:pt x="1653499" y="1872087"/>
                </a:cubicBezTo>
                <a:cubicBezTo>
                  <a:pt x="1534436" y="1924474"/>
                  <a:pt x="1467760" y="1984799"/>
                  <a:pt x="1420135" y="2014962"/>
                </a:cubicBezTo>
                <a:cubicBezTo>
                  <a:pt x="1372510" y="2045125"/>
                  <a:pt x="1393576" y="2046605"/>
                  <a:pt x="1367748" y="2053063"/>
                </a:cubicBezTo>
                <a:cubicBezTo>
                  <a:pt x="1362985" y="2056238"/>
                  <a:pt x="1358580" y="2060028"/>
                  <a:pt x="1353460" y="2062588"/>
                </a:cubicBezTo>
                <a:cubicBezTo>
                  <a:pt x="1343699" y="2067468"/>
                  <a:pt x="1324413" y="2070302"/>
                  <a:pt x="1315360" y="2072113"/>
                </a:cubicBezTo>
                <a:cubicBezTo>
                  <a:pt x="1307423" y="2076875"/>
                  <a:pt x="1299975" y="2082570"/>
                  <a:pt x="1291548" y="2086400"/>
                </a:cubicBezTo>
                <a:cubicBezTo>
                  <a:pt x="1272558" y="2095032"/>
                  <a:pt x="1258899" y="2096740"/>
                  <a:pt x="1239160" y="2100688"/>
                </a:cubicBezTo>
                <a:cubicBezTo>
                  <a:pt x="1188848" y="2138420"/>
                  <a:pt x="1253170" y="2094461"/>
                  <a:pt x="1196298" y="2119738"/>
                </a:cubicBezTo>
                <a:cubicBezTo>
                  <a:pt x="1189045" y="2122962"/>
                  <a:pt x="1184187" y="2130170"/>
                  <a:pt x="1177248" y="2134025"/>
                </a:cubicBezTo>
                <a:cubicBezTo>
                  <a:pt x="1151811" y="2148156"/>
                  <a:pt x="1137328" y="2145161"/>
                  <a:pt x="1105810" y="2148313"/>
                </a:cubicBezTo>
                <a:cubicBezTo>
                  <a:pt x="1096285" y="2153075"/>
                  <a:pt x="1087866" y="2161975"/>
                  <a:pt x="1077235" y="2162600"/>
                </a:cubicBezTo>
                <a:cubicBezTo>
                  <a:pt x="1032833" y="2165212"/>
                  <a:pt x="987677" y="2165623"/>
                  <a:pt x="943885" y="2157838"/>
                </a:cubicBezTo>
                <a:cubicBezTo>
                  <a:pt x="849110" y="2140989"/>
                  <a:pt x="888473" y="2132512"/>
                  <a:pt x="834348" y="2105450"/>
                </a:cubicBezTo>
                <a:cubicBezTo>
                  <a:pt x="822216" y="2099384"/>
                  <a:pt x="808380" y="2097229"/>
                  <a:pt x="796248" y="2091163"/>
                </a:cubicBezTo>
                <a:cubicBezTo>
                  <a:pt x="779689" y="2082884"/>
                  <a:pt x="765182" y="2070868"/>
                  <a:pt x="748623" y="2062588"/>
                </a:cubicBezTo>
                <a:cubicBezTo>
                  <a:pt x="711068" y="2043810"/>
                  <a:pt x="730151" y="2051668"/>
                  <a:pt x="691473" y="2038775"/>
                </a:cubicBezTo>
                <a:cubicBezTo>
                  <a:pt x="680360" y="2027663"/>
                  <a:pt x="670011" y="2015730"/>
                  <a:pt x="658135" y="2005438"/>
                </a:cubicBezTo>
                <a:cubicBezTo>
                  <a:pt x="646138" y="1995041"/>
                  <a:pt x="629560" y="1989563"/>
                  <a:pt x="620035" y="1976863"/>
                </a:cubicBezTo>
                <a:cubicBezTo>
                  <a:pt x="615273" y="1970513"/>
                  <a:pt x="610151" y="1964417"/>
                  <a:pt x="605748" y="1957813"/>
                </a:cubicBezTo>
                <a:cubicBezTo>
                  <a:pt x="600613" y="1950111"/>
                  <a:pt x="597104" y="1941337"/>
                  <a:pt x="591460" y="1934000"/>
                </a:cubicBezTo>
                <a:cubicBezTo>
                  <a:pt x="581171" y="1920624"/>
                  <a:pt x="587492" y="1934000"/>
                  <a:pt x="558123" y="1895900"/>
                </a:cubicBezTo>
                <a:cubicBezTo>
                  <a:pt x="528754" y="1857800"/>
                  <a:pt x="441442" y="1740325"/>
                  <a:pt x="415248" y="1705400"/>
                </a:cubicBezTo>
                <a:cubicBezTo>
                  <a:pt x="389054" y="1670475"/>
                  <a:pt x="405512" y="1692853"/>
                  <a:pt x="400960" y="1686350"/>
                </a:cubicBezTo>
                <a:cubicBezTo>
                  <a:pt x="394395" y="1676972"/>
                  <a:pt x="389407" y="1666426"/>
                  <a:pt x="381910" y="1657775"/>
                </a:cubicBezTo>
                <a:lnTo>
                  <a:pt x="324760" y="1600625"/>
                </a:lnTo>
                <a:lnTo>
                  <a:pt x="300948" y="1576813"/>
                </a:lnTo>
                <a:cubicBezTo>
                  <a:pt x="296185" y="1572050"/>
                  <a:pt x="292372" y="1566095"/>
                  <a:pt x="286660" y="1562525"/>
                </a:cubicBezTo>
                <a:lnTo>
                  <a:pt x="248560" y="1538713"/>
                </a:lnTo>
                <a:cubicBezTo>
                  <a:pt x="238416" y="1523496"/>
                  <a:pt x="239416" y="1522972"/>
                  <a:pt x="224748" y="1510138"/>
                </a:cubicBezTo>
                <a:cubicBezTo>
                  <a:pt x="217098" y="1503444"/>
                  <a:pt x="207735" y="1498644"/>
                  <a:pt x="200935" y="1491088"/>
                </a:cubicBezTo>
                <a:cubicBezTo>
                  <a:pt x="193277" y="1482579"/>
                  <a:pt x="189134" y="1471373"/>
                  <a:pt x="181885" y="1462513"/>
                </a:cubicBezTo>
                <a:cubicBezTo>
                  <a:pt x="174777" y="1453825"/>
                  <a:pt x="165465" y="1447148"/>
                  <a:pt x="158073" y="1438700"/>
                </a:cubicBezTo>
                <a:cubicBezTo>
                  <a:pt x="154304" y="1434392"/>
                  <a:pt x="152273" y="1428759"/>
                  <a:pt x="148548" y="1424413"/>
                </a:cubicBezTo>
                <a:cubicBezTo>
                  <a:pt x="142704" y="1417595"/>
                  <a:pt x="142992" y="1425207"/>
                  <a:pt x="129498" y="1405363"/>
                </a:cubicBezTo>
                <a:cubicBezTo>
                  <a:pt x="116004" y="1385519"/>
                  <a:pt x="105355" y="1365096"/>
                  <a:pt x="67585" y="1305350"/>
                </a:cubicBezTo>
                <a:cubicBezTo>
                  <a:pt x="23929" y="1236294"/>
                  <a:pt x="-43540" y="1163268"/>
                  <a:pt x="39010" y="991025"/>
                </a:cubicBezTo>
                <a:cubicBezTo>
                  <a:pt x="121560" y="818782"/>
                  <a:pt x="69200" y="948889"/>
                  <a:pt x="77110" y="929113"/>
                </a:cubicBezTo>
                <a:cubicBezTo>
                  <a:pt x="89136" y="899047"/>
                  <a:pt x="80590" y="911345"/>
                  <a:pt x="100923" y="891013"/>
                </a:cubicBezTo>
                <a:cubicBezTo>
                  <a:pt x="111746" y="869367"/>
                  <a:pt x="104098" y="871169"/>
                  <a:pt x="119973" y="848150"/>
                </a:cubicBezTo>
                <a:cubicBezTo>
                  <a:pt x="135848" y="825131"/>
                  <a:pt x="175536" y="792588"/>
                  <a:pt x="196173" y="752900"/>
                </a:cubicBezTo>
                <a:cubicBezTo>
                  <a:pt x="216811" y="713213"/>
                  <a:pt x="210512" y="665500"/>
                  <a:pt x="243798" y="610025"/>
                </a:cubicBezTo>
                <a:cubicBezTo>
                  <a:pt x="245385" y="600500"/>
                  <a:pt x="245785" y="590699"/>
                  <a:pt x="248560" y="581450"/>
                </a:cubicBezTo>
                <a:cubicBezTo>
                  <a:pt x="252506" y="568297"/>
                  <a:pt x="267104" y="550004"/>
                  <a:pt x="272373" y="538588"/>
                </a:cubicBezTo>
                <a:cubicBezTo>
                  <a:pt x="278057" y="526273"/>
                  <a:pt x="281317" y="512955"/>
                  <a:pt x="286660" y="500488"/>
                </a:cubicBezTo>
                <a:cubicBezTo>
                  <a:pt x="290855" y="490700"/>
                  <a:pt x="296852" y="481743"/>
                  <a:pt x="300948" y="471913"/>
                </a:cubicBezTo>
                <a:cubicBezTo>
                  <a:pt x="304810" y="462645"/>
                  <a:pt x="306395" y="452513"/>
                  <a:pt x="310473" y="443338"/>
                </a:cubicBezTo>
                <a:cubicBezTo>
                  <a:pt x="312798" y="438107"/>
                  <a:pt x="317438" y="434170"/>
                  <a:pt x="319998" y="429050"/>
                </a:cubicBezTo>
                <a:cubicBezTo>
                  <a:pt x="323821" y="421404"/>
                  <a:pt x="325125" y="412569"/>
                  <a:pt x="329523" y="405238"/>
                </a:cubicBezTo>
                <a:cubicBezTo>
                  <a:pt x="334753" y="396522"/>
                  <a:pt x="342223" y="389363"/>
                  <a:pt x="348573" y="381425"/>
                </a:cubicBezTo>
                <a:cubicBezTo>
                  <a:pt x="354406" y="358089"/>
                  <a:pt x="352866" y="358394"/>
                  <a:pt x="367623" y="333800"/>
                </a:cubicBezTo>
                <a:cubicBezTo>
                  <a:pt x="376458" y="319076"/>
                  <a:pt x="388519" y="306296"/>
                  <a:pt x="396198" y="290938"/>
                </a:cubicBezTo>
                <a:cubicBezTo>
                  <a:pt x="405274" y="272786"/>
                  <a:pt x="408053" y="266010"/>
                  <a:pt x="420010" y="248075"/>
                </a:cubicBezTo>
                <a:cubicBezTo>
                  <a:pt x="424413" y="241470"/>
                  <a:pt x="428324" y="234252"/>
                  <a:pt x="434298" y="229025"/>
                </a:cubicBezTo>
                <a:cubicBezTo>
                  <a:pt x="441264" y="222930"/>
                  <a:pt x="450882" y="220520"/>
                  <a:pt x="458110" y="214738"/>
                </a:cubicBezTo>
                <a:cubicBezTo>
                  <a:pt x="466876" y="207725"/>
                  <a:pt x="473475" y="198317"/>
                  <a:pt x="481923" y="190925"/>
                </a:cubicBezTo>
                <a:cubicBezTo>
                  <a:pt x="486230" y="187156"/>
                  <a:pt x="491813" y="185064"/>
                  <a:pt x="496210" y="181400"/>
                </a:cubicBezTo>
                <a:cubicBezTo>
                  <a:pt x="519331" y="162133"/>
                  <a:pt x="503808" y="169040"/>
                  <a:pt x="529548" y="143300"/>
                </a:cubicBezTo>
                <a:cubicBezTo>
                  <a:pt x="533595" y="139253"/>
                  <a:pt x="523197" y="145681"/>
                  <a:pt x="543835" y="133775"/>
                </a:cubicBezTo>
                <a:cubicBezTo>
                  <a:pt x="564473" y="121869"/>
                  <a:pt x="632736" y="85357"/>
                  <a:pt x="653373" y="71863"/>
                </a:cubicBezTo>
                <a:cubicBezTo>
                  <a:pt x="658135" y="65513"/>
                  <a:pt x="661201" y="57427"/>
                  <a:pt x="667660" y="52813"/>
                </a:cubicBezTo>
                <a:cubicBezTo>
                  <a:pt x="672986" y="49008"/>
                  <a:pt x="680500" y="50120"/>
                  <a:pt x="686710" y="48050"/>
                </a:cubicBezTo>
                <a:cubicBezTo>
                  <a:pt x="694820" y="45346"/>
                  <a:pt x="702711" y="41997"/>
                  <a:pt x="710523" y="38525"/>
                </a:cubicBezTo>
                <a:cubicBezTo>
                  <a:pt x="756752" y="17979"/>
                  <a:pt x="699878" y="38831"/>
                  <a:pt x="753385" y="24238"/>
                </a:cubicBezTo>
                <a:cubicBezTo>
                  <a:pt x="763071" y="21596"/>
                  <a:pt x="772092" y="16563"/>
                  <a:pt x="781960" y="14713"/>
                </a:cubicBezTo>
                <a:cubicBezTo>
                  <a:pt x="797641" y="11773"/>
                  <a:pt x="813710" y="11538"/>
                  <a:pt x="829585" y="9950"/>
                </a:cubicBezTo>
                <a:cubicBezTo>
                  <a:pt x="875134" y="-3064"/>
                  <a:pt x="851366" y="425"/>
                  <a:pt x="901023" y="425"/>
                </a:cubicBezTo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93" name="Graphic 21">
            <a:extLst>
              <a:ext uri="{FF2B5EF4-FFF2-40B4-BE49-F238E27FC236}">
                <a16:creationId xmlns:a16="http://schemas.microsoft.com/office/drawing/2014/main" id="{C6668403-9E21-07F1-C1E9-EFE244B94DA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091105" y="3257050"/>
            <a:ext cx="253773" cy="253773"/>
          </a:xfrm>
          <a:prstGeom prst="rect">
            <a:avLst/>
          </a:prstGeom>
        </p:spPr>
      </p:pic>
      <p:sp>
        <p:nvSpPr>
          <p:cNvPr id="190" name="Freeform: Shape 333">
            <a:extLst>
              <a:ext uri="{FF2B5EF4-FFF2-40B4-BE49-F238E27FC236}">
                <a16:creationId xmlns:a16="http://schemas.microsoft.com/office/drawing/2014/main" id="{A80A6733-2CFC-6EAF-1422-8ED0B167CFE8}"/>
              </a:ext>
            </a:extLst>
          </p:cNvPr>
          <p:cNvSpPr/>
          <p:nvPr/>
        </p:nvSpPr>
        <p:spPr>
          <a:xfrm rot="21410080">
            <a:off x="7160801" y="3594836"/>
            <a:ext cx="186956" cy="183426"/>
          </a:xfrm>
          <a:custGeom>
            <a:avLst/>
            <a:gdLst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557212 w 2171700"/>
              <a:gd name="connsiteY139" fmla="*/ 105200 h 2164296"/>
              <a:gd name="connsiteX140" fmla="*/ 619125 w 2171700"/>
              <a:gd name="connsiteY140" fmla="*/ 71863 h 2164296"/>
              <a:gd name="connsiteX141" fmla="*/ 633412 w 2171700"/>
              <a:gd name="connsiteY141" fmla="*/ 52813 h 2164296"/>
              <a:gd name="connsiteX142" fmla="*/ 652462 w 2171700"/>
              <a:gd name="connsiteY142" fmla="*/ 48050 h 2164296"/>
              <a:gd name="connsiteX143" fmla="*/ 676275 w 2171700"/>
              <a:gd name="connsiteY143" fmla="*/ 38525 h 2164296"/>
              <a:gd name="connsiteX144" fmla="*/ 719137 w 2171700"/>
              <a:gd name="connsiteY144" fmla="*/ 24238 h 2164296"/>
              <a:gd name="connsiteX145" fmla="*/ 747712 w 2171700"/>
              <a:gd name="connsiteY145" fmla="*/ 14713 h 2164296"/>
              <a:gd name="connsiteX146" fmla="*/ 795337 w 2171700"/>
              <a:gd name="connsiteY146" fmla="*/ 9950 h 2164296"/>
              <a:gd name="connsiteX147" fmla="*/ 866775 w 2171700"/>
              <a:gd name="connsiteY14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619125 w 2171700"/>
              <a:gd name="connsiteY139" fmla="*/ 71863 h 2164296"/>
              <a:gd name="connsiteX140" fmla="*/ 633412 w 2171700"/>
              <a:gd name="connsiteY140" fmla="*/ 52813 h 2164296"/>
              <a:gd name="connsiteX141" fmla="*/ 652462 w 2171700"/>
              <a:gd name="connsiteY141" fmla="*/ 48050 h 2164296"/>
              <a:gd name="connsiteX142" fmla="*/ 676275 w 2171700"/>
              <a:gd name="connsiteY142" fmla="*/ 38525 h 2164296"/>
              <a:gd name="connsiteX143" fmla="*/ 719137 w 2171700"/>
              <a:gd name="connsiteY143" fmla="*/ 24238 h 2164296"/>
              <a:gd name="connsiteX144" fmla="*/ 747712 w 2171700"/>
              <a:gd name="connsiteY144" fmla="*/ 14713 h 2164296"/>
              <a:gd name="connsiteX145" fmla="*/ 795337 w 2171700"/>
              <a:gd name="connsiteY145" fmla="*/ 9950 h 2164296"/>
              <a:gd name="connsiteX146" fmla="*/ 866775 w 2171700"/>
              <a:gd name="connsiteY14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57325 w 2171700"/>
              <a:gd name="connsiteY67" fmla="*/ 1995913 h 2164296"/>
              <a:gd name="connsiteX68" fmla="*/ 1419225 w 2171700"/>
              <a:gd name="connsiteY68" fmla="*/ 2014963 h 2164296"/>
              <a:gd name="connsiteX69" fmla="*/ 1404937 w 2171700"/>
              <a:gd name="connsiteY69" fmla="*/ 2029250 h 2164296"/>
              <a:gd name="connsiteX70" fmla="*/ 1333500 w 2171700"/>
              <a:gd name="connsiteY70" fmla="*/ 2053063 h 2164296"/>
              <a:gd name="connsiteX71" fmla="*/ 1319212 w 2171700"/>
              <a:gd name="connsiteY71" fmla="*/ 2062588 h 2164296"/>
              <a:gd name="connsiteX72" fmla="*/ 1281112 w 2171700"/>
              <a:gd name="connsiteY72" fmla="*/ 2072113 h 2164296"/>
              <a:gd name="connsiteX73" fmla="*/ 1257300 w 2171700"/>
              <a:gd name="connsiteY73" fmla="*/ 2086400 h 2164296"/>
              <a:gd name="connsiteX74" fmla="*/ 1204912 w 2171700"/>
              <a:gd name="connsiteY74" fmla="*/ 2100688 h 2164296"/>
              <a:gd name="connsiteX75" fmla="*/ 1162050 w 2171700"/>
              <a:gd name="connsiteY75" fmla="*/ 2119738 h 2164296"/>
              <a:gd name="connsiteX76" fmla="*/ 1143000 w 2171700"/>
              <a:gd name="connsiteY76" fmla="*/ 2134025 h 2164296"/>
              <a:gd name="connsiteX77" fmla="*/ 1071562 w 2171700"/>
              <a:gd name="connsiteY77" fmla="*/ 2148313 h 2164296"/>
              <a:gd name="connsiteX78" fmla="*/ 1042987 w 2171700"/>
              <a:gd name="connsiteY78" fmla="*/ 2162600 h 2164296"/>
              <a:gd name="connsiteX79" fmla="*/ 909637 w 2171700"/>
              <a:gd name="connsiteY79" fmla="*/ 2157838 h 2164296"/>
              <a:gd name="connsiteX80" fmla="*/ 800100 w 2171700"/>
              <a:gd name="connsiteY80" fmla="*/ 2105450 h 2164296"/>
              <a:gd name="connsiteX81" fmla="*/ 762000 w 2171700"/>
              <a:gd name="connsiteY81" fmla="*/ 2091163 h 2164296"/>
              <a:gd name="connsiteX82" fmla="*/ 714375 w 2171700"/>
              <a:gd name="connsiteY82" fmla="*/ 2062588 h 2164296"/>
              <a:gd name="connsiteX83" fmla="*/ 657225 w 2171700"/>
              <a:gd name="connsiteY83" fmla="*/ 2038775 h 2164296"/>
              <a:gd name="connsiteX84" fmla="*/ 623887 w 2171700"/>
              <a:gd name="connsiteY84" fmla="*/ 2005438 h 2164296"/>
              <a:gd name="connsiteX85" fmla="*/ 585787 w 2171700"/>
              <a:gd name="connsiteY85" fmla="*/ 1976863 h 2164296"/>
              <a:gd name="connsiteX86" fmla="*/ 571500 w 2171700"/>
              <a:gd name="connsiteY86" fmla="*/ 1957813 h 2164296"/>
              <a:gd name="connsiteX87" fmla="*/ 557212 w 2171700"/>
              <a:gd name="connsiteY87" fmla="*/ 1934000 h 2164296"/>
              <a:gd name="connsiteX88" fmla="*/ 523875 w 2171700"/>
              <a:gd name="connsiteY88" fmla="*/ 1895900 h 2164296"/>
              <a:gd name="connsiteX89" fmla="*/ 495300 w 2171700"/>
              <a:gd name="connsiteY89" fmla="*/ 1848275 h 2164296"/>
              <a:gd name="connsiteX90" fmla="*/ 471487 w 2171700"/>
              <a:gd name="connsiteY90" fmla="*/ 1819700 h 2164296"/>
              <a:gd name="connsiteX91" fmla="*/ 447675 w 2171700"/>
              <a:gd name="connsiteY91" fmla="*/ 1781600 h 2164296"/>
              <a:gd name="connsiteX92" fmla="*/ 400050 w 2171700"/>
              <a:gd name="connsiteY92" fmla="*/ 1738738 h 2164296"/>
              <a:gd name="connsiteX93" fmla="*/ 381000 w 2171700"/>
              <a:gd name="connsiteY93" fmla="*/ 1705400 h 2164296"/>
              <a:gd name="connsiteX94" fmla="*/ 366712 w 2171700"/>
              <a:gd name="connsiteY94" fmla="*/ 1686350 h 2164296"/>
              <a:gd name="connsiteX95" fmla="*/ 347662 w 2171700"/>
              <a:gd name="connsiteY95" fmla="*/ 1657775 h 2164296"/>
              <a:gd name="connsiteX96" fmla="*/ 290512 w 2171700"/>
              <a:gd name="connsiteY96" fmla="*/ 1600625 h 2164296"/>
              <a:gd name="connsiteX97" fmla="*/ 266700 w 2171700"/>
              <a:gd name="connsiteY97" fmla="*/ 1576813 h 2164296"/>
              <a:gd name="connsiteX98" fmla="*/ 252412 w 2171700"/>
              <a:gd name="connsiteY98" fmla="*/ 1562525 h 2164296"/>
              <a:gd name="connsiteX99" fmla="*/ 214312 w 2171700"/>
              <a:gd name="connsiteY99" fmla="*/ 1538713 h 2164296"/>
              <a:gd name="connsiteX100" fmla="*/ 190500 w 2171700"/>
              <a:gd name="connsiteY100" fmla="*/ 1510138 h 2164296"/>
              <a:gd name="connsiteX101" fmla="*/ 166687 w 2171700"/>
              <a:gd name="connsiteY101" fmla="*/ 1491088 h 2164296"/>
              <a:gd name="connsiteX102" fmla="*/ 147637 w 2171700"/>
              <a:gd name="connsiteY102" fmla="*/ 1462513 h 2164296"/>
              <a:gd name="connsiteX103" fmla="*/ 123825 w 2171700"/>
              <a:gd name="connsiteY103" fmla="*/ 1438700 h 2164296"/>
              <a:gd name="connsiteX104" fmla="*/ 114300 w 2171700"/>
              <a:gd name="connsiteY104" fmla="*/ 1424413 h 2164296"/>
              <a:gd name="connsiteX105" fmla="*/ 95250 w 2171700"/>
              <a:gd name="connsiteY105" fmla="*/ 1405363 h 2164296"/>
              <a:gd name="connsiteX106" fmla="*/ 76200 w 2171700"/>
              <a:gd name="connsiteY106" fmla="*/ 1376788 h 2164296"/>
              <a:gd name="connsiteX107" fmla="*/ 61912 w 2171700"/>
              <a:gd name="connsiteY107" fmla="*/ 1362500 h 2164296"/>
              <a:gd name="connsiteX108" fmla="*/ 52387 w 2171700"/>
              <a:gd name="connsiteY108" fmla="*/ 1348213 h 2164296"/>
              <a:gd name="connsiteX109" fmla="*/ 38100 w 2171700"/>
              <a:gd name="connsiteY109" fmla="*/ 1329163 h 2164296"/>
              <a:gd name="connsiteX110" fmla="*/ 33337 w 2171700"/>
              <a:gd name="connsiteY110" fmla="*/ 1305350 h 2164296"/>
              <a:gd name="connsiteX111" fmla="*/ 9525 w 2171700"/>
              <a:gd name="connsiteY111" fmla="*/ 1257725 h 2164296"/>
              <a:gd name="connsiteX112" fmla="*/ 0 w 2171700"/>
              <a:gd name="connsiteY112" fmla="*/ 1200575 h 2164296"/>
              <a:gd name="connsiteX113" fmla="*/ 4762 w 2171700"/>
              <a:gd name="connsiteY113" fmla="*/ 991025 h 2164296"/>
              <a:gd name="connsiteX114" fmla="*/ 42862 w 2171700"/>
              <a:gd name="connsiteY114" fmla="*/ 929113 h 2164296"/>
              <a:gd name="connsiteX115" fmla="*/ 66675 w 2171700"/>
              <a:gd name="connsiteY115" fmla="*/ 891013 h 2164296"/>
              <a:gd name="connsiteX116" fmla="*/ 85725 w 2171700"/>
              <a:gd name="connsiteY116" fmla="*/ 848150 h 2164296"/>
              <a:gd name="connsiteX117" fmla="*/ 109537 w 2171700"/>
              <a:gd name="connsiteY117" fmla="*/ 795763 h 2164296"/>
              <a:gd name="connsiteX118" fmla="*/ 128587 w 2171700"/>
              <a:gd name="connsiteY118" fmla="*/ 762425 h 2164296"/>
              <a:gd name="connsiteX119" fmla="*/ 147637 w 2171700"/>
              <a:gd name="connsiteY119" fmla="*/ 733850 h 2164296"/>
              <a:gd name="connsiteX120" fmla="*/ 209550 w 2171700"/>
              <a:gd name="connsiteY120" fmla="*/ 610025 h 2164296"/>
              <a:gd name="connsiteX121" fmla="*/ 214312 w 2171700"/>
              <a:gd name="connsiteY121" fmla="*/ 581450 h 2164296"/>
              <a:gd name="connsiteX122" fmla="*/ 238125 w 2171700"/>
              <a:gd name="connsiteY122" fmla="*/ 538588 h 2164296"/>
              <a:gd name="connsiteX123" fmla="*/ 252412 w 2171700"/>
              <a:gd name="connsiteY123" fmla="*/ 500488 h 2164296"/>
              <a:gd name="connsiteX124" fmla="*/ 266700 w 2171700"/>
              <a:gd name="connsiteY124" fmla="*/ 471913 h 2164296"/>
              <a:gd name="connsiteX125" fmla="*/ 276225 w 2171700"/>
              <a:gd name="connsiteY125" fmla="*/ 443338 h 2164296"/>
              <a:gd name="connsiteX126" fmla="*/ 285750 w 2171700"/>
              <a:gd name="connsiteY126" fmla="*/ 429050 h 2164296"/>
              <a:gd name="connsiteX127" fmla="*/ 295275 w 2171700"/>
              <a:gd name="connsiteY127" fmla="*/ 405238 h 2164296"/>
              <a:gd name="connsiteX128" fmla="*/ 314325 w 2171700"/>
              <a:gd name="connsiteY128" fmla="*/ 381425 h 2164296"/>
              <a:gd name="connsiteX129" fmla="*/ 333375 w 2171700"/>
              <a:gd name="connsiteY129" fmla="*/ 333800 h 2164296"/>
              <a:gd name="connsiteX130" fmla="*/ 361950 w 2171700"/>
              <a:gd name="connsiteY130" fmla="*/ 290938 h 2164296"/>
              <a:gd name="connsiteX131" fmla="*/ 385762 w 2171700"/>
              <a:gd name="connsiteY131" fmla="*/ 248075 h 2164296"/>
              <a:gd name="connsiteX132" fmla="*/ 400050 w 2171700"/>
              <a:gd name="connsiteY132" fmla="*/ 229025 h 2164296"/>
              <a:gd name="connsiteX133" fmla="*/ 423862 w 2171700"/>
              <a:gd name="connsiteY133" fmla="*/ 214738 h 2164296"/>
              <a:gd name="connsiteX134" fmla="*/ 447675 w 2171700"/>
              <a:gd name="connsiteY134" fmla="*/ 190925 h 2164296"/>
              <a:gd name="connsiteX135" fmla="*/ 461962 w 2171700"/>
              <a:gd name="connsiteY135" fmla="*/ 181400 h 2164296"/>
              <a:gd name="connsiteX136" fmla="*/ 495300 w 2171700"/>
              <a:gd name="connsiteY136" fmla="*/ 143300 h 2164296"/>
              <a:gd name="connsiteX137" fmla="*/ 509587 w 2171700"/>
              <a:gd name="connsiteY137" fmla="*/ 133775 h 2164296"/>
              <a:gd name="connsiteX138" fmla="*/ 619125 w 2171700"/>
              <a:gd name="connsiteY138" fmla="*/ 71863 h 2164296"/>
              <a:gd name="connsiteX139" fmla="*/ 633412 w 2171700"/>
              <a:gd name="connsiteY139" fmla="*/ 52813 h 2164296"/>
              <a:gd name="connsiteX140" fmla="*/ 652462 w 2171700"/>
              <a:gd name="connsiteY140" fmla="*/ 48050 h 2164296"/>
              <a:gd name="connsiteX141" fmla="*/ 676275 w 2171700"/>
              <a:gd name="connsiteY141" fmla="*/ 38525 h 2164296"/>
              <a:gd name="connsiteX142" fmla="*/ 719137 w 2171700"/>
              <a:gd name="connsiteY142" fmla="*/ 24238 h 2164296"/>
              <a:gd name="connsiteX143" fmla="*/ 747712 w 2171700"/>
              <a:gd name="connsiteY143" fmla="*/ 14713 h 2164296"/>
              <a:gd name="connsiteX144" fmla="*/ 795337 w 2171700"/>
              <a:gd name="connsiteY144" fmla="*/ 9950 h 2164296"/>
              <a:gd name="connsiteX145" fmla="*/ 866775 w 2171700"/>
              <a:gd name="connsiteY14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19225 w 2171700"/>
              <a:gd name="connsiteY67" fmla="*/ 2014963 h 2164296"/>
              <a:gd name="connsiteX68" fmla="*/ 1404937 w 2171700"/>
              <a:gd name="connsiteY68" fmla="*/ 2029250 h 2164296"/>
              <a:gd name="connsiteX69" fmla="*/ 1333500 w 2171700"/>
              <a:gd name="connsiteY69" fmla="*/ 2053063 h 2164296"/>
              <a:gd name="connsiteX70" fmla="*/ 1319212 w 2171700"/>
              <a:gd name="connsiteY70" fmla="*/ 2062588 h 2164296"/>
              <a:gd name="connsiteX71" fmla="*/ 1281112 w 2171700"/>
              <a:gd name="connsiteY71" fmla="*/ 2072113 h 2164296"/>
              <a:gd name="connsiteX72" fmla="*/ 1257300 w 2171700"/>
              <a:gd name="connsiteY72" fmla="*/ 2086400 h 2164296"/>
              <a:gd name="connsiteX73" fmla="*/ 1204912 w 2171700"/>
              <a:gd name="connsiteY73" fmla="*/ 2100688 h 2164296"/>
              <a:gd name="connsiteX74" fmla="*/ 1162050 w 2171700"/>
              <a:gd name="connsiteY74" fmla="*/ 2119738 h 2164296"/>
              <a:gd name="connsiteX75" fmla="*/ 1143000 w 2171700"/>
              <a:gd name="connsiteY75" fmla="*/ 2134025 h 2164296"/>
              <a:gd name="connsiteX76" fmla="*/ 1071562 w 2171700"/>
              <a:gd name="connsiteY76" fmla="*/ 2148313 h 2164296"/>
              <a:gd name="connsiteX77" fmla="*/ 1042987 w 2171700"/>
              <a:gd name="connsiteY77" fmla="*/ 2162600 h 2164296"/>
              <a:gd name="connsiteX78" fmla="*/ 909637 w 2171700"/>
              <a:gd name="connsiteY78" fmla="*/ 2157838 h 2164296"/>
              <a:gd name="connsiteX79" fmla="*/ 800100 w 2171700"/>
              <a:gd name="connsiteY79" fmla="*/ 2105450 h 2164296"/>
              <a:gd name="connsiteX80" fmla="*/ 762000 w 2171700"/>
              <a:gd name="connsiteY80" fmla="*/ 2091163 h 2164296"/>
              <a:gd name="connsiteX81" fmla="*/ 714375 w 2171700"/>
              <a:gd name="connsiteY81" fmla="*/ 2062588 h 2164296"/>
              <a:gd name="connsiteX82" fmla="*/ 657225 w 2171700"/>
              <a:gd name="connsiteY82" fmla="*/ 2038775 h 2164296"/>
              <a:gd name="connsiteX83" fmla="*/ 623887 w 2171700"/>
              <a:gd name="connsiteY83" fmla="*/ 2005438 h 2164296"/>
              <a:gd name="connsiteX84" fmla="*/ 585787 w 2171700"/>
              <a:gd name="connsiteY84" fmla="*/ 1976863 h 2164296"/>
              <a:gd name="connsiteX85" fmla="*/ 571500 w 2171700"/>
              <a:gd name="connsiteY85" fmla="*/ 1957813 h 2164296"/>
              <a:gd name="connsiteX86" fmla="*/ 557212 w 2171700"/>
              <a:gd name="connsiteY86" fmla="*/ 1934000 h 2164296"/>
              <a:gd name="connsiteX87" fmla="*/ 523875 w 2171700"/>
              <a:gd name="connsiteY87" fmla="*/ 1895900 h 2164296"/>
              <a:gd name="connsiteX88" fmla="*/ 495300 w 2171700"/>
              <a:gd name="connsiteY88" fmla="*/ 1848275 h 2164296"/>
              <a:gd name="connsiteX89" fmla="*/ 471487 w 2171700"/>
              <a:gd name="connsiteY89" fmla="*/ 1819700 h 2164296"/>
              <a:gd name="connsiteX90" fmla="*/ 447675 w 2171700"/>
              <a:gd name="connsiteY90" fmla="*/ 1781600 h 2164296"/>
              <a:gd name="connsiteX91" fmla="*/ 400050 w 2171700"/>
              <a:gd name="connsiteY91" fmla="*/ 1738738 h 2164296"/>
              <a:gd name="connsiteX92" fmla="*/ 381000 w 2171700"/>
              <a:gd name="connsiteY92" fmla="*/ 1705400 h 2164296"/>
              <a:gd name="connsiteX93" fmla="*/ 366712 w 2171700"/>
              <a:gd name="connsiteY93" fmla="*/ 1686350 h 2164296"/>
              <a:gd name="connsiteX94" fmla="*/ 347662 w 2171700"/>
              <a:gd name="connsiteY94" fmla="*/ 1657775 h 2164296"/>
              <a:gd name="connsiteX95" fmla="*/ 290512 w 2171700"/>
              <a:gd name="connsiteY95" fmla="*/ 1600625 h 2164296"/>
              <a:gd name="connsiteX96" fmla="*/ 266700 w 2171700"/>
              <a:gd name="connsiteY96" fmla="*/ 1576813 h 2164296"/>
              <a:gd name="connsiteX97" fmla="*/ 252412 w 2171700"/>
              <a:gd name="connsiteY97" fmla="*/ 1562525 h 2164296"/>
              <a:gd name="connsiteX98" fmla="*/ 214312 w 2171700"/>
              <a:gd name="connsiteY98" fmla="*/ 1538713 h 2164296"/>
              <a:gd name="connsiteX99" fmla="*/ 190500 w 2171700"/>
              <a:gd name="connsiteY99" fmla="*/ 1510138 h 2164296"/>
              <a:gd name="connsiteX100" fmla="*/ 166687 w 2171700"/>
              <a:gd name="connsiteY100" fmla="*/ 1491088 h 2164296"/>
              <a:gd name="connsiteX101" fmla="*/ 147637 w 2171700"/>
              <a:gd name="connsiteY101" fmla="*/ 1462513 h 2164296"/>
              <a:gd name="connsiteX102" fmla="*/ 123825 w 2171700"/>
              <a:gd name="connsiteY102" fmla="*/ 1438700 h 2164296"/>
              <a:gd name="connsiteX103" fmla="*/ 114300 w 2171700"/>
              <a:gd name="connsiteY103" fmla="*/ 1424413 h 2164296"/>
              <a:gd name="connsiteX104" fmla="*/ 95250 w 2171700"/>
              <a:gd name="connsiteY104" fmla="*/ 1405363 h 2164296"/>
              <a:gd name="connsiteX105" fmla="*/ 76200 w 2171700"/>
              <a:gd name="connsiteY105" fmla="*/ 1376788 h 2164296"/>
              <a:gd name="connsiteX106" fmla="*/ 61912 w 2171700"/>
              <a:gd name="connsiteY106" fmla="*/ 1362500 h 2164296"/>
              <a:gd name="connsiteX107" fmla="*/ 52387 w 2171700"/>
              <a:gd name="connsiteY107" fmla="*/ 1348213 h 2164296"/>
              <a:gd name="connsiteX108" fmla="*/ 38100 w 2171700"/>
              <a:gd name="connsiteY108" fmla="*/ 1329163 h 2164296"/>
              <a:gd name="connsiteX109" fmla="*/ 33337 w 2171700"/>
              <a:gd name="connsiteY109" fmla="*/ 1305350 h 2164296"/>
              <a:gd name="connsiteX110" fmla="*/ 9525 w 2171700"/>
              <a:gd name="connsiteY110" fmla="*/ 1257725 h 2164296"/>
              <a:gd name="connsiteX111" fmla="*/ 0 w 2171700"/>
              <a:gd name="connsiteY111" fmla="*/ 1200575 h 2164296"/>
              <a:gd name="connsiteX112" fmla="*/ 4762 w 2171700"/>
              <a:gd name="connsiteY112" fmla="*/ 991025 h 2164296"/>
              <a:gd name="connsiteX113" fmla="*/ 42862 w 2171700"/>
              <a:gd name="connsiteY113" fmla="*/ 929113 h 2164296"/>
              <a:gd name="connsiteX114" fmla="*/ 66675 w 2171700"/>
              <a:gd name="connsiteY114" fmla="*/ 891013 h 2164296"/>
              <a:gd name="connsiteX115" fmla="*/ 85725 w 2171700"/>
              <a:gd name="connsiteY115" fmla="*/ 848150 h 2164296"/>
              <a:gd name="connsiteX116" fmla="*/ 109537 w 2171700"/>
              <a:gd name="connsiteY116" fmla="*/ 795763 h 2164296"/>
              <a:gd name="connsiteX117" fmla="*/ 128587 w 2171700"/>
              <a:gd name="connsiteY117" fmla="*/ 762425 h 2164296"/>
              <a:gd name="connsiteX118" fmla="*/ 147637 w 2171700"/>
              <a:gd name="connsiteY118" fmla="*/ 733850 h 2164296"/>
              <a:gd name="connsiteX119" fmla="*/ 209550 w 2171700"/>
              <a:gd name="connsiteY119" fmla="*/ 610025 h 2164296"/>
              <a:gd name="connsiteX120" fmla="*/ 214312 w 2171700"/>
              <a:gd name="connsiteY120" fmla="*/ 581450 h 2164296"/>
              <a:gd name="connsiteX121" fmla="*/ 238125 w 2171700"/>
              <a:gd name="connsiteY121" fmla="*/ 538588 h 2164296"/>
              <a:gd name="connsiteX122" fmla="*/ 252412 w 2171700"/>
              <a:gd name="connsiteY122" fmla="*/ 500488 h 2164296"/>
              <a:gd name="connsiteX123" fmla="*/ 266700 w 2171700"/>
              <a:gd name="connsiteY123" fmla="*/ 471913 h 2164296"/>
              <a:gd name="connsiteX124" fmla="*/ 276225 w 2171700"/>
              <a:gd name="connsiteY124" fmla="*/ 443338 h 2164296"/>
              <a:gd name="connsiteX125" fmla="*/ 285750 w 2171700"/>
              <a:gd name="connsiteY125" fmla="*/ 429050 h 2164296"/>
              <a:gd name="connsiteX126" fmla="*/ 295275 w 2171700"/>
              <a:gd name="connsiteY126" fmla="*/ 405238 h 2164296"/>
              <a:gd name="connsiteX127" fmla="*/ 314325 w 2171700"/>
              <a:gd name="connsiteY127" fmla="*/ 381425 h 2164296"/>
              <a:gd name="connsiteX128" fmla="*/ 333375 w 2171700"/>
              <a:gd name="connsiteY128" fmla="*/ 333800 h 2164296"/>
              <a:gd name="connsiteX129" fmla="*/ 361950 w 2171700"/>
              <a:gd name="connsiteY129" fmla="*/ 290938 h 2164296"/>
              <a:gd name="connsiteX130" fmla="*/ 385762 w 2171700"/>
              <a:gd name="connsiteY130" fmla="*/ 248075 h 2164296"/>
              <a:gd name="connsiteX131" fmla="*/ 400050 w 2171700"/>
              <a:gd name="connsiteY131" fmla="*/ 229025 h 2164296"/>
              <a:gd name="connsiteX132" fmla="*/ 423862 w 2171700"/>
              <a:gd name="connsiteY132" fmla="*/ 214738 h 2164296"/>
              <a:gd name="connsiteX133" fmla="*/ 447675 w 2171700"/>
              <a:gd name="connsiteY133" fmla="*/ 190925 h 2164296"/>
              <a:gd name="connsiteX134" fmla="*/ 461962 w 2171700"/>
              <a:gd name="connsiteY134" fmla="*/ 181400 h 2164296"/>
              <a:gd name="connsiteX135" fmla="*/ 495300 w 2171700"/>
              <a:gd name="connsiteY135" fmla="*/ 143300 h 2164296"/>
              <a:gd name="connsiteX136" fmla="*/ 509587 w 2171700"/>
              <a:gd name="connsiteY136" fmla="*/ 133775 h 2164296"/>
              <a:gd name="connsiteX137" fmla="*/ 619125 w 2171700"/>
              <a:gd name="connsiteY137" fmla="*/ 71863 h 2164296"/>
              <a:gd name="connsiteX138" fmla="*/ 633412 w 2171700"/>
              <a:gd name="connsiteY138" fmla="*/ 52813 h 2164296"/>
              <a:gd name="connsiteX139" fmla="*/ 652462 w 2171700"/>
              <a:gd name="connsiteY139" fmla="*/ 48050 h 2164296"/>
              <a:gd name="connsiteX140" fmla="*/ 676275 w 2171700"/>
              <a:gd name="connsiteY140" fmla="*/ 38525 h 2164296"/>
              <a:gd name="connsiteX141" fmla="*/ 719137 w 2171700"/>
              <a:gd name="connsiteY141" fmla="*/ 24238 h 2164296"/>
              <a:gd name="connsiteX142" fmla="*/ 747712 w 2171700"/>
              <a:gd name="connsiteY142" fmla="*/ 14713 h 2164296"/>
              <a:gd name="connsiteX143" fmla="*/ 795337 w 2171700"/>
              <a:gd name="connsiteY143" fmla="*/ 9950 h 2164296"/>
              <a:gd name="connsiteX144" fmla="*/ 866775 w 2171700"/>
              <a:gd name="connsiteY14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04937 w 2171700"/>
              <a:gd name="connsiteY67" fmla="*/ 2029250 h 2164296"/>
              <a:gd name="connsiteX68" fmla="*/ 1333500 w 2171700"/>
              <a:gd name="connsiteY68" fmla="*/ 2053063 h 2164296"/>
              <a:gd name="connsiteX69" fmla="*/ 1319212 w 2171700"/>
              <a:gd name="connsiteY69" fmla="*/ 2062588 h 2164296"/>
              <a:gd name="connsiteX70" fmla="*/ 1281112 w 2171700"/>
              <a:gd name="connsiteY70" fmla="*/ 2072113 h 2164296"/>
              <a:gd name="connsiteX71" fmla="*/ 1257300 w 2171700"/>
              <a:gd name="connsiteY71" fmla="*/ 2086400 h 2164296"/>
              <a:gd name="connsiteX72" fmla="*/ 1204912 w 2171700"/>
              <a:gd name="connsiteY72" fmla="*/ 2100688 h 2164296"/>
              <a:gd name="connsiteX73" fmla="*/ 1162050 w 2171700"/>
              <a:gd name="connsiteY73" fmla="*/ 2119738 h 2164296"/>
              <a:gd name="connsiteX74" fmla="*/ 1143000 w 2171700"/>
              <a:gd name="connsiteY74" fmla="*/ 2134025 h 2164296"/>
              <a:gd name="connsiteX75" fmla="*/ 1071562 w 2171700"/>
              <a:gd name="connsiteY75" fmla="*/ 2148313 h 2164296"/>
              <a:gd name="connsiteX76" fmla="*/ 1042987 w 2171700"/>
              <a:gd name="connsiteY76" fmla="*/ 2162600 h 2164296"/>
              <a:gd name="connsiteX77" fmla="*/ 909637 w 2171700"/>
              <a:gd name="connsiteY77" fmla="*/ 2157838 h 2164296"/>
              <a:gd name="connsiteX78" fmla="*/ 800100 w 2171700"/>
              <a:gd name="connsiteY78" fmla="*/ 2105450 h 2164296"/>
              <a:gd name="connsiteX79" fmla="*/ 762000 w 2171700"/>
              <a:gd name="connsiteY79" fmla="*/ 2091163 h 2164296"/>
              <a:gd name="connsiteX80" fmla="*/ 714375 w 2171700"/>
              <a:gd name="connsiteY80" fmla="*/ 2062588 h 2164296"/>
              <a:gd name="connsiteX81" fmla="*/ 657225 w 2171700"/>
              <a:gd name="connsiteY81" fmla="*/ 2038775 h 2164296"/>
              <a:gd name="connsiteX82" fmla="*/ 623887 w 2171700"/>
              <a:gd name="connsiteY82" fmla="*/ 2005438 h 2164296"/>
              <a:gd name="connsiteX83" fmla="*/ 585787 w 2171700"/>
              <a:gd name="connsiteY83" fmla="*/ 1976863 h 2164296"/>
              <a:gd name="connsiteX84" fmla="*/ 571500 w 2171700"/>
              <a:gd name="connsiteY84" fmla="*/ 1957813 h 2164296"/>
              <a:gd name="connsiteX85" fmla="*/ 557212 w 2171700"/>
              <a:gd name="connsiteY85" fmla="*/ 1934000 h 2164296"/>
              <a:gd name="connsiteX86" fmla="*/ 523875 w 2171700"/>
              <a:gd name="connsiteY86" fmla="*/ 1895900 h 2164296"/>
              <a:gd name="connsiteX87" fmla="*/ 495300 w 2171700"/>
              <a:gd name="connsiteY87" fmla="*/ 1848275 h 2164296"/>
              <a:gd name="connsiteX88" fmla="*/ 471487 w 2171700"/>
              <a:gd name="connsiteY88" fmla="*/ 1819700 h 2164296"/>
              <a:gd name="connsiteX89" fmla="*/ 447675 w 2171700"/>
              <a:gd name="connsiteY89" fmla="*/ 1781600 h 2164296"/>
              <a:gd name="connsiteX90" fmla="*/ 400050 w 2171700"/>
              <a:gd name="connsiteY90" fmla="*/ 1738738 h 2164296"/>
              <a:gd name="connsiteX91" fmla="*/ 381000 w 2171700"/>
              <a:gd name="connsiteY91" fmla="*/ 1705400 h 2164296"/>
              <a:gd name="connsiteX92" fmla="*/ 366712 w 2171700"/>
              <a:gd name="connsiteY92" fmla="*/ 1686350 h 2164296"/>
              <a:gd name="connsiteX93" fmla="*/ 347662 w 2171700"/>
              <a:gd name="connsiteY93" fmla="*/ 1657775 h 2164296"/>
              <a:gd name="connsiteX94" fmla="*/ 290512 w 2171700"/>
              <a:gd name="connsiteY94" fmla="*/ 1600625 h 2164296"/>
              <a:gd name="connsiteX95" fmla="*/ 266700 w 2171700"/>
              <a:gd name="connsiteY95" fmla="*/ 1576813 h 2164296"/>
              <a:gd name="connsiteX96" fmla="*/ 252412 w 2171700"/>
              <a:gd name="connsiteY96" fmla="*/ 1562525 h 2164296"/>
              <a:gd name="connsiteX97" fmla="*/ 214312 w 2171700"/>
              <a:gd name="connsiteY97" fmla="*/ 1538713 h 2164296"/>
              <a:gd name="connsiteX98" fmla="*/ 190500 w 2171700"/>
              <a:gd name="connsiteY98" fmla="*/ 1510138 h 2164296"/>
              <a:gd name="connsiteX99" fmla="*/ 166687 w 2171700"/>
              <a:gd name="connsiteY99" fmla="*/ 1491088 h 2164296"/>
              <a:gd name="connsiteX100" fmla="*/ 147637 w 2171700"/>
              <a:gd name="connsiteY100" fmla="*/ 1462513 h 2164296"/>
              <a:gd name="connsiteX101" fmla="*/ 123825 w 2171700"/>
              <a:gd name="connsiteY101" fmla="*/ 1438700 h 2164296"/>
              <a:gd name="connsiteX102" fmla="*/ 114300 w 2171700"/>
              <a:gd name="connsiteY102" fmla="*/ 1424413 h 2164296"/>
              <a:gd name="connsiteX103" fmla="*/ 95250 w 2171700"/>
              <a:gd name="connsiteY103" fmla="*/ 1405363 h 2164296"/>
              <a:gd name="connsiteX104" fmla="*/ 76200 w 2171700"/>
              <a:gd name="connsiteY104" fmla="*/ 1376788 h 2164296"/>
              <a:gd name="connsiteX105" fmla="*/ 61912 w 2171700"/>
              <a:gd name="connsiteY105" fmla="*/ 1362500 h 2164296"/>
              <a:gd name="connsiteX106" fmla="*/ 52387 w 2171700"/>
              <a:gd name="connsiteY106" fmla="*/ 1348213 h 2164296"/>
              <a:gd name="connsiteX107" fmla="*/ 38100 w 2171700"/>
              <a:gd name="connsiteY107" fmla="*/ 1329163 h 2164296"/>
              <a:gd name="connsiteX108" fmla="*/ 33337 w 2171700"/>
              <a:gd name="connsiteY108" fmla="*/ 1305350 h 2164296"/>
              <a:gd name="connsiteX109" fmla="*/ 9525 w 2171700"/>
              <a:gd name="connsiteY109" fmla="*/ 1257725 h 2164296"/>
              <a:gd name="connsiteX110" fmla="*/ 0 w 2171700"/>
              <a:gd name="connsiteY110" fmla="*/ 1200575 h 2164296"/>
              <a:gd name="connsiteX111" fmla="*/ 4762 w 2171700"/>
              <a:gd name="connsiteY111" fmla="*/ 991025 h 2164296"/>
              <a:gd name="connsiteX112" fmla="*/ 42862 w 2171700"/>
              <a:gd name="connsiteY112" fmla="*/ 929113 h 2164296"/>
              <a:gd name="connsiteX113" fmla="*/ 66675 w 2171700"/>
              <a:gd name="connsiteY113" fmla="*/ 891013 h 2164296"/>
              <a:gd name="connsiteX114" fmla="*/ 85725 w 2171700"/>
              <a:gd name="connsiteY114" fmla="*/ 848150 h 2164296"/>
              <a:gd name="connsiteX115" fmla="*/ 109537 w 2171700"/>
              <a:gd name="connsiteY115" fmla="*/ 795763 h 2164296"/>
              <a:gd name="connsiteX116" fmla="*/ 128587 w 2171700"/>
              <a:gd name="connsiteY116" fmla="*/ 762425 h 2164296"/>
              <a:gd name="connsiteX117" fmla="*/ 147637 w 2171700"/>
              <a:gd name="connsiteY117" fmla="*/ 733850 h 2164296"/>
              <a:gd name="connsiteX118" fmla="*/ 209550 w 2171700"/>
              <a:gd name="connsiteY118" fmla="*/ 610025 h 2164296"/>
              <a:gd name="connsiteX119" fmla="*/ 214312 w 2171700"/>
              <a:gd name="connsiteY119" fmla="*/ 581450 h 2164296"/>
              <a:gd name="connsiteX120" fmla="*/ 238125 w 2171700"/>
              <a:gd name="connsiteY120" fmla="*/ 538588 h 2164296"/>
              <a:gd name="connsiteX121" fmla="*/ 252412 w 2171700"/>
              <a:gd name="connsiteY121" fmla="*/ 500488 h 2164296"/>
              <a:gd name="connsiteX122" fmla="*/ 266700 w 2171700"/>
              <a:gd name="connsiteY122" fmla="*/ 471913 h 2164296"/>
              <a:gd name="connsiteX123" fmla="*/ 276225 w 2171700"/>
              <a:gd name="connsiteY123" fmla="*/ 443338 h 2164296"/>
              <a:gd name="connsiteX124" fmla="*/ 285750 w 2171700"/>
              <a:gd name="connsiteY124" fmla="*/ 429050 h 2164296"/>
              <a:gd name="connsiteX125" fmla="*/ 295275 w 2171700"/>
              <a:gd name="connsiteY125" fmla="*/ 405238 h 2164296"/>
              <a:gd name="connsiteX126" fmla="*/ 314325 w 2171700"/>
              <a:gd name="connsiteY126" fmla="*/ 381425 h 2164296"/>
              <a:gd name="connsiteX127" fmla="*/ 333375 w 2171700"/>
              <a:gd name="connsiteY127" fmla="*/ 333800 h 2164296"/>
              <a:gd name="connsiteX128" fmla="*/ 361950 w 2171700"/>
              <a:gd name="connsiteY128" fmla="*/ 290938 h 2164296"/>
              <a:gd name="connsiteX129" fmla="*/ 385762 w 2171700"/>
              <a:gd name="connsiteY129" fmla="*/ 248075 h 2164296"/>
              <a:gd name="connsiteX130" fmla="*/ 400050 w 2171700"/>
              <a:gd name="connsiteY130" fmla="*/ 229025 h 2164296"/>
              <a:gd name="connsiteX131" fmla="*/ 423862 w 2171700"/>
              <a:gd name="connsiteY131" fmla="*/ 214738 h 2164296"/>
              <a:gd name="connsiteX132" fmla="*/ 447675 w 2171700"/>
              <a:gd name="connsiteY132" fmla="*/ 190925 h 2164296"/>
              <a:gd name="connsiteX133" fmla="*/ 461962 w 2171700"/>
              <a:gd name="connsiteY133" fmla="*/ 181400 h 2164296"/>
              <a:gd name="connsiteX134" fmla="*/ 495300 w 2171700"/>
              <a:gd name="connsiteY134" fmla="*/ 143300 h 2164296"/>
              <a:gd name="connsiteX135" fmla="*/ 509587 w 2171700"/>
              <a:gd name="connsiteY135" fmla="*/ 133775 h 2164296"/>
              <a:gd name="connsiteX136" fmla="*/ 619125 w 2171700"/>
              <a:gd name="connsiteY136" fmla="*/ 71863 h 2164296"/>
              <a:gd name="connsiteX137" fmla="*/ 633412 w 2171700"/>
              <a:gd name="connsiteY137" fmla="*/ 52813 h 2164296"/>
              <a:gd name="connsiteX138" fmla="*/ 652462 w 2171700"/>
              <a:gd name="connsiteY138" fmla="*/ 48050 h 2164296"/>
              <a:gd name="connsiteX139" fmla="*/ 676275 w 2171700"/>
              <a:gd name="connsiteY139" fmla="*/ 38525 h 2164296"/>
              <a:gd name="connsiteX140" fmla="*/ 719137 w 2171700"/>
              <a:gd name="connsiteY140" fmla="*/ 24238 h 2164296"/>
              <a:gd name="connsiteX141" fmla="*/ 747712 w 2171700"/>
              <a:gd name="connsiteY141" fmla="*/ 14713 h 2164296"/>
              <a:gd name="connsiteX142" fmla="*/ 795337 w 2171700"/>
              <a:gd name="connsiteY142" fmla="*/ 9950 h 2164296"/>
              <a:gd name="connsiteX143" fmla="*/ 866775 w 2171700"/>
              <a:gd name="connsiteY14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19312 w 2171700"/>
              <a:gd name="connsiteY36" fmla="*/ 1048175 h 2164296"/>
              <a:gd name="connsiteX37" fmla="*/ 2124075 w 2171700"/>
              <a:gd name="connsiteY37" fmla="*/ 1086275 h 2164296"/>
              <a:gd name="connsiteX38" fmla="*/ 2128837 w 2171700"/>
              <a:gd name="connsiteY38" fmla="*/ 1148188 h 2164296"/>
              <a:gd name="connsiteX39" fmla="*/ 2143125 w 2171700"/>
              <a:gd name="connsiteY39" fmla="*/ 1191050 h 2164296"/>
              <a:gd name="connsiteX40" fmla="*/ 2147887 w 2171700"/>
              <a:gd name="connsiteY40" fmla="*/ 1224388 h 2164296"/>
              <a:gd name="connsiteX41" fmla="*/ 2166937 w 2171700"/>
              <a:gd name="connsiteY41" fmla="*/ 1276775 h 2164296"/>
              <a:gd name="connsiteX42" fmla="*/ 2171700 w 2171700"/>
              <a:gd name="connsiteY42" fmla="*/ 1300588 h 2164296"/>
              <a:gd name="connsiteX43" fmla="*/ 2166937 w 2171700"/>
              <a:gd name="connsiteY43" fmla="*/ 1514900 h 2164296"/>
              <a:gd name="connsiteX44" fmla="*/ 2157412 w 2171700"/>
              <a:gd name="connsiteY44" fmla="*/ 1529188 h 2164296"/>
              <a:gd name="connsiteX45" fmla="*/ 2147887 w 2171700"/>
              <a:gd name="connsiteY45" fmla="*/ 1562525 h 2164296"/>
              <a:gd name="connsiteX46" fmla="*/ 2138362 w 2171700"/>
              <a:gd name="connsiteY46" fmla="*/ 1576813 h 2164296"/>
              <a:gd name="connsiteX47" fmla="*/ 2133600 w 2171700"/>
              <a:gd name="connsiteY47" fmla="*/ 1600625 h 2164296"/>
              <a:gd name="connsiteX48" fmla="*/ 2119312 w 2171700"/>
              <a:gd name="connsiteY48" fmla="*/ 1614913 h 2164296"/>
              <a:gd name="connsiteX49" fmla="*/ 2109787 w 2171700"/>
              <a:gd name="connsiteY49" fmla="*/ 1629200 h 2164296"/>
              <a:gd name="connsiteX50" fmla="*/ 2081212 w 2171700"/>
              <a:gd name="connsiteY50" fmla="*/ 1657775 h 2164296"/>
              <a:gd name="connsiteX51" fmla="*/ 2052637 w 2171700"/>
              <a:gd name="connsiteY51" fmla="*/ 1686350 h 2164296"/>
              <a:gd name="connsiteX52" fmla="*/ 2043112 w 2171700"/>
              <a:gd name="connsiteY52" fmla="*/ 1700638 h 2164296"/>
              <a:gd name="connsiteX53" fmla="*/ 2028825 w 2171700"/>
              <a:gd name="connsiteY53" fmla="*/ 1710163 h 2164296"/>
              <a:gd name="connsiteX54" fmla="*/ 2005012 w 2171700"/>
              <a:gd name="connsiteY54" fmla="*/ 1724450 h 2164296"/>
              <a:gd name="connsiteX55" fmla="*/ 1981200 w 2171700"/>
              <a:gd name="connsiteY55" fmla="*/ 1743500 h 2164296"/>
              <a:gd name="connsiteX56" fmla="*/ 1909762 w 2171700"/>
              <a:gd name="connsiteY56" fmla="*/ 1772075 h 2164296"/>
              <a:gd name="connsiteX57" fmla="*/ 1890712 w 2171700"/>
              <a:gd name="connsiteY57" fmla="*/ 1786363 h 2164296"/>
              <a:gd name="connsiteX58" fmla="*/ 1843087 w 2171700"/>
              <a:gd name="connsiteY58" fmla="*/ 1814938 h 2164296"/>
              <a:gd name="connsiteX59" fmla="*/ 1828800 w 2171700"/>
              <a:gd name="connsiteY59" fmla="*/ 1833988 h 2164296"/>
              <a:gd name="connsiteX60" fmla="*/ 1776412 w 2171700"/>
              <a:gd name="connsiteY60" fmla="*/ 1862563 h 2164296"/>
              <a:gd name="connsiteX61" fmla="*/ 1728787 w 2171700"/>
              <a:gd name="connsiteY61" fmla="*/ 1872088 h 2164296"/>
              <a:gd name="connsiteX62" fmla="*/ 1709737 w 2171700"/>
              <a:gd name="connsiteY62" fmla="*/ 1881613 h 2164296"/>
              <a:gd name="connsiteX63" fmla="*/ 1647825 w 2171700"/>
              <a:gd name="connsiteY63" fmla="*/ 1895900 h 2164296"/>
              <a:gd name="connsiteX64" fmla="*/ 1619250 w 2171700"/>
              <a:gd name="connsiteY64" fmla="*/ 1910188 h 2164296"/>
              <a:gd name="connsiteX65" fmla="*/ 1571625 w 2171700"/>
              <a:gd name="connsiteY65" fmla="*/ 1929238 h 2164296"/>
              <a:gd name="connsiteX66" fmla="*/ 1404937 w 2171700"/>
              <a:gd name="connsiteY66" fmla="*/ 2029250 h 2164296"/>
              <a:gd name="connsiteX67" fmla="*/ 1333500 w 2171700"/>
              <a:gd name="connsiteY67" fmla="*/ 2053063 h 2164296"/>
              <a:gd name="connsiteX68" fmla="*/ 1319212 w 2171700"/>
              <a:gd name="connsiteY68" fmla="*/ 2062588 h 2164296"/>
              <a:gd name="connsiteX69" fmla="*/ 1281112 w 2171700"/>
              <a:gd name="connsiteY69" fmla="*/ 2072113 h 2164296"/>
              <a:gd name="connsiteX70" fmla="*/ 1257300 w 2171700"/>
              <a:gd name="connsiteY70" fmla="*/ 2086400 h 2164296"/>
              <a:gd name="connsiteX71" fmla="*/ 1204912 w 2171700"/>
              <a:gd name="connsiteY71" fmla="*/ 2100688 h 2164296"/>
              <a:gd name="connsiteX72" fmla="*/ 1162050 w 2171700"/>
              <a:gd name="connsiteY72" fmla="*/ 2119738 h 2164296"/>
              <a:gd name="connsiteX73" fmla="*/ 1143000 w 2171700"/>
              <a:gd name="connsiteY73" fmla="*/ 2134025 h 2164296"/>
              <a:gd name="connsiteX74" fmla="*/ 1071562 w 2171700"/>
              <a:gd name="connsiteY74" fmla="*/ 2148313 h 2164296"/>
              <a:gd name="connsiteX75" fmla="*/ 1042987 w 2171700"/>
              <a:gd name="connsiteY75" fmla="*/ 2162600 h 2164296"/>
              <a:gd name="connsiteX76" fmla="*/ 909637 w 2171700"/>
              <a:gd name="connsiteY76" fmla="*/ 2157838 h 2164296"/>
              <a:gd name="connsiteX77" fmla="*/ 800100 w 2171700"/>
              <a:gd name="connsiteY77" fmla="*/ 2105450 h 2164296"/>
              <a:gd name="connsiteX78" fmla="*/ 762000 w 2171700"/>
              <a:gd name="connsiteY78" fmla="*/ 2091163 h 2164296"/>
              <a:gd name="connsiteX79" fmla="*/ 714375 w 2171700"/>
              <a:gd name="connsiteY79" fmla="*/ 2062588 h 2164296"/>
              <a:gd name="connsiteX80" fmla="*/ 657225 w 2171700"/>
              <a:gd name="connsiteY80" fmla="*/ 2038775 h 2164296"/>
              <a:gd name="connsiteX81" fmla="*/ 623887 w 2171700"/>
              <a:gd name="connsiteY81" fmla="*/ 2005438 h 2164296"/>
              <a:gd name="connsiteX82" fmla="*/ 585787 w 2171700"/>
              <a:gd name="connsiteY82" fmla="*/ 1976863 h 2164296"/>
              <a:gd name="connsiteX83" fmla="*/ 571500 w 2171700"/>
              <a:gd name="connsiteY83" fmla="*/ 1957813 h 2164296"/>
              <a:gd name="connsiteX84" fmla="*/ 557212 w 2171700"/>
              <a:gd name="connsiteY84" fmla="*/ 1934000 h 2164296"/>
              <a:gd name="connsiteX85" fmla="*/ 523875 w 2171700"/>
              <a:gd name="connsiteY85" fmla="*/ 1895900 h 2164296"/>
              <a:gd name="connsiteX86" fmla="*/ 495300 w 2171700"/>
              <a:gd name="connsiteY86" fmla="*/ 1848275 h 2164296"/>
              <a:gd name="connsiteX87" fmla="*/ 471487 w 2171700"/>
              <a:gd name="connsiteY87" fmla="*/ 1819700 h 2164296"/>
              <a:gd name="connsiteX88" fmla="*/ 447675 w 2171700"/>
              <a:gd name="connsiteY88" fmla="*/ 1781600 h 2164296"/>
              <a:gd name="connsiteX89" fmla="*/ 400050 w 2171700"/>
              <a:gd name="connsiteY89" fmla="*/ 1738738 h 2164296"/>
              <a:gd name="connsiteX90" fmla="*/ 381000 w 2171700"/>
              <a:gd name="connsiteY90" fmla="*/ 1705400 h 2164296"/>
              <a:gd name="connsiteX91" fmla="*/ 366712 w 2171700"/>
              <a:gd name="connsiteY91" fmla="*/ 1686350 h 2164296"/>
              <a:gd name="connsiteX92" fmla="*/ 347662 w 2171700"/>
              <a:gd name="connsiteY92" fmla="*/ 1657775 h 2164296"/>
              <a:gd name="connsiteX93" fmla="*/ 290512 w 2171700"/>
              <a:gd name="connsiteY93" fmla="*/ 1600625 h 2164296"/>
              <a:gd name="connsiteX94" fmla="*/ 266700 w 2171700"/>
              <a:gd name="connsiteY94" fmla="*/ 1576813 h 2164296"/>
              <a:gd name="connsiteX95" fmla="*/ 252412 w 2171700"/>
              <a:gd name="connsiteY95" fmla="*/ 1562525 h 2164296"/>
              <a:gd name="connsiteX96" fmla="*/ 214312 w 2171700"/>
              <a:gd name="connsiteY96" fmla="*/ 1538713 h 2164296"/>
              <a:gd name="connsiteX97" fmla="*/ 190500 w 2171700"/>
              <a:gd name="connsiteY97" fmla="*/ 1510138 h 2164296"/>
              <a:gd name="connsiteX98" fmla="*/ 166687 w 2171700"/>
              <a:gd name="connsiteY98" fmla="*/ 1491088 h 2164296"/>
              <a:gd name="connsiteX99" fmla="*/ 147637 w 2171700"/>
              <a:gd name="connsiteY99" fmla="*/ 1462513 h 2164296"/>
              <a:gd name="connsiteX100" fmla="*/ 123825 w 2171700"/>
              <a:gd name="connsiteY100" fmla="*/ 1438700 h 2164296"/>
              <a:gd name="connsiteX101" fmla="*/ 114300 w 2171700"/>
              <a:gd name="connsiteY101" fmla="*/ 1424413 h 2164296"/>
              <a:gd name="connsiteX102" fmla="*/ 95250 w 2171700"/>
              <a:gd name="connsiteY102" fmla="*/ 1405363 h 2164296"/>
              <a:gd name="connsiteX103" fmla="*/ 76200 w 2171700"/>
              <a:gd name="connsiteY103" fmla="*/ 1376788 h 2164296"/>
              <a:gd name="connsiteX104" fmla="*/ 61912 w 2171700"/>
              <a:gd name="connsiteY104" fmla="*/ 1362500 h 2164296"/>
              <a:gd name="connsiteX105" fmla="*/ 52387 w 2171700"/>
              <a:gd name="connsiteY105" fmla="*/ 1348213 h 2164296"/>
              <a:gd name="connsiteX106" fmla="*/ 38100 w 2171700"/>
              <a:gd name="connsiteY106" fmla="*/ 1329163 h 2164296"/>
              <a:gd name="connsiteX107" fmla="*/ 33337 w 2171700"/>
              <a:gd name="connsiteY107" fmla="*/ 1305350 h 2164296"/>
              <a:gd name="connsiteX108" fmla="*/ 9525 w 2171700"/>
              <a:gd name="connsiteY108" fmla="*/ 1257725 h 2164296"/>
              <a:gd name="connsiteX109" fmla="*/ 0 w 2171700"/>
              <a:gd name="connsiteY109" fmla="*/ 1200575 h 2164296"/>
              <a:gd name="connsiteX110" fmla="*/ 4762 w 2171700"/>
              <a:gd name="connsiteY110" fmla="*/ 991025 h 2164296"/>
              <a:gd name="connsiteX111" fmla="*/ 42862 w 2171700"/>
              <a:gd name="connsiteY111" fmla="*/ 929113 h 2164296"/>
              <a:gd name="connsiteX112" fmla="*/ 66675 w 2171700"/>
              <a:gd name="connsiteY112" fmla="*/ 891013 h 2164296"/>
              <a:gd name="connsiteX113" fmla="*/ 85725 w 2171700"/>
              <a:gd name="connsiteY113" fmla="*/ 848150 h 2164296"/>
              <a:gd name="connsiteX114" fmla="*/ 109537 w 2171700"/>
              <a:gd name="connsiteY114" fmla="*/ 795763 h 2164296"/>
              <a:gd name="connsiteX115" fmla="*/ 128587 w 2171700"/>
              <a:gd name="connsiteY115" fmla="*/ 762425 h 2164296"/>
              <a:gd name="connsiteX116" fmla="*/ 147637 w 2171700"/>
              <a:gd name="connsiteY116" fmla="*/ 733850 h 2164296"/>
              <a:gd name="connsiteX117" fmla="*/ 209550 w 2171700"/>
              <a:gd name="connsiteY117" fmla="*/ 610025 h 2164296"/>
              <a:gd name="connsiteX118" fmla="*/ 214312 w 2171700"/>
              <a:gd name="connsiteY118" fmla="*/ 581450 h 2164296"/>
              <a:gd name="connsiteX119" fmla="*/ 238125 w 2171700"/>
              <a:gd name="connsiteY119" fmla="*/ 538588 h 2164296"/>
              <a:gd name="connsiteX120" fmla="*/ 252412 w 2171700"/>
              <a:gd name="connsiteY120" fmla="*/ 500488 h 2164296"/>
              <a:gd name="connsiteX121" fmla="*/ 266700 w 2171700"/>
              <a:gd name="connsiteY121" fmla="*/ 471913 h 2164296"/>
              <a:gd name="connsiteX122" fmla="*/ 276225 w 2171700"/>
              <a:gd name="connsiteY122" fmla="*/ 443338 h 2164296"/>
              <a:gd name="connsiteX123" fmla="*/ 285750 w 2171700"/>
              <a:gd name="connsiteY123" fmla="*/ 429050 h 2164296"/>
              <a:gd name="connsiteX124" fmla="*/ 295275 w 2171700"/>
              <a:gd name="connsiteY124" fmla="*/ 405238 h 2164296"/>
              <a:gd name="connsiteX125" fmla="*/ 314325 w 2171700"/>
              <a:gd name="connsiteY125" fmla="*/ 381425 h 2164296"/>
              <a:gd name="connsiteX126" fmla="*/ 333375 w 2171700"/>
              <a:gd name="connsiteY126" fmla="*/ 333800 h 2164296"/>
              <a:gd name="connsiteX127" fmla="*/ 361950 w 2171700"/>
              <a:gd name="connsiteY127" fmla="*/ 290938 h 2164296"/>
              <a:gd name="connsiteX128" fmla="*/ 385762 w 2171700"/>
              <a:gd name="connsiteY128" fmla="*/ 248075 h 2164296"/>
              <a:gd name="connsiteX129" fmla="*/ 400050 w 2171700"/>
              <a:gd name="connsiteY129" fmla="*/ 229025 h 2164296"/>
              <a:gd name="connsiteX130" fmla="*/ 423862 w 2171700"/>
              <a:gd name="connsiteY130" fmla="*/ 214738 h 2164296"/>
              <a:gd name="connsiteX131" fmla="*/ 447675 w 2171700"/>
              <a:gd name="connsiteY131" fmla="*/ 190925 h 2164296"/>
              <a:gd name="connsiteX132" fmla="*/ 461962 w 2171700"/>
              <a:gd name="connsiteY132" fmla="*/ 181400 h 2164296"/>
              <a:gd name="connsiteX133" fmla="*/ 495300 w 2171700"/>
              <a:gd name="connsiteY133" fmla="*/ 143300 h 2164296"/>
              <a:gd name="connsiteX134" fmla="*/ 509587 w 2171700"/>
              <a:gd name="connsiteY134" fmla="*/ 133775 h 2164296"/>
              <a:gd name="connsiteX135" fmla="*/ 619125 w 2171700"/>
              <a:gd name="connsiteY135" fmla="*/ 71863 h 2164296"/>
              <a:gd name="connsiteX136" fmla="*/ 633412 w 2171700"/>
              <a:gd name="connsiteY136" fmla="*/ 52813 h 2164296"/>
              <a:gd name="connsiteX137" fmla="*/ 652462 w 2171700"/>
              <a:gd name="connsiteY137" fmla="*/ 48050 h 2164296"/>
              <a:gd name="connsiteX138" fmla="*/ 676275 w 2171700"/>
              <a:gd name="connsiteY138" fmla="*/ 38525 h 2164296"/>
              <a:gd name="connsiteX139" fmla="*/ 719137 w 2171700"/>
              <a:gd name="connsiteY139" fmla="*/ 24238 h 2164296"/>
              <a:gd name="connsiteX140" fmla="*/ 747712 w 2171700"/>
              <a:gd name="connsiteY140" fmla="*/ 14713 h 2164296"/>
              <a:gd name="connsiteX141" fmla="*/ 795337 w 2171700"/>
              <a:gd name="connsiteY141" fmla="*/ 9950 h 2164296"/>
              <a:gd name="connsiteX142" fmla="*/ 866775 w 2171700"/>
              <a:gd name="connsiteY14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24075 w 2171700"/>
              <a:gd name="connsiteY36" fmla="*/ 1086275 h 2164296"/>
              <a:gd name="connsiteX37" fmla="*/ 2128837 w 2171700"/>
              <a:gd name="connsiteY37" fmla="*/ 1148188 h 2164296"/>
              <a:gd name="connsiteX38" fmla="*/ 2143125 w 2171700"/>
              <a:gd name="connsiteY38" fmla="*/ 1191050 h 2164296"/>
              <a:gd name="connsiteX39" fmla="*/ 2147887 w 2171700"/>
              <a:gd name="connsiteY39" fmla="*/ 1224388 h 2164296"/>
              <a:gd name="connsiteX40" fmla="*/ 2166937 w 2171700"/>
              <a:gd name="connsiteY40" fmla="*/ 1276775 h 2164296"/>
              <a:gd name="connsiteX41" fmla="*/ 2171700 w 2171700"/>
              <a:gd name="connsiteY41" fmla="*/ 1300588 h 2164296"/>
              <a:gd name="connsiteX42" fmla="*/ 2166937 w 2171700"/>
              <a:gd name="connsiteY42" fmla="*/ 1514900 h 2164296"/>
              <a:gd name="connsiteX43" fmla="*/ 2157412 w 2171700"/>
              <a:gd name="connsiteY43" fmla="*/ 1529188 h 2164296"/>
              <a:gd name="connsiteX44" fmla="*/ 2147887 w 2171700"/>
              <a:gd name="connsiteY44" fmla="*/ 1562525 h 2164296"/>
              <a:gd name="connsiteX45" fmla="*/ 2138362 w 2171700"/>
              <a:gd name="connsiteY45" fmla="*/ 1576813 h 2164296"/>
              <a:gd name="connsiteX46" fmla="*/ 2133600 w 2171700"/>
              <a:gd name="connsiteY46" fmla="*/ 1600625 h 2164296"/>
              <a:gd name="connsiteX47" fmla="*/ 2119312 w 2171700"/>
              <a:gd name="connsiteY47" fmla="*/ 1614913 h 2164296"/>
              <a:gd name="connsiteX48" fmla="*/ 2109787 w 2171700"/>
              <a:gd name="connsiteY48" fmla="*/ 1629200 h 2164296"/>
              <a:gd name="connsiteX49" fmla="*/ 2081212 w 2171700"/>
              <a:gd name="connsiteY49" fmla="*/ 1657775 h 2164296"/>
              <a:gd name="connsiteX50" fmla="*/ 2052637 w 2171700"/>
              <a:gd name="connsiteY50" fmla="*/ 1686350 h 2164296"/>
              <a:gd name="connsiteX51" fmla="*/ 2043112 w 2171700"/>
              <a:gd name="connsiteY51" fmla="*/ 1700638 h 2164296"/>
              <a:gd name="connsiteX52" fmla="*/ 2028825 w 2171700"/>
              <a:gd name="connsiteY52" fmla="*/ 1710163 h 2164296"/>
              <a:gd name="connsiteX53" fmla="*/ 2005012 w 2171700"/>
              <a:gd name="connsiteY53" fmla="*/ 1724450 h 2164296"/>
              <a:gd name="connsiteX54" fmla="*/ 1981200 w 2171700"/>
              <a:gd name="connsiteY54" fmla="*/ 1743500 h 2164296"/>
              <a:gd name="connsiteX55" fmla="*/ 1909762 w 2171700"/>
              <a:gd name="connsiteY55" fmla="*/ 1772075 h 2164296"/>
              <a:gd name="connsiteX56" fmla="*/ 1890712 w 2171700"/>
              <a:gd name="connsiteY56" fmla="*/ 1786363 h 2164296"/>
              <a:gd name="connsiteX57" fmla="*/ 1843087 w 2171700"/>
              <a:gd name="connsiteY57" fmla="*/ 1814938 h 2164296"/>
              <a:gd name="connsiteX58" fmla="*/ 1828800 w 2171700"/>
              <a:gd name="connsiteY58" fmla="*/ 1833988 h 2164296"/>
              <a:gd name="connsiteX59" fmla="*/ 1776412 w 2171700"/>
              <a:gd name="connsiteY59" fmla="*/ 1862563 h 2164296"/>
              <a:gd name="connsiteX60" fmla="*/ 1728787 w 2171700"/>
              <a:gd name="connsiteY60" fmla="*/ 1872088 h 2164296"/>
              <a:gd name="connsiteX61" fmla="*/ 1709737 w 2171700"/>
              <a:gd name="connsiteY61" fmla="*/ 1881613 h 2164296"/>
              <a:gd name="connsiteX62" fmla="*/ 1647825 w 2171700"/>
              <a:gd name="connsiteY62" fmla="*/ 1895900 h 2164296"/>
              <a:gd name="connsiteX63" fmla="*/ 1619250 w 2171700"/>
              <a:gd name="connsiteY63" fmla="*/ 1910188 h 2164296"/>
              <a:gd name="connsiteX64" fmla="*/ 1571625 w 2171700"/>
              <a:gd name="connsiteY64" fmla="*/ 1929238 h 2164296"/>
              <a:gd name="connsiteX65" fmla="*/ 1404937 w 2171700"/>
              <a:gd name="connsiteY65" fmla="*/ 2029250 h 2164296"/>
              <a:gd name="connsiteX66" fmla="*/ 1333500 w 2171700"/>
              <a:gd name="connsiteY66" fmla="*/ 2053063 h 2164296"/>
              <a:gd name="connsiteX67" fmla="*/ 1319212 w 2171700"/>
              <a:gd name="connsiteY67" fmla="*/ 2062588 h 2164296"/>
              <a:gd name="connsiteX68" fmla="*/ 1281112 w 2171700"/>
              <a:gd name="connsiteY68" fmla="*/ 2072113 h 2164296"/>
              <a:gd name="connsiteX69" fmla="*/ 1257300 w 2171700"/>
              <a:gd name="connsiteY69" fmla="*/ 2086400 h 2164296"/>
              <a:gd name="connsiteX70" fmla="*/ 1204912 w 2171700"/>
              <a:gd name="connsiteY70" fmla="*/ 2100688 h 2164296"/>
              <a:gd name="connsiteX71" fmla="*/ 1162050 w 2171700"/>
              <a:gd name="connsiteY71" fmla="*/ 2119738 h 2164296"/>
              <a:gd name="connsiteX72" fmla="*/ 1143000 w 2171700"/>
              <a:gd name="connsiteY72" fmla="*/ 2134025 h 2164296"/>
              <a:gd name="connsiteX73" fmla="*/ 1071562 w 2171700"/>
              <a:gd name="connsiteY73" fmla="*/ 2148313 h 2164296"/>
              <a:gd name="connsiteX74" fmla="*/ 1042987 w 2171700"/>
              <a:gd name="connsiteY74" fmla="*/ 2162600 h 2164296"/>
              <a:gd name="connsiteX75" fmla="*/ 909637 w 2171700"/>
              <a:gd name="connsiteY75" fmla="*/ 2157838 h 2164296"/>
              <a:gd name="connsiteX76" fmla="*/ 800100 w 2171700"/>
              <a:gd name="connsiteY76" fmla="*/ 2105450 h 2164296"/>
              <a:gd name="connsiteX77" fmla="*/ 762000 w 2171700"/>
              <a:gd name="connsiteY77" fmla="*/ 2091163 h 2164296"/>
              <a:gd name="connsiteX78" fmla="*/ 714375 w 2171700"/>
              <a:gd name="connsiteY78" fmla="*/ 2062588 h 2164296"/>
              <a:gd name="connsiteX79" fmla="*/ 657225 w 2171700"/>
              <a:gd name="connsiteY79" fmla="*/ 2038775 h 2164296"/>
              <a:gd name="connsiteX80" fmla="*/ 623887 w 2171700"/>
              <a:gd name="connsiteY80" fmla="*/ 2005438 h 2164296"/>
              <a:gd name="connsiteX81" fmla="*/ 585787 w 2171700"/>
              <a:gd name="connsiteY81" fmla="*/ 1976863 h 2164296"/>
              <a:gd name="connsiteX82" fmla="*/ 571500 w 2171700"/>
              <a:gd name="connsiteY82" fmla="*/ 1957813 h 2164296"/>
              <a:gd name="connsiteX83" fmla="*/ 557212 w 2171700"/>
              <a:gd name="connsiteY83" fmla="*/ 1934000 h 2164296"/>
              <a:gd name="connsiteX84" fmla="*/ 523875 w 2171700"/>
              <a:gd name="connsiteY84" fmla="*/ 1895900 h 2164296"/>
              <a:gd name="connsiteX85" fmla="*/ 495300 w 2171700"/>
              <a:gd name="connsiteY85" fmla="*/ 1848275 h 2164296"/>
              <a:gd name="connsiteX86" fmla="*/ 471487 w 2171700"/>
              <a:gd name="connsiteY86" fmla="*/ 1819700 h 2164296"/>
              <a:gd name="connsiteX87" fmla="*/ 447675 w 2171700"/>
              <a:gd name="connsiteY87" fmla="*/ 1781600 h 2164296"/>
              <a:gd name="connsiteX88" fmla="*/ 400050 w 2171700"/>
              <a:gd name="connsiteY88" fmla="*/ 1738738 h 2164296"/>
              <a:gd name="connsiteX89" fmla="*/ 381000 w 2171700"/>
              <a:gd name="connsiteY89" fmla="*/ 1705400 h 2164296"/>
              <a:gd name="connsiteX90" fmla="*/ 366712 w 2171700"/>
              <a:gd name="connsiteY90" fmla="*/ 1686350 h 2164296"/>
              <a:gd name="connsiteX91" fmla="*/ 347662 w 2171700"/>
              <a:gd name="connsiteY91" fmla="*/ 1657775 h 2164296"/>
              <a:gd name="connsiteX92" fmla="*/ 290512 w 2171700"/>
              <a:gd name="connsiteY92" fmla="*/ 1600625 h 2164296"/>
              <a:gd name="connsiteX93" fmla="*/ 266700 w 2171700"/>
              <a:gd name="connsiteY93" fmla="*/ 1576813 h 2164296"/>
              <a:gd name="connsiteX94" fmla="*/ 252412 w 2171700"/>
              <a:gd name="connsiteY94" fmla="*/ 1562525 h 2164296"/>
              <a:gd name="connsiteX95" fmla="*/ 214312 w 2171700"/>
              <a:gd name="connsiteY95" fmla="*/ 1538713 h 2164296"/>
              <a:gd name="connsiteX96" fmla="*/ 190500 w 2171700"/>
              <a:gd name="connsiteY96" fmla="*/ 1510138 h 2164296"/>
              <a:gd name="connsiteX97" fmla="*/ 166687 w 2171700"/>
              <a:gd name="connsiteY97" fmla="*/ 1491088 h 2164296"/>
              <a:gd name="connsiteX98" fmla="*/ 147637 w 2171700"/>
              <a:gd name="connsiteY98" fmla="*/ 1462513 h 2164296"/>
              <a:gd name="connsiteX99" fmla="*/ 123825 w 2171700"/>
              <a:gd name="connsiteY99" fmla="*/ 1438700 h 2164296"/>
              <a:gd name="connsiteX100" fmla="*/ 114300 w 2171700"/>
              <a:gd name="connsiteY100" fmla="*/ 1424413 h 2164296"/>
              <a:gd name="connsiteX101" fmla="*/ 95250 w 2171700"/>
              <a:gd name="connsiteY101" fmla="*/ 1405363 h 2164296"/>
              <a:gd name="connsiteX102" fmla="*/ 76200 w 2171700"/>
              <a:gd name="connsiteY102" fmla="*/ 1376788 h 2164296"/>
              <a:gd name="connsiteX103" fmla="*/ 61912 w 2171700"/>
              <a:gd name="connsiteY103" fmla="*/ 1362500 h 2164296"/>
              <a:gd name="connsiteX104" fmla="*/ 52387 w 2171700"/>
              <a:gd name="connsiteY104" fmla="*/ 1348213 h 2164296"/>
              <a:gd name="connsiteX105" fmla="*/ 38100 w 2171700"/>
              <a:gd name="connsiteY105" fmla="*/ 1329163 h 2164296"/>
              <a:gd name="connsiteX106" fmla="*/ 33337 w 2171700"/>
              <a:gd name="connsiteY106" fmla="*/ 1305350 h 2164296"/>
              <a:gd name="connsiteX107" fmla="*/ 9525 w 2171700"/>
              <a:gd name="connsiteY107" fmla="*/ 1257725 h 2164296"/>
              <a:gd name="connsiteX108" fmla="*/ 0 w 2171700"/>
              <a:gd name="connsiteY108" fmla="*/ 1200575 h 2164296"/>
              <a:gd name="connsiteX109" fmla="*/ 4762 w 2171700"/>
              <a:gd name="connsiteY109" fmla="*/ 991025 h 2164296"/>
              <a:gd name="connsiteX110" fmla="*/ 42862 w 2171700"/>
              <a:gd name="connsiteY110" fmla="*/ 929113 h 2164296"/>
              <a:gd name="connsiteX111" fmla="*/ 66675 w 2171700"/>
              <a:gd name="connsiteY111" fmla="*/ 891013 h 2164296"/>
              <a:gd name="connsiteX112" fmla="*/ 85725 w 2171700"/>
              <a:gd name="connsiteY112" fmla="*/ 848150 h 2164296"/>
              <a:gd name="connsiteX113" fmla="*/ 109537 w 2171700"/>
              <a:gd name="connsiteY113" fmla="*/ 795763 h 2164296"/>
              <a:gd name="connsiteX114" fmla="*/ 128587 w 2171700"/>
              <a:gd name="connsiteY114" fmla="*/ 762425 h 2164296"/>
              <a:gd name="connsiteX115" fmla="*/ 147637 w 2171700"/>
              <a:gd name="connsiteY115" fmla="*/ 733850 h 2164296"/>
              <a:gd name="connsiteX116" fmla="*/ 209550 w 2171700"/>
              <a:gd name="connsiteY116" fmla="*/ 610025 h 2164296"/>
              <a:gd name="connsiteX117" fmla="*/ 214312 w 2171700"/>
              <a:gd name="connsiteY117" fmla="*/ 581450 h 2164296"/>
              <a:gd name="connsiteX118" fmla="*/ 238125 w 2171700"/>
              <a:gd name="connsiteY118" fmla="*/ 538588 h 2164296"/>
              <a:gd name="connsiteX119" fmla="*/ 252412 w 2171700"/>
              <a:gd name="connsiteY119" fmla="*/ 500488 h 2164296"/>
              <a:gd name="connsiteX120" fmla="*/ 266700 w 2171700"/>
              <a:gd name="connsiteY120" fmla="*/ 471913 h 2164296"/>
              <a:gd name="connsiteX121" fmla="*/ 276225 w 2171700"/>
              <a:gd name="connsiteY121" fmla="*/ 443338 h 2164296"/>
              <a:gd name="connsiteX122" fmla="*/ 285750 w 2171700"/>
              <a:gd name="connsiteY122" fmla="*/ 429050 h 2164296"/>
              <a:gd name="connsiteX123" fmla="*/ 295275 w 2171700"/>
              <a:gd name="connsiteY123" fmla="*/ 405238 h 2164296"/>
              <a:gd name="connsiteX124" fmla="*/ 314325 w 2171700"/>
              <a:gd name="connsiteY124" fmla="*/ 381425 h 2164296"/>
              <a:gd name="connsiteX125" fmla="*/ 333375 w 2171700"/>
              <a:gd name="connsiteY125" fmla="*/ 333800 h 2164296"/>
              <a:gd name="connsiteX126" fmla="*/ 361950 w 2171700"/>
              <a:gd name="connsiteY126" fmla="*/ 290938 h 2164296"/>
              <a:gd name="connsiteX127" fmla="*/ 385762 w 2171700"/>
              <a:gd name="connsiteY127" fmla="*/ 248075 h 2164296"/>
              <a:gd name="connsiteX128" fmla="*/ 400050 w 2171700"/>
              <a:gd name="connsiteY128" fmla="*/ 229025 h 2164296"/>
              <a:gd name="connsiteX129" fmla="*/ 423862 w 2171700"/>
              <a:gd name="connsiteY129" fmla="*/ 214738 h 2164296"/>
              <a:gd name="connsiteX130" fmla="*/ 447675 w 2171700"/>
              <a:gd name="connsiteY130" fmla="*/ 190925 h 2164296"/>
              <a:gd name="connsiteX131" fmla="*/ 461962 w 2171700"/>
              <a:gd name="connsiteY131" fmla="*/ 181400 h 2164296"/>
              <a:gd name="connsiteX132" fmla="*/ 495300 w 2171700"/>
              <a:gd name="connsiteY132" fmla="*/ 143300 h 2164296"/>
              <a:gd name="connsiteX133" fmla="*/ 509587 w 2171700"/>
              <a:gd name="connsiteY133" fmla="*/ 133775 h 2164296"/>
              <a:gd name="connsiteX134" fmla="*/ 619125 w 2171700"/>
              <a:gd name="connsiteY134" fmla="*/ 71863 h 2164296"/>
              <a:gd name="connsiteX135" fmla="*/ 633412 w 2171700"/>
              <a:gd name="connsiteY135" fmla="*/ 52813 h 2164296"/>
              <a:gd name="connsiteX136" fmla="*/ 652462 w 2171700"/>
              <a:gd name="connsiteY136" fmla="*/ 48050 h 2164296"/>
              <a:gd name="connsiteX137" fmla="*/ 676275 w 2171700"/>
              <a:gd name="connsiteY137" fmla="*/ 38525 h 2164296"/>
              <a:gd name="connsiteX138" fmla="*/ 719137 w 2171700"/>
              <a:gd name="connsiteY138" fmla="*/ 24238 h 2164296"/>
              <a:gd name="connsiteX139" fmla="*/ 747712 w 2171700"/>
              <a:gd name="connsiteY139" fmla="*/ 14713 h 2164296"/>
              <a:gd name="connsiteX140" fmla="*/ 795337 w 2171700"/>
              <a:gd name="connsiteY140" fmla="*/ 9950 h 2164296"/>
              <a:gd name="connsiteX141" fmla="*/ 866775 w 2171700"/>
              <a:gd name="connsiteY14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47675 w 2171700"/>
              <a:gd name="connsiteY86" fmla="*/ 1781600 h 2164296"/>
              <a:gd name="connsiteX87" fmla="*/ 400050 w 2171700"/>
              <a:gd name="connsiteY87" fmla="*/ 1738738 h 2164296"/>
              <a:gd name="connsiteX88" fmla="*/ 381000 w 2171700"/>
              <a:gd name="connsiteY88" fmla="*/ 1705400 h 2164296"/>
              <a:gd name="connsiteX89" fmla="*/ 366712 w 2171700"/>
              <a:gd name="connsiteY89" fmla="*/ 1686350 h 2164296"/>
              <a:gd name="connsiteX90" fmla="*/ 347662 w 2171700"/>
              <a:gd name="connsiteY90" fmla="*/ 1657775 h 2164296"/>
              <a:gd name="connsiteX91" fmla="*/ 290512 w 2171700"/>
              <a:gd name="connsiteY91" fmla="*/ 1600625 h 2164296"/>
              <a:gd name="connsiteX92" fmla="*/ 266700 w 2171700"/>
              <a:gd name="connsiteY92" fmla="*/ 1576813 h 2164296"/>
              <a:gd name="connsiteX93" fmla="*/ 252412 w 2171700"/>
              <a:gd name="connsiteY93" fmla="*/ 1562525 h 2164296"/>
              <a:gd name="connsiteX94" fmla="*/ 214312 w 2171700"/>
              <a:gd name="connsiteY94" fmla="*/ 1538713 h 2164296"/>
              <a:gd name="connsiteX95" fmla="*/ 190500 w 2171700"/>
              <a:gd name="connsiteY95" fmla="*/ 1510138 h 2164296"/>
              <a:gd name="connsiteX96" fmla="*/ 166687 w 2171700"/>
              <a:gd name="connsiteY96" fmla="*/ 1491088 h 2164296"/>
              <a:gd name="connsiteX97" fmla="*/ 147637 w 2171700"/>
              <a:gd name="connsiteY97" fmla="*/ 1462513 h 2164296"/>
              <a:gd name="connsiteX98" fmla="*/ 123825 w 2171700"/>
              <a:gd name="connsiteY98" fmla="*/ 1438700 h 2164296"/>
              <a:gd name="connsiteX99" fmla="*/ 114300 w 2171700"/>
              <a:gd name="connsiteY99" fmla="*/ 1424413 h 2164296"/>
              <a:gd name="connsiteX100" fmla="*/ 95250 w 2171700"/>
              <a:gd name="connsiteY100" fmla="*/ 1405363 h 2164296"/>
              <a:gd name="connsiteX101" fmla="*/ 76200 w 2171700"/>
              <a:gd name="connsiteY101" fmla="*/ 1376788 h 2164296"/>
              <a:gd name="connsiteX102" fmla="*/ 61912 w 2171700"/>
              <a:gd name="connsiteY102" fmla="*/ 1362500 h 2164296"/>
              <a:gd name="connsiteX103" fmla="*/ 52387 w 2171700"/>
              <a:gd name="connsiteY103" fmla="*/ 1348213 h 2164296"/>
              <a:gd name="connsiteX104" fmla="*/ 38100 w 2171700"/>
              <a:gd name="connsiteY104" fmla="*/ 1329163 h 2164296"/>
              <a:gd name="connsiteX105" fmla="*/ 33337 w 2171700"/>
              <a:gd name="connsiteY105" fmla="*/ 1305350 h 2164296"/>
              <a:gd name="connsiteX106" fmla="*/ 9525 w 2171700"/>
              <a:gd name="connsiteY106" fmla="*/ 1257725 h 2164296"/>
              <a:gd name="connsiteX107" fmla="*/ 0 w 2171700"/>
              <a:gd name="connsiteY107" fmla="*/ 1200575 h 2164296"/>
              <a:gd name="connsiteX108" fmla="*/ 4762 w 2171700"/>
              <a:gd name="connsiteY108" fmla="*/ 991025 h 2164296"/>
              <a:gd name="connsiteX109" fmla="*/ 42862 w 2171700"/>
              <a:gd name="connsiteY109" fmla="*/ 929113 h 2164296"/>
              <a:gd name="connsiteX110" fmla="*/ 66675 w 2171700"/>
              <a:gd name="connsiteY110" fmla="*/ 891013 h 2164296"/>
              <a:gd name="connsiteX111" fmla="*/ 85725 w 2171700"/>
              <a:gd name="connsiteY111" fmla="*/ 848150 h 2164296"/>
              <a:gd name="connsiteX112" fmla="*/ 109537 w 2171700"/>
              <a:gd name="connsiteY112" fmla="*/ 795763 h 2164296"/>
              <a:gd name="connsiteX113" fmla="*/ 128587 w 2171700"/>
              <a:gd name="connsiteY113" fmla="*/ 762425 h 2164296"/>
              <a:gd name="connsiteX114" fmla="*/ 147637 w 2171700"/>
              <a:gd name="connsiteY114" fmla="*/ 733850 h 2164296"/>
              <a:gd name="connsiteX115" fmla="*/ 209550 w 2171700"/>
              <a:gd name="connsiteY115" fmla="*/ 610025 h 2164296"/>
              <a:gd name="connsiteX116" fmla="*/ 214312 w 2171700"/>
              <a:gd name="connsiteY116" fmla="*/ 581450 h 2164296"/>
              <a:gd name="connsiteX117" fmla="*/ 238125 w 2171700"/>
              <a:gd name="connsiteY117" fmla="*/ 538588 h 2164296"/>
              <a:gd name="connsiteX118" fmla="*/ 252412 w 2171700"/>
              <a:gd name="connsiteY118" fmla="*/ 500488 h 2164296"/>
              <a:gd name="connsiteX119" fmla="*/ 266700 w 2171700"/>
              <a:gd name="connsiteY119" fmla="*/ 471913 h 2164296"/>
              <a:gd name="connsiteX120" fmla="*/ 276225 w 2171700"/>
              <a:gd name="connsiteY120" fmla="*/ 443338 h 2164296"/>
              <a:gd name="connsiteX121" fmla="*/ 285750 w 2171700"/>
              <a:gd name="connsiteY121" fmla="*/ 429050 h 2164296"/>
              <a:gd name="connsiteX122" fmla="*/ 295275 w 2171700"/>
              <a:gd name="connsiteY122" fmla="*/ 405238 h 2164296"/>
              <a:gd name="connsiteX123" fmla="*/ 314325 w 2171700"/>
              <a:gd name="connsiteY123" fmla="*/ 381425 h 2164296"/>
              <a:gd name="connsiteX124" fmla="*/ 333375 w 2171700"/>
              <a:gd name="connsiteY124" fmla="*/ 333800 h 2164296"/>
              <a:gd name="connsiteX125" fmla="*/ 361950 w 2171700"/>
              <a:gd name="connsiteY125" fmla="*/ 290938 h 2164296"/>
              <a:gd name="connsiteX126" fmla="*/ 385762 w 2171700"/>
              <a:gd name="connsiteY126" fmla="*/ 248075 h 2164296"/>
              <a:gd name="connsiteX127" fmla="*/ 400050 w 2171700"/>
              <a:gd name="connsiteY127" fmla="*/ 229025 h 2164296"/>
              <a:gd name="connsiteX128" fmla="*/ 423862 w 2171700"/>
              <a:gd name="connsiteY128" fmla="*/ 214738 h 2164296"/>
              <a:gd name="connsiteX129" fmla="*/ 447675 w 2171700"/>
              <a:gd name="connsiteY129" fmla="*/ 190925 h 2164296"/>
              <a:gd name="connsiteX130" fmla="*/ 461962 w 2171700"/>
              <a:gd name="connsiteY130" fmla="*/ 181400 h 2164296"/>
              <a:gd name="connsiteX131" fmla="*/ 495300 w 2171700"/>
              <a:gd name="connsiteY131" fmla="*/ 143300 h 2164296"/>
              <a:gd name="connsiteX132" fmla="*/ 509587 w 2171700"/>
              <a:gd name="connsiteY132" fmla="*/ 133775 h 2164296"/>
              <a:gd name="connsiteX133" fmla="*/ 619125 w 2171700"/>
              <a:gd name="connsiteY133" fmla="*/ 71863 h 2164296"/>
              <a:gd name="connsiteX134" fmla="*/ 633412 w 2171700"/>
              <a:gd name="connsiteY134" fmla="*/ 52813 h 2164296"/>
              <a:gd name="connsiteX135" fmla="*/ 652462 w 2171700"/>
              <a:gd name="connsiteY135" fmla="*/ 48050 h 2164296"/>
              <a:gd name="connsiteX136" fmla="*/ 676275 w 2171700"/>
              <a:gd name="connsiteY136" fmla="*/ 38525 h 2164296"/>
              <a:gd name="connsiteX137" fmla="*/ 719137 w 2171700"/>
              <a:gd name="connsiteY137" fmla="*/ 24238 h 2164296"/>
              <a:gd name="connsiteX138" fmla="*/ 747712 w 2171700"/>
              <a:gd name="connsiteY138" fmla="*/ 14713 h 2164296"/>
              <a:gd name="connsiteX139" fmla="*/ 795337 w 2171700"/>
              <a:gd name="connsiteY139" fmla="*/ 9950 h 2164296"/>
              <a:gd name="connsiteX140" fmla="*/ 866775 w 2171700"/>
              <a:gd name="connsiteY14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00050 w 2171700"/>
              <a:gd name="connsiteY86" fmla="*/ 1738738 h 2164296"/>
              <a:gd name="connsiteX87" fmla="*/ 381000 w 2171700"/>
              <a:gd name="connsiteY87" fmla="*/ 1705400 h 2164296"/>
              <a:gd name="connsiteX88" fmla="*/ 366712 w 2171700"/>
              <a:gd name="connsiteY88" fmla="*/ 1686350 h 2164296"/>
              <a:gd name="connsiteX89" fmla="*/ 347662 w 2171700"/>
              <a:gd name="connsiteY89" fmla="*/ 1657775 h 2164296"/>
              <a:gd name="connsiteX90" fmla="*/ 290512 w 2171700"/>
              <a:gd name="connsiteY90" fmla="*/ 1600625 h 2164296"/>
              <a:gd name="connsiteX91" fmla="*/ 266700 w 2171700"/>
              <a:gd name="connsiteY91" fmla="*/ 1576813 h 2164296"/>
              <a:gd name="connsiteX92" fmla="*/ 252412 w 2171700"/>
              <a:gd name="connsiteY92" fmla="*/ 1562525 h 2164296"/>
              <a:gd name="connsiteX93" fmla="*/ 214312 w 2171700"/>
              <a:gd name="connsiteY93" fmla="*/ 1538713 h 2164296"/>
              <a:gd name="connsiteX94" fmla="*/ 190500 w 2171700"/>
              <a:gd name="connsiteY94" fmla="*/ 1510138 h 2164296"/>
              <a:gd name="connsiteX95" fmla="*/ 166687 w 2171700"/>
              <a:gd name="connsiteY95" fmla="*/ 1491088 h 2164296"/>
              <a:gd name="connsiteX96" fmla="*/ 147637 w 2171700"/>
              <a:gd name="connsiteY96" fmla="*/ 1462513 h 2164296"/>
              <a:gd name="connsiteX97" fmla="*/ 123825 w 2171700"/>
              <a:gd name="connsiteY97" fmla="*/ 1438700 h 2164296"/>
              <a:gd name="connsiteX98" fmla="*/ 114300 w 2171700"/>
              <a:gd name="connsiteY98" fmla="*/ 1424413 h 2164296"/>
              <a:gd name="connsiteX99" fmla="*/ 95250 w 2171700"/>
              <a:gd name="connsiteY99" fmla="*/ 1405363 h 2164296"/>
              <a:gd name="connsiteX100" fmla="*/ 76200 w 2171700"/>
              <a:gd name="connsiteY100" fmla="*/ 1376788 h 2164296"/>
              <a:gd name="connsiteX101" fmla="*/ 61912 w 2171700"/>
              <a:gd name="connsiteY101" fmla="*/ 1362500 h 2164296"/>
              <a:gd name="connsiteX102" fmla="*/ 52387 w 2171700"/>
              <a:gd name="connsiteY102" fmla="*/ 1348213 h 2164296"/>
              <a:gd name="connsiteX103" fmla="*/ 38100 w 2171700"/>
              <a:gd name="connsiteY103" fmla="*/ 1329163 h 2164296"/>
              <a:gd name="connsiteX104" fmla="*/ 33337 w 2171700"/>
              <a:gd name="connsiteY104" fmla="*/ 1305350 h 2164296"/>
              <a:gd name="connsiteX105" fmla="*/ 9525 w 2171700"/>
              <a:gd name="connsiteY105" fmla="*/ 1257725 h 2164296"/>
              <a:gd name="connsiteX106" fmla="*/ 0 w 2171700"/>
              <a:gd name="connsiteY106" fmla="*/ 1200575 h 2164296"/>
              <a:gd name="connsiteX107" fmla="*/ 4762 w 2171700"/>
              <a:gd name="connsiteY107" fmla="*/ 991025 h 2164296"/>
              <a:gd name="connsiteX108" fmla="*/ 42862 w 2171700"/>
              <a:gd name="connsiteY108" fmla="*/ 929113 h 2164296"/>
              <a:gd name="connsiteX109" fmla="*/ 66675 w 2171700"/>
              <a:gd name="connsiteY109" fmla="*/ 891013 h 2164296"/>
              <a:gd name="connsiteX110" fmla="*/ 85725 w 2171700"/>
              <a:gd name="connsiteY110" fmla="*/ 848150 h 2164296"/>
              <a:gd name="connsiteX111" fmla="*/ 109537 w 2171700"/>
              <a:gd name="connsiteY111" fmla="*/ 795763 h 2164296"/>
              <a:gd name="connsiteX112" fmla="*/ 128587 w 2171700"/>
              <a:gd name="connsiteY112" fmla="*/ 762425 h 2164296"/>
              <a:gd name="connsiteX113" fmla="*/ 147637 w 2171700"/>
              <a:gd name="connsiteY113" fmla="*/ 733850 h 2164296"/>
              <a:gd name="connsiteX114" fmla="*/ 209550 w 2171700"/>
              <a:gd name="connsiteY114" fmla="*/ 610025 h 2164296"/>
              <a:gd name="connsiteX115" fmla="*/ 214312 w 2171700"/>
              <a:gd name="connsiteY115" fmla="*/ 581450 h 2164296"/>
              <a:gd name="connsiteX116" fmla="*/ 238125 w 2171700"/>
              <a:gd name="connsiteY116" fmla="*/ 538588 h 2164296"/>
              <a:gd name="connsiteX117" fmla="*/ 252412 w 2171700"/>
              <a:gd name="connsiteY117" fmla="*/ 500488 h 2164296"/>
              <a:gd name="connsiteX118" fmla="*/ 266700 w 2171700"/>
              <a:gd name="connsiteY118" fmla="*/ 471913 h 2164296"/>
              <a:gd name="connsiteX119" fmla="*/ 276225 w 2171700"/>
              <a:gd name="connsiteY119" fmla="*/ 443338 h 2164296"/>
              <a:gd name="connsiteX120" fmla="*/ 285750 w 2171700"/>
              <a:gd name="connsiteY120" fmla="*/ 429050 h 2164296"/>
              <a:gd name="connsiteX121" fmla="*/ 295275 w 2171700"/>
              <a:gd name="connsiteY121" fmla="*/ 405238 h 2164296"/>
              <a:gd name="connsiteX122" fmla="*/ 314325 w 2171700"/>
              <a:gd name="connsiteY122" fmla="*/ 381425 h 2164296"/>
              <a:gd name="connsiteX123" fmla="*/ 333375 w 2171700"/>
              <a:gd name="connsiteY123" fmla="*/ 333800 h 2164296"/>
              <a:gd name="connsiteX124" fmla="*/ 361950 w 2171700"/>
              <a:gd name="connsiteY124" fmla="*/ 290938 h 2164296"/>
              <a:gd name="connsiteX125" fmla="*/ 385762 w 2171700"/>
              <a:gd name="connsiteY125" fmla="*/ 248075 h 2164296"/>
              <a:gd name="connsiteX126" fmla="*/ 400050 w 2171700"/>
              <a:gd name="connsiteY126" fmla="*/ 229025 h 2164296"/>
              <a:gd name="connsiteX127" fmla="*/ 423862 w 2171700"/>
              <a:gd name="connsiteY127" fmla="*/ 214738 h 2164296"/>
              <a:gd name="connsiteX128" fmla="*/ 447675 w 2171700"/>
              <a:gd name="connsiteY128" fmla="*/ 190925 h 2164296"/>
              <a:gd name="connsiteX129" fmla="*/ 461962 w 2171700"/>
              <a:gd name="connsiteY129" fmla="*/ 181400 h 2164296"/>
              <a:gd name="connsiteX130" fmla="*/ 495300 w 2171700"/>
              <a:gd name="connsiteY130" fmla="*/ 143300 h 2164296"/>
              <a:gd name="connsiteX131" fmla="*/ 509587 w 2171700"/>
              <a:gd name="connsiteY131" fmla="*/ 133775 h 2164296"/>
              <a:gd name="connsiteX132" fmla="*/ 619125 w 2171700"/>
              <a:gd name="connsiteY132" fmla="*/ 71863 h 2164296"/>
              <a:gd name="connsiteX133" fmla="*/ 633412 w 2171700"/>
              <a:gd name="connsiteY133" fmla="*/ 52813 h 2164296"/>
              <a:gd name="connsiteX134" fmla="*/ 652462 w 2171700"/>
              <a:gd name="connsiteY134" fmla="*/ 48050 h 2164296"/>
              <a:gd name="connsiteX135" fmla="*/ 676275 w 2171700"/>
              <a:gd name="connsiteY135" fmla="*/ 38525 h 2164296"/>
              <a:gd name="connsiteX136" fmla="*/ 719137 w 2171700"/>
              <a:gd name="connsiteY136" fmla="*/ 24238 h 2164296"/>
              <a:gd name="connsiteX137" fmla="*/ 747712 w 2171700"/>
              <a:gd name="connsiteY137" fmla="*/ 14713 h 2164296"/>
              <a:gd name="connsiteX138" fmla="*/ 795337 w 2171700"/>
              <a:gd name="connsiteY138" fmla="*/ 9950 h 2164296"/>
              <a:gd name="connsiteX139" fmla="*/ 866775 w 2171700"/>
              <a:gd name="connsiteY13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400050 w 2171700"/>
              <a:gd name="connsiteY85" fmla="*/ 1738738 h 2164296"/>
              <a:gd name="connsiteX86" fmla="*/ 381000 w 2171700"/>
              <a:gd name="connsiteY86" fmla="*/ 1705400 h 2164296"/>
              <a:gd name="connsiteX87" fmla="*/ 366712 w 2171700"/>
              <a:gd name="connsiteY87" fmla="*/ 1686350 h 2164296"/>
              <a:gd name="connsiteX88" fmla="*/ 347662 w 2171700"/>
              <a:gd name="connsiteY88" fmla="*/ 1657775 h 2164296"/>
              <a:gd name="connsiteX89" fmla="*/ 290512 w 2171700"/>
              <a:gd name="connsiteY89" fmla="*/ 1600625 h 2164296"/>
              <a:gd name="connsiteX90" fmla="*/ 266700 w 2171700"/>
              <a:gd name="connsiteY90" fmla="*/ 1576813 h 2164296"/>
              <a:gd name="connsiteX91" fmla="*/ 252412 w 2171700"/>
              <a:gd name="connsiteY91" fmla="*/ 1562525 h 2164296"/>
              <a:gd name="connsiteX92" fmla="*/ 214312 w 2171700"/>
              <a:gd name="connsiteY92" fmla="*/ 1538713 h 2164296"/>
              <a:gd name="connsiteX93" fmla="*/ 190500 w 2171700"/>
              <a:gd name="connsiteY93" fmla="*/ 1510138 h 2164296"/>
              <a:gd name="connsiteX94" fmla="*/ 166687 w 2171700"/>
              <a:gd name="connsiteY94" fmla="*/ 1491088 h 2164296"/>
              <a:gd name="connsiteX95" fmla="*/ 147637 w 2171700"/>
              <a:gd name="connsiteY95" fmla="*/ 1462513 h 2164296"/>
              <a:gd name="connsiteX96" fmla="*/ 123825 w 2171700"/>
              <a:gd name="connsiteY96" fmla="*/ 1438700 h 2164296"/>
              <a:gd name="connsiteX97" fmla="*/ 114300 w 2171700"/>
              <a:gd name="connsiteY97" fmla="*/ 1424413 h 2164296"/>
              <a:gd name="connsiteX98" fmla="*/ 95250 w 2171700"/>
              <a:gd name="connsiteY98" fmla="*/ 1405363 h 2164296"/>
              <a:gd name="connsiteX99" fmla="*/ 76200 w 2171700"/>
              <a:gd name="connsiteY99" fmla="*/ 1376788 h 2164296"/>
              <a:gd name="connsiteX100" fmla="*/ 61912 w 2171700"/>
              <a:gd name="connsiteY100" fmla="*/ 1362500 h 2164296"/>
              <a:gd name="connsiteX101" fmla="*/ 52387 w 2171700"/>
              <a:gd name="connsiteY101" fmla="*/ 1348213 h 2164296"/>
              <a:gd name="connsiteX102" fmla="*/ 38100 w 2171700"/>
              <a:gd name="connsiteY102" fmla="*/ 1329163 h 2164296"/>
              <a:gd name="connsiteX103" fmla="*/ 33337 w 2171700"/>
              <a:gd name="connsiteY103" fmla="*/ 1305350 h 2164296"/>
              <a:gd name="connsiteX104" fmla="*/ 9525 w 2171700"/>
              <a:gd name="connsiteY104" fmla="*/ 1257725 h 2164296"/>
              <a:gd name="connsiteX105" fmla="*/ 0 w 2171700"/>
              <a:gd name="connsiteY105" fmla="*/ 1200575 h 2164296"/>
              <a:gd name="connsiteX106" fmla="*/ 4762 w 2171700"/>
              <a:gd name="connsiteY106" fmla="*/ 991025 h 2164296"/>
              <a:gd name="connsiteX107" fmla="*/ 42862 w 2171700"/>
              <a:gd name="connsiteY107" fmla="*/ 929113 h 2164296"/>
              <a:gd name="connsiteX108" fmla="*/ 66675 w 2171700"/>
              <a:gd name="connsiteY108" fmla="*/ 891013 h 2164296"/>
              <a:gd name="connsiteX109" fmla="*/ 85725 w 2171700"/>
              <a:gd name="connsiteY109" fmla="*/ 848150 h 2164296"/>
              <a:gd name="connsiteX110" fmla="*/ 109537 w 2171700"/>
              <a:gd name="connsiteY110" fmla="*/ 795763 h 2164296"/>
              <a:gd name="connsiteX111" fmla="*/ 128587 w 2171700"/>
              <a:gd name="connsiteY111" fmla="*/ 762425 h 2164296"/>
              <a:gd name="connsiteX112" fmla="*/ 147637 w 2171700"/>
              <a:gd name="connsiteY112" fmla="*/ 733850 h 2164296"/>
              <a:gd name="connsiteX113" fmla="*/ 209550 w 2171700"/>
              <a:gd name="connsiteY113" fmla="*/ 610025 h 2164296"/>
              <a:gd name="connsiteX114" fmla="*/ 214312 w 2171700"/>
              <a:gd name="connsiteY114" fmla="*/ 581450 h 2164296"/>
              <a:gd name="connsiteX115" fmla="*/ 238125 w 2171700"/>
              <a:gd name="connsiteY115" fmla="*/ 538588 h 2164296"/>
              <a:gd name="connsiteX116" fmla="*/ 252412 w 2171700"/>
              <a:gd name="connsiteY116" fmla="*/ 500488 h 2164296"/>
              <a:gd name="connsiteX117" fmla="*/ 266700 w 2171700"/>
              <a:gd name="connsiteY117" fmla="*/ 471913 h 2164296"/>
              <a:gd name="connsiteX118" fmla="*/ 276225 w 2171700"/>
              <a:gd name="connsiteY118" fmla="*/ 443338 h 2164296"/>
              <a:gd name="connsiteX119" fmla="*/ 285750 w 2171700"/>
              <a:gd name="connsiteY119" fmla="*/ 429050 h 2164296"/>
              <a:gd name="connsiteX120" fmla="*/ 295275 w 2171700"/>
              <a:gd name="connsiteY120" fmla="*/ 405238 h 2164296"/>
              <a:gd name="connsiteX121" fmla="*/ 314325 w 2171700"/>
              <a:gd name="connsiteY121" fmla="*/ 381425 h 2164296"/>
              <a:gd name="connsiteX122" fmla="*/ 333375 w 2171700"/>
              <a:gd name="connsiteY122" fmla="*/ 333800 h 2164296"/>
              <a:gd name="connsiteX123" fmla="*/ 361950 w 2171700"/>
              <a:gd name="connsiteY123" fmla="*/ 290938 h 2164296"/>
              <a:gd name="connsiteX124" fmla="*/ 385762 w 2171700"/>
              <a:gd name="connsiteY124" fmla="*/ 248075 h 2164296"/>
              <a:gd name="connsiteX125" fmla="*/ 400050 w 2171700"/>
              <a:gd name="connsiteY125" fmla="*/ 229025 h 2164296"/>
              <a:gd name="connsiteX126" fmla="*/ 423862 w 2171700"/>
              <a:gd name="connsiteY126" fmla="*/ 214738 h 2164296"/>
              <a:gd name="connsiteX127" fmla="*/ 447675 w 2171700"/>
              <a:gd name="connsiteY127" fmla="*/ 190925 h 2164296"/>
              <a:gd name="connsiteX128" fmla="*/ 461962 w 2171700"/>
              <a:gd name="connsiteY128" fmla="*/ 181400 h 2164296"/>
              <a:gd name="connsiteX129" fmla="*/ 495300 w 2171700"/>
              <a:gd name="connsiteY129" fmla="*/ 143300 h 2164296"/>
              <a:gd name="connsiteX130" fmla="*/ 509587 w 2171700"/>
              <a:gd name="connsiteY130" fmla="*/ 133775 h 2164296"/>
              <a:gd name="connsiteX131" fmla="*/ 619125 w 2171700"/>
              <a:gd name="connsiteY131" fmla="*/ 71863 h 2164296"/>
              <a:gd name="connsiteX132" fmla="*/ 633412 w 2171700"/>
              <a:gd name="connsiteY132" fmla="*/ 52813 h 2164296"/>
              <a:gd name="connsiteX133" fmla="*/ 652462 w 2171700"/>
              <a:gd name="connsiteY133" fmla="*/ 48050 h 2164296"/>
              <a:gd name="connsiteX134" fmla="*/ 676275 w 2171700"/>
              <a:gd name="connsiteY134" fmla="*/ 38525 h 2164296"/>
              <a:gd name="connsiteX135" fmla="*/ 719137 w 2171700"/>
              <a:gd name="connsiteY135" fmla="*/ 24238 h 2164296"/>
              <a:gd name="connsiteX136" fmla="*/ 747712 w 2171700"/>
              <a:gd name="connsiteY136" fmla="*/ 14713 h 2164296"/>
              <a:gd name="connsiteX137" fmla="*/ 795337 w 2171700"/>
              <a:gd name="connsiteY137" fmla="*/ 9950 h 2164296"/>
              <a:gd name="connsiteX138" fmla="*/ 866775 w 2171700"/>
              <a:gd name="connsiteY13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381000 w 2171700"/>
              <a:gd name="connsiteY85" fmla="*/ 1705400 h 2164296"/>
              <a:gd name="connsiteX86" fmla="*/ 366712 w 2171700"/>
              <a:gd name="connsiteY86" fmla="*/ 1686350 h 2164296"/>
              <a:gd name="connsiteX87" fmla="*/ 347662 w 2171700"/>
              <a:gd name="connsiteY87" fmla="*/ 1657775 h 2164296"/>
              <a:gd name="connsiteX88" fmla="*/ 290512 w 2171700"/>
              <a:gd name="connsiteY88" fmla="*/ 1600625 h 2164296"/>
              <a:gd name="connsiteX89" fmla="*/ 266700 w 2171700"/>
              <a:gd name="connsiteY89" fmla="*/ 1576813 h 2164296"/>
              <a:gd name="connsiteX90" fmla="*/ 252412 w 2171700"/>
              <a:gd name="connsiteY90" fmla="*/ 1562525 h 2164296"/>
              <a:gd name="connsiteX91" fmla="*/ 214312 w 2171700"/>
              <a:gd name="connsiteY91" fmla="*/ 1538713 h 2164296"/>
              <a:gd name="connsiteX92" fmla="*/ 190500 w 2171700"/>
              <a:gd name="connsiteY92" fmla="*/ 1510138 h 2164296"/>
              <a:gd name="connsiteX93" fmla="*/ 166687 w 2171700"/>
              <a:gd name="connsiteY93" fmla="*/ 1491088 h 2164296"/>
              <a:gd name="connsiteX94" fmla="*/ 147637 w 2171700"/>
              <a:gd name="connsiteY94" fmla="*/ 1462513 h 2164296"/>
              <a:gd name="connsiteX95" fmla="*/ 123825 w 2171700"/>
              <a:gd name="connsiteY95" fmla="*/ 1438700 h 2164296"/>
              <a:gd name="connsiteX96" fmla="*/ 114300 w 2171700"/>
              <a:gd name="connsiteY96" fmla="*/ 1424413 h 2164296"/>
              <a:gd name="connsiteX97" fmla="*/ 95250 w 2171700"/>
              <a:gd name="connsiteY97" fmla="*/ 1405363 h 2164296"/>
              <a:gd name="connsiteX98" fmla="*/ 76200 w 2171700"/>
              <a:gd name="connsiteY98" fmla="*/ 1376788 h 2164296"/>
              <a:gd name="connsiteX99" fmla="*/ 61912 w 2171700"/>
              <a:gd name="connsiteY99" fmla="*/ 1362500 h 2164296"/>
              <a:gd name="connsiteX100" fmla="*/ 52387 w 2171700"/>
              <a:gd name="connsiteY100" fmla="*/ 1348213 h 2164296"/>
              <a:gd name="connsiteX101" fmla="*/ 38100 w 2171700"/>
              <a:gd name="connsiteY101" fmla="*/ 1329163 h 2164296"/>
              <a:gd name="connsiteX102" fmla="*/ 33337 w 2171700"/>
              <a:gd name="connsiteY102" fmla="*/ 1305350 h 2164296"/>
              <a:gd name="connsiteX103" fmla="*/ 9525 w 2171700"/>
              <a:gd name="connsiteY103" fmla="*/ 1257725 h 2164296"/>
              <a:gd name="connsiteX104" fmla="*/ 0 w 2171700"/>
              <a:gd name="connsiteY104" fmla="*/ 1200575 h 2164296"/>
              <a:gd name="connsiteX105" fmla="*/ 4762 w 2171700"/>
              <a:gd name="connsiteY105" fmla="*/ 991025 h 2164296"/>
              <a:gd name="connsiteX106" fmla="*/ 42862 w 2171700"/>
              <a:gd name="connsiteY106" fmla="*/ 929113 h 2164296"/>
              <a:gd name="connsiteX107" fmla="*/ 66675 w 2171700"/>
              <a:gd name="connsiteY107" fmla="*/ 891013 h 2164296"/>
              <a:gd name="connsiteX108" fmla="*/ 85725 w 2171700"/>
              <a:gd name="connsiteY108" fmla="*/ 848150 h 2164296"/>
              <a:gd name="connsiteX109" fmla="*/ 109537 w 2171700"/>
              <a:gd name="connsiteY109" fmla="*/ 795763 h 2164296"/>
              <a:gd name="connsiteX110" fmla="*/ 128587 w 2171700"/>
              <a:gd name="connsiteY110" fmla="*/ 762425 h 2164296"/>
              <a:gd name="connsiteX111" fmla="*/ 147637 w 2171700"/>
              <a:gd name="connsiteY111" fmla="*/ 733850 h 2164296"/>
              <a:gd name="connsiteX112" fmla="*/ 209550 w 2171700"/>
              <a:gd name="connsiteY112" fmla="*/ 610025 h 2164296"/>
              <a:gd name="connsiteX113" fmla="*/ 214312 w 2171700"/>
              <a:gd name="connsiteY113" fmla="*/ 581450 h 2164296"/>
              <a:gd name="connsiteX114" fmla="*/ 238125 w 2171700"/>
              <a:gd name="connsiteY114" fmla="*/ 538588 h 2164296"/>
              <a:gd name="connsiteX115" fmla="*/ 252412 w 2171700"/>
              <a:gd name="connsiteY115" fmla="*/ 500488 h 2164296"/>
              <a:gd name="connsiteX116" fmla="*/ 266700 w 2171700"/>
              <a:gd name="connsiteY116" fmla="*/ 471913 h 2164296"/>
              <a:gd name="connsiteX117" fmla="*/ 276225 w 2171700"/>
              <a:gd name="connsiteY117" fmla="*/ 443338 h 2164296"/>
              <a:gd name="connsiteX118" fmla="*/ 285750 w 2171700"/>
              <a:gd name="connsiteY118" fmla="*/ 429050 h 2164296"/>
              <a:gd name="connsiteX119" fmla="*/ 295275 w 2171700"/>
              <a:gd name="connsiteY119" fmla="*/ 405238 h 2164296"/>
              <a:gd name="connsiteX120" fmla="*/ 314325 w 2171700"/>
              <a:gd name="connsiteY120" fmla="*/ 381425 h 2164296"/>
              <a:gd name="connsiteX121" fmla="*/ 333375 w 2171700"/>
              <a:gd name="connsiteY121" fmla="*/ 333800 h 2164296"/>
              <a:gd name="connsiteX122" fmla="*/ 361950 w 2171700"/>
              <a:gd name="connsiteY122" fmla="*/ 290938 h 2164296"/>
              <a:gd name="connsiteX123" fmla="*/ 385762 w 2171700"/>
              <a:gd name="connsiteY123" fmla="*/ 248075 h 2164296"/>
              <a:gd name="connsiteX124" fmla="*/ 400050 w 2171700"/>
              <a:gd name="connsiteY124" fmla="*/ 229025 h 2164296"/>
              <a:gd name="connsiteX125" fmla="*/ 423862 w 2171700"/>
              <a:gd name="connsiteY125" fmla="*/ 214738 h 2164296"/>
              <a:gd name="connsiteX126" fmla="*/ 447675 w 2171700"/>
              <a:gd name="connsiteY126" fmla="*/ 190925 h 2164296"/>
              <a:gd name="connsiteX127" fmla="*/ 461962 w 2171700"/>
              <a:gd name="connsiteY127" fmla="*/ 181400 h 2164296"/>
              <a:gd name="connsiteX128" fmla="*/ 495300 w 2171700"/>
              <a:gd name="connsiteY128" fmla="*/ 143300 h 2164296"/>
              <a:gd name="connsiteX129" fmla="*/ 509587 w 2171700"/>
              <a:gd name="connsiteY129" fmla="*/ 133775 h 2164296"/>
              <a:gd name="connsiteX130" fmla="*/ 619125 w 2171700"/>
              <a:gd name="connsiteY130" fmla="*/ 71863 h 2164296"/>
              <a:gd name="connsiteX131" fmla="*/ 633412 w 2171700"/>
              <a:gd name="connsiteY131" fmla="*/ 52813 h 2164296"/>
              <a:gd name="connsiteX132" fmla="*/ 652462 w 2171700"/>
              <a:gd name="connsiteY132" fmla="*/ 48050 h 2164296"/>
              <a:gd name="connsiteX133" fmla="*/ 676275 w 2171700"/>
              <a:gd name="connsiteY133" fmla="*/ 38525 h 2164296"/>
              <a:gd name="connsiteX134" fmla="*/ 719137 w 2171700"/>
              <a:gd name="connsiteY134" fmla="*/ 24238 h 2164296"/>
              <a:gd name="connsiteX135" fmla="*/ 747712 w 2171700"/>
              <a:gd name="connsiteY135" fmla="*/ 14713 h 2164296"/>
              <a:gd name="connsiteX136" fmla="*/ 795337 w 2171700"/>
              <a:gd name="connsiteY136" fmla="*/ 9950 h 2164296"/>
              <a:gd name="connsiteX137" fmla="*/ 866775 w 2171700"/>
              <a:gd name="connsiteY13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28587 w 2171700"/>
              <a:gd name="connsiteY109" fmla="*/ 762425 h 2164296"/>
              <a:gd name="connsiteX110" fmla="*/ 147637 w 2171700"/>
              <a:gd name="connsiteY110" fmla="*/ 733850 h 2164296"/>
              <a:gd name="connsiteX111" fmla="*/ 209550 w 2171700"/>
              <a:gd name="connsiteY111" fmla="*/ 610025 h 2164296"/>
              <a:gd name="connsiteX112" fmla="*/ 214312 w 2171700"/>
              <a:gd name="connsiteY112" fmla="*/ 581450 h 2164296"/>
              <a:gd name="connsiteX113" fmla="*/ 238125 w 2171700"/>
              <a:gd name="connsiteY113" fmla="*/ 538588 h 2164296"/>
              <a:gd name="connsiteX114" fmla="*/ 252412 w 2171700"/>
              <a:gd name="connsiteY114" fmla="*/ 500488 h 2164296"/>
              <a:gd name="connsiteX115" fmla="*/ 266700 w 2171700"/>
              <a:gd name="connsiteY115" fmla="*/ 471913 h 2164296"/>
              <a:gd name="connsiteX116" fmla="*/ 276225 w 2171700"/>
              <a:gd name="connsiteY116" fmla="*/ 443338 h 2164296"/>
              <a:gd name="connsiteX117" fmla="*/ 285750 w 2171700"/>
              <a:gd name="connsiteY117" fmla="*/ 429050 h 2164296"/>
              <a:gd name="connsiteX118" fmla="*/ 295275 w 2171700"/>
              <a:gd name="connsiteY118" fmla="*/ 405238 h 2164296"/>
              <a:gd name="connsiteX119" fmla="*/ 314325 w 2171700"/>
              <a:gd name="connsiteY119" fmla="*/ 381425 h 2164296"/>
              <a:gd name="connsiteX120" fmla="*/ 333375 w 2171700"/>
              <a:gd name="connsiteY120" fmla="*/ 333800 h 2164296"/>
              <a:gd name="connsiteX121" fmla="*/ 361950 w 2171700"/>
              <a:gd name="connsiteY121" fmla="*/ 290938 h 2164296"/>
              <a:gd name="connsiteX122" fmla="*/ 385762 w 2171700"/>
              <a:gd name="connsiteY122" fmla="*/ 248075 h 2164296"/>
              <a:gd name="connsiteX123" fmla="*/ 400050 w 2171700"/>
              <a:gd name="connsiteY123" fmla="*/ 229025 h 2164296"/>
              <a:gd name="connsiteX124" fmla="*/ 423862 w 2171700"/>
              <a:gd name="connsiteY124" fmla="*/ 214738 h 2164296"/>
              <a:gd name="connsiteX125" fmla="*/ 447675 w 2171700"/>
              <a:gd name="connsiteY125" fmla="*/ 190925 h 2164296"/>
              <a:gd name="connsiteX126" fmla="*/ 461962 w 2171700"/>
              <a:gd name="connsiteY126" fmla="*/ 181400 h 2164296"/>
              <a:gd name="connsiteX127" fmla="*/ 495300 w 2171700"/>
              <a:gd name="connsiteY127" fmla="*/ 143300 h 2164296"/>
              <a:gd name="connsiteX128" fmla="*/ 509587 w 2171700"/>
              <a:gd name="connsiteY128" fmla="*/ 133775 h 2164296"/>
              <a:gd name="connsiteX129" fmla="*/ 619125 w 2171700"/>
              <a:gd name="connsiteY129" fmla="*/ 71863 h 2164296"/>
              <a:gd name="connsiteX130" fmla="*/ 633412 w 2171700"/>
              <a:gd name="connsiteY130" fmla="*/ 52813 h 2164296"/>
              <a:gd name="connsiteX131" fmla="*/ 652462 w 2171700"/>
              <a:gd name="connsiteY131" fmla="*/ 48050 h 2164296"/>
              <a:gd name="connsiteX132" fmla="*/ 676275 w 2171700"/>
              <a:gd name="connsiteY132" fmla="*/ 38525 h 2164296"/>
              <a:gd name="connsiteX133" fmla="*/ 719137 w 2171700"/>
              <a:gd name="connsiteY133" fmla="*/ 24238 h 2164296"/>
              <a:gd name="connsiteX134" fmla="*/ 747712 w 2171700"/>
              <a:gd name="connsiteY134" fmla="*/ 14713 h 2164296"/>
              <a:gd name="connsiteX135" fmla="*/ 795337 w 2171700"/>
              <a:gd name="connsiteY135" fmla="*/ 9950 h 2164296"/>
              <a:gd name="connsiteX136" fmla="*/ 866775 w 2171700"/>
              <a:gd name="connsiteY13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47637 w 2171700"/>
              <a:gd name="connsiteY109" fmla="*/ 733850 h 2164296"/>
              <a:gd name="connsiteX110" fmla="*/ 209550 w 2171700"/>
              <a:gd name="connsiteY110" fmla="*/ 610025 h 2164296"/>
              <a:gd name="connsiteX111" fmla="*/ 214312 w 2171700"/>
              <a:gd name="connsiteY111" fmla="*/ 581450 h 2164296"/>
              <a:gd name="connsiteX112" fmla="*/ 238125 w 2171700"/>
              <a:gd name="connsiteY112" fmla="*/ 538588 h 2164296"/>
              <a:gd name="connsiteX113" fmla="*/ 252412 w 2171700"/>
              <a:gd name="connsiteY113" fmla="*/ 500488 h 2164296"/>
              <a:gd name="connsiteX114" fmla="*/ 266700 w 2171700"/>
              <a:gd name="connsiteY114" fmla="*/ 471913 h 2164296"/>
              <a:gd name="connsiteX115" fmla="*/ 276225 w 2171700"/>
              <a:gd name="connsiteY115" fmla="*/ 443338 h 2164296"/>
              <a:gd name="connsiteX116" fmla="*/ 285750 w 2171700"/>
              <a:gd name="connsiteY116" fmla="*/ 429050 h 2164296"/>
              <a:gd name="connsiteX117" fmla="*/ 295275 w 2171700"/>
              <a:gd name="connsiteY117" fmla="*/ 405238 h 2164296"/>
              <a:gd name="connsiteX118" fmla="*/ 314325 w 2171700"/>
              <a:gd name="connsiteY118" fmla="*/ 381425 h 2164296"/>
              <a:gd name="connsiteX119" fmla="*/ 333375 w 2171700"/>
              <a:gd name="connsiteY119" fmla="*/ 333800 h 2164296"/>
              <a:gd name="connsiteX120" fmla="*/ 361950 w 2171700"/>
              <a:gd name="connsiteY120" fmla="*/ 290938 h 2164296"/>
              <a:gd name="connsiteX121" fmla="*/ 385762 w 2171700"/>
              <a:gd name="connsiteY121" fmla="*/ 248075 h 2164296"/>
              <a:gd name="connsiteX122" fmla="*/ 400050 w 2171700"/>
              <a:gd name="connsiteY122" fmla="*/ 229025 h 2164296"/>
              <a:gd name="connsiteX123" fmla="*/ 423862 w 2171700"/>
              <a:gd name="connsiteY123" fmla="*/ 214738 h 2164296"/>
              <a:gd name="connsiteX124" fmla="*/ 447675 w 2171700"/>
              <a:gd name="connsiteY124" fmla="*/ 190925 h 2164296"/>
              <a:gd name="connsiteX125" fmla="*/ 461962 w 2171700"/>
              <a:gd name="connsiteY125" fmla="*/ 181400 h 2164296"/>
              <a:gd name="connsiteX126" fmla="*/ 495300 w 2171700"/>
              <a:gd name="connsiteY126" fmla="*/ 143300 h 2164296"/>
              <a:gd name="connsiteX127" fmla="*/ 509587 w 2171700"/>
              <a:gd name="connsiteY127" fmla="*/ 133775 h 2164296"/>
              <a:gd name="connsiteX128" fmla="*/ 619125 w 2171700"/>
              <a:gd name="connsiteY128" fmla="*/ 71863 h 2164296"/>
              <a:gd name="connsiteX129" fmla="*/ 633412 w 2171700"/>
              <a:gd name="connsiteY129" fmla="*/ 52813 h 2164296"/>
              <a:gd name="connsiteX130" fmla="*/ 652462 w 2171700"/>
              <a:gd name="connsiteY130" fmla="*/ 48050 h 2164296"/>
              <a:gd name="connsiteX131" fmla="*/ 676275 w 2171700"/>
              <a:gd name="connsiteY131" fmla="*/ 38525 h 2164296"/>
              <a:gd name="connsiteX132" fmla="*/ 719137 w 2171700"/>
              <a:gd name="connsiteY132" fmla="*/ 24238 h 2164296"/>
              <a:gd name="connsiteX133" fmla="*/ 747712 w 2171700"/>
              <a:gd name="connsiteY133" fmla="*/ 14713 h 2164296"/>
              <a:gd name="connsiteX134" fmla="*/ 795337 w 2171700"/>
              <a:gd name="connsiteY134" fmla="*/ 9950 h 2164296"/>
              <a:gd name="connsiteX135" fmla="*/ 866775 w 2171700"/>
              <a:gd name="connsiteY13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371600 w 2171700"/>
              <a:gd name="connsiteY11" fmla="*/ 86150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28787 w 2171700"/>
              <a:gd name="connsiteY57" fmla="*/ 1872088 h 2164296"/>
              <a:gd name="connsiteX58" fmla="*/ 1709737 w 2171700"/>
              <a:gd name="connsiteY58" fmla="*/ 1881613 h 2164296"/>
              <a:gd name="connsiteX59" fmla="*/ 1647825 w 2171700"/>
              <a:gd name="connsiteY59" fmla="*/ 1895900 h 2164296"/>
              <a:gd name="connsiteX60" fmla="*/ 1619250 w 2171700"/>
              <a:gd name="connsiteY60" fmla="*/ 1910188 h 2164296"/>
              <a:gd name="connsiteX61" fmla="*/ 1571625 w 2171700"/>
              <a:gd name="connsiteY61" fmla="*/ 1929238 h 2164296"/>
              <a:gd name="connsiteX62" fmla="*/ 1404937 w 2171700"/>
              <a:gd name="connsiteY62" fmla="*/ 2029250 h 2164296"/>
              <a:gd name="connsiteX63" fmla="*/ 1333500 w 2171700"/>
              <a:gd name="connsiteY63" fmla="*/ 2053063 h 2164296"/>
              <a:gd name="connsiteX64" fmla="*/ 1319212 w 2171700"/>
              <a:gd name="connsiteY64" fmla="*/ 2062588 h 2164296"/>
              <a:gd name="connsiteX65" fmla="*/ 1281112 w 2171700"/>
              <a:gd name="connsiteY65" fmla="*/ 2072113 h 2164296"/>
              <a:gd name="connsiteX66" fmla="*/ 1257300 w 2171700"/>
              <a:gd name="connsiteY66" fmla="*/ 2086400 h 2164296"/>
              <a:gd name="connsiteX67" fmla="*/ 1204912 w 2171700"/>
              <a:gd name="connsiteY67" fmla="*/ 2100688 h 2164296"/>
              <a:gd name="connsiteX68" fmla="*/ 1162050 w 2171700"/>
              <a:gd name="connsiteY68" fmla="*/ 2119738 h 2164296"/>
              <a:gd name="connsiteX69" fmla="*/ 1143000 w 2171700"/>
              <a:gd name="connsiteY69" fmla="*/ 2134025 h 2164296"/>
              <a:gd name="connsiteX70" fmla="*/ 1071562 w 2171700"/>
              <a:gd name="connsiteY70" fmla="*/ 2148313 h 2164296"/>
              <a:gd name="connsiteX71" fmla="*/ 1042987 w 2171700"/>
              <a:gd name="connsiteY71" fmla="*/ 2162600 h 2164296"/>
              <a:gd name="connsiteX72" fmla="*/ 909637 w 2171700"/>
              <a:gd name="connsiteY72" fmla="*/ 2157838 h 2164296"/>
              <a:gd name="connsiteX73" fmla="*/ 800100 w 2171700"/>
              <a:gd name="connsiteY73" fmla="*/ 2105450 h 2164296"/>
              <a:gd name="connsiteX74" fmla="*/ 762000 w 2171700"/>
              <a:gd name="connsiteY74" fmla="*/ 2091163 h 2164296"/>
              <a:gd name="connsiteX75" fmla="*/ 714375 w 2171700"/>
              <a:gd name="connsiteY75" fmla="*/ 2062588 h 2164296"/>
              <a:gd name="connsiteX76" fmla="*/ 657225 w 2171700"/>
              <a:gd name="connsiteY76" fmla="*/ 2038775 h 2164296"/>
              <a:gd name="connsiteX77" fmla="*/ 623887 w 2171700"/>
              <a:gd name="connsiteY77" fmla="*/ 2005438 h 2164296"/>
              <a:gd name="connsiteX78" fmla="*/ 585787 w 2171700"/>
              <a:gd name="connsiteY78" fmla="*/ 1976863 h 2164296"/>
              <a:gd name="connsiteX79" fmla="*/ 571500 w 2171700"/>
              <a:gd name="connsiteY79" fmla="*/ 1957813 h 2164296"/>
              <a:gd name="connsiteX80" fmla="*/ 557212 w 2171700"/>
              <a:gd name="connsiteY80" fmla="*/ 1934000 h 2164296"/>
              <a:gd name="connsiteX81" fmla="*/ 523875 w 2171700"/>
              <a:gd name="connsiteY81" fmla="*/ 1895900 h 2164296"/>
              <a:gd name="connsiteX82" fmla="*/ 381000 w 2171700"/>
              <a:gd name="connsiteY82" fmla="*/ 1705400 h 2164296"/>
              <a:gd name="connsiteX83" fmla="*/ 366712 w 2171700"/>
              <a:gd name="connsiteY83" fmla="*/ 1686350 h 2164296"/>
              <a:gd name="connsiteX84" fmla="*/ 347662 w 2171700"/>
              <a:gd name="connsiteY84" fmla="*/ 1657775 h 2164296"/>
              <a:gd name="connsiteX85" fmla="*/ 290512 w 2171700"/>
              <a:gd name="connsiteY85" fmla="*/ 1600625 h 2164296"/>
              <a:gd name="connsiteX86" fmla="*/ 266700 w 2171700"/>
              <a:gd name="connsiteY86" fmla="*/ 1576813 h 2164296"/>
              <a:gd name="connsiteX87" fmla="*/ 252412 w 2171700"/>
              <a:gd name="connsiteY87" fmla="*/ 1562525 h 2164296"/>
              <a:gd name="connsiteX88" fmla="*/ 214312 w 2171700"/>
              <a:gd name="connsiteY88" fmla="*/ 1538713 h 2164296"/>
              <a:gd name="connsiteX89" fmla="*/ 190500 w 2171700"/>
              <a:gd name="connsiteY89" fmla="*/ 1510138 h 2164296"/>
              <a:gd name="connsiteX90" fmla="*/ 166687 w 2171700"/>
              <a:gd name="connsiteY90" fmla="*/ 1491088 h 2164296"/>
              <a:gd name="connsiteX91" fmla="*/ 147637 w 2171700"/>
              <a:gd name="connsiteY91" fmla="*/ 1462513 h 2164296"/>
              <a:gd name="connsiteX92" fmla="*/ 123825 w 2171700"/>
              <a:gd name="connsiteY92" fmla="*/ 1438700 h 2164296"/>
              <a:gd name="connsiteX93" fmla="*/ 114300 w 2171700"/>
              <a:gd name="connsiteY93" fmla="*/ 1424413 h 2164296"/>
              <a:gd name="connsiteX94" fmla="*/ 95250 w 2171700"/>
              <a:gd name="connsiteY94" fmla="*/ 1405363 h 2164296"/>
              <a:gd name="connsiteX95" fmla="*/ 76200 w 2171700"/>
              <a:gd name="connsiteY95" fmla="*/ 1376788 h 2164296"/>
              <a:gd name="connsiteX96" fmla="*/ 61912 w 2171700"/>
              <a:gd name="connsiteY96" fmla="*/ 1362500 h 2164296"/>
              <a:gd name="connsiteX97" fmla="*/ 52387 w 2171700"/>
              <a:gd name="connsiteY97" fmla="*/ 1348213 h 2164296"/>
              <a:gd name="connsiteX98" fmla="*/ 38100 w 2171700"/>
              <a:gd name="connsiteY98" fmla="*/ 1329163 h 2164296"/>
              <a:gd name="connsiteX99" fmla="*/ 33337 w 2171700"/>
              <a:gd name="connsiteY99" fmla="*/ 1305350 h 2164296"/>
              <a:gd name="connsiteX100" fmla="*/ 9525 w 2171700"/>
              <a:gd name="connsiteY100" fmla="*/ 1257725 h 2164296"/>
              <a:gd name="connsiteX101" fmla="*/ 0 w 2171700"/>
              <a:gd name="connsiteY101" fmla="*/ 1200575 h 2164296"/>
              <a:gd name="connsiteX102" fmla="*/ 4762 w 2171700"/>
              <a:gd name="connsiteY102" fmla="*/ 991025 h 2164296"/>
              <a:gd name="connsiteX103" fmla="*/ 42862 w 2171700"/>
              <a:gd name="connsiteY103" fmla="*/ 929113 h 2164296"/>
              <a:gd name="connsiteX104" fmla="*/ 66675 w 2171700"/>
              <a:gd name="connsiteY104" fmla="*/ 891013 h 2164296"/>
              <a:gd name="connsiteX105" fmla="*/ 85725 w 2171700"/>
              <a:gd name="connsiteY105" fmla="*/ 848150 h 2164296"/>
              <a:gd name="connsiteX106" fmla="*/ 147637 w 2171700"/>
              <a:gd name="connsiteY106" fmla="*/ 733850 h 2164296"/>
              <a:gd name="connsiteX107" fmla="*/ 209550 w 2171700"/>
              <a:gd name="connsiteY107" fmla="*/ 610025 h 2164296"/>
              <a:gd name="connsiteX108" fmla="*/ 214312 w 2171700"/>
              <a:gd name="connsiteY108" fmla="*/ 581450 h 2164296"/>
              <a:gd name="connsiteX109" fmla="*/ 238125 w 2171700"/>
              <a:gd name="connsiteY109" fmla="*/ 538588 h 2164296"/>
              <a:gd name="connsiteX110" fmla="*/ 252412 w 2171700"/>
              <a:gd name="connsiteY110" fmla="*/ 500488 h 2164296"/>
              <a:gd name="connsiteX111" fmla="*/ 266700 w 2171700"/>
              <a:gd name="connsiteY111" fmla="*/ 471913 h 2164296"/>
              <a:gd name="connsiteX112" fmla="*/ 276225 w 2171700"/>
              <a:gd name="connsiteY112" fmla="*/ 443338 h 2164296"/>
              <a:gd name="connsiteX113" fmla="*/ 285750 w 2171700"/>
              <a:gd name="connsiteY113" fmla="*/ 429050 h 2164296"/>
              <a:gd name="connsiteX114" fmla="*/ 295275 w 2171700"/>
              <a:gd name="connsiteY114" fmla="*/ 405238 h 2164296"/>
              <a:gd name="connsiteX115" fmla="*/ 314325 w 2171700"/>
              <a:gd name="connsiteY115" fmla="*/ 381425 h 2164296"/>
              <a:gd name="connsiteX116" fmla="*/ 333375 w 2171700"/>
              <a:gd name="connsiteY116" fmla="*/ 333800 h 2164296"/>
              <a:gd name="connsiteX117" fmla="*/ 361950 w 2171700"/>
              <a:gd name="connsiteY117" fmla="*/ 290938 h 2164296"/>
              <a:gd name="connsiteX118" fmla="*/ 385762 w 2171700"/>
              <a:gd name="connsiteY118" fmla="*/ 248075 h 2164296"/>
              <a:gd name="connsiteX119" fmla="*/ 400050 w 2171700"/>
              <a:gd name="connsiteY119" fmla="*/ 229025 h 2164296"/>
              <a:gd name="connsiteX120" fmla="*/ 423862 w 2171700"/>
              <a:gd name="connsiteY120" fmla="*/ 214738 h 2164296"/>
              <a:gd name="connsiteX121" fmla="*/ 447675 w 2171700"/>
              <a:gd name="connsiteY121" fmla="*/ 190925 h 2164296"/>
              <a:gd name="connsiteX122" fmla="*/ 461962 w 2171700"/>
              <a:gd name="connsiteY122" fmla="*/ 181400 h 2164296"/>
              <a:gd name="connsiteX123" fmla="*/ 495300 w 2171700"/>
              <a:gd name="connsiteY123" fmla="*/ 143300 h 2164296"/>
              <a:gd name="connsiteX124" fmla="*/ 509587 w 2171700"/>
              <a:gd name="connsiteY124" fmla="*/ 133775 h 2164296"/>
              <a:gd name="connsiteX125" fmla="*/ 619125 w 2171700"/>
              <a:gd name="connsiteY125" fmla="*/ 71863 h 2164296"/>
              <a:gd name="connsiteX126" fmla="*/ 633412 w 2171700"/>
              <a:gd name="connsiteY126" fmla="*/ 52813 h 2164296"/>
              <a:gd name="connsiteX127" fmla="*/ 652462 w 2171700"/>
              <a:gd name="connsiteY127" fmla="*/ 48050 h 2164296"/>
              <a:gd name="connsiteX128" fmla="*/ 676275 w 2171700"/>
              <a:gd name="connsiteY128" fmla="*/ 38525 h 2164296"/>
              <a:gd name="connsiteX129" fmla="*/ 719137 w 2171700"/>
              <a:gd name="connsiteY129" fmla="*/ 24238 h 2164296"/>
              <a:gd name="connsiteX130" fmla="*/ 747712 w 2171700"/>
              <a:gd name="connsiteY130" fmla="*/ 14713 h 2164296"/>
              <a:gd name="connsiteX131" fmla="*/ 795337 w 2171700"/>
              <a:gd name="connsiteY131" fmla="*/ 9950 h 2164296"/>
              <a:gd name="connsiteX132" fmla="*/ 866775 w 2171700"/>
              <a:gd name="connsiteY13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09737 w 2171700"/>
              <a:gd name="connsiteY57" fmla="*/ 1881613 h 2164296"/>
              <a:gd name="connsiteX58" fmla="*/ 1647825 w 2171700"/>
              <a:gd name="connsiteY58" fmla="*/ 1895900 h 2164296"/>
              <a:gd name="connsiteX59" fmla="*/ 1619250 w 2171700"/>
              <a:gd name="connsiteY59" fmla="*/ 1910188 h 2164296"/>
              <a:gd name="connsiteX60" fmla="*/ 1571625 w 2171700"/>
              <a:gd name="connsiteY60" fmla="*/ 1929238 h 2164296"/>
              <a:gd name="connsiteX61" fmla="*/ 1404937 w 2171700"/>
              <a:gd name="connsiteY61" fmla="*/ 2029250 h 2164296"/>
              <a:gd name="connsiteX62" fmla="*/ 1333500 w 2171700"/>
              <a:gd name="connsiteY62" fmla="*/ 2053063 h 2164296"/>
              <a:gd name="connsiteX63" fmla="*/ 1319212 w 2171700"/>
              <a:gd name="connsiteY63" fmla="*/ 2062588 h 2164296"/>
              <a:gd name="connsiteX64" fmla="*/ 1281112 w 2171700"/>
              <a:gd name="connsiteY64" fmla="*/ 2072113 h 2164296"/>
              <a:gd name="connsiteX65" fmla="*/ 1257300 w 2171700"/>
              <a:gd name="connsiteY65" fmla="*/ 2086400 h 2164296"/>
              <a:gd name="connsiteX66" fmla="*/ 1204912 w 2171700"/>
              <a:gd name="connsiteY66" fmla="*/ 2100688 h 2164296"/>
              <a:gd name="connsiteX67" fmla="*/ 1162050 w 2171700"/>
              <a:gd name="connsiteY67" fmla="*/ 2119738 h 2164296"/>
              <a:gd name="connsiteX68" fmla="*/ 1143000 w 2171700"/>
              <a:gd name="connsiteY68" fmla="*/ 2134025 h 2164296"/>
              <a:gd name="connsiteX69" fmla="*/ 1071562 w 2171700"/>
              <a:gd name="connsiteY69" fmla="*/ 2148313 h 2164296"/>
              <a:gd name="connsiteX70" fmla="*/ 1042987 w 2171700"/>
              <a:gd name="connsiteY70" fmla="*/ 2162600 h 2164296"/>
              <a:gd name="connsiteX71" fmla="*/ 909637 w 2171700"/>
              <a:gd name="connsiteY71" fmla="*/ 2157838 h 2164296"/>
              <a:gd name="connsiteX72" fmla="*/ 800100 w 2171700"/>
              <a:gd name="connsiteY72" fmla="*/ 2105450 h 2164296"/>
              <a:gd name="connsiteX73" fmla="*/ 762000 w 2171700"/>
              <a:gd name="connsiteY73" fmla="*/ 2091163 h 2164296"/>
              <a:gd name="connsiteX74" fmla="*/ 714375 w 2171700"/>
              <a:gd name="connsiteY74" fmla="*/ 2062588 h 2164296"/>
              <a:gd name="connsiteX75" fmla="*/ 657225 w 2171700"/>
              <a:gd name="connsiteY75" fmla="*/ 2038775 h 2164296"/>
              <a:gd name="connsiteX76" fmla="*/ 623887 w 2171700"/>
              <a:gd name="connsiteY76" fmla="*/ 2005438 h 2164296"/>
              <a:gd name="connsiteX77" fmla="*/ 585787 w 2171700"/>
              <a:gd name="connsiteY77" fmla="*/ 1976863 h 2164296"/>
              <a:gd name="connsiteX78" fmla="*/ 571500 w 2171700"/>
              <a:gd name="connsiteY78" fmla="*/ 1957813 h 2164296"/>
              <a:gd name="connsiteX79" fmla="*/ 557212 w 2171700"/>
              <a:gd name="connsiteY79" fmla="*/ 1934000 h 2164296"/>
              <a:gd name="connsiteX80" fmla="*/ 523875 w 2171700"/>
              <a:gd name="connsiteY80" fmla="*/ 1895900 h 2164296"/>
              <a:gd name="connsiteX81" fmla="*/ 381000 w 2171700"/>
              <a:gd name="connsiteY81" fmla="*/ 1705400 h 2164296"/>
              <a:gd name="connsiteX82" fmla="*/ 366712 w 2171700"/>
              <a:gd name="connsiteY82" fmla="*/ 1686350 h 2164296"/>
              <a:gd name="connsiteX83" fmla="*/ 347662 w 2171700"/>
              <a:gd name="connsiteY83" fmla="*/ 1657775 h 2164296"/>
              <a:gd name="connsiteX84" fmla="*/ 290512 w 2171700"/>
              <a:gd name="connsiteY84" fmla="*/ 1600625 h 2164296"/>
              <a:gd name="connsiteX85" fmla="*/ 266700 w 2171700"/>
              <a:gd name="connsiteY85" fmla="*/ 1576813 h 2164296"/>
              <a:gd name="connsiteX86" fmla="*/ 252412 w 2171700"/>
              <a:gd name="connsiteY86" fmla="*/ 1562525 h 2164296"/>
              <a:gd name="connsiteX87" fmla="*/ 214312 w 2171700"/>
              <a:gd name="connsiteY87" fmla="*/ 1538713 h 2164296"/>
              <a:gd name="connsiteX88" fmla="*/ 190500 w 2171700"/>
              <a:gd name="connsiteY88" fmla="*/ 1510138 h 2164296"/>
              <a:gd name="connsiteX89" fmla="*/ 166687 w 2171700"/>
              <a:gd name="connsiteY89" fmla="*/ 1491088 h 2164296"/>
              <a:gd name="connsiteX90" fmla="*/ 147637 w 2171700"/>
              <a:gd name="connsiteY90" fmla="*/ 1462513 h 2164296"/>
              <a:gd name="connsiteX91" fmla="*/ 123825 w 2171700"/>
              <a:gd name="connsiteY91" fmla="*/ 1438700 h 2164296"/>
              <a:gd name="connsiteX92" fmla="*/ 114300 w 2171700"/>
              <a:gd name="connsiteY92" fmla="*/ 1424413 h 2164296"/>
              <a:gd name="connsiteX93" fmla="*/ 95250 w 2171700"/>
              <a:gd name="connsiteY93" fmla="*/ 1405363 h 2164296"/>
              <a:gd name="connsiteX94" fmla="*/ 76200 w 2171700"/>
              <a:gd name="connsiteY94" fmla="*/ 1376788 h 2164296"/>
              <a:gd name="connsiteX95" fmla="*/ 61912 w 2171700"/>
              <a:gd name="connsiteY95" fmla="*/ 1362500 h 2164296"/>
              <a:gd name="connsiteX96" fmla="*/ 52387 w 2171700"/>
              <a:gd name="connsiteY96" fmla="*/ 1348213 h 2164296"/>
              <a:gd name="connsiteX97" fmla="*/ 38100 w 2171700"/>
              <a:gd name="connsiteY97" fmla="*/ 1329163 h 2164296"/>
              <a:gd name="connsiteX98" fmla="*/ 33337 w 2171700"/>
              <a:gd name="connsiteY98" fmla="*/ 1305350 h 2164296"/>
              <a:gd name="connsiteX99" fmla="*/ 9525 w 2171700"/>
              <a:gd name="connsiteY99" fmla="*/ 1257725 h 2164296"/>
              <a:gd name="connsiteX100" fmla="*/ 0 w 2171700"/>
              <a:gd name="connsiteY100" fmla="*/ 1200575 h 2164296"/>
              <a:gd name="connsiteX101" fmla="*/ 4762 w 2171700"/>
              <a:gd name="connsiteY101" fmla="*/ 991025 h 2164296"/>
              <a:gd name="connsiteX102" fmla="*/ 42862 w 2171700"/>
              <a:gd name="connsiteY102" fmla="*/ 929113 h 2164296"/>
              <a:gd name="connsiteX103" fmla="*/ 66675 w 2171700"/>
              <a:gd name="connsiteY103" fmla="*/ 891013 h 2164296"/>
              <a:gd name="connsiteX104" fmla="*/ 85725 w 2171700"/>
              <a:gd name="connsiteY104" fmla="*/ 848150 h 2164296"/>
              <a:gd name="connsiteX105" fmla="*/ 147637 w 2171700"/>
              <a:gd name="connsiteY105" fmla="*/ 733850 h 2164296"/>
              <a:gd name="connsiteX106" fmla="*/ 209550 w 2171700"/>
              <a:gd name="connsiteY106" fmla="*/ 610025 h 2164296"/>
              <a:gd name="connsiteX107" fmla="*/ 214312 w 2171700"/>
              <a:gd name="connsiteY107" fmla="*/ 581450 h 2164296"/>
              <a:gd name="connsiteX108" fmla="*/ 238125 w 2171700"/>
              <a:gd name="connsiteY108" fmla="*/ 538588 h 2164296"/>
              <a:gd name="connsiteX109" fmla="*/ 252412 w 2171700"/>
              <a:gd name="connsiteY109" fmla="*/ 500488 h 2164296"/>
              <a:gd name="connsiteX110" fmla="*/ 266700 w 2171700"/>
              <a:gd name="connsiteY110" fmla="*/ 471913 h 2164296"/>
              <a:gd name="connsiteX111" fmla="*/ 276225 w 2171700"/>
              <a:gd name="connsiteY111" fmla="*/ 443338 h 2164296"/>
              <a:gd name="connsiteX112" fmla="*/ 285750 w 2171700"/>
              <a:gd name="connsiteY112" fmla="*/ 429050 h 2164296"/>
              <a:gd name="connsiteX113" fmla="*/ 295275 w 2171700"/>
              <a:gd name="connsiteY113" fmla="*/ 405238 h 2164296"/>
              <a:gd name="connsiteX114" fmla="*/ 314325 w 2171700"/>
              <a:gd name="connsiteY114" fmla="*/ 381425 h 2164296"/>
              <a:gd name="connsiteX115" fmla="*/ 333375 w 2171700"/>
              <a:gd name="connsiteY115" fmla="*/ 333800 h 2164296"/>
              <a:gd name="connsiteX116" fmla="*/ 361950 w 2171700"/>
              <a:gd name="connsiteY116" fmla="*/ 290938 h 2164296"/>
              <a:gd name="connsiteX117" fmla="*/ 385762 w 2171700"/>
              <a:gd name="connsiteY117" fmla="*/ 248075 h 2164296"/>
              <a:gd name="connsiteX118" fmla="*/ 400050 w 2171700"/>
              <a:gd name="connsiteY118" fmla="*/ 229025 h 2164296"/>
              <a:gd name="connsiteX119" fmla="*/ 423862 w 2171700"/>
              <a:gd name="connsiteY119" fmla="*/ 214738 h 2164296"/>
              <a:gd name="connsiteX120" fmla="*/ 447675 w 2171700"/>
              <a:gd name="connsiteY120" fmla="*/ 190925 h 2164296"/>
              <a:gd name="connsiteX121" fmla="*/ 461962 w 2171700"/>
              <a:gd name="connsiteY121" fmla="*/ 181400 h 2164296"/>
              <a:gd name="connsiteX122" fmla="*/ 495300 w 2171700"/>
              <a:gd name="connsiteY122" fmla="*/ 143300 h 2164296"/>
              <a:gd name="connsiteX123" fmla="*/ 509587 w 2171700"/>
              <a:gd name="connsiteY123" fmla="*/ 133775 h 2164296"/>
              <a:gd name="connsiteX124" fmla="*/ 619125 w 2171700"/>
              <a:gd name="connsiteY124" fmla="*/ 71863 h 2164296"/>
              <a:gd name="connsiteX125" fmla="*/ 633412 w 2171700"/>
              <a:gd name="connsiteY125" fmla="*/ 52813 h 2164296"/>
              <a:gd name="connsiteX126" fmla="*/ 652462 w 2171700"/>
              <a:gd name="connsiteY126" fmla="*/ 48050 h 2164296"/>
              <a:gd name="connsiteX127" fmla="*/ 676275 w 2171700"/>
              <a:gd name="connsiteY127" fmla="*/ 38525 h 2164296"/>
              <a:gd name="connsiteX128" fmla="*/ 719137 w 2171700"/>
              <a:gd name="connsiteY128" fmla="*/ 24238 h 2164296"/>
              <a:gd name="connsiteX129" fmla="*/ 747712 w 2171700"/>
              <a:gd name="connsiteY129" fmla="*/ 14713 h 2164296"/>
              <a:gd name="connsiteX130" fmla="*/ 795337 w 2171700"/>
              <a:gd name="connsiteY130" fmla="*/ 9950 h 2164296"/>
              <a:gd name="connsiteX131" fmla="*/ 866775 w 2171700"/>
              <a:gd name="connsiteY13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619250 w 2171700"/>
              <a:gd name="connsiteY58" fmla="*/ 1910188 h 2164296"/>
              <a:gd name="connsiteX59" fmla="*/ 1571625 w 2171700"/>
              <a:gd name="connsiteY59" fmla="*/ 1929238 h 2164296"/>
              <a:gd name="connsiteX60" fmla="*/ 1404937 w 2171700"/>
              <a:gd name="connsiteY60" fmla="*/ 2029250 h 2164296"/>
              <a:gd name="connsiteX61" fmla="*/ 1333500 w 2171700"/>
              <a:gd name="connsiteY61" fmla="*/ 2053063 h 2164296"/>
              <a:gd name="connsiteX62" fmla="*/ 1319212 w 2171700"/>
              <a:gd name="connsiteY62" fmla="*/ 2062588 h 2164296"/>
              <a:gd name="connsiteX63" fmla="*/ 1281112 w 2171700"/>
              <a:gd name="connsiteY63" fmla="*/ 2072113 h 2164296"/>
              <a:gd name="connsiteX64" fmla="*/ 1257300 w 2171700"/>
              <a:gd name="connsiteY64" fmla="*/ 2086400 h 2164296"/>
              <a:gd name="connsiteX65" fmla="*/ 1204912 w 2171700"/>
              <a:gd name="connsiteY65" fmla="*/ 2100688 h 2164296"/>
              <a:gd name="connsiteX66" fmla="*/ 1162050 w 2171700"/>
              <a:gd name="connsiteY66" fmla="*/ 2119738 h 2164296"/>
              <a:gd name="connsiteX67" fmla="*/ 1143000 w 2171700"/>
              <a:gd name="connsiteY67" fmla="*/ 2134025 h 2164296"/>
              <a:gd name="connsiteX68" fmla="*/ 1071562 w 2171700"/>
              <a:gd name="connsiteY68" fmla="*/ 2148313 h 2164296"/>
              <a:gd name="connsiteX69" fmla="*/ 1042987 w 2171700"/>
              <a:gd name="connsiteY69" fmla="*/ 2162600 h 2164296"/>
              <a:gd name="connsiteX70" fmla="*/ 909637 w 2171700"/>
              <a:gd name="connsiteY70" fmla="*/ 2157838 h 2164296"/>
              <a:gd name="connsiteX71" fmla="*/ 800100 w 2171700"/>
              <a:gd name="connsiteY71" fmla="*/ 2105450 h 2164296"/>
              <a:gd name="connsiteX72" fmla="*/ 762000 w 2171700"/>
              <a:gd name="connsiteY72" fmla="*/ 2091163 h 2164296"/>
              <a:gd name="connsiteX73" fmla="*/ 714375 w 2171700"/>
              <a:gd name="connsiteY73" fmla="*/ 2062588 h 2164296"/>
              <a:gd name="connsiteX74" fmla="*/ 657225 w 2171700"/>
              <a:gd name="connsiteY74" fmla="*/ 2038775 h 2164296"/>
              <a:gd name="connsiteX75" fmla="*/ 623887 w 2171700"/>
              <a:gd name="connsiteY75" fmla="*/ 2005438 h 2164296"/>
              <a:gd name="connsiteX76" fmla="*/ 585787 w 2171700"/>
              <a:gd name="connsiteY76" fmla="*/ 1976863 h 2164296"/>
              <a:gd name="connsiteX77" fmla="*/ 571500 w 2171700"/>
              <a:gd name="connsiteY77" fmla="*/ 1957813 h 2164296"/>
              <a:gd name="connsiteX78" fmla="*/ 557212 w 2171700"/>
              <a:gd name="connsiteY78" fmla="*/ 1934000 h 2164296"/>
              <a:gd name="connsiteX79" fmla="*/ 523875 w 2171700"/>
              <a:gd name="connsiteY79" fmla="*/ 1895900 h 2164296"/>
              <a:gd name="connsiteX80" fmla="*/ 381000 w 2171700"/>
              <a:gd name="connsiteY80" fmla="*/ 1705400 h 2164296"/>
              <a:gd name="connsiteX81" fmla="*/ 366712 w 2171700"/>
              <a:gd name="connsiteY81" fmla="*/ 1686350 h 2164296"/>
              <a:gd name="connsiteX82" fmla="*/ 347662 w 2171700"/>
              <a:gd name="connsiteY82" fmla="*/ 1657775 h 2164296"/>
              <a:gd name="connsiteX83" fmla="*/ 290512 w 2171700"/>
              <a:gd name="connsiteY83" fmla="*/ 1600625 h 2164296"/>
              <a:gd name="connsiteX84" fmla="*/ 266700 w 2171700"/>
              <a:gd name="connsiteY84" fmla="*/ 1576813 h 2164296"/>
              <a:gd name="connsiteX85" fmla="*/ 252412 w 2171700"/>
              <a:gd name="connsiteY85" fmla="*/ 1562525 h 2164296"/>
              <a:gd name="connsiteX86" fmla="*/ 214312 w 2171700"/>
              <a:gd name="connsiteY86" fmla="*/ 1538713 h 2164296"/>
              <a:gd name="connsiteX87" fmla="*/ 190500 w 2171700"/>
              <a:gd name="connsiteY87" fmla="*/ 1510138 h 2164296"/>
              <a:gd name="connsiteX88" fmla="*/ 166687 w 2171700"/>
              <a:gd name="connsiteY88" fmla="*/ 1491088 h 2164296"/>
              <a:gd name="connsiteX89" fmla="*/ 147637 w 2171700"/>
              <a:gd name="connsiteY89" fmla="*/ 1462513 h 2164296"/>
              <a:gd name="connsiteX90" fmla="*/ 123825 w 2171700"/>
              <a:gd name="connsiteY90" fmla="*/ 1438700 h 2164296"/>
              <a:gd name="connsiteX91" fmla="*/ 114300 w 2171700"/>
              <a:gd name="connsiteY91" fmla="*/ 1424413 h 2164296"/>
              <a:gd name="connsiteX92" fmla="*/ 95250 w 2171700"/>
              <a:gd name="connsiteY92" fmla="*/ 1405363 h 2164296"/>
              <a:gd name="connsiteX93" fmla="*/ 76200 w 2171700"/>
              <a:gd name="connsiteY93" fmla="*/ 1376788 h 2164296"/>
              <a:gd name="connsiteX94" fmla="*/ 61912 w 2171700"/>
              <a:gd name="connsiteY94" fmla="*/ 1362500 h 2164296"/>
              <a:gd name="connsiteX95" fmla="*/ 52387 w 2171700"/>
              <a:gd name="connsiteY95" fmla="*/ 1348213 h 2164296"/>
              <a:gd name="connsiteX96" fmla="*/ 38100 w 2171700"/>
              <a:gd name="connsiteY96" fmla="*/ 1329163 h 2164296"/>
              <a:gd name="connsiteX97" fmla="*/ 33337 w 2171700"/>
              <a:gd name="connsiteY97" fmla="*/ 1305350 h 2164296"/>
              <a:gd name="connsiteX98" fmla="*/ 9525 w 2171700"/>
              <a:gd name="connsiteY98" fmla="*/ 1257725 h 2164296"/>
              <a:gd name="connsiteX99" fmla="*/ 0 w 2171700"/>
              <a:gd name="connsiteY99" fmla="*/ 1200575 h 2164296"/>
              <a:gd name="connsiteX100" fmla="*/ 4762 w 2171700"/>
              <a:gd name="connsiteY100" fmla="*/ 991025 h 2164296"/>
              <a:gd name="connsiteX101" fmla="*/ 42862 w 2171700"/>
              <a:gd name="connsiteY101" fmla="*/ 929113 h 2164296"/>
              <a:gd name="connsiteX102" fmla="*/ 66675 w 2171700"/>
              <a:gd name="connsiteY102" fmla="*/ 891013 h 2164296"/>
              <a:gd name="connsiteX103" fmla="*/ 85725 w 2171700"/>
              <a:gd name="connsiteY103" fmla="*/ 848150 h 2164296"/>
              <a:gd name="connsiteX104" fmla="*/ 147637 w 2171700"/>
              <a:gd name="connsiteY104" fmla="*/ 733850 h 2164296"/>
              <a:gd name="connsiteX105" fmla="*/ 209550 w 2171700"/>
              <a:gd name="connsiteY105" fmla="*/ 610025 h 2164296"/>
              <a:gd name="connsiteX106" fmla="*/ 214312 w 2171700"/>
              <a:gd name="connsiteY106" fmla="*/ 581450 h 2164296"/>
              <a:gd name="connsiteX107" fmla="*/ 238125 w 2171700"/>
              <a:gd name="connsiteY107" fmla="*/ 538588 h 2164296"/>
              <a:gd name="connsiteX108" fmla="*/ 252412 w 2171700"/>
              <a:gd name="connsiteY108" fmla="*/ 500488 h 2164296"/>
              <a:gd name="connsiteX109" fmla="*/ 266700 w 2171700"/>
              <a:gd name="connsiteY109" fmla="*/ 471913 h 2164296"/>
              <a:gd name="connsiteX110" fmla="*/ 276225 w 2171700"/>
              <a:gd name="connsiteY110" fmla="*/ 443338 h 2164296"/>
              <a:gd name="connsiteX111" fmla="*/ 285750 w 2171700"/>
              <a:gd name="connsiteY111" fmla="*/ 429050 h 2164296"/>
              <a:gd name="connsiteX112" fmla="*/ 295275 w 2171700"/>
              <a:gd name="connsiteY112" fmla="*/ 405238 h 2164296"/>
              <a:gd name="connsiteX113" fmla="*/ 314325 w 2171700"/>
              <a:gd name="connsiteY113" fmla="*/ 381425 h 2164296"/>
              <a:gd name="connsiteX114" fmla="*/ 333375 w 2171700"/>
              <a:gd name="connsiteY114" fmla="*/ 333800 h 2164296"/>
              <a:gd name="connsiteX115" fmla="*/ 361950 w 2171700"/>
              <a:gd name="connsiteY115" fmla="*/ 290938 h 2164296"/>
              <a:gd name="connsiteX116" fmla="*/ 385762 w 2171700"/>
              <a:gd name="connsiteY116" fmla="*/ 248075 h 2164296"/>
              <a:gd name="connsiteX117" fmla="*/ 400050 w 2171700"/>
              <a:gd name="connsiteY117" fmla="*/ 229025 h 2164296"/>
              <a:gd name="connsiteX118" fmla="*/ 423862 w 2171700"/>
              <a:gd name="connsiteY118" fmla="*/ 214738 h 2164296"/>
              <a:gd name="connsiteX119" fmla="*/ 447675 w 2171700"/>
              <a:gd name="connsiteY119" fmla="*/ 190925 h 2164296"/>
              <a:gd name="connsiteX120" fmla="*/ 461962 w 2171700"/>
              <a:gd name="connsiteY120" fmla="*/ 181400 h 2164296"/>
              <a:gd name="connsiteX121" fmla="*/ 495300 w 2171700"/>
              <a:gd name="connsiteY121" fmla="*/ 143300 h 2164296"/>
              <a:gd name="connsiteX122" fmla="*/ 509587 w 2171700"/>
              <a:gd name="connsiteY122" fmla="*/ 133775 h 2164296"/>
              <a:gd name="connsiteX123" fmla="*/ 619125 w 2171700"/>
              <a:gd name="connsiteY123" fmla="*/ 71863 h 2164296"/>
              <a:gd name="connsiteX124" fmla="*/ 633412 w 2171700"/>
              <a:gd name="connsiteY124" fmla="*/ 52813 h 2164296"/>
              <a:gd name="connsiteX125" fmla="*/ 652462 w 2171700"/>
              <a:gd name="connsiteY125" fmla="*/ 48050 h 2164296"/>
              <a:gd name="connsiteX126" fmla="*/ 676275 w 2171700"/>
              <a:gd name="connsiteY126" fmla="*/ 38525 h 2164296"/>
              <a:gd name="connsiteX127" fmla="*/ 719137 w 2171700"/>
              <a:gd name="connsiteY127" fmla="*/ 24238 h 2164296"/>
              <a:gd name="connsiteX128" fmla="*/ 747712 w 2171700"/>
              <a:gd name="connsiteY128" fmla="*/ 14713 h 2164296"/>
              <a:gd name="connsiteX129" fmla="*/ 795337 w 2171700"/>
              <a:gd name="connsiteY129" fmla="*/ 9950 h 2164296"/>
              <a:gd name="connsiteX130" fmla="*/ 866775 w 2171700"/>
              <a:gd name="connsiteY13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571625 w 2171700"/>
              <a:gd name="connsiteY58" fmla="*/ 1929238 h 2164296"/>
              <a:gd name="connsiteX59" fmla="*/ 1404937 w 2171700"/>
              <a:gd name="connsiteY59" fmla="*/ 2029250 h 2164296"/>
              <a:gd name="connsiteX60" fmla="*/ 1333500 w 2171700"/>
              <a:gd name="connsiteY60" fmla="*/ 2053063 h 2164296"/>
              <a:gd name="connsiteX61" fmla="*/ 1319212 w 2171700"/>
              <a:gd name="connsiteY61" fmla="*/ 2062588 h 2164296"/>
              <a:gd name="connsiteX62" fmla="*/ 1281112 w 2171700"/>
              <a:gd name="connsiteY62" fmla="*/ 2072113 h 2164296"/>
              <a:gd name="connsiteX63" fmla="*/ 1257300 w 2171700"/>
              <a:gd name="connsiteY63" fmla="*/ 2086400 h 2164296"/>
              <a:gd name="connsiteX64" fmla="*/ 1204912 w 2171700"/>
              <a:gd name="connsiteY64" fmla="*/ 2100688 h 2164296"/>
              <a:gd name="connsiteX65" fmla="*/ 1162050 w 2171700"/>
              <a:gd name="connsiteY65" fmla="*/ 2119738 h 2164296"/>
              <a:gd name="connsiteX66" fmla="*/ 1143000 w 2171700"/>
              <a:gd name="connsiteY66" fmla="*/ 2134025 h 2164296"/>
              <a:gd name="connsiteX67" fmla="*/ 1071562 w 2171700"/>
              <a:gd name="connsiteY67" fmla="*/ 2148313 h 2164296"/>
              <a:gd name="connsiteX68" fmla="*/ 1042987 w 2171700"/>
              <a:gd name="connsiteY68" fmla="*/ 2162600 h 2164296"/>
              <a:gd name="connsiteX69" fmla="*/ 909637 w 2171700"/>
              <a:gd name="connsiteY69" fmla="*/ 2157838 h 2164296"/>
              <a:gd name="connsiteX70" fmla="*/ 800100 w 2171700"/>
              <a:gd name="connsiteY70" fmla="*/ 2105450 h 2164296"/>
              <a:gd name="connsiteX71" fmla="*/ 762000 w 2171700"/>
              <a:gd name="connsiteY71" fmla="*/ 2091163 h 2164296"/>
              <a:gd name="connsiteX72" fmla="*/ 714375 w 2171700"/>
              <a:gd name="connsiteY72" fmla="*/ 2062588 h 2164296"/>
              <a:gd name="connsiteX73" fmla="*/ 657225 w 2171700"/>
              <a:gd name="connsiteY73" fmla="*/ 2038775 h 2164296"/>
              <a:gd name="connsiteX74" fmla="*/ 623887 w 2171700"/>
              <a:gd name="connsiteY74" fmla="*/ 2005438 h 2164296"/>
              <a:gd name="connsiteX75" fmla="*/ 585787 w 2171700"/>
              <a:gd name="connsiteY75" fmla="*/ 1976863 h 2164296"/>
              <a:gd name="connsiteX76" fmla="*/ 571500 w 2171700"/>
              <a:gd name="connsiteY76" fmla="*/ 1957813 h 2164296"/>
              <a:gd name="connsiteX77" fmla="*/ 557212 w 2171700"/>
              <a:gd name="connsiteY77" fmla="*/ 1934000 h 2164296"/>
              <a:gd name="connsiteX78" fmla="*/ 523875 w 2171700"/>
              <a:gd name="connsiteY78" fmla="*/ 1895900 h 2164296"/>
              <a:gd name="connsiteX79" fmla="*/ 381000 w 2171700"/>
              <a:gd name="connsiteY79" fmla="*/ 1705400 h 2164296"/>
              <a:gd name="connsiteX80" fmla="*/ 366712 w 2171700"/>
              <a:gd name="connsiteY80" fmla="*/ 1686350 h 2164296"/>
              <a:gd name="connsiteX81" fmla="*/ 347662 w 2171700"/>
              <a:gd name="connsiteY81" fmla="*/ 1657775 h 2164296"/>
              <a:gd name="connsiteX82" fmla="*/ 290512 w 2171700"/>
              <a:gd name="connsiteY82" fmla="*/ 1600625 h 2164296"/>
              <a:gd name="connsiteX83" fmla="*/ 266700 w 2171700"/>
              <a:gd name="connsiteY83" fmla="*/ 1576813 h 2164296"/>
              <a:gd name="connsiteX84" fmla="*/ 252412 w 2171700"/>
              <a:gd name="connsiteY84" fmla="*/ 1562525 h 2164296"/>
              <a:gd name="connsiteX85" fmla="*/ 214312 w 2171700"/>
              <a:gd name="connsiteY85" fmla="*/ 1538713 h 2164296"/>
              <a:gd name="connsiteX86" fmla="*/ 190500 w 2171700"/>
              <a:gd name="connsiteY86" fmla="*/ 1510138 h 2164296"/>
              <a:gd name="connsiteX87" fmla="*/ 166687 w 2171700"/>
              <a:gd name="connsiteY87" fmla="*/ 1491088 h 2164296"/>
              <a:gd name="connsiteX88" fmla="*/ 147637 w 2171700"/>
              <a:gd name="connsiteY88" fmla="*/ 1462513 h 2164296"/>
              <a:gd name="connsiteX89" fmla="*/ 123825 w 2171700"/>
              <a:gd name="connsiteY89" fmla="*/ 1438700 h 2164296"/>
              <a:gd name="connsiteX90" fmla="*/ 114300 w 2171700"/>
              <a:gd name="connsiteY90" fmla="*/ 1424413 h 2164296"/>
              <a:gd name="connsiteX91" fmla="*/ 95250 w 2171700"/>
              <a:gd name="connsiteY91" fmla="*/ 1405363 h 2164296"/>
              <a:gd name="connsiteX92" fmla="*/ 76200 w 2171700"/>
              <a:gd name="connsiteY92" fmla="*/ 1376788 h 2164296"/>
              <a:gd name="connsiteX93" fmla="*/ 61912 w 2171700"/>
              <a:gd name="connsiteY93" fmla="*/ 1362500 h 2164296"/>
              <a:gd name="connsiteX94" fmla="*/ 52387 w 2171700"/>
              <a:gd name="connsiteY94" fmla="*/ 1348213 h 2164296"/>
              <a:gd name="connsiteX95" fmla="*/ 38100 w 2171700"/>
              <a:gd name="connsiteY95" fmla="*/ 1329163 h 2164296"/>
              <a:gd name="connsiteX96" fmla="*/ 33337 w 2171700"/>
              <a:gd name="connsiteY96" fmla="*/ 1305350 h 2164296"/>
              <a:gd name="connsiteX97" fmla="*/ 9525 w 2171700"/>
              <a:gd name="connsiteY97" fmla="*/ 1257725 h 2164296"/>
              <a:gd name="connsiteX98" fmla="*/ 0 w 2171700"/>
              <a:gd name="connsiteY98" fmla="*/ 1200575 h 2164296"/>
              <a:gd name="connsiteX99" fmla="*/ 4762 w 2171700"/>
              <a:gd name="connsiteY99" fmla="*/ 991025 h 2164296"/>
              <a:gd name="connsiteX100" fmla="*/ 42862 w 2171700"/>
              <a:gd name="connsiteY100" fmla="*/ 929113 h 2164296"/>
              <a:gd name="connsiteX101" fmla="*/ 66675 w 2171700"/>
              <a:gd name="connsiteY101" fmla="*/ 891013 h 2164296"/>
              <a:gd name="connsiteX102" fmla="*/ 85725 w 2171700"/>
              <a:gd name="connsiteY102" fmla="*/ 848150 h 2164296"/>
              <a:gd name="connsiteX103" fmla="*/ 147637 w 2171700"/>
              <a:gd name="connsiteY103" fmla="*/ 733850 h 2164296"/>
              <a:gd name="connsiteX104" fmla="*/ 209550 w 2171700"/>
              <a:gd name="connsiteY104" fmla="*/ 610025 h 2164296"/>
              <a:gd name="connsiteX105" fmla="*/ 214312 w 2171700"/>
              <a:gd name="connsiteY105" fmla="*/ 581450 h 2164296"/>
              <a:gd name="connsiteX106" fmla="*/ 238125 w 2171700"/>
              <a:gd name="connsiteY106" fmla="*/ 538588 h 2164296"/>
              <a:gd name="connsiteX107" fmla="*/ 252412 w 2171700"/>
              <a:gd name="connsiteY107" fmla="*/ 500488 h 2164296"/>
              <a:gd name="connsiteX108" fmla="*/ 266700 w 2171700"/>
              <a:gd name="connsiteY108" fmla="*/ 471913 h 2164296"/>
              <a:gd name="connsiteX109" fmla="*/ 276225 w 2171700"/>
              <a:gd name="connsiteY109" fmla="*/ 443338 h 2164296"/>
              <a:gd name="connsiteX110" fmla="*/ 285750 w 2171700"/>
              <a:gd name="connsiteY110" fmla="*/ 429050 h 2164296"/>
              <a:gd name="connsiteX111" fmla="*/ 295275 w 2171700"/>
              <a:gd name="connsiteY111" fmla="*/ 405238 h 2164296"/>
              <a:gd name="connsiteX112" fmla="*/ 314325 w 2171700"/>
              <a:gd name="connsiteY112" fmla="*/ 381425 h 2164296"/>
              <a:gd name="connsiteX113" fmla="*/ 333375 w 2171700"/>
              <a:gd name="connsiteY113" fmla="*/ 333800 h 2164296"/>
              <a:gd name="connsiteX114" fmla="*/ 361950 w 2171700"/>
              <a:gd name="connsiteY114" fmla="*/ 290938 h 2164296"/>
              <a:gd name="connsiteX115" fmla="*/ 385762 w 2171700"/>
              <a:gd name="connsiteY115" fmla="*/ 248075 h 2164296"/>
              <a:gd name="connsiteX116" fmla="*/ 400050 w 2171700"/>
              <a:gd name="connsiteY116" fmla="*/ 229025 h 2164296"/>
              <a:gd name="connsiteX117" fmla="*/ 423862 w 2171700"/>
              <a:gd name="connsiteY117" fmla="*/ 214738 h 2164296"/>
              <a:gd name="connsiteX118" fmla="*/ 447675 w 2171700"/>
              <a:gd name="connsiteY118" fmla="*/ 190925 h 2164296"/>
              <a:gd name="connsiteX119" fmla="*/ 461962 w 2171700"/>
              <a:gd name="connsiteY119" fmla="*/ 181400 h 2164296"/>
              <a:gd name="connsiteX120" fmla="*/ 495300 w 2171700"/>
              <a:gd name="connsiteY120" fmla="*/ 143300 h 2164296"/>
              <a:gd name="connsiteX121" fmla="*/ 509587 w 2171700"/>
              <a:gd name="connsiteY121" fmla="*/ 133775 h 2164296"/>
              <a:gd name="connsiteX122" fmla="*/ 619125 w 2171700"/>
              <a:gd name="connsiteY122" fmla="*/ 71863 h 2164296"/>
              <a:gd name="connsiteX123" fmla="*/ 633412 w 2171700"/>
              <a:gd name="connsiteY123" fmla="*/ 52813 h 2164296"/>
              <a:gd name="connsiteX124" fmla="*/ 652462 w 2171700"/>
              <a:gd name="connsiteY124" fmla="*/ 48050 h 2164296"/>
              <a:gd name="connsiteX125" fmla="*/ 676275 w 2171700"/>
              <a:gd name="connsiteY125" fmla="*/ 38525 h 2164296"/>
              <a:gd name="connsiteX126" fmla="*/ 719137 w 2171700"/>
              <a:gd name="connsiteY126" fmla="*/ 24238 h 2164296"/>
              <a:gd name="connsiteX127" fmla="*/ 747712 w 2171700"/>
              <a:gd name="connsiteY127" fmla="*/ 14713 h 2164296"/>
              <a:gd name="connsiteX128" fmla="*/ 795337 w 2171700"/>
              <a:gd name="connsiteY128" fmla="*/ 9950 h 2164296"/>
              <a:gd name="connsiteX129" fmla="*/ 866775 w 2171700"/>
              <a:gd name="connsiteY12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404937 w 2171700"/>
              <a:gd name="connsiteY58" fmla="*/ 2029250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12174 w 2183774"/>
              <a:gd name="connsiteY0" fmla="*/ 425 h 2164296"/>
              <a:gd name="connsiteX1" fmla="*/ 964574 w 2183774"/>
              <a:gd name="connsiteY1" fmla="*/ 5188 h 2164296"/>
              <a:gd name="connsiteX2" fmla="*/ 988386 w 2183774"/>
              <a:gd name="connsiteY2" fmla="*/ 9950 h 2164296"/>
              <a:gd name="connsiteX3" fmla="*/ 1055061 w 2183774"/>
              <a:gd name="connsiteY3" fmla="*/ 19475 h 2164296"/>
              <a:gd name="connsiteX4" fmla="*/ 1083636 w 2183774"/>
              <a:gd name="connsiteY4" fmla="*/ 24238 h 2164296"/>
              <a:gd name="connsiteX5" fmla="*/ 1107449 w 2183774"/>
              <a:gd name="connsiteY5" fmla="*/ 38525 h 2164296"/>
              <a:gd name="connsiteX6" fmla="*/ 1150311 w 2183774"/>
              <a:gd name="connsiteY6" fmla="*/ 48050 h 2164296"/>
              <a:gd name="connsiteX7" fmla="*/ 1169361 w 2183774"/>
              <a:gd name="connsiteY7" fmla="*/ 52813 h 2164296"/>
              <a:gd name="connsiteX8" fmla="*/ 1202699 w 2183774"/>
              <a:gd name="connsiteY8" fmla="*/ 57575 h 2164296"/>
              <a:gd name="connsiteX9" fmla="*/ 1297949 w 2183774"/>
              <a:gd name="connsiteY9" fmla="*/ 71863 h 2164296"/>
              <a:gd name="connsiteX10" fmla="*/ 1469399 w 2183774"/>
              <a:gd name="connsiteY10" fmla="*/ 109963 h 2164296"/>
              <a:gd name="connsiteX11" fmla="*/ 1493211 w 2183774"/>
              <a:gd name="connsiteY11" fmla="*/ 114725 h 2164296"/>
              <a:gd name="connsiteX12" fmla="*/ 1631324 w 2183774"/>
              <a:gd name="connsiteY12" fmla="*/ 124250 h 2164296"/>
              <a:gd name="connsiteX13" fmla="*/ 1664661 w 2183774"/>
              <a:gd name="connsiteY13" fmla="*/ 129013 h 2164296"/>
              <a:gd name="connsiteX14" fmla="*/ 1688474 w 2183774"/>
              <a:gd name="connsiteY14" fmla="*/ 133775 h 2164296"/>
              <a:gd name="connsiteX15" fmla="*/ 1736099 w 2183774"/>
              <a:gd name="connsiteY15" fmla="*/ 138538 h 2164296"/>
              <a:gd name="connsiteX16" fmla="*/ 1774199 w 2183774"/>
              <a:gd name="connsiteY16" fmla="*/ 152825 h 2164296"/>
              <a:gd name="connsiteX17" fmla="*/ 1788486 w 2183774"/>
              <a:gd name="connsiteY17" fmla="*/ 162350 h 2164296"/>
              <a:gd name="connsiteX18" fmla="*/ 1812299 w 2183774"/>
              <a:gd name="connsiteY18" fmla="*/ 167113 h 2164296"/>
              <a:gd name="connsiteX19" fmla="*/ 1836111 w 2183774"/>
              <a:gd name="connsiteY19" fmla="*/ 181400 h 2164296"/>
              <a:gd name="connsiteX20" fmla="*/ 1859924 w 2183774"/>
              <a:gd name="connsiteY20" fmla="*/ 190925 h 2164296"/>
              <a:gd name="connsiteX21" fmla="*/ 1874211 w 2183774"/>
              <a:gd name="connsiteY21" fmla="*/ 205213 h 2164296"/>
              <a:gd name="connsiteX22" fmla="*/ 1907549 w 2183774"/>
              <a:gd name="connsiteY22" fmla="*/ 229025 h 2164296"/>
              <a:gd name="connsiteX23" fmla="*/ 1959936 w 2183774"/>
              <a:gd name="connsiteY23" fmla="*/ 267125 h 2164296"/>
              <a:gd name="connsiteX24" fmla="*/ 1983749 w 2183774"/>
              <a:gd name="connsiteY24" fmla="*/ 295700 h 2164296"/>
              <a:gd name="connsiteX25" fmla="*/ 2017086 w 2183774"/>
              <a:gd name="connsiteY25" fmla="*/ 348088 h 2164296"/>
              <a:gd name="connsiteX26" fmla="*/ 2036136 w 2183774"/>
              <a:gd name="connsiteY26" fmla="*/ 410000 h 2164296"/>
              <a:gd name="connsiteX27" fmla="*/ 2045661 w 2183774"/>
              <a:gd name="connsiteY27" fmla="*/ 443338 h 2164296"/>
              <a:gd name="connsiteX28" fmla="*/ 2050424 w 2183774"/>
              <a:gd name="connsiteY28" fmla="*/ 457625 h 2164296"/>
              <a:gd name="connsiteX29" fmla="*/ 2059949 w 2183774"/>
              <a:gd name="connsiteY29" fmla="*/ 476675 h 2164296"/>
              <a:gd name="connsiteX30" fmla="*/ 2078999 w 2183774"/>
              <a:gd name="connsiteY30" fmla="*/ 548113 h 2164296"/>
              <a:gd name="connsiteX31" fmla="*/ 2093286 w 2183774"/>
              <a:gd name="connsiteY31" fmla="*/ 610025 h 2164296"/>
              <a:gd name="connsiteX32" fmla="*/ 2098049 w 2183774"/>
              <a:gd name="connsiteY32" fmla="*/ 914825 h 2164296"/>
              <a:gd name="connsiteX33" fmla="*/ 2136149 w 2183774"/>
              <a:gd name="connsiteY33" fmla="*/ 1086275 h 2164296"/>
              <a:gd name="connsiteX34" fmla="*/ 2140911 w 2183774"/>
              <a:gd name="connsiteY34" fmla="*/ 1148188 h 2164296"/>
              <a:gd name="connsiteX35" fmla="*/ 2155199 w 2183774"/>
              <a:gd name="connsiteY35" fmla="*/ 1191050 h 2164296"/>
              <a:gd name="connsiteX36" fmla="*/ 2159961 w 2183774"/>
              <a:gd name="connsiteY36" fmla="*/ 1224388 h 2164296"/>
              <a:gd name="connsiteX37" fmla="*/ 2179011 w 2183774"/>
              <a:gd name="connsiteY37" fmla="*/ 1276775 h 2164296"/>
              <a:gd name="connsiteX38" fmla="*/ 2183774 w 2183774"/>
              <a:gd name="connsiteY38" fmla="*/ 1300588 h 2164296"/>
              <a:gd name="connsiteX39" fmla="*/ 2179011 w 2183774"/>
              <a:gd name="connsiteY39" fmla="*/ 1514900 h 2164296"/>
              <a:gd name="connsiteX40" fmla="*/ 2169486 w 2183774"/>
              <a:gd name="connsiteY40" fmla="*/ 1529188 h 2164296"/>
              <a:gd name="connsiteX41" fmla="*/ 2159961 w 2183774"/>
              <a:gd name="connsiteY41" fmla="*/ 1562525 h 2164296"/>
              <a:gd name="connsiteX42" fmla="*/ 2150436 w 2183774"/>
              <a:gd name="connsiteY42" fmla="*/ 1576813 h 2164296"/>
              <a:gd name="connsiteX43" fmla="*/ 2145674 w 2183774"/>
              <a:gd name="connsiteY43" fmla="*/ 1600625 h 2164296"/>
              <a:gd name="connsiteX44" fmla="*/ 2131386 w 2183774"/>
              <a:gd name="connsiteY44" fmla="*/ 1614913 h 2164296"/>
              <a:gd name="connsiteX45" fmla="*/ 2121861 w 2183774"/>
              <a:gd name="connsiteY45" fmla="*/ 1629200 h 2164296"/>
              <a:gd name="connsiteX46" fmla="*/ 2093286 w 2183774"/>
              <a:gd name="connsiteY46" fmla="*/ 1657775 h 2164296"/>
              <a:gd name="connsiteX47" fmla="*/ 2064711 w 2183774"/>
              <a:gd name="connsiteY47" fmla="*/ 1686350 h 2164296"/>
              <a:gd name="connsiteX48" fmla="*/ 2055186 w 2183774"/>
              <a:gd name="connsiteY48" fmla="*/ 1700638 h 2164296"/>
              <a:gd name="connsiteX49" fmla="*/ 2040899 w 2183774"/>
              <a:gd name="connsiteY49" fmla="*/ 1710163 h 2164296"/>
              <a:gd name="connsiteX50" fmla="*/ 2017086 w 2183774"/>
              <a:gd name="connsiteY50" fmla="*/ 1724450 h 2164296"/>
              <a:gd name="connsiteX51" fmla="*/ 1993274 w 2183774"/>
              <a:gd name="connsiteY51" fmla="*/ 1743500 h 2164296"/>
              <a:gd name="connsiteX52" fmla="*/ 1921836 w 2183774"/>
              <a:gd name="connsiteY52" fmla="*/ 1772075 h 2164296"/>
              <a:gd name="connsiteX53" fmla="*/ 1902786 w 2183774"/>
              <a:gd name="connsiteY53" fmla="*/ 1786363 h 2164296"/>
              <a:gd name="connsiteX54" fmla="*/ 1855161 w 2183774"/>
              <a:gd name="connsiteY54" fmla="*/ 1814938 h 2164296"/>
              <a:gd name="connsiteX55" fmla="*/ 1840874 w 2183774"/>
              <a:gd name="connsiteY55" fmla="*/ 1833988 h 2164296"/>
              <a:gd name="connsiteX56" fmla="*/ 1788486 w 2183774"/>
              <a:gd name="connsiteY56" fmla="*/ 1862563 h 2164296"/>
              <a:gd name="connsiteX57" fmla="*/ 1645612 w 2183774"/>
              <a:gd name="connsiteY57" fmla="*/ 1891137 h 2164296"/>
              <a:gd name="connsiteX58" fmla="*/ 1397961 w 2183774"/>
              <a:gd name="connsiteY58" fmla="*/ 2014962 h 2164296"/>
              <a:gd name="connsiteX59" fmla="*/ 1345574 w 2183774"/>
              <a:gd name="connsiteY59" fmla="*/ 2053063 h 2164296"/>
              <a:gd name="connsiteX60" fmla="*/ 1331286 w 2183774"/>
              <a:gd name="connsiteY60" fmla="*/ 2062588 h 2164296"/>
              <a:gd name="connsiteX61" fmla="*/ 1293186 w 2183774"/>
              <a:gd name="connsiteY61" fmla="*/ 2072113 h 2164296"/>
              <a:gd name="connsiteX62" fmla="*/ 1269374 w 2183774"/>
              <a:gd name="connsiteY62" fmla="*/ 2086400 h 2164296"/>
              <a:gd name="connsiteX63" fmla="*/ 1216986 w 2183774"/>
              <a:gd name="connsiteY63" fmla="*/ 2100688 h 2164296"/>
              <a:gd name="connsiteX64" fmla="*/ 1174124 w 2183774"/>
              <a:gd name="connsiteY64" fmla="*/ 2119738 h 2164296"/>
              <a:gd name="connsiteX65" fmla="*/ 1155074 w 2183774"/>
              <a:gd name="connsiteY65" fmla="*/ 2134025 h 2164296"/>
              <a:gd name="connsiteX66" fmla="*/ 1083636 w 2183774"/>
              <a:gd name="connsiteY66" fmla="*/ 2148313 h 2164296"/>
              <a:gd name="connsiteX67" fmla="*/ 1055061 w 2183774"/>
              <a:gd name="connsiteY67" fmla="*/ 2162600 h 2164296"/>
              <a:gd name="connsiteX68" fmla="*/ 921711 w 2183774"/>
              <a:gd name="connsiteY68" fmla="*/ 2157838 h 2164296"/>
              <a:gd name="connsiteX69" fmla="*/ 812174 w 2183774"/>
              <a:gd name="connsiteY69" fmla="*/ 2105450 h 2164296"/>
              <a:gd name="connsiteX70" fmla="*/ 774074 w 2183774"/>
              <a:gd name="connsiteY70" fmla="*/ 2091163 h 2164296"/>
              <a:gd name="connsiteX71" fmla="*/ 726449 w 2183774"/>
              <a:gd name="connsiteY71" fmla="*/ 2062588 h 2164296"/>
              <a:gd name="connsiteX72" fmla="*/ 669299 w 2183774"/>
              <a:gd name="connsiteY72" fmla="*/ 2038775 h 2164296"/>
              <a:gd name="connsiteX73" fmla="*/ 635961 w 2183774"/>
              <a:gd name="connsiteY73" fmla="*/ 2005438 h 2164296"/>
              <a:gd name="connsiteX74" fmla="*/ 597861 w 2183774"/>
              <a:gd name="connsiteY74" fmla="*/ 1976863 h 2164296"/>
              <a:gd name="connsiteX75" fmla="*/ 583574 w 2183774"/>
              <a:gd name="connsiteY75" fmla="*/ 1957813 h 2164296"/>
              <a:gd name="connsiteX76" fmla="*/ 569286 w 2183774"/>
              <a:gd name="connsiteY76" fmla="*/ 1934000 h 2164296"/>
              <a:gd name="connsiteX77" fmla="*/ 535949 w 2183774"/>
              <a:gd name="connsiteY77" fmla="*/ 1895900 h 2164296"/>
              <a:gd name="connsiteX78" fmla="*/ 393074 w 2183774"/>
              <a:gd name="connsiteY78" fmla="*/ 1705400 h 2164296"/>
              <a:gd name="connsiteX79" fmla="*/ 378786 w 2183774"/>
              <a:gd name="connsiteY79" fmla="*/ 1686350 h 2164296"/>
              <a:gd name="connsiteX80" fmla="*/ 359736 w 2183774"/>
              <a:gd name="connsiteY80" fmla="*/ 1657775 h 2164296"/>
              <a:gd name="connsiteX81" fmla="*/ 302586 w 2183774"/>
              <a:gd name="connsiteY81" fmla="*/ 1600625 h 2164296"/>
              <a:gd name="connsiteX82" fmla="*/ 278774 w 2183774"/>
              <a:gd name="connsiteY82" fmla="*/ 1576813 h 2164296"/>
              <a:gd name="connsiteX83" fmla="*/ 264486 w 2183774"/>
              <a:gd name="connsiteY83" fmla="*/ 1562525 h 2164296"/>
              <a:gd name="connsiteX84" fmla="*/ 226386 w 2183774"/>
              <a:gd name="connsiteY84" fmla="*/ 1538713 h 2164296"/>
              <a:gd name="connsiteX85" fmla="*/ 202574 w 2183774"/>
              <a:gd name="connsiteY85" fmla="*/ 1510138 h 2164296"/>
              <a:gd name="connsiteX86" fmla="*/ 178761 w 2183774"/>
              <a:gd name="connsiteY86" fmla="*/ 1491088 h 2164296"/>
              <a:gd name="connsiteX87" fmla="*/ 159711 w 2183774"/>
              <a:gd name="connsiteY87" fmla="*/ 1462513 h 2164296"/>
              <a:gd name="connsiteX88" fmla="*/ 135899 w 2183774"/>
              <a:gd name="connsiteY88" fmla="*/ 1438700 h 2164296"/>
              <a:gd name="connsiteX89" fmla="*/ 126374 w 2183774"/>
              <a:gd name="connsiteY89" fmla="*/ 1424413 h 2164296"/>
              <a:gd name="connsiteX90" fmla="*/ 107324 w 2183774"/>
              <a:gd name="connsiteY90" fmla="*/ 1405363 h 2164296"/>
              <a:gd name="connsiteX91" fmla="*/ 88274 w 2183774"/>
              <a:gd name="connsiteY91" fmla="*/ 1376788 h 2164296"/>
              <a:gd name="connsiteX92" fmla="*/ 73986 w 2183774"/>
              <a:gd name="connsiteY92" fmla="*/ 1362500 h 2164296"/>
              <a:gd name="connsiteX93" fmla="*/ 64461 w 2183774"/>
              <a:gd name="connsiteY93" fmla="*/ 1348213 h 2164296"/>
              <a:gd name="connsiteX94" fmla="*/ 50174 w 2183774"/>
              <a:gd name="connsiteY94" fmla="*/ 1329163 h 2164296"/>
              <a:gd name="connsiteX95" fmla="*/ 45411 w 2183774"/>
              <a:gd name="connsiteY95" fmla="*/ 1305350 h 2164296"/>
              <a:gd name="connsiteX96" fmla="*/ 21599 w 2183774"/>
              <a:gd name="connsiteY96" fmla="*/ 1257725 h 2164296"/>
              <a:gd name="connsiteX97" fmla="*/ 12074 w 2183774"/>
              <a:gd name="connsiteY97" fmla="*/ 1200575 h 2164296"/>
              <a:gd name="connsiteX98" fmla="*/ 16836 w 2183774"/>
              <a:gd name="connsiteY98" fmla="*/ 991025 h 2164296"/>
              <a:gd name="connsiteX99" fmla="*/ 54936 w 2183774"/>
              <a:gd name="connsiteY99" fmla="*/ 929113 h 2164296"/>
              <a:gd name="connsiteX100" fmla="*/ 78749 w 2183774"/>
              <a:gd name="connsiteY100" fmla="*/ 891013 h 2164296"/>
              <a:gd name="connsiteX101" fmla="*/ 97799 w 2183774"/>
              <a:gd name="connsiteY101" fmla="*/ 848150 h 2164296"/>
              <a:gd name="connsiteX102" fmla="*/ 159711 w 2183774"/>
              <a:gd name="connsiteY102" fmla="*/ 733850 h 2164296"/>
              <a:gd name="connsiteX103" fmla="*/ 221624 w 2183774"/>
              <a:gd name="connsiteY103" fmla="*/ 610025 h 2164296"/>
              <a:gd name="connsiteX104" fmla="*/ 226386 w 2183774"/>
              <a:gd name="connsiteY104" fmla="*/ 581450 h 2164296"/>
              <a:gd name="connsiteX105" fmla="*/ 250199 w 2183774"/>
              <a:gd name="connsiteY105" fmla="*/ 538588 h 2164296"/>
              <a:gd name="connsiteX106" fmla="*/ 264486 w 2183774"/>
              <a:gd name="connsiteY106" fmla="*/ 500488 h 2164296"/>
              <a:gd name="connsiteX107" fmla="*/ 278774 w 2183774"/>
              <a:gd name="connsiteY107" fmla="*/ 471913 h 2164296"/>
              <a:gd name="connsiteX108" fmla="*/ 288299 w 2183774"/>
              <a:gd name="connsiteY108" fmla="*/ 443338 h 2164296"/>
              <a:gd name="connsiteX109" fmla="*/ 297824 w 2183774"/>
              <a:gd name="connsiteY109" fmla="*/ 429050 h 2164296"/>
              <a:gd name="connsiteX110" fmla="*/ 307349 w 2183774"/>
              <a:gd name="connsiteY110" fmla="*/ 405238 h 2164296"/>
              <a:gd name="connsiteX111" fmla="*/ 326399 w 2183774"/>
              <a:gd name="connsiteY111" fmla="*/ 381425 h 2164296"/>
              <a:gd name="connsiteX112" fmla="*/ 345449 w 2183774"/>
              <a:gd name="connsiteY112" fmla="*/ 333800 h 2164296"/>
              <a:gd name="connsiteX113" fmla="*/ 374024 w 2183774"/>
              <a:gd name="connsiteY113" fmla="*/ 290938 h 2164296"/>
              <a:gd name="connsiteX114" fmla="*/ 397836 w 2183774"/>
              <a:gd name="connsiteY114" fmla="*/ 248075 h 2164296"/>
              <a:gd name="connsiteX115" fmla="*/ 412124 w 2183774"/>
              <a:gd name="connsiteY115" fmla="*/ 229025 h 2164296"/>
              <a:gd name="connsiteX116" fmla="*/ 435936 w 2183774"/>
              <a:gd name="connsiteY116" fmla="*/ 214738 h 2164296"/>
              <a:gd name="connsiteX117" fmla="*/ 459749 w 2183774"/>
              <a:gd name="connsiteY117" fmla="*/ 190925 h 2164296"/>
              <a:gd name="connsiteX118" fmla="*/ 474036 w 2183774"/>
              <a:gd name="connsiteY118" fmla="*/ 181400 h 2164296"/>
              <a:gd name="connsiteX119" fmla="*/ 507374 w 2183774"/>
              <a:gd name="connsiteY119" fmla="*/ 143300 h 2164296"/>
              <a:gd name="connsiteX120" fmla="*/ 521661 w 2183774"/>
              <a:gd name="connsiteY120" fmla="*/ 133775 h 2164296"/>
              <a:gd name="connsiteX121" fmla="*/ 631199 w 2183774"/>
              <a:gd name="connsiteY121" fmla="*/ 71863 h 2164296"/>
              <a:gd name="connsiteX122" fmla="*/ 645486 w 2183774"/>
              <a:gd name="connsiteY122" fmla="*/ 52813 h 2164296"/>
              <a:gd name="connsiteX123" fmla="*/ 664536 w 2183774"/>
              <a:gd name="connsiteY123" fmla="*/ 48050 h 2164296"/>
              <a:gd name="connsiteX124" fmla="*/ 688349 w 2183774"/>
              <a:gd name="connsiteY124" fmla="*/ 38525 h 2164296"/>
              <a:gd name="connsiteX125" fmla="*/ 731211 w 2183774"/>
              <a:gd name="connsiteY125" fmla="*/ 24238 h 2164296"/>
              <a:gd name="connsiteX126" fmla="*/ 759786 w 2183774"/>
              <a:gd name="connsiteY126" fmla="*/ 14713 h 2164296"/>
              <a:gd name="connsiteX127" fmla="*/ 807411 w 2183774"/>
              <a:gd name="connsiteY127" fmla="*/ 9950 h 2164296"/>
              <a:gd name="connsiteX128" fmla="*/ 878849 w 2183774"/>
              <a:gd name="connsiteY128" fmla="*/ 425 h 2164296"/>
              <a:gd name="connsiteX0" fmla="*/ 797660 w 2169260"/>
              <a:gd name="connsiteY0" fmla="*/ 425 h 2164296"/>
              <a:gd name="connsiteX1" fmla="*/ 950060 w 2169260"/>
              <a:gd name="connsiteY1" fmla="*/ 5188 h 2164296"/>
              <a:gd name="connsiteX2" fmla="*/ 973872 w 2169260"/>
              <a:gd name="connsiteY2" fmla="*/ 9950 h 2164296"/>
              <a:gd name="connsiteX3" fmla="*/ 1040547 w 2169260"/>
              <a:gd name="connsiteY3" fmla="*/ 19475 h 2164296"/>
              <a:gd name="connsiteX4" fmla="*/ 1069122 w 2169260"/>
              <a:gd name="connsiteY4" fmla="*/ 24238 h 2164296"/>
              <a:gd name="connsiteX5" fmla="*/ 1092935 w 2169260"/>
              <a:gd name="connsiteY5" fmla="*/ 38525 h 2164296"/>
              <a:gd name="connsiteX6" fmla="*/ 1135797 w 2169260"/>
              <a:gd name="connsiteY6" fmla="*/ 48050 h 2164296"/>
              <a:gd name="connsiteX7" fmla="*/ 1154847 w 2169260"/>
              <a:gd name="connsiteY7" fmla="*/ 52813 h 2164296"/>
              <a:gd name="connsiteX8" fmla="*/ 1188185 w 2169260"/>
              <a:gd name="connsiteY8" fmla="*/ 57575 h 2164296"/>
              <a:gd name="connsiteX9" fmla="*/ 1283435 w 2169260"/>
              <a:gd name="connsiteY9" fmla="*/ 71863 h 2164296"/>
              <a:gd name="connsiteX10" fmla="*/ 1454885 w 2169260"/>
              <a:gd name="connsiteY10" fmla="*/ 109963 h 2164296"/>
              <a:gd name="connsiteX11" fmla="*/ 1478697 w 2169260"/>
              <a:gd name="connsiteY11" fmla="*/ 114725 h 2164296"/>
              <a:gd name="connsiteX12" fmla="*/ 1616810 w 2169260"/>
              <a:gd name="connsiteY12" fmla="*/ 124250 h 2164296"/>
              <a:gd name="connsiteX13" fmla="*/ 1650147 w 2169260"/>
              <a:gd name="connsiteY13" fmla="*/ 129013 h 2164296"/>
              <a:gd name="connsiteX14" fmla="*/ 1673960 w 2169260"/>
              <a:gd name="connsiteY14" fmla="*/ 133775 h 2164296"/>
              <a:gd name="connsiteX15" fmla="*/ 1721585 w 2169260"/>
              <a:gd name="connsiteY15" fmla="*/ 138538 h 2164296"/>
              <a:gd name="connsiteX16" fmla="*/ 1759685 w 2169260"/>
              <a:gd name="connsiteY16" fmla="*/ 152825 h 2164296"/>
              <a:gd name="connsiteX17" fmla="*/ 1773972 w 2169260"/>
              <a:gd name="connsiteY17" fmla="*/ 162350 h 2164296"/>
              <a:gd name="connsiteX18" fmla="*/ 1797785 w 2169260"/>
              <a:gd name="connsiteY18" fmla="*/ 167113 h 2164296"/>
              <a:gd name="connsiteX19" fmla="*/ 1821597 w 2169260"/>
              <a:gd name="connsiteY19" fmla="*/ 181400 h 2164296"/>
              <a:gd name="connsiteX20" fmla="*/ 1845410 w 2169260"/>
              <a:gd name="connsiteY20" fmla="*/ 190925 h 2164296"/>
              <a:gd name="connsiteX21" fmla="*/ 1859697 w 2169260"/>
              <a:gd name="connsiteY21" fmla="*/ 205213 h 2164296"/>
              <a:gd name="connsiteX22" fmla="*/ 1893035 w 2169260"/>
              <a:gd name="connsiteY22" fmla="*/ 229025 h 2164296"/>
              <a:gd name="connsiteX23" fmla="*/ 1945422 w 2169260"/>
              <a:gd name="connsiteY23" fmla="*/ 267125 h 2164296"/>
              <a:gd name="connsiteX24" fmla="*/ 1969235 w 2169260"/>
              <a:gd name="connsiteY24" fmla="*/ 295700 h 2164296"/>
              <a:gd name="connsiteX25" fmla="*/ 2002572 w 2169260"/>
              <a:gd name="connsiteY25" fmla="*/ 348088 h 2164296"/>
              <a:gd name="connsiteX26" fmla="*/ 2021622 w 2169260"/>
              <a:gd name="connsiteY26" fmla="*/ 410000 h 2164296"/>
              <a:gd name="connsiteX27" fmla="*/ 2031147 w 2169260"/>
              <a:gd name="connsiteY27" fmla="*/ 443338 h 2164296"/>
              <a:gd name="connsiteX28" fmla="*/ 2035910 w 2169260"/>
              <a:gd name="connsiteY28" fmla="*/ 457625 h 2164296"/>
              <a:gd name="connsiteX29" fmla="*/ 2045435 w 2169260"/>
              <a:gd name="connsiteY29" fmla="*/ 476675 h 2164296"/>
              <a:gd name="connsiteX30" fmla="*/ 2064485 w 2169260"/>
              <a:gd name="connsiteY30" fmla="*/ 548113 h 2164296"/>
              <a:gd name="connsiteX31" fmla="*/ 2078772 w 2169260"/>
              <a:gd name="connsiteY31" fmla="*/ 610025 h 2164296"/>
              <a:gd name="connsiteX32" fmla="*/ 2083535 w 2169260"/>
              <a:gd name="connsiteY32" fmla="*/ 914825 h 2164296"/>
              <a:gd name="connsiteX33" fmla="*/ 2121635 w 2169260"/>
              <a:gd name="connsiteY33" fmla="*/ 1086275 h 2164296"/>
              <a:gd name="connsiteX34" fmla="*/ 2126397 w 2169260"/>
              <a:gd name="connsiteY34" fmla="*/ 1148188 h 2164296"/>
              <a:gd name="connsiteX35" fmla="*/ 2140685 w 2169260"/>
              <a:gd name="connsiteY35" fmla="*/ 1191050 h 2164296"/>
              <a:gd name="connsiteX36" fmla="*/ 2145447 w 2169260"/>
              <a:gd name="connsiteY36" fmla="*/ 1224388 h 2164296"/>
              <a:gd name="connsiteX37" fmla="*/ 2164497 w 2169260"/>
              <a:gd name="connsiteY37" fmla="*/ 1276775 h 2164296"/>
              <a:gd name="connsiteX38" fmla="*/ 2169260 w 2169260"/>
              <a:gd name="connsiteY38" fmla="*/ 1300588 h 2164296"/>
              <a:gd name="connsiteX39" fmla="*/ 2164497 w 2169260"/>
              <a:gd name="connsiteY39" fmla="*/ 1514900 h 2164296"/>
              <a:gd name="connsiteX40" fmla="*/ 2154972 w 2169260"/>
              <a:gd name="connsiteY40" fmla="*/ 1529188 h 2164296"/>
              <a:gd name="connsiteX41" fmla="*/ 2145447 w 2169260"/>
              <a:gd name="connsiteY41" fmla="*/ 1562525 h 2164296"/>
              <a:gd name="connsiteX42" fmla="*/ 2135922 w 2169260"/>
              <a:gd name="connsiteY42" fmla="*/ 1576813 h 2164296"/>
              <a:gd name="connsiteX43" fmla="*/ 2131160 w 2169260"/>
              <a:gd name="connsiteY43" fmla="*/ 1600625 h 2164296"/>
              <a:gd name="connsiteX44" fmla="*/ 2116872 w 2169260"/>
              <a:gd name="connsiteY44" fmla="*/ 1614913 h 2164296"/>
              <a:gd name="connsiteX45" fmla="*/ 2107347 w 2169260"/>
              <a:gd name="connsiteY45" fmla="*/ 1629200 h 2164296"/>
              <a:gd name="connsiteX46" fmla="*/ 2078772 w 2169260"/>
              <a:gd name="connsiteY46" fmla="*/ 1657775 h 2164296"/>
              <a:gd name="connsiteX47" fmla="*/ 2050197 w 2169260"/>
              <a:gd name="connsiteY47" fmla="*/ 1686350 h 2164296"/>
              <a:gd name="connsiteX48" fmla="*/ 2040672 w 2169260"/>
              <a:gd name="connsiteY48" fmla="*/ 1700638 h 2164296"/>
              <a:gd name="connsiteX49" fmla="*/ 2026385 w 2169260"/>
              <a:gd name="connsiteY49" fmla="*/ 1710163 h 2164296"/>
              <a:gd name="connsiteX50" fmla="*/ 2002572 w 2169260"/>
              <a:gd name="connsiteY50" fmla="*/ 1724450 h 2164296"/>
              <a:gd name="connsiteX51" fmla="*/ 1978760 w 2169260"/>
              <a:gd name="connsiteY51" fmla="*/ 1743500 h 2164296"/>
              <a:gd name="connsiteX52" fmla="*/ 1907322 w 2169260"/>
              <a:gd name="connsiteY52" fmla="*/ 1772075 h 2164296"/>
              <a:gd name="connsiteX53" fmla="*/ 1888272 w 2169260"/>
              <a:gd name="connsiteY53" fmla="*/ 1786363 h 2164296"/>
              <a:gd name="connsiteX54" fmla="*/ 1840647 w 2169260"/>
              <a:gd name="connsiteY54" fmla="*/ 1814938 h 2164296"/>
              <a:gd name="connsiteX55" fmla="*/ 1826360 w 2169260"/>
              <a:gd name="connsiteY55" fmla="*/ 1833988 h 2164296"/>
              <a:gd name="connsiteX56" fmla="*/ 1773972 w 2169260"/>
              <a:gd name="connsiteY56" fmla="*/ 1862563 h 2164296"/>
              <a:gd name="connsiteX57" fmla="*/ 1631098 w 2169260"/>
              <a:gd name="connsiteY57" fmla="*/ 1891137 h 2164296"/>
              <a:gd name="connsiteX58" fmla="*/ 1383447 w 2169260"/>
              <a:gd name="connsiteY58" fmla="*/ 2014962 h 2164296"/>
              <a:gd name="connsiteX59" fmla="*/ 1331060 w 2169260"/>
              <a:gd name="connsiteY59" fmla="*/ 2053063 h 2164296"/>
              <a:gd name="connsiteX60" fmla="*/ 1316772 w 2169260"/>
              <a:gd name="connsiteY60" fmla="*/ 2062588 h 2164296"/>
              <a:gd name="connsiteX61" fmla="*/ 1278672 w 2169260"/>
              <a:gd name="connsiteY61" fmla="*/ 2072113 h 2164296"/>
              <a:gd name="connsiteX62" fmla="*/ 1254860 w 2169260"/>
              <a:gd name="connsiteY62" fmla="*/ 2086400 h 2164296"/>
              <a:gd name="connsiteX63" fmla="*/ 1202472 w 2169260"/>
              <a:gd name="connsiteY63" fmla="*/ 2100688 h 2164296"/>
              <a:gd name="connsiteX64" fmla="*/ 1159610 w 2169260"/>
              <a:gd name="connsiteY64" fmla="*/ 2119738 h 2164296"/>
              <a:gd name="connsiteX65" fmla="*/ 1140560 w 2169260"/>
              <a:gd name="connsiteY65" fmla="*/ 2134025 h 2164296"/>
              <a:gd name="connsiteX66" fmla="*/ 1069122 w 2169260"/>
              <a:gd name="connsiteY66" fmla="*/ 2148313 h 2164296"/>
              <a:gd name="connsiteX67" fmla="*/ 1040547 w 2169260"/>
              <a:gd name="connsiteY67" fmla="*/ 2162600 h 2164296"/>
              <a:gd name="connsiteX68" fmla="*/ 907197 w 2169260"/>
              <a:gd name="connsiteY68" fmla="*/ 2157838 h 2164296"/>
              <a:gd name="connsiteX69" fmla="*/ 797660 w 2169260"/>
              <a:gd name="connsiteY69" fmla="*/ 2105450 h 2164296"/>
              <a:gd name="connsiteX70" fmla="*/ 759560 w 2169260"/>
              <a:gd name="connsiteY70" fmla="*/ 2091163 h 2164296"/>
              <a:gd name="connsiteX71" fmla="*/ 711935 w 2169260"/>
              <a:gd name="connsiteY71" fmla="*/ 2062588 h 2164296"/>
              <a:gd name="connsiteX72" fmla="*/ 654785 w 2169260"/>
              <a:gd name="connsiteY72" fmla="*/ 2038775 h 2164296"/>
              <a:gd name="connsiteX73" fmla="*/ 621447 w 2169260"/>
              <a:gd name="connsiteY73" fmla="*/ 2005438 h 2164296"/>
              <a:gd name="connsiteX74" fmla="*/ 583347 w 2169260"/>
              <a:gd name="connsiteY74" fmla="*/ 1976863 h 2164296"/>
              <a:gd name="connsiteX75" fmla="*/ 569060 w 2169260"/>
              <a:gd name="connsiteY75" fmla="*/ 1957813 h 2164296"/>
              <a:gd name="connsiteX76" fmla="*/ 554772 w 2169260"/>
              <a:gd name="connsiteY76" fmla="*/ 1934000 h 2164296"/>
              <a:gd name="connsiteX77" fmla="*/ 521435 w 2169260"/>
              <a:gd name="connsiteY77" fmla="*/ 1895900 h 2164296"/>
              <a:gd name="connsiteX78" fmla="*/ 378560 w 2169260"/>
              <a:gd name="connsiteY78" fmla="*/ 1705400 h 2164296"/>
              <a:gd name="connsiteX79" fmla="*/ 364272 w 2169260"/>
              <a:gd name="connsiteY79" fmla="*/ 1686350 h 2164296"/>
              <a:gd name="connsiteX80" fmla="*/ 345222 w 2169260"/>
              <a:gd name="connsiteY80" fmla="*/ 1657775 h 2164296"/>
              <a:gd name="connsiteX81" fmla="*/ 288072 w 2169260"/>
              <a:gd name="connsiteY81" fmla="*/ 1600625 h 2164296"/>
              <a:gd name="connsiteX82" fmla="*/ 264260 w 2169260"/>
              <a:gd name="connsiteY82" fmla="*/ 1576813 h 2164296"/>
              <a:gd name="connsiteX83" fmla="*/ 249972 w 2169260"/>
              <a:gd name="connsiteY83" fmla="*/ 1562525 h 2164296"/>
              <a:gd name="connsiteX84" fmla="*/ 211872 w 2169260"/>
              <a:gd name="connsiteY84" fmla="*/ 1538713 h 2164296"/>
              <a:gd name="connsiteX85" fmla="*/ 188060 w 2169260"/>
              <a:gd name="connsiteY85" fmla="*/ 1510138 h 2164296"/>
              <a:gd name="connsiteX86" fmla="*/ 164247 w 2169260"/>
              <a:gd name="connsiteY86" fmla="*/ 1491088 h 2164296"/>
              <a:gd name="connsiteX87" fmla="*/ 145197 w 2169260"/>
              <a:gd name="connsiteY87" fmla="*/ 1462513 h 2164296"/>
              <a:gd name="connsiteX88" fmla="*/ 121385 w 2169260"/>
              <a:gd name="connsiteY88" fmla="*/ 1438700 h 2164296"/>
              <a:gd name="connsiteX89" fmla="*/ 111860 w 2169260"/>
              <a:gd name="connsiteY89" fmla="*/ 1424413 h 2164296"/>
              <a:gd name="connsiteX90" fmla="*/ 92810 w 2169260"/>
              <a:gd name="connsiteY90" fmla="*/ 1405363 h 2164296"/>
              <a:gd name="connsiteX91" fmla="*/ 73760 w 2169260"/>
              <a:gd name="connsiteY91" fmla="*/ 1376788 h 2164296"/>
              <a:gd name="connsiteX92" fmla="*/ 59472 w 2169260"/>
              <a:gd name="connsiteY92" fmla="*/ 1362500 h 2164296"/>
              <a:gd name="connsiteX93" fmla="*/ 49947 w 2169260"/>
              <a:gd name="connsiteY93" fmla="*/ 1348213 h 2164296"/>
              <a:gd name="connsiteX94" fmla="*/ 35660 w 2169260"/>
              <a:gd name="connsiteY94" fmla="*/ 1329163 h 2164296"/>
              <a:gd name="connsiteX95" fmla="*/ 30897 w 2169260"/>
              <a:gd name="connsiteY95" fmla="*/ 1305350 h 2164296"/>
              <a:gd name="connsiteX96" fmla="*/ 7085 w 2169260"/>
              <a:gd name="connsiteY96" fmla="*/ 1257725 h 2164296"/>
              <a:gd name="connsiteX97" fmla="*/ 2322 w 2169260"/>
              <a:gd name="connsiteY97" fmla="*/ 991025 h 2164296"/>
              <a:gd name="connsiteX98" fmla="*/ 40422 w 2169260"/>
              <a:gd name="connsiteY98" fmla="*/ 929113 h 2164296"/>
              <a:gd name="connsiteX99" fmla="*/ 64235 w 2169260"/>
              <a:gd name="connsiteY99" fmla="*/ 891013 h 2164296"/>
              <a:gd name="connsiteX100" fmla="*/ 83285 w 2169260"/>
              <a:gd name="connsiteY100" fmla="*/ 848150 h 2164296"/>
              <a:gd name="connsiteX101" fmla="*/ 145197 w 2169260"/>
              <a:gd name="connsiteY101" fmla="*/ 733850 h 2164296"/>
              <a:gd name="connsiteX102" fmla="*/ 207110 w 2169260"/>
              <a:gd name="connsiteY102" fmla="*/ 610025 h 2164296"/>
              <a:gd name="connsiteX103" fmla="*/ 211872 w 2169260"/>
              <a:gd name="connsiteY103" fmla="*/ 581450 h 2164296"/>
              <a:gd name="connsiteX104" fmla="*/ 235685 w 2169260"/>
              <a:gd name="connsiteY104" fmla="*/ 538588 h 2164296"/>
              <a:gd name="connsiteX105" fmla="*/ 249972 w 2169260"/>
              <a:gd name="connsiteY105" fmla="*/ 500488 h 2164296"/>
              <a:gd name="connsiteX106" fmla="*/ 264260 w 2169260"/>
              <a:gd name="connsiteY106" fmla="*/ 471913 h 2164296"/>
              <a:gd name="connsiteX107" fmla="*/ 273785 w 2169260"/>
              <a:gd name="connsiteY107" fmla="*/ 443338 h 2164296"/>
              <a:gd name="connsiteX108" fmla="*/ 283310 w 2169260"/>
              <a:gd name="connsiteY108" fmla="*/ 429050 h 2164296"/>
              <a:gd name="connsiteX109" fmla="*/ 292835 w 2169260"/>
              <a:gd name="connsiteY109" fmla="*/ 405238 h 2164296"/>
              <a:gd name="connsiteX110" fmla="*/ 311885 w 2169260"/>
              <a:gd name="connsiteY110" fmla="*/ 381425 h 2164296"/>
              <a:gd name="connsiteX111" fmla="*/ 330935 w 2169260"/>
              <a:gd name="connsiteY111" fmla="*/ 333800 h 2164296"/>
              <a:gd name="connsiteX112" fmla="*/ 359510 w 2169260"/>
              <a:gd name="connsiteY112" fmla="*/ 290938 h 2164296"/>
              <a:gd name="connsiteX113" fmla="*/ 383322 w 2169260"/>
              <a:gd name="connsiteY113" fmla="*/ 248075 h 2164296"/>
              <a:gd name="connsiteX114" fmla="*/ 397610 w 2169260"/>
              <a:gd name="connsiteY114" fmla="*/ 229025 h 2164296"/>
              <a:gd name="connsiteX115" fmla="*/ 421422 w 2169260"/>
              <a:gd name="connsiteY115" fmla="*/ 214738 h 2164296"/>
              <a:gd name="connsiteX116" fmla="*/ 445235 w 2169260"/>
              <a:gd name="connsiteY116" fmla="*/ 190925 h 2164296"/>
              <a:gd name="connsiteX117" fmla="*/ 459522 w 2169260"/>
              <a:gd name="connsiteY117" fmla="*/ 181400 h 2164296"/>
              <a:gd name="connsiteX118" fmla="*/ 492860 w 2169260"/>
              <a:gd name="connsiteY118" fmla="*/ 143300 h 2164296"/>
              <a:gd name="connsiteX119" fmla="*/ 507147 w 2169260"/>
              <a:gd name="connsiteY119" fmla="*/ 133775 h 2164296"/>
              <a:gd name="connsiteX120" fmla="*/ 616685 w 2169260"/>
              <a:gd name="connsiteY120" fmla="*/ 71863 h 2164296"/>
              <a:gd name="connsiteX121" fmla="*/ 630972 w 2169260"/>
              <a:gd name="connsiteY121" fmla="*/ 52813 h 2164296"/>
              <a:gd name="connsiteX122" fmla="*/ 650022 w 2169260"/>
              <a:gd name="connsiteY122" fmla="*/ 48050 h 2164296"/>
              <a:gd name="connsiteX123" fmla="*/ 673835 w 2169260"/>
              <a:gd name="connsiteY123" fmla="*/ 38525 h 2164296"/>
              <a:gd name="connsiteX124" fmla="*/ 716697 w 2169260"/>
              <a:gd name="connsiteY124" fmla="*/ 24238 h 2164296"/>
              <a:gd name="connsiteX125" fmla="*/ 745272 w 2169260"/>
              <a:gd name="connsiteY125" fmla="*/ 14713 h 2164296"/>
              <a:gd name="connsiteX126" fmla="*/ 792897 w 2169260"/>
              <a:gd name="connsiteY126" fmla="*/ 9950 h 2164296"/>
              <a:gd name="connsiteX127" fmla="*/ 864335 w 2169260"/>
              <a:gd name="connsiteY127" fmla="*/ 425 h 2164296"/>
              <a:gd name="connsiteX0" fmla="*/ 829383 w 2200983"/>
              <a:gd name="connsiteY0" fmla="*/ 425 h 2164296"/>
              <a:gd name="connsiteX1" fmla="*/ 981783 w 2200983"/>
              <a:gd name="connsiteY1" fmla="*/ 5188 h 2164296"/>
              <a:gd name="connsiteX2" fmla="*/ 1005595 w 2200983"/>
              <a:gd name="connsiteY2" fmla="*/ 9950 h 2164296"/>
              <a:gd name="connsiteX3" fmla="*/ 1072270 w 2200983"/>
              <a:gd name="connsiteY3" fmla="*/ 19475 h 2164296"/>
              <a:gd name="connsiteX4" fmla="*/ 1100845 w 2200983"/>
              <a:gd name="connsiteY4" fmla="*/ 24238 h 2164296"/>
              <a:gd name="connsiteX5" fmla="*/ 1124658 w 2200983"/>
              <a:gd name="connsiteY5" fmla="*/ 38525 h 2164296"/>
              <a:gd name="connsiteX6" fmla="*/ 1167520 w 2200983"/>
              <a:gd name="connsiteY6" fmla="*/ 48050 h 2164296"/>
              <a:gd name="connsiteX7" fmla="*/ 1186570 w 2200983"/>
              <a:gd name="connsiteY7" fmla="*/ 52813 h 2164296"/>
              <a:gd name="connsiteX8" fmla="*/ 1219908 w 2200983"/>
              <a:gd name="connsiteY8" fmla="*/ 57575 h 2164296"/>
              <a:gd name="connsiteX9" fmla="*/ 1315158 w 2200983"/>
              <a:gd name="connsiteY9" fmla="*/ 71863 h 2164296"/>
              <a:gd name="connsiteX10" fmla="*/ 1486608 w 2200983"/>
              <a:gd name="connsiteY10" fmla="*/ 109963 h 2164296"/>
              <a:gd name="connsiteX11" fmla="*/ 1510420 w 2200983"/>
              <a:gd name="connsiteY11" fmla="*/ 114725 h 2164296"/>
              <a:gd name="connsiteX12" fmla="*/ 1648533 w 2200983"/>
              <a:gd name="connsiteY12" fmla="*/ 124250 h 2164296"/>
              <a:gd name="connsiteX13" fmla="*/ 1681870 w 2200983"/>
              <a:gd name="connsiteY13" fmla="*/ 129013 h 2164296"/>
              <a:gd name="connsiteX14" fmla="*/ 1705683 w 2200983"/>
              <a:gd name="connsiteY14" fmla="*/ 133775 h 2164296"/>
              <a:gd name="connsiteX15" fmla="*/ 1753308 w 2200983"/>
              <a:gd name="connsiteY15" fmla="*/ 138538 h 2164296"/>
              <a:gd name="connsiteX16" fmla="*/ 1791408 w 2200983"/>
              <a:gd name="connsiteY16" fmla="*/ 152825 h 2164296"/>
              <a:gd name="connsiteX17" fmla="*/ 1805695 w 2200983"/>
              <a:gd name="connsiteY17" fmla="*/ 162350 h 2164296"/>
              <a:gd name="connsiteX18" fmla="*/ 1829508 w 2200983"/>
              <a:gd name="connsiteY18" fmla="*/ 167113 h 2164296"/>
              <a:gd name="connsiteX19" fmla="*/ 1853320 w 2200983"/>
              <a:gd name="connsiteY19" fmla="*/ 181400 h 2164296"/>
              <a:gd name="connsiteX20" fmla="*/ 1877133 w 2200983"/>
              <a:gd name="connsiteY20" fmla="*/ 190925 h 2164296"/>
              <a:gd name="connsiteX21" fmla="*/ 1891420 w 2200983"/>
              <a:gd name="connsiteY21" fmla="*/ 205213 h 2164296"/>
              <a:gd name="connsiteX22" fmla="*/ 1924758 w 2200983"/>
              <a:gd name="connsiteY22" fmla="*/ 229025 h 2164296"/>
              <a:gd name="connsiteX23" fmla="*/ 1977145 w 2200983"/>
              <a:gd name="connsiteY23" fmla="*/ 267125 h 2164296"/>
              <a:gd name="connsiteX24" fmla="*/ 2000958 w 2200983"/>
              <a:gd name="connsiteY24" fmla="*/ 295700 h 2164296"/>
              <a:gd name="connsiteX25" fmla="*/ 2034295 w 2200983"/>
              <a:gd name="connsiteY25" fmla="*/ 348088 h 2164296"/>
              <a:gd name="connsiteX26" fmla="*/ 2053345 w 2200983"/>
              <a:gd name="connsiteY26" fmla="*/ 410000 h 2164296"/>
              <a:gd name="connsiteX27" fmla="*/ 2062870 w 2200983"/>
              <a:gd name="connsiteY27" fmla="*/ 443338 h 2164296"/>
              <a:gd name="connsiteX28" fmla="*/ 2067633 w 2200983"/>
              <a:gd name="connsiteY28" fmla="*/ 457625 h 2164296"/>
              <a:gd name="connsiteX29" fmla="*/ 2077158 w 2200983"/>
              <a:gd name="connsiteY29" fmla="*/ 476675 h 2164296"/>
              <a:gd name="connsiteX30" fmla="*/ 2096208 w 2200983"/>
              <a:gd name="connsiteY30" fmla="*/ 548113 h 2164296"/>
              <a:gd name="connsiteX31" fmla="*/ 2110495 w 2200983"/>
              <a:gd name="connsiteY31" fmla="*/ 610025 h 2164296"/>
              <a:gd name="connsiteX32" fmla="*/ 2115258 w 2200983"/>
              <a:gd name="connsiteY32" fmla="*/ 914825 h 2164296"/>
              <a:gd name="connsiteX33" fmla="*/ 2153358 w 2200983"/>
              <a:gd name="connsiteY33" fmla="*/ 1086275 h 2164296"/>
              <a:gd name="connsiteX34" fmla="*/ 2158120 w 2200983"/>
              <a:gd name="connsiteY34" fmla="*/ 1148188 h 2164296"/>
              <a:gd name="connsiteX35" fmla="*/ 2172408 w 2200983"/>
              <a:gd name="connsiteY35" fmla="*/ 1191050 h 2164296"/>
              <a:gd name="connsiteX36" fmla="*/ 2177170 w 2200983"/>
              <a:gd name="connsiteY36" fmla="*/ 1224388 h 2164296"/>
              <a:gd name="connsiteX37" fmla="*/ 2196220 w 2200983"/>
              <a:gd name="connsiteY37" fmla="*/ 1276775 h 2164296"/>
              <a:gd name="connsiteX38" fmla="*/ 2200983 w 2200983"/>
              <a:gd name="connsiteY38" fmla="*/ 1300588 h 2164296"/>
              <a:gd name="connsiteX39" fmla="*/ 2196220 w 2200983"/>
              <a:gd name="connsiteY39" fmla="*/ 1514900 h 2164296"/>
              <a:gd name="connsiteX40" fmla="*/ 2186695 w 2200983"/>
              <a:gd name="connsiteY40" fmla="*/ 1529188 h 2164296"/>
              <a:gd name="connsiteX41" fmla="*/ 2177170 w 2200983"/>
              <a:gd name="connsiteY41" fmla="*/ 1562525 h 2164296"/>
              <a:gd name="connsiteX42" fmla="*/ 2167645 w 2200983"/>
              <a:gd name="connsiteY42" fmla="*/ 1576813 h 2164296"/>
              <a:gd name="connsiteX43" fmla="*/ 2162883 w 2200983"/>
              <a:gd name="connsiteY43" fmla="*/ 1600625 h 2164296"/>
              <a:gd name="connsiteX44" fmla="*/ 2148595 w 2200983"/>
              <a:gd name="connsiteY44" fmla="*/ 1614913 h 2164296"/>
              <a:gd name="connsiteX45" fmla="*/ 2139070 w 2200983"/>
              <a:gd name="connsiteY45" fmla="*/ 1629200 h 2164296"/>
              <a:gd name="connsiteX46" fmla="*/ 2110495 w 2200983"/>
              <a:gd name="connsiteY46" fmla="*/ 1657775 h 2164296"/>
              <a:gd name="connsiteX47" fmla="*/ 2081920 w 2200983"/>
              <a:gd name="connsiteY47" fmla="*/ 1686350 h 2164296"/>
              <a:gd name="connsiteX48" fmla="*/ 2072395 w 2200983"/>
              <a:gd name="connsiteY48" fmla="*/ 1700638 h 2164296"/>
              <a:gd name="connsiteX49" fmla="*/ 2058108 w 2200983"/>
              <a:gd name="connsiteY49" fmla="*/ 1710163 h 2164296"/>
              <a:gd name="connsiteX50" fmla="*/ 2034295 w 2200983"/>
              <a:gd name="connsiteY50" fmla="*/ 1724450 h 2164296"/>
              <a:gd name="connsiteX51" fmla="*/ 2010483 w 2200983"/>
              <a:gd name="connsiteY51" fmla="*/ 1743500 h 2164296"/>
              <a:gd name="connsiteX52" fmla="*/ 1939045 w 2200983"/>
              <a:gd name="connsiteY52" fmla="*/ 1772075 h 2164296"/>
              <a:gd name="connsiteX53" fmla="*/ 1919995 w 2200983"/>
              <a:gd name="connsiteY53" fmla="*/ 1786363 h 2164296"/>
              <a:gd name="connsiteX54" fmla="*/ 1872370 w 2200983"/>
              <a:gd name="connsiteY54" fmla="*/ 1814938 h 2164296"/>
              <a:gd name="connsiteX55" fmla="*/ 1858083 w 2200983"/>
              <a:gd name="connsiteY55" fmla="*/ 1833988 h 2164296"/>
              <a:gd name="connsiteX56" fmla="*/ 1805695 w 2200983"/>
              <a:gd name="connsiteY56" fmla="*/ 1862563 h 2164296"/>
              <a:gd name="connsiteX57" fmla="*/ 1662821 w 2200983"/>
              <a:gd name="connsiteY57" fmla="*/ 1891137 h 2164296"/>
              <a:gd name="connsiteX58" fmla="*/ 1415170 w 2200983"/>
              <a:gd name="connsiteY58" fmla="*/ 2014962 h 2164296"/>
              <a:gd name="connsiteX59" fmla="*/ 1362783 w 2200983"/>
              <a:gd name="connsiteY59" fmla="*/ 2053063 h 2164296"/>
              <a:gd name="connsiteX60" fmla="*/ 1348495 w 2200983"/>
              <a:gd name="connsiteY60" fmla="*/ 2062588 h 2164296"/>
              <a:gd name="connsiteX61" fmla="*/ 1310395 w 2200983"/>
              <a:gd name="connsiteY61" fmla="*/ 2072113 h 2164296"/>
              <a:gd name="connsiteX62" fmla="*/ 1286583 w 2200983"/>
              <a:gd name="connsiteY62" fmla="*/ 2086400 h 2164296"/>
              <a:gd name="connsiteX63" fmla="*/ 1234195 w 2200983"/>
              <a:gd name="connsiteY63" fmla="*/ 2100688 h 2164296"/>
              <a:gd name="connsiteX64" fmla="*/ 1191333 w 2200983"/>
              <a:gd name="connsiteY64" fmla="*/ 2119738 h 2164296"/>
              <a:gd name="connsiteX65" fmla="*/ 1172283 w 2200983"/>
              <a:gd name="connsiteY65" fmla="*/ 2134025 h 2164296"/>
              <a:gd name="connsiteX66" fmla="*/ 1100845 w 2200983"/>
              <a:gd name="connsiteY66" fmla="*/ 2148313 h 2164296"/>
              <a:gd name="connsiteX67" fmla="*/ 1072270 w 2200983"/>
              <a:gd name="connsiteY67" fmla="*/ 2162600 h 2164296"/>
              <a:gd name="connsiteX68" fmla="*/ 938920 w 2200983"/>
              <a:gd name="connsiteY68" fmla="*/ 2157838 h 2164296"/>
              <a:gd name="connsiteX69" fmla="*/ 829383 w 2200983"/>
              <a:gd name="connsiteY69" fmla="*/ 2105450 h 2164296"/>
              <a:gd name="connsiteX70" fmla="*/ 791283 w 2200983"/>
              <a:gd name="connsiteY70" fmla="*/ 2091163 h 2164296"/>
              <a:gd name="connsiteX71" fmla="*/ 743658 w 2200983"/>
              <a:gd name="connsiteY71" fmla="*/ 2062588 h 2164296"/>
              <a:gd name="connsiteX72" fmla="*/ 686508 w 2200983"/>
              <a:gd name="connsiteY72" fmla="*/ 2038775 h 2164296"/>
              <a:gd name="connsiteX73" fmla="*/ 653170 w 2200983"/>
              <a:gd name="connsiteY73" fmla="*/ 2005438 h 2164296"/>
              <a:gd name="connsiteX74" fmla="*/ 615070 w 2200983"/>
              <a:gd name="connsiteY74" fmla="*/ 1976863 h 2164296"/>
              <a:gd name="connsiteX75" fmla="*/ 600783 w 2200983"/>
              <a:gd name="connsiteY75" fmla="*/ 1957813 h 2164296"/>
              <a:gd name="connsiteX76" fmla="*/ 586495 w 2200983"/>
              <a:gd name="connsiteY76" fmla="*/ 1934000 h 2164296"/>
              <a:gd name="connsiteX77" fmla="*/ 553158 w 2200983"/>
              <a:gd name="connsiteY77" fmla="*/ 1895900 h 2164296"/>
              <a:gd name="connsiteX78" fmla="*/ 410283 w 2200983"/>
              <a:gd name="connsiteY78" fmla="*/ 1705400 h 2164296"/>
              <a:gd name="connsiteX79" fmla="*/ 395995 w 2200983"/>
              <a:gd name="connsiteY79" fmla="*/ 1686350 h 2164296"/>
              <a:gd name="connsiteX80" fmla="*/ 376945 w 2200983"/>
              <a:gd name="connsiteY80" fmla="*/ 1657775 h 2164296"/>
              <a:gd name="connsiteX81" fmla="*/ 319795 w 2200983"/>
              <a:gd name="connsiteY81" fmla="*/ 1600625 h 2164296"/>
              <a:gd name="connsiteX82" fmla="*/ 295983 w 2200983"/>
              <a:gd name="connsiteY82" fmla="*/ 1576813 h 2164296"/>
              <a:gd name="connsiteX83" fmla="*/ 281695 w 2200983"/>
              <a:gd name="connsiteY83" fmla="*/ 1562525 h 2164296"/>
              <a:gd name="connsiteX84" fmla="*/ 243595 w 2200983"/>
              <a:gd name="connsiteY84" fmla="*/ 1538713 h 2164296"/>
              <a:gd name="connsiteX85" fmla="*/ 219783 w 2200983"/>
              <a:gd name="connsiteY85" fmla="*/ 1510138 h 2164296"/>
              <a:gd name="connsiteX86" fmla="*/ 195970 w 2200983"/>
              <a:gd name="connsiteY86" fmla="*/ 1491088 h 2164296"/>
              <a:gd name="connsiteX87" fmla="*/ 176920 w 2200983"/>
              <a:gd name="connsiteY87" fmla="*/ 1462513 h 2164296"/>
              <a:gd name="connsiteX88" fmla="*/ 153108 w 2200983"/>
              <a:gd name="connsiteY88" fmla="*/ 1438700 h 2164296"/>
              <a:gd name="connsiteX89" fmla="*/ 143583 w 2200983"/>
              <a:gd name="connsiteY89" fmla="*/ 1424413 h 2164296"/>
              <a:gd name="connsiteX90" fmla="*/ 124533 w 2200983"/>
              <a:gd name="connsiteY90" fmla="*/ 1405363 h 2164296"/>
              <a:gd name="connsiteX91" fmla="*/ 105483 w 2200983"/>
              <a:gd name="connsiteY91" fmla="*/ 1376788 h 2164296"/>
              <a:gd name="connsiteX92" fmla="*/ 91195 w 2200983"/>
              <a:gd name="connsiteY92" fmla="*/ 1362500 h 2164296"/>
              <a:gd name="connsiteX93" fmla="*/ 81670 w 2200983"/>
              <a:gd name="connsiteY93" fmla="*/ 1348213 h 2164296"/>
              <a:gd name="connsiteX94" fmla="*/ 67383 w 2200983"/>
              <a:gd name="connsiteY94" fmla="*/ 1329163 h 2164296"/>
              <a:gd name="connsiteX95" fmla="*/ 62620 w 2200983"/>
              <a:gd name="connsiteY95" fmla="*/ 1305350 h 2164296"/>
              <a:gd name="connsiteX96" fmla="*/ 38808 w 2200983"/>
              <a:gd name="connsiteY96" fmla="*/ 1257725 h 2164296"/>
              <a:gd name="connsiteX97" fmla="*/ 34045 w 2200983"/>
              <a:gd name="connsiteY97" fmla="*/ 991025 h 2164296"/>
              <a:gd name="connsiteX98" fmla="*/ 72145 w 2200983"/>
              <a:gd name="connsiteY98" fmla="*/ 929113 h 2164296"/>
              <a:gd name="connsiteX99" fmla="*/ 95958 w 2200983"/>
              <a:gd name="connsiteY99" fmla="*/ 891013 h 2164296"/>
              <a:gd name="connsiteX100" fmla="*/ 115008 w 2200983"/>
              <a:gd name="connsiteY100" fmla="*/ 848150 h 2164296"/>
              <a:gd name="connsiteX101" fmla="*/ 176920 w 2200983"/>
              <a:gd name="connsiteY101" fmla="*/ 733850 h 2164296"/>
              <a:gd name="connsiteX102" fmla="*/ 238833 w 2200983"/>
              <a:gd name="connsiteY102" fmla="*/ 610025 h 2164296"/>
              <a:gd name="connsiteX103" fmla="*/ 243595 w 2200983"/>
              <a:gd name="connsiteY103" fmla="*/ 581450 h 2164296"/>
              <a:gd name="connsiteX104" fmla="*/ 267408 w 2200983"/>
              <a:gd name="connsiteY104" fmla="*/ 538588 h 2164296"/>
              <a:gd name="connsiteX105" fmla="*/ 281695 w 2200983"/>
              <a:gd name="connsiteY105" fmla="*/ 500488 h 2164296"/>
              <a:gd name="connsiteX106" fmla="*/ 295983 w 2200983"/>
              <a:gd name="connsiteY106" fmla="*/ 471913 h 2164296"/>
              <a:gd name="connsiteX107" fmla="*/ 305508 w 2200983"/>
              <a:gd name="connsiteY107" fmla="*/ 443338 h 2164296"/>
              <a:gd name="connsiteX108" fmla="*/ 315033 w 2200983"/>
              <a:gd name="connsiteY108" fmla="*/ 429050 h 2164296"/>
              <a:gd name="connsiteX109" fmla="*/ 324558 w 2200983"/>
              <a:gd name="connsiteY109" fmla="*/ 405238 h 2164296"/>
              <a:gd name="connsiteX110" fmla="*/ 343608 w 2200983"/>
              <a:gd name="connsiteY110" fmla="*/ 381425 h 2164296"/>
              <a:gd name="connsiteX111" fmla="*/ 362658 w 2200983"/>
              <a:gd name="connsiteY111" fmla="*/ 333800 h 2164296"/>
              <a:gd name="connsiteX112" fmla="*/ 391233 w 2200983"/>
              <a:gd name="connsiteY112" fmla="*/ 290938 h 2164296"/>
              <a:gd name="connsiteX113" fmla="*/ 415045 w 2200983"/>
              <a:gd name="connsiteY113" fmla="*/ 248075 h 2164296"/>
              <a:gd name="connsiteX114" fmla="*/ 429333 w 2200983"/>
              <a:gd name="connsiteY114" fmla="*/ 229025 h 2164296"/>
              <a:gd name="connsiteX115" fmla="*/ 453145 w 2200983"/>
              <a:gd name="connsiteY115" fmla="*/ 214738 h 2164296"/>
              <a:gd name="connsiteX116" fmla="*/ 476958 w 2200983"/>
              <a:gd name="connsiteY116" fmla="*/ 190925 h 2164296"/>
              <a:gd name="connsiteX117" fmla="*/ 491245 w 2200983"/>
              <a:gd name="connsiteY117" fmla="*/ 181400 h 2164296"/>
              <a:gd name="connsiteX118" fmla="*/ 524583 w 2200983"/>
              <a:gd name="connsiteY118" fmla="*/ 143300 h 2164296"/>
              <a:gd name="connsiteX119" fmla="*/ 538870 w 2200983"/>
              <a:gd name="connsiteY119" fmla="*/ 133775 h 2164296"/>
              <a:gd name="connsiteX120" fmla="*/ 648408 w 2200983"/>
              <a:gd name="connsiteY120" fmla="*/ 71863 h 2164296"/>
              <a:gd name="connsiteX121" fmla="*/ 662695 w 2200983"/>
              <a:gd name="connsiteY121" fmla="*/ 52813 h 2164296"/>
              <a:gd name="connsiteX122" fmla="*/ 681745 w 2200983"/>
              <a:gd name="connsiteY122" fmla="*/ 48050 h 2164296"/>
              <a:gd name="connsiteX123" fmla="*/ 705558 w 2200983"/>
              <a:gd name="connsiteY123" fmla="*/ 38525 h 2164296"/>
              <a:gd name="connsiteX124" fmla="*/ 748420 w 2200983"/>
              <a:gd name="connsiteY124" fmla="*/ 24238 h 2164296"/>
              <a:gd name="connsiteX125" fmla="*/ 776995 w 2200983"/>
              <a:gd name="connsiteY125" fmla="*/ 14713 h 2164296"/>
              <a:gd name="connsiteX126" fmla="*/ 824620 w 2200983"/>
              <a:gd name="connsiteY126" fmla="*/ 9950 h 2164296"/>
              <a:gd name="connsiteX127" fmla="*/ 896058 w 2200983"/>
              <a:gd name="connsiteY127" fmla="*/ 425 h 2164296"/>
              <a:gd name="connsiteX0" fmla="*/ 795412 w 2167012"/>
              <a:gd name="connsiteY0" fmla="*/ 425 h 2164296"/>
              <a:gd name="connsiteX1" fmla="*/ 947812 w 2167012"/>
              <a:gd name="connsiteY1" fmla="*/ 5188 h 2164296"/>
              <a:gd name="connsiteX2" fmla="*/ 971624 w 2167012"/>
              <a:gd name="connsiteY2" fmla="*/ 9950 h 2164296"/>
              <a:gd name="connsiteX3" fmla="*/ 1038299 w 2167012"/>
              <a:gd name="connsiteY3" fmla="*/ 19475 h 2164296"/>
              <a:gd name="connsiteX4" fmla="*/ 1066874 w 2167012"/>
              <a:gd name="connsiteY4" fmla="*/ 24238 h 2164296"/>
              <a:gd name="connsiteX5" fmla="*/ 1090687 w 2167012"/>
              <a:gd name="connsiteY5" fmla="*/ 38525 h 2164296"/>
              <a:gd name="connsiteX6" fmla="*/ 1133549 w 2167012"/>
              <a:gd name="connsiteY6" fmla="*/ 48050 h 2164296"/>
              <a:gd name="connsiteX7" fmla="*/ 1152599 w 2167012"/>
              <a:gd name="connsiteY7" fmla="*/ 52813 h 2164296"/>
              <a:gd name="connsiteX8" fmla="*/ 1185937 w 2167012"/>
              <a:gd name="connsiteY8" fmla="*/ 57575 h 2164296"/>
              <a:gd name="connsiteX9" fmla="*/ 1281187 w 2167012"/>
              <a:gd name="connsiteY9" fmla="*/ 71863 h 2164296"/>
              <a:gd name="connsiteX10" fmla="*/ 1452637 w 2167012"/>
              <a:gd name="connsiteY10" fmla="*/ 109963 h 2164296"/>
              <a:gd name="connsiteX11" fmla="*/ 1476449 w 2167012"/>
              <a:gd name="connsiteY11" fmla="*/ 114725 h 2164296"/>
              <a:gd name="connsiteX12" fmla="*/ 1614562 w 2167012"/>
              <a:gd name="connsiteY12" fmla="*/ 124250 h 2164296"/>
              <a:gd name="connsiteX13" fmla="*/ 1647899 w 2167012"/>
              <a:gd name="connsiteY13" fmla="*/ 129013 h 2164296"/>
              <a:gd name="connsiteX14" fmla="*/ 1671712 w 2167012"/>
              <a:gd name="connsiteY14" fmla="*/ 133775 h 2164296"/>
              <a:gd name="connsiteX15" fmla="*/ 1719337 w 2167012"/>
              <a:gd name="connsiteY15" fmla="*/ 138538 h 2164296"/>
              <a:gd name="connsiteX16" fmla="*/ 1757437 w 2167012"/>
              <a:gd name="connsiteY16" fmla="*/ 152825 h 2164296"/>
              <a:gd name="connsiteX17" fmla="*/ 1771724 w 2167012"/>
              <a:gd name="connsiteY17" fmla="*/ 162350 h 2164296"/>
              <a:gd name="connsiteX18" fmla="*/ 1795537 w 2167012"/>
              <a:gd name="connsiteY18" fmla="*/ 167113 h 2164296"/>
              <a:gd name="connsiteX19" fmla="*/ 1819349 w 2167012"/>
              <a:gd name="connsiteY19" fmla="*/ 181400 h 2164296"/>
              <a:gd name="connsiteX20" fmla="*/ 1843162 w 2167012"/>
              <a:gd name="connsiteY20" fmla="*/ 190925 h 2164296"/>
              <a:gd name="connsiteX21" fmla="*/ 1857449 w 2167012"/>
              <a:gd name="connsiteY21" fmla="*/ 205213 h 2164296"/>
              <a:gd name="connsiteX22" fmla="*/ 1890787 w 2167012"/>
              <a:gd name="connsiteY22" fmla="*/ 229025 h 2164296"/>
              <a:gd name="connsiteX23" fmla="*/ 1943174 w 2167012"/>
              <a:gd name="connsiteY23" fmla="*/ 267125 h 2164296"/>
              <a:gd name="connsiteX24" fmla="*/ 1966987 w 2167012"/>
              <a:gd name="connsiteY24" fmla="*/ 295700 h 2164296"/>
              <a:gd name="connsiteX25" fmla="*/ 2000324 w 2167012"/>
              <a:gd name="connsiteY25" fmla="*/ 348088 h 2164296"/>
              <a:gd name="connsiteX26" fmla="*/ 2019374 w 2167012"/>
              <a:gd name="connsiteY26" fmla="*/ 410000 h 2164296"/>
              <a:gd name="connsiteX27" fmla="*/ 2028899 w 2167012"/>
              <a:gd name="connsiteY27" fmla="*/ 443338 h 2164296"/>
              <a:gd name="connsiteX28" fmla="*/ 2033662 w 2167012"/>
              <a:gd name="connsiteY28" fmla="*/ 457625 h 2164296"/>
              <a:gd name="connsiteX29" fmla="*/ 2043187 w 2167012"/>
              <a:gd name="connsiteY29" fmla="*/ 476675 h 2164296"/>
              <a:gd name="connsiteX30" fmla="*/ 2062237 w 2167012"/>
              <a:gd name="connsiteY30" fmla="*/ 548113 h 2164296"/>
              <a:gd name="connsiteX31" fmla="*/ 2076524 w 2167012"/>
              <a:gd name="connsiteY31" fmla="*/ 610025 h 2164296"/>
              <a:gd name="connsiteX32" fmla="*/ 2081287 w 2167012"/>
              <a:gd name="connsiteY32" fmla="*/ 914825 h 2164296"/>
              <a:gd name="connsiteX33" fmla="*/ 2119387 w 2167012"/>
              <a:gd name="connsiteY33" fmla="*/ 1086275 h 2164296"/>
              <a:gd name="connsiteX34" fmla="*/ 2124149 w 2167012"/>
              <a:gd name="connsiteY34" fmla="*/ 1148188 h 2164296"/>
              <a:gd name="connsiteX35" fmla="*/ 2138437 w 2167012"/>
              <a:gd name="connsiteY35" fmla="*/ 1191050 h 2164296"/>
              <a:gd name="connsiteX36" fmla="*/ 2143199 w 2167012"/>
              <a:gd name="connsiteY36" fmla="*/ 1224388 h 2164296"/>
              <a:gd name="connsiteX37" fmla="*/ 2162249 w 2167012"/>
              <a:gd name="connsiteY37" fmla="*/ 1276775 h 2164296"/>
              <a:gd name="connsiteX38" fmla="*/ 2167012 w 2167012"/>
              <a:gd name="connsiteY38" fmla="*/ 1300588 h 2164296"/>
              <a:gd name="connsiteX39" fmla="*/ 2162249 w 2167012"/>
              <a:gd name="connsiteY39" fmla="*/ 1514900 h 2164296"/>
              <a:gd name="connsiteX40" fmla="*/ 2152724 w 2167012"/>
              <a:gd name="connsiteY40" fmla="*/ 1529188 h 2164296"/>
              <a:gd name="connsiteX41" fmla="*/ 2143199 w 2167012"/>
              <a:gd name="connsiteY41" fmla="*/ 1562525 h 2164296"/>
              <a:gd name="connsiteX42" fmla="*/ 2133674 w 2167012"/>
              <a:gd name="connsiteY42" fmla="*/ 1576813 h 2164296"/>
              <a:gd name="connsiteX43" fmla="*/ 2128912 w 2167012"/>
              <a:gd name="connsiteY43" fmla="*/ 1600625 h 2164296"/>
              <a:gd name="connsiteX44" fmla="*/ 2114624 w 2167012"/>
              <a:gd name="connsiteY44" fmla="*/ 1614913 h 2164296"/>
              <a:gd name="connsiteX45" fmla="*/ 2105099 w 2167012"/>
              <a:gd name="connsiteY45" fmla="*/ 1629200 h 2164296"/>
              <a:gd name="connsiteX46" fmla="*/ 2076524 w 2167012"/>
              <a:gd name="connsiteY46" fmla="*/ 1657775 h 2164296"/>
              <a:gd name="connsiteX47" fmla="*/ 2047949 w 2167012"/>
              <a:gd name="connsiteY47" fmla="*/ 1686350 h 2164296"/>
              <a:gd name="connsiteX48" fmla="*/ 2038424 w 2167012"/>
              <a:gd name="connsiteY48" fmla="*/ 1700638 h 2164296"/>
              <a:gd name="connsiteX49" fmla="*/ 2024137 w 2167012"/>
              <a:gd name="connsiteY49" fmla="*/ 1710163 h 2164296"/>
              <a:gd name="connsiteX50" fmla="*/ 2000324 w 2167012"/>
              <a:gd name="connsiteY50" fmla="*/ 1724450 h 2164296"/>
              <a:gd name="connsiteX51" fmla="*/ 1976512 w 2167012"/>
              <a:gd name="connsiteY51" fmla="*/ 1743500 h 2164296"/>
              <a:gd name="connsiteX52" fmla="*/ 1905074 w 2167012"/>
              <a:gd name="connsiteY52" fmla="*/ 1772075 h 2164296"/>
              <a:gd name="connsiteX53" fmla="*/ 1886024 w 2167012"/>
              <a:gd name="connsiteY53" fmla="*/ 1786363 h 2164296"/>
              <a:gd name="connsiteX54" fmla="*/ 1838399 w 2167012"/>
              <a:gd name="connsiteY54" fmla="*/ 1814938 h 2164296"/>
              <a:gd name="connsiteX55" fmla="*/ 1824112 w 2167012"/>
              <a:gd name="connsiteY55" fmla="*/ 1833988 h 2164296"/>
              <a:gd name="connsiteX56" fmla="*/ 1771724 w 2167012"/>
              <a:gd name="connsiteY56" fmla="*/ 1862563 h 2164296"/>
              <a:gd name="connsiteX57" fmla="*/ 1628850 w 2167012"/>
              <a:gd name="connsiteY57" fmla="*/ 1891137 h 2164296"/>
              <a:gd name="connsiteX58" fmla="*/ 1381199 w 2167012"/>
              <a:gd name="connsiteY58" fmla="*/ 2014962 h 2164296"/>
              <a:gd name="connsiteX59" fmla="*/ 1328812 w 2167012"/>
              <a:gd name="connsiteY59" fmla="*/ 2053063 h 2164296"/>
              <a:gd name="connsiteX60" fmla="*/ 1314524 w 2167012"/>
              <a:gd name="connsiteY60" fmla="*/ 2062588 h 2164296"/>
              <a:gd name="connsiteX61" fmla="*/ 1276424 w 2167012"/>
              <a:gd name="connsiteY61" fmla="*/ 2072113 h 2164296"/>
              <a:gd name="connsiteX62" fmla="*/ 1252612 w 2167012"/>
              <a:gd name="connsiteY62" fmla="*/ 2086400 h 2164296"/>
              <a:gd name="connsiteX63" fmla="*/ 1200224 w 2167012"/>
              <a:gd name="connsiteY63" fmla="*/ 2100688 h 2164296"/>
              <a:gd name="connsiteX64" fmla="*/ 1157362 w 2167012"/>
              <a:gd name="connsiteY64" fmla="*/ 2119738 h 2164296"/>
              <a:gd name="connsiteX65" fmla="*/ 1138312 w 2167012"/>
              <a:gd name="connsiteY65" fmla="*/ 2134025 h 2164296"/>
              <a:gd name="connsiteX66" fmla="*/ 1066874 w 2167012"/>
              <a:gd name="connsiteY66" fmla="*/ 2148313 h 2164296"/>
              <a:gd name="connsiteX67" fmla="*/ 1038299 w 2167012"/>
              <a:gd name="connsiteY67" fmla="*/ 2162600 h 2164296"/>
              <a:gd name="connsiteX68" fmla="*/ 904949 w 2167012"/>
              <a:gd name="connsiteY68" fmla="*/ 2157838 h 2164296"/>
              <a:gd name="connsiteX69" fmla="*/ 795412 w 2167012"/>
              <a:gd name="connsiteY69" fmla="*/ 2105450 h 2164296"/>
              <a:gd name="connsiteX70" fmla="*/ 757312 w 2167012"/>
              <a:gd name="connsiteY70" fmla="*/ 2091163 h 2164296"/>
              <a:gd name="connsiteX71" fmla="*/ 709687 w 2167012"/>
              <a:gd name="connsiteY71" fmla="*/ 2062588 h 2164296"/>
              <a:gd name="connsiteX72" fmla="*/ 652537 w 2167012"/>
              <a:gd name="connsiteY72" fmla="*/ 2038775 h 2164296"/>
              <a:gd name="connsiteX73" fmla="*/ 619199 w 2167012"/>
              <a:gd name="connsiteY73" fmla="*/ 2005438 h 2164296"/>
              <a:gd name="connsiteX74" fmla="*/ 581099 w 2167012"/>
              <a:gd name="connsiteY74" fmla="*/ 1976863 h 2164296"/>
              <a:gd name="connsiteX75" fmla="*/ 566812 w 2167012"/>
              <a:gd name="connsiteY75" fmla="*/ 1957813 h 2164296"/>
              <a:gd name="connsiteX76" fmla="*/ 552524 w 2167012"/>
              <a:gd name="connsiteY76" fmla="*/ 1934000 h 2164296"/>
              <a:gd name="connsiteX77" fmla="*/ 519187 w 2167012"/>
              <a:gd name="connsiteY77" fmla="*/ 1895900 h 2164296"/>
              <a:gd name="connsiteX78" fmla="*/ 376312 w 2167012"/>
              <a:gd name="connsiteY78" fmla="*/ 1705400 h 2164296"/>
              <a:gd name="connsiteX79" fmla="*/ 362024 w 2167012"/>
              <a:gd name="connsiteY79" fmla="*/ 1686350 h 2164296"/>
              <a:gd name="connsiteX80" fmla="*/ 342974 w 2167012"/>
              <a:gd name="connsiteY80" fmla="*/ 1657775 h 2164296"/>
              <a:gd name="connsiteX81" fmla="*/ 285824 w 2167012"/>
              <a:gd name="connsiteY81" fmla="*/ 1600625 h 2164296"/>
              <a:gd name="connsiteX82" fmla="*/ 262012 w 2167012"/>
              <a:gd name="connsiteY82" fmla="*/ 1576813 h 2164296"/>
              <a:gd name="connsiteX83" fmla="*/ 247724 w 2167012"/>
              <a:gd name="connsiteY83" fmla="*/ 1562525 h 2164296"/>
              <a:gd name="connsiteX84" fmla="*/ 209624 w 2167012"/>
              <a:gd name="connsiteY84" fmla="*/ 1538713 h 2164296"/>
              <a:gd name="connsiteX85" fmla="*/ 185812 w 2167012"/>
              <a:gd name="connsiteY85" fmla="*/ 1510138 h 2164296"/>
              <a:gd name="connsiteX86" fmla="*/ 161999 w 2167012"/>
              <a:gd name="connsiteY86" fmla="*/ 1491088 h 2164296"/>
              <a:gd name="connsiteX87" fmla="*/ 142949 w 2167012"/>
              <a:gd name="connsiteY87" fmla="*/ 1462513 h 2164296"/>
              <a:gd name="connsiteX88" fmla="*/ 119137 w 2167012"/>
              <a:gd name="connsiteY88" fmla="*/ 1438700 h 2164296"/>
              <a:gd name="connsiteX89" fmla="*/ 109612 w 2167012"/>
              <a:gd name="connsiteY89" fmla="*/ 1424413 h 2164296"/>
              <a:gd name="connsiteX90" fmla="*/ 90562 w 2167012"/>
              <a:gd name="connsiteY90" fmla="*/ 1405363 h 2164296"/>
              <a:gd name="connsiteX91" fmla="*/ 71512 w 2167012"/>
              <a:gd name="connsiteY91" fmla="*/ 1376788 h 2164296"/>
              <a:gd name="connsiteX92" fmla="*/ 57224 w 2167012"/>
              <a:gd name="connsiteY92" fmla="*/ 1362500 h 2164296"/>
              <a:gd name="connsiteX93" fmla="*/ 47699 w 2167012"/>
              <a:gd name="connsiteY93" fmla="*/ 1348213 h 2164296"/>
              <a:gd name="connsiteX94" fmla="*/ 33412 w 2167012"/>
              <a:gd name="connsiteY94" fmla="*/ 1329163 h 2164296"/>
              <a:gd name="connsiteX95" fmla="*/ 28649 w 2167012"/>
              <a:gd name="connsiteY95" fmla="*/ 1305350 h 2164296"/>
              <a:gd name="connsiteX96" fmla="*/ 74 w 2167012"/>
              <a:gd name="connsiteY96" fmla="*/ 991025 h 2164296"/>
              <a:gd name="connsiteX97" fmla="*/ 38174 w 2167012"/>
              <a:gd name="connsiteY97" fmla="*/ 929113 h 2164296"/>
              <a:gd name="connsiteX98" fmla="*/ 61987 w 2167012"/>
              <a:gd name="connsiteY98" fmla="*/ 891013 h 2164296"/>
              <a:gd name="connsiteX99" fmla="*/ 81037 w 2167012"/>
              <a:gd name="connsiteY99" fmla="*/ 848150 h 2164296"/>
              <a:gd name="connsiteX100" fmla="*/ 142949 w 2167012"/>
              <a:gd name="connsiteY100" fmla="*/ 733850 h 2164296"/>
              <a:gd name="connsiteX101" fmla="*/ 204862 w 2167012"/>
              <a:gd name="connsiteY101" fmla="*/ 610025 h 2164296"/>
              <a:gd name="connsiteX102" fmla="*/ 209624 w 2167012"/>
              <a:gd name="connsiteY102" fmla="*/ 581450 h 2164296"/>
              <a:gd name="connsiteX103" fmla="*/ 233437 w 2167012"/>
              <a:gd name="connsiteY103" fmla="*/ 538588 h 2164296"/>
              <a:gd name="connsiteX104" fmla="*/ 247724 w 2167012"/>
              <a:gd name="connsiteY104" fmla="*/ 500488 h 2164296"/>
              <a:gd name="connsiteX105" fmla="*/ 262012 w 2167012"/>
              <a:gd name="connsiteY105" fmla="*/ 471913 h 2164296"/>
              <a:gd name="connsiteX106" fmla="*/ 271537 w 2167012"/>
              <a:gd name="connsiteY106" fmla="*/ 443338 h 2164296"/>
              <a:gd name="connsiteX107" fmla="*/ 281062 w 2167012"/>
              <a:gd name="connsiteY107" fmla="*/ 429050 h 2164296"/>
              <a:gd name="connsiteX108" fmla="*/ 290587 w 2167012"/>
              <a:gd name="connsiteY108" fmla="*/ 405238 h 2164296"/>
              <a:gd name="connsiteX109" fmla="*/ 309637 w 2167012"/>
              <a:gd name="connsiteY109" fmla="*/ 381425 h 2164296"/>
              <a:gd name="connsiteX110" fmla="*/ 328687 w 2167012"/>
              <a:gd name="connsiteY110" fmla="*/ 333800 h 2164296"/>
              <a:gd name="connsiteX111" fmla="*/ 357262 w 2167012"/>
              <a:gd name="connsiteY111" fmla="*/ 290938 h 2164296"/>
              <a:gd name="connsiteX112" fmla="*/ 381074 w 2167012"/>
              <a:gd name="connsiteY112" fmla="*/ 248075 h 2164296"/>
              <a:gd name="connsiteX113" fmla="*/ 395362 w 2167012"/>
              <a:gd name="connsiteY113" fmla="*/ 229025 h 2164296"/>
              <a:gd name="connsiteX114" fmla="*/ 419174 w 2167012"/>
              <a:gd name="connsiteY114" fmla="*/ 214738 h 2164296"/>
              <a:gd name="connsiteX115" fmla="*/ 442987 w 2167012"/>
              <a:gd name="connsiteY115" fmla="*/ 190925 h 2164296"/>
              <a:gd name="connsiteX116" fmla="*/ 457274 w 2167012"/>
              <a:gd name="connsiteY116" fmla="*/ 181400 h 2164296"/>
              <a:gd name="connsiteX117" fmla="*/ 490612 w 2167012"/>
              <a:gd name="connsiteY117" fmla="*/ 143300 h 2164296"/>
              <a:gd name="connsiteX118" fmla="*/ 504899 w 2167012"/>
              <a:gd name="connsiteY118" fmla="*/ 133775 h 2164296"/>
              <a:gd name="connsiteX119" fmla="*/ 614437 w 2167012"/>
              <a:gd name="connsiteY119" fmla="*/ 71863 h 2164296"/>
              <a:gd name="connsiteX120" fmla="*/ 628724 w 2167012"/>
              <a:gd name="connsiteY120" fmla="*/ 52813 h 2164296"/>
              <a:gd name="connsiteX121" fmla="*/ 647774 w 2167012"/>
              <a:gd name="connsiteY121" fmla="*/ 48050 h 2164296"/>
              <a:gd name="connsiteX122" fmla="*/ 671587 w 2167012"/>
              <a:gd name="connsiteY122" fmla="*/ 38525 h 2164296"/>
              <a:gd name="connsiteX123" fmla="*/ 714449 w 2167012"/>
              <a:gd name="connsiteY123" fmla="*/ 24238 h 2164296"/>
              <a:gd name="connsiteX124" fmla="*/ 743024 w 2167012"/>
              <a:gd name="connsiteY124" fmla="*/ 14713 h 2164296"/>
              <a:gd name="connsiteX125" fmla="*/ 790649 w 2167012"/>
              <a:gd name="connsiteY125" fmla="*/ 9950 h 2164296"/>
              <a:gd name="connsiteX126" fmla="*/ 862087 w 2167012"/>
              <a:gd name="connsiteY126" fmla="*/ 425 h 2164296"/>
              <a:gd name="connsiteX0" fmla="*/ 826759 w 2198359"/>
              <a:gd name="connsiteY0" fmla="*/ 425 h 2164296"/>
              <a:gd name="connsiteX1" fmla="*/ 979159 w 2198359"/>
              <a:gd name="connsiteY1" fmla="*/ 5188 h 2164296"/>
              <a:gd name="connsiteX2" fmla="*/ 1002971 w 2198359"/>
              <a:gd name="connsiteY2" fmla="*/ 9950 h 2164296"/>
              <a:gd name="connsiteX3" fmla="*/ 1069646 w 2198359"/>
              <a:gd name="connsiteY3" fmla="*/ 19475 h 2164296"/>
              <a:gd name="connsiteX4" fmla="*/ 1098221 w 2198359"/>
              <a:gd name="connsiteY4" fmla="*/ 24238 h 2164296"/>
              <a:gd name="connsiteX5" fmla="*/ 1122034 w 2198359"/>
              <a:gd name="connsiteY5" fmla="*/ 38525 h 2164296"/>
              <a:gd name="connsiteX6" fmla="*/ 1164896 w 2198359"/>
              <a:gd name="connsiteY6" fmla="*/ 48050 h 2164296"/>
              <a:gd name="connsiteX7" fmla="*/ 1183946 w 2198359"/>
              <a:gd name="connsiteY7" fmla="*/ 52813 h 2164296"/>
              <a:gd name="connsiteX8" fmla="*/ 1217284 w 2198359"/>
              <a:gd name="connsiteY8" fmla="*/ 57575 h 2164296"/>
              <a:gd name="connsiteX9" fmla="*/ 1312534 w 2198359"/>
              <a:gd name="connsiteY9" fmla="*/ 71863 h 2164296"/>
              <a:gd name="connsiteX10" fmla="*/ 1483984 w 2198359"/>
              <a:gd name="connsiteY10" fmla="*/ 109963 h 2164296"/>
              <a:gd name="connsiteX11" fmla="*/ 1507796 w 2198359"/>
              <a:gd name="connsiteY11" fmla="*/ 114725 h 2164296"/>
              <a:gd name="connsiteX12" fmla="*/ 1645909 w 2198359"/>
              <a:gd name="connsiteY12" fmla="*/ 124250 h 2164296"/>
              <a:gd name="connsiteX13" fmla="*/ 1679246 w 2198359"/>
              <a:gd name="connsiteY13" fmla="*/ 129013 h 2164296"/>
              <a:gd name="connsiteX14" fmla="*/ 1703059 w 2198359"/>
              <a:gd name="connsiteY14" fmla="*/ 133775 h 2164296"/>
              <a:gd name="connsiteX15" fmla="*/ 1750684 w 2198359"/>
              <a:gd name="connsiteY15" fmla="*/ 138538 h 2164296"/>
              <a:gd name="connsiteX16" fmla="*/ 1788784 w 2198359"/>
              <a:gd name="connsiteY16" fmla="*/ 152825 h 2164296"/>
              <a:gd name="connsiteX17" fmla="*/ 1803071 w 2198359"/>
              <a:gd name="connsiteY17" fmla="*/ 162350 h 2164296"/>
              <a:gd name="connsiteX18" fmla="*/ 1826884 w 2198359"/>
              <a:gd name="connsiteY18" fmla="*/ 167113 h 2164296"/>
              <a:gd name="connsiteX19" fmla="*/ 1850696 w 2198359"/>
              <a:gd name="connsiteY19" fmla="*/ 181400 h 2164296"/>
              <a:gd name="connsiteX20" fmla="*/ 1874509 w 2198359"/>
              <a:gd name="connsiteY20" fmla="*/ 190925 h 2164296"/>
              <a:gd name="connsiteX21" fmla="*/ 1888796 w 2198359"/>
              <a:gd name="connsiteY21" fmla="*/ 205213 h 2164296"/>
              <a:gd name="connsiteX22" fmla="*/ 1922134 w 2198359"/>
              <a:gd name="connsiteY22" fmla="*/ 229025 h 2164296"/>
              <a:gd name="connsiteX23" fmla="*/ 1974521 w 2198359"/>
              <a:gd name="connsiteY23" fmla="*/ 267125 h 2164296"/>
              <a:gd name="connsiteX24" fmla="*/ 1998334 w 2198359"/>
              <a:gd name="connsiteY24" fmla="*/ 295700 h 2164296"/>
              <a:gd name="connsiteX25" fmla="*/ 2031671 w 2198359"/>
              <a:gd name="connsiteY25" fmla="*/ 348088 h 2164296"/>
              <a:gd name="connsiteX26" fmla="*/ 2050721 w 2198359"/>
              <a:gd name="connsiteY26" fmla="*/ 410000 h 2164296"/>
              <a:gd name="connsiteX27" fmla="*/ 2060246 w 2198359"/>
              <a:gd name="connsiteY27" fmla="*/ 443338 h 2164296"/>
              <a:gd name="connsiteX28" fmla="*/ 2065009 w 2198359"/>
              <a:gd name="connsiteY28" fmla="*/ 457625 h 2164296"/>
              <a:gd name="connsiteX29" fmla="*/ 2074534 w 2198359"/>
              <a:gd name="connsiteY29" fmla="*/ 476675 h 2164296"/>
              <a:gd name="connsiteX30" fmla="*/ 2093584 w 2198359"/>
              <a:gd name="connsiteY30" fmla="*/ 548113 h 2164296"/>
              <a:gd name="connsiteX31" fmla="*/ 2107871 w 2198359"/>
              <a:gd name="connsiteY31" fmla="*/ 610025 h 2164296"/>
              <a:gd name="connsiteX32" fmla="*/ 2112634 w 2198359"/>
              <a:gd name="connsiteY32" fmla="*/ 914825 h 2164296"/>
              <a:gd name="connsiteX33" fmla="*/ 2150734 w 2198359"/>
              <a:gd name="connsiteY33" fmla="*/ 1086275 h 2164296"/>
              <a:gd name="connsiteX34" fmla="*/ 2155496 w 2198359"/>
              <a:gd name="connsiteY34" fmla="*/ 1148188 h 2164296"/>
              <a:gd name="connsiteX35" fmla="*/ 2169784 w 2198359"/>
              <a:gd name="connsiteY35" fmla="*/ 1191050 h 2164296"/>
              <a:gd name="connsiteX36" fmla="*/ 2174546 w 2198359"/>
              <a:gd name="connsiteY36" fmla="*/ 1224388 h 2164296"/>
              <a:gd name="connsiteX37" fmla="*/ 2193596 w 2198359"/>
              <a:gd name="connsiteY37" fmla="*/ 1276775 h 2164296"/>
              <a:gd name="connsiteX38" fmla="*/ 2198359 w 2198359"/>
              <a:gd name="connsiteY38" fmla="*/ 1300588 h 2164296"/>
              <a:gd name="connsiteX39" fmla="*/ 2193596 w 2198359"/>
              <a:gd name="connsiteY39" fmla="*/ 1514900 h 2164296"/>
              <a:gd name="connsiteX40" fmla="*/ 2184071 w 2198359"/>
              <a:gd name="connsiteY40" fmla="*/ 1529188 h 2164296"/>
              <a:gd name="connsiteX41" fmla="*/ 2174546 w 2198359"/>
              <a:gd name="connsiteY41" fmla="*/ 1562525 h 2164296"/>
              <a:gd name="connsiteX42" fmla="*/ 2165021 w 2198359"/>
              <a:gd name="connsiteY42" fmla="*/ 1576813 h 2164296"/>
              <a:gd name="connsiteX43" fmla="*/ 2160259 w 2198359"/>
              <a:gd name="connsiteY43" fmla="*/ 1600625 h 2164296"/>
              <a:gd name="connsiteX44" fmla="*/ 2145971 w 2198359"/>
              <a:gd name="connsiteY44" fmla="*/ 1614913 h 2164296"/>
              <a:gd name="connsiteX45" fmla="*/ 2136446 w 2198359"/>
              <a:gd name="connsiteY45" fmla="*/ 1629200 h 2164296"/>
              <a:gd name="connsiteX46" fmla="*/ 2107871 w 2198359"/>
              <a:gd name="connsiteY46" fmla="*/ 1657775 h 2164296"/>
              <a:gd name="connsiteX47" fmla="*/ 2079296 w 2198359"/>
              <a:gd name="connsiteY47" fmla="*/ 1686350 h 2164296"/>
              <a:gd name="connsiteX48" fmla="*/ 2069771 w 2198359"/>
              <a:gd name="connsiteY48" fmla="*/ 1700638 h 2164296"/>
              <a:gd name="connsiteX49" fmla="*/ 2055484 w 2198359"/>
              <a:gd name="connsiteY49" fmla="*/ 1710163 h 2164296"/>
              <a:gd name="connsiteX50" fmla="*/ 2031671 w 2198359"/>
              <a:gd name="connsiteY50" fmla="*/ 1724450 h 2164296"/>
              <a:gd name="connsiteX51" fmla="*/ 2007859 w 2198359"/>
              <a:gd name="connsiteY51" fmla="*/ 1743500 h 2164296"/>
              <a:gd name="connsiteX52" fmla="*/ 1936421 w 2198359"/>
              <a:gd name="connsiteY52" fmla="*/ 1772075 h 2164296"/>
              <a:gd name="connsiteX53" fmla="*/ 1917371 w 2198359"/>
              <a:gd name="connsiteY53" fmla="*/ 1786363 h 2164296"/>
              <a:gd name="connsiteX54" fmla="*/ 1869746 w 2198359"/>
              <a:gd name="connsiteY54" fmla="*/ 1814938 h 2164296"/>
              <a:gd name="connsiteX55" fmla="*/ 1855459 w 2198359"/>
              <a:gd name="connsiteY55" fmla="*/ 1833988 h 2164296"/>
              <a:gd name="connsiteX56" fmla="*/ 1803071 w 2198359"/>
              <a:gd name="connsiteY56" fmla="*/ 1862563 h 2164296"/>
              <a:gd name="connsiteX57" fmla="*/ 1660197 w 2198359"/>
              <a:gd name="connsiteY57" fmla="*/ 1891137 h 2164296"/>
              <a:gd name="connsiteX58" fmla="*/ 1412546 w 2198359"/>
              <a:gd name="connsiteY58" fmla="*/ 2014962 h 2164296"/>
              <a:gd name="connsiteX59" fmla="*/ 1360159 w 2198359"/>
              <a:gd name="connsiteY59" fmla="*/ 2053063 h 2164296"/>
              <a:gd name="connsiteX60" fmla="*/ 1345871 w 2198359"/>
              <a:gd name="connsiteY60" fmla="*/ 2062588 h 2164296"/>
              <a:gd name="connsiteX61" fmla="*/ 1307771 w 2198359"/>
              <a:gd name="connsiteY61" fmla="*/ 2072113 h 2164296"/>
              <a:gd name="connsiteX62" fmla="*/ 1283959 w 2198359"/>
              <a:gd name="connsiteY62" fmla="*/ 2086400 h 2164296"/>
              <a:gd name="connsiteX63" fmla="*/ 1231571 w 2198359"/>
              <a:gd name="connsiteY63" fmla="*/ 2100688 h 2164296"/>
              <a:gd name="connsiteX64" fmla="*/ 1188709 w 2198359"/>
              <a:gd name="connsiteY64" fmla="*/ 2119738 h 2164296"/>
              <a:gd name="connsiteX65" fmla="*/ 1169659 w 2198359"/>
              <a:gd name="connsiteY65" fmla="*/ 2134025 h 2164296"/>
              <a:gd name="connsiteX66" fmla="*/ 1098221 w 2198359"/>
              <a:gd name="connsiteY66" fmla="*/ 2148313 h 2164296"/>
              <a:gd name="connsiteX67" fmla="*/ 1069646 w 2198359"/>
              <a:gd name="connsiteY67" fmla="*/ 2162600 h 2164296"/>
              <a:gd name="connsiteX68" fmla="*/ 936296 w 2198359"/>
              <a:gd name="connsiteY68" fmla="*/ 2157838 h 2164296"/>
              <a:gd name="connsiteX69" fmla="*/ 826759 w 2198359"/>
              <a:gd name="connsiteY69" fmla="*/ 2105450 h 2164296"/>
              <a:gd name="connsiteX70" fmla="*/ 788659 w 2198359"/>
              <a:gd name="connsiteY70" fmla="*/ 2091163 h 2164296"/>
              <a:gd name="connsiteX71" fmla="*/ 741034 w 2198359"/>
              <a:gd name="connsiteY71" fmla="*/ 2062588 h 2164296"/>
              <a:gd name="connsiteX72" fmla="*/ 683884 w 2198359"/>
              <a:gd name="connsiteY72" fmla="*/ 2038775 h 2164296"/>
              <a:gd name="connsiteX73" fmla="*/ 650546 w 2198359"/>
              <a:gd name="connsiteY73" fmla="*/ 2005438 h 2164296"/>
              <a:gd name="connsiteX74" fmla="*/ 612446 w 2198359"/>
              <a:gd name="connsiteY74" fmla="*/ 1976863 h 2164296"/>
              <a:gd name="connsiteX75" fmla="*/ 598159 w 2198359"/>
              <a:gd name="connsiteY75" fmla="*/ 1957813 h 2164296"/>
              <a:gd name="connsiteX76" fmla="*/ 583871 w 2198359"/>
              <a:gd name="connsiteY76" fmla="*/ 1934000 h 2164296"/>
              <a:gd name="connsiteX77" fmla="*/ 550534 w 2198359"/>
              <a:gd name="connsiteY77" fmla="*/ 1895900 h 2164296"/>
              <a:gd name="connsiteX78" fmla="*/ 407659 w 2198359"/>
              <a:gd name="connsiteY78" fmla="*/ 1705400 h 2164296"/>
              <a:gd name="connsiteX79" fmla="*/ 393371 w 2198359"/>
              <a:gd name="connsiteY79" fmla="*/ 1686350 h 2164296"/>
              <a:gd name="connsiteX80" fmla="*/ 374321 w 2198359"/>
              <a:gd name="connsiteY80" fmla="*/ 1657775 h 2164296"/>
              <a:gd name="connsiteX81" fmla="*/ 317171 w 2198359"/>
              <a:gd name="connsiteY81" fmla="*/ 1600625 h 2164296"/>
              <a:gd name="connsiteX82" fmla="*/ 293359 w 2198359"/>
              <a:gd name="connsiteY82" fmla="*/ 1576813 h 2164296"/>
              <a:gd name="connsiteX83" fmla="*/ 279071 w 2198359"/>
              <a:gd name="connsiteY83" fmla="*/ 1562525 h 2164296"/>
              <a:gd name="connsiteX84" fmla="*/ 240971 w 2198359"/>
              <a:gd name="connsiteY84" fmla="*/ 1538713 h 2164296"/>
              <a:gd name="connsiteX85" fmla="*/ 217159 w 2198359"/>
              <a:gd name="connsiteY85" fmla="*/ 1510138 h 2164296"/>
              <a:gd name="connsiteX86" fmla="*/ 193346 w 2198359"/>
              <a:gd name="connsiteY86" fmla="*/ 1491088 h 2164296"/>
              <a:gd name="connsiteX87" fmla="*/ 174296 w 2198359"/>
              <a:gd name="connsiteY87" fmla="*/ 1462513 h 2164296"/>
              <a:gd name="connsiteX88" fmla="*/ 150484 w 2198359"/>
              <a:gd name="connsiteY88" fmla="*/ 1438700 h 2164296"/>
              <a:gd name="connsiteX89" fmla="*/ 140959 w 2198359"/>
              <a:gd name="connsiteY89" fmla="*/ 1424413 h 2164296"/>
              <a:gd name="connsiteX90" fmla="*/ 121909 w 2198359"/>
              <a:gd name="connsiteY90" fmla="*/ 1405363 h 2164296"/>
              <a:gd name="connsiteX91" fmla="*/ 102859 w 2198359"/>
              <a:gd name="connsiteY91" fmla="*/ 1376788 h 2164296"/>
              <a:gd name="connsiteX92" fmla="*/ 88571 w 2198359"/>
              <a:gd name="connsiteY92" fmla="*/ 1362500 h 2164296"/>
              <a:gd name="connsiteX93" fmla="*/ 79046 w 2198359"/>
              <a:gd name="connsiteY93" fmla="*/ 1348213 h 2164296"/>
              <a:gd name="connsiteX94" fmla="*/ 64759 w 2198359"/>
              <a:gd name="connsiteY94" fmla="*/ 1329163 h 2164296"/>
              <a:gd name="connsiteX95" fmla="*/ 59996 w 2198359"/>
              <a:gd name="connsiteY95" fmla="*/ 1305350 h 2164296"/>
              <a:gd name="connsiteX96" fmla="*/ 31421 w 2198359"/>
              <a:gd name="connsiteY96" fmla="*/ 991025 h 2164296"/>
              <a:gd name="connsiteX97" fmla="*/ 69521 w 2198359"/>
              <a:gd name="connsiteY97" fmla="*/ 929113 h 2164296"/>
              <a:gd name="connsiteX98" fmla="*/ 93334 w 2198359"/>
              <a:gd name="connsiteY98" fmla="*/ 891013 h 2164296"/>
              <a:gd name="connsiteX99" fmla="*/ 112384 w 2198359"/>
              <a:gd name="connsiteY99" fmla="*/ 848150 h 2164296"/>
              <a:gd name="connsiteX100" fmla="*/ 174296 w 2198359"/>
              <a:gd name="connsiteY100" fmla="*/ 733850 h 2164296"/>
              <a:gd name="connsiteX101" fmla="*/ 236209 w 2198359"/>
              <a:gd name="connsiteY101" fmla="*/ 610025 h 2164296"/>
              <a:gd name="connsiteX102" fmla="*/ 240971 w 2198359"/>
              <a:gd name="connsiteY102" fmla="*/ 581450 h 2164296"/>
              <a:gd name="connsiteX103" fmla="*/ 264784 w 2198359"/>
              <a:gd name="connsiteY103" fmla="*/ 538588 h 2164296"/>
              <a:gd name="connsiteX104" fmla="*/ 279071 w 2198359"/>
              <a:gd name="connsiteY104" fmla="*/ 500488 h 2164296"/>
              <a:gd name="connsiteX105" fmla="*/ 293359 w 2198359"/>
              <a:gd name="connsiteY105" fmla="*/ 471913 h 2164296"/>
              <a:gd name="connsiteX106" fmla="*/ 302884 w 2198359"/>
              <a:gd name="connsiteY106" fmla="*/ 443338 h 2164296"/>
              <a:gd name="connsiteX107" fmla="*/ 312409 w 2198359"/>
              <a:gd name="connsiteY107" fmla="*/ 429050 h 2164296"/>
              <a:gd name="connsiteX108" fmla="*/ 321934 w 2198359"/>
              <a:gd name="connsiteY108" fmla="*/ 405238 h 2164296"/>
              <a:gd name="connsiteX109" fmla="*/ 340984 w 2198359"/>
              <a:gd name="connsiteY109" fmla="*/ 381425 h 2164296"/>
              <a:gd name="connsiteX110" fmla="*/ 360034 w 2198359"/>
              <a:gd name="connsiteY110" fmla="*/ 333800 h 2164296"/>
              <a:gd name="connsiteX111" fmla="*/ 388609 w 2198359"/>
              <a:gd name="connsiteY111" fmla="*/ 290938 h 2164296"/>
              <a:gd name="connsiteX112" fmla="*/ 412421 w 2198359"/>
              <a:gd name="connsiteY112" fmla="*/ 248075 h 2164296"/>
              <a:gd name="connsiteX113" fmla="*/ 426709 w 2198359"/>
              <a:gd name="connsiteY113" fmla="*/ 229025 h 2164296"/>
              <a:gd name="connsiteX114" fmla="*/ 450521 w 2198359"/>
              <a:gd name="connsiteY114" fmla="*/ 214738 h 2164296"/>
              <a:gd name="connsiteX115" fmla="*/ 474334 w 2198359"/>
              <a:gd name="connsiteY115" fmla="*/ 190925 h 2164296"/>
              <a:gd name="connsiteX116" fmla="*/ 488621 w 2198359"/>
              <a:gd name="connsiteY116" fmla="*/ 181400 h 2164296"/>
              <a:gd name="connsiteX117" fmla="*/ 521959 w 2198359"/>
              <a:gd name="connsiteY117" fmla="*/ 143300 h 2164296"/>
              <a:gd name="connsiteX118" fmla="*/ 536246 w 2198359"/>
              <a:gd name="connsiteY118" fmla="*/ 133775 h 2164296"/>
              <a:gd name="connsiteX119" fmla="*/ 645784 w 2198359"/>
              <a:gd name="connsiteY119" fmla="*/ 71863 h 2164296"/>
              <a:gd name="connsiteX120" fmla="*/ 660071 w 2198359"/>
              <a:gd name="connsiteY120" fmla="*/ 52813 h 2164296"/>
              <a:gd name="connsiteX121" fmla="*/ 679121 w 2198359"/>
              <a:gd name="connsiteY121" fmla="*/ 48050 h 2164296"/>
              <a:gd name="connsiteX122" fmla="*/ 702934 w 2198359"/>
              <a:gd name="connsiteY122" fmla="*/ 38525 h 2164296"/>
              <a:gd name="connsiteX123" fmla="*/ 745796 w 2198359"/>
              <a:gd name="connsiteY123" fmla="*/ 24238 h 2164296"/>
              <a:gd name="connsiteX124" fmla="*/ 774371 w 2198359"/>
              <a:gd name="connsiteY124" fmla="*/ 14713 h 2164296"/>
              <a:gd name="connsiteX125" fmla="*/ 821996 w 2198359"/>
              <a:gd name="connsiteY125" fmla="*/ 9950 h 2164296"/>
              <a:gd name="connsiteX126" fmla="*/ 893434 w 2198359"/>
              <a:gd name="connsiteY126" fmla="*/ 425 h 2164296"/>
              <a:gd name="connsiteX0" fmla="*/ 827164 w 2198764"/>
              <a:gd name="connsiteY0" fmla="*/ 425 h 2164296"/>
              <a:gd name="connsiteX1" fmla="*/ 979564 w 2198764"/>
              <a:gd name="connsiteY1" fmla="*/ 5188 h 2164296"/>
              <a:gd name="connsiteX2" fmla="*/ 1003376 w 2198764"/>
              <a:gd name="connsiteY2" fmla="*/ 9950 h 2164296"/>
              <a:gd name="connsiteX3" fmla="*/ 1070051 w 2198764"/>
              <a:gd name="connsiteY3" fmla="*/ 19475 h 2164296"/>
              <a:gd name="connsiteX4" fmla="*/ 1098626 w 2198764"/>
              <a:gd name="connsiteY4" fmla="*/ 24238 h 2164296"/>
              <a:gd name="connsiteX5" fmla="*/ 1122439 w 2198764"/>
              <a:gd name="connsiteY5" fmla="*/ 38525 h 2164296"/>
              <a:gd name="connsiteX6" fmla="*/ 1165301 w 2198764"/>
              <a:gd name="connsiteY6" fmla="*/ 48050 h 2164296"/>
              <a:gd name="connsiteX7" fmla="*/ 1184351 w 2198764"/>
              <a:gd name="connsiteY7" fmla="*/ 52813 h 2164296"/>
              <a:gd name="connsiteX8" fmla="*/ 1217689 w 2198764"/>
              <a:gd name="connsiteY8" fmla="*/ 57575 h 2164296"/>
              <a:gd name="connsiteX9" fmla="*/ 1312939 w 2198764"/>
              <a:gd name="connsiteY9" fmla="*/ 71863 h 2164296"/>
              <a:gd name="connsiteX10" fmla="*/ 1484389 w 2198764"/>
              <a:gd name="connsiteY10" fmla="*/ 109963 h 2164296"/>
              <a:gd name="connsiteX11" fmla="*/ 1508201 w 2198764"/>
              <a:gd name="connsiteY11" fmla="*/ 114725 h 2164296"/>
              <a:gd name="connsiteX12" fmla="*/ 1646314 w 2198764"/>
              <a:gd name="connsiteY12" fmla="*/ 124250 h 2164296"/>
              <a:gd name="connsiteX13" fmla="*/ 1679651 w 2198764"/>
              <a:gd name="connsiteY13" fmla="*/ 129013 h 2164296"/>
              <a:gd name="connsiteX14" fmla="*/ 1703464 w 2198764"/>
              <a:gd name="connsiteY14" fmla="*/ 133775 h 2164296"/>
              <a:gd name="connsiteX15" fmla="*/ 1751089 w 2198764"/>
              <a:gd name="connsiteY15" fmla="*/ 138538 h 2164296"/>
              <a:gd name="connsiteX16" fmla="*/ 1789189 w 2198764"/>
              <a:gd name="connsiteY16" fmla="*/ 152825 h 2164296"/>
              <a:gd name="connsiteX17" fmla="*/ 1803476 w 2198764"/>
              <a:gd name="connsiteY17" fmla="*/ 162350 h 2164296"/>
              <a:gd name="connsiteX18" fmla="*/ 1827289 w 2198764"/>
              <a:gd name="connsiteY18" fmla="*/ 167113 h 2164296"/>
              <a:gd name="connsiteX19" fmla="*/ 1851101 w 2198764"/>
              <a:gd name="connsiteY19" fmla="*/ 181400 h 2164296"/>
              <a:gd name="connsiteX20" fmla="*/ 1874914 w 2198764"/>
              <a:gd name="connsiteY20" fmla="*/ 190925 h 2164296"/>
              <a:gd name="connsiteX21" fmla="*/ 1889201 w 2198764"/>
              <a:gd name="connsiteY21" fmla="*/ 205213 h 2164296"/>
              <a:gd name="connsiteX22" fmla="*/ 1922539 w 2198764"/>
              <a:gd name="connsiteY22" fmla="*/ 229025 h 2164296"/>
              <a:gd name="connsiteX23" fmla="*/ 1974926 w 2198764"/>
              <a:gd name="connsiteY23" fmla="*/ 267125 h 2164296"/>
              <a:gd name="connsiteX24" fmla="*/ 1998739 w 2198764"/>
              <a:gd name="connsiteY24" fmla="*/ 295700 h 2164296"/>
              <a:gd name="connsiteX25" fmla="*/ 2032076 w 2198764"/>
              <a:gd name="connsiteY25" fmla="*/ 348088 h 2164296"/>
              <a:gd name="connsiteX26" fmla="*/ 2051126 w 2198764"/>
              <a:gd name="connsiteY26" fmla="*/ 410000 h 2164296"/>
              <a:gd name="connsiteX27" fmla="*/ 2060651 w 2198764"/>
              <a:gd name="connsiteY27" fmla="*/ 443338 h 2164296"/>
              <a:gd name="connsiteX28" fmla="*/ 2065414 w 2198764"/>
              <a:gd name="connsiteY28" fmla="*/ 457625 h 2164296"/>
              <a:gd name="connsiteX29" fmla="*/ 2074939 w 2198764"/>
              <a:gd name="connsiteY29" fmla="*/ 476675 h 2164296"/>
              <a:gd name="connsiteX30" fmla="*/ 2093989 w 2198764"/>
              <a:gd name="connsiteY30" fmla="*/ 548113 h 2164296"/>
              <a:gd name="connsiteX31" fmla="*/ 2108276 w 2198764"/>
              <a:gd name="connsiteY31" fmla="*/ 610025 h 2164296"/>
              <a:gd name="connsiteX32" fmla="*/ 2113039 w 2198764"/>
              <a:gd name="connsiteY32" fmla="*/ 914825 h 2164296"/>
              <a:gd name="connsiteX33" fmla="*/ 2151139 w 2198764"/>
              <a:gd name="connsiteY33" fmla="*/ 1086275 h 2164296"/>
              <a:gd name="connsiteX34" fmla="*/ 2155901 w 2198764"/>
              <a:gd name="connsiteY34" fmla="*/ 1148188 h 2164296"/>
              <a:gd name="connsiteX35" fmla="*/ 2170189 w 2198764"/>
              <a:gd name="connsiteY35" fmla="*/ 1191050 h 2164296"/>
              <a:gd name="connsiteX36" fmla="*/ 2174951 w 2198764"/>
              <a:gd name="connsiteY36" fmla="*/ 1224388 h 2164296"/>
              <a:gd name="connsiteX37" fmla="*/ 2194001 w 2198764"/>
              <a:gd name="connsiteY37" fmla="*/ 1276775 h 2164296"/>
              <a:gd name="connsiteX38" fmla="*/ 2198764 w 2198764"/>
              <a:gd name="connsiteY38" fmla="*/ 1300588 h 2164296"/>
              <a:gd name="connsiteX39" fmla="*/ 2194001 w 2198764"/>
              <a:gd name="connsiteY39" fmla="*/ 1514900 h 2164296"/>
              <a:gd name="connsiteX40" fmla="*/ 2184476 w 2198764"/>
              <a:gd name="connsiteY40" fmla="*/ 1529188 h 2164296"/>
              <a:gd name="connsiteX41" fmla="*/ 2174951 w 2198764"/>
              <a:gd name="connsiteY41" fmla="*/ 1562525 h 2164296"/>
              <a:gd name="connsiteX42" fmla="*/ 2165426 w 2198764"/>
              <a:gd name="connsiteY42" fmla="*/ 1576813 h 2164296"/>
              <a:gd name="connsiteX43" fmla="*/ 2160664 w 2198764"/>
              <a:gd name="connsiteY43" fmla="*/ 1600625 h 2164296"/>
              <a:gd name="connsiteX44" fmla="*/ 2146376 w 2198764"/>
              <a:gd name="connsiteY44" fmla="*/ 1614913 h 2164296"/>
              <a:gd name="connsiteX45" fmla="*/ 2136851 w 2198764"/>
              <a:gd name="connsiteY45" fmla="*/ 1629200 h 2164296"/>
              <a:gd name="connsiteX46" fmla="*/ 2108276 w 2198764"/>
              <a:gd name="connsiteY46" fmla="*/ 1657775 h 2164296"/>
              <a:gd name="connsiteX47" fmla="*/ 2079701 w 2198764"/>
              <a:gd name="connsiteY47" fmla="*/ 1686350 h 2164296"/>
              <a:gd name="connsiteX48" fmla="*/ 2070176 w 2198764"/>
              <a:gd name="connsiteY48" fmla="*/ 1700638 h 2164296"/>
              <a:gd name="connsiteX49" fmla="*/ 2055889 w 2198764"/>
              <a:gd name="connsiteY49" fmla="*/ 1710163 h 2164296"/>
              <a:gd name="connsiteX50" fmla="*/ 2032076 w 2198764"/>
              <a:gd name="connsiteY50" fmla="*/ 1724450 h 2164296"/>
              <a:gd name="connsiteX51" fmla="*/ 2008264 w 2198764"/>
              <a:gd name="connsiteY51" fmla="*/ 1743500 h 2164296"/>
              <a:gd name="connsiteX52" fmla="*/ 1936826 w 2198764"/>
              <a:gd name="connsiteY52" fmla="*/ 1772075 h 2164296"/>
              <a:gd name="connsiteX53" fmla="*/ 1917776 w 2198764"/>
              <a:gd name="connsiteY53" fmla="*/ 1786363 h 2164296"/>
              <a:gd name="connsiteX54" fmla="*/ 1870151 w 2198764"/>
              <a:gd name="connsiteY54" fmla="*/ 1814938 h 2164296"/>
              <a:gd name="connsiteX55" fmla="*/ 1855864 w 2198764"/>
              <a:gd name="connsiteY55" fmla="*/ 1833988 h 2164296"/>
              <a:gd name="connsiteX56" fmla="*/ 1803476 w 2198764"/>
              <a:gd name="connsiteY56" fmla="*/ 1862563 h 2164296"/>
              <a:gd name="connsiteX57" fmla="*/ 1660602 w 2198764"/>
              <a:gd name="connsiteY57" fmla="*/ 1891137 h 2164296"/>
              <a:gd name="connsiteX58" fmla="*/ 1412951 w 2198764"/>
              <a:gd name="connsiteY58" fmla="*/ 2014962 h 2164296"/>
              <a:gd name="connsiteX59" fmla="*/ 1360564 w 2198764"/>
              <a:gd name="connsiteY59" fmla="*/ 2053063 h 2164296"/>
              <a:gd name="connsiteX60" fmla="*/ 1346276 w 2198764"/>
              <a:gd name="connsiteY60" fmla="*/ 2062588 h 2164296"/>
              <a:gd name="connsiteX61" fmla="*/ 1308176 w 2198764"/>
              <a:gd name="connsiteY61" fmla="*/ 2072113 h 2164296"/>
              <a:gd name="connsiteX62" fmla="*/ 1284364 w 2198764"/>
              <a:gd name="connsiteY62" fmla="*/ 2086400 h 2164296"/>
              <a:gd name="connsiteX63" fmla="*/ 1231976 w 2198764"/>
              <a:gd name="connsiteY63" fmla="*/ 2100688 h 2164296"/>
              <a:gd name="connsiteX64" fmla="*/ 1189114 w 2198764"/>
              <a:gd name="connsiteY64" fmla="*/ 2119738 h 2164296"/>
              <a:gd name="connsiteX65" fmla="*/ 1170064 w 2198764"/>
              <a:gd name="connsiteY65" fmla="*/ 2134025 h 2164296"/>
              <a:gd name="connsiteX66" fmla="*/ 1098626 w 2198764"/>
              <a:gd name="connsiteY66" fmla="*/ 2148313 h 2164296"/>
              <a:gd name="connsiteX67" fmla="*/ 1070051 w 2198764"/>
              <a:gd name="connsiteY67" fmla="*/ 2162600 h 2164296"/>
              <a:gd name="connsiteX68" fmla="*/ 936701 w 2198764"/>
              <a:gd name="connsiteY68" fmla="*/ 2157838 h 2164296"/>
              <a:gd name="connsiteX69" fmla="*/ 827164 w 2198764"/>
              <a:gd name="connsiteY69" fmla="*/ 2105450 h 2164296"/>
              <a:gd name="connsiteX70" fmla="*/ 789064 w 2198764"/>
              <a:gd name="connsiteY70" fmla="*/ 2091163 h 2164296"/>
              <a:gd name="connsiteX71" fmla="*/ 741439 w 2198764"/>
              <a:gd name="connsiteY71" fmla="*/ 2062588 h 2164296"/>
              <a:gd name="connsiteX72" fmla="*/ 684289 w 2198764"/>
              <a:gd name="connsiteY72" fmla="*/ 2038775 h 2164296"/>
              <a:gd name="connsiteX73" fmla="*/ 650951 w 2198764"/>
              <a:gd name="connsiteY73" fmla="*/ 2005438 h 2164296"/>
              <a:gd name="connsiteX74" fmla="*/ 612851 w 2198764"/>
              <a:gd name="connsiteY74" fmla="*/ 1976863 h 2164296"/>
              <a:gd name="connsiteX75" fmla="*/ 598564 w 2198764"/>
              <a:gd name="connsiteY75" fmla="*/ 1957813 h 2164296"/>
              <a:gd name="connsiteX76" fmla="*/ 584276 w 2198764"/>
              <a:gd name="connsiteY76" fmla="*/ 1934000 h 2164296"/>
              <a:gd name="connsiteX77" fmla="*/ 550939 w 2198764"/>
              <a:gd name="connsiteY77" fmla="*/ 1895900 h 2164296"/>
              <a:gd name="connsiteX78" fmla="*/ 408064 w 2198764"/>
              <a:gd name="connsiteY78" fmla="*/ 1705400 h 2164296"/>
              <a:gd name="connsiteX79" fmla="*/ 393776 w 2198764"/>
              <a:gd name="connsiteY79" fmla="*/ 1686350 h 2164296"/>
              <a:gd name="connsiteX80" fmla="*/ 374726 w 2198764"/>
              <a:gd name="connsiteY80" fmla="*/ 1657775 h 2164296"/>
              <a:gd name="connsiteX81" fmla="*/ 317576 w 2198764"/>
              <a:gd name="connsiteY81" fmla="*/ 1600625 h 2164296"/>
              <a:gd name="connsiteX82" fmla="*/ 293764 w 2198764"/>
              <a:gd name="connsiteY82" fmla="*/ 1576813 h 2164296"/>
              <a:gd name="connsiteX83" fmla="*/ 279476 w 2198764"/>
              <a:gd name="connsiteY83" fmla="*/ 1562525 h 2164296"/>
              <a:gd name="connsiteX84" fmla="*/ 241376 w 2198764"/>
              <a:gd name="connsiteY84" fmla="*/ 1538713 h 2164296"/>
              <a:gd name="connsiteX85" fmla="*/ 217564 w 2198764"/>
              <a:gd name="connsiteY85" fmla="*/ 1510138 h 2164296"/>
              <a:gd name="connsiteX86" fmla="*/ 193751 w 2198764"/>
              <a:gd name="connsiteY86" fmla="*/ 1491088 h 2164296"/>
              <a:gd name="connsiteX87" fmla="*/ 174701 w 2198764"/>
              <a:gd name="connsiteY87" fmla="*/ 1462513 h 2164296"/>
              <a:gd name="connsiteX88" fmla="*/ 150889 w 2198764"/>
              <a:gd name="connsiteY88" fmla="*/ 1438700 h 2164296"/>
              <a:gd name="connsiteX89" fmla="*/ 141364 w 2198764"/>
              <a:gd name="connsiteY89" fmla="*/ 1424413 h 2164296"/>
              <a:gd name="connsiteX90" fmla="*/ 122314 w 2198764"/>
              <a:gd name="connsiteY90" fmla="*/ 1405363 h 2164296"/>
              <a:gd name="connsiteX91" fmla="*/ 103264 w 2198764"/>
              <a:gd name="connsiteY91" fmla="*/ 1376788 h 2164296"/>
              <a:gd name="connsiteX92" fmla="*/ 88976 w 2198764"/>
              <a:gd name="connsiteY92" fmla="*/ 1362500 h 2164296"/>
              <a:gd name="connsiteX93" fmla="*/ 79451 w 2198764"/>
              <a:gd name="connsiteY93" fmla="*/ 1348213 h 2164296"/>
              <a:gd name="connsiteX94" fmla="*/ 60401 w 2198764"/>
              <a:gd name="connsiteY94" fmla="*/ 1305350 h 2164296"/>
              <a:gd name="connsiteX95" fmla="*/ 31826 w 2198764"/>
              <a:gd name="connsiteY95" fmla="*/ 991025 h 2164296"/>
              <a:gd name="connsiteX96" fmla="*/ 69926 w 2198764"/>
              <a:gd name="connsiteY96" fmla="*/ 929113 h 2164296"/>
              <a:gd name="connsiteX97" fmla="*/ 93739 w 2198764"/>
              <a:gd name="connsiteY97" fmla="*/ 891013 h 2164296"/>
              <a:gd name="connsiteX98" fmla="*/ 112789 w 2198764"/>
              <a:gd name="connsiteY98" fmla="*/ 848150 h 2164296"/>
              <a:gd name="connsiteX99" fmla="*/ 174701 w 2198764"/>
              <a:gd name="connsiteY99" fmla="*/ 733850 h 2164296"/>
              <a:gd name="connsiteX100" fmla="*/ 236614 w 2198764"/>
              <a:gd name="connsiteY100" fmla="*/ 610025 h 2164296"/>
              <a:gd name="connsiteX101" fmla="*/ 241376 w 2198764"/>
              <a:gd name="connsiteY101" fmla="*/ 581450 h 2164296"/>
              <a:gd name="connsiteX102" fmla="*/ 265189 w 2198764"/>
              <a:gd name="connsiteY102" fmla="*/ 538588 h 2164296"/>
              <a:gd name="connsiteX103" fmla="*/ 279476 w 2198764"/>
              <a:gd name="connsiteY103" fmla="*/ 500488 h 2164296"/>
              <a:gd name="connsiteX104" fmla="*/ 293764 w 2198764"/>
              <a:gd name="connsiteY104" fmla="*/ 471913 h 2164296"/>
              <a:gd name="connsiteX105" fmla="*/ 303289 w 2198764"/>
              <a:gd name="connsiteY105" fmla="*/ 443338 h 2164296"/>
              <a:gd name="connsiteX106" fmla="*/ 312814 w 2198764"/>
              <a:gd name="connsiteY106" fmla="*/ 429050 h 2164296"/>
              <a:gd name="connsiteX107" fmla="*/ 322339 w 2198764"/>
              <a:gd name="connsiteY107" fmla="*/ 405238 h 2164296"/>
              <a:gd name="connsiteX108" fmla="*/ 341389 w 2198764"/>
              <a:gd name="connsiteY108" fmla="*/ 381425 h 2164296"/>
              <a:gd name="connsiteX109" fmla="*/ 360439 w 2198764"/>
              <a:gd name="connsiteY109" fmla="*/ 333800 h 2164296"/>
              <a:gd name="connsiteX110" fmla="*/ 389014 w 2198764"/>
              <a:gd name="connsiteY110" fmla="*/ 290938 h 2164296"/>
              <a:gd name="connsiteX111" fmla="*/ 412826 w 2198764"/>
              <a:gd name="connsiteY111" fmla="*/ 248075 h 2164296"/>
              <a:gd name="connsiteX112" fmla="*/ 427114 w 2198764"/>
              <a:gd name="connsiteY112" fmla="*/ 229025 h 2164296"/>
              <a:gd name="connsiteX113" fmla="*/ 450926 w 2198764"/>
              <a:gd name="connsiteY113" fmla="*/ 214738 h 2164296"/>
              <a:gd name="connsiteX114" fmla="*/ 474739 w 2198764"/>
              <a:gd name="connsiteY114" fmla="*/ 190925 h 2164296"/>
              <a:gd name="connsiteX115" fmla="*/ 489026 w 2198764"/>
              <a:gd name="connsiteY115" fmla="*/ 181400 h 2164296"/>
              <a:gd name="connsiteX116" fmla="*/ 522364 w 2198764"/>
              <a:gd name="connsiteY116" fmla="*/ 143300 h 2164296"/>
              <a:gd name="connsiteX117" fmla="*/ 536651 w 2198764"/>
              <a:gd name="connsiteY117" fmla="*/ 133775 h 2164296"/>
              <a:gd name="connsiteX118" fmla="*/ 646189 w 2198764"/>
              <a:gd name="connsiteY118" fmla="*/ 71863 h 2164296"/>
              <a:gd name="connsiteX119" fmla="*/ 660476 w 2198764"/>
              <a:gd name="connsiteY119" fmla="*/ 52813 h 2164296"/>
              <a:gd name="connsiteX120" fmla="*/ 679526 w 2198764"/>
              <a:gd name="connsiteY120" fmla="*/ 48050 h 2164296"/>
              <a:gd name="connsiteX121" fmla="*/ 703339 w 2198764"/>
              <a:gd name="connsiteY121" fmla="*/ 38525 h 2164296"/>
              <a:gd name="connsiteX122" fmla="*/ 746201 w 2198764"/>
              <a:gd name="connsiteY122" fmla="*/ 24238 h 2164296"/>
              <a:gd name="connsiteX123" fmla="*/ 774776 w 2198764"/>
              <a:gd name="connsiteY123" fmla="*/ 14713 h 2164296"/>
              <a:gd name="connsiteX124" fmla="*/ 822401 w 2198764"/>
              <a:gd name="connsiteY124" fmla="*/ 9950 h 2164296"/>
              <a:gd name="connsiteX125" fmla="*/ 893839 w 2198764"/>
              <a:gd name="connsiteY125" fmla="*/ 425 h 2164296"/>
              <a:gd name="connsiteX0" fmla="*/ 831710 w 2203310"/>
              <a:gd name="connsiteY0" fmla="*/ 425 h 2164296"/>
              <a:gd name="connsiteX1" fmla="*/ 984110 w 2203310"/>
              <a:gd name="connsiteY1" fmla="*/ 5188 h 2164296"/>
              <a:gd name="connsiteX2" fmla="*/ 1007922 w 2203310"/>
              <a:gd name="connsiteY2" fmla="*/ 9950 h 2164296"/>
              <a:gd name="connsiteX3" fmla="*/ 1074597 w 2203310"/>
              <a:gd name="connsiteY3" fmla="*/ 19475 h 2164296"/>
              <a:gd name="connsiteX4" fmla="*/ 1103172 w 2203310"/>
              <a:gd name="connsiteY4" fmla="*/ 24238 h 2164296"/>
              <a:gd name="connsiteX5" fmla="*/ 1126985 w 2203310"/>
              <a:gd name="connsiteY5" fmla="*/ 38525 h 2164296"/>
              <a:gd name="connsiteX6" fmla="*/ 1169847 w 2203310"/>
              <a:gd name="connsiteY6" fmla="*/ 48050 h 2164296"/>
              <a:gd name="connsiteX7" fmla="*/ 1188897 w 2203310"/>
              <a:gd name="connsiteY7" fmla="*/ 52813 h 2164296"/>
              <a:gd name="connsiteX8" fmla="*/ 1222235 w 2203310"/>
              <a:gd name="connsiteY8" fmla="*/ 57575 h 2164296"/>
              <a:gd name="connsiteX9" fmla="*/ 1317485 w 2203310"/>
              <a:gd name="connsiteY9" fmla="*/ 71863 h 2164296"/>
              <a:gd name="connsiteX10" fmla="*/ 1488935 w 2203310"/>
              <a:gd name="connsiteY10" fmla="*/ 109963 h 2164296"/>
              <a:gd name="connsiteX11" fmla="*/ 1512747 w 2203310"/>
              <a:gd name="connsiteY11" fmla="*/ 114725 h 2164296"/>
              <a:gd name="connsiteX12" fmla="*/ 1650860 w 2203310"/>
              <a:gd name="connsiteY12" fmla="*/ 124250 h 2164296"/>
              <a:gd name="connsiteX13" fmla="*/ 1684197 w 2203310"/>
              <a:gd name="connsiteY13" fmla="*/ 129013 h 2164296"/>
              <a:gd name="connsiteX14" fmla="*/ 1708010 w 2203310"/>
              <a:gd name="connsiteY14" fmla="*/ 133775 h 2164296"/>
              <a:gd name="connsiteX15" fmla="*/ 1755635 w 2203310"/>
              <a:gd name="connsiteY15" fmla="*/ 138538 h 2164296"/>
              <a:gd name="connsiteX16" fmla="*/ 1793735 w 2203310"/>
              <a:gd name="connsiteY16" fmla="*/ 152825 h 2164296"/>
              <a:gd name="connsiteX17" fmla="*/ 1808022 w 2203310"/>
              <a:gd name="connsiteY17" fmla="*/ 162350 h 2164296"/>
              <a:gd name="connsiteX18" fmla="*/ 1831835 w 2203310"/>
              <a:gd name="connsiteY18" fmla="*/ 167113 h 2164296"/>
              <a:gd name="connsiteX19" fmla="*/ 1855647 w 2203310"/>
              <a:gd name="connsiteY19" fmla="*/ 181400 h 2164296"/>
              <a:gd name="connsiteX20" fmla="*/ 1879460 w 2203310"/>
              <a:gd name="connsiteY20" fmla="*/ 190925 h 2164296"/>
              <a:gd name="connsiteX21" fmla="*/ 1893747 w 2203310"/>
              <a:gd name="connsiteY21" fmla="*/ 205213 h 2164296"/>
              <a:gd name="connsiteX22" fmla="*/ 1927085 w 2203310"/>
              <a:gd name="connsiteY22" fmla="*/ 229025 h 2164296"/>
              <a:gd name="connsiteX23" fmla="*/ 1979472 w 2203310"/>
              <a:gd name="connsiteY23" fmla="*/ 267125 h 2164296"/>
              <a:gd name="connsiteX24" fmla="*/ 2003285 w 2203310"/>
              <a:gd name="connsiteY24" fmla="*/ 295700 h 2164296"/>
              <a:gd name="connsiteX25" fmla="*/ 2036622 w 2203310"/>
              <a:gd name="connsiteY25" fmla="*/ 348088 h 2164296"/>
              <a:gd name="connsiteX26" fmla="*/ 2055672 w 2203310"/>
              <a:gd name="connsiteY26" fmla="*/ 410000 h 2164296"/>
              <a:gd name="connsiteX27" fmla="*/ 2065197 w 2203310"/>
              <a:gd name="connsiteY27" fmla="*/ 443338 h 2164296"/>
              <a:gd name="connsiteX28" fmla="*/ 2069960 w 2203310"/>
              <a:gd name="connsiteY28" fmla="*/ 457625 h 2164296"/>
              <a:gd name="connsiteX29" fmla="*/ 2079485 w 2203310"/>
              <a:gd name="connsiteY29" fmla="*/ 476675 h 2164296"/>
              <a:gd name="connsiteX30" fmla="*/ 2098535 w 2203310"/>
              <a:gd name="connsiteY30" fmla="*/ 548113 h 2164296"/>
              <a:gd name="connsiteX31" fmla="*/ 2112822 w 2203310"/>
              <a:gd name="connsiteY31" fmla="*/ 610025 h 2164296"/>
              <a:gd name="connsiteX32" fmla="*/ 2117585 w 2203310"/>
              <a:gd name="connsiteY32" fmla="*/ 914825 h 2164296"/>
              <a:gd name="connsiteX33" fmla="*/ 2155685 w 2203310"/>
              <a:gd name="connsiteY33" fmla="*/ 1086275 h 2164296"/>
              <a:gd name="connsiteX34" fmla="*/ 2160447 w 2203310"/>
              <a:gd name="connsiteY34" fmla="*/ 1148188 h 2164296"/>
              <a:gd name="connsiteX35" fmla="*/ 2174735 w 2203310"/>
              <a:gd name="connsiteY35" fmla="*/ 1191050 h 2164296"/>
              <a:gd name="connsiteX36" fmla="*/ 2179497 w 2203310"/>
              <a:gd name="connsiteY36" fmla="*/ 1224388 h 2164296"/>
              <a:gd name="connsiteX37" fmla="*/ 2198547 w 2203310"/>
              <a:gd name="connsiteY37" fmla="*/ 1276775 h 2164296"/>
              <a:gd name="connsiteX38" fmla="*/ 2203310 w 2203310"/>
              <a:gd name="connsiteY38" fmla="*/ 1300588 h 2164296"/>
              <a:gd name="connsiteX39" fmla="*/ 2198547 w 2203310"/>
              <a:gd name="connsiteY39" fmla="*/ 1514900 h 2164296"/>
              <a:gd name="connsiteX40" fmla="*/ 2189022 w 2203310"/>
              <a:gd name="connsiteY40" fmla="*/ 1529188 h 2164296"/>
              <a:gd name="connsiteX41" fmla="*/ 2179497 w 2203310"/>
              <a:gd name="connsiteY41" fmla="*/ 1562525 h 2164296"/>
              <a:gd name="connsiteX42" fmla="*/ 2169972 w 2203310"/>
              <a:gd name="connsiteY42" fmla="*/ 1576813 h 2164296"/>
              <a:gd name="connsiteX43" fmla="*/ 2165210 w 2203310"/>
              <a:gd name="connsiteY43" fmla="*/ 1600625 h 2164296"/>
              <a:gd name="connsiteX44" fmla="*/ 2150922 w 2203310"/>
              <a:gd name="connsiteY44" fmla="*/ 1614913 h 2164296"/>
              <a:gd name="connsiteX45" fmla="*/ 2141397 w 2203310"/>
              <a:gd name="connsiteY45" fmla="*/ 1629200 h 2164296"/>
              <a:gd name="connsiteX46" fmla="*/ 2112822 w 2203310"/>
              <a:gd name="connsiteY46" fmla="*/ 1657775 h 2164296"/>
              <a:gd name="connsiteX47" fmla="*/ 2084247 w 2203310"/>
              <a:gd name="connsiteY47" fmla="*/ 1686350 h 2164296"/>
              <a:gd name="connsiteX48" fmla="*/ 2074722 w 2203310"/>
              <a:gd name="connsiteY48" fmla="*/ 1700638 h 2164296"/>
              <a:gd name="connsiteX49" fmla="*/ 2060435 w 2203310"/>
              <a:gd name="connsiteY49" fmla="*/ 1710163 h 2164296"/>
              <a:gd name="connsiteX50" fmla="*/ 2036622 w 2203310"/>
              <a:gd name="connsiteY50" fmla="*/ 1724450 h 2164296"/>
              <a:gd name="connsiteX51" fmla="*/ 2012810 w 2203310"/>
              <a:gd name="connsiteY51" fmla="*/ 1743500 h 2164296"/>
              <a:gd name="connsiteX52" fmla="*/ 1941372 w 2203310"/>
              <a:gd name="connsiteY52" fmla="*/ 1772075 h 2164296"/>
              <a:gd name="connsiteX53" fmla="*/ 1922322 w 2203310"/>
              <a:gd name="connsiteY53" fmla="*/ 1786363 h 2164296"/>
              <a:gd name="connsiteX54" fmla="*/ 1874697 w 2203310"/>
              <a:gd name="connsiteY54" fmla="*/ 1814938 h 2164296"/>
              <a:gd name="connsiteX55" fmla="*/ 1860410 w 2203310"/>
              <a:gd name="connsiteY55" fmla="*/ 1833988 h 2164296"/>
              <a:gd name="connsiteX56" fmla="*/ 1808022 w 2203310"/>
              <a:gd name="connsiteY56" fmla="*/ 1862563 h 2164296"/>
              <a:gd name="connsiteX57" fmla="*/ 1665148 w 2203310"/>
              <a:gd name="connsiteY57" fmla="*/ 1891137 h 2164296"/>
              <a:gd name="connsiteX58" fmla="*/ 1417497 w 2203310"/>
              <a:gd name="connsiteY58" fmla="*/ 2014962 h 2164296"/>
              <a:gd name="connsiteX59" fmla="*/ 1365110 w 2203310"/>
              <a:gd name="connsiteY59" fmla="*/ 2053063 h 2164296"/>
              <a:gd name="connsiteX60" fmla="*/ 1350822 w 2203310"/>
              <a:gd name="connsiteY60" fmla="*/ 2062588 h 2164296"/>
              <a:gd name="connsiteX61" fmla="*/ 1312722 w 2203310"/>
              <a:gd name="connsiteY61" fmla="*/ 2072113 h 2164296"/>
              <a:gd name="connsiteX62" fmla="*/ 1288910 w 2203310"/>
              <a:gd name="connsiteY62" fmla="*/ 2086400 h 2164296"/>
              <a:gd name="connsiteX63" fmla="*/ 1236522 w 2203310"/>
              <a:gd name="connsiteY63" fmla="*/ 2100688 h 2164296"/>
              <a:gd name="connsiteX64" fmla="*/ 1193660 w 2203310"/>
              <a:gd name="connsiteY64" fmla="*/ 2119738 h 2164296"/>
              <a:gd name="connsiteX65" fmla="*/ 1174610 w 2203310"/>
              <a:gd name="connsiteY65" fmla="*/ 2134025 h 2164296"/>
              <a:gd name="connsiteX66" fmla="*/ 1103172 w 2203310"/>
              <a:gd name="connsiteY66" fmla="*/ 2148313 h 2164296"/>
              <a:gd name="connsiteX67" fmla="*/ 1074597 w 2203310"/>
              <a:gd name="connsiteY67" fmla="*/ 2162600 h 2164296"/>
              <a:gd name="connsiteX68" fmla="*/ 941247 w 2203310"/>
              <a:gd name="connsiteY68" fmla="*/ 2157838 h 2164296"/>
              <a:gd name="connsiteX69" fmla="*/ 831710 w 2203310"/>
              <a:gd name="connsiteY69" fmla="*/ 2105450 h 2164296"/>
              <a:gd name="connsiteX70" fmla="*/ 793610 w 2203310"/>
              <a:gd name="connsiteY70" fmla="*/ 2091163 h 2164296"/>
              <a:gd name="connsiteX71" fmla="*/ 745985 w 2203310"/>
              <a:gd name="connsiteY71" fmla="*/ 2062588 h 2164296"/>
              <a:gd name="connsiteX72" fmla="*/ 688835 w 2203310"/>
              <a:gd name="connsiteY72" fmla="*/ 2038775 h 2164296"/>
              <a:gd name="connsiteX73" fmla="*/ 655497 w 2203310"/>
              <a:gd name="connsiteY73" fmla="*/ 2005438 h 2164296"/>
              <a:gd name="connsiteX74" fmla="*/ 617397 w 2203310"/>
              <a:gd name="connsiteY74" fmla="*/ 1976863 h 2164296"/>
              <a:gd name="connsiteX75" fmla="*/ 603110 w 2203310"/>
              <a:gd name="connsiteY75" fmla="*/ 1957813 h 2164296"/>
              <a:gd name="connsiteX76" fmla="*/ 588822 w 2203310"/>
              <a:gd name="connsiteY76" fmla="*/ 1934000 h 2164296"/>
              <a:gd name="connsiteX77" fmla="*/ 555485 w 2203310"/>
              <a:gd name="connsiteY77" fmla="*/ 1895900 h 2164296"/>
              <a:gd name="connsiteX78" fmla="*/ 412610 w 2203310"/>
              <a:gd name="connsiteY78" fmla="*/ 1705400 h 2164296"/>
              <a:gd name="connsiteX79" fmla="*/ 398322 w 2203310"/>
              <a:gd name="connsiteY79" fmla="*/ 1686350 h 2164296"/>
              <a:gd name="connsiteX80" fmla="*/ 379272 w 2203310"/>
              <a:gd name="connsiteY80" fmla="*/ 1657775 h 2164296"/>
              <a:gd name="connsiteX81" fmla="*/ 322122 w 2203310"/>
              <a:gd name="connsiteY81" fmla="*/ 1600625 h 2164296"/>
              <a:gd name="connsiteX82" fmla="*/ 298310 w 2203310"/>
              <a:gd name="connsiteY82" fmla="*/ 1576813 h 2164296"/>
              <a:gd name="connsiteX83" fmla="*/ 284022 w 2203310"/>
              <a:gd name="connsiteY83" fmla="*/ 1562525 h 2164296"/>
              <a:gd name="connsiteX84" fmla="*/ 245922 w 2203310"/>
              <a:gd name="connsiteY84" fmla="*/ 1538713 h 2164296"/>
              <a:gd name="connsiteX85" fmla="*/ 222110 w 2203310"/>
              <a:gd name="connsiteY85" fmla="*/ 1510138 h 2164296"/>
              <a:gd name="connsiteX86" fmla="*/ 198297 w 2203310"/>
              <a:gd name="connsiteY86" fmla="*/ 1491088 h 2164296"/>
              <a:gd name="connsiteX87" fmla="*/ 179247 w 2203310"/>
              <a:gd name="connsiteY87" fmla="*/ 1462513 h 2164296"/>
              <a:gd name="connsiteX88" fmla="*/ 155435 w 2203310"/>
              <a:gd name="connsiteY88" fmla="*/ 1438700 h 2164296"/>
              <a:gd name="connsiteX89" fmla="*/ 145910 w 2203310"/>
              <a:gd name="connsiteY89" fmla="*/ 1424413 h 2164296"/>
              <a:gd name="connsiteX90" fmla="*/ 126860 w 2203310"/>
              <a:gd name="connsiteY90" fmla="*/ 1405363 h 2164296"/>
              <a:gd name="connsiteX91" fmla="*/ 107810 w 2203310"/>
              <a:gd name="connsiteY91" fmla="*/ 1376788 h 2164296"/>
              <a:gd name="connsiteX92" fmla="*/ 93522 w 2203310"/>
              <a:gd name="connsiteY92" fmla="*/ 1362500 h 2164296"/>
              <a:gd name="connsiteX93" fmla="*/ 83997 w 2203310"/>
              <a:gd name="connsiteY93" fmla="*/ 1348213 h 2164296"/>
              <a:gd name="connsiteX94" fmla="*/ 64947 w 2203310"/>
              <a:gd name="connsiteY94" fmla="*/ 1305350 h 2164296"/>
              <a:gd name="connsiteX95" fmla="*/ 36372 w 2203310"/>
              <a:gd name="connsiteY95" fmla="*/ 991025 h 2164296"/>
              <a:gd name="connsiteX96" fmla="*/ 74472 w 2203310"/>
              <a:gd name="connsiteY96" fmla="*/ 929113 h 2164296"/>
              <a:gd name="connsiteX97" fmla="*/ 98285 w 2203310"/>
              <a:gd name="connsiteY97" fmla="*/ 891013 h 2164296"/>
              <a:gd name="connsiteX98" fmla="*/ 117335 w 2203310"/>
              <a:gd name="connsiteY98" fmla="*/ 848150 h 2164296"/>
              <a:gd name="connsiteX99" fmla="*/ 179247 w 2203310"/>
              <a:gd name="connsiteY99" fmla="*/ 733850 h 2164296"/>
              <a:gd name="connsiteX100" fmla="*/ 241160 w 2203310"/>
              <a:gd name="connsiteY100" fmla="*/ 610025 h 2164296"/>
              <a:gd name="connsiteX101" fmla="*/ 245922 w 2203310"/>
              <a:gd name="connsiteY101" fmla="*/ 581450 h 2164296"/>
              <a:gd name="connsiteX102" fmla="*/ 269735 w 2203310"/>
              <a:gd name="connsiteY102" fmla="*/ 538588 h 2164296"/>
              <a:gd name="connsiteX103" fmla="*/ 284022 w 2203310"/>
              <a:gd name="connsiteY103" fmla="*/ 500488 h 2164296"/>
              <a:gd name="connsiteX104" fmla="*/ 298310 w 2203310"/>
              <a:gd name="connsiteY104" fmla="*/ 471913 h 2164296"/>
              <a:gd name="connsiteX105" fmla="*/ 307835 w 2203310"/>
              <a:gd name="connsiteY105" fmla="*/ 443338 h 2164296"/>
              <a:gd name="connsiteX106" fmla="*/ 317360 w 2203310"/>
              <a:gd name="connsiteY106" fmla="*/ 429050 h 2164296"/>
              <a:gd name="connsiteX107" fmla="*/ 326885 w 2203310"/>
              <a:gd name="connsiteY107" fmla="*/ 405238 h 2164296"/>
              <a:gd name="connsiteX108" fmla="*/ 345935 w 2203310"/>
              <a:gd name="connsiteY108" fmla="*/ 381425 h 2164296"/>
              <a:gd name="connsiteX109" fmla="*/ 364985 w 2203310"/>
              <a:gd name="connsiteY109" fmla="*/ 333800 h 2164296"/>
              <a:gd name="connsiteX110" fmla="*/ 393560 w 2203310"/>
              <a:gd name="connsiteY110" fmla="*/ 290938 h 2164296"/>
              <a:gd name="connsiteX111" fmla="*/ 417372 w 2203310"/>
              <a:gd name="connsiteY111" fmla="*/ 248075 h 2164296"/>
              <a:gd name="connsiteX112" fmla="*/ 431660 w 2203310"/>
              <a:gd name="connsiteY112" fmla="*/ 229025 h 2164296"/>
              <a:gd name="connsiteX113" fmla="*/ 455472 w 2203310"/>
              <a:gd name="connsiteY113" fmla="*/ 214738 h 2164296"/>
              <a:gd name="connsiteX114" fmla="*/ 479285 w 2203310"/>
              <a:gd name="connsiteY114" fmla="*/ 190925 h 2164296"/>
              <a:gd name="connsiteX115" fmla="*/ 493572 w 2203310"/>
              <a:gd name="connsiteY115" fmla="*/ 181400 h 2164296"/>
              <a:gd name="connsiteX116" fmla="*/ 526910 w 2203310"/>
              <a:gd name="connsiteY116" fmla="*/ 143300 h 2164296"/>
              <a:gd name="connsiteX117" fmla="*/ 541197 w 2203310"/>
              <a:gd name="connsiteY117" fmla="*/ 133775 h 2164296"/>
              <a:gd name="connsiteX118" fmla="*/ 650735 w 2203310"/>
              <a:gd name="connsiteY118" fmla="*/ 71863 h 2164296"/>
              <a:gd name="connsiteX119" fmla="*/ 665022 w 2203310"/>
              <a:gd name="connsiteY119" fmla="*/ 52813 h 2164296"/>
              <a:gd name="connsiteX120" fmla="*/ 684072 w 2203310"/>
              <a:gd name="connsiteY120" fmla="*/ 48050 h 2164296"/>
              <a:gd name="connsiteX121" fmla="*/ 707885 w 2203310"/>
              <a:gd name="connsiteY121" fmla="*/ 38525 h 2164296"/>
              <a:gd name="connsiteX122" fmla="*/ 750747 w 2203310"/>
              <a:gd name="connsiteY122" fmla="*/ 24238 h 2164296"/>
              <a:gd name="connsiteX123" fmla="*/ 779322 w 2203310"/>
              <a:gd name="connsiteY123" fmla="*/ 14713 h 2164296"/>
              <a:gd name="connsiteX124" fmla="*/ 826947 w 2203310"/>
              <a:gd name="connsiteY124" fmla="*/ 9950 h 2164296"/>
              <a:gd name="connsiteX125" fmla="*/ 898385 w 2203310"/>
              <a:gd name="connsiteY125" fmla="*/ 425 h 2164296"/>
              <a:gd name="connsiteX0" fmla="*/ 827440 w 2199040"/>
              <a:gd name="connsiteY0" fmla="*/ 425 h 2164296"/>
              <a:gd name="connsiteX1" fmla="*/ 979840 w 2199040"/>
              <a:gd name="connsiteY1" fmla="*/ 5188 h 2164296"/>
              <a:gd name="connsiteX2" fmla="*/ 1003652 w 2199040"/>
              <a:gd name="connsiteY2" fmla="*/ 9950 h 2164296"/>
              <a:gd name="connsiteX3" fmla="*/ 1070327 w 2199040"/>
              <a:gd name="connsiteY3" fmla="*/ 19475 h 2164296"/>
              <a:gd name="connsiteX4" fmla="*/ 1098902 w 2199040"/>
              <a:gd name="connsiteY4" fmla="*/ 24238 h 2164296"/>
              <a:gd name="connsiteX5" fmla="*/ 1122715 w 2199040"/>
              <a:gd name="connsiteY5" fmla="*/ 38525 h 2164296"/>
              <a:gd name="connsiteX6" fmla="*/ 1165577 w 2199040"/>
              <a:gd name="connsiteY6" fmla="*/ 48050 h 2164296"/>
              <a:gd name="connsiteX7" fmla="*/ 1184627 w 2199040"/>
              <a:gd name="connsiteY7" fmla="*/ 52813 h 2164296"/>
              <a:gd name="connsiteX8" fmla="*/ 1217965 w 2199040"/>
              <a:gd name="connsiteY8" fmla="*/ 57575 h 2164296"/>
              <a:gd name="connsiteX9" fmla="*/ 1313215 w 2199040"/>
              <a:gd name="connsiteY9" fmla="*/ 71863 h 2164296"/>
              <a:gd name="connsiteX10" fmla="*/ 1484665 w 2199040"/>
              <a:gd name="connsiteY10" fmla="*/ 109963 h 2164296"/>
              <a:gd name="connsiteX11" fmla="*/ 1508477 w 2199040"/>
              <a:gd name="connsiteY11" fmla="*/ 114725 h 2164296"/>
              <a:gd name="connsiteX12" fmla="*/ 1646590 w 2199040"/>
              <a:gd name="connsiteY12" fmla="*/ 124250 h 2164296"/>
              <a:gd name="connsiteX13" fmla="*/ 1679927 w 2199040"/>
              <a:gd name="connsiteY13" fmla="*/ 129013 h 2164296"/>
              <a:gd name="connsiteX14" fmla="*/ 1703740 w 2199040"/>
              <a:gd name="connsiteY14" fmla="*/ 133775 h 2164296"/>
              <a:gd name="connsiteX15" fmla="*/ 1751365 w 2199040"/>
              <a:gd name="connsiteY15" fmla="*/ 138538 h 2164296"/>
              <a:gd name="connsiteX16" fmla="*/ 1789465 w 2199040"/>
              <a:gd name="connsiteY16" fmla="*/ 152825 h 2164296"/>
              <a:gd name="connsiteX17" fmla="*/ 1803752 w 2199040"/>
              <a:gd name="connsiteY17" fmla="*/ 162350 h 2164296"/>
              <a:gd name="connsiteX18" fmla="*/ 1827565 w 2199040"/>
              <a:gd name="connsiteY18" fmla="*/ 167113 h 2164296"/>
              <a:gd name="connsiteX19" fmla="*/ 1851377 w 2199040"/>
              <a:gd name="connsiteY19" fmla="*/ 181400 h 2164296"/>
              <a:gd name="connsiteX20" fmla="*/ 1875190 w 2199040"/>
              <a:gd name="connsiteY20" fmla="*/ 190925 h 2164296"/>
              <a:gd name="connsiteX21" fmla="*/ 1889477 w 2199040"/>
              <a:gd name="connsiteY21" fmla="*/ 205213 h 2164296"/>
              <a:gd name="connsiteX22" fmla="*/ 1922815 w 2199040"/>
              <a:gd name="connsiteY22" fmla="*/ 229025 h 2164296"/>
              <a:gd name="connsiteX23" fmla="*/ 1975202 w 2199040"/>
              <a:gd name="connsiteY23" fmla="*/ 267125 h 2164296"/>
              <a:gd name="connsiteX24" fmla="*/ 1999015 w 2199040"/>
              <a:gd name="connsiteY24" fmla="*/ 295700 h 2164296"/>
              <a:gd name="connsiteX25" fmla="*/ 2032352 w 2199040"/>
              <a:gd name="connsiteY25" fmla="*/ 348088 h 2164296"/>
              <a:gd name="connsiteX26" fmla="*/ 2051402 w 2199040"/>
              <a:gd name="connsiteY26" fmla="*/ 410000 h 2164296"/>
              <a:gd name="connsiteX27" fmla="*/ 2060927 w 2199040"/>
              <a:gd name="connsiteY27" fmla="*/ 443338 h 2164296"/>
              <a:gd name="connsiteX28" fmla="*/ 2065690 w 2199040"/>
              <a:gd name="connsiteY28" fmla="*/ 457625 h 2164296"/>
              <a:gd name="connsiteX29" fmla="*/ 2075215 w 2199040"/>
              <a:gd name="connsiteY29" fmla="*/ 476675 h 2164296"/>
              <a:gd name="connsiteX30" fmla="*/ 2094265 w 2199040"/>
              <a:gd name="connsiteY30" fmla="*/ 548113 h 2164296"/>
              <a:gd name="connsiteX31" fmla="*/ 2108552 w 2199040"/>
              <a:gd name="connsiteY31" fmla="*/ 610025 h 2164296"/>
              <a:gd name="connsiteX32" fmla="*/ 2113315 w 2199040"/>
              <a:gd name="connsiteY32" fmla="*/ 914825 h 2164296"/>
              <a:gd name="connsiteX33" fmla="*/ 2151415 w 2199040"/>
              <a:gd name="connsiteY33" fmla="*/ 1086275 h 2164296"/>
              <a:gd name="connsiteX34" fmla="*/ 2156177 w 2199040"/>
              <a:gd name="connsiteY34" fmla="*/ 1148188 h 2164296"/>
              <a:gd name="connsiteX35" fmla="*/ 2170465 w 2199040"/>
              <a:gd name="connsiteY35" fmla="*/ 1191050 h 2164296"/>
              <a:gd name="connsiteX36" fmla="*/ 2175227 w 2199040"/>
              <a:gd name="connsiteY36" fmla="*/ 1224388 h 2164296"/>
              <a:gd name="connsiteX37" fmla="*/ 2194277 w 2199040"/>
              <a:gd name="connsiteY37" fmla="*/ 1276775 h 2164296"/>
              <a:gd name="connsiteX38" fmla="*/ 2199040 w 2199040"/>
              <a:gd name="connsiteY38" fmla="*/ 1300588 h 2164296"/>
              <a:gd name="connsiteX39" fmla="*/ 2194277 w 2199040"/>
              <a:gd name="connsiteY39" fmla="*/ 1514900 h 2164296"/>
              <a:gd name="connsiteX40" fmla="*/ 2184752 w 2199040"/>
              <a:gd name="connsiteY40" fmla="*/ 1529188 h 2164296"/>
              <a:gd name="connsiteX41" fmla="*/ 2175227 w 2199040"/>
              <a:gd name="connsiteY41" fmla="*/ 1562525 h 2164296"/>
              <a:gd name="connsiteX42" fmla="*/ 2165702 w 2199040"/>
              <a:gd name="connsiteY42" fmla="*/ 1576813 h 2164296"/>
              <a:gd name="connsiteX43" fmla="*/ 2160940 w 2199040"/>
              <a:gd name="connsiteY43" fmla="*/ 1600625 h 2164296"/>
              <a:gd name="connsiteX44" fmla="*/ 2146652 w 2199040"/>
              <a:gd name="connsiteY44" fmla="*/ 1614913 h 2164296"/>
              <a:gd name="connsiteX45" fmla="*/ 2137127 w 2199040"/>
              <a:gd name="connsiteY45" fmla="*/ 1629200 h 2164296"/>
              <a:gd name="connsiteX46" fmla="*/ 2108552 w 2199040"/>
              <a:gd name="connsiteY46" fmla="*/ 1657775 h 2164296"/>
              <a:gd name="connsiteX47" fmla="*/ 2079977 w 2199040"/>
              <a:gd name="connsiteY47" fmla="*/ 1686350 h 2164296"/>
              <a:gd name="connsiteX48" fmla="*/ 2070452 w 2199040"/>
              <a:gd name="connsiteY48" fmla="*/ 1700638 h 2164296"/>
              <a:gd name="connsiteX49" fmla="*/ 2056165 w 2199040"/>
              <a:gd name="connsiteY49" fmla="*/ 1710163 h 2164296"/>
              <a:gd name="connsiteX50" fmla="*/ 2032352 w 2199040"/>
              <a:gd name="connsiteY50" fmla="*/ 1724450 h 2164296"/>
              <a:gd name="connsiteX51" fmla="*/ 2008540 w 2199040"/>
              <a:gd name="connsiteY51" fmla="*/ 1743500 h 2164296"/>
              <a:gd name="connsiteX52" fmla="*/ 1937102 w 2199040"/>
              <a:gd name="connsiteY52" fmla="*/ 1772075 h 2164296"/>
              <a:gd name="connsiteX53" fmla="*/ 1918052 w 2199040"/>
              <a:gd name="connsiteY53" fmla="*/ 1786363 h 2164296"/>
              <a:gd name="connsiteX54" fmla="*/ 1870427 w 2199040"/>
              <a:gd name="connsiteY54" fmla="*/ 1814938 h 2164296"/>
              <a:gd name="connsiteX55" fmla="*/ 1856140 w 2199040"/>
              <a:gd name="connsiteY55" fmla="*/ 1833988 h 2164296"/>
              <a:gd name="connsiteX56" fmla="*/ 1803752 w 2199040"/>
              <a:gd name="connsiteY56" fmla="*/ 1862563 h 2164296"/>
              <a:gd name="connsiteX57" fmla="*/ 1660878 w 2199040"/>
              <a:gd name="connsiteY57" fmla="*/ 1891137 h 2164296"/>
              <a:gd name="connsiteX58" fmla="*/ 1413227 w 2199040"/>
              <a:gd name="connsiteY58" fmla="*/ 2014962 h 2164296"/>
              <a:gd name="connsiteX59" fmla="*/ 1360840 w 2199040"/>
              <a:gd name="connsiteY59" fmla="*/ 2053063 h 2164296"/>
              <a:gd name="connsiteX60" fmla="*/ 1346552 w 2199040"/>
              <a:gd name="connsiteY60" fmla="*/ 2062588 h 2164296"/>
              <a:gd name="connsiteX61" fmla="*/ 1308452 w 2199040"/>
              <a:gd name="connsiteY61" fmla="*/ 2072113 h 2164296"/>
              <a:gd name="connsiteX62" fmla="*/ 1284640 w 2199040"/>
              <a:gd name="connsiteY62" fmla="*/ 2086400 h 2164296"/>
              <a:gd name="connsiteX63" fmla="*/ 1232252 w 2199040"/>
              <a:gd name="connsiteY63" fmla="*/ 2100688 h 2164296"/>
              <a:gd name="connsiteX64" fmla="*/ 1189390 w 2199040"/>
              <a:gd name="connsiteY64" fmla="*/ 2119738 h 2164296"/>
              <a:gd name="connsiteX65" fmla="*/ 1170340 w 2199040"/>
              <a:gd name="connsiteY65" fmla="*/ 2134025 h 2164296"/>
              <a:gd name="connsiteX66" fmla="*/ 1098902 w 2199040"/>
              <a:gd name="connsiteY66" fmla="*/ 2148313 h 2164296"/>
              <a:gd name="connsiteX67" fmla="*/ 1070327 w 2199040"/>
              <a:gd name="connsiteY67" fmla="*/ 2162600 h 2164296"/>
              <a:gd name="connsiteX68" fmla="*/ 936977 w 2199040"/>
              <a:gd name="connsiteY68" fmla="*/ 2157838 h 2164296"/>
              <a:gd name="connsiteX69" fmla="*/ 827440 w 2199040"/>
              <a:gd name="connsiteY69" fmla="*/ 2105450 h 2164296"/>
              <a:gd name="connsiteX70" fmla="*/ 789340 w 2199040"/>
              <a:gd name="connsiteY70" fmla="*/ 2091163 h 2164296"/>
              <a:gd name="connsiteX71" fmla="*/ 741715 w 2199040"/>
              <a:gd name="connsiteY71" fmla="*/ 2062588 h 2164296"/>
              <a:gd name="connsiteX72" fmla="*/ 684565 w 2199040"/>
              <a:gd name="connsiteY72" fmla="*/ 2038775 h 2164296"/>
              <a:gd name="connsiteX73" fmla="*/ 651227 w 2199040"/>
              <a:gd name="connsiteY73" fmla="*/ 2005438 h 2164296"/>
              <a:gd name="connsiteX74" fmla="*/ 613127 w 2199040"/>
              <a:gd name="connsiteY74" fmla="*/ 1976863 h 2164296"/>
              <a:gd name="connsiteX75" fmla="*/ 598840 w 2199040"/>
              <a:gd name="connsiteY75" fmla="*/ 1957813 h 2164296"/>
              <a:gd name="connsiteX76" fmla="*/ 584552 w 2199040"/>
              <a:gd name="connsiteY76" fmla="*/ 1934000 h 2164296"/>
              <a:gd name="connsiteX77" fmla="*/ 551215 w 2199040"/>
              <a:gd name="connsiteY77" fmla="*/ 1895900 h 2164296"/>
              <a:gd name="connsiteX78" fmla="*/ 408340 w 2199040"/>
              <a:gd name="connsiteY78" fmla="*/ 1705400 h 2164296"/>
              <a:gd name="connsiteX79" fmla="*/ 394052 w 2199040"/>
              <a:gd name="connsiteY79" fmla="*/ 1686350 h 2164296"/>
              <a:gd name="connsiteX80" fmla="*/ 375002 w 2199040"/>
              <a:gd name="connsiteY80" fmla="*/ 1657775 h 2164296"/>
              <a:gd name="connsiteX81" fmla="*/ 317852 w 2199040"/>
              <a:gd name="connsiteY81" fmla="*/ 1600625 h 2164296"/>
              <a:gd name="connsiteX82" fmla="*/ 294040 w 2199040"/>
              <a:gd name="connsiteY82" fmla="*/ 1576813 h 2164296"/>
              <a:gd name="connsiteX83" fmla="*/ 279752 w 2199040"/>
              <a:gd name="connsiteY83" fmla="*/ 1562525 h 2164296"/>
              <a:gd name="connsiteX84" fmla="*/ 241652 w 2199040"/>
              <a:gd name="connsiteY84" fmla="*/ 1538713 h 2164296"/>
              <a:gd name="connsiteX85" fmla="*/ 217840 w 2199040"/>
              <a:gd name="connsiteY85" fmla="*/ 1510138 h 2164296"/>
              <a:gd name="connsiteX86" fmla="*/ 194027 w 2199040"/>
              <a:gd name="connsiteY86" fmla="*/ 1491088 h 2164296"/>
              <a:gd name="connsiteX87" fmla="*/ 174977 w 2199040"/>
              <a:gd name="connsiteY87" fmla="*/ 1462513 h 2164296"/>
              <a:gd name="connsiteX88" fmla="*/ 151165 w 2199040"/>
              <a:gd name="connsiteY88" fmla="*/ 1438700 h 2164296"/>
              <a:gd name="connsiteX89" fmla="*/ 141640 w 2199040"/>
              <a:gd name="connsiteY89" fmla="*/ 1424413 h 2164296"/>
              <a:gd name="connsiteX90" fmla="*/ 122590 w 2199040"/>
              <a:gd name="connsiteY90" fmla="*/ 1405363 h 2164296"/>
              <a:gd name="connsiteX91" fmla="*/ 103540 w 2199040"/>
              <a:gd name="connsiteY91" fmla="*/ 1376788 h 2164296"/>
              <a:gd name="connsiteX92" fmla="*/ 89252 w 2199040"/>
              <a:gd name="connsiteY92" fmla="*/ 1362500 h 2164296"/>
              <a:gd name="connsiteX93" fmla="*/ 60677 w 2199040"/>
              <a:gd name="connsiteY93" fmla="*/ 1305350 h 2164296"/>
              <a:gd name="connsiteX94" fmla="*/ 32102 w 2199040"/>
              <a:gd name="connsiteY94" fmla="*/ 991025 h 2164296"/>
              <a:gd name="connsiteX95" fmla="*/ 70202 w 2199040"/>
              <a:gd name="connsiteY95" fmla="*/ 929113 h 2164296"/>
              <a:gd name="connsiteX96" fmla="*/ 94015 w 2199040"/>
              <a:gd name="connsiteY96" fmla="*/ 891013 h 2164296"/>
              <a:gd name="connsiteX97" fmla="*/ 113065 w 2199040"/>
              <a:gd name="connsiteY97" fmla="*/ 848150 h 2164296"/>
              <a:gd name="connsiteX98" fmla="*/ 174977 w 2199040"/>
              <a:gd name="connsiteY98" fmla="*/ 733850 h 2164296"/>
              <a:gd name="connsiteX99" fmla="*/ 236890 w 2199040"/>
              <a:gd name="connsiteY99" fmla="*/ 610025 h 2164296"/>
              <a:gd name="connsiteX100" fmla="*/ 241652 w 2199040"/>
              <a:gd name="connsiteY100" fmla="*/ 581450 h 2164296"/>
              <a:gd name="connsiteX101" fmla="*/ 265465 w 2199040"/>
              <a:gd name="connsiteY101" fmla="*/ 538588 h 2164296"/>
              <a:gd name="connsiteX102" fmla="*/ 279752 w 2199040"/>
              <a:gd name="connsiteY102" fmla="*/ 500488 h 2164296"/>
              <a:gd name="connsiteX103" fmla="*/ 294040 w 2199040"/>
              <a:gd name="connsiteY103" fmla="*/ 471913 h 2164296"/>
              <a:gd name="connsiteX104" fmla="*/ 303565 w 2199040"/>
              <a:gd name="connsiteY104" fmla="*/ 443338 h 2164296"/>
              <a:gd name="connsiteX105" fmla="*/ 313090 w 2199040"/>
              <a:gd name="connsiteY105" fmla="*/ 429050 h 2164296"/>
              <a:gd name="connsiteX106" fmla="*/ 322615 w 2199040"/>
              <a:gd name="connsiteY106" fmla="*/ 405238 h 2164296"/>
              <a:gd name="connsiteX107" fmla="*/ 341665 w 2199040"/>
              <a:gd name="connsiteY107" fmla="*/ 381425 h 2164296"/>
              <a:gd name="connsiteX108" fmla="*/ 360715 w 2199040"/>
              <a:gd name="connsiteY108" fmla="*/ 333800 h 2164296"/>
              <a:gd name="connsiteX109" fmla="*/ 389290 w 2199040"/>
              <a:gd name="connsiteY109" fmla="*/ 290938 h 2164296"/>
              <a:gd name="connsiteX110" fmla="*/ 413102 w 2199040"/>
              <a:gd name="connsiteY110" fmla="*/ 248075 h 2164296"/>
              <a:gd name="connsiteX111" fmla="*/ 427390 w 2199040"/>
              <a:gd name="connsiteY111" fmla="*/ 229025 h 2164296"/>
              <a:gd name="connsiteX112" fmla="*/ 451202 w 2199040"/>
              <a:gd name="connsiteY112" fmla="*/ 214738 h 2164296"/>
              <a:gd name="connsiteX113" fmla="*/ 475015 w 2199040"/>
              <a:gd name="connsiteY113" fmla="*/ 190925 h 2164296"/>
              <a:gd name="connsiteX114" fmla="*/ 489302 w 2199040"/>
              <a:gd name="connsiteY114" fmla="*/ 181400 h 2164296"/>
              <a:gd name="connsiteX115" fmla="*/ 522640 w 2199040"/>
              <a:gd name="connsiteY115" fmla="*/ 143300 h 2164296"/>
              <a:gd name="connsiteX116" fmla="*/ 536927 w 2199040"/>
              <a:gd name="connsiteY116" fmla="*/ 133775 h 2164296"/>
              <a:gd name="connsiteX117" fmla="*/ 646465 w 2199040"/>
              <a:gd name="connsiteY117" fmla="*/ 71863 h 2164296"/>
              <a:gd name="connsiteX118" fmla="*/ 660752 w 2199040"/>
              <a:gd name="connsiteY118" fmla="*/ 52813 h 2164296"/>
              <a:gd name="connsiteX119" fmla="*/ 679802 w 2199040"/>
              <a:gd name="connsiteY119" fmla="*/ 48050 h 2164296"/>
              <a:gd name="connsiteX120" fmla="*/ 703615 w 2199040"/>
              <a:gd name="connsiteY120" fmla="*/ 38525 h 2164296"/>
              <a:gd name="connsiteX121" fmla="*/ 746477 w 2199040"/>
              <a:gd name="connsiteY121" fmla="*/ 24238 h 2164296"/>
              <a:gd name="connsiteX122" fmla="*/ 775052 w 2199040"/>
              <a:gd name="connsiteY122" fmla="*/ 14713 h 2164296"/>
              <a:gd name="connsiteX123" fmla="*/ 822677 w 2199040"/>
              <a:gd name="connsiteY123" fmla="*/ 9950 h 2164296"/>
              <a:gd name="connsiteX124" fmla="*/ 894115 w 2199040"/>
              <a:gd name="connsiteY124" fmla="*/ 425 h 2164296"/>
              <a:gd name="connsiteX0" fmla="*/ 827859 w 2199459"/>
              <a:gd name="connsiteY0" fmla="*/ 425 h 2164296"/>
              <a:gd name="connsiteX1" fmla="*/ 980259 w 2199459"/>
              <a:gd name="connsiteY1" fmla="*/ 5188 h 2164296"/>
              <a:gd name="connsiteX2" fmla="*/ 1004071 w 2199459"/>
              <a:gd name="connsiteY2" fmla="*/ 9950 h 2164296"/>
              <a:gd name="connsiteX3" fmla="*/ 1070746 w 2199459"/>
              <a:gd name="connsiteY3" fmla="*/ 19475 h 2164296"/>
              <a:gd name="connsiteX4" fmla="*/ 1099321 w 2199459"/>
              <a:gd name="connsiteY4" fmla="*/ 24238 h 2164296"/>
              <a:gd name="connsiteX5" fmla="*/ 1123134 w 2199459"/>
              <a:gd name="connsiteY5" fmla="*/ 38525 h 2164296"/>
              <a:gd name="connsiteX6" fmla="*/ 1165996 w 2199459"/>
              <a:gd name="connsiteY6" fmla="*/ 48050 h 2164296"/>
              <a:gd name="connsiteX7" fmla="*/ 1185046 w 2199459"/>
              <a:gd name="connsiteY7" fmla="*/ 52813 h 2164296"/>
              <a:gd name="connsiteX8" fmla="*/ 1218384 w 2199459"/>
              <a:gd name="connsiteY8" fmla="*/ 57575 h 2164296"/>
              <a:gd name="connsiteX9" fmla="*/ 1313634 w 2199459"/>
              <a:gd name="connsiteY9" fmla="*/ 71863 h 2164296"/>
              <a:gd name="connsiteX10" fmla="*/ 1485084 w 2199459"/>
              <a:gd name="connsiteY10" fmla="*/ 109963 h 2164296"/>
              <a:gd name="connsiteX11" fmla="*/ 1508896 w 2199459"/>
              <a:gd name="connsiteY11" fmla="*/ 114725 h 2164296"/>
              <a:gd name="connsiteX12" fmla="*/ 1647009 w 2199459"/>
              <a:gd name="connsiteY12" fmla="*/ 124250 h 2164296"/>
              <a:gd name="connsiteX13" fmla="*/ 1680346 w 2199459"/>
              <a:gd name="connsiteY13" fmla="*/ 129013 h 2164296"/>
              <a:gd name="connsiteX14" fmla="*/ 1704159 w 2199459"/>
              <a:gd name="connsiteY14" fmla="*/ 133775 h 2164296"/>
              <a:gd name="connsiteX15" fmla="*/ 1751784 w 2199459"/>
              <a:gd name="connsiteY15" fmla="*/ 138538 h 2164296"/>
              <a:gd name="connsiteX16" fmla="*/ 1789884 w 2199459"/>
              <a:gd name="connsiteY16" fmla="*/ 152825 h 2164296"/>
              <a:gd name="connsiteX17" fmla="*/ 1804171 w 2199459"/>
              <a:gd name="connsiteY17" fmla="*/ 162350 h 2164296"/>
              <a:gd name="connsiteX18" fmla="*/ 1827984 w 2199459"/>
              <a:gd name="connsiteY18" fmla="*/ 167113 h 2164296"/>
              <a:gd name="connsiteX19" fmla="*/ 1851796 w 2199459"/>
              <a:gd name="connsiteY19" fmla="*/ 181400 h 2164296"/>
              <a:gd name="connsiteX20" fmla="*/ 1875609 w 2199459"/>
              <a:gd name="connsiteY20" fmla="*/ 190925 h 2164296"/>
              <a:gd name="connsiteX21" fmla="*/ 1889896 w 2199459"/>
              <a:gd name="connsiteY21" fmla="*/ 205213 h 2164296"/>
              <a:gd name="connsiteX22" fmla="*/ 1923234 w 2199459"/>
              <a:gd name="connsiteY22" fmla="*/ 229025 h 2164296"/>
              <a:gd name="connsiteX23" fmla="*/ 1975621 w 2199459"/>
              <a:gd name="connsiteY23" fmla="*/ 267125 h 2164296"/>
              <a:gd name="connsiteX24" fmla="*/ 1999434 w 2199459"/>
              <a:gd name="connsiteY24" fmla="*/ 295700 h 2164296"/>
              <a:gd name="connsiteX25" fmla="*/ 2032771 w 2199459"/>
              <a:gd name="connsiteY25" fmla="*/ 348088 h 2164296"/>
              <a:gd name="connsiteX26" fmla="*/ 2051821 w 2199459"/>
              <a:gd name="connsiteY26" fmla="*/ 410000 h 2164296"/>
              <a:gd name="connsiteX27" fmla="*/ 2061346 w 2199459"/>
              <a:gd name="connsiteY27" fmla="*/ 443338 h 2164296"/>
              <a:gd name="connsiteX28" fmla="*/ 2066109 w 2199459"/>
              <a:gd name="connsiteY28" fmla="*/ 457625 h 2164296"/>
              <a:gd name="connsiteX29" fmla="*/ 2075634 w 2199459"/>
              <a:gd name="connsiteY29" fmla="*/ 476675 h 2164296"/>
              <a:gd name="connsiteX30" fmla="*/ 2094684 w 2199459"/>
              <a:gd name="connsiteY30" fmla="*/ 548113 h 2164296"/>
              <a:gd name="connsiteX31" fmla="*/ 2108971 w 2199459"/>
              <a:gd name="connsiteY31" fmla="*/ 610025 h 2164296"/>
              <a:gd name="connsiteX32" fmla="*/ 2113734 w 2199459"/>
              <a:gd name="connsiteY32" fmla="*/ 914825 h 2164296"/>
              <a:gd name="connsiteX33" fmla="*/ 2151834 w 2199459"/>
              <a:gd name="connsiteY33" fmla="*/ 1086275 h 2164296"/>
              <a:gd name="connsiteX34" fmla="*/ 2156596 w 2199459"/>
              <a:gd name="connsiteY34" fmla="*/ 1148188 h 2164296"/>
              <a:gd name="connsiteX35" fmla="*/ 2170884 w 2199459"/>
              <a:gd name="connsiteY35" fmla="*/ 1191050 h 2164296"/>
              <a:gd name="connsiteX36" fmla="*/ 2175646 w 2199459"/>
              <a:gd name="connsiteY36" fmla="*/ 1224388 h 2164296"/>
              <a:gd name="connsiteX37" fmla="*/ 2194696 w 2199459"/>
              <a:gd name="connsiteY37" fmla="*/ 1276775 h 2164296"/>
              <a:gd name="connsiteX38" fmla="*/ 2199459 w 2199459"/>
              <a:gd name="connsiteY38" fmla="*/ 1300588 h 2164296"/>
              <a:gd name="connsiteX39" fmla="*/ 2194696 w 2199459"/>
              <a:gd name="connsiteY39" fmla="*/ 1514900 h 2164296"/>
              <a:gd name="connsiteX40" fmla="*/ 2185171 w 2199459"/>
              <a:gd name="connsiteY40" fmla="*/ 1529188 h 2164296"/>
              <a:gd name="connsiteX41" fmla="*/ 2175646 w 2199459"/>
              <a:gd name="connsiteY41" fmla="*/ 1562525 h 2164296"/>
              <a:gd name="connsiteX42" fmla="*/ 2166121 w 2199459"/>
              <a:gd name="connsiteY42" fmla="*/ 1576813 h 2164296"/>
              <a:gd name="connsiteX43" fmla="*/ 2161359 w 2199459"/>
              <a:gd name="connsiteY43" fmla="*/ 1600625 h 2164296"/>
              <a:gd name="connsiteX44" fmla="*/ 2147071 w 2199459"/>
              <a:gd name="connsiteY44" fmla="*/ 1614913 h 2164296"/>
              <a:gd name="connsiteX45" fmla="*/ 2137546 w 2199459"/>
              <a:gd name="connsiteY45" fmla="*/ 1629200 h 2164296"/>
              <a:gd name="connsiteX46" fmla="*/ 2108971 w 2199459"/>
              <a:gd name="connsiteY46" fmla="*/ 1657775 h 2164296"/>
              <a:gd name="connsiteX47" fmla="*/ 2080396 w 2199459"/>
              <a:gd name="connsiteY47" fmla="*/ 1686350 h 2164296"/>
              <a:gd name="connsiteX48" fmla="*/ 2070871 w 2199459"/>
              <a:gd name="connsiteY48" fmla="*/ 1700638 h 2164296"/>
              <a:gd name="connsiteX49" fmla="*/ 2056584 w 2199459"/>
              <a:gd name="connsiteY49" fmla="*/ 1710163 h 2164296"/>
              <a:gd name="connsiteX50" fmla="*/ 2032771 w 2199459"/>
              <a:gd name="connsiteY50" fmla="*/ 1724450 h 2164296"/>
              <a:gd name="connsiteX51" fmla="*/ 2008959 w 2199459"/>
              <a:gd name="connsiteY51" fmla="*/ 1743500 h 2164296"/>
              <a:gd name="connsiteX52" fmla="*/ 1937521 w 2199459"/>
              <a:gd name="connsiteY52" fmla="*/ 1772075 h 2164296"/>
              <a:gd name="connsiteX53" fmla="*/ 1918471 w 2199459"/>
              <a:gd name="connsiteY53" fmla="*/ 1786363 h 2164296"/>
              <a:gd name="connsiteX54" fmla="*/ 1870846 w 2199459"/>
              <a:gd name="connsiteY54" fmla="*/ 1814938 h 2164296"/>
              <a:gd name="connsiteX55" fmla="*/ 1856559 w 2199459"/>
              <a:gd name="connsiteY55" fmla="*/ 1833988 h 2164296"/>
              <a:gd name="connsiteX56" fmla="*/ 1804171 w 2199459"/>
              <a:gd name="connsiteY56" fmla="*/ 1862563 h 2164296"/>
              <a:gd name="connsiteX57" fmla="*/ 1661297 w 2199459"/>
              <a:gd name="connsiteY57" fmla="*/ 1891137 h 2164296"/>
              <a:gd name="connsiteX58" fmla="*/ 1413646 w 2199459"/>
              <a:gd name="connsiteY58" fmla="*/ 2014962 h 2164296"/>
              <a:gd name="connsiteX59" fmla="*/ 1361259 w 2199459"/>
              <a:gd name="connsiteY59" fmla="*/ 2053063 h 2164296"/>
              <a:gd name="connsiteX60" fmla="*/ 1346971 w 2199459"/>
              <a:gd name="connsiteY60" fmla="*/ 2062588 h 2164296"/>
              <a:gd name="connsiteX61" fmla="*/ 1308871 w 2199459"/>
              <a:gd name="connsiteY61" fmla="*/ 2072113 h 2164296"/>
              <a:gd name="connsiteX62" fmla="*/ 1285059 w 2199459"/>
              <a:gd name="connsiteY62" fmla="*/ 2086400 h 2164296"/>
              <a:gd name="connsiteX63" fmla="*/ 1232671 w 2199459"/>
              <a:gd name="connsiteY63" fmla="*/ 2100688 h 2164296"/>
              <a:gd name="connsiteX64" fmla="*/ 1189809 w 2199459"/>
              <a:gd name="connsiteY64" fmla="*/ 2119738 h 2164296"/>
              <a:gd name="connsiteX65" fmla="*/ 1170759 w 2199459"/>
              <a:gd name="connsiteY65" fmla="*/ 2134025 h 2164296"/>
              <a:gd name="connsiteX66" fmla="*/ 1099321 w 2199459"/>
              <a:gd name="connsiteY66" fmla="*/ 2148313 h 2164296"/>
              <a:gd name="connsiteX67" fmla="*/ 1070746 w 2199459"/>
              <a:gd name="connsiteY67" fmla="*/ 2162600 h 2164296"/>
              <a:gd name="connsiteX68" fmla="*/ 937396 w 2199459"/>
              <a:gd name="connsiteY68" fmla="*/ 2157838 h 2164296"/>
              <a:gd name="connsiteX69" fmla="*/ 827859 w 2199459"/>
              <a:gd name="connsiteY69" fmla="*/ 2105450 h 2164296"/>
              <a:gd name="connsiteX70" fmla="*/ 789759 w 2199459"/>
              <a:gd name="connsiteY70" fmla="*/ 2091163 h 2164296"/>
              <a:gd name="connsiteX71" fmla="*/ 742134 w 2199459"/>
              <a:gd name="connsiteY71" fmla="*/ 2062588 h 2164296"/>
              <a:gd name="connsiteX72" fmla="*/ 684984 w 2199459"/>
              <a:gd name="connsiteY72" fmla="*/ 2038775 h 2164296"/>
              <a:gd name="connsiteX73" fmla="*/ 651646 w 2199459"/>
              <a:gd name="connsiteY73" fmla="*/ 2005438 h 2164296"/>
              <a:gd name="connsiteX74" fmla="*/ 613546 w 2199459"/>
              <a:gd name="connsiteY74" fmla="*/ 1976863 h 2164296"/>
              <a:gd name="connsiteX75" fmla="*/ 599259 w 2199459"/>
              <a:gd name="connsiteY75" fmla="*/ 1957813 h 2164296"/>
              <a:gd name="connsiteX76" fmla="*/ 584971 w 2199459"/>
              <a:gd name="connsiteY76" fmla="*/ 1934000 h 2164296"/>
              <a:gd name="connsiteX77" fmla="*/ 551634 w 2199459"/>
              <a:gd name="connsiteY77" fmla="*/ 1895900 h 2164296"/>
              <a:gd name="connsiteX78" fmla="*/ 408759 w 2199459"/>
              <a:gd name="connsiteY78" fmla="*/ 1705400 h 2164296"/>
              <a:gd name="connsiteX79" fmla="*/ 394471 w 2199459"/>
              <a:gd name="connsiteY79" fmla="*/ 1686350 h 2164296"/>
              <a:gd name="connsiteX80" fmla="*/ 375421 w 2199459"/>
              <a:gd name="connsiteY80" fmla="*/ 1657775 h 2164296"/>
              <a:gd name="connsiteX81" fmla="*/ 318271 w 2199459"/>
              <a:gd name="connsiteY81" fmla="*/ 1600625 h 2164296"/>
              <a:gd name="connsiteX82" fmla="*/ 294459 w 2199459"/>
              <a:gd name="connsiteY82" fmla="*/ 1576813 h 2164296"/>
              <a:gd name="connsiteX83" fmla="*/ 280171 w 2199459"/>
              <a:gd name="connsiteY83" fmla="*/ 1562525 h 2164296"/>
              <a:gd name="connsiteX84" fmla="*/ 242071 w 2199459"/>
              <a:gd name="connsiteY84" fmla="*/ 1538713 h 2164296"/>
              <a:gd name="connsiteX85" fmla="*/ 218259 w 2199459"/>
              <a:gd name="connsiteY85" fmla="*/ 1510138 h 2164296"/>
              <a:gd name="connsiteX86" fmla="*/ 194446 w 2199459"/>
              <a:gd name="connsiteY86" fmla="*/ 1491088 h 2164296"/>
              <a:gd name="connsiteX87" fmla="*/ 175396 w 2199459"/>
              <a:gd name="connsiteY87" fmla="*/ 1462513 h 2164296"/>
              <a:gd name="connsiteX88" fmla="*/ 151584 w 2199459"/>
              <a:gd name="connsiteY88" fmla="*/ 1438700 h 2164296"/>
              <a:gd name="connsiteX89" fmla="*/ 142059 w 2199459"/>
              <a:gd name="connsiteY89" fmla="*/ 1424413 h 2164296"/>
              <a:gd name="connsiteX90" fmla="*/ 123009 w 2199459"/>
              <a:gd name="connsiteY90" fmla="*/ 1405363 h 2164296"/>
              <a:gd name="connsiteX91" fmla="*/ 103959 w 2199459"/>
              <a:gd name="connsiteY91" fmla="*/ 1376788 h 2164296"/>
              <a:gd name="connsiteX92" fmla="*/ 61096 w 2199459"/>
              <a:gd name="connsiteY92" fmla="*/ 1305350 h 2164296"/>
              <a:gd name="connsiteX93" fmla="*/ 32521 w 2199459"/>
              <a:gd name="connsiteY93" fmla="*/ 991025 h 2164296"/>
              <a:gd name="connsiteX94" fmla="*/ 70621 w 2199459"/>
              <a:gd name="connsiteY94" fmla="*/ 929113 h 2164296"/>
              <a:gd name="connsiteX95" fmla="*/ 94434 w 2199459"/>
              <a:gd name="connsiteY95" fmla="*/ 891013 h 2164296"/>
              <a:gd name="connsiteX96" fmla="*/ 113484 w 2199459"/>
              <a:gd name="connsiteY96" fmla="*/ 848150 h 2164296"/>
              <a:gd name="connsiteX97" fmla="*/ 175396 w 2199459"/>
              <a:gd name="connsiteY97" fmla="*/ 733850 h 2164296"/>
              <a:gd name="connsiteX98" fmla="*/ 237309 w 2199459"/>
              <a:gd name="connsiteY98" fmla="*/ 610025 h 2164296"/>
              <a:gd name="connsiteX99" fmla="*/ 242071 w 2199459"/>
              <a:gd name="connsiteY99" fmla="*/ 581450 h 2164296"/>
              <a:gd name="connsiteX100" fmla="*/ 265884 w 2199459"/>
              <a:gd name="connsiteY100" fmla="*/ 538588 h 2164296"/>
              <a:gd name="connsiteX101" fmla="*/ 280171 w 2199459"/>
              <a:gd name="connsiteY101" fmla="*/ 500488 h 2164296"/>
              <a:gd name="connsiteX102" fmla="*/ 294459 w 2199459"/>
              <a:gd name="connsiteY102" fmla="*/ 471913 h 2164296"/>
              <a:gd name="connsiteX103" fmla="*/ 303984 w 2199459"/>
              <a:gd name="connsiteY103" fmla="*/ 443338 h 2164296"/>
              <a:gd name="connsiteX104" fmla="*/ 313509 w 2199459"/>
              <a:gd name="connsiteY104" fmla="*/ 429050 h 2164296"/>
              <a:gd name="connsiteX105" fmla="*/ 323034 w 2199459"/>
              <a:gd name="connsiteY105" fmla="*/ 405238 h 2164296"/>
              <a:gd name="connsiteX106" fmla="*/ 342084 w 2199459"/>
              <a:gd name="connsiteY106" fmla="*/ 381425 h 2164296"/>
              <a:gd name="connsiteX107" fmla="*/ 361134 w 2199459"/>
              <a:gd name="connsiteY107" fmla="*/ 333800 h 2164296"/>
              <a:gd name="connsiteX108" fmla="*/ 389709 w 2199459"/>
              <a:gd name="connsiteY108" fmla="*/ 290938 h 2164296"/>
              <a:gd name="connsiteX109" fmla="*/ 413521 w 2199459"/>
              <a:gd name="connsiteY109" fmla="*/ 248075 h 2164296"/>
              <a:gd name="connsiteX110" fmla="*/ 427809 w 2199459"/>
              <a:gd name="connsiteY110" fmla="*/ 229025 h 2164296"/>
              <a:gd name="connsiteX111" fmla="*/ 451621 w 2199459"/>
              <a:gd name="connsiteY111" fmla="*/ 214738 h 2164296"/>
              <a:gd name="connsiteX112" fmla="*/ 475434 w 2199459"/>
              <a:gd name="connsiteY112" fmla="*/ 190925 h 2164296"/>
              <a:gd name="connsiteX113" fmla="*/ 489721 w 2199459"/>
              <a:gd name="connsiteY113" fmla="*/ 181400 h 2164296"/>
              <a:gd name="connsiteX114" fmla="*/ 523059 w 2199459"/>
              <a:gd name="connsiteY114" fmla="*/ 143300 h 2164296"/>
              <a:gd name="connsiteX115" fmla="*/ 537346 w 2199459"/>
              <a:gd name="connsiteY115" fmla="*/ 133775 h 2164296"/>
              <a:gd name="connsiteX116" fmla="*/ 646884 w 2199459"/>
              <a:gd name="connsiteY116" fmla="*/ 71863 h 2164296"/>
              <a:gd name="connsiteX117" fmla="*/ 661171 w 2199459"/>
              <a:gd name="connsiteY117" fmla="*/ 52813 h 2164296"/>
              <a:gd name="connsiteX118" fmla="*/ 680221 w 2199459"/>
              <a:gd name="connsiteY118" fmla="*/ 48050 h 2164296"/>
              <a:gd name="connsiteX119" fmla="*/ 704034 w 2199459"/>
              <a:gd name="connsiteY119" fmla="*/ 38525 h 2164296"/>
              <a:gd name="connsiteX120" fmla="*/ 746896 w 2199459"/>
              <a:gd name="connsiteY120" fmla="*/ 24238 h 2164296"/>
              <a:gd name="connsiteX121" fmla="*/ 775471 w 2199459"/>
              <a:gd name="connsiteY121" fmla="*/ 14713 h 2164296"/>
              <a:gd name="connsiteX122" fmla="*/ 823096 w 2199459"/>
              <a:gd name="connsiteY122" fmla="*/ 9950 h 2164296"/>
              <a:gd name="connsiteX123" fmla="*/ 894534 w 2199459"/>
              <a:gd name="connsiteY123" fmla="*/ 425 h 2164296"/>
              <a:gd name="connsiteX0" fmla="*/ 828432 w 2200032"/>
              <a:gd name="connsiteY0" fmla="*/ 425 h 2164296"/>
              <a:gd name="connsiteX1" fmla="*/ 980832 w 2200032"/>
              <a:gd name="connsiteY1" fmla="*/ 5188 h 2164296"/>
              <a:gd name="connsiteX2" fmla="*/ 1004644 w 2200032"/>
              <a:gd name="connsiteY2" fmla="*/ 9950 h 2164296"/>
              <a:gd name="connsiteX3" fmla="*/ 1071319 w 2200032"/>
              <a:gd name="connsiteY3" fmla="*/ 19475 h 2164296"/>
              <a:gd name="connsiteX4" fmla="*/ 1099894 w 2200032"/>
              <a:gd name="connsiteY4" fmla="*/ 24238 h 2164296"/>
              <a:gd name="connsiteX5" fmla="*/ 1123707 w 2200032"/>
              <a:gd name="connsiteY5" fmla="*/ 38525 h 2164296"/>
              <a:gd name="connsiteX6" fmla="*/ 1166569 w 2200032"/>
              <a:gd name="connsiteY6" fmla="*/ 48050 h 2164296"/>
              <a:gd name="connsiteX7" fmla="*/ 1185619 w 2200032"/>
              <a:gd name="connsiteY7" fmla="*/ 52813 h 2164296"/>
              <a:gd name="connsiteX8" fmla="*/ 1218957 w 2200032"/>
              <a:gd name="connsiteY8" fmla="*/ 57575 h 2164296"/>
              <a:gd name="connsiteX9" fmla="*/ 1314207 w 2200032"/>
              <a:gd name="connsiteY9" fmla="*/ 71863 h 2164296"/>
              <a:gd name="connsiteX10" fmla="*/ 1485657 w 2200032"/>
              <a:gd name="connsiteY10" fmla="*/ 109963 h 2164296"/>
              <a:gd name="connsiteX11" fmla="*/ 1509469 w 2200032"/>
              <a:gd name="connsiteY11" fmla="*/ 114725 h 2164296"/>
              <a:gd name="connsiteX12" fmla="*/ 1647582 w 2200032"/>
              <a:gd name="connsiteY12" fmla="*/ 124250 h 2164296"/>
              <a:gd name="connsiteX13" fmla="*/ 1680919 w 2200032"/>
              <a:gd name="connsiteY13" fmla="*/ 129013 h 2164296"/>
              <a:gd name="connsiteX14" fmla="*/ 1704732 w 2200032"/>
              <a:gd name="connsiteY14" fmla="*/ 133775 h 2164296"/>
              <a:gd name="connsiteX15" fmla="*/ 1752357 w 2200032"/>
              <a:gd name="connsiteY15" fmla="*/ 138538 h 2164296"/>
              <a:gd name="connsiteX16" fmla="*/ 1790457 w 2200032"/>
              <a:gd name="connsiteY16" fmla="*/ 152825 h 2164296"/>
              <a:gd name="connsiteX17" fmla="*/ 1804744 w 2200032"/>
              <a:gd name="connsiteY17" fmla="*/ 162350 h 2164296"/>
              <a:gd name="connsiteX18" fmla="*/ 1828557 w 2200032"/>
              <a:gd name="connsiteY18" fmla="*/ 167113 h 2164296"/>
              <a:gd name="connsiteX19" fmla="*/ 1852369 w 2200032"/>
              <a:gd name="connsiteY19" fmla="*/ 181400 h 2164296"/>
              <a:gd name="connsiteX20" fmla="*/ 1876182 w 2200032"/>
              <a:gd name="connsiteY20" fmla="*/ 190925 h 2164296"/>
              <a:gd name="connsiteX21" fmla="*/ 1890469 w 2200032"/>
              <a:gd name="connsiteY21" fmla="*/ 205213 h 2164296"/>
              <a:gd name="connsiteX22" fmla="*/ 1923807 w 2200032"/>
              <a:gd name="connsiteY22" fmla="*/ 229025 h 2164296"/>
              <a:gd name="connsiteX23" fmla="*/ 1976194 w 2200032"/>
              <a:gd name="connsiteY23" fmla="*/ 267125 h 2164296"/>
              <a:gd name="connsiteX24" fmla="*/ 2000007 w 2200032"/>
              <a:gd name="connsiteY24" fmla="*/ 295700 h 2164296"/>
              <a:gd name="connsiteX25" fmla="*/ 2033344 w 2200032"/>
              <a:gd name="connsiteY25" fmla="*/ 348088 h 2164296"/>
              <a:gd name="connsiteX26" fmla="*/ 2052394 w 2200032"/>
              <a:gd name="connsiteY26" fmla="*/ 410000 h 2164296"/>
              <a:gd name="connsiteX27" fmla="*/ 2061919 w 2200032"/>
              <a:gd name="connsiteY27" fmla="*/ 443338 h 2164296"/>
              <a:gd name="connsiteX28" fmla="*/ 2066682 w 2200032"/>
              <a:gd name="connsiteY28" fmla="*/ 457625 h 2164296"/>
              <a:gd name="connsiteX29" fmla="*/ 2076207 w 2200032"/>
              <a:gd name="connsiteY29" fmla="*/ 476675 h 2164296"/>
              <a:gd name="connsiteX30" fmla="*/ 2095257 w 2200032"/>
              <a:gd name="connsiteY30" fmla="*/ 548113 h 2164296"/>
              <a:gd name="connsiteX31" fmla="*/ 2109544 w 2200032"/>
              <a:gd name="connsiteY31" fmla="*/ 610025 h 2164296"/>
              <a:gd name="connsiteX32" fmla="*/ 2114307 w 2200032"/>
              <a:gd name="connsiteY32" fmla="*/ 914825 h 2164296"/>
              <a:gd name="connsiteX33" fmla="*/ 2152407 w 2200032"/>
              <a:gd name="connsiteY33" fmla="*/ 1086275 h 2164296"/>
              <a:gd name="connsiteX34" fmla="*/ 2157169 w 2200032"/>
              <a:gd name="connsiteY34" fmla="*/ 1148188 h 2164296"/>
              <a:gd name="connsiteX35" fmla="*/ 2171457 w 2200032"/>
              <a:gd name="connsiteY35" fmla="*/ 1191050 h 2164296"/>
              <a:gd name="connsiteX36" fmla="*/ 2176219 w 2200032"/>
              <a:gd name="connsiteY36" fmla="*/ 1224388 h 2164296"/>
              <a:gd name="connsiteX37" fmla="*/ 2195269 w 2200032"/>
              <a:gd name="connsiteY37" fmla="*/ 1276775 h 2164296"/>
              <a:gd name="connsiteX38" fmla="*/ 2200032 w 2200032"/>
              <a:gd name="connsiteY38" fmla="*/ 1300588 h 2164296"/>
              <a:gd name="connsiteX39" fmla="*/ 2195269 w 2200032"/>
              <a:gd name="connsiteY39" fmla="*/ 1514900 h 2164296"/>
              <a:gd name="connsiteX40" fmla="*/ 2185744 w 2200032"/>
              <a:gd name="connsiteY40" fmla="*/ 1529188 h 2164296"/>
              <a:gd name="connsiteX41" fmla="*/ 2176219 w 2200032"/>
              <a:gd name="connsiteY41" fmla="*/ 1562525 h 2164296"/>
              <a:gd name="connsiteX42" fmla="*/ 2166694 w 2200032"/>
              <a:gd name="connsiteY42" fmla="*/ 1576813 h 2164296"/>
              <a:gd name="connsiteX43" fmla="*/ 2161932 w 2200032"/>
              <a:gd name="connsiteY43" fmla="*/ 1600625 h 2164296"/>
              <a:gd name="connsiteX44" fmla="*/ 2147644 w 2200032"/>
              <a:gd name="connsiteY44" fmla="*/ 1614913 h 2164296"/>
              <a:gd name="connsiteX45" fmla="*/ 2138119 w 2200032"/>
              <a:gd name="connsiteY45" fmla="*/ 1629200 h 2164296"/>
              <a:gd name="connsiteX46" fmla="*/ 2109544 w 2200032"/>
              <a:gd name="connsiteY46" fmla="*/ 1657775 h 2164296"/>
              <a:gd name="connsiteX47" fmla="*/ 2080969 w 2200032"/>
              <a:gd name="connsiteY47" fmla="*/ 1686350 h 2164296"/>
              <a:gd name="connsiteX48" fmla="*/ 2071444 w 2200032"/>
              <a:gd name="connsiteY48" fmla="*/ 1700638 h 2164296"/>
              <a:gd name="connsiteX49" fmla="*/ 2057157 w 2200032"/>
              <a:gd name="connsiteY49" fmla="*/ 1710163 h 2164296"/>
              <a:gd name="connsiteX50" fmla="*/ 2033344 w 2200032"/>
              <a:gd name="connsiteY50" fmla="*/ 1724450 h 2164296"/>
              <a:gd name="connsiteX51" fmla="*/ 2009532 w 2200032"/>
              <a:gd name="connsiteY51" fmla="*/ 1743500 h 2164296"/>
              <a:gd name="connsiteX52" fmla="*/ 1938094 w 2200032"/>
              <a:gd name="connsiteY52" fmla="*/ 1772075 h 2164296"/>
              <a:gd name="connsiteX53" fmla="*/ 1919044 w 2200032"/>
              <a:gd name="connsiteY53" fmla="*/ 1786363 h 2164296"/>
              <a:gd name="connsiteX54" fmla="*/ 1871419 w 2200032"/>
              <a:gd name="connsiteY54" fmla="*/ 1814938 h 2164296"/>
              <a:gd name="connsiteX55" fmla="*/ 1857132 w 2200032"/>
              <a:gd name="connsiteY55" fmla="*/ 1833988 h 2164296"/>
              <a:gd name="connsiteX56" fmla="*/ 1804744 w 2200032"/>
              <a:gd name="connsiteY56" fmla="*/ 1862563 h 2164296"/>
              <a:gd name="connsiteX57" fmla="*/ 1661870 w 2200032"/>
              <a:gd name="connsiteY57" fmla="*/ 1891137 h 2164296"/>
              <a:gd name="connsiteX58" fmla="*/ 1414219 w 2200032"/>
              <a:gd name="connsiteY58" fmla="*/ 2014962 h 2164296"/>
              <a:gd name="connsiteX59" fmla="*/ 1361832 w 2200032"/>
              <a:gd name="connsiteY59" fmla="*/ 2053063 h 2164296"/>
              <a:gd name="connsiteX60" fmla="*/ 1347544 w 2200032"/>
              <a:gd name="connsiteY60" fmla="*/ 2062588 h 2164296"/>
              <a:gd name="connsiteX61" fmla="*/ 1309444 w 2200032"/>
              <a:gd name="connsiteY61" fmla="*/ 2072113 h 2164296"/>
              <a:gd name="connsiteX62" fmla="*/ 1285632 w 2200032"/>
              <a:gd name="connsiteY62" fmla="*/ 2086400 h 2164296"/>
              <a:gd name="connsiteX63" fmla="*/ 1233244 w 2200032"/>
              <a:gd name="connsiteY63" fmla="*/ 2100688 h 2164296"/>
              <a:gd name="connsiteX64" fmla="*/ 1190382 w 2200032"/>
              <a:gd name="connsiteY64" fmla="*/ 2119738 h 2164296"/>
              <a:gd name="connsiteX65" fmla="*/ 1171332 w 2200032"/>
              <a:gd name="connsiteY65" fmla="*/ 2134025 h 2164296"/>
              <a:gd name="connsiteX66" fmla="*/ 1099894 w 2200032"/>
              <a:gd name="connsiteY66" fmla="*/ 2148313 h 2164296"/>
              <a:gd name="connsiteX67" fmla="*/ 1071319 w 2200032"/>
              <a:gd name="connsiteY67" fmla="*/ 2162600 h 2164296"/>
              <a:gd name="connsiteX68" fmla="*/ 937969 w 2200032"/>
              <a:gd name="connsiteY68" fmla="*/ 2157838 h 2164296"/>
              <a:gd name="connsiteX69" fmla="*/ 828432 w 2200032"/>
              <a:gd name="connsiteY69" fmla="*/ 2105450 h 2164296"/>
              <a:gd name="connsiteX70" fmla="*/ 790332 w 2200032"/>
              <a:gd name="connsiteY70" fmla="*/ 2091163 h 2164296"/>
              <a:gd name="connsiteX71" fmla="*/ 742707 w 2200032"/>
              <a:gd name="connsiteY71" fmla="*/ 2062588 h 2164296"/>
              <a:gd name="connsiteX72" fmla="*/ 685557 w 2200032"/>
              <a:gd name="connsiteY72" fmla="*/ 2038775 h 2164296"/>
              <a:gd name="connsiteX73" fmla="*/ 652219 w 2200032"/>
              <a:gd name="connsiteY73" fmla="*/ 2005438 h 2164296"/>
              <a:gd name="connsiteX74" fmla="*/ 614119 w 2200032"/>
              <a:gd name="connsiteY74" fmla="*/ 1976863 h 2164296"/>
              <a:gd name="connsiteX75" fmla="*/ 599832 w 2200032"/>
              <a:gd name="connsiteY75" fmla="*/ 1957813 h 2164296"/>
              <a:gd name="connsiteX76" fmla="*/ 585544 w 2200032"/>
              <a:gd name="connsiteY76" fmla="*/ 1934000 h 2164296"/>
              <a:gd name="connsiteX77" fmla="*/ 552207 w 2200032"/>
              <a:gd name="connsiteY77" fmla="*/ 1895900 h 2164296"/>
              <a:gd name="connsiteX78" fmla="*/ 409332 w 2200032"/>
              <a:gd name="connsiteY78" fmla="*/ 1705400 h 2164296"/>
              <a:gd name="connsiteX79" fmla="*/ 395044 w 2200032"/>
              <a:gd name="connsiteY79" fmla="*/ 1686350 h 2164296"/>
              <a:gd name="connsiteX80" fmla="*/ 375994 w 2200032"/>
              <a:gd name="connsiteY80" fmla="*/ 1657775 h 2164296"/>
              <a:gd name="connsiteX81" fmla="*/ 318844 w 2200032"/>
              <a:gd name="connsiteY81" fmla="*/ 1600625 h 2164296"/>
              <a:gd name="connsiteX82" fmla="*/ 295032 w 2200032"/>
              <a:gd name="connsiteY82" fmla="*/ 1576813 h 2164296"/>
              <a:gd name="connsiteX83" fmla="*/ 280744 w 2200032"/>
              <a:gd name="connsiteY83" fmla="*/ 1562525 h 2164296"/>
              <a:gd name="connsiteX84" fmla="*/ 242644 w 2200032"/>
              <a:gd name="connsiteY84" fmla="*/ 1538713 h 2164296"/>
              <a:gd name="connsiteX85" fmla="*/ 218832 w 2200032"/>
              <a:gd name="connsiteY85" fmla="*/ 1510138 h 2164296"/>
              <a:gd name="connsiteX86" fmla="*/ 195019 w 2200032"/>
              <a:gd name="connsiteY86" fmla="*/ 1491088 h 2164296"/>
              <a:gd name="connsiteX87" fmla="*/ 175969 w 2200032"/>
              <a:gd name="connsiteY87" fmla="*/ 1462513 h 2164296"/>
              <a:gd name="connsiteX88" fmla="*/ 152157 w 2200032"/>
              <a:gd name="connsiteY88" fmla="*/ 1438700 h 2164296"/>
              <a:gd name="connsiteX89" fmla="*/ 142632 w 2200032"/>
              <a:gd name="connsiteY89" fmla="*/ 1424413 h 2164296"/>
              <a:gd name="connsiteX90" fmla="*/ 123582 w 2200032"/>
              <a:gd name="connsiteY90" fmla="*/ 1405363 h 2164296"/>
              <a:gd name="connsiteX91" fmla="*/ 61669 w 2200032"/>
              <a:gd name="connsiteY91" fmla="*/ 1305350 h 2164296"/>
              <a:gd name="connsiteX92" fmla="*/ 33094 w 2200032"/>
              <a:gd name="connsiteY92" fmla="*/ 991025 h 2164296"/>
              <a:gd name="connsiteX93" fmla="*/ 71194 w 2200032"/>
              <a:gd name="connsiteY93" fmla="*/ 929113 h 2164296"/>
              <a:gd name="connsiteX94" fmla="*/ 95007 w 2200032"/>
              <a:gd name="connsiteY94" fmla="*/ 891013 h 2164296"/>
              <a:gd name="connsiteX95" fmla="*/ 114057 w 2200032"/>
              <a:gd name="connsiteY95" fmla="*/ 848150 h 2164296"/>
              <a:gd name="connsiteX96" fmla="*/ 175969 w 2200032"/>
              <a:gd name="connsiteY96" fmla="*/ 733850 h 2164296"/>
              <a:gd name="connsiteX97" fmla="*/ 237882 w 2200032"/>
              <a:gd name="connsiteY97" fmla="*/ 610025 h 2164296"/>
              <a:gd name="connsiteX98" fmla="*/ 242644 w 2200032"/>
              <a:gd name="connsiteY98" fmla="*/ 581450 h 2164296"/>
              <a:gd name="connsiteX99" fmla="*/ 266457 w 2200032"/>
              <a:gd name="connsiteY99" fmla="*/ 538588 h 2164296"/>
              <a:gd name="connsiteX100" fmla="*/ 280744 w 2200032"/>
              <a:gd name="connsiteY100" fmla="*/ 500488 h 2164296"/>
              <a:gd name="connsiteX101" fmla="*/ 295032 w 2200032"/>
              <a:gd name="connsiteY101" fmla="*/ 471913 h 2164296"/>
              <a:gd name="connsiteX102" fmla="*/ 304557 w 2200032"/>
              <a:gd name="connsiteY102" fmla="*/ 443338 h 2164296"/>
              <a:gd name="connsiteX103" fmla="*/ 314082 w 2200032"/>
              <a:gd name="connsiteY103" fmla="*/ 429050 h 2164296"/>
              <a:gd name="connsiteX104" fmla="*/ 323607 w 2200032"/>
              <a:gd name="connsiteY104" fmla="*/ 405238 h 2164296"/>
              <a:gd name="connsiteX105" fmla="*/ 342657 w 2200032"/>
              <a:gd name="connsiteY105" fmla="*/ 381425 h 2164296"/>
              <a:gd name="connsiteX106" fmla="*/ 361707 w 2200032"/>
              <a:gd name="connsiteY106" fmla="*/ 333800 h 2164296"/>
              <a:gd name="connsiteX107" fmla="*/ 390282 w 2200032"/>
              <a:gd name="connsiteY107" fmla="*/ 290938 h 2164296"/>
              <a:gd name="connsiteX108" fmla="*/ 414094 w 2200032"/>
              <a:gd name="connsiteY108" fmla="*/ 248075 h 2164296"/>
              <a:gd name="connsiteX109" fmla="*/ 428382 w 2200032"/>
              <a:gd name="connsiteY109" fmla="*/ 229025 h 2164296"/>
              <a:gd name="connsiteX110" fmla="*/ 452194 w 2200032"/>
              <a:gd name="connsiteY110" fmla="*/ 214738 h 2164296"/>
              <a:gd name="connsiteX111" fmla="*/ 476007 w 2200032"/>
              <a:gd name="connsiteY111" fmla="*/ 190925 h 2164296"/>
              <a:gd name="connsiteX112" fmla="*/ 490294 w 2200032"/>
              <a:gd name="connsiteY112" fmla="*/ 181400 h 2164296"/>
              <a:gd name="connsiteX113" fmla="*/ 523632 w 2200032"/>
              <a:gd name="connsiteY113" fmla="*/ 143300 h 2164296"/>
              <a:gd name="connsiteX114" fmla="*/ 537919 w 2200032"/>
              <a:gd name="connsiteY114" fmla="*/ 133775 h 2164296"/>
              <a:gd name="connsiteX115" fmla="*/ 647457 w 2200032"/>
              <a:gd name="connsiteY115" fmla="*/ 71863 h 2164296"/>
              <a:gd name="connsiteX116" fmla="*/ 661744 w 2200032"/>
              <a:gd name="connsiteY116" fmla="*/ 52813 h 2164296"/>
              <a:gd name="connsiteX117" fmla="*/ 680794 w 2200032"/>
              <a:gd name="connsiteY117" fmla="*/ 48050 h 2164296"/>
              <a:gd name="connsiteX118" fmla="*/ 704607 w 2200032"/>
              <a:gd name="connsiteY118" fmla="*/ 38525 h 2164296"/>
              <a:gd name="connsiteX119" fmla="*/ 747469 w 2200032"/>
              <a:gd name="connsiteY119" fmla="*/ 24238 h 2164296"/>
              <a:gd name="connsiteX120" fmla="*/ 776044 w 2200032"/>
              <a:gd name="connsiteY120" fmla="*/ 14713 h 2164296"/>
              <a:gd name="connsiteX121" fmla="*/ 823669 w 2200032"/>
              <a:gd name="connsiteY121" fmla="*/ 9950 h 2164296"/>
              <a:gd name="connsiteX122" fmla="*/ 895107 w 2200032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810660 w 2205948"/>
              <a:gd name="connsiteY56" fmla="*/ 1862563 h 2164296"/>
              <a:gd name="connsiteX57" fmla="*/ 1667786 w 2205948"/>
              <a:gd name="connsiteY57" fmla="*/ 1891137 h 2164296"/>
              <a:gd name="connsiteX58" fmla="*/ 1420135 w 2205948"/>
              <a:gd name="connsiteY58" fmla="*/ 2014962 h 2164296"/>
              <a:gd name="connsiteX59" fmla="*/ 1367748 w 2205948"/>
              <a:gd name="connsiteY59" fmla="*/ 2053063 h 2164296"/>
              <a:gd name="connsiteX60" fmla="*/ 1353460 w 2205948"/>
              <a:gd name="connsiteY60" fmla="*/ 2062588 h 2164296"/>
              <a:gd name="connsiteX61" fmla="*/ 1315360 w 2205948"/>
              <a:gd name="connsiteY61" fmla="*/ 2072113 h 2164296"/>
              <a:gd name="connsiteX62" fmla="*/ 1291548 w 2205948"/>
              <a:gd name="connsiteY62" fmla="*/ 2086400 h 2164296"/>
              <a:gd name="connsiteX63" fmla="*/ 1239160 w 2205948"/>
              <a:gd name="connsiteY63" fmla="*/ 2100688 h 2164296"/>
              <a:gd name="connsiteX64" fmla="*/ 1196298 w 2205948"/>
              <a:gd name="connsiteY64" fmla="*/ 2119738 h 2164296"/>
              <a:gd name="connsiteX65" fmla="*/ 1177248 w 2205948"/>
              <a:gd name="connsiteY65" fmla="*/ 2134025 h 2164296"/>
              <a:gd name="connsiteX66" fmla="*/ 1105810 w 2205948"/>
              <a:gd name="connsiteY66" fmla="*/ 2148313 h 2164296"/>
              <a:gd name="connsiteX67" fmla="*/ 1077235 w 2205948"/>
              <a:gd name="connsiteY67" fmla="*/ 2162600 h 2164296"/>
              <a:gd name="connsiteX68" fmla="*/ 943885 w 2205948"/>
              <a:gd name="connsiteY68" fmla="*/ 2157838 h 2164296"/>
              <a:gd name="connsiteX69" fmla="*/ 834348 w 2205948"/>
              <a:gd name="connsiteY69" fmla="*/ 2105450 h 2164296"/>
              <a:gd name="connsiteX70" fmla="*/ 796248 w 2205948"/>
              <a:gd name="connsiteY70" fmla="*/ 2091163 h 2164296"/>
              <a:gd name="connsiteX71" fmla="*/ 748623 w 2205948"/>
              <a:gd name="connsiteY71" fmla="*/ 2062588 h 2164296"/>
              <a:gd name="connsiteX72" fmla="*/ 691473 w 2205948"/>
              <a:gd name="connsiteY72" fmla="*/ 2038775 h 2164296"/>
              <a:gd name="connsiteX73" fmla="*/ 658135 w 2205948"/>
              <a:gd name="connsiteY73" fmla="*/ 2005438 h 2164296"/>
              <a:gd name="connsiteX74" fmla="*/ 620035 w 2205948"/>
              <a:gd name="connsiteY74" fmla="*/ 1976863 h 2164296"/>
              <a:gd name="connsiteX75" fmla="*/ 605748 w 2205948"/>
              <a:gd name="connsiteY75" fmla="*/ 1957813 h 2164296"/>
              <a:gd name="connsiteX76" fmla="*/ 591460 w 2205948"/>
              <a:gd name="connsiteY76" fmla="*/ 1934000 h 2164296"/>
              <a:gd name="connsiteX77" fmla="*/ 558123 w 2205948"/>
              <a:gd name="connsiteY77" fmla="*/ 1895900 h 2164296"/>
              <a:gd name="connsiteX78" fmla="*/ 415248 w 2205948"/>
              <a:gd name="connsiteY78" fmla="*/ 1705400 h 2164296"/>
              <a:gd name="connsiteX79" fmla="*/ 400960 w 2205948"/>
              <a:gd name="connsiteY79" fmla="*/ 1686350 h 2164296"/>
              <a:gd name="connsiteX80" fmla="*/ 381910 w 2205948"/>
              <a:gd name="connsiteY80" fmla="*/ 1657775 h 2164296"/>
              <a:gd name="connsiteX81" fmla="*/ 324760 w 2205948"/>
              <a:gd name="connsiteY81" fmla="*/ 1600625 h 2164296"/>
              <a:gd name="connsiteX82" fmla="*/ 300948 w 2205948"/>
              <a:gd name="connsiteY82" fmla="*/ 1576813 h 2164296"/>
              <a:gd name="connsiteX83" fmla="*/ 286660 w 2205948"/>
              <a:gd name="connsiteY83" fmla="*/ 1562525 h 2164296"/>
              <a:gd name="connsiteX84" fmla="*/ 248560 w 2205948"/>
              <a:gd name="connsiteY84" fmla="*/ 1538713 h 2164296"/>
              <a:gd name="connsiteX85" fmla="*/ 224748 w 2205948"/>
              <a:gd name="connsiteY85" fmla="*/ 1510138 h 2164296"/>
              <a:gd name="connsiteX86" fmla="*/ 200935 w 2205948"/>
              <a:gd name="connsiteY86" fmla="*/ 1491088 h 2164296"/>
              <a:gd name="connsiteX87" fmla="*/ 181885 w 2205948"/>
              <a:gd name="connsiteY87" fmla="*/ 1462513 h 2164296"/>
              <a:gd name="connsiteX88" fmla="*/ 158073 w 2205948"/>
              <a:gd name="connsiteY88" fmla="*/ 1438700 h 2164296"/>
              <a:gd name="connsiteX89" fmla="*/ 148548 w 2205948"/>
              <a:gd name="connsiteY89" fmla="*/ 1424413 h 2164296"/>
              <a:gd name="connsiteX90" fmla="*/ 129498 w 2205948"/>
              <a:gd name="connsiteY90" fmla="*/ 1405363 h 2164296"/>
              <a:gd name="connsiteX91" fmla="*/ 67585 w 2205948"/>
              <a:gd name="connsiteY91" fmla="*/ 1305350 h 2164296"/>
              <a:gd name="connsiteX92" fmla="*/ 39010 w 2205948"/>
              <a:gd name="connsiteY92" fmla="*/ 991025 h 2164296"/>
              <a:gd name="connsiteX93" fmla="*/ 77110 w 2205948"/>
              <a:gd name="connsiteY93" fmla="*/ 929113 h 2164296"/>
              <a:gd name="connsiteX94" fmla="*/ 100923 w 2205948"/>
              <a:gd name="connsiteY94" fmla="*/ 891013 h 2164296"/>
              <a:gd name="connsiteX95" fmla="*/ 119973 w 2205948"/>
              <a:gd name="connsiteY95" fmla="*/ 848150 h 2164296"/>
              <a:gd name="connsiteX96" fmla="*/ 181885 w 2205948"/>
              <a:gd name="connsiteY96" fmla="*/ 733850 h 2164296"/>
              <a:gd name="connsiteX97" fmla="*/ 243798 w 2205948"/>
              <a:gd name="connsiteY97" fmla="*/ 610025 h 2164296"/>
              <a:gd name="connsiteX98" fmla="*/ 248560 w 2205948"/>
              <a:gd name="connsiteY98" fmla="*/ 581450 h 2164296"/>
              <a:gd name="connsiteX99" fmla="*/ 272373 w 2205948"/>
              <a:gd name="connsiteY99" fmla="*/ 538588 h 2164296"/>
              <a:gd name="connsiteX100" fmla="*/ 286660 w 2205948"/>
              <a:gd name="connsiteY100" fmla="*/ 500488 h 2164296"/>
              <a:gd name="connsiteX101" fmla="*/ 300948 w 2205948"/>
              <a:gd name="connsiteY101" fmla="*/ 471913 h 2164296"/>
              <a:gd name="connsiteX102" fmla="*/ 310473 w 2205948"/>
              <a:gd name="connsiteY102" fmla="*/ 443338 h 2164296"/>
              <a:gd name="connsiteX103" fmla="*/ 319998 w 2205948"/>
              <a:gd name="connsiteY103" fmla="*/ 429050 h 2164296"/>
              <a:gd name="connsiteX104" fmla="*/ 329523 w 2205948"/>
              <a:gd name="connsiteY104" fmla="*/ 405238 h 2164296"/>
              <a:gd name="connsiteX105" fmla="*/ 348573 w 2205948"/>
              <a:gd name="connsiteY105" fmla="*/ 381425 h 2164296"/>
              <a:gd name="connsiteX106" fmla="*/ 367623 w 2205948"/>
              <a:gd name="connsiteY106" fmla="*/ 333800 h 2164296"/>
              <a:gd name="connsiteX107" fmla="*/ 396198 w 2205948"/>
              <a:gd name="connsiteY107" fmla="*/ 290938 h 2164296"/>
              <a:gd name="connsiteX108" fmla="*/ 420010 w 2205948"/>
              <a:gd name="connsiteY108" fmla="*/ 248075 h 2164296"/>
              <a:gd name="connsiteX109" fmla="*/ 434298 w 2205948"/>
              <a:gd name="connsiteY109" fmla="*/ 229025 h 2164296"/>
              <a:gd name="connsiteX110" fmla="*/ 458110 w 2205948"/>
              <a:gd name="connsiteY110" fmla="*/ 214738 h 2164296"/>
              <a:gd name="connsiteX111" fmla="*/ 481923 w 2205948"/>
              <a:gd name="connsiteY111" fmla="*/ 190925 h 2164296"/>
              <a:gd name="connsiteX112" fmla="*/ 496210 w 2205948"/>
              <a:gd name="connsiteY112" fmla="*/ 181400 h 2164296"/>
              <a:gd name="connsiteX113" fmla="*/ 529548 w 2205948"/>
              <a:gd name="connsiteY113" fmla="*/ 143300 h 2164296"/>
              <a:gd name="connsiteX114" fmla="*/ 543835 w 2205948"/>
              <a:gd name="connsiteY114" fmla="*/ 133775 h 2164296"/>
              <a:gd name="connsiteX115" fmla="*/ 653373 w 2205948"/>
              <a:gd name="connsiteY115" fmla="*/ 71863 h 2164296"/>
              <a:gd name="connsiteX116" fmla="*/ 667660 w 2205948"/>
              <a:gd name="connsiteY116" fmla="*/ 52813 h 2164296"/>
              <a:gd name="connsiteX117" fmla="*/ 686710 w 2205948"/>
              <a:gd name="connsiteY117" fmla="*/ 48050 h 2164296"/>
              <a:gd name="connsiteX118" fmla="*/ 710523 w 2205948"/>
              <a:gd name="connsiteY118" fmla="*/ 38525 h 2164296"/>
              <a:gd name="connsiteX119" fmla="*/ 753385 w 2205948"/>
              <a:gd name="connsiteY119" fmla="*/ 24238 h 2164296"/>
              <a:gd name="connsiteX120" fmla="*/ 781960 w 2205948"/>
              <a:gd name="connsiteY120" fmla="*/ 14713 h 2164296"/>
              <a:gd name="connsiteX121" fmla="*/ 829585 w 2205948"/>
              <a:gd name="connsiteY121" fmla="*/ 9950 h 2164296"/>
              <a:gd name="connsiteX122" fmla="*/ 901023 w 2205948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667786 w 2205948"/>
              <a:gd name="connsiteY56" fmla="*/ 1891137 h 2164296"/>
              <a:gd name="connsiteX57" fmla="*/ 1420135 w 2205948"/>
              <a:gd name="connsiteY57" fmla="*/ 2014962 h 2164296"/>
              <a:gd name="connsiteX58" fmla="*/ 1367748 w 2205948"/>
              <a:gd name="connsiteY58" fmla="*/ 2053063 h 2164296"/>
              <a:gd name="connsiteX59" fmla="*/ 1353460 w 2205948"/>
              <a:gd name="connsiteY59" fmla="*/ 2062588 h 2164296"/>
              <a:gd name="connsiteX60" fmla="*/ 1315360 w 2205948"/>
              <a:gd name="connsiteY60" fmla="*/ 2072113 h 2164296"/>
              <a:gd name="connsiteX61" fmla="*/ 1291548 w 2205948"/>
              <a:gd name="connsiteY61" fmla="*/ 2086400 h 2164296"/>
              <a:gd name="connsiteX62" fmla="*/ 1239160 w 2205948"/>
              <a:gd name="connsiteY62" fmla="*/ 2100688 h 2164296"/>
              <a:gd name="connsiteX63" fmla="*/ 1196298 w 2205948"/>
              <a:gd name="connsiteY63" fmla="*/ 2119738 h 2164296"/>
              <a:gd name="connsiteX64" fmla="*/ 1177248 w 2205948"/>
              <a:gd name="connsiteY64" fmla="*/ 2134025 h 2164296"/>
              <a:gd name="connsiteX65" fmla="*/ 1105810 w 2205948"/>
              <a:gd name="connsiteY65" fmla="*/ 2148313 h 2164296"/>
              <a:gd name="connsiteX66" fmla="*/ 1077235 w 2205948"/>
              <a:gd name="connsiteY66" fmla="*/ 2162600 h 2164296"/>
              <a:gd name="connsiteX67" fmla="*/ 943885 w 2205948"/>
              <a:gd name="connsiteY67" fmla="*/ 2157838 h 2164296"/>
              <a:gd name="connsiteX68" fmla="*/ 834348 w 2205948"/>
              <a:gd name="connsiteY68" fmla="*/ 2105450 h 2164296"/>
              <a:gd name="connsiteX69" fmla="*/ 796248 w 2205948"/>
              <a:gd name="connsiteY69" fmla="*/ 2091163 h 2164296"/>
              <a:gd name="connsiteX70" fmla="*/ 748623 w 2205948"/>
              <a:gd name="connsiteY70" fmla="*/ 2062588 h 2164296"/>
              <a:gd name="connsiteX71" fmla="*/ 691473 w 2205948"/>
              <a:gd name="connsiteY71" fmla="*/ 2038775 h 2164296"/>
              <a:gd name="connsiteX72" fmla="*/ 658135 w 2205948"/>
              <a:gd name="connsiteY72" fmla="*/ 2005438 h 2164296"/>
              <a:gd name="connsiteX73" fmla="*/ 620035 w 2205948"/>
              <a:gd name="connsiteY73" fmla="*/ 1976863 h 2164296"/>
              <a:gd name="connsiteX74" fmla="*/ 605748 w 2205948"/>
              <a:gd name="connsiteY74" fmla="*/ 1957813 h 2164296"/>
              <a:gd name="connsiteX75" fmla="*/ 591460 w 2205948"/>
              <a:gd name="connsiteY75" fmla="*/ 1934000 h 2164296"/>
              <a:gd name="connsiteX76" fmla="*/ 558123 w 2205948"/>
              <a:gd name="connsiteY76" fmla="*/ 1895900 h 2164296"/>
              <a:gd name="connsiteX77" fmla="*/ 415248 w 2205948"/>
              <a:gd name="connsiteY77" fmla="*/ 1705400 h 2164296"/>
              <a:gd name="connsiteX78" fmla="*/ 400960 w 2205948"/>
              <a:gd name="connsiteY78" fmla="*/ 1686350 h 2164296"/>
              <a:gd name="connsiteX79" fmla="*/ 381910 w 2205948"/>
              <a:gd name="connsiteY79" fmla="*/ 1657775 h 2164296"/>
              <a:gd name="connsiteX80" fmla="*/ 324760 w 2205948"/>
              <a:gd name="connsiteY80" fmla="*/ 1600625 h 2164296"/>
              <a:gd name="connsiteX81" fmla="*/ 300948 w 2205948"/>
              <a:gd name="connsiteY81" fmla="*/ 1576813 h 2164296"/>
              <a:gd name="connsiteX82" fmla="*/ 286660 w 2205948"/>
              <a:gd name="connsiteY82" fmla="*/ 1562525 h 2164296"/>
              <a:gd name="connsiteX83" fmla="*/ 248560 w 2205948"/>
              <a:gd name="connsiteY83" fmla="*/ 1538713 h 2164296"/>
              <a:gd name="connsiteX84" fmla="*/ 224748 w 2205948"/>
              <a:gd name="connsiteY84" fmla="*/ 1510138 h 2164296"/>
              <a:gd name="connsiteX85" fmla="*/ 200935 w 2205948"/>
              <a:gd name="connsiteY85" fmla="*/ 1491088 h 2164296"/>
              <a:gd name="connsiteX86" fmla="*/ 181885 w 2205948"/>
              <a:gd name="connsiteY86" fmla="*/ 1462513 h 2164296"/>
              <a:gd name="connsiteX87" fmla="*/ 158073 w 2205948"/>
              <a:gd name="connsiteY87" fmla="*/ 1438700 h 2164296"/>
              <a:gd name="connsiteX88" fmla="*/ 148548 w 2205948"/>
              <a:gd name="connsiteY88" fmla="*/ 1424413 h 2164296"/>
              <a:gd name="connsiteX89" fmla="*/ 129498 w 2205948"/>
              <a:gd name="connsiteY89" fmla="*/ 1405363 h 2164296"/>
              <a:gd name="connsiteX90" fmla="*/ 67585 w 2205948"/>
              <a:gd name="connsiteY90" fmla="*/ 1305350 h 2164296"/>
              <a:gd name="connsiteX91" fmla="*/ 39010 w 2205948"/>
              <a:gd name="connsiteY91" fmla="*/ 991025 h 2164296"/>
              <a:gd name="connsiteX92" fmla="*/ 77110 w 2205948"/>
              <a:gd name="connsiteY92" fmla="*/ 929113 h 2164296"/>
              <a:gd name="connsiteX93" fmla="*/ 100923 w 2205948"/>
              <a:gd name="connsiteY93" fmla="*/ 891013 h 2164296"/>
              <a:gd name="connsiteX94" fmla="*/ 119973 w 2205948"/>
              <a:gd name="connsiteY94" fmla="*/ 848150 h 2164296"/>
              <a:gd name="connsiteX95" fmla="*/ 181885 w 2205948"/>
              <a:gd name="connsiteY95" fmla="*/ 733850 h 2164296"/>
              <a:gd name="connsiteX96" fmla="*/ 243798 w 2205948"/>
              <a:gd name="connsiteY96" fmla="*/ 610025 h 2164296"/>
              <a:gd name="connsiteX97" fmla="*/ 248560 w 2205948"/>
              <a:gd name="connsiteY97" fmla="*/ 581450 h 2164296"/>
              <a:gd name="connsiteX98" fmla="*/ 272373 w 2205948"/>
              <a:gd name="connsiteY98" fmla="*/ 538588 h 2164296"/>
              <a:gd name="connsiteX99" fmla="*/ 286660 w 2205948"/>
              <a:gd name="connsiteY99" fmla="*/ 500488 h 2164296"/>
              <a:gd name="connsiteX100" fmla="*/ 300948 w 2205948"/>
              <a:gd name="connsiteY100" fmla="*/ 471913 h 2164296"/>
              <a:gd name="connsiteX101" fmla="*/ 310473 w 2205948"/>
              <a:gd name="connsiteY101" fmla="*/ 443338 h 2164296"/>
              <a:gd name="connsiteX102" fmla="*/ 319998 w 2205948"/>
              <a:gd name="connsiteY102" fmla="*/ 429050 h 2164296"/>
              <a:gd name="connsiteX103" fmla="*/ 329523 w 2205948"/>
              <a:gd name="connsiteY103" fmla="*/ 405238 h 2164296"/>
              <a:gd name="connsiteX104" fmla="*/ 348573 w 2205948"/>
              <a:gd name="connsiteY104" fmla="*/ 381425 h 2164296"/>
              <a:gd name="connsiteX105" fmla="*/ 367623 w 2205948"/>
              <a:gd name="connsiteY105" fmla="*/ 333800 h 2164296"/>
              <a:gd name="connsiteX106" fmla="*/ 396198 w 2205948"/>
              <a:gd name="connsiteY106" fmla="*/ 290938 h 2164296"/>
              <a:gd name="connsiteX107" fmla="*/ 420010 w 2205948"/>
              <a:gd name="connsiteY107" fmla="*/ 248075 h 2164296"/>
              <a:gd name="connsiteX108" fmla="*/ 434298 w 2205948"/>
              <a:gd name="connsiteY108" fmla="*/ 229025 h 2164296"/>
              <a:gd name="connsiteX109" fmla="*/ 458110 w 2205948"/>
              <a:gd name="connsiteY109" fmla="*/ 214738 h 2164296"/>
              <a:gd name="connsiteX110" fmla="*/ 481923 w 2205948"/>
              <a:gd name="connsiteY110" fmla="*/ 190925 h 2164296"/>
              <a:gd name="connsiteX111" fmla="*/ 496210 w 2205948"/>
              <a:gd name="connsiteY111" fmla="*/ 181400 h 2164296"/>
              <a:gd name="connsiteX112" fmla="*/ 529548 w 2205948"/>
              <a:gd name="connsiteY112" fmla="*/ 143300 h 2164296"/>
              <a:gd name="connsiteX113" fmla="*/ 543835 w 2205948"/>
              <a:gd name="connsiteY113" fmla="*/ 133775 h 2164296"/>
              <a:gd name="connsiteX114" fmla="*/ 653373 w 2205948"/>
              <a:gd name="connsiteY114" fmla="*/ 71863 h 2164296"/>
              <a:gd name="connsiteX115" fmla="*/ 667660 w 2205948"/>
              <a:gd name="connsiteY115" fmla="*/ 52813 h 2164296"/>
              <a:gd name="connsiteX116" fmla="*/ 686710 w 2205948"/>
              <a:gd name="connsiteY116" fmla="*/ 48050 h 2164296"/>
              <a:gd name="connsiteX117" fmla="*/ 710523 w 2205948"/>
              <a:gd name="connsiteY117" fmla="*/ 38525 h 2164296"/>
              <a:gd name="connsiteX118" fmla="*/ 753385 w 2205948"/>
              <a:gd name="connsiteY118" fmla="*/ 24238 h 2164296"/>
              <a:gd name="connsiteX119" fmla="*/ 781960 w 2205948"/>
              <a:gd name="connsiteY119" fmla="*/ 14713 h 2164296"/>
              <a:gd name="connsiteX120" fmla="*/ 829585 w 2205948"/>
              <a:gd name="connsiteY120" fmla="*/ 9950 h 2164296"/>
              <a:gd name="connsiteX121" fmla="*/ 901023 w 2205948"/>
              <a:gd name="connsiteY121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67786 w 2205948"/>
              <a:gd name="connsiteY55" fmla="*/ 189113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96173 w 2205948"/>
              <a:gd name="connsiteY94" fmla="*/ 75290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205948" h="2164296">
                <a:moveTo>
                  <a:pt x="834348" y="425"/>
                </a:moveTo>
                <a:cubicBezTo>
                  <a:pt x="885148" y="2013"/>
                  <a:pt x="935997" y="2445"/>
                  <a:pt x="986748" y="5188"/>
                </a:cubicBezTo>
                <a:cubicBezTo>
                  <a:pt x="994831" y="5625"/>
                  <a:pt x="1002565" y="8688"/>
                  <a:pt x="1010560" y="9950"/>
                </a:cubicBezTo>
                <a:cubicBezTo>
                  <a:pt x="1032736" y="13451"/>
                  <a:pt x="1055010" y="16300"/>
                  <a:pt x="1077235" y="19475"/>
                </a:cubicBezTo>
                <a:cubicBezTo>
                  <a:pt x="1086794" y="20841"/>
                  <a:pt x="1096285" y="22650"/>
                  <a:pt x="1105810" y="24238"/>
                </a:cubicBezTo>
                <a:cubicBezTo>
                  <a:pt x="1113748" y="29000"/>
                  <a:pt x="1121344" y="34385"/>
                  <a:pt x="1129623" y="38525"/>
                </a:cubicBezTo>
                <a:cubicBezTo>
                  <a:pt x="1141985" y="44706"/>
                  <a:pt x="1160282" y="45609"/>
                  <a:pt x="1172485" y="48050"/>
                </a:cubicBezTo>
                <a:cubicBezTo>
                  <a:pt x="1178903" y="49334"/>
                  <a:pt x="1185095" y="51642"/>
                  <a:pt x="1191535" y="52813"/>
                </a:cubicBezTo>
                <a:cubicBezTo>
                  <a:pt x="1202579" y="54821"/>
                  <a:pt x="1213800" y="55730"/>
                  <a:pt x="1224873" y="57575"/>
                </a:cubicBezTo>
                <a:cubicBezTo>
                  <a:pt x="1309563" y="71689"/>
                  <a:pt x="1244912" y="63505"/>
                  <a:pt x="1320123" y="71863"/>
                </a:cubicBezTo>
                <a:cubicBezTo>
                  <a:pt x="1364573" y="80594"/>
                  <a:pt x="1459029" y="102819"/>
                  <a:pt x="1491573" y="109963"/>
                </a:cubicBezTo>
                <a:cubicBezTo>
                  <a:pt x="1524117" y="117107"/>
                  <a:pt x="1507340" y="113831"/>
                  <a:pt x="1515385" y="114725"/>
                </a:cubicBezTo>
                <a:cubicBezTo>
                  <a:pt x="1541305" y="117605"/>
                  <a:pt x="1632093" y="122912"/>
                  <a:pt x="1653498" y="124250"/>
                </a:cubicBezTo>
                <a:cubicBezTo>
                  <a:pt x="1664610" y="125838"/>
                  <a:pt x="1675763" y="127168"/>
                  <a:pt x="1686835" y="129013"/>
                </a:cubicBezTo>
                <a:cubicBezTo>
                  <a:pt x="1694820" y="130344"/>
                  <a:pt x="1702624" y="132705"/>
                  <a:pt x="1710648" y="133775"/>
                </a:cubicBezTo>
                <a:cubicBezTo>
                  <a:pt x="1726462" y="135884"/>
                  <a:pt x="1742398" y="136950"/>
                  <a:pt x="1758273" y="138538"/>
                </a:cubicBezTo>
                <a:cubicBezTo>
                  <a:pt x="1770973" y="143300"/>
                  <a:pt x="1784025" y="147212"/>
                  <a:pt x="1796373" y="152825"/>
                </a:cubicBezTo>
                <a:cubicBezTo>
                  <a:pt x="1801584" y="155193"/>
                  <a:pt x="1805301" y="160340"/>
                  <a:pt x="1810660" y="162350"/>
                </a:cubicBezTo>
                <a:cubicBezTo>
                  <a:pt x="1818239" y="165192"/>
                  <a:pt x="1826535" y="165525"/>
                  <a:pt x="1834473" y="167113"/>
                </a:cubicBezTo>
                <a:cubicBezTo>
                  <a:pt x="1842410" y="171875"/>
                  <a:pt x="1850006" y="177260"/>
                  <a:pt x="1858285" y="181400"/>
                </a:cubicBezTo>
                <a:cubicBezTo>
                  <a:pt x="1865932" y="185223"/>
                  <a:pt x="1874848" y="186394"/>
                  <a:pt x="1882098" y="190925"/>
                </a:cubicBezTo>
                <a:cubicBezTo>
                  <a:pt x="1887809" y="194495"/>
                  <a:pt x="1891271" y="200830"/>
                  <a:pt x="1896385" y="205213"/>
                </a:cubicBezTo>
                <a:cubicBezTo>
                  <a:pt x="1911948" y="218553"/>
                  <a:pt x="1914647" y="218257"/>
                  <a:pt x="1929723" y="229025"/>
                </a:cubicBezTo>
                <a:cubicBezTo>
                  <a:pt x="1947293" y="241575"/>
                  <a:pt x="1968287" y="250538"/>
                  <a:pt x="1982110" y="267125"/>
                </a:cubicBezTo>
                <a:cubicBezTo>
                  <a:pt x="1990048" y="276650"/>
                  <a:pt x="1998484" y="285781"/>
                  <a:pt x="2005923" y="295700"/>
                </a:cubicBezTo>
                <a:cubicBezTo>
                  <a:pt x="2018018" y="311827"/>
                  <a:pt x="2028859" y="330752"/>
                  <a:pt x="2039260" y="348088"/>
                </a:cubicBezTo>
                <a:cubicBezTo>
                  <a:pt x="2066720" y="444198"/>
                  <a:pt x="2031945" y="324314"/>
                  <a:pt x="2058310" y="410000"/>
                </a:cubicBezTo>
                <a:cubicBezTo>
                  <a:pt x="2061709" y="421046"/>
                  <a:pt x="2064514" y="432268"/>
                  <a:pt x="2067835" y="443338"/>
                </a:cubicBezTo>
                <a:cubicBezTo>
                  <a:pt x="2069278" y="448146"/>
                  <a:pt x="2070620" y="453011"/>
                  <a:pt x="2072598" y="457625"/>
                </a:cubicBezTo>
                <a:cubicBezTo>
                  <a:pt x="2075395" y="464150"/>
                  <a:pt x="2078948" y="470325"/>
                  <a:pt x="2082123" y="476675"/>
                </a:cubicBezTo>
                <a:cubicBezTo>
                  <a:pt x="2094919" y="553458"/>
                  <a:pt x="2075163" y="444071"/>
                  <a:pt x="2101173" y="548113"/>
                </a:cubicBezTo>
                <a:cubicBezTo>
                  <a:pt x="2112661" y="594066"/>
                  <a:pt x="2108131" y="573376"/>
                  <a:pt x="2115460" y="610025"/>
                </a:cubicBezTo>
                <a:cubicBezTo>
                  <a:pt x="2117048" y="711625"/>
                  <a:pt x="2113079" y="835450"/>
                  <a:pt x="2120223" y="914825"/>
                </a:cubicBezTo>
                <a:cubicBezTo>
                  <a:pt x="2127367" y="994200"/>
                  <a:pt x="2151179" y="1047381"/>
                  <a:pt x="2158323" y="1086275"/>
                </a:cubicBezTo>
                <a:cubicBezTo>
                  <a:pt x="2165467" y="1125169"/>
                  <a:pt x="2159382" y="1127823"/>
                  <a:pt x="2163085" y="1148188"/>
                </a:cubicBezTo>
                <a:cubicBezTo>
                  <a:pt x="2165779" y="1163005"/>
                  <a:pt x="2172610" y="1176763"/>
                  <a:pt x="2177373" y="1191050"/>
                </a:cubicBezTo>
                <a:cubicBezTo>
                  <a:pt x="2178960" y="1202163"/>
                  <a:pt x="2179611" y="1213450"/>
                  <a:pt x="2182135" y="1224388"/>
                </a:cubicBezTo>
                <a:cubicBezTo>
                  <a:pt x="2191028" y="1262928"/>
                  <a:pt x="2190771" y="1242062"/>
                  <a:pt x="2201185" y="1276775"/>
                </a:cubicBezTo>
                <a:cubicBezTo>
                  <a:pt x="2203511" y="1284528"/>
                  <a:pt x="2204360" y="1292650"/>
                  <a:pt x="2205948" y="1300588"/>
                </a:cubicBezTo>
                <a:cubicBezTo>
                  <a:pt x="2204360" y="1372025"/>
                  <a:pt x="2205642" y="1443584"/>
                  <a:pt x="2201185" y="1514900"/>
                </a:cubicBezTo>
                <a:cubicBezTo>
                  <a:pt x="2200828" y="1520613"/>
                  <a:pt x="2194220" y="1524068"/>
                  <a:pt x="2191660" y="1529188"/>
                </a:cubicBezTo>
                <a:cubicBezTo>
                  <a:pt x="2182397" y="1547715"/>
                  <a:pt x="2191286" y="1541174"/>
                  <a:pt x="2182135" y="1562525"/>
                </a:cubicBezTo>
                <a:cubicBezTo>
                  <a:pt x="2179880" y="1567786"/>
                  <a:pt x="2175785" y="1572050"/>
                  <a:pt x="2172610" y="1576813"/>
                </a:cubicBezTo>
                <a:cubicBezTo>
                  <a:pt x="2171023" y="1584750"/>
                  <a:pt x="2171468" y="1593385"/>
                  <a:pt x="2167848" y="1600625"/>
                </a:cubicBezTo>
                <a:cubicBezTo>
                  <a:pt x="2164836" y="1606649"/>
                  <a:pt x="2157872" y="1609739"/>
                  <a:pt x="2153560" y="1614913"/>
                </a:cubicBezTo>
                <a:cubicBezTo>
                  <a:pt x="2149896" y="1619310"/>
                  <a:pt x="2147838" y="1624922"/>
                  <a:pt x="2144035" y="1629200"/>
                </a:cubicBezTo>
                <a:cubicBezTo>
                  <a:pt x="2135086" y="1639268"/>
                  <a:pt x="2123542" y="1646999"/>
                  <a:pt x="2115460" y="1657775"/>
                </a:cubicBezTo>
                <a:cubicBezTo>
                  <a:pt x="2097739" y="1681404"/>
                  <a:pt x="2107777" y="1672422"/>
                  <a:pt x="2086885" y="1686350"/>
                </a:cubicBezTo>
                <a:cubicBezTo>
                  <a:pt x="2083710" y="1691113"/>
                  <a:pt x="2081407" y="1696590"/>
                  <a:pt x="2077360" y="1700638"/>
                </a:cubicBezTo>
                <a:cubicBezTo>
                  <a:pt x="2073313" y="1704685"/>
                  <a:pt x="2067927" y="1707130"/>
                  <a:pt x="2063073" y="1710163"/>
                </a:cubicBezTo>
                <a:cubicBezTo>
                  <a:pt x="2055223" y="1715069"/>
                  <a:pt x="2046843" y="1719142"/>
                  <a:pt x="2039260" y="1724450"/>
                </a:cubicBezTo>
                <a:cubicBezTo>
                  <a:pt x="2030933" y="1730279"/>
                  <a:pt x="2024432" y="1738744"/>
                  <a:pt x="2015448" y="1743500"/>
                </a:cubicBezTo>
                <a:cubicBezTo>
                  <a:pt x="1989180" y="1757407"/>
                  <a:pt x="1969237" y="1763667"/>
                  <a:pt x="1944010" y="1772075"/>
                </a:cubicBezTo>
                <a:cubicBezTo>
                  <a:pt x="1937660" y="1776838"/>
                  <a:pt x="1931637" y="1782071"/>
                  <a:pt x="1924960" y="1786363"/>
                </a:cubicBezTo>
                <a:cubicBezTo>
                  <a:pt x="1909387" y="1796374"/>
                  <a:pt x="1922578" y="1800651"/>
                  <a:pt x="1877335" y="1814938"/>
                </a:cubicBezTo>
                <a:cubicBezTo>
                  <a:pt x="1832092" y="1829225"/>
                  <a:pt x="1729699" y="1838750"/>
                  <a:pt x="1653499" y="1872087"/>
                </a:cubicBezTo>
                <a:cubicBezTo>
                  <a:pt x="1534436" y="1924474"/>
                  <a:pt x="1467760" y="1984799"/>
                  <a:pt x="1420135" y="2014962"/>
                </a:cubicBezTo>
                <a:cubicBezTo>
                  <a:pt x="1372510" y="2045125"/>
                  <a:pt x="1393576" y="2046605"/>
                  <a:pt x="1367748" y="2053063"/>
                </a:cubicBezTo>
                <a:cubicBezTo>
                  <a:pt x="1362985" y="2056238"/>
                  <a:pt x="1358580" y="2060028"/>
                  <a:pt x="1353460" y="2062588"/>
                </a:cubicBezTo>
                <a:cubicBezTo>
                  <a:pt x="1343699" y="2067468"/>
                  <a:pt x="1324413" y="2070302"/>
                  <a:pt x="1315360" y="2072113"/>
                </a:cubicBezTo>
                <a:cubicBezTo>
                  <a:pt x="1307423" y="2076875"/>
                  <a:pt x="1299975" y="2082570"/>
                  <a:pt x="1291548" y="2086400"/>
                </a:cubicBezTo>
                <a:cubicBezTo>
                  <a:pt x="1272558" y="2095032"/>
                  <a:pt x="1258899" y="2096740"/>
                  <a:pt x="1239160" y="2100688"/>
                </a:cubicBezTo>
                <a:cubicBezTo>
                  <a:pt x="1188848" y="2138420"/>
                  <a:pt x="1253170" y="2094461"/>
                  <a:pt x="1196298" y="2119738"/>
                </a:cubicBezTo>
                <a:cubicBezTo>
                  <a:pt x="1189045" y="2122962"/>
                  <a:pt x="1184187" y="2130170"/>
                  <a:pt x="1177248" y="2134025"/>
                </a:cubicBezTo>
                <a:cubicBezTo>
                  <a:pt x="1151811" y="2148156"/>
                  <a:pt x="1137328" y="2145161"/>
                  <a:pt x="1105810" y="2148313"/>
                </a:cubicBezTo>
                <a:cubicBezTo>
                  <a:pt x="1096285" y="2153075"/>
                  <a:pt x="1087866" y="2161975"/>
                  <a:pt x="1077235" y="2162600"/>
                </a:cubicBezTo>
                <a:cubicBezTo>
                  <a:pt x="1032833" y="2165212"/>
                  <a:pt x="987677" y="2165623"/>
                  <a:pt x="943885" y="2157838"/>
                </a:cubicBezTo>
                <a:cubicBezTo>
                  <a:pt x="849110" y="2140989"/>
                  <a:pt x="888473" y="2132512"/>
                  <a:pt x="834348" y="2105450"/>
                </a:cubicBezTo>
                <a:cubicBezTo>
                  <a:pt x="822216" y="2099384"/>
                  <a:pt x="808380" y="2097229"/>
                  <a:pt x="796248" y="2091163"/>
                </a:cubicBezTo>
                <a:cubicBezTo>
                  <a:pt x="779689" y="2082884"/>
                  <a:pt x="765182" y="2070868"/>
                  <a:pt x="748623" y="2062588"/>
                </a:cubicBezTo>
                <a:cubicBezTo>
                  <a:pt x="711068" y="2043810"/>
                  <a:pt x="730151" y="2051668"/>
                  <a:pt x="691473" y="2038775"/>
                </a:cubicBezTo>
                <a:cubicBezTo>
                  <a:pt x="680360" y="2027663"/>
                  <a:pt x="670011" y="2015730"/>
                  <a:pt x="658135" y="2005438"/>
                </a:cubicBezTo>
                <a:cubicBezTo>
                  <a:pt x="646138" y="1995041"/>
                  <a:pt x="629560" y="1989563"/>
                  <a:pt x="620035" y="1976863"/>
                </a:cubicBezTo>
                <a:cubicBezTo>
                  <a:pt x="615273" y="1970513"/>
                  <a:pt x="610151" y="1964417"/>
                  <a:pt x="605748" y="1957813"/>
                </a:cubicBezTo>
                <a:cubicBezTo>
                  <a:pt x="600613" y="1950111"/>
                  <a:pt x="597104" y="1941337"/>
                  <a:pt x="591460" y="1934000"/>
                </a:cubicBezTo>
                <a:cubicBezTo>
                  <a:pt x="581171" y="1920624"/>
                  <a:pt x="587492" y="1934000"/>
                  <a:pt x="558123" y="1895900"/>
                </a:cubicBezTo>
                <a:cubicBezTo>
                  <a:pt x="528754" y="1857800"/>
                  <a:pt x="441442" y="1740325"/>
                  <a:pt x="415248" y="1705400"/>
                </a:cubicBezTo>
                <a:cubicBezTo>
                  <a:pt x="389054" y="1670475"/>
                  <a:pt x="405512" y="1692853"/>
                  <a:pt x="400960" y="1686350"/>
                </a:cubicBezTo>
                <a:cubicBezTo>
                  <a:pt x="394395" y="1676972"/>
                  <a:pt x="389407" y="1666426"/>
                  <a:pt x="381910" y="1657775"/>
                </a:cubicBezTo>
                <a:lnTo>
                  <a:pt x="324760" y="1600625"/>
                </a:lnTo>
                <a:lnTo>
                  <a:pt x="300948" y="1576813"/>
                </a:lnTo>
                <a:cubicBezTo>
                  <a:pt x="296185" y="1572050"/>
                  <a:pt x="292372" y="1566095"/>
                  <a:pt x="286660" y="1562525"/>
                </a:cubicBezTo>
                <a:lnTo>
                  <a:pt x="248560" y="1538713"/>
                </a:lnTo>
                <a:cubicBezTo>
                  <a:pt x="238416" y="1523496"/>
                  <a:pt x="239416" y="1522972"/>
                  <a:pt x="224748" y="1510138"/>
                </a:cubicBezTo>
                <a:cubicBezTo>
                  <a:pt x="217098" y="1503444"/>
                  <a:pt x="207735" y="1498644"/>
                  <a:pt x="200935" y="1491088"/>
                </a:cubicBezTo>
                <a:cubicBezTo>
                  <a:pt x="193277" y="1482579"/>
                  <a:pt x="189134" y="1471373"/>
                  <a:pt x="181885" y="1462513"/>
                </a:cubicBezTo>
                <a:cubicBezTo>
                  <a:pt x="174777" y="1453825"/>
                  <a:pt x="165465" y="1447148"/>
                  <a:pt x="158073" y="1438700"/>
                </a:cubicBezTo>
                <a:cubicBezTo>
                  <a:pt x="154304" y="1434392"/>
                  <a:pt x="152273" y="1428759"/>
                  <a:pt x="148548" y="1424413"/>
                </a:cubicBezTo>
                <a:cubicBezTo>
                  <a:pt x="142704" y="1417595"/>
                  <a:pt x="142992" y="1425207"/>
                  <a:pt x="129498" y="1405363"/>
                </a:cubicBezTo>
                <a:cubicBezTo>
                  <a:pt x="116004" y="1385519"/>
                  <a:pt x="105355" y="1365096"/>
                  <a:pt x="67585" y="1305350"/>
                </a:cubicBezTo>
                <a:cubicBezTo>
                  <a:pt x="23929" y="1236294"/>
                  <a:pt x="-43540" y="1163268"/>
                  <a:pt x="39010" y="991025"/>
                </a:cubicBezTo>
                <a:cubicBezTo>
                  <a:pt x="121560" y="818782"/>
                  <a:pt x="69200" y="948889"/>
                  <a:pt x="77110" y="929113"/>
                </a:cubicBezTo>
                <a:cubicBezTo>
                  <a:pt x="89136" y="899047"/>
                  <a:pt x="80590" y="911345"/>
                  <a:pt x="100923" y="891013"/>
                </a:cubicBezTo>
                <a:cubicBezTo>
                  <a:pt x="111746" y="869367"/>
                  <a:pt x="104098" y="871169"/>
                  <a:pt x="119973" y="848150"/>
                </a:cubicBezTo>
                <a:cubicBezTo>
                  <a:pt x="135848" y="825131"/>
                  <a:pt x="175536" y="792588"/>
                  <a:pt x="196173" y="752900"/>
                </a:cubicBezTo>
                <a:cubicBezTo>
                  <a:pt x="216811" y="713213"/>
                  <a:pt x="210512" y="665500"/>
                  <a:pt x="243798" y="610025"/>
                </a:cubicBezTo>
                <a:cubicBezTo>
                  <a:pt x="245385" y="600500"/>
                  <a:pt x="245785" y="590699"/>
                  <a:pt x="248560" y="581450"/>
                </a:cubicBezTo>
                <a:cubicBezTo>
                  <a:pt x="252506" y="568297"/>
                  <a:pt x="267104" y="550004"/>
                  <a:pt x="272373" y="538588"/>
                </a:cubicBezTo>
                <a:cubicBezTo>
                  <a:pt x="278057" y="526273"/>
                  <a:pt x="281317" y="512955"/>
                  <a:pt x="286660" y="500488"/>
                </a:cubicBezTo>
                <a:cubicBezTo>
                  <a:pt x="290855" y="490700"/>
                  <a:pt x="296852" y="481743"/>
                  <a:pt x="300948" y="471913"/>
                </a:cubicBezTo>
                <a:cubicBezTo>
                  <a:pt x="304810" y="462645"/>
                  <a:pt x="306395" y="452513"/>
                  <a:pt x="310473" y="443338"/>
                </a:cubicBezTo>
                <a:cubicBezTo>
                  <a:pt x="312798" y="438107"/>
                  <a:pt x="317438" y="434170"/>
                  <a:pt x="319998" y="429050"/>
                </a:cubicBezTo>
                <a:cubicBezTo>
                  <a:pt x="323821" y="421404"/>
                  <a:pt x="325125" y="412569"/>
                  <a:pt x="329523" y="405238"/>
                </a:cubicBezTo>
                <a:cubicBezTo>
                  <a:pt x="334753" y="396522"/>
                  <a:pt x="342223" y="389363"/>
                  <a:pt x="348573" y="381425"/>
                </a:cubicBezTo>
                <a:cubicBezTo>
                  <a:pt x="354406" y="358089"/>
                  <a:pt x="352866" y="358394"/>
                  <a:pt x="367623" y="333800"/>
                </a:cubicBezTo>
                <a:cubicBezTo>
                  <a:pt x="376458" y="319076"/>
                  <a:pt x="388519" y="306296"/>
                  <a:pt x="396198" y="290938"/>
                </a:cubicBezTo>
                <a:cubicBezTo>
                  <a:pt x="405274" y="272786"/>
                  <a:pt x="408053" y="266010"/>
                  <a:pt x="420010" y="248075"/>
                </a:cubicBezTo>
                <a:cubicBezTo>
                  <a:pt x="424413" y="241470"/>
                  <a:pt x="428324" y="234252"/>
                  <a:pt x="434298" y="229025"/>
                </a:cubicBezTo>
                <a:cubicBezTo>
                  <a:pt x="441264" y="222930"/>
                  <a:pt x="450882" y="220520"/>
                  <a:pt x="458110" y="214738"/>
                </a:cubicBezTo>
                <a:cubicBezTo>
                  <a:pt x="466876" y="207725"/>
                  <a:pt x="473475" y="198317"/>
                  <a:pt x="481923" y="190925"/>
                </a:cubicBezTo>
                <a:cubicBezTo>
                  <a:pt x="486230" y="187156"/>
                  <a:pt x="491813" y="185064"/>
                  <a:pt x="496210" y="181400"/>
                </a:cubicBezTo>
                <a:cubicBezTo>
                  <a:pt x="519331" y="162133"/>
                  <a:pt x="503808" y="169040"/>
                  <a:pt x="529548" y="143300"/>
                </a:cubicBezTo>
                <a:cubicBezTo>
                  <a:pt x="533595" y="139253"/>
                  <a:pt x="523197" y="145681"/>
                  <a:pt x="543835" y="133775"/>
                </a:cubicBezTo>
                <a:cubicBezTo>
                  <a:pt x="564473" y="121869"/>
                  <a:pt x="632736" y="85357"/>
                  <a:pt x="653373" y="71863"/>
                </a:cubicBezTo>
                <a:cubicBezTo>
                  <a:pt x="658135" y="65513"/>
                  <a:pt x="661201" y="57427"/>
                  <a:pt x="667660" y="52813"/>
                </a:cubicBezTo>
                <a:cubicBezTo>
                  <a:pt x="672986" y="49008"/>
                  <a:pt x="680500" y="50120"/>
                  <a:pt x="686710" y="48050"/>
                </a:cubicBezTo>
                <a:cubicBezTo>
                  <a:pt x="694820" y="45346"/>
                  <a:pt x="702711" y="41997"/>
                  <a:pt x="710523" y="38525"/>
                </a:cubicBezTo>
                <a:cubicBezTo>
                  <a:pt x="756752" y="17979"/>
                  <a:pt x="699878" y="38831"/>
                  <a:pt x="753385" y="24238"/>
                </a:cubicBezTo>
                <a:cubicBezTo>
                  <a:pt x="763071" y="21596"/>
                  <a:pt x="772092" y="16563"/>
                  <a:pt x="781960" y="14713"/>
                </a:cubicBezTo>
                <a:cubicBezTo>
                  <a:pt x="797641" y="11773"/>
                  <a:pt x="813710" y="11538"/>
                  <a:pt x="829585" y="9950"/>
                </a:cubicBezTo>
                <a:cubicBezTo>
                  <a:pt x="875134" y="-3064"/>
                  <a:pt x="851366" y="425"/>
                  <a:pt x="901023" y="425"/>
                </a:cubicBezTo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94" name="Graphic 17">
            <a:extLst>
              <a:ext uri="{FF2B5EF4-FFF2-40B4-BE49-F238E27FC236}">
                <a16:creationId xmlns:a16="http://schemas.microsoft.com/office/drawing/2014/main" id="{32836A82-190B-FE0F-3D52-1A13852CBAD2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132311" y="3549839"/>
            <a:ext cx="228379" cy="228379"/>
          </a:xfrm>
          <a:prstGeom prst="rect">
            <a:avLst/>
          </a:prstGeom>
        </p:spPr>
      </p:pic>
      <p:sp>
        <p:nvSpPr>
          <p:cNvPr id="7" name="Slide Number Placeholder 14">
            <a:extLst>
              <a:ext uri="{FF2B5EF4-FFF2-40B4-BE49-F238E27FC236}">
                <a16:creationId xmlns:a16="http://schemas.microsoft.com/office/drawing/2014/main" id="{377859E8-7F2E-111B-CCE3-D6606F131F2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7" y="6200533"/>
            <a:ext cx="406761" cy="325752"/>
          </a:xfrm>
        </p:spPr>
        <p:txBody>
          <a:bodyPr/>
          <a:lstStyle/>
          <a:p>
            <a:pPr lvl="0"/>
            <a:fld id="{6A814B08-8399-43E7-AAE4-68AF4906CF08}" type="slidenum">
              <a:rPr lang="da-DK" noProof="0" smtClean="0"/>
              <a:pPr lvl="0"/>
              <a:t>25</a:t>
            </a:fld>
            <a:endParaRPr lang="da-DK" noProof="0"/>
          </a:p>
        </p:txBody>
      </p:sp>
      <p:sp>
        <p:nvSpPr>
          <p:cNvPr id="9" name="Flowchart: Alternate Process 30">
            <a:extLst>
              <a:ext uri="{FF2B5EF4-FFF2-40B4-BE49-F238E27FC236}">
                <a16:creationId xmlns:a16="http://schemas.microsoft.com/office/drawing/2014/main" id="{6F7493E9-4B94-8BD6-9D53-A8001DE3BDA4}"/>
              </a:ext>
            </a:extLst>
          </p:cNvPr>
          <p:cNvSpPr/>
          <p:nvPr/>
        </p:nvSpPr>
        <p:spPr>
          <a:xfrm>
            <a:off x="906860" y="4890973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okalt fællesskab</a:t>
            </a:r>
          </a:p>
        </p:txBody>
      </p:sp>
      <p:sp>
        <p:nvSpPr>
          <p:cNvPr id="10" name="Flowchart: Alternate Process 30">
            <a:extLst>
              <a:ext uri="{FF2B5EF4-FFF2-40B4-BE49-F238E27FC236}">
                <a16:creationId xmlns:a16="http://schemas.microsoft.com/office/drawing/2014/main" id="{BE0961C1-DF7D-A2DE-E463-10297424D66D}"/>
              </a:ext>
            </a:extLst>
          </p:cNvPr>
          <p:cNvSpPr/>
          <p:nvPr/>
        </p:nvSpPr>
        <p:spPr>
          <a:xfrm>
            <a:off x="912931" y="4267418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ivschancer</a:t>
            </a:r>
          </a:p>
        </p:txBody>
      </p:sp>
      <p:sp>
        <p:nvSpPr>
          <p:cNvPr id="13" name="Flowchart: Alternate Process 30">
            <a:extLst>
              <a:ext uri="{FF2B5EF4-FFF2-40B4-BE49-F238E27FC236}">
                <a16:creationId xmlns:a16="http://schemas.microsoft.com/office/drawing/2014/main" id="{9EA39246-B437-BCFE-74B1-85379AC6CB10}"/>
              </a:ext>
            </a:extLst>
          </p:cNvPr>
          <p:cNvSpPr/>
          <p:nvPr/>
        </p:nvSpPr>
        <p:spPr>
          <a:xfrm>
            <a:off x="7364585" y="3865351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Beboerdemokrati</a:t>
            </a:r>
          </a:p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Indikator for mangfoldighed i beboerdemokratiet)</a:t>
            </a:r>
            <a:endParaRPr kumimoji="0" lang="da-DK" sz="8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5" name="Freeform: Shape 333">
            <a:extLst>
              <a:ext uri="{FF2B5EF4-FFF2-40B4-BE49-F238E27FC236}">
                <a16:creationId xmlns:a16="http://schemas.microsoft.com/office/drawing/2014/main" id="{D83C0789-0A4D-4DD3-C813-86341F5F3C9C}"/>
              </a:ext>
            </a:extLst>
          </p:cNvPr>
          <p:cNvSpPr/>
          <p:nvPr/>
        </p:nvSpPr>
        <p:spPr>
          <a:xfrm rot="21410080">
            <a:off x="7137795" y="3934177"/>
            <a:ext cx="186956" cy="183426"/>
          </a:xfrm>
          <a:custGeom>
            <a:avLst/>
            <a:gdLst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557212 w 2171700"/>
              <a:gd name="connsiteY139" fmla="*/ 105200 h 2164296"/>
              <a:gd name="connsiteX140" fmla="*/ 619125 w 2171700"/>
              <a:gd name="connsiteY140" fmla="*/ 71863 h 2164296"/>
              <a:gd name="connsiteX141" fmla="*/ 633412 w 2171700"/>
              <a:gd name="connsiteY141" fmla="*/ 52813 h 2164296"/>
              <a:gd name="connsiteX142" fmla="*/ 652462 w 2171700"/>
              <a:gd name="connsiteY142" fmla="*/ 48050 h 2164296"/>
              <a:gd name="connsiteX143" fmla="*/ 676275 w 2171700"/>
              <a:gd name="connsiteY143" fmla="*/ 38525 h 2164296"/>
              <a:gd name="connsiteX144" fmla="*/ 719137 w 2171700"/>
              <a:gd name="connsiteY144" fmla="*/ 24238 h 2164296"/>
              <a:gd name="connsiteX145" fmla="*/ 747712 w 2171700"/>
              <a:gd name="connsiteY145" fmla="*/ 14713 h 2164296"/>
              <a:gd name="connsiteX146" fmla="*/ 795337 w 2171700"/>
              <a:gd name="connsiteY146" fmla="*/ 9950 h 2164296"/>
              <a:gd name="connsiteX147" fmla="*/ 866775 w 2171700"/>
              <a:gd name="connsiteY14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619125 w 2171700"/>
              <a:gd name="connsiteY139" fmla="*/ 71863 h 2164296"/>
              <a:gd name="connsiteX140" fmla="*/ 633412 w 2171700"/>
              <a:gd name="connsiteY140" fmla="*/ 52813 h 2164296"/>
              <a:gd name="connsiteX141" fmla="*/ 652462 w 2171700"/>
              <a:gd name="connsiteY141" fmla="*/ 48050 h 2164296"/>
              <a:gd name="connsiteX142" fmla="*/ 676275 w 2171700"/>
              <a:gd name="connsiteY142" fmla="*/ 38525 h 2164296"/>
              <a:gd name="connsiteX143" fmla="*/ 719137 w 2171700"/>
              <a:gd name="connsiteY143" fmla="*/ 24238 h 2164296"/>
              <a:gd name="connsiteX144" fmla="*/ 747712 w 2171700"/>
              <a:gd name="connsiteY144" fmla="*/ 14713 h 2164296"/>
              <a:gd name="connsiteX145" fmla="*/ 795337 w 2171700"/>
              <a:gd name="connsiteY145" fmla="*/ 9950 h 2164296"/>
              <a:gd name="connsiteX146" fmla="*/ 866775 w 2171700"/>
              <a:gd name="connsiteY14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57325 w 2171700"/>
              <a:gd name="connsiteY67" fmla="*/ 1995913 h 2164296"/>
              <a:gd name="connsiteX68" fmla="*/ 1419225 w 2171700"/>
              <a:gd name="connsiteY68" fmla="*/ 2014963 h 2164296"/>
              <a:gd name="connsiteX69" fmla="*/ 1404937 w 2171700"/>
              <a:gd name="connsiteY69" fmla="*/ 2029250 h 2164296"/>
              <a:gd name="connsiteX70" fmla="*/ 1333500 w 2171700"/>
              <a:gd name="connsiteY70" fmla="*/ 2053063 h 2164296"/>
              <a:gd name="connsiteX71" fmla="*/ 1319212 w 2171700"/>
              <a:gd name="connsiteY71" fmla="*/ 2062588 h 2164296"/>
              <a:gd name="connsiteX72" fmla="*/ 1281112 w 2171700"/>
              <a:gd name="connsiteY72" fmla="*/ 2072113 h 2164296"/>
              <a:gd name="connsiteX73" fmla="*/ 1257300 w 2171700"/>
              <a:gd name="connsiteY73" fmla="*/ 2086400 h 2164296"/>
              <a:gd name="connsiteX74" fmla="*/ 1204912 w 2171700"/>
              <a:gd name="connsiteY74" fmla="*/ 2100688 h 2164296"/>
              <a:gd name="connsiteX75" fmla="*/ 1162050 w 2171700"/>
              <a:gd name="connsiteY75" fmla="*/ 2119738 h 2164296"/>
              <a:gd name="connsiteX76" fmla="*/ 1143000 w 2171700"/>
              <a:gd name="connsiteY76" fmla="*/ 2134025 h 2164296"/>
              <a:gd name="connsiteX77" fmla="*/ 1071562 w 2171700"/>
              <a:gd name="connsiteY77" fmla="*/ 2148313 h 2164296"/>
              <a:gd name="connsiteX78" fmla="*/ 1042987 w 2171700"/>
              <a:gd name="connsiteY78" fmla="*/ 2162600 h 2164296"/>
              <a:gd name="connsiteX79" fmla="*/ 909637 w 2171700"/>
              <a:gd name="connsiteY79" fmla="*/ 2157838 h 2164296"/>
              <a:gd name="connsiteX80" fmla="*/ 800100 w 2171700"/>
              <a:gd name="connsiteY80" fmla="*/ 2105450 h 2164296"/>
              <a:gd name="connsiteX81" fmla="*/ 762000 w 2171700"/>
              <a:gd name="connsiteY81" fmla="*/ 2091163 h 2164296"/>
              <a:gd name="connsiteX82" fmla="*/ 714375 w 2171700"/>
              <a:gd name="connsiteY82" fmla="*/ 2062588 h 2164296"/>
              <a:gd name="connsiteX83" fmla="*/ 657225 w 2171700"/>
              <a:gd name="connsiteY83" fmla="*/ 2038775 h 2164296"/>
              <a:gd name="connsiteX84" fmla="*/ 623887 w 2171700"/>
              <a:gd name="connsiteY84" fmla="*/ 2005438 h 2164296"/>
              <a:gd name="connsiteX85" fmla="*/ 585787 w 2171700"/>
              <a:gd name="connsiteY85" fmla="*/ 1976863 h 2164296"/>
              <a:gd name="connsiteX86" fmla="*/ 571500 w 2171700"/>
              <a:gd name="connsiteY86" fmla="*/ 1957813 h 2164296"/>
              <a:gd name="connsiteX87" fmla="*/ 557212 w 2171700"/>
              <a:gd name="connsiteY87" fmla="*/ 1934000 h 2164296"/>
              <a:gd name="connsiteX88" fmla="*/ 523875 w 2171700"/>
              <a:gd name="connsiteY88" fmla="*/ 1895900 h 2164296"/>
              <a:gd name="connsiteX89" fmla="*/ 495300 w 2171700"/>
              <a:gd name="connsiteY89" fmla="*/ 1848275 h 2164296"/>
              <a:gd name="connsiteX90" fmla="*/ 471487 w 2171700"/>
              <a:gd name="connsiteY90" fmla="*/ 1819700 h 2164296"/>
              <a:gd name="connsiteX91" fmla="*/ 447675 w 2171700"/>
              <a:gd name="connsiteY91" fmla="*/ 1781600 h 2164296"/>
              <a:gd name="connsiteX92" fmla="*/ 400050 w 2171700"/>
              <a:gd name="connsiteY92" fmla="*/ 1738738 h 2164296"/>
              <a:gd name="connsiteX93" fmla="*/ 381000 w 2171700"/>
              <a:gd name="connsiteY93" fmla="*/ 1705400 h 2164296"/>
              <a:gd name="connsiteX94" fmla="*/ 366712 w 2171700"/>
              <a:gd name="connsiteY94" fmla="*/ 1686350 h 2164296"/>
              <a:gd name="connsiteX95" fmla="*/ 347662 w 2171700"/>
              <a:gd name="connsiteY95" fmla="*/ 1657775 h 2164296"/>
              <a:gd name="connsiteX96" fmla="*/ 290512 w 2171700"/>
              <a:gd name="connsiteY96" fmla="*/ 1600625 h 2164296"/>
              <a:gd name="connsiteX97" fmla="*/ 266700 w 2171700"/>
              <a:gd name="connsiteY97" fmla="*/ 1576813 h 2164296"/>
              <a:gd name="connsiteX98" fmla="*/ 252412 w 2171700"/>
              <a:gd name="connsiteY98" fmla="*/ 1562525 h 2164296"/>
              <a:gd name="connsiteX99" fmla="*/ 214312 w 2171700"/>
              <a:gd name="connsiteY99" fmla="*/ 1538713 h 2164296"/>
              <a:gd name="connsiteX100" fmla="*/ 190500 w 2171700"/>
              <a:gd name="connsiteY100" fmla="*/ 1510138 h 2164296"/>
              <a:gd name="connsiteX101" fmla="*/ 166687 w 2171700"/>
              <a:gd name="connsiteY101" fmla="*/ 1491088 h 2164296"/>
              <a:gd name="connsiteX102" fmla="*/ 147637 w 2171700"/>
              <a:gd name="connsiteY102" fmla="*/ 1462513 h 2164296"/>
              <a:gd name="connsiteX103" fmla="*/ 123825 w 2171700"/>
              <a:gd name="connsiteY103" fmla="*/ 1438700 h 2164296"/>
              <a:gd name="connsiteX104" fmla="*/ 114300 w 2171700"/>
              <a:gd name="connsiteY104" fmla="*/ 1424413 h 2164296"/>
              <a:gd name="connsiteX105" fmla="*/ 95250 w 2171700"/>
              <a:gd name="connsiteY105" fmla="*/ 1405363 h 2164296"/>
              <a:gd name="connsiteX106" fmla="*/ 76200 w 2171700"/>
              <a:gd name="connsiteY106" fmla="*/ 1376788 h 2164296"/>
              <a:gd name="connsiteX107" fmla="*/ 61912 w 2171700"/>
              <a:gd name="connsiteY107" fmla="*/ 1362500 h 2164296"/>
              <a:gd name="connsiteX108" fmla="*/ 52387 w 2171700"/>
              <a:gd name="connsiteY108" fmla="*/ 1348213 h 2164296"/>
              <a:gd name="connsiteX109" fmla="*/ 38100 w 2171700"/>
              <a:gd name="connsiteY109" fmla="*/ 1329163 h 2164296"/>
              <a:gd name="connsiteX110" fmla="*/ 33337 w 2171700"/>
              <a:gd name="connsiteY110" fmla="*/ 1305350 h 2164296"/>
              <a:gd name="connsiteX111" fmla="*/ 9525 w 2171700"/>
              <a:gd name="connsiteY111" fmla="*/ 1257725 h 2164296"/>
              <a:gd name="connsiteX112" fmla="*/ 0 w 2171700"/>
              <a:gd name="connsiteY112" fmla="*/ 1200575 h 2164296"/>
              <a:gd name="connsiteX113" fmla="*/ 4762 w 2171700"/>
              <a:gd name="connsiteY113" fmla="*/ 991025 h 2164296"/>
              <a:gd name="connsiteX114" fmla="*/ 42862 w 2171700"/>
              <a:gd name="connsiteY114" fmla="*/ 929113 h 2164296"/>
              <a:gd name="connsiteX115" fmla="*/ 66675 w 2171700"/>
              <a:gd name="connsiteY115" fmla="*/ 891013 h 2164296"/>
              <a:gd name="connsiteX116" fmla="*/ 85725 w 2171700"/>
              <a:gd name="connsiteY116" fmla="*/ 848150 h 2164296"/>
              <a:gd name="connsiteX117" fmla="*/ 109537 w 2171700"/>
              <a:gd name="connsiteY117" fmla="*/ 795763 h 2164296"/>
              <a:gd name="connsiteX118" fmla="*/ 128587 w 2171700"/>
              <a:gd name="connsiteY118" fmla="*/ 762425 h 2164296"/>
              <a:gd name="connsiteX119" fmla="*/ 147637 w 2171700"/>
              <a:gd name="connsiteY119" fmla="*/ 733850 h 2164296"/>
              <a:gd name="connsiteX120" fmla="*/ 209550 w 2171700"/>
              <a:gd name="connsiteY120" fmla="*/ 610025 h 2164296"/>
              <a:gd name="connsiteX121" fmla="*/ 214312 w 2171700"/>
              <a:gd name="connsiteY121" fmla="*/ 581450 h 2164296"/>
              <a:gd name="connsiteX122" fmla="*/ 238125 w 2171700"/>
              <a:gd name="connsiteY122" fmla="*/ 538588 h 2164296"/>
              <a:gd name="connsiteX123" fmla="*/ 252412 w 2171700"/>
              <a:gd name="connsiteY123" fmla="*/ 500488 h 2164296"/>
              <a:gd name="connsiteX124" fmla="*/ 266700 w 2171700"/>
              <a:gd name="connsiteY124" fmla="*/ 471913 h 2164296"/>
              <a:gd name="connsiteX125" fmla="*/ 276225 w 2171700"/>
              <a:gd name="connsiteY125" fmla="*/ 443338 h 2164296"/>
              <a:gd name="connsiteX126" fmla="*/ 285750 w 2171700"/>
              <a:gd name="connsiteY126" fmla="*/ 429050 h 2164296"/>
              <a:gd name="connsiteX127" fmla="*/ 295275 w 2171700"/>
              <a:gd name="connsiteY127" fmla="*/ 405238 h 2164296"/>
              <a:gd name="connsiteX128" fmla="*/ 314325 w 2171700"/>
              <a:gd name="connsiteY128" fmla="*/ 381425 h 2164296"/>
              <a:gd name="connsiteX129" fmla="*/ 333375 w 2171700"/>
              <a:gd name="connsiteY129" fmla="*/ 333800 h 2164296"/>
              <a:gd name="connsiteX130" fmla="*/ 361950 w 2171700"/>
              <a:gd name="connsiteY130" fmla="*/ 290938 h 2164296"/>
              <a:gd name="connsiteX131" fmla="*/ 385762 w 2171700"/>
              <a:gd name="connsiteY131" fmla="*/ 248075 h 2164296"/>
              <a:gd name="connsiteX132" fmla="*/ 400050 w 2171700"/>
              <a:gd name="connsiteY132" fmla="*/ 229025 h 2164296"/>
              <a:gd name="connsiteX133" fmla="*/ 423862 w 2171700"/>
              <a:gd name="connsiteY133" fmla="*/ 214738 h 2164296"/>
              <a:gd name="connsiteX134" fmla="*/ 447675 w 2171700"/>
              <a:gd name="connsiteY134" fmla="*/ 190925 h 2164296"/>
              <a:gd name="connsiteX135" fmla="*/ 461962 w 2171700"/>
              <a:gd name="connsiteY135" fmla="*/ 181400 h 2164296"/>
              <a:gd name="connsiteX136" fmla="*/ 495300 w 2171700"/>
              <a:gd name="connsiteY136" fmla="*/ 143300 h 2164296"/>
              <a:gd name="connsiteX137" fmla="*/ 509587 w 2171700"/>
              <a:gd name="connsiteY137" fmla="*/ 133775 h 2164296"/>
              <a:gd name="connsiteX138" fmla="*/ 619125 w 2171700"/>
              <a:gd name="connsiteY138" fmla="*/ 71863 h 2164296"/>
              <a:gd name="connsiteX139" fmla="*/ 633412 w 2171700"/>
              <a:gd name="connsiteY139" fmla="*/ 52813 h 2164296"/>
              <a:gd name="connsiteX140" fmla="*/ 652462 w 2171700"/>
              <a:gd name="connsiteY140" fmla="*/ 48050 h 2164296"/>
              <a:gd name="connsiteX141" fmla="*/ 676275 w 2171700"/>
              <a:gd name="connsiteY141" fmla="*/ 38525 h 2164296"/>
              <a:gd name="connsiteX142" fmla="*/ 719137 w 2171700"/>
              <a:gd name="connsiteY142" fmla="*/ 24238 h 2164296"/>
              <a:gd name="connsiteX143" fmla="*/ 747712 w 2171700"/>
              <a:gd name="connsiteY143" fmla="*/ 14713 h 2164296"/>
              <a:gd name="connsiteX144" fmla="*/ 795337 w 2171700"/>
              <a:gd name="connsiteY144" fmla="*/ 9950 h 2164296"/>
              <a:gd name="connsiteX145" fmla="*/ 866775 w 2171700"/>
              <a:gd name="connsiteY14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19225 w 2171700"/>
              <a:gd name="connsiteY67" fmla="*/ 2014963 h 2164296"/>
              <a:gd name="connsiteX68" fmla="*/ 1404937 w 2171700"/>
              <a:gd name="connsiteY68" fmla="*/ 2029250 h 2164296"/>
              <a:gd name="connsiteX69" fmla="*/ 1333500 w 2171700"/>
              <a:gd name="connsiteY69" fmla="*/ 2053063 h 2164296"/>
              <a:gd name="connsiteX70" fmla="*/ 1319212 w 2171700"/>
              <a:gd name="connsiteY70" fmla="*/ 2062588 h 2164296"/>
              <a:gd name="connsiteX71" fmla="*/ 1281112 w 2171700"/>
              <a:gd name="connsiteY71" fmla="*/ 2072113 h 2164296"/>
              <a:gd name="connsiteX72" fmla="*/ 1257300 w 2171700"/>
              <a:gd name="connsiteY72" fmla="*/ 2086400 h 2164296"/>
              <a:gd name="connsiteX73" fmla="*/ 1204912 w 2171700"/>
              <a:gd name="connsiteY73" fmla="*/ 2100688 h 2164296"/>
              <a:gd name="connsiteX74" fmla="*/ 1162050 w 2171700"/>
              <a:gd name="connsiteY74" fmla="*/ 2119738 h 2164296"/>
              <a:gd name="connsiteX75" fmla="*/ 1143000 w 2171700"/>
              <a:gd name="connsiteY75" fmla="*/ 2134025 h 2164296"/>
              <a:gd name="connsiteX76" fmla="*/ 1071562 w 2171700"/>
              <a:gd name="connsiteY76" fmla="*/ 2148313 h 2164296"/>
              <a:gd name="connsiteX77" fmla="*/ 1042987 w 2171700"/>
              <a:gd name="connsiteY77" fmla="*/ 2162600 h 2164296"/>
              <a:gd name="connsiteX78" fmla="*/ 909637 w 2171700"/>
              <a:gd name="connsiteY78" fmla="*/ 2157838 h 2164296"/>
              <a:gd name="connsiteX79" fmla="*/ 800100 w 2171700"/>
              <a:gd name="connsiteY79" fmla="*/ 2105450 h 2164296"/>
              <a:gd name="connsiteX80" fmla="*/ 762000 w 2171700"/>
              <a:gd name="connsiteY80" fmla="*/ 2091163 h 2164296"/>
              <a:gd name="connsiteX81" fmla="*/ 714375 w 2171700"/>
              <a:gd name="connsiteY81" fmla="*/ 2062588 h 2164296"/>
              <a:gd name="connsiteX82" fmla="*/ 657225 w 2171700"/>
              <a:gd name="connsiteY82" fmla="*/ 2038775 h 2164296"/>
              <a:gd name="connsiteX83" fmla="*/ 623887 w 2171700"/>
              <a:gd name="connsiteY83" fmla="*/ 2005438 h 2164296"/>
              <a:gd name="connsiteX84" fmla="*/ 585787 w 2171700"/>
              <a:gd name="connsiteY84" fmla="*/ 1976863 h 2164296"/>
              <a:gd name="connsiteX85" fmla="*/ 571500 w 2171700"/>
              <a:gd name="connsiteY85" fmla="*/ 1957813 h 2164296"/>
              <a:gd name="connsiteX86" fmla="*/ 557212 w 2171700"/>
              <a:gd name="connsiteY86" fmla="*/ 1934000 h 2164296"/>
              <a:gd name="connsiteX87" fmla="*/ 523875 w 2171700"/>
              <a:gd name="connsiteY87" fmla="*/ 1895900 h 2164296"/>
              <a:gd name="connsiteX88" fmla="*/ 495300 w 2171700"/>
              <a:gd name="connsiteY88" fmla="*/ 1848275 h 2164296"/>
              <a:gd name="connsiteX89" fmla="*/ 471487 w 2171700"/>
              <a:gd name="connsiteY89" fmla="*/ 1819700 h 2164296"/>
              <a:gd name="connsiteX90" fmla="*/ 447675 w 2171700"/>
              <a:gd name="connsiteY90" fmla="*/ 1781600 h 2164296"/>
              <a:gd name="connsiteX91" fmla="*/ 400050 w 2171700"/>
              <a:gd name="connsiteY91" fmla="*/ 1738738 h 2164296"/>
              <a:gd name="connsiteX92" fmla="*/ 381000 w 2171700"/>
              <a:gd name="connsiteY92" fmla="*/ 1705400 h 2164296"/>
              <a:gd name="connsiteX93" fmla="*/ 366712 w 2171700"/>
              <a:gd name="connsiteY93" fmla="*/ 1686350 h 2164296"/>
              <a:gd name="connsiteX94" fmla="*/ 347662 w 2171700"/>
              <a:gd name="connsiteY94" fmla="*/ 1657775 h 2164296"/>
              <a:gd name="connsiteX95" fmla="*/ 290512 w 2171700"/>
              <a:gd name="connsiteY95" fmla="*/ 1600625 h 2164296"/>
              <a:gd name="connsiteX96" fmla="*/ 266700 w 2171700"/>
              <a:gd name="connsiteY96" fmla="*/ 1576813 h 2164296"/>
              <a:gd name="connsiteX97" fmla="*/ 252412 w 2171700"/>
              <a:gd name="connsiteY97" fmla="*/ 1562525 h 2164296"/>
              <a:gd name="connsiteX98" fmla="*/ 214312 w 2171700"/>
              <a:gd name="connsiteY98" fmla="*/ 1538713 h 2164296"/>
              <a:gd name="connsiteX99" fmla="*/ 190500 w 2171700"/>
              <a:gd name="connsiteY99" fmla="*/ 1510138 h 2164296"/>
              <a:gd name="connsiteX100" fmla="*/ 166687 w 2171700"/>
              <a:gd name="connsiteY100" fmla="*/ 1491088 h 2164296"/>
              <a:gd name="connsiteX101" fmla="*/ 147637 w 2171700"/>
              <a:gd name="connsiteY101" fmla="*/ 1462513 h 2164296"/>
              <a:gd name="connsiteX102" fmla="*/ 123825 w 2171700"/>
              <a:gd name="connsiteY102" fmla="*/ 1438700 h 2164296"/>
              <a:gd name="connsiteX103" fmla="*/ 114300 w 2171700"/>
              <a:gd name="connsiteY103" fmla="*/ 1424413 h 2164296"/>
              <a:gd name="connsiteX104" fmla="*/ 95250 w 2171700"/>
              <a:gd name="connsiteY104" fmla="*/ 1405363 h 2164296"/>
              <a:gd name="connsiteX105" fmla="*/ 76200 w 2171700"/>
              <a:gd name="connsiteY105" fmla="*/ 1376788 h 2164296"/>
              <a:gd name="connsiteX106" fmla="*/ 61912 w 2171700"/>
              <a:gd name="connsiteY106" fmla="*/ 1362500 h 2164296"/>
              <a:gd name="connsiteX107" fmla="*/ 52387 w 2171700"/>
              <a:gd name="connsiteY107" fmla="*/ 1348213 h 2164296"/>
              <a:gd name="connsiteX108" fmla="*/ 38100 w 2171700"/>
              <a:gd name="connsiteY108" fmla="*/ 1329163 h 2164296"/>
              <a:gd name="connsiteX109" fmla="*/ 33337 w 2171700"/>
              <a:gd name="connsiteY109" fmla="*/ 1305350 h 2164296"/>
              <a:gd name="connsiteX110" fmla="*/ 9525 w 2171700"/>
              <a:gd name="connsiteY110" fmla="*/ 1257725 h 2164296"/>
              <a:gd name="connsiteX111" fmla="*/ 0 w 2171700"/>
              <a:gd name="connsiteY111" fmla="*/ 1200575 h 2164296"/>
              <a:gd name="connsiteX112" fmla="*/ 4762 w 2171700"/>
              <a:gd name="connsiteY112" fmla="*/ 991025 h 2164296"/>
              <a:gd name="connsiteX113" fmla="*/ 42862 w 2171700"/>
              <a:gd name="connsiteY113" fmla="*/ 929113 h 2164296"/>
              <a:gd name="connsiteX114" fmla="*/ 66675 w 2171700"/>
              <a:gd name="connsiteY114" fmla="*/ 891013 h 2164296"/>
              <a:gd name="connsiteX115" fmla="*/ 85725 w 2171700"/>
              <a:gd name="connsiteY115" fmla="*/ 848150 h 2164296"/>
              <a:gd name="connsiteX116" fmla="*/ 109537 w 2171700"/>
              <a:gd name="connsiteY116" fmla="*/ 795763 h 2164296"/>
              <a:gd name="connsiteX117" fmla="*/ 128587 w 2171700"/>
              <a:gd name="connsiteY117" fmla="*/ 762425 h 2164296"/>
              <a:gd name="connsiteX118" fmla="*/ 147637 w 2171700"/>
              <a:gd name="connsiteY118" fmla="*/ 733850 h 2164296"/>
              <a:gd name="connsiteX119" fmla="*/ 209550 w 2171700"/>
              <a:gd name="connsiteY119" fmla="*/ 610025 h 2164296"/>
              <a:gd name="connsiteX120" fmla="*/ 214312 w 2171700"/>
              <a:gd name="connsiteY120" fmla="*/ 581450 h 2164296"/>
              <a:gd name="connsiteX121" fmla="*/ 238125 w 2171700"/>
              <a:gd name="connsiteY121" fmla="*/ 538588 h 2164296"/>
              <a:gd name="connsiteX122" fmla="*/ 252412 w 2171700"/>
              <a:gd name="connsiteY122" fmla="*/ 500488 h 2164296"/>
              <a:gd name="connsiteX123" fmla="*/ 266700 w 2171700"/>
              <a:gd name="connsiteY123" fmla="*/ 471913 h 2164296"/>
              <a:gd name="connsiteX124" fmla="*/ 276225 w 2171700"/>
              <a:gd name="connsiteY124" fmla="*/ 443338 h 2164296"/>
              <a:gd name="connsiteX125" fmla="*/ 285750 w 2171700"/>
              <a:gd name="connsiteY125" fmla="*/ 429050 h 2164296"/>
              <a:gd name="connsiteX126" fmla="*/ 295275 w 2171700"/>
              <a:gd name="connsiteY126" fmla="*/ 405238 h 2164296"/>
              <a:gd name="connsiteX127" fmla="*/ 314325 w 2171700"/>
              <a:gd name="connsiteY127" fmla="*/ 381425 h 2164296"/>
              <a:gd name="connsiteX128" fmla="*/ 333375 w 2171700"/>
              <a:gd name="connsiteY128" fmla="*/ 333800 h 2164296"/>
              <a:gd name="connsiteX129" fmla="*/ 361950 w 2171700"/>
              <a:gd name="connsiteY129" fmla="*/ 290938 h 2164296"/>
              <a:gd name="connsiteX130" fmla="*/ 385762 w 2171700"/>
              <a:gd name="connsiteY130" fmla="*/ 248075 h 2164296"/>
              <a:gd name="connsiteX131" fmla="*/ 400050 w 2171700"/>
              <a:gd name="connsiteY131" fmla="*/ 229025 h 2164296"/>
              <a:gd name="connsiteX132" fmla="*/ 423862 w 2171700"/>
              <a:gd name="connsiteY132" fmla="*/ 214738 h 2164296"/>
              <a:gd name="connsiteX133" fmla="*/ 447675 w 2171700"/>
              <a:gd name="connsiteY133" fmla="*/ 190925 h 2164296"/>
              <a:gd name="connsiteX134" fmla="*/ 461962 w 2171700"/>
              <a:gd name="connsiteY134" fmla="*/ 181400 h 2164296"/>
              <a:gd name="connsiteX135" fmla="*/ 495300 w 2171700"/>
              <a:gd name="connsiteY135" fmla="*/ 143300 h 2164296"/>
              <a:gd name="connsiteX136" fmla="*/ 509587 w 2171700"/>
              <a:gd name="connsiteY136" fmla="*/ 133775 h 2164296"/>
              <a:gd name="connsiteX137" fmla="*/ 619125 w 2171700"/>
              <a:gd name="connsiteY137" fmla="*/ 71863 h 2164296"/>
              <a:gd name="connsiteX138" fmla="*/ 633412 w 2171700"/>
              <a:gd name="connsiteY138" fmla="*/ 52813 h 2164296"/>
              <a:gd name="connsiteX139" fmla="*/ 652462 w 2171700"/>
              <a:gd name="connsiteY139" fmla="*/ 48050 h 2164296"/>
              <a:gd name="connsiteX140" fmla="*/ 676275 w 2171700"/>
              <a:gd name="connsiteY140" fmla="*/ 38525 h 2164296"/>
              <a:gd name="connsiteX141" fmla="*/ 719137 w 2171700"/>
              <a:gd name="connsiteY141" fmla="*/ 24238 h 2164296"/>
              <a:gd name="connsiteX142" fmla="*/ 747712 w 2171700"/>
              <a:gd name="connsiteY142" fmla="*/ 14713 h 2164296"/>
              <a:gd name="connsiteX143" fmla="*/ 795337 w 2171700"/>
              <a:gd name="connsiteY143" fmla="*/ 9950 h 2164296"/>
              <a:gd name="connsiteX144" fmla="*/ 866775 w 2171700"/>
              <a:gd name="connsiteY14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04937 w 2171700"/>
              <a:gd name="connsiteY67" fmla="*/ 2029250 h 2164296"/>
              <a:gd name="connsiteX68" fmla="*/ 1333500 w 2171700"/>
              <a:gd name="connsiteY68" fmla="*/ 2053063 h 2164296"/>
              <a:gd name="connsiteX69" fmla="*/ 1319212 w 2171700"/>
              <a:gd name="connsiteY69" fmla="*/ 2062588 h 2164296"/>
              <a:gd name="connsiteX70" fmla="*/ 1281112 w 2171700"/>
              <a:gd name="connsiteY70" fmla="*/ 2072113 h 2164296"/>
              <a:gd name="connsiteX71" fmla="*/ 1257300 w 2171700"/>
              <a:gd name="connsiteY71" fmla="*/ 2086400 h 2164296"/>
              <a:gd name="connsiteX72" fmla="*/ 1204912 w 2171700"/>
              <a:gd name="connsiteY72" fmla="*/ 2100688 h 2164296"/>
              <a:gd name="connsiteX73" fmla="*/ 1162050 w 2171700"/>
              <a:gd name="connsiteY73" fmla="*/ 2119738 h 2164296"/>
              <a:gd name="connsiteX74" fmla="*/ 1143000 w 2171700"/>
              <a:gd name="connsiteY74" fmla="*/ 2134025 h 2164296"/>
              <a:gd name="connsiteX75" fmla="*/ 1071562 w 2171700"/>
              <a:gd name="connsiteY75" fmla="*/ 2148313 h 2164296"/>
              <a:gd name="connsiteX76" fmla="*/ 1042987 w 2171700"/>
              <a:gd name="connsiteY76" fmla="*/ 2162600 h 2164296"/>
              <a:gd name="connsiteX77" fmla="*/ 909637 w 2171700"/>
              <a:gd name="connsiteY77" fmla="*/ 2157838 h 2164296"/>
              <a:gd name="connsiteX78" fmla="*/ 800100 w 2171700"/>
              <a:gd name="connsiteY78" fmla="*/ 2105450 h 2164296"/>
              <a:gd name="connsiteX79" fmla="*/ 762000 w 2171700"/>
              <a:gd name="connsiteY79" fmla="*/ 2091163 h 2164296"/>
              <a:gd name="connsiteX80" fmla="*/ 714375 w 2171700"/>
              <a:gd name="connsiteY80" fmla="*/ 2062588 h 2164296"/>
              <a:gd name="connsiteX81" fmla="*/ 657225 w 2171700"/>
              <a:gd name="connsiteY81" fmla="*/ 2038775 h 2164296"/>
              <a:gd name="connsiteX82" fmla="*/ 623887 w 2171700"/>
              <a:gd name="connsiteY82" fmla="*/ 2005438 h 2164296"/>
              <a:gd name="connsiteX83" fmla="*/ 585787 w 2171700"/>
              <a:gd name="connsiteY83" fmla="*/ 1976863 h 2164296"/>
              <a:gd name="connsiteX84" fmla="*/ 571500 w 2171700"/>
              <a:gd name="connsiteY84" fmla="*/ 1957813 h 2164296"/>
              <a:gd name="connsiteX85" fmla="*/ 557212 w 2171700"/>
              <a:gd name="connsiteY85" fmla="*/ 1934000 h 2164296"/>
              <a:gd name="connsiteX86" fmla="*/ 523875 w 2171700"/>
              <a:gd name="connsiteY86" fmla="*/ 1895900 h 2164296"/>
              <a:gd name="connsiteX87" fmla="*/ 495300 w 2171700"/>
              <a:gd name="connsiteY87" fmla="*/ 1848275 h 2164296"/>
              <a:gd name="connsiteX88" fmla="*/ 471487 w 2171700"/>
              <a:gd name="connsiteY88" fmla="*/ 1819700 h 2164296"/>
              <a:gd name="connsiteX89" fmla="*/ 447675 w 2171700"/>
              <a:gd name="connsiteY89" fmla="*/ 1781600 h 2164296"/>
              <a:gd name="connsiteX90" fmla="*/ 400050 w 2171700"/>
              <a:gd name="connsiteY90" fmla="*/ 1738738 h 2164296"/>
              <a:gd name="connsiteX91" fmla="*/ 381000 w 2171700"/>
              <a:gd name="connsiteY91" fmla="*/ 1705400 h 2164296"/>
              <a:gd name="connsiteX92" fmla="*/ 366712 w 2171700"/>
              <a:gd name="connsiteY92" fmla="*/ 1686350 h 2164296"/>
              <a:gd name="connsiteX93" fmla="*/ 347662 w 2171700"/>
              <a:gd name="connsiteY93" fmla="*/ 1657775 h 2164296"/>
              <a:gd name="connsiteX94" fmla="*/ 290512 w 2171700"/>
              <a:gd name="connsiteY94" fmla="*/ 1600625 h 2164296"/>
              <a:gd name="connsiteX95" fmla="*/ 266700 w 2171700"/>
              <a:gd name="connsiteY95" fmla="*/ 1576813 h 2164296"/>
              <a:gd name="connsiteX96" fmla="*/ 252412 w 2171700"/>
              <a:gd name="connsiteY96" fmla="*/ 1562525 h 2164296"/>
              <a:gd name="connsiteX97" fmla="*/ 214312 w 2171700"/>
              <a:gd name="connsiteY97" fmla="*/ 1538713 h 2164296"/>
              <a:gd name="connsiteX98" fmla="*/ 190500 w 2171700"/>
              <a:gd name="connsiteY98" fmla="*/ 1510138 h 2164296"/>
              <a:gd name="connsiteX99" fmla="*/ 166687 w 2171700"/>
              <a:gd name="connsiteY99" fmla="*/ 1491088 h 2164296"/>
              <a:gd name="connsiteX100" fmla="*/ 147637 w 2171700"/>
              <a:gd name="connsiteY100" fmla="*/ 1462513 h 2164296"/>
              <a:gd name="connsiteX101" fmla="*/ 123825 w 2171700"/>
              <a:gd name="connsiteY101" fmla="*/ 1438700 h 2164296"/>
              <a:gd name="connsiteX102" fmla="*/ 114300 w 2171700"/>
              <a:gd name="connsiteY102" fmla="*/ 1424413 h 2164296"/>
              <a:gd name="connsiteX103" fmla="*/ 95250 w 2171700"/>
              <a:gd name="connsiteY103" fmla="*/ 1405363 h 2164296"/>
              <a:gd name="connsiteX104" fmla="*/ 76200 w 2171700"/>
              <a:gd name="connsiteY104" fmla="*/ 1376788 h 2164296"/>
              <a:gd name="connsiteX105" fmla="*/ 61912 w 2171700"/>
              <a:gd name="connsiteY105" fmla="*/ 1362500 h 2164296"/>
              <a:gd name="connsiteX106" fmla="*/ 52387 w 2171700"/>
              <a:gd name="connsiteY106" fmla="*/ 1348213 h 2164296"/>
              <a:gd name="connsiteX107" fmla="*/ 38100 w 2171700"/>
              <a:gd name="connsiteY107" fmla="*/ 1329163 h 2164296"/>
              <a:gd name="connsiteX108" fmla="*/ 33337 w 2171700"/>
              <a:gd name="connsiteY108" fmla="*/ 1305350 h 2164296"/>
              <a:gd name="connsiteX109" fmla="*/ 9525 w 2171700"/>
              <a:gd name="connsiteY109" fmla="*/ 1257725 h 2164296"/>
              <a:gd name="connsiteX110" fmla="*/ 0 w 2171700"/>
              <a:gd name="connsiteY110" fmla="*/ 1200575 h 2164296"/>
              <a:gd name="connsiteX111" fmla="*/ 4762 w 2171700"/>
              <a:gd name="connsiteY111" fmla="*/ 991025 h 2164296"/>
              <a:gd name="connsiteX112" fmla="*/ 42862 w 2171700"/>
              <a:gd name="connsiteY112" fmla="*/ 929113 h 2164296"/>
              <a:gd name="connsiteX113" fmla="*/ 66675 w 2171700"/>
              <a:gd name="connsiteY113" fmla="*/ 891013 h 2164296"/>
              <a:gd name="connsiteX114" fmla="*/ 85725 w 2171700"/>
              <a:gd name="connsiteY114" fmla="*/ 848150 h 2164296"/>
              <a:gd name="connsiteX115" fmla="*/ 109537 w 2171700"/>
              <a:gd name="connsiteY115" fmla="*/ 795763 h 2164296"/>
              <a:gd name="connsiteX116" fmla="*/ 128587 w 2171700"/>
              <a:gd name="connsiteY116" fmla="*/ 762425 h 2164296"/>
              <a:gd name="connsiteX117" fmla="*/ 147637 w 2171700"/>
              <a:gd name="connsiteY117" fmla="*/ 733850 h 2164296"/>
              <a:gd name="connsiteX118" fmla="*/ 209550 w 2171700"/>
              <a:gd name="connsiteY118" fmla="*/ 610025 h 2164296"/>
              <a:gd name="connsiteX119" fmla="*/ 214312 w 2171700"/>
              <a:gd name="connsiteY119" fmla="*/ 581450 h 2164296"/>
              <a:gd name="connsiteX120" fmla="*/ 238125 w 2171700"/>
              <a:gd name="connsiteY120" fmla="*/ 538588 h 2164296"/>
              <a:gd name="connsiteX121" fmla="*/ 252412 w 2171700"/>
              <a:gd name="connsiteY121" fmla="*/ 500488 h 2164296"/>
              <a:gd name="connsiteX122" fmla="*/ 266700 w 2171700"/>
              <a:gd name="connsiteY122" fmla="*/ 471913 h 2164296"/>
              <a:gd name="connsiteX123" fmla="*/ 276225 w 2171700"/>
              <a:gd name="connsiteY123" fmla="*/ 443338 h 2164296"/>
              <a:gd name="connsiteX124" fmla="*/ 285750 w 2171700"/>
              <a:gd name="connsiteY124" fmla="*/ 429050 h 2164296"/>
              <a:gd name="connsiteX125" fmla="*/ 295275 w 2171700"/>
              <a:gd name="connsiteY125" fmla="*/ 405238 h 2164296"/>
              <a:gd name="connsiteX126" fmla="*/ 314325 w 2171700"/>
              <a:gd name="connsiteY126" fmla="*/ 381425 h 2164296"/>
              <a:gd name="connsiteX127" fmla="*/ 333375 w 2171700"/>
              <a:gd name="connsiteY127" fmla="*/ 333800 h 2164296"/>
              <a:gd name="connsiteX128" fmla="*/ 361950 w 2171700"/>
              <a:gd name="connsiteY128" fmla="*/ 290938 h 2164296"/>
              <a:gd name="connsiteX129" fmla="*/ 385762 w 2171700"/>
              <a:gd name="connsiteY129" fmla="*/ 248075 h 2164296"/>
              <a:gd name="connsiteX130" fmla="*/ 400050 w 2171700"/>
              <a:gd name="connsiteY130" fmla="*/ 229025 h 2164296"/>
              <a:gd name="connsiteX131" fmla="*/ 423862 w 2171700"/>
              <a:gd name="connsiteY131" fmla="*/ 214738 h 2164296"/>
              <a:gd name="connsiteX132" fmla="*/ 447675 w 2171700"/>
              <a:gd name="connsiteY132" fmla="*/ 190925 h 2164296"/>
              <a:gd name="connsiteX133" fmla="*/ 461962 w 2171700"/>
              <a:gd name="connsiteY133" fmla="*/ 181400 h 2164296"/>
              <a:gd name="connsiteX134" fmla="*/ 495300 w 2171700"/>
              <a:gd name="connsiteY134" fmla="*/ 143300 h 2164296"/>
              <a:gd name="connsiteX135" fmla="*/ 509587 w 2171700"/>
              <a:gd name="connsiteY135" fmla="*/ 133775 h 2164296"/>
              <a:gd name="connsiteX136" fmla="*/ 619125 w 2171700"/>
              <a:gd name="connsiteY136" fmla="*/ 71863 h 2164296"/>
              <a:gd name="connsiteX137" fmla="*/ 633412 w 2171700"/>
              <a:gd name="connsiteY137" fmla="*/ 52813 h 2164296"/>
              <a:gd name="connsiteX138" fmla="*/ 652462 w 2171700"/>
              <a:gd name="connsiteY138" fmla="*/ 48050 h 2164296"/>
              <a:gd name="connsiteX139" fmla="*/ 676275 w 2171700"/>
              <a:gd name="connsiteY139" fmla="*/ 38525 h 2164296"/>
              <a:gd name="connsiteX140" fmla="*/ 719137 w 2171700"/>
              <a:gd name="connsiteY140" fmla="*/ 24238 h 2164296"/>
              <a:gd name="connsiteX141" fmla="*/ 747712 w 2171700"/>
              <a:gd name="connsiteY141" fmla="*/ 14713 h 2164296"/>
              <a:gd name="connsiteX142" fmla="*/ 795337 w 2171700"/>
              <a:gd name="connsiteY142" fmla="*/ 9950 h 2164296"/>
              <a:gd name="connsiteX143" fmla="*/ 866775 w 2171700"/>
              <a:gd name="connsiteY14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19312 w 2171700"/>
              <a:gd name="connsiteY36" fmla="*/ 1048175 h 2164296"/>
              <a:gd name="connsiteX37" fmla="*/ 2124075 w 2171700"/>
              <a:gd name="connsiteY37" fmla="*/ 1086275 h 2164296"/>
              <a:gd name="connsiteX38" fmla="*/ 2128837 w 2171700"/>
              <a:gd name="connsiteY38" fmla="*/ 1148188 h 2164296"/>
              <a:gd name="connsiteX39" fmla="*/ 2143125 w 2171700"/>
              <a:gd name="connsiteY39" fmla="*/ 1191050 h 2164296"/>
              <a:gd name="connsiteX40" fmla="*/ 2147887 w 2171700"/>
              <a:gd name="connsiteY40" fmla="*/ 1224388 h 2164296"/>
              <a:gd name="connsiteX41" fmla="*/ 2166937 w 2171700"/>
              <a:gd name="connsiteY41" fmla="*/ 1276775 h 2164296"/>
              <a:gd name="connsiteX42" fmla="*/ 2171700 w 2171700"/>
              <a:gd name="connsiteY42" fmla="*/ 1300588 h 2164296"/>
              <a:gd name="connsiteX43" fmla="*/ 2166937 w 2171700"/>
              <a:gd name="connsiteY43" fmla="*/ 1514900 h 2164296"/>
              <a:gd name="connsiteX44" fmla="*/ 2157412 w 2171700"/>
              <a:gd name="connsiteY44" fmla="*/ 1529188 h 2164296"/>
              <a:gd name="connsiteX45" fmla="*/ 2147887 w 2171700"/>
              <a:gd name="connsiteY45" fmla="*/ 1562525 h 2164296"/>
              <a:gd name="connsiteX46" fmla="*/ 2138362 w 2171700"/>
              <a:gd name="connsiteY46" fmla="*/ 1576813 h 2164296"/>
              <a:gd name="connsiteX47" fmla="*/ 2133600 w 2171700"/>
              <a:gd name="connsiteY47" fmla="*/ 1600625 h 2164296"/>
              <a:gd name="connsiteX48" fmla="*/ 2119312 w 2171700"/>
              <a:gd name="connsiteY48" fmla="*/ 1614913 h 2164296"/>
              <a:gd name="connsiteX49" fmla="*/ 2109787 w 2171700"/>
              <a:gd name="connsiteY49" fmla="*/ 1629200 h 2164296"/>
              <a:gd name="connsiteX50" fmla="*/ 2081212 w 2171700"/>
              <a:gd name="connsiteY50" fmla="*/ 1657775 h 2164296"/>
              <a:gd name="connsiteX51" fmla="*/ 2052637 w 2171700"/>
              <a:gd name="connsiteY51" fmla="*/ 1686350 h 2164296"/>
              <a:gd name="connsiteX52" fmla="*/ 2043112 w 2171700"/>
              <a:gd name="connsiteY52" fmla="*/ 1700638 h 2164296"/>
              <a:gd name="connsiteX53" fmla="*/ 2028825 w 2171700"/>
              <a:gd name="connsiteY53" fmla="*/ 1710163 h 2164296"/>
              <a:gd name="connsiteX54" fmla="*/ 2005012 w 2171700"/>
              <a:gd name="connsiteY54" fmla="*/ 1724450 h 2164296"/>
              <a:gd name="connsiteX55" fmla="*/ 1981200 w 2171700"/>
              <a:gd name="connsiteY55" fmla="*/ 1743500 h 2164296"/>
              <a:gd name="connsiteX56" fmla="*/ 1909762 w 2171700"/>
              <a:gd name="connsiteY56" fmla="*/ 1772075 h 2164296"/>
              <a:gd name="connsiteX57" fmla="*/ 1890712 w 2171700"/>
              <a:gd name="connsiteY57" fmla="*/ 1786363 h 2164296"/>
              <a:gd name="connsiteX58" fmla="*/ 1843087 w 2171700"/>
              <a:gd name="connsiteY58" fmla="*/ 1814938 h 2164296"/>
              <a:gd name="connsiteX59" fmla="*/ 1828800 w 2171700"/>
              <a:gd name="connsiteY59" fmla="*/ 1833988 h 2164296"/>
              <a:gd name="connsiteX60" fmla="*/ 1776412 w 2171700"/>
              <a:gd name="connsiteY60" fmla="*/ 1862563 h 2164296"/>
              <a:gd name="connsiteX61" fmla="*/ 1728787 w 2171700"/>
              <a:gd name="connsiteY61" fmla="*/ 1872088 h 2164296"/>
              <a:gd name="connsiteX62" fmla="*/ 1709737 w 2171700"/>
              <a:gd name="connsiteY62" fmla="*/ 1881613 h 2164296"/>
              <a:gd name="connsiteX63" fmla="*/ 1647825 w 2171700"/>
              <a:gd name="connsiteY63" fmla="*/ 1895900 h 2164296"/>
              <a:gd name="connsiteX64" fmla="*/ 1619250 w 2171700"/>
              <a:gd name="connsiteY64" fmla="*/ 1910188 h 2164296"/>
              <a:gd name="connsiteX65" fmla="*/ 1571625 w 2171700"/>
              <a:gd name="connsiteY65" fmla="*/ 1929238 h 2164296"/>
              <a:gd name="connsiteX66" fmla="*/ 1404937 w 2171700"/>
              <a:gd name="connsiteY66" fmla="*/ 2029250 h 2164296"/>
              <a:gd name="connsiteX67" fmla="*/ 1333500 w 2171700"/>
              <a:gd name="connsiteY67" fmla="*/ 2053063 h 2164296"/>
              <a:gd name="connsiteX68" fmla="*/ 1319212 w 2171700"/>
              <a:gd name="connsiteY68" fmla="*/ 2062588 h 2164296"/>
              <a:gd name="connsiteX69" fmla="*/ 1281112 w 2171700"/>
              <a:gd name="connsiteY69" fmla="*/ 2072113 h 2164296"/>
              <a:gd name="connsiteX70" fmla="*/ 1257300 w 2171700"/>
              <a:gd name="connsiteY70" fmla="*/ 2086400 h 2164296"/>
              <a:gd name="connsiteX71" fmla="*/ 1204912 w 2171700"/>
              <a:gd name="connsiteY71" fmla="*/ 2100688 h 2164296"/>
              <a:gd name="connsiteX72" fmla="*/ 1162050 w 2171700"/>
              <a:gd name="connsiteY72" fmla="*/ 2119738 h 2164296"/>
              <a:gd name="connsiteX73" fmla="*/ 1143000 w 2171700"/>
              <a:gd name="connsiteY73" fmla="*/ 2134025 h 2164296"/>
              <a:gd name="connsiteX74" fmla="*/ 1071562 w 2171700"/>
              <a:gd name="connsiteY74" fmla="*/ 2148313 h 2164296"/>
              <a:gd name="connsiteX75" fmla="*/ 1042987 w 2171700"/>
              <a:gd name="connsiteY75" fmla="*/ 2162600 h 2164296"/>
              <a:gd name="connsiteX76" fmla="*/ 909637 w 2171700"/>
              <a:gd name="connsiteY76" fmla="*/ 2157838 h 2164296"/>
              <a:gd name="connsiteX77" fmla="*/ 800100 w 2171700"/>
              <a:gd name="connsiteY77" fmla="*/ 2105450 h 2164296"/>
              <a:gd name="connsiteX78" fmla="*/ 762000 w 2171700"/>
              <a:gd name="connsiteY78" fmla="*/ 2091163 h 2164296"/>
              <a:gd name="connsiteX79" fmla="*/ 714375 w 2171700"/>
              <a:gd name="connsiteY79" fmla="*/ 2062588 h 2164296"/>
              <a:gd name="connsiteX80" fmla="*/ 657225 w 2171700"/>
              <a:gd name="connsiteY80" fmla="*/ 2038775 h 2164296"/>
              <a:gd name="connsiteX81" fmla="*/ 623887 w 2171700"/>
              <a:gd name="connsiteY81" fmla="*/ 2005438 h 2164296"/>
              <a:gd name="connsiteX82" fmla="*/ 585787 w 2171700"/>
              <a:gd name="connsiteY82" fmla="*/ 1976863 h 2164296"/>
              <a:gd name="connsiteX83" fmla="*/ 571500 w 2171700"/>
              <a:gd name="connsiteY83" fmla="*/ 1957813 h 2164296"/>
              <a:gd name="connsiteX84" fmla="*/ 557212 w 2171700"/>
              <a:gd name="connsiteY84" fmla="*/ 1934000 h 2164296"/>
              <a:gd name="connsiteX85" fmla="*/ 523875 w 2171700"/>
              <a:gd name="connsiteY85" fmla="*/ 1895900 h 2164296"/>
              <a:gd name="connsiteX86" fmla="*/ 495300 w 2171700"/>
              <a:gd name="connsiteY86" fmla="*/ 1848275 h 2164296"/>
              <a:gd name="connsiteX87" fmla="*/ 471487 w 2171700"/>
              <a:gd name="connsiteY87" fmla="*/ 1819700 h 2164296"/>
              <a:gd name="connsiteX88" fmla="*/ 447675 w 2171700"/>
              <a:gd name="connsiteY88" fmla="*/ 1781600 h 2164296"/>
              <a:gd name="connsiteX89" fmla="*/ 400050 w 2171700"/>
              <a:gd name="connsiteY89" fmla="*/ 1738738 h 2164296"/>
              <a:gd name="connsiteX90" fmla="*/ 381000 w 2171700"/>
              <a:gd name="connsiteY90" fmla="*/ 1705400 h 2164296"/>
              <a:gd name="connsiteX91" fmla="*/ 366712 w 2171700"/>
              <a:gd name="connsiteY91" fmla="*/ 1686350 h 2164296"/>
              <a:gd name="connsiteX92" fmla="*/ 347662 w 2171700"/>
              <a:gd name="connsiteY92" fmla="*/ 1657775 h 2164296"/>
              <a:gd name="connsiteX93" fmla="*/ 290512 w 2171700"/>
              <a:gd name="connsiteY93" fmla="*/ 1600625 h 2164296"/>
              <a:gd name="connsiteX94" fmla="*/ 266700 w 2171700"/>
              <a:gd name="connsiteY94" fmla="*/ 1576813 h 2164296"/>
              <a:gd name="connsiteX95" fmla="*/ 252412 w 2171700"/>
              <a:gd name="connsiteY95" fmla="*/ 1562525 h 2164296"/>
              <a:gd name="connsiteX96" fmla="*/ 214312 w 2171700"/>
              <a:gd name="connsiteY96" fmla="*/ 1538713 h 2164296"/>
              <a:gd name="connsiteX97" fmla="*/ 190500 w 2171700"/>
              <a:gd name="connsiteY97" fmla="*/ 1510138 h 2164296"/>
              <a:gd name="connsiteX98" fmla="*/ 166687 w 2171700"/>
              <a:gd name="connsiteY98" fmla="*/ 1491088 h 2164296"/>
              <a:gd name="connsiteX99" fmla="*/ 147637 w 2171700"/>
              <a:gd name="connsiteY99" fmla="*/ 1462513 h 2164296"/>
              <a:gd name="connsiteX100" fmla="*/ 123825 w 2171700"/>
              <a:gd name="connsiteY100" fmla="*/ 1438700 h 2164296"/>
              <a:gd name="connsiteX101" fmla="*/ 114300 w 2171700"/>
              <a:gd name="connsiteY101" fmla="*/ 1424413 h 2164296"/>
              <a:gd name="connsiteX102" fmla="*/ 95250 w 2171700"/>
              <a:gd name="connsiteY102" fmla="*/ 1405363 h 2164296"/>
              <a:gd name="connsiteX103" fmla="*/ 76200 w 2171700"/>
              <a:gd name="connsiteY103" fmla="*/ 1376788 h 2164296"/>
              <a:gd name="connsiteX104" fmla="*/ 61912 w 2171700"/>
              <a:gd name="connsiteY104" fmla="*/ 1362500 h 2164296"/>
              <a:gd name="connsiteX105" fmla="*/ 52387 w 2171700"/>
              <a:gd name="connsiteY105" fmla="*/ 1348213 h 2164296"/>
              <a:gd name="connsiteX106" fmla="*/ 38100 w 2171700"/>
              <a:gd name="connsiteY106" fmla="*/ 1329163 h 2164296"/>
              <a:gd name="connsiteX107" fmla="*/ 33337 w 2171700"/>
              <a:gd name="connsiteY107" fmla="*/ 1305350 h 2164296"/>
              <a:gd name="connsiteX108" fmla="*/ 9525 w 2171700"/>
              <a:gd name="connsiteY108" fmla="*/ 1257725 h 2164296"/>
              <a:gd name="connsiteX109" fmla="*/ 0 w 2171700"/>
              <a:gd name="connsiteY109" fmla="*/ 1200575 h 2164296"/>
              <a:gd name="connsiteX110" fmla="*/ 4762 w 2171700"/>
              <a:gd name="connsiteY110" fmla="*/ 991025 h 2164296"/>
              <a:gd name="connsiteX111" fmla="*/ 42862 w 2171700"/>
              <a:gd name="connsiteY111" fmla="*/ 929113 h 2164296"/>
              <a:gd name="connsiteX112" fmla="*/ 66675 w 2171700"/>
              <a:gd name="connsiteY112" fmla="*/ 891013 h 2164296"/>
              <a:gd name="connsiteX113" fmla="*/ 85725 w 2171700"/>
              <a:gd name="connsiteY113" fmla="*/ 848150 h 2164296"/>
              <a:gd name="connsiteX114" fmla="*/ 109537 w 2171700"/>
              <a:gd name="connsiteY114" fmla="*/ 795763 h 2164296"/>
              <a:gd name="connsiteX115" fmla="*/ 128587 w 2171700"/>
              <a:gd name="connsiteY115" fmla="*/ 762425 h 2164296"/>
              <a:gd name="connsiteX116" fmla="*/ 147637 w 2171700"/>
              <a:gd name="connsiteY116" fmla="*/ 733850 h 2164296"/>
              <a:gd name="connsiteX117" fmla="*/ 209550 w 2171700"/>
              <a:gd name="connsiteY117" fmla="*/ 610025 h 2164296"/>
              <a:gd name="connsiteX118" fmla="*/ 214312 w 2171700"/>
              <a:gd name="connsiteY118" fmla="*/ 581450 h 2164296"/>
              <a:gd name="connsiteX119" fmla="*/ 238125 w 2171700"/>
              <a:gd name="connsiteY119" fmla="*/ 538588 h 2164296"/>
              <a:gd name="connsiteX120" fmla="*/ 252412 w 2171700"/>
              <a:gd name="connsiteY120" fmla="*/ 500488 h 2164296"/>
              <a:gd name="connsiteX121" fmla="*/ 266700 w 2171700"/>
              <a:gd name="connsiteY121" fmla="*/ 471913 h 2164296"/>
              <a:gd name="connsiteX122" fmla="*/ 276225 w 2171700"/>
              <a:gd name="connsiteY122" fmla="*/ 443338 h 2164296"/>
              <a:gd name="connsiteX123" fmla="*/ 285750 w 2171700"/>
              <a:gd name="connsiteY123" fmla="*/ 429050 h 2164296"/>
              <a:gd name="connsiteX124" fmla="*/ 295275 w 2171700"/>
              <a:gd name="connsiteY124" fmla="*/ 405238 h 2164296"/>
              <a:gd name="connsiteX125" fmla="*/ 314325 w 2171700"/>
              <a:gd name="connsiteY125" fmla="*/ 381425 h 2164296"/>
              <a:gd name="connsiteX126" fmla="*/ 333375 w 2171700"/>
              <a:gd name="connsiteY126" fmla="*/ 333800 h 2164296"/>
              <a:gd name="connsiteX127" fmla="*/ 361950 w 2171700"/>
              <a:gd name="connsiteY127" fmla="*/ 290938 h 2164296"/>
              <a:gd name="connsiteX128" fmla="*/ 385762 w 2171700"/>
              <a:gd name="connsiteY128" fmla="*/ 248075 h 2164296"/>
              <a:gd name="connsiteX129" fmla="*/ 400050 w 2171700"/>
              <a:gd name="connsiteY129" fmla="*/ 229025 h 2164296"/>
              <a:gd name="connsiteX130" fmla="*/ 423862 w 2171700"/>
              <a:gd name="connsiteY130" fmla="*/ 214738 h 2164296"/>
              <a:gd name="connsiteX131" fmla="*/ 447675 w 2171700"/>
              <a:gd name="connsiteY131" fmla="*/ 190925 h 2164296"/>
              <a:gd name="connsiteX132" fmla="*/ 461962 w 2171700"/>
              <a:gd name="connsiteY132" fmla="*/ 181400 h 2164296"/>
              <a:gd name="connsiteX133" fmla="*/ 495300 w 2171700"/>
              <a:gd name="connsiteY133" fmla="*/ 143300 h 2164296"/>
              <a:gd name="connsiteX134" fmla="*/ 509587 w 2171700"/>
              <a:gd name="connsiteY134" fmla="*/ 133775 h 2164296"/>
              <a:gd name="connsiteX135" fmla="*/ 619125 w 2171700"/>
              <a:gd name="connsiteY135" fmla="*/ 71863 h 2164296"/>
              <a:gd name="connsiteX136" fmla="*/ 633412 w 2171700"/>
              <a:gd name="connsiteY136" fmla="*/ 52813 h 2164296"/>
              <a:gd name="connsiteX137" fmla="*/ 652462 w 2171700"/>
              <a:gd name="connsiteY137" fmla="*/ 48050 h 2164296"/>
              <a:gd name="connsiteX138" fmla="*/ 676275 w 2171700"/>
              <a:gd name="connsiteY138" fmla="*/ 38525 h 2164296"/>
              <a:gd name="connsiteX139" fmla="*/ 719137 w 2171700"/>
              <a:gd name="connsiteY139" fmla="*/ 24238 h 2164296"/>
              <a:gd name="connsiteX140" fmla="*/ 747712 w 2171700"/>
              <a:gd name="connsiteY140" fmla="*/ 14713 h 2164296"/>
              <a:gd name="connsiteX141" fmla="*/ 795337 w 2171700"/>
              <a:gd name="connsiteY141" fmla="*/ 9950 h 2164296"/>
              <a:gd name="connsiteX142" fmla="*/ 866775 w 2171700"/>
              <a:gd name="connsiteY14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24075 w 2171700"/>
              <a:gd name="connsiteY36" fmla="*/ 1086275 h 2164296"/>
              <a:gd name="connsiteX37" fmla="*/ 2128837 w 2171700"/>
              <a:gd name="connsiteY37" fmla="*/ 1148188 h 2164296"/>
              <a:gd name="connsiteX38" fmla="*/ 2143125 w 2171700"/>
              <a:gd name="connsiteY38" fmla="*/ 1191050 h 2164296"/>
              <a:gd name="connsiteX39" fmla="*/ 2147887 w 2171700"/>
              <a:gd name="connsiteY39" fmla="*/ 1224388 h 2164296"/>
              <a:gd name="connsiteX40" fmla="*/ 2166937 w 2171700"/>
              <a:gd name="connsiteY40" fmla="*/ 1276775 h 2164296"/>
              <a:gd name="connsiteX41" fmla="*/ 2171700 w 2171700"/>
              <a:gd name="connsiteY41" fmla="*/ 1300588 h 2164296"/>
              <a:gd name="connsiteX42" fmla="*/ 2166937 w 2171700"/>
              <a:gd name="connsiteY42" fmla="*/ 1514900 h 2164296"/>
              <a:gd name="connsiteX43" fmla="*/ 2157412 w 2171700"/>
              <a:gd name="connsiteY43" fmla="*/ 1529188 h 2164296"/>
              <a:gd name="connsiteX44" fmla="*/ 2147887 w 2171700"/>
              <a:gd name="connsiteY44" fmla="*/ 1562525 h 2164296"/>
              <a:gd name="connsiteX45" fmla="*/ 2138362 w 2171700"/>
              <a:gd name="connsiteY45" fmla="*/ 1576813 h 2164296"/>
              <a:gd name="connsiteX46" fmla="*/ 2133600 w 2171700"/>
              <a:gd name="connsiteY46" fmla="*/ 1600625 h 2164296"/>
              <a:gd name="connsiteX47" fmla="*/ 2119312 w 2171700"/>
              <a:gd name="connsiteY47" fmla="*/ 1614913 h 2164296"/>
              <a:gd name="connsiteX48" fmla="*/ 2109787 w 2171700"/>
              <a:gd name="connsiteY48" fmla="*/ 1629200 h 2164296"/>
              <a:gd name="connsiteX49" fmla="*/ 2081212 w 2171700"/>
              <a:gd name="connsiteY49" fmla="*/ 1657775 h 2164296"/>
              <a:gd name="connsiteX50" fmla="*/ 2052637 w 2171700"/>
              <a:gd name="connsiteY50" fmla="*/ 1686350 h 2164296"/>
              <a:gd name="connsiteX51" fmla="*/ 2043112 w 2171700"/>
              <a:gd name="connsiteY51" fmla="*/ 1700638 h 2164296"/>
              <a:gd name="connsiteX52" fmla="*/ 2028825 w 2171700"/>
              <a:gd name="connsiteY52" fmla="*/ 1710163 h 2164296"/>
              <a:gd name="connsiteX53" fmla="*/ 2005012 w 2171700"/>
              <a:gd name="connsiteY53" fmla="*/ 1724450 h 2164296"/>
              <a:gd name="connsiteX54" fmla="*/ 1981200 w 2171700"/>
              <a:gd name="connsiteY54" fmla="*/ 1743500 h 2164296"/>
              <a:gd name="connsiteX55" fmla="*/ 1909762 w 2171700"/>
              <a:gd name="connsiteY55" fmla="*/ 1772075 h 2164296"/>
              <a:gd name="connsiteX56" fmla="*/ 1890712 w 2171700"/>
              <a:gd name="connsiteY56" fmla="*/ 1786363 h 2164296"/>
              <a:gd name="connsiteX57" fmla="*/ 1843087 w 2171700"/>
              <a:gd name="connsiteY57" fmla="*/ 1814938 h 2164296"/>
              <a:gd name="connsiteX58" fmla="*/ 1828800 w 2171700"/>
              <a:gd name="connsiteY58" fmla="*/ 1833988 h 2164296"/>
              <a:gd name="connsiteX59" fmla="*/ 1776412 w 2171700"/>
              <a:gd name="connsiteY59" fmla="*/ 1862563 h 2164296"/>
              <a:gd name="connsiteX60" fmla="*/ 1728787 w 2171700"/>
              <a:gd name="connsiteY60" fmla="*/ 1872088 h 2164296"/>
              <a:gd name="connsiteX61" fmla="*/ 1709737 w 2171700"/>
              <a:gd name="connsiteY61" fmla="*/ 1881613 h 2164296"/>
              <a:gd name="connsiteX62" fmla="*/ 1647825 w 2171700"/>
              <a:gd name="connsiteY62" fmla="*/ 1895900 h 2164296"/>
              <a:gd name="connsiteX63" fmla="*/ 1619250 w 2171700"/>
              <a:gd name="connsiteY63" fmla="*/ 1910188 h 2164296"/>
              <a:gd name="connsiteX64" fmla="*/ 1571625 w 2171700"/>
              <a:gd name="connsiteY64" fmla="*/ 1929238 h 2164296"/>
              <a:gd name="connsiteX65" fmla="*/ 1404937 w 2171700"/>
              <a:gd name="connsiteY65" fmla="*/ 2029250 h 2164296"/>
              <a:gd name="connsiteX66" fmla="*/ 1333500 w 2171700"/>
              <a:gd name="connsiteY66" fmla="*/ 2053063 h 2164296"/>
              <a:gd name="connsiteX67" fmla="*/ 1319212 w 2171700"/>
              <a:gd name="connsiteY67" fmla="*/ 2062588 h 2164296"/>
              <a:gd name="connsiteX68" fmla="*/ 1281112 w 2171700"/>
              <a:gd name="connsiteY68" fmla="*/ 2072113 h 2164296"/>
              <a:gd name="connsiteX69" fmla="*/ 1257300 w 2171700"/>
              <a:gd name="connsiteY69" fmla="*/ 2086400 h 2164296"/>
              <a:gd name="connsiteX70" fmla="*/ 1204912 w 2171700"/>
              <a:gd name="connsiteY70" fmla="*/ 2100688 h 2164296"/>
              <a:gd name="connsiteX71" fmla="*/ 1162050 w 2171700"/>
              <a:gd name="connsiteY71" fmla="*/ 2119738 h 2164296"/>
              <a:gd name="connsiteX72" fmla="*/ 1143000 w 2171700"/>
              <a:gd name="connsiteY72" fmla="*/ 2134025 h 2164296"/>
              <a:gd name="connsiteX73" fmla="*/ 1071562 w 2171700"/>
              <a:gd name="connsiteY73" fmla="*/ 2148313 h 2164296"/>
              <a:gd name="connsiteX74" fmla="*/ 1042987 w 2171700"/>
              <a:gd name="connsiteY74" fmla="*/ 2162600 h 2164296"/>
              <a:gd name="connsiteX75" fmla="*/ 909637 w 2171700"/>
              <a:gd name="connsiteY75" fmla="*/ 2157838 h 2164296"/>
              <a:gd name="connsiteX76" fmla="*/ 800100 w 2171700"/>
              <a:gd name="connsiteY76" fmla="*/ 2105450 h 2164296"/>
              <a:gd name="connsiteX77" fmla="*/ 762000 w 2171700"/>
              <a:gd name="connsiteY77" fmla="*/ 2091163 h 2164296"/>
              <a:gd name="connsiteX78" fmla="*/ 714375 w 2171700"/>
              <a:gd name="connsiteY78" fmla="*/ 2062588 h 2164296"/>
              <a:gd name="connsiteX79" fmla="*/ 657225 w 2171700"/>
              <a:gd name="connsiteY79" fmla="*/ 2038775 h 2164296"/>
              <a:gd name="connsiteX80" fmla="*/ 623887 w 2171700"/>
              <a:gd name="connsiteY80" fmla="*/ 2005438 h 2164296"/>
              <a:gd name="connsiteX81" fmla="*/ 585787 w 2171700"/>
              <a:gd name="connsiteY81" fmla="*/ 1976863 h 2164296"/>
              <a:gd name="connsiteX82" fmla="*/ 571500 w 2171700"/>
              <a:gd name="connsiteY82" fmla="*/ 1957813 h 2164296"/>
              <a:gd name="connsiteX83" fmla="*/ 557212 w 2171700"/>
              <a:gd name="connsiteY83" fmla="*/ 1934000 h 2164296"/>
              <a:gd name="connsiteX84" fmla="*/ 523875 w 2171700"/>
              <a:gd name="connsiteY84" fmla="*/ 1895900 h 2164296"/>
              <a:gd name="connsiteX85" fmla="*/ 495300 w 2171700"/>
              <a:gd name="connsiteY85" fmla="*/ 1848275 h 2164296"/>
              <a:gd name="connsiteX86" fmla="*/ 471487 w 2171700"/>
              <a:gd name="connsiteY86" fmla="*/ 1819700 h 2164296"/>
              <a:gd name="connsiteX87" fmla="*/ 447675 w 2171700"/>
              <a:gd name="connsiteY87" fmla="*/ 1781600 h 2164296"/>
              <a:gd name="connsiteX88" fmla="*/ 400050 w 2171700"/>
              <a:gd name="connsiteY88" fmla="*/ 1738738 h 2164296"/>
              <a:gd name="connsiteX89" fmla="*/ 381000 w 2171700"/>
              <a:gd name="connsiteY89" fmla="*/ 1705400 h 2164296"/>
              <a:gd name="connsiteX90" fmla="*/ 366712 w 2171700"/>
              <a:gd name="connsiteY90" fmla="*/ 1686350 h 2164296"/>
              <a:gd name="connsiteX91" fmla="*/ 347662 w 2171700"/>
              <a:gd name="connsiteY91" fmla="*/ 1657775 h 2164296"/>
              <a:gd name="connsiteX92" fmla="*/ 290512 w 2171700"/>
              <a:gd name="connsiteY92" fmla="*/ 1600625 h 2164296"/>
              <a:gd name="connsiteX93" fmla="*/ 266700 w 2171700"/>
              <a:gd name="connsiteY93" fmla="*/ 1576813 h 2164296"/>
              <a:gd name="connsiteX94" fmla="*/ 252412 w 2171700"/>
              <a:gd name="connsiteY94" fmla="*/ 1562525 h 2164296"/>
              <a:gd name="connsiteX95" fmla="*/ 214312 w 2171700"/>
              <a:gd name="connsiteY95" fmla="*/ 1538713 h 2164296"/>
              <a:gd name="connsiteX96" fmla="*/ 190500 w 2171700"/>
              <a:gd name="connsiteY96" fmla="*/ 1510138 h 2164296"/>
              <a:gd name="connsiteX97" fmla="*/ 166687 w 2171700"/>
              <a:gd name="connsiteY97" fmla="*/ 1491088 h 2164296"/>
              <a:gd name="connsiteX98" fmla="*/ 147637 w 2171700"/>
              <a:gd name="connsiteY98" fmla="*/ 1462513 h 2164296"/>
              <a:gd name="connsiteX99" fmla="*/ 123825 w 2171700"/>
              <a:gd name="connsiteY99" fmla="*/ 1438700 h 2164296"/>
              <a:gd name="connsiteX100" fmla="*/ 114300 w 2171700"/>
              <a:gd name="connsiteY100" fmla="*/ 1424413 h 2164296"/>
              <a:gd name="connsiteX101" fmla="*/ 95250 w 2171700"/>
              <a:gd name="connsiteY101" fmla="*/ 1405363 h 2164296"/>
              <a:gd name="connsiteX102" fmla="*/ 76200 w 2171700"/>
              <a:gd name="connsiteY102" fmla="*/ 1376788 h 2164296"/>
              <a:gd name="connsiteX103" fmla="*/ 61912 w 2171700"/>
              <a:gd name="connsiteY103" fmla="*/ 1362500 h 2164296"/>
              <a:gd name="connsiteX104" fmla="*/ 52387 w 2171700"/>
              <a:gd name="connsiteY104" fmla="*/ 1348213 h 2164296"/>
              <a:gd name="connsiteX105" fmla="*/ 38100 w 2171700"/>
              <a:gd name="connsiteY105" fmla="*/ 1329163 h 2164296"/>
              <a:gd name="connsiteX106" fmla="*/ 33337 w 2171700"/>
              <a:gd name="connsiteY106" fmla="*/ 1305350 h 2164296"/>
              <a:gd name="connsiteX107" fmla="*/ 9525 w 2171700"/>
              <a:gd name="connsiteY107" fmla="*/ 1257725 h 2164296"/>
              <a:gd name="connsiteX108" fmla="*/ 0 w 2171700"/>
              <a:gd name="connsiteY108" fmla="*/ 1200575 h 2164296"/>
              <a:gd name="connsiteX109" fmla="*/ 4762 w 2171700"/>
              <a:gd name="connsiteY109" fmla="*/ 991025 h 2164296"/>
              <a:gd name="connsiteX110" fmla="*/ 42862 w 2171700"/>
              <a:gd name="connsiteY110" fmla="*/ 929113 h 2164296"/>
              <a:gd name="connsiteX111" fmla="*/ 66675 w 2171700"/>
              <a:gd name="connsiteY111" fmla="*/ 891013 h 2164296"/>
              <a:gd name="connsiteX112" fmla="*/ 85725 w 2171700"/>
              <a:gd name="connsiteY112" fmla="*/ 848150 h 2164296"/>
              <a:gd name="connsiteX113" fmla="*/ 109537 w 2171700"/>
              <a:gd name="connsiteY113" fmla="*/ 795763 h 2164296"/>
              <a:gd name="connsiteX114" fmla="*/ 128587 w 2171700"/>
              <a:gd name="connsiteY114" fmla="*/ 762425 h 2164296"/>
              <a:gd name="connsiteX115" fmla="*/ 147637 w 2171700"/>
              <a:gd name="connsiteY115" fmla="*/ 733850 h 2164296"/>
              <a:gd name="connsiteX116" fmla="*/ 209550 w 2171700"/>
              <a:gd name="connsiteY116" fmla="*/ 610025 h 2164296"/>
              <a:gd name="connsiteX117" fmla="*/ 214312 w 2171700"/>
              <a:gd name="connsiteY117" fmla="*/ 581450 h 2164296"/>
              <a:gd name="connsiteX118" fmla="*/ 238125 w 2171700"/>
              <a:gd name="connsiteY118" fmla="*/ 538588 h 2164296"/>
              <a:gd name="connsiteX119" fmla="*/ 252412 w 2171700"/>
              <a:gd name="connsiteY119" fmla="*/ 500488 h 2164296"/>
              <a:gd name="connsiteX120" fmla="*/ 266700 w 2171700"/>
              <a:gd name="connsiteY120" fmla="*/ 471913 h 2164296"/>
              <a:gd name="connsiteX121" fmla="*/ 276225 w 2171700"/>
              <a:gd name="connsiteY121" fmla="*/ 443338 h 2164296"/>
              <a:gd name="connsiteX122" fmla="*/ 285750 w 2171700"/>
              <a:gd name="connsiteY122" fmla="*/ 429050 h 2164296"/>
              <a:gd name="connsiteX123" fmla="*/ 295275 w 2171700"/>
              <a:gd name="connsiteY123" fmla="*/ 405238 h 2164296"/>
              <a:gd name="connsiteX124" fmla="*/ 314325 w 2171700"/>
              <a:gd name="connsiteY124" fmla="*/ 381425 h 2164296"/>
              <a:gd name="connsiteX125" fmla="*/ 333375 w 2171700"/>
              <a:gd name="connsiteY125" fmla="*/ 333800 h 2164296"/>
              <a:gd name="connsiteX126" fmla="*/ 361950 w 2171700"/>
              <a:gd name="connsiteY126" fmla="*/ 290938 h 2164296"/>
              <a:gd name="connsiteX127" fmla="*/ 385762 w 2171700"/>
              <a:gd name="connsiteY127" fmla="*/ 248075 h 2164296"/>
              <a:gd name="connsiteX128" fmla="*/ 400050 w 2171700"/>
              <a:gd name="connsiteY128" fmla="*/ 229025 h 2164296"/>
              <a:gd name="connsiteX129" fmla="*/ 423862 w 2171700"/>
              <a:gd name="connsiteY129" fmla="*/ 214738 h 2164296"/>
              <a:gd name="connsiteX130" fmla="*/ 447675 w 2171700"/>
              <a:gd name="connsiteY130" fmla="*/ 190925 h 2164296"/>
              <a:gd name="connsiteX131" fmla="*/ 461962 w 2171700"/>
              <a:gd name="connsiteY131" fmla="*/ 181400 h 2164296"/>
              <a:gd name="connsiteX132" fmla="*/ 495300 w 2171700"/>
              <a:gd name="connsiteY132" fmla="*/ 143300 h 2164296"/>
              <a:gd name="connsiteX133" fmla="*/ 509587 w 2171700"/>
              <a:gd name="connsiteY133" fmla="*/ 133775 h 2164296"/>
              <a:gd name="connsiteX134" fmla="*/ 619125 w 2171700"/>
              <a:gd name="connsiteY134" fmla="*/ 71863 h 2164296"/>
              <a:gd name="connsiteX135" fmla="*/ 633412 w 2171700"/>
              <a:gd name="connsiteY135" fmla="*/ 52813 h 2164296"/>
              <a:gd name="connsiteX136" fmla="*/ 652462 w 2171700"/>
              <a:gd name="connsiteY136" fmla="*/ 48050 h 2164296"/>
              <a:gd name="connsiteX137" fmla="*/ 676275 w 2171700"/>
              <a:gd name="connsiteY137" fmla="*/ 38525 h 2164296"/>
              <a:gd name="connsiteX138" fmla="*/ 719137 w 2171700"/>
              <a:gd name="connsiteY138" fmla="*/ 24238 h 2164296"/>
              <a:gd name="connsiteX139" fmla="*/ 747712 w 2171700"/>
              <a:gd name="connsiteY139" fmla="*/ 14713 h 2164296"/>
              <a:gd name="connsiteX140" fmla="*/ 795337 w 2171700"/>
              <a:gd name="connsiteY140" fmla="*/ 9950 h 2164296"/>
              <a:gd name="connsiteX141" fmla="*/ 866775 w 2171700"/>
              <a:gd name="connsiteY14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47675 w 2171700"/>
              <a:gd name="connsiteY86" fmla="*/ 1781600 h 2164296"/>
              <a:gd name="connsiteX87" fmla="*/ 400050 w 2171700"/>
              <a:gd name="connsiteY87" fmla="*/ 1738738 h 2164296"/>
              <a:gd name="connsiteX88" fmla="*/ 381000 w 2171700"/>
              <a:gd name="connsiteY88" fmla="*/ 1705400 h 2164296"/>
              <a:gd name="connsiteX89" fmla="*/ 366712 w 2171700"/>
              <a:gd name="connsiteY89" fmla="*/ 1686350 h 2164296"/>
              <a:gd name="connsiteX90" fmla="*/ 347662 w 2171700"/>
              <a:gd name="connsiteY90" fmla="*/ 1657775 h 2164296"/>
              <a:gd name="connsiteX91" fmla="*/ 290512 w 2171700"/>
              <a:gd name="connsiteY91" fmla="*/ 1600625 h 2164296"/>
              <a:gd name="connsiteX92" fmla="*/ 266700 w 2171700"/>
              <a:gd name="connsiteY92" fmla="*/ 1576813 h 2164296"/>
              <a:gd name="connsiteX93" fmla="*/ 252412 w 2171700"/>
              <a:gd name="connsiteY93" fmla="*/ 1562525 h 2164296"/>
              <a:gd name="connsiteX94" fmla="*/ 214312 w 2171700"/>
              <a:gd name="connsiteY94" fmla="*/ 1538713 h 2164296"/>
              <a:gd name="connsiteX95" fmla="*/ 190500 w 2171700"/>
              <a:gd name="connsiteY95" fmla="*/ 1510138 h 2164296"/>
              <a:gd name="connsiteX96" fmla="*/ 166687 w 2171700"/>
              <a:gd name="connsiteY96" fmla="*/ 1491088 h 2164296"/>
              <a:gd name="connsiteX97" fmla="*/ 147637 w 2171700"/>
              <a:gd name="connsiteY97" fmla="*/ 1462513 h 2164296"/>
              <a:gd name="connsiteX98" fmla="*/ 123825 w 2171700"/>
              <a:gd name="connsiteY98" fmla="*/ 1438700 h 2164296"/>
              <a:gd name="connsiteX99" fmla="*/ 114300 w 2171700"/>
              <a:gd name="connsiteY99" fmla="*/ 1424413 h 2164296"/>
              <a:gd name="connsiteX100" fmla="*/ 95250 w 2171700"/>
              <a:gd name="connsiteY100" fmla="*/ 1405363 h 2164296"/>
              <a:gd name="connsiteX101" fmla="*/ 76200 w 2171700"/>
              <a:gd name="connsiteY101" fmla="*/ 1376788 h 2164296"/>
              <a:gd name="connsiteX102" fmla="*/ 61912 w 2171700"/>
              <a:gd name="connsiteY102" fmla="*/ 1362500 h 2164296"/>
              <a:gd name="connsiteX103" fmla="*/ 52387 w 2171700"/>
              <a:gd name="connsiteY103" fmla="*/ 1348213 h 2164296"/>
              <a:gd name="connsiteX104" fmla="*/ 38100 w 2171700"/>
              <a:gd name="connsiteY104" fmla="*/ 1329163 h 2164296"/>
              <a:gd name="connsiteX105" fmla="*/ 33337 w 2171700"/>
              <a:gd name="connsiteY105" fmla="*/ 1305350 h 2164296"/>
              <a:gd name="connsiteX106" fmla="*/ 9525 w 2171700"/>
              <a:gd name="connsiteY106" fmla="*/ 1257725 h 2164296"/>
              <a:gd name="connsiteX107" fmla="*/ 0 w 2171700"/>
              <a:gd name="connsiteY107" fmla="*/ 1200575 h 2164296"/>
              <a:gd name="connsiteX108" fmla="*/ 4762 w 2171700"/>
              <a:gd name="connsiteY108" fmla="*/ 991025 h 2164296"/>
              <a:gd name="connsiteX109" fmla="*/ 42862 w 2171700"/>
              <a:gd name="connsiteY109" fmla="*/ 929113 h 2164296"/>
              <a:gd name="connsiteX110" fmla="*/ 66675 w 2171700"/>
              <a:gd name="connsiteY110" fmla="*/ 891013 h 2164296"/>
              <a:gd name="connsiteX111" fmla="*/ 85725 w 2171700"/>
              <a:gd name="connsiteY111" fmla="*/ 848150 h 2164296"/>
              <a:gd name="connsiteX112" fmla="*/ 109537 w 2171700"/>
              <a:gd name="connsiteY112" fmla="*/ 795763 h 2164296"/>
              <a:gd name="connsiteX113" fmla="*/ 128587 w 2171700"/>
              <a:gd name="connsiteY113" fmla="*/ 762425 h 2164296"/>
              <a:gd name="connsiteX114" fmla="*/ 147637 w 2171700"/>
              <a:gd name="connsiteY114" fmla="*/ 733850 h 2164296"/>
              <a:gd name="connsiteX115" fmla="*/ 209550 w 2171700"/>
              <a:gd name="connsiteY115" fmla="*/ 610025 h 2164296"/>
              <a:gd name="connsiteX116" fmla="*/ 214312 w 2171700"/>
              <a:gd name="connsiteY116" fmla="*/ 581450 h 2164296"/>
              <a:gd name="connsiteX117" fmla="*/ 238125 w 2171700"/>
              <a:gd name="connsiteY117" fmla="*/ 538588 h 2164296"/>
              <a:gd name="connsiteX118" fmla="*/ 252412 w 2171700"/>
              <a:gd name="connsiteY118" fmla="*/ 500488 h 2164296"/>
              <a:gd name="connsiteX119" fmla="*/ 266700 w 2171700"/>
              <a:gd name="connsiteY119" fmla="*/ 471913 h 2164296"/>
              <a:gd name="connsiteX120" fmla="*/ 276225 w 2171700"/>
              <a:gd name="connsiteY120" fmla="*/ 443338 h 2164296"/>
              <a:gd name="connsiteX121" fmla="*/ 285750 w 2171700"/>
              <a:gd name="connsiteY121" fmla="*/ 429050 h 2164296"/>
              <a:gd name="connsiteX122" fmla="*/ 295275 w 2171700"/>
              <a:gd name="connsiteY122" fmla="*/ 405238 h 2164296"/>
              <a:gd name="connsiteX123" fmla="*/ 314325 w 2171700"/>
              <a:gd name="connsiteY123" fmla="*/ 381425 h 2164296"/>
              <a:gd name="connsiteX124" fmla="*/ 333375 w 2171700"/>
              <a:gd name="connsiteY124" fmla="*/ 333800 h 2164296"/>
              <a:gd name="connsiteX125" fmla="*/ 361950 w 2171700"/>
              <a:gd name="connsiteY125" fmla="*/ 290938 h 2164296"/>
              <a:gd name="connsiteX126" fmla="*/ 385762 w 2171700"/>
              <a:gd name="connsiteY126" fmla="*/ 248075 h 2164296"/>
              <a:gd name="connsiteX127" fmla="*/ 400050 w 2171700"/>
              <a:gd name="connsiteY127" fmla="*/ 229025 h 2164296"/>
              <a:gd name="connsiteX128" fmla="*/ 423862 w 2171700"/>
              <a:gd name="connsiteY128" fmla="*/ 214738 h 2164296"/>
              <a:gd name="connsiteX129" fmla="*/ 447675 w 2171700"/>
              <a:gd name="connsiteY129" fmla="*/ 190925 h 2164296"/>
              <a:gd name="connsiteX130" fmla="*/ 461962 w 2171700"/>
              <a:gd name="connsiteY130" fmla="*/ 181400 h 2164296"/>
              <a:gd name="connsiteX131" fmla="*/ 495300 w 2171700"/>
              <a:gd name="connsiteY131" fmla="*/ 143300 h 2164296"/>
              <a:gd name="connsiteX132" fmla="*/ 509587 w 2171700"/>
              <a:gd name="connsiteY132" fmla="*/ 133775 h 2164296"/>
              <a:gd name="connsiteX133" fmla="*/ 619125 w 2171700"/>
              <a:gd name="connsiteY133" fmla="*/ 71863 h 2164296"/>
              <a:gd name="connsiteX134" fmla="*/ 633412 w 2171700"/>
              <a:gd name="connsiteY134" fmla="*/ 52813 h 2164296"/>
              <a:gd name="connsiteX135" fmla="*/ 652462 w 2171700"/>
              <a:gd name="connsiteY135" fmla="*/ 48050 h 2164296"/>
              <a:gd name="connsiteX136" fmla="*/ 676275 w 2171700"/>
              <a:gd name="connsiteY136" fmla="*/ 38525 h 2164296"/>
              <a:gd name="connsiteX137" fmla="*/ 719137 w 2171700"/>
              <a:gd name="connsiteY137" fmla="*/ 24238 h 2164296"/>
              <a:gd name="connsiteX138" fmla="*/ 747712 w 2171700"/>
              <a:gd name="connsiteY138" fmla="*/ 14713 h 2164296"/>
              <a:gd name="connsiteX139" fmla="*/ 795337 w 2171700"/>
              <a:gd name="connsiteY139" fmla="*/ 9950 h 2164296"/>
              <a:gd name="connsiteX140" fmla="*/ 866775 w 2171700"/>
              <a:gd name="connsiteY14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00050 w 2171700"/>
              <a:gd name="connsiteY86" fmla="*/ 1738738 h 2164296"/>
              <a:gd name="connsiteX87" fmla="*/ 381000 w 2171700"/>
              <a:gd name="connsiteY87" fmla="*/ 1705400 h 2164296"/>
              <a:gd name="connsiteX88" fmla="*/ 366712 w 2171700"/>
              <a:gd name="connsiteY88" fmla="*/ 1686350 h 2164296"/>
              <a:gd name="connsiteX89" fmla="*/ 347662 w 2171700"/>
              <a:gd name="connsiteY89" fmla="*/ 1657775 h 2164296"/>
              <a:gd name="connsiteX90" fmla="*/ 290512 w 2171700"/>
              <a:gd name="connsiteY90" fmla="*/ 1600625 h 2164296"/>
              <a:gd name="connsiteX91" fmla="*/ 266700 w 2171700"/>
              <a:gd name="connsiteY91" fmla="*/ 1576813 h 2164296"/>
              <a:gd name="connsiteX92" fmla="*/ 252412 w 2171700"/>
              <a:gd name="connsiteY92" fmla="*/ 1562525 h 2164296"/>
              <a:gd name="connsiteX93" fmla="*/ 214312 w 2171700"/>
              <a:gd name="connsiteY93" fmla="*/ 1538713 h 2164296"/>
              <a:gd name="connsiteX94" fmla="*/ 190500 w 2171700"/>
              <a:gd name="connsiteY94" fmla="*/ 1510138 h 2164296"/>
              <a:gd name="connsiteX95" fmla="*/ 166687 w 2171700"/>
              <a:gd name="connsiteY95" fmla="*/ 1491088 h 2164296"/>
              <a:gd name="connsiteX96" fmla="*/ 147637 w 2171700"/>
              <a:gd name="connsiteY96" fmla="*/ 1462513 h 2164296"/>
              <a:gd name="connsiteX97" fmla="*/ 123825 w 2171700"/>
              <a:gd name="connsiteY97" fmla="*/ 1438700 h 2164296"/>
              <a:gd name="connsiteX98" fmla="*/ 114300 w 2171700"/>
              <a:gd name="connsiteY98" fmla="*/ 1424413 h 2164296"/>
              <a:gd name="connsiteX99" fmla="*/ 95250 w 2171700"/>
              <a:gd name="connsiteY99" fmla="*/ 1405363 h 2164296"/>
              <a:gd name="connsiteX100" fmla="*/ 76200 w 2171700"/>
              <a:gd name="connsiteY100" fmla="*/ 1376788 h 2164296"/>
              <a:gd name="connsiteX101" fmla="*/ 61912 w 2171700"/>
              <a:gd name="connsiteY101" fmla="*/ 1362500 h 2164296"/>
              <a:gd name="connsiteX102" fmla="*/ 52387 w 2171700"/>
              <a:gd name="connsiteY102" fmla="*/ 1348213 h 2164296"/>
              <a:gd name="connsiteX103" fmla="*/ 38100 w 2171700"/>
              <a:gd name="connsiteY103" fmla="*/ 1329163 h 2164296"/>
              <a:gd name="connsiteX104" fmla="*/ 33337 w 2171700"/>
              <a:gd name="connsiteY104" fmla="*/ 1305350 h 2164296"/>
              <a:gd name="connsiteX105" fmla="*/ 9525 w 2171700"/>
              <a:gd name="connsiteY105" fmla="*/ 1257725 h 2164296"/>
              <a:gd name="connsiteX106" fmla="*/ 0 w 2171700"/>
              <a:gd name="connsiteY106" fmla="*/ 1200575 h 2164296"/>
              <a:gd name="connsiteX107" fmla="*/ 4762 w 2171700"/>
              <a:gd name="connsiteY107" fmla="*/ 991025 h 2164296"/>
              <a:gd name="connsiteX108" fmla="*/ 42862 w 2171700"/>
              <a:gd name="connsiteY108" fmla="*/ 929113 h 2164296"/>
              <a:gd name="connsiteX109" fmla="*/ 66675 w 2171700"/>
              <a:gd name="connsiteY109" fmla="*/ 891013 h 2164296"/>
              <a:gd name="connsiteX110" fmla="*/ 85725 w 2171700"/>
              <a:gd name="connsiteY110" fmla="*/ 848150 h 2164296"/>
              <a:gd name="connsiteX111" fmla="*/ 109537 w 2171700"/>
              <a:gd name="connsiteY111" fmla="*/ 795763 h 2164296"/>
              <a:gd name="connsiteX112" fmla="*/ 128587 w 2171700"/>
              <a:gd name="connsiteY112" fmla="*/ 762425 h 2164296"/>
              <a:gd name="connsiteX113" fmla="*/ 147637 w 2171700"/>
              <a:gd name="connsiteY113" fmla="*/ 733850 h 2164296"/>
              <a:gd name="connsiteX114" fmla="*/ 209550 w 2171700"/>
              <a:gd name="connsiteY114" fmla="*/ 610025 h 2164296"/>
              <a:gd name="connsiteX115" fmla="*/ 214312 w 2171700"/>
              <a:gd name="connsiteY115" fmla="*/ 581450 h 2164296"/>
              <a:gd name="connsiteX116" fmla="*/ 238125 w 2171700"/>
              <a:gd name="connsiteY116" fmla="*/ 538588 h 2164296"/>
              <a:gd name="connsiteX117" fmla="*/ 252412 w 2171700"/>
              <a:gd name="connsiteY117" fmla="*/ 500488 h 2164296"/>
              <a:gd name="connsiteX118" fmla="*/ 266700 w 2171700"/>
              <a:gd name="connsiteY118" fmla="*/ 471913 h 2164296"/>
              <a:gd name="connsiteX119" fmla="*/ 276225 w 2171700"/>
              <a:gd name="connsiteY119" fmla="*/ 443338 h 2164296"/>
              <a:gd name="connsiteX120" fmla="*/ 285750 w 2171700"/>
              <a:gd name="connsiteY120" fmla="*/ 429050 h 2164296"/>
              <a:gd name="connsiteX121" fmla="*/ 295275 w 2171700"/>
              <a:gd name="connsiteY121" fmla="*/ 405238 h 2164296"/>
              <a:gd name="connsiteX122" fmla="*/ 314325 w 2171700"/>
              <a:gd name="connsiteY122" fmla="*/ 381425 h 2164296"/>
              <a:gd name="connsiteX123" fmla="*/ 333375 w 2171700"/>
              <a:gd name="connsiteY123" fmla="*/ 333800 h 2164296"/>
              <a:gd name="connsiteX124" fmla="*/ 361950 w 2171700"/>
              <a:gd name="connsiteY124" fmla="*/ 290938 h 2164296"/>
              <a:gd name="connsiteX125" fmla="*/ 385762 w 2171700"/>
              <a:gd name="connsiteY125" fmla="*/ 248075 h 2164296"/>
              <a:gd name="connsiteX126" fmla="*/ 400050 w 2171700"/>
              <a:gd name="connsiteY126" fmla="*/ 229025 h 2164296"/>
              <a:gd name="connsiteX127" fmla="*/ 423862 w 2171700"/>
              <a:gd name="connsiteY127" fmla="*/ 214738 h 2164296"/>
              <a:gd name="connsiteX128" fmla="*/ 447675 w 2171700"/>
              <a:gd name="connsiteY128" fmla="*/ 190925 h 2164296"/>
              <a:gd name="connsiteX129" fmla="*/ 461962 w 2171700"/>
              <a:gd name="connsiteY129" fmla="*/ 181400 h 2164296"/>
              <a:gd name="connsiteX130" fmla="*/ 495300 w 2171700"/>
              <a:gd name="connsiteY130" fmla="*/ 143300 h 2164296"/>
              <a:gd name="connsiteX131" fmla="*/ 509587 w 2171700"/>
              <a:gd name="connsiteY131" fmla="*/ 133775 h 2164296"/>
              <a:gd name="connsiteX132" fmla="*/ 619125 w 2171700"/>
              <a:gd name="connsiteY132" fmla="*/ 71863 h 2164296"/>
              <a:gd name="connsiteX133" fmla="*/ 633412 w 2171700"/>
              <a:gd name="connsiteY133" fmla="*/ 52813 h 2164296"/>
              <a:gd name="connsiteX134" fmla="*/ 652462 w 2171700"/>
              <a:gd name="connsiteY134" fmla="*/ 48050 h 2164296"/>
              <a:gd name="connsiteX135" fmla="*/ 676275 w 2171700"/>
              <a:gd name="connsiteY135" fmla="*/ 38525 h 2164296"/>
              <a:gd name="connsiteX136" fmla="*/ 719137 w 2171700"/>
              <a:gd name="connsiteY136" fmla="*/ 24238 h 2164296"/>
              <a:gd name="connsiteX137" fmla="*/ 747712 w 2171700"/>
              <a:gd name="connsiteY137" fmla="*/ 14713 h 2164296"/>
              <a:gd name="connsiteX138" fmla="*/ 795337 w 2171700"/>
              <a:gd name="connsiteY138" fmla="*/ 9950 h 2164296"/>
              <a:gd name="connsiteX139" fmla="*/ 866775 w 2171700"/>
              <a:gd name="connsiteY13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400050 w 2171700"/>
              <a:gd name="connsiteY85" fmla="*/ 1738738 h 2164296"/>
              <a:gd name="connsiteX86" fmla="*/ 381000 w 2171700"/>
              <a:gd name="connsiteY86" fmla="*/ 1705400 h 2164296"/>
              <a:gd name="connsiteX87" fmla="*/ 366712 w 2171700"/>
              <a:gd name="connsiteY87" fmla="*/ 1686350 h 2164296"/>
              <a:gd name="connsiteX88" fmla="*/ 347662 w 2171700"/>
              <a:gd name="connsiteY88" fmla="*/ 1657775 h 2164296"/>
              <a:gd name="connsiteX89" fmla="*/ 290512 w 2171700"/>
              <a:gd name="connsiteY89" fmla="*/ 1600625 h 2164296"/>
              <a:gd name="connsiteX90" fmla="*/ 266700 w 2171700"/>
              <a:gd name="connsiteY90" fmla="*/ 1576813 h 2164296"/>
              <a:gd name="connsiteX91" fmla="*/ 252412 w 2171700"/>
              <a:gd name="connsiteY91" fmla="*/ 1562525 h 2164296"/>
              <a:gd name="connsiteX92" fmla="*/ 214312 w 2171700"/>
              <a:gd name="connsiteY92" fmla="*/ 1538713 h 2164296"/>
              <a:gd name="connsiteX93" fmla="*/ 190500 w 2171700"/>
              <a:gd name="connsiteY93" fmla="*/ 1510138 h 2164296"/>
              <a:gd name="connsiteX94" fmla="*/ 166687 w 2171700"/>
              <a:gd name="connsiteY94" fmla="*/ 1491088 h 2164296"/>
              <a:gd name="connsiteX95" fmla="*/ 147637 w 2171700"/>
              <a:gd name="connsiteY95" fmla="*/ 1462513 h 2164296"/>
              <a:gd name="connsiteX96" fmla="*/ 123825 w 2171700"/>
              <a:gd name="connsiteY96" fmla="*/ 1438700 h 2164296"/>
              <a:gd name="connsiteX97" fmla="*/ 114300 w 2171700"/>
              <a:gd name="connsiteY97" fmla="*/ 1424413 h 2164296"/>
              <a:gd name="connsiteX98" fmla="*/ 95250 w 2171700"/>
              <a:gd name="connsiteY98" fmla="*/ 1405363 h 2164296"/>
              <a:gd name="connsiteX99" fmla="*/ 76200 w 2171700"/>
              <a:gd name="connsiteY99" fmla="*/ 1376788 h 2164296"/>
              <a:gd name="connsiteX100" fmla="*/ 61912 w 2171700"/>
              <a:gd name="connsiteY100" fmla="*/ 1362500 h 2164296"/>
              <a:gd name="connsiteX101" fmla="*/ 52387 w 2171700"/>
              <a:gd name="connsiteY101" fmla="*/ 1348213 h 2164296"/>
              <a:gd name="connsiteX102" fmla="*/ 38100 w 2171700"/>
              <a:gd name="connsiteY102" fmla="*/ 1329163 h 2164296"/>
              <a:gd name="connsiteX103" fmla="*/ 33337 w 2171700"/>
              <a:gd name="connsiteY103" fmla="*/ 1305350 h 2164296"/>
              <a:gd name="connsiteX104" fmla="*/ 9525 w 2171700"/>
              <a:gd name="connsiteY104" fmla="*/ 1257725 h 2164296"/>
              <a:gd name="connsiteX105" fmla="*/ 0 w 2171700"/>
              <a:gd name="connsiteY105" fmla="*/ 1200575 h 2164296"/>
              <a:gd name="connsiteX106" fmla="*/ 4762 w 2171700"/>
              <a:gd name="connsiteY106" fmla="*/ 991025 h 2164296"/>
              <a:gd name="connsiteX107" fmla="*/ 42862 w 2171700"/>
              <a:gd name="connsiteY107" fmla="*/ 929113 h 2164296"/>
              <a:gd name="connsiteX108" fmla="*/ 66675 w 2171700"/>
              <a:gd name="connsiteY108" fmla="*/ 891013 h 2164296"/>
              <a:gd name="connsiteX109" fmla="*/ 85725 w 2171700"/>
              <a:gd name="connsiteY109" fmla="*/ 848150 h 2164296"/>
              <a:gd name="connsiteX110" fmla="*/ 109537 w 2171700"/>
              <a:gd name="connsiteY110" fmla="*/ 795763 h 2164296"/>
              <a:gd name="connsiteX111" fmla="*/ 128587 w 2171700"/>
              <a:gd name="connsiteY111" fmla="*/ 762425 h 2164296"/>
              <a:gd name="connsiteX112" fmla="*/ 147637 w 2171700"/>
              <a:gd name="connsiteY112" fmla="*/ 733850 h 2164296"/>
              <a:gd name="connsiteX113" fmla="*/ 209550 w 2171700"/>
              <a:gd name="connsiteY113" fmla="*/ 610025 h 2164296"/>
              <a:gd name="connsiteX114" fmla="*/ 214312 w 2171700"/>
              <a:gd name="connsiteY114" fmla="*/ 581450 h 2164296"/>
              <a:gd name="connsiteX115" fmla="*/ 238125 w 2171700"/>
              <a:gd name="connsiteY115" fmla="*/ 538588 h 2164296"/>
              <a:gd name="connsiteX116" fmla="*/ 252412 w 2171700"/>
              <a:gd name="connsiteY116" fmla="*/ 500488 h 2164296"/>
              <a:gd name="connsiteX117" fmla="*/ 266700 w 2171700"/>
              <a:gd name="connsiteY117" fmla="*/ 471913 h 2164296"/>
              <a:gd name="connsiteX118" fmla="*/ 276225 w 2171700"/>
              <a:gd name="connsiteY118" fmla="*/ 443338 h 2164296"/>
              <a:gd name="connsiteX119" fmla="*/ 285750 w 2171700"/>
              <a:gd name="connsiteY119" fmla="*/ 429050 h 2164296"/>
              <a:gd name="connsiteX120" fmla="*/ 295275 w 2171700"/>
              <a:gd name="connsiteY120" fmla="*/ 405238 h 2164296"/>
              <a:gd name="connsiteX121" fmla="*/ 314325 w 2171700"/>
              <a:gd name="connsiteY121" fmla="*/ 381425 h 2164296"/>
              <a:gd name="connsiteX122" fmla="*/ 333375 w 2171700"/>
              <a:gd name="connsiteY122" fmla="*/ 333800 h 2164296"/>
              <a:gd name="connsiteX123" fmla="*/ 361950 w 2171700"/>
              <a:gd name="connsiteY123" fmla="*/ 290938 h 2164296"/>
              <a:gd name="connsiteX124" fmla="*/ 385762 w 2171700"/>
              <a:gd name="connsiteY124" fmla="*/ 248075 h 2164296"/>
              <a:gd name="connsiteX125" fmla="*/ 400050 w 2171700"/>
              <a:gd name="connsiteY125" fmla="*/ 229025 h 2164296"/>
              <a:gd name="connsiteX126" fmla="*/ 423862 w 2171700"/>
              <a:gd name="connsiteY126" fmla="*/ 214738 h 2164296"/>
              <a:gd name="connsiteX127" fmla="*/ 447675 w 2171700"/>
              <a:gd name="connsiteY127" fmla="*/ 190925 h 2164296"/>
              <a:gd name="connsiteX128" fmla="*/ 461962 w 2171700"/>
              <a:gd name="connsiteY128" fmla="*/ 181400 h 2164296"/>
              <a:gd name="connsiteX129" fmla="*/ 495300 w 2171700"/>
              <a:gd name="connsiteY129" fmla="*/ 143300 h 2164296"/>
              <a:gd name="connsiteX130" fmla="*/ 509587 w 2171700"/>
              <a:gd name="connsiteY130" fmla="*/ 133775 h 2164296"/>
              <a:gd name="connsiteX131" fmla="*/ 619125 w 2171700"/>
              <a:gd name="connsiteY131" fmla="*/ 71863 h 2164296"/>
              <a:gd name="connsiteX132" fmla="*/ 633412 w 2171700"/>
              <a:gd name="connsiteY132" fmla="*/ 52813 h 2164296"/>
              <a:gd name="connsiteX133" fmla="*/ 652462 w 2171700"/>
              <a:gd name="connsiteY133" fmla="*/ 48050 h 2164296"/>
              <a:gd name="connsiteX134" fmla="*/ 676275 w 2171700"/>
              <a:gd name="connsiteY134" fmla="*/ 38525 h 2164296"/>
              <a:gd name="connsiteX135" fmla="*/ 719137 w 2171700"/>
              <a:gd name="connsiteY135" fmla="*/ 24238 h 2164296"/>
              <a:gd name="connsiteX136" fmla="*/ 747712 w 2171700"/>
              <a:gd name="connsiteY136" fmla="*/ 14713 h 2164296"/>
              <a:gd name="connsiteX137" fmla="*/ 795337 w 2171700"/>
              <a:gd name="connsiteY137" fmla="*/ 9950 h 2164296"/>
              <a:gd name="connsiteX138" fmla="*/ 866775 w 2171700"/>
              <a:gd name="connsiteY13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381000 w 2171700"/>
              <a:gd name="connsiteY85" fmla="*/ 1705400 h 2164296"/>
              <a:gd name="connsiteX86" fmla="*/ 366712 w 2171700"/>
              <a:gd name="connsiteY86" fmla="*/ 1686350 h 2164296"/>
              <a:gd name="connsiteX87" fmla="*/ 347662 w 2171700"/>
              <a:gd name="connsiteY87" fmla="*/ 1657775 h 2164296"/>
              <a:gd name="connsiteX88" fmla="*/ 290512 w 2171700"/>
              <a:gd name="connsiteY88" fmla="*/ 1600625 h 2164296"/>
              <a:gd name="connsiteX89" fmla="*/ 266700 w 2171700"/>
              <a:gd name="connsiteY89" fmla="*/ 1576813 h 2164296"/>
              <a:gd name="connsiteX90" fmla="*/ 252412 w 2171700"/>
              <a:gd name="connsiteY90" fmla="*/ 1562525 h 2164296"/>
              <a:gd name="connsiteX91" fmla="*/ 214312 w 2171700"/>
              <a:gd name="connsiteY91" fmla="*/ 1538713 h 2164296"/>
              <a:gd name="connsiteX92" fmla="*/ 190500 w 2171700"/>
              <a:gd name="connsiteY92" fmla="*/ 1510138 h 2164296"/>
              <a:gd name="connsiteX93" fmla="*/ 166687 w 2171700"/>
              <a:gd name="connsiteY93" fmla="*/ 1491088 h 2164296"/>
              <a:gd name="connsiteX94" fmla="*/ 147637 w 2171700"/>
              <a:gd name="connsiteY94" fmla="*/ 1462513 h 2164296"/>
              <a:gd name="connsiteX95" fmla="*/ 123825 w 2171700"/>
              <a:gd name="connsiteY95" fmla="*/ 1438700 h 2164296"/>
              <a:gd name="connsiteX96" fmla="*/ 114300 w 2171700"/>
              <a:gd name="connsiteY96" fmla="*/ 1424413 h 2164296"/>
              <a:gd name="connsiteX97" fmla="*/ 95250 w 2171700"/>
              <a:gd name="connsiteY97" fmla="*/ 1405363 h 2164296"/>
              <a:gd name="connsiteX98" fmla="*/ 76200 w 2171700"/>
              <a:gd name="connsiteY98" fmla="*/ 1376788 h 2164296"/>
              <a:gd name="connsiteX99" fmla="*/ 61912 w 2171700"/>
              <a:gd name="connsiteY99" fmla="*/ 1362500 h 2164296"/>
              <a:gd name="connsiteX100" fmla="*/ 52387 w 2171700"/>
              <a:gd name="connsiteY100" fmla="*/ 1348213 h 2164296"/>
              <a:gd name="connsiteX101" fmla="*/ 38100 w 2171700"/>
              <a:gd name="connsiteY101" fmla="*/ 1329163 h 2164296"/>
              <a:gd name="connsiteX102" fmla="*/ 33337 w 2171700"/>
              <a:gd name="connsiteY102" fmla="*/ 1305350 h 2164296"/>
              <a:gd name="connsiteX103" fmla="*/ 9525 w 2171700"/>
              <a:gd name="connsiteY103" fmla="*/ 1257725 h 2164296"/>
              <a:gd name="connsiteX104" fmla="*/ 0 w 2171700"/>
              <a:gd name="connsiteY104" fmla="*/ 1200575 h 2164296"/>
              <a:gd name="connsiteX105" fmla="*/ 4762 w 2171700"/>
              <a:gd name="connsiteY105" fmla="*/ 991025 h 2164296"/>
              <a:gd name="connsiteX106" fmla="*/ 42862 w 2171700"/>
              <a:gd name="connsiteY106" fmla="*/ 929113 h 2164296"/>
              <a:gd name="connsiteX107" fmla="*/ 66675 w 2171700"/>
              <a:gd name="connsiteY107" fmla="*/ 891013 h 2164296"/>
              <a:gd name="connsiteX108" fmla="*/ 85725 w 2171700"/>
              <a:gd name="connsiteY108" fmla="*/ 848150 h 2164296"/>
              <a:gd name="connsiteX109" fmla="*/ 109537 w 2171700"/>
              <a:gd name="connsiteY109" fmla="*/ 795763 h 2164296"/>
              <a:gd name="connsiteX110" fmla="*/ 128587 w 2171700"/>
              <a:gd name="connsiteY110" fmla="*/ 762425 h 2164296"/>
              <a:gd name="connsiteX111" fmla="*/ 147637 w 2171700"/>
              <a:gd name="connsiteY111" fmla="*/ 733850 h 2164296"/>
              <a:gd name="connsiteX112" fmla="*/ 209550 w 2171700"/>
              <a:gd name="connsiteY112" fmla="*/ 610025 h 2164296"/>
              <a:gd name="connsiteX113" fmla="*/ 214312 w 2171700"/>
              <a:gd name="connsiteY113" fmla="*/ 581450 h 2164296"/>
              <a:gd name="connsiteX114" fmla="*/ 238125 w 2171700"/>
              <a:gd name="connsiteY114" fmla="*/ 538588 h 2164296"/>
              <a:gd name="connsiteX115" fmla="*/ 252412 w 2171700"/>
              <a:gd name="connsiteY115" fmla="*/ 500488 h 2164296"/>
              <a:gd name="connsiteX116" fmla="*/ 266700 w 2171700"/>
              <a:gd name="connsiteY116" fmla="*/ 471913 h 2164296"/>
              <a:gd name="connsiteX117" fmla="*/ 276225 w 2171700"/>
              <a:gd name="connsiteY117" fmla="*/ 443338 h 2164296"/>
              <a:gd name="connsiteX118" fmla="*/ 285750 w 2171700"/>
              <a:gd name="connsiteY118" fmla="*/ 429050 h 2164296"/>
              <a:gd name="connsiteX119" fmla="*/ 295275 w 2171700"/>
              <a:gd name="connsiteY119" fmla="*/ 405238 h 2164296"/>
              <a:gd name="connsiteX120" fmla="*/ 314325 w 2171700"/>
              <a:gd name="connsiteY120" fmla="*/ 381425 h 2164296"/>
              <a:gd name="connsiteX121" fmla="*/ 333375 w 2171700"/>
              <a:gd name="connsiteY121" fmla="*/ 333800 h 2164296"/>
              <a:gd name="connsiteX122" fmla="*/ 361950 w 2171700"/>
              <a:gd name="connsiteY122" fmla="*/ 290938 h 2164296"/>
              <a:gd name="connsiteX123" fmla="*/ 385762 w 2171700"/>
              <a:gd name="connsiteY123" fmla="*/ 248075 h 2164296"/>
              <a:gd name="connsiteX124" fmla="*/ 400050 w 2171700"/>
              <a:gd name="connsiteY124" fmla="*/ 229025 h 2164296"/>
              <a:gd name="connsiteX125" fmla="*/ 423862 w 2171700"/>
              <a:gd name="connsiteY125" fmla="*/ 214738 h 2164296"/>
              <a:gd name="connsiteX126" fmla="*/ 447675 w 2171700"/>
              <a:gd name="connsiteY126" fmla="*/ 190925 h 2164296"/>
              <a:gd name="connsiteX127" fmla="*/ 461962 w 2171700"/>
              <a:gd name="connsiteY127" fmla="*/ 181400 h 2164296"/>
              <a:gd name="connsiteX128" fmla="*/ 495300 w 2171700"/>
              <a:gd name="connsiteY128" fmla="*/ 143300 h 2164296"/>
              <a:gd name="connsiteX129" fmla="*/ 509587 w 2171700"/>
              <a:gd name="connsiteY129" fmla="*/ 133775 h 2164296"/>
              <a:gd name="connsiteX130" fmla="*/ 619125 w 2171700"/>
              <a:gd name="connsiteY130" fmla="*/ 71863 h 2164296"/>
              <a:gd name="connsiteX131" fmla="*/ 633412 w 2171700"/>
              <a:gd name="connsiteY131" fmla="*/ 52813 h 2164296"/>
              <a:gd name="connsiteX132" fmla="*/ 652462 w 2171700"/>
              <a:gd name="connsiteY132" fmla="*/ 48050 h 2164296"/>
              <a:gd name="connsiteX133" fmla="*/ 676275 w 2171700"/>
              <a:gd name="connsiteY133" fmla="*/ 38525 h 2164296"/>
              <a:gd name="connsiteX134" fmla="*/ 719137 w 2171700"/>
              <a:gd name="connsiteY134" fmla="*/ 24238 h 2164296"/>
              <a:gd name="connsiteX135" fmla="*/ 747712 w 2171700"/>
              <a:gd name="connsiteY135" fmla="*/ 14713 h 2164296"/>
              <a:gd name="connsiteX136" fmla="*/ 795337 w 2171700"/>
              <a:gd name="connsiteY136" fmla="*/ 9950 h 2164296"/>
              <a:gd name="connsiteX137" fmla="*/ 866775 w 2171700"/>
              <a:gd name="connsiteY13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28587 w 2171700"/>
              <a:gd name="connsiteY109" fmla="*/ 762425 h 2164296"/>
              <a:gd name="connsiteX110" fmla="*/ 147637 w 2171700"/>
              <a:gd name="connsiteY110" fmla="*/ 733850 h 2164296"/>
              <a:gd name="connsiteX111" fmla="*/ 209550 w 2171700"/>
              <a:gd name="connsiteY111" fmla="*/ 610025 h 2164296"/>
              <a:gd name="connsiteX112" fmla="*/ 214312 w 2171700"/>
              <a:gd name="connsiteY112" fmla="*/ 581450 h 2164296"/>
              <a:gd name="connsiteX113" fmla="*/ 238125 w 2171700"/>
              <a:gd name="connsiteY113" fmla="*/ 538588 h 2164296"/>
              <a:gd name="connsiteX114" fmla="*/ 252412 w 2171700"/>
              <a:gd name="connsiteY114" fmla="*/ 500488 h 2164296"/>
              <a:gd name="connsiteX115" fmla="*/ 266700 w 2171700"/>
              <a:gd name="connsiteY115" fmla="*/ 471913 h 2164296"/>
              <a:gd name="connsiteX116" fmla="*/ 276225 w 2171700"/>
              <a:gd name="connsiteY116" fmla="*/ 443338 h 2164296"/>
              <a:gd name="connsiteX117" fmla="*/ 285750 w 2171700"/>
              <a:gd name="connsiteY117" fmla="*/ 429050 h 2164296"/>
              <a:gd name="connsiteX118" fmla="*/ 295275 w 2171700"/>
              <a:gd name="connsiteY118" fmla="*/ 405238 h 2164296"/>
              <a:gd name="connsiteX119" fmla="*/ 314325 w 2171700"/>
              <a:gd name="connsiteY119" fmla="*/ 381425 h 2164296"/>
              <a:gd name="connsiteX120" fmla="*/ 333375 w 2171700"/>
              <a:gd name="connsiteY120" fmla="*/ 333800 h 2164296"/>
              <a:gd name="connsiteX121" fmla="*/ 361950 w 2171700"/>
              <a:gd name="connsiteY121" fmla="*/ 290938 h 2164296"/>
              <a:gd name="connsiteX122" fmla="*/ 385762 w 2171700"/>
              <a:gd name="connsiteY122" fmla="*/ 248075 h 2164296"/>
              <a:gd name="connsiteX123" fmla="*/ 400050 w 2171700"/>
              <a:gd name="connsiteY123" fmla="*/ 229025 h 2164296"/>
              <a:gd name="connsiteX124" fmla="*/ 423862 w 2171700"/>
              <a:gd name="connsiteY124" fmla="*/ 214738 h 2164296"/>
              <a:gd name="connsiteX125" fmla="*/ 447675 w 2171700"/>
              <a:gd name="connsiteY125" fmla="*/ 190925 h 2164296"/>
              <a:gd name="connsiteX126" fmla="*/ 461962 w 2171700"/>
              <a:gd name="connsiteY126" fmla="*/ 181400 h 2164296"/>
              <a:gd name="connsiteX127" fmla="*/ 495300 w 2171700"/>
              <a:gd name="connsiteY127" fmla="*/ 143300 h 2164296"/>
              <a:gd name="connsiteX128" fmla="*/ 509587 w 2171700"/>
              <a:gd name="connsiteY128" fmla="*/ 133775 h 2164296"/>
              <a:gd name="connsiteX129" fmla="*/ 619125 w 2171700"/>
              <a:gd name="connsiteY129" fmla="*/ 71863 h 2164296"/>
              <a:gd name="connsiteX130" fmla="*/ 633412 w 2171700"/>
              <a:gd name="connsiteY130" fmla="*/ 52813 h 2164296"/>
              <a:gd name="connsiteX131" fmla="*/ 652462 w 2171700"/>
              <a:gd name="connsiteY131" fmla="*/ 48050 h 2164296"/>
              <a:gd name="connsiteX132" fmla="*/ 676275 w 2171700"/>
              <a:gd name="connsiteY132" fmla="*/ 38525 h 2164296"/>
              <a:gd name="connsiteX133" fmla="*/ 719137 w 2171700"/>
              <a:gd name="connsiteY133" fmla="*/ 24238 h 2164296"/>
              <a:gd name="connsiteX134" fmla="*/ 747712 w 2171700"/>
              <a:gd name="connsiteY134" fmla="*/ 14713 h 2164296"/>
              <a:gd name="connsiteX135" fmla="*/ 795337 w 2171700"/>
              <a:gd name="connsiteY135" fmla="*/ 9950 h 2164296"/>
              <a:gd name="connsiteX136" fmla="*/ 866775 w 2171700"/>
              <a:gd name="connsiteY13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47637 w 2171700"/>
              <a:gd name="connsiteY109" fmla="*/ 733850 h 2164296"/>
              <a:gd name="connsiteX110" fmla="*/ 209550 w 2171700"/>
              <a:gd name="connsiteY110" fmla="*/ 610025 h 2164296"/>
              <a:gd name="connsiteX111" fmla="*/ 214312 w 2171700"/>
              <a:gd name="connsiteY111" fmla="*/ 581450 h 2164296"/>
              <a:gd name="connsiteX112" fmla="*/ 238125 w 2171700"/>
              <a:gd name="connsiteY112" fmla="*/ 538588 h 2164296"/>
              <a:gd name="connsiteX113" fmla="*/ 252412 w 2171700"/>
              <a:gd name="connsiteY113" fmla="*/ 500488 h 2164296"/>
              <a:gd name="connsiteX114" fmla="*/ 266700 w 2171700"/>
              <a:gd name="connsiteY114" fmla="*/ 471913 h 2164296"/>
              <a:gd name="connsiteX115" fmla="*/ 276225 w 2171700"/>
              <a:gd name="connsiteY115" fmla="*/ 443338 h 2164296"/>
              <a:gd name="connsiteX116" fmla="*/ 285750 w 2171700"/>
              <a:gd name="connsiteY116" fmla="*/ 429050 h 2164296"/>
              <a:gd name="connsiteX117" fmla="*/ 295275 w 2171700"/>
              <a:gd name="connsiteY117" fmla="*/ 405238 h 2164296"/>
              <a:gd name="connsiteX118" fmla="*/ 314325 w 2171700"/>
              <a:gd name="connsiteY118" fmla="*/ 381425 h 2164296"/>
              <a:gd name="connsiteX119" fmla="*/ 333375 w 2171700"/>
              <a:gd name="connsiteY119" fmla="*/ 333800 h 2164296"/>
              <a:gd name="connsiteX120" fmla="*/ 361950 w 2171700"/>
              <a:gd name="connsiteY120" fmla="*/ 290938 h 2164296"/>
              <a:gd name="connsiteX121" fmla="*/ 385762 w 2171700"/>
              <a:gd name="connsiteY121" fmla="*/ 248075 h 2164296"/>
              <a:gd name="connsiteX122" fmla="*/ 400050 w 2171700"/>
              <a:gd name="connsiteY122" fmla="*/ 229025 h 2164296"/>
              <a:gd name="connsiteX123" fmla="*/ 423862 w 2171700"/>
              <a:gd name="connsiteY123" fmla="*/ 214738 h 2164296"/>
              <a:gd name="connsiteX124" fmla="*/ 447675 w 2171700"/>
              <a:gd name="connsiteY124" fmla="*/ 190925 h 2164296"/>
              <a:gd name="connsiteX125" fmla="*/ 461962 w 2171700"/>
              <a:gd name="connsiteY125" fmla="*/ 181400 h 2164296"/>
              <a:gd name="connsiteX126" fmla="*/ 495300 w 2171700"/>
              <a:gd name="connsiteY126" fmla="*/ 143300 h 2164296"/>
              <a:gd name="connsiteX127" fmla="*/ 509587 w 2171700"/>
              <a:gd name="connsiteY127" fmla="*/ 133775 h 2164296"/>
              <a:gd name="connsiteX128" fmla="*/ 619125 w 2171700"/>
              <a:gd name="connsiteY128" fmla="*/ 71863 h 2164296"/>
              <a:gd name="connsiteX129" fmla="*/ 633412 w 2171700"/>
              <a:gd name="connsiteY129" fmla="*/ 52813 h 2164296"/>
              <a:gd name="connsiteX130" fmla="*/ 652462 w 2171700"/>
              <a:gd name="connsiteY130" fmla="*/ 48050 h 2164296"/>
              <a:gd name="connsiteX131" fmla="*/ 676275 w 2171700"/>
              <a:gd name="connsiteY131" fmla="*/ 38525 h 2164296"/>
              <a:gd name="connsiteX132" fmla="*/ 719137 w 2171700"/>
              <a:gd name="connsiteY132" fmla="*/ 24238 h 2164296"/>
              <a:gd name="connsiteX133" fmla="*/ 747712 w 2171700"/>
              <a:gd name="connsiteY133" fmla="*/ 14713 h 2164296"/>
              <a:gd name="connsiteX134" fmla="*/ 795337 w 2171700"/>
              <a:gd name="connsiteY134" fmla="*/ 9950 h 2164296"/>
              <a:gd name="connsiteX135" fmla="*/ 866775 w 2171700"/>
              <a:gd name="connsiteY13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371600 w 2171700"/>
              <a:gd name="connsiteY11" fmla="*/ 86150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28787 w 2171700"/>
              <a:gd name="connsiteY57" fmla="*/ 1872088 h 2164296"/>
              <a:gd name="connsiteX58" fmla="*/ 1709737 w 2171700"/>
              <a:gd name="connsiteY58" fmla="*/ 1881613 h 2164296"/>
              <a:gd name="connsiteX59" fmla="*/ 1647825 w 2171700"/>
              <a:gd name="connsiteY59" fmla="*/ 1895900 h 2164296"/>
              <a:gd name="connsiteX60" fmla="*/ 1619250 w 2171700"/>
              <a:gd name="connsiteY60" fmla="*/ 1910188 h 2164296"/>
              <a:gd name="connsiteX61" fmla="*/ 1571625 w 2171700"/>
              <a:gd name="connsiteY61" fmla="*/ 1929238 h 2164296"/>
              <a:gd name="connsiteX62" fmla="*/ 1404937 w 2171700"/>
              <a:gd name="connsiteY62" fmla="*/ 2029250 h 2164296"/>
              <a:gd name="connsiteX63" fmla="*/ 1333500 w 2171700"/>
              <a:gd name="connsiteY63" fmla="*/ 2053063 h 2164296"/>
              <a:gd name="connsiteX64" fmla="*/ 1319212 w 2171700"/>
              <a:gd name="connsiteY64" fmla="*/ 2062588 h 2164296"/>
              <a:gd name="connsiteX65" fmla="*/ 1281112 w 2171700"/>
              <a:gd name="connsiteY65" fmla="*/ 2072113 h 2164296"/>
              <a:gd name="connsiteX66" fmla="*/ 1257300 w 2171700"/>
              <a:gd name="connsiteY66" fmla="*/ 2086400 h 2164296"/>
              <a:gd name="connsiteX67" fmla="*/ 1204912 w 2171700"/>
              <a:gd name="connsiteY67" fmla="*/ 2100688 h 2164296"/>
              <a:gd name="connsiteX68" fmla="*/ 1162050 w 2171700"/>
              <a:gd name="connsiteY68" fmla="*/ 2119738 h 2164296"/>
              <a:gd name="connsiteX69" fmla="*/ 1143000 w 2171700"/>
              <a:gd name="connsiteY69" fmla="*/ 2134025 h 2164296"/>
              <a:gd name="connsiteX70" fmla="*/ 1071562 w 2171700"/>
              <a:gd name="connsiteY70" fmla="*/ 2148313 h 2164296"/>
              <a:gd name="connsiteX71" fmla="*/ 1042987 w 2171700"/>
              <a:gd name="connsiteY71" fmla="*/ 2162600 h 2164296"/>
              <a:gd name="connsiteX72" fmla="*/ 909637 w 2171700"/>
              <a:gd name="connsiteY72" fmla="*/ 2157838 h 2164296"/>
              <a:gd name="connsiteX73" fmla="*/ 800100 w 2171700"/>
              <a:gd name="connsiteY73" fmla="*/ 2105450 h 2164296"/>
              <a:gd name="connsiteX74" fmla="*/ 762000 w 2171700"/>
              <a:gd name="connsiteY74" fmla="*/ 2091163 h 2164296"/>
              <a:gd name="connsiteX75" fmla="*/ 714375 w 2171700"/>
              <a:gd name="connsiteY75" fmla="*/ 2062588 h 2164296"/>
              <a:gd name="connsiteX76" fmla="*/ 657225 w 2171700"/>
              <a:gd name="connsiteY76" fmla="*/ 2038775 h 2164296"/>
              <a:gd name="connsiteX77" fmla="*/ 623887 w 2171700"/>
              <a:gd name="connsiteY77" fmla="*/ 2005438 h 2164296"/>
              <a:gd name="connsiteX78" fmla="*/ 585787 w 2171700"/>
              <a:gd name="connsiteY78" fmla="*/ 1976863 h 2164296"/>
              <a:gd name="connsiteX79" fmla="*/ 571500 w 2171700"/>
              <a:gd name="connsiteY79" fmla="*/ 1957813 h 2164296"/>
              <a:gd name="connsiteX80" fmla="*/ 557212 w 2171700"/>
              <a:gd name="connsiteY80" fmla="*/ 1934000 h 2164296"/>
              <a:gd name="connsiteX81" fmla="*/ 523875 w 2171700"/>
              <a:gd name="connsiteY81" fmla="*/ 1895900 h 2164296"/>
              <a:gd name="connsiteX82" fmla="*/ 381000 w 2171700"/>
              <a:gd name="connsiteY82" fmla="*/ 1705400 h 2164296"/>
              <a:gd name="connsiteX83" fmla="*/ 366712 w 2171700"/>
              <a:gd name="connsiteY83" fmla="*/ 1686350 h 2164296"/>
              <a:gd name="connsiteX84" fmla="*/ 347662 w 2171700"/>
              <a:gd name="connsiteY84" fmla="*/ 1657775 h 2164296"/>
              <a:gd name="connsiteX85" fmla="*/ 290512 w 2171700"/>
              <a:gd name="connsiteY85" fmla="*/ 1600625 h 2164296"/>
              <a:gd name="connsiteX86" fmla="*/ 266700 w 2171700"/>
              <a:gd name="connsiteY86" fmla="*/ 1576813 h 2164296"/>
              <a:gd name="connsiteX87" fmla="*/ 252412 w 2171700"/>
              <a:gd name="connsiteY87" fmla="*/ 1562525 h 2164296"/>
              <a:gd name="connsiteX88" fmla="*/ 214312 w 2171700"/>
              <a:gd name="connsiteY88" fmla="*/ 1538713 h 2164296"/>
              <a:gd name="connsiteX89" fmla="*/ 190500 w 2171700"/>
              <a:gd name="connsiteY89" fmla="*/ 1510138 h 2164296"/>
              <a:gd name="connsiteX90" fmla="*/ 166687 w 2171700"/>
              <a:gd name="connsiteY90" fmla="*/ 1491088 h 2164296"/>
              <a:gd name="connsiteX91" fmla="*/ 147637 w 2171700"/>
              <a:gd name="connsiteY91" fmla="*/ 1462513 h 2164296"/>
              <a:gd name="connsiteX92" fmla="*/ 123825 w 2171700"/>
              <a:gd name="connsiteY92" fmla="*/ 1438700 h 2164296"/>
              <a:gd name="connsiteX93" fmla="*/ 114300 w 2171700"/>
              <a:gd name="connsiteY93" fmla="*/ 1424413 h 2164296"/>
              <a:gd name="connsiteX94" fmla="*/ 95250 w 2171700"/>
              <a:gd name="connsiteY94" fmla="*/ 1405363 h 2164296"/>
              <a:gd name="connsiteX95" fmla="*/ 76200 w 2171700"/>
              <a:gd name="connsiteY95" fmla="*/ 1376788 h 2164296"/>
              <a:gd name="connsiteX96" fmla="*/ 61912 w 2171700"/>
              <a:gd name="connsiteY96" fmla="*/ 1362500 h 2164296"/>
              <a:gd name="connsiteX97" fmla="*/ 52387 w 2171700"/>
              <a:gd name="connsiteY97" fmla="*/ 1348213 h 2164296"/>
              <a:gd name="connsiteX98" fmla="*/ 38100 w 2171700"/>
              <a:gd name="connsiteY98" fmla="*/ 1329163 h 2164296"/>
              <a:gd name="connsiteX99" fmla="*/ 33337 w 2171700"/>
              <a:gd name="connsiteY99" fmla="*/ 1305350 h 2164296"/>
              <a:gd name="connsiteX100" fmla="*/ 9525 w 2171700"/>
              <a:gd name="connsiteY100" fmla="*/ 1257725 h 2164296"/>
              <a:gd name="connsiteX101" fmla="*/ 0 w 2171700"/>
              <a:gd name="connsiteY101" fmla="*/ 1200575 h 2164296"/>
              <a:gd name="connsiteX102" fmla="*/ 4762 w 2171700"/>
              <a:gd name="connsiteY102" fmla="*/ 991025 h 2164296"/>
              <a:gd name="connsiteX103" fmla="*/ 42862 w 2171700"/>
              <a:gd name="connsiteY103" fmla="*/ 929113 h 2164296"/>
              <a:gd name="connsiteX104" fmla="*/ 66675 w 2171700"/>
              <a:gd name="connsiteY104" fmla="*/ 891013 h 2164296"/>
              <a:gd name="connsiteX105" fmla="*/ 85725 w 2171700"/>
              <a:gd name="connsiteY105" fmla="*/ 848150 h 2164296"/>
              <a:gd name="connsiteX106" fmla="*/ 147637 w 2171700"/>
              <a:gd name="connsiteY106" fmla="*/ 733850 h 2164296"/>
              <a:gd name="connsiteX107" fmla="*/ 209550 w 2171700"/>
              <a:gd name="connsiteY107" fmla="*/ 610025 h 2164296"/>
              <a:gd name="connsiteX108" fmla="*/ 214312 w 2171700"/>
              <a:gd name="connsiteY108" fmla="*/ 581450 h 2164296"/>
              <a:gd name="connsiteX109" fmla="*/ 238125 w 2171700"/>
              <a:gd name="connsiteY109" fmla="*/ 538588 h 2164296"/>
              <a:gd name="connsiteX110" fmla="*/ 252412 w 2171700"/>
              <a:gd name="connsiteY110" fmla="*/ 500488 h 2164296"/>
              <a:gd name="connsiteX111" fmla="*/ 266700 w 2171700"/>
              <a:gd name="connsiteY111" fmla="*/ 471913 h 2164296"/>
              <a:gd name="connsiteX112" fmla="*/ 276225 w 2171700"/>
              <a:gd name="connsiteY112" fmla="*/ 443338 h 2164296"/>
              <a:gd name="connsiteX113" fmla="*/ 285750 w 2171700"/>
              <a:gd name="connsiteY113" fmla="*/ 429050 h 2164296"/>
              <a:gd name="connsiteX114" fmla="*/ 295275 w 2171700"/>
              <a:gd name="connsiteY114" fmla="*/ 405238 h 2164296"/>
              <a:gd name="connsiteX115" fmla="*/ 314325 w 2171700"/>
              <a:gd name="connsiteY115" fmla="*/ 381425 h 2164296"/>
              <a:gd name="connsiteX116" fmla="*/ 333375 w 2171700"/>
              <a:gd name="connsiteY116" fmla="*/ 333800 h 2164296"/>
              <a:gd name="connsiteX117" fmla="*/ 361950 w 2171700"/>
              <a:gd name="connsiteY117" fmla="*/ 290938 h 2164296"/>
              <a:gd name="connsiteX118" fmla="*/ 385762 w 2171700"/>
              <a:gd name="connsiteY118" fmla="*/ 248075 h 2164296"/>
              <a:gd name="connsiteX119" fmla="*/ 400050 w 2171700"/>
              <a:gd name="connsiteY119" fmla="*/ 229025 h 2164296"/>
              <a:gd name="connsiteX120" fmla="*/ 423862 w 2171700"/>
              <a:gd name="connsiteY120" fmla="*/ 214738 h 2164296"/>
              <a:gd name="connsiteX121" fmla="*/ 447675 w 2171700"/>
              <a:gd name="connsiteY121" fmla="*/ 190925 h 2164296"/>
              <a:gd name="connsiteX122" fmla="*/ 461962 w 2171700"/>
              <a:gd name="connsiteY122" fmla="*/ 181400 h 2164296"/>
              <a:gd name="connsiteX123" fmla="*/ 495300 w 2171700"/>
              <a:gd name="connsiteY123" fmla="*/ 143300 h 2164296"/>
              <a:gd name="connsiteX124" fmla="*/ 509587 w 2171700"/>
              <a:gd name="connsiteY124" fmla="*/ 133775 h 2164296"/>
              <a:gd name="connsiteX125" fmla="*/ 619125 w 2171700"/>
              <a:gd name="connsiteY125" fmla="*/ 71863 h 2164296"/>
              <a:gd name="connsiteX126" fmla="*/ 633412 w 2171700"/>
              <a:gd name="connsiteY126" fmla="*/ 52813 h 2164296"/>
              <a:gd name="connsiteX127" fmla="*/ 652462 w 2171700"/>
              <a:gd name="connsiteY127" fmla="*/ 48050 h 2164296"/>
              <a:gd name="connsiteX128" fmla="*/ 676275 w 2171700"/>
              <a:gd name="connsiteY128" fmla="*/ 38525 h 2164296"/>
              <a:gd name="connsiteX129" fmla="*/ 719137 w 2171700"/>
              <a:gd name="connsiteY129" fmla="*/ 24238 h 2164296"/>
              <a:gd name="connsiteX130" fmla="*/ 747712 w 2171700"/>
              <a:gd name="connsiteY130" fmla="*/ 14713 h 2164296"/>
              <a:gd name="connsiteX131" fmla="*/ 795337 w 2171700"/>
              <a:gd name="connsiteY131" fmla="*/ 9950 h 2164296"/>
              <a:gd name="connsiteX132" fmla="*/ 866775 w 2171700"/>
              <a:gd name="connsiteY13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09737 w 2171700"/>
              <a:gd name="connsiteY57" fmla="*/ 1881613 h 2164296"/>
              <a:gd name="connsiteX58" fmla="*/ 1647825 w 2171700"/>
              <a:gd name="connsiteY58" fmla="*/ 1895900 h 2164296"/>
              <a:gd name="connsiteX59" fmla="*/ 1619250 w 2171700"/>
              <a:gd name="connsiteY59" fmla="*/ 1910188 h 2164296"/>
              <a:gd name="connsiteX60" fmla="*/ 1571625 w 2171700"/>
              <a:gd name="connsiteY60" fmla="*/ 1929238 h 2164296"/>
              <a:gd name="connsiteX61" fmla="*/ 1404937 w 2171700"/>
              <a:gd name="connsiteY61" fmla="*/ 2029250 h 2164296"/>
              <a:gd name="connsiteX62" fmla="*/ 1333500 w 2171700"/>
              <a:gd name="connsiteY62" fmla="*/ 2053063 h 2164296"/>
              <a:gd name="connsiteX63" fmla="*/ 1319212 w 2171700"/>
              <a:gd name="connsiteY63" fmla="*/ 2062588 h 2164296"/>
              <a:gd name="connsiteX64" fmla="*/ 1281112 w 2171700"/>
              <a:gd name="connsiteY64" fmla="*/ 2072113 h 2164296"/>
              <a:gd name="connsiteX65" fmla="*/ 1257300 w 2171700"/>
              <a:gd name="connsiteY65" fmla="*/ 2086400 h 2164296"/>
              <a:gd name="connsiteX66" fmla="*/ 1204912 w 2171700"/>
              <a:gd name="connsiteY66" fmla="*/ 2100688 h 2164296"/>
              <a:gd name="connsiteX67" fmla="*/ 1162050 w 2171700"/>
              <a:gd name="connsiteY67" fmla="*/ 2119738 h 2164296"/>
              <a:gd name="connsiteX68" fmla="*/ 1143000 w 2171700"/>
              <a:gd name="connsiteY68" fmla="*/ 2134025 h 2164296"/>
              <a:gd name="connsiteX69" fmla="*/ 1071562 w 2171700"/>
              <a:gd name="connsiteY69" fmla="*/ 2148313 h 2164296"/>
              <a:gd name="connsiteX70" fmla="*/ 1042987 w 2171700"/>
              <a:gd name="connsiteY70" fmla="*/ 2162600 h 2164296"/>
              <a:gd name="connsiteX71" fmla="*/ 909637 w 2171700"/>
              <a:gd name="connsiteY71" fmla="*/ 2157838 h 2164296"/>
              <a:gd name="connsiteX72" fmla="*/ 800100 w 2171700"/>
              <a:gd name="connsiteY72" fmla="*/ 2105450 h 2164296"/>
              <a:gd name="connsiteX73" fmla="*/ 762000 w 2171700"/>
              <a:gd name="connsiteY73" fmla="*/ 2091163 h 2164296"/>
              <a:gd name="connsiteX74" fmla="*/ 714375 w 2171700"/>
              <a:gd name="connsiteY74" fmla="*/ 2062588 h 2164296"/>
              <a:gd name="connsiteX75" fmla="*/ 657225 w 2171700"/>
              <a:gd name="connsiteY75" fmla="*/ 2038775 h 2164296"/>
              <a:gd name="connsiteX76" fmla="*/ 623887 w 2171700"/>
              <a:gd name="connsiteY76" fmla="*/ 2005438 h 2164296"/>
              <a:gd name="connsiteX77" fmla="*/ 585787 w 2171700"/>
              <a:gd name="connsiteY77" fmla="*/ 1976863 h 2164296"/>
              <a:gd name="connsiteX78" fmla="*/ 571500 w 2171700"/>
              <a:gd name="connsiteY78" fmla="*/ 1957813 h 2164296"/>
              <a:gd name="connsiteX79" fmla="*/ 557212 w 2171700"/>
              <a:gd name="connsiteY79" fmla="*/ 1934000 h 2164296"/>
              <a:gd name="connsiteX80" fmla="*/ 523875 w 2171700"/>
              <a:gd name="connsiteY80" fmla="*/ 1895900 h 2164296"/>
              <a:gd name="connsiteX81" fmla="*/ 381000 w 2171700"/>
              <a:gd name="connsiteY81" fmla="*/ 1705400 h 2164296"/>
              <a:gd name="connsiteX82" fmla="*/ 366712 w 2171700"/>
              <a:gd name="connsiteY82" fmla="*/ 1686350 h 2164296"/>
              <a:gd name="connsiteX83" fmla="*/ 347662 w 2171700"/>
              <a:gd name="connsiteY83" fmla="*/ 1657775 h 2164296"/>
              <a:gd name="connsiteX84" fmla="*/ 290512 w 2171700"/>
              <a:gd name="connsiteY84" fmla="*/ 1600625 h 2164296"/>
              <a:gd name="connsiteX85" fmla="*/ 266700 w 2171700"/>
              <a:gd name="connsiteY85" fmla="*/ 1576813 h 2164296"/>
              <a:gd name="connsiteX86" fmla="*/ 252412 w 2171700"/>
              <a:gd name="connsiteY86" fmla="*/ 1562525 h 2164296"/>
              <a:gd name="connsiteX87" fmla="*/ 214312 w 2171700"/>
              <a:gd name="connsiteY87" fmla="*/ 1538713 h 2164296"/>
              <a:gd name="connsiteX88" fmla="*/ 190500 w 2171700"/>
              <a:gd name="connsiteY88" fmla="*/ 1510138 h 2164296"/>
              <a:gd name="connsiteX89" fmla="*/ 166687 w 2171700"/>
              <a:gd name="connsiteY89" fmla="*/ 1491088 h 2164296"/>
              <a:gd name="connsiteX90" fmla="*/ 147637 w 2171700"/>
              <a:gd name="connsiteY90" fmla="*/ 1462513 h 2164296"/>
              <a:gd name="connsiteX91" fmla="*/ 123825 w 2171700"/>
              <a:gd name="connsiteY91" fmla="*/ 1438700 h 2164296"/>
              <a:gd name="connsiteX92" fmla="*/ 114300 w 2171700"/>
              <a:gd name="connsiteY92" fmla="*/ 1424413 h 2164296"/>
              <a:gd name="connsiteX93" fmla="*/ 95250 w 2171700"/>
              <a:gd name="connsiteY93" fmla="*/ 1405363 h 2164296"/>
              <a:gd name="connsiteX94" fmla="*/ 76200 w 2171700"/>
              <a:gd name="connsiteY94" fmla="*/ 1376788 h 2164296"/>
              <a:gd name="connsiteX95" fmla="*/ 61912 w 2171700"/>
              <a:gd name="connsiteY95" fmla="*/ 1362500 h 2164296"/>
              <a:gd name="connsiteX96" fmla="*/ 52387 w 2171700"/>
              <a:gd name="connsiteY96" fmla="*/ 1348213 h 2164296"/>
              <a:gd name="connsiteX97" fmla="*/ 38100 w 2171700"/>
              <a:gd name="connsiteY97" fmla="*/ 1329163 h 2164296"/>
              <a:gd name="connsiteX98" fmla="*/ 33337 w 2171700"/>
              <a:gd name="connsiteY98" fmla="*/ 1305350 h 2164296"/>
              <a:gd name="connsiteX99" fmla="*/ 9525 w 2171700"/>
              <a:gd name="connsiteY99" fmla="*/ 1257725 h 2164296"/>
              <a:gd name="connsiteX100" fmla="*/ 0 w 2171700"/>
              <a:gd name="connsiteY100" fmla="*/ 1200575 h 2164296"/>
              <a:gd name="connsiteX101" fmla="*/ 4762 w 2171700"/>
              <a:gd name="connsiteY101" fmla="*/ 991025 h 2164296"/>
              <a:gd name="connsiteX102" fmla="*/ 42862 w 2171700"/>
              <a:gd name="connsiteY102" fmla="*/ 929113 h 2164296"/>
              <a:gd name="connsiteX103" fmla="*/ 66675 w 2171700"/>
              <a:gd name="connsiteY103" fmla="*/ 891013 h 2164296"/>
              <a:gd name="connsiteX104" fmla="*/ 85725 w 2171700"/>
              <a:gd name="connsiteY104" fmla="*/ 848150 h 2164296"/>
              <a:gd name="connsiteX105" fmla="*/ 147637 w 2171700"/>
              <a:gd name="connsiteY105" fmla="*/ 733850 h 2164296"/>
              <a:gd name="connsiteX106" fmla="*/ 209550 w 2171700"/>
              <a:gd name="connsiteY106" fmla="*/ 610025 h 2164296"/>
              <a:gd name="connsiteX107" fmla="*/ 214312 w 2171700"/>
              <a:gd name="connsiteY107" fmla="*/ 581450 h 2164296"/>
              <a:gd name="connsiteX108" fmla="*/ 238125 w 2171700"/>
              <a:gd name="connsiteY108" fmla="*/ 538588 h 2164296"/>
              <a:gd name="connsiteX109" fmla="*/ 252412 w 2171700"/>
              <a:gd name="connsiteY109" fmla="*/ 500488 h 2164296"/>
              <a:gd name="connsiteX110" fmla="*/ 266700 w 2171700"/>
              <a:gd name="connsiteY110" fmla="*/ 471913 h 2164296"/>
              <a:gd name="connsiteX111" fmla="*/ 276225 w 2171700"/>
              <a:gd name="connsiteY111" fmla="*/ 443338 h 2164296"/>
              <a:gd name="connsiteX112" fmla="*/ 285750 w 2171700"/>
              <a:gd name="connsiteY112" fmla="*/ 429050 h 2164296"/>
              <a:gd name="connsiteX113" fmla="*/ 295275 w 2171700"/>
              <a:gd name="connsiteY113" fmla="*/ 405238 h 2164296"/>
              <a:gd name="connsiteX114" fmla="*/ 314325 w 2171700"/>
              <a:gd name="connsiteY114" fmla="*/ 381425 h 2164296"/>
              <a:gd name="connsiteX115" fmla="*/ 333375 w 2171700"/>
              <a:gd name="connsiteY115" fmla="*/ 333800 h 2164296"/>
              <a:gd name="connsiteX116" fmla="*/ 361950 w 2171700"/>
              <a:gd name="connsiteY116" fmla="*/ 290938 h 2164296"/>
              <a:gd name="connsiteX117" fmla="*/ 385762 w 2171700"/>
              <a:gd name="connsiteY117" fmla="*/ 248075 h 2164296"/>
              <a:gd name="connsiteX118" fmla="*/ 400050 w 2171700"/>
              <a:gd name="connsiteY118" fmla="*/ 229025 h 2164296"/>
              <a:gd name="connsiteX119" fmla="*/ 423862 w 2171700"/>
              <a:gd name="connsiteY119" fmla="*/ 214738 h 2164296"/>
              <a:gd name="connsiteX120" fmla="*/ 447675 w 2171700"/>
              <a:gd name="connsiteY120" fmla="*/ 190925 h 2164296"/>
              <a:gd name="connsiteX121" fmla="*/ 461962 w 2171700"/>
              <a:gd name="connsiteY121" fmla="*/ 181400 h 2164296"/>
              <a:gd name="connsiteX122" fmla="*/ 495300 w 2171700"/>
              <a:gd name="connsiteY122" fmla="*/ 143300 h 2164296"/>
              <a:gd name="connsiteX123" fmla="*/ 509587 w 2171700"/>
              <a:gd name="connsiteY123" fmla="*/ 133775 h 2164296"/>
              <a:gd name="connsiteX124" fmla="*/ 619125 w 2171700"/>
              <a:gd name="connsiteY124" fmla="*/ 71863 h 2164296"/>
              <a:gd name="connsiteX125" fmla="*/ 633412 w 2171700"/>
              <a:gd name="connsiteY125" fmla="*/ 52813 h 2164296"/>
              <a:gd name="connsiteX126" fmla="*/ 652462 w 2171700"/>
              <a:gd name="connsiteY126" fmla="*/ 48050 h 2164296"/>
              <a:gd name="connsiteX127" fmla="*/ 676275 w 2171700"/>
              <a:gd name="connsiteY127" fmla="*/ 38525 h 2164296"/>
              <a:gd name="connsiteX128" fmla="*/ 719137 w 2171700"/>
              <a:gd name="connsiteY128" fmla="*/ 24238 h 2164296"/>
              <a:gd name="connsiteX129" fmla="*/ 747712 w 2171700"/>
              <a:gd name="connsiteY129" fmla="*/ 14713 h 2164296"/>
              <a:gd name="connsiteX130" fmla="*/ 795337 w 2171700"/>
              <a:gd name="connsiteY130" fmla="*/ 9950 h 2164296"/>
              <a:gd name="connsiteX131" fmla="*/ 866775 w 2171700"/>
              <a:gd name="connsiteY13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619250 w 2171700"/>
              <a:gd name="connsiteY58" fmla="*/ 1910188 h 2164296"/>
              <a:gd name="connsiteX59" fmla="*/ 1571625 w 2171700"/>
              <a:gd name="connsiteY59" fmla="*/ 1929238 h 2164296"/>
              <a:gd name="connsiteX60" fmla="*/ 1404937 w 2171700"/>
              <a:gd name="connsiteY60" fmla="*/ 2029250 h 2164296"/>
              <a:gd name="connsiteX61" fmla="*/ 1333500 w 2171700"/>
              <a:gd name="connsiteY61" fmla="*/ 2053063 h 2164296"/>
              <a:gd name="connsiteX62" fmla="*/ 1319212 w 2171700"/>
              <a:gd name="connsiteY62" fmla="*/ 2062588 h 2164296"/>
              <a:gd name="connsiteX63" fmla="*/ 1281112 w 2171700"/>
              <a:gd name="connsiteY63" fmla="*/ 2072113 h 2164296"/>
              <a:gd name="connsiteX64" fmla="*/ 1257300 w 2171700"/>
              <a:gd name="connsiteY64" fmla="*/ 2086400 h 2164296"/>
              <a:gd name="connsiteX65" fmla="*/ 1204912 w 2171700"/>
              <a:gd name="connsiteY65" fmla="*/ 2100688 h 2164296"/>
              <a:gd name="connsiteX66" fmla="*/ 1162050 w 2171700"/>
              <a:gd name="connsiteY66" fmla="*/ 2119738 h 2164296"/>
              <a:gd name="connsiteX67" fmla="*/ 1143000 w 2171700"/>
              <a:gd name="connsiteY67" fmla="*/ 2134025 h 2164296"/>
              <a:gd name="connsiteX68" fmla="*/ 1071562 w 2171700"/>
              <a:gd name="connsiteY68" fmla="*/ 2148313 h 2164296"/>
              <a:gd name="connsiteX69" fmla="*/ 1042987 w 2171700"/>
              <a:gd name="connsiteY69" fmla="*/ 2162600 h 2164296"/>
              <a:gd name="connsiteX70" fmla="*/ 909637 w 2171700"/>
              <a:gd name="connsiteY70" fmla="*/ 2157838 h 2164296"/>
              <a:gd name="connsiteX71" fmla="*/ 800100 w 2171700"/>
              <a:gd name="connsiteY71" fmla="*/ 2105450 h 2164296"/>
              <a:gd name="connsiteX72" fmla="*/ 762000 w 2171700"/>
              <a:gd name="connsiteY72" fmla="*/ 2091163 h 2164296"/>
              <a:gd name="connsiteX73" fmla="*/ 714375 w 2171700"/>
              <a:gd name="connsiteY73" fmla="*/ 2062588 h 2164296"/>
              <a:gd name="connsiteX74" fmla="*/ 657225 w 2171700"/>
              <a:gd name="connsiteY74" fmla="*/ 2038775 h 2164296"/>
              <a:gd name="connsiteX75" fmla="*/ 623887 w 2171700"/>
              <a:gd name="connsiteY75" fmla="*/ 2005438 h 2164296"/>
              <a:gd name="connsiteX76" fmla="*/ 585787 w 2171700"/>
              <a:gd name="connsiteY76" fmla="*/ 1976863 h 2164296"/>
              <a:gd name="connsiteX77" fmla="*/ 571500 w 2171700"/>
              <a:gd name="connsiteY77" fmla="*/ 1957813 h 2164296"/>
              <a:gd name="connsiteX78" fmla="*/ 557212 w 2171700"/>
              <a:gd name="connsiteY78" fmla="*/ 1934000 h 2164296"/>
              <a:gd name="connsiteX79" fmla="*/ 523875 w 2171700"/>
              <a:gd name="connsiteY79" fmla="*/ 1895900 h 2164296"/>
              <a:gd name="connsiteX80" fmla="*/ 381000 w 2171700"/>
              <a:gd name="connsiteY80" fmla="*/ 1705400 h 2164296"/>
              <a:gd name="connsiteX81" fmla="*/ 366712 w 2171700"/>
              <a:gd name="connsiteY81" fmla="*/ 1686350 h 2164296"/>
              <a:gd name="connsiteX82" fmla="*/ 347662 w 2171700"/>
              <a:gd name="connsiteY82" fmla="*/ 1657775 h 2164296"/>
              <a:gd name="connsiteX83" fmla="*/ 290512 w 2171700"/>
              <a:gd name="connsiteY83" fmla="*/ 1600625 h 2164296"/>
              <a:gd name="connsiteX84" fmla="*/ 266700 w 2171700"/>
              <a:gd name="connsiteY84" fmla="*/ 1576813 h 2164296"/>
              <a:gd name="connsiteX85" fmla="*/ 252412 w 2171700"/>
              <a:gd name="connsiteY85" fmla="*/ 1562525 h 2164296"/>
              <a:gd name="connsiteX86" fmla="*/ 214312 w 2171700"/>
              <a:gd name="connsiteY86" fmla="*/ 1538713 h 2164296"/>
              <a:gd name="connsiteX87" fmla="*/ 190500 w 2171700"/>
              <a:gd name="connsiteY87" fmla="*/ 1510138 h 2164296"/>
              <a:gd name="connsiteX88" fmla="*/ 166687 w 2171700"/>
              <a:gd name="connsiteY88" fmla="*/ 1491088 h 2164296"/>
              <a:gd name="connsiteX89" fmla="*/ 147637 w 2171700"/>
              <a:gd name="connsiteY89" fmla="*/ 1462513 h 2164296"/>
              <a:gd name="connsiteX90" fmla="*/ 123825 w 2171700"/>
              <a:gd name="connsiteY90" fmla="*/ 1438700 h 2164296"/>
              <a:gd name="connsiteX91" fmla="*/ 114300 w 2171700"/>
              <a:gd name="connsiteY91" fmla="*/ 1424413 h 2164296"/>
              <a:gd name="connsiteX92" fmla="*/ 95250 w 2171700"/>
              <a:gd name="connsiteY92" fmla="*/ 1405363 h 2164296"/>
              <a:gd name="connsiteX93" fmla="*/ 76200 w 2171700"/>
              <a:gd name="connsiteY93" fmla="*/ 1376788 h 2164296"/>
              <a:gd name="connsiteX94" fmla="*/ 61912 w 2171700"/>
              <a:gd name="connsiteY94" fmla="*/ 1362500 h 2164296"/>
              <a:gd name="connsiteX95" fmla="*/ 52387 w 2171700"/>
              <a:gd name="connsiteY95" fmla="*/ 1348213 h 2164296"/>
              <a:gd name="connsiteX96" fmla="*/ 38100 w 2171700"/>
              <a:gd name="connsiteY96" fmla="*/ 1329163 h 2164296"/>
              <a:gd name="connsiteX97" fmla="*/ 33337 w 2171700"/>
              <a:gd name="connsiteY97" fmla="*/ 1305350 h 2164296"/>
              <a:gd name="connsiteX98" fmla="*/ 9525 w 2171700"/>
              <a:gd name="connsiteY98" fmla="*/ 1257725 h 2164296"/>
              <a:gd name="connsiteX99" fmla="*/ 0 w 2171700"/>
              <a:gd name="connsiteY99" fmla="*/ 1200575 h 2164296"/>
              <a:gd name="connsiteX100" fmla="*/ 4762 w 2171700"/>
              <a:gd name="connsiteY100" fmla="*/ 991025 h 2164296"/>
              <a:gd name="connsiteX101" fmla="*/ 42862 w 2171700"/>
              <a:gd name="connsiteY101" fmla="*/ 929113 h 2164296"/>
              <a:gd name="connsiteX102" fmla="*/ 66675 w 2171700"/>
              <a:gd name="connsiteY102" fmla="*/ 891013 h 2164296"/>
              <a:gd name="connsiteX103" fmla="*/ 85725 w 2171700"/>
              <a:gd name="connsiteY103" fmla="*/ 848150 h 2164296"/>
              <a:gd name="connsiteX104" fmla="*/ 147637 w 2171700"/>
              <a:gd name="connsiteY104" fmla="*/ 733850 h 2164296"/>
              <a:gd name="connsiteX105" fmla="*/ 209550 w 2171700"/>
              <a:gd name="connsiteY105" fmla="*/ 610025 h 2164296"/>
              <a:gd name="connsiteX106" fmla="*/ 214312 w 2171700"/>
              <a:gd name="connsiteY106" fmla="*/ 581450 h 2164296"/>
              <a:gd name="connsiteX107" fmla="*/ 238125 w 2171700"/>
              <a:gd name="connsiteY107" fmla="*/ 538588 h 2164296"/>
              <a:gd name="connsiteX108" fmla="*/ 252412 w 2171700"/>
              <a:gd name="connsiteY108" fmla="*/ 500488 h 2164296"/>
              <a:gd name="connsiteX109" fmla="*/ 266700 w 2171700"/>
              <a:gd name="connsiteY109" fmla="*/ 471913 h 2164296"/>
              <a:gd name="connsiteX110" fmla="*/ 276225 w 2171700"/>
              <a:gd name="connsiteY110" fmla="*/ 443338 h 2164296"/>
              <a:gd name="connsiteX111" fmla="*/ 285750 w 2171700"/>
              <a:gd name="connsiteY111" fmla="*/ 429050 h 2164296"/>
              <a:gd name="connsiteX112" fmla="*/ 295275 w 2171700"/>
              <a:gd name="connsiteY112" fmla="*/ 405238 h 2164296"/>
              <a:gd name="connsiteX113" fmla="*/ 314325 w 2171700"/>
              <a:gd name="connsiteY113" fmla="*/ 381425 h 2164296"/>
              <a:gd name="connsiteX114" fmla="*/ 333375 w 2171700"/>
              <a:gd name="connsiteY114" fmla="*/ 333800 h 2164296"/>
              <a:gd name="connsiteX115" fmla="*/ 361950 w 2171700"/>
              <a:gd name="connsiteY115" fmla="*/ 290938 h 2164296"/>
              <a:gd name="connsiteX116" fmla="*/ 385762 w 2171700"/>
              <a:gd name="connsiteY116" fmla="*/ 248075 h 2164296"/>
              <a:gd name="connsiteX117" fmla="*/ 400050 w 2171700"/>
              <a:gd name="connsiteY117" fmla="*/ 229025 h 2164296"/>
              <a:gd name="connsiteX118" fmla="*/ 423862 w 2171700"/>
              <a:gd name="connsiteY118" fmla="*/ 214738 h 2164296"/>
              <a:gd name="connsiteX119" fmla="*/ 447675 w 2171700"/>
              <a:gd name="connsiteY119" fmla="*/ 190925 h 2164296"/>
              <a:gd name="connsiteX120" fmla="*/ 461962 w 2171700"/>
              <a:gd name="connsiteY120" fmla="*/ 181400 h 2164296"/>
              <a:gd name="connsiteX121" fmla="*/ 495300 w 2171700"/>
              <a:gd name="connsiteY121" fmla="*/ 143300 h 2164296"/>
              <a:gd name="connsiteX122" fmla="*/ 509587 w 2171700"/>
              <a:gd name="connsiteY122" fmla="*/ 133775 h 2164296"/>
              <a:gd name="connsiteX123" fmla="*/ 619125 w 2171700"/>
              <a:gd name="connsiteY123" fmla="*/ 71863 h 2164296"/>
              <a:gd name="connsiteX124" fmla="*/ 633412 w 2171700"/>
              <a:gd name="connsiteY124" fmla="*/ 52813 h 2164296"/>
              <a:gd name="connsiteX125" fmla="*/ 652462 w 2171700"/>
              <a:gd name="connsiteY125" fmla="*/ 48050 h 2164296"/>
              <a:gd name="connsiteX126" fmla="*/ 676275 w 2171700"/>
              <a:gd name="connsiteY126" fmla="*/ 38525 h 2164296"/>
              <a:gd name="connsiteX127" fmla="*/ 719137 w 2171700"/>
              <a:gd name="connsiteY127" fmla="*/ 24238 h 2164296"/>
              <a:gd name="connsiteX128" fmla="*/ 747712 w 2171700"/>
              <a:gd name="connsiteY128" fmla="*/ 14713 h 2164296"/>
              <a:gd name="connsiteX129" fmla="*/ 795337 w 2171700"/>
              <a:gd name="connsiteY129" fmla="*/ 9950 h 2164296"/>
              <a:gd name="connsiteX130" fmla="*/ 866775 w 2171700"/>
              <a:gd name="connsiteY13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571625 w 2171700"/>
              <a:gd name="connsiteY58" fmla="*/ 1929238 h 2164296"/>
              <a:gd name="connsiteX59" fmla="*/ 1404937 w 2171700"/>
              <a:gd name="connsiteY59" fmla="*/ 2029250 h 2164296"/>
              <a:gd name="connsiteX60" fmla="*/ 1333500 w 2171700"/>
              <a:gd name="connsiteY60" fmla="*/ 2053063 h 2164296"/>
              <a:gd name="connsiteX61" fmla="*/ 1319212 w 2171700"/>
              <a:gd name="connsiteY61" fmla="*/ 2062588 h 2164296"/>
              <a:gd name="connsiteX62" fmla="*/ 1281112 w 2171700"/>
              <a:gd name="connsiteY62" fmla="*/ 2072113 h 2164296"/>
              <a:gd name="connsiteX63" fmla="*/ 1257300 w 2171700"/>
              <a:gd name="connsiteY63" fmla="*/ 2086400 h 2164296"/>
              <a:gd name="connsiteX64" fmla="*/ 1204912 w 2171700"/>
              <a:gd name="connsiteY64" fmla="*/ 2100688 h 2164296"/>
              <a:gd name="connsiteX65" fmla="*/ 1162050 w 2171700"/>
              <a:gd name="connsiteY65" fmla="*/ 2119738 h 2164296"/>
              <a:gd name="connsiteX66" fmla="*/ 1143000 w 2171700"/>
              <a:gd name="connsiteY66" fmla="*/ 2134025 h 2164296"/>
              <a:gd name="connsiteX67" fmla="*/ 1071562 w 2171700"/>
              <a:gd name="connsiteY67" fmla="*/ 2148313 h 2164296"/>
              <a:gd name="connsiteX68" fmla="*/ 1042987 w 2171700"/>
              <a:gd name="connsiteY68" fmla="*/ 2162600 h 2164296"/>
              <a:gd name="connsiteX69" fmla="*/ 909637 w 2171700"/>
              <a:gd name="connsiteY69" fmla="*/ 2157838 h 2164296"/>
              <a:gd name="connsiteX70" fmla="*/ 800100 w 2171700"/>
              <a:gd name="connsiteY70" fmla="*/ 2105450 h 2164296"/>
              <a:gd name="connsiteX71" fmla="*/ 762000 w 2171700"/>
              <a:gd name="connsiteY71" fmla="*/ 2091163 h 2164296"/>
              <a:gd name="connsiteX72" fmla="*/ 714375 w 2171700"/>
              <a:gd name="connsiteY72" fmla="*/ 2062588 h 2164296"/>
              <a:gd name="connsiteX73" fmla="*/ 657225 w 2171700"/>
              <a:gd name="connsiteY73" fmla="*/ 2038775 h 2164296"/>
              <a:gd name="connsiteX74" fmla="*/ 623887 w 2171700"/>
              <a:gd name="connsiteY74" fmla="*/ 2005438 h 2164296"/>
              <a:gd name="connsiteX75" fmla="*/ 585787 w 2171700"/>
              <a:gd name="connsiteY75" fmla="*/ 1976863 h 2164296"/>
              <a:gd name="connsiteX76" fmla="*/ 571500 w 2171700"/>
              <a:gd name="connsiteY76" fmla="*/ 1957813 h 2164296"/>
              <a:gd name="connsiteX77" fmla="*/ 557212 w 2171700"/>
              <a:gd name="connsiteY77" fmla="*/ 1934000 h 2164296"/>
              <a:gd name="connsiteX78" fmla="*/ 523875 w 2171700"/>
              <a:gd name="connsiteY78" fmla="*/ 1895900 h 2164296"/>
              <a:gd name="connsiteX79" fmla="*/ 381000 w 2171700"/>
              <a:gd name="connsiteY79" fmla="*/ 1705400 h 2164296"/>
              <a:gd name="connsiteX80" fmla="*/ 366712 w 2171700"/>
              <a:gd name="connsiteY80" fmla="*/ 1686350 h 2164296"/>
              <a:gd name="connsiteX81" fmla="*/ 347662 w 2171700"/>
              <a:gd name="connsiteY81" fmla="*/ 1657775 h 2164296"/>
              <a:gd name="connsiteX82" fmla="*/ 290512 w 2171700"/>
              <a:gd name="connsiteY82" fmla="*/ 1600625 h 2164296"/>
              <a:gd name="connsiteX83" fmla="*/ 266700 w 2171700"/>
              <a:gd name="connsiteY83" fmla="*/ 1576813 h 2164296"/>
              <a:gd name="connsiteX84" fmla="*/ 252412 w 2171700"/>
              <a:gd name="connsiteY84" fmla="*/ 1562525 h 2164296"/>
              <a:gd name="connsiteX85" fmla="*/ 214312 w 2171700"/>
              <a:gd name="connsiteY85" fmla="*/ 1538713 h 2164296"/>
              <a:gd name="connsiteX86" fmla="*/ 190500 w 2171700"/>
              <a:gd name="connsiteY86" fmla="*/ 1510138 h 2164296"/>
              <a:gd name="connsiteX87" fmla="*/ 166687 w 2171700"/>
              <a:gd name="connsiteY87" fmla="*/ 1491088 h 2164296"/>
              <a:gd name="connsiteX88" fmla="*/ 147637 w 2171700"/>
              <a:gd name="connsiteY88" fmla="*/ 1462513 h 2164296"/>
              <a:gd name="connsiteX89" fmla="*/ 123825 w 2171700"/>
              <a:gd name="connsiteY89" fmla="*/ 1438700 h 2164296"/>
              <a:gd name="connsiteX90" fmla="*/ 114300 w 2171700"/>
              <a:gd name="connsiteY90" fmla="*/ 1424413 h 2164296"/>
              <a:gd name="connsiteX91" fmla="*/ 95250 w 2171700"/>
              <a:gd name="connsiteY91" fmla="*/ 1405363 h 2164296"/>
              <a:gd name="connsiteX92" fmla="*/ 76200 w 2171700"/>
              <a:gd name="connsiteY92" fmla="*/ 1376788 h 2164296"/>
              <a:gd name="connsiteX93" fmla="*/ 61912 w 2171700"/>
              <a:gd name="connsiteY93" fmla="*/ 1362500 h 2164296"/>
              <a:gd name="connsiteX94" fmla="*/ 52387 w 2171700"/>
              <a:gd name="connsiteY94" fmla="*/ 1348213 h 2164296"/>
              <a:gd name="connsiteX95" fmla="*/ 38100 w 2171700"/>
              <a:gd name="connsiteY95" fmla="*/ 1329163 h 2164296"/>
              <a:gd name="connsiteX96" fmla="*/ 33337 w 2171700"/>
              <a:gd name="connsiteY96" fmla="*/ 1305350 h 2164296"/>
              <a:gd name="connsiteX97" fmla="*/ 9525 w 2171700"/>
              <a:gd name="connsiteY97" fmla="*/ 1257725 h 2164296"/>
              <a:gd name="connsiteX98" fmla="*/ 0 w 2171700"/>
              <a:gd name="connsiteY98" fmla="*/ 1200575 h 2164296"/>
              <a:gd name="connsiteX99" fmla="*/ 4762 w 2171700"/>
              <a:gd name="connsiteY99" fmla="*/ 991025 h 2164296"/>
              <a:gd name="connsiteX100" fmla="*/ 42862 w 2171700"/>
              <a:gd name="connsiteY100" fmla="*/ 929113 h 2164296"/>
              <a:gd name="connsiteX101" fmla="*/ 66675 w 2171700"/>
              <a:gd name="connsiteY101" fmla="*/ 891013 h 2164296"/>
              <a:gd name="connsiteX102" fmla="*/ 85725 w 2171700"/>
              <a:gd name="connsiteY102" fmla="*/ 848150 h 2164296"/>
              <a:gd name="connsiteX103" fmla="*/ 147637 w 2171700"/>
              <a:gd name="connsiteY103" fmla="*/ 733850 h 2164296"/>
              <a:gd name="connsiteX104" fmla="*/ 209550 w 2171700"/>
              <a:gd name="connsiteY104" fmla="*/ 610025 h 2164296"/>
              <a:gd name="connsiteX105" fmla="*/ 214312 w 2171700"/>
              <a:gd name="connsiteY105" fmla="*/ 581450 h 2164296"/>
              <a:gd name="connsiteX106" fmla="*/ 238125 w 2171700"/>
              <a:gd name="connsiteY106" fmla="*/ 538588 h 2164296"/>
              <a:gd name="connsiteX107" fmla="*/ 252412 w 2171700"/>
              <a:gd name="connsiteY107" fmla="*/ 500488 h 2164296"/>
              <a:gd name="connsiteX108" fmla="*/ 266700 w 2171700"/>
              <a:gd name="connsiteY108" fmla="*/ 471913 h 2164296"/>
              <a:gd name="connsiteX109" fmla="*/ 276225 w 2171700"/>
              <a:gd name="connsiteY109" fmla="*/ 443338 h 2164296"/>
              <a:gd name="connsiteX110" fmla="*/ 285750 w 2171700"/>
              <a:gd name="connsiteY110" fmla="*/ 429050 h 2164296"/>
              <a:gd name="connsiteX111" fmla="*/ 295275 w 2171700"/>
              <a:gd name="connsiteY111" fmla="*/ 405238 h 2164296"/>
              <a:gd name="connsiteX112" fmla="*/ 314325 w 2171700"/>
              <a:gd name="connsiteY112" fmla="*/ 381425 h 2164296"/>
              <a:gd name="connsiteX113" fmla="*/ 333375 w 2171700"/>
              <a:gd name="connsiteY113" fmla="*/ 333800 h 2164296"/>
              <a:gd name="connsiteX114" fmla="*/ 361950 w 2171700"/>
              <a:gd name="connsiteY114" fmla="*/ 290938 h 2164296"/>
              <a:gd name="connsiteX115" fmla="*/ 385762 w 2171700"/>
              <a:gd name="connsiteY115" fmla="*/ 248075 h 2164296"/>
              <a:gd name="connsiteX116" fmla="*/ 400050 w 2171700"/>
              <a:gd name="connsiteY116" fmla="*/ 229025 h 2164296"/>
              <a:gd name="connsiteX117" fmla="*/ 423862 w 2171700"/>
              <a:gd name="connsiteY117" fmla="*/ 214738 h 2164296"/>
              <a:gd name="connsiteX118" fmla="*/ 447675 w 2171700"/>
              <a:gd name="connsiteY118" fmla="*/ 190925 h 2164296"/>
              <a:gd name="connsiteX119" fmla="*/ 461962 w 2171700"/>
              <a:gd name="connsiteY119" fmla="*/ 181400 h 2164296"/>
              <a:gd name="connsiteX120" fmla="*/ 495300 w 2171700"/>
              <a:gd name="connsiteY120" fmla="*/ 143300 h 2164296"/>
              <a:gd name="connsiteX121" fmla="*/ 509587 w 2171700"/>
              <a:gd name="connsiteY121" fmla="*/ 133775 h 2164296"/>
              <a:gd name="connsiteX122" fmla="*/ 619125 w 2171700"/>
              <a:gd name="connsiteY122" fmla="*/ 71863 h 2164296"/>
              <a:gd name="connsiteX123" fmla="*/ 633412 w 2171700"/>
              <a:gd name="connsiteY123" fmla="*/ 52813 h 2164296"/>
              <a:gd name="connsiteX124" fmla="*/ 652462 w 2171700"/>
              <a:gd name="connsiteY124" fmla="*/ 48050 h 2164296"/>
              <a:gd name="connsiteX125" fmla="*/ 676275 w 2171700"/>
              <a:gd name="connsiteY125" fmla="*/ 38525 h 2164296"/>
              <a:gd name="connsiteX126" fmla="*/ 719137 w 2171700"/>
              <a:gd name="connsiteY126" fmla="*/ 24238 h 2164296"/>
              <a:gd name="connsiteX127" fmla="*/ 747712 w 2171700"/>
              <a:gd name="connsiteY127" fmla="*/ 14713 h 2164296"/>
              <a:gd name="connsiteX128" fmla="*/ 795337 w 2171700"/>
              <a:gd name="connsiteY128" fmla="*/ 9950 h 2164296"/>
              <a:gd name="connsiteX129" fmla="*/ 866775 w 2171700"/>
              <a:gd name="connsiteY12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404937 w 2171700"/>
              <a:gd name="connsiteY58" fmla="*/ 2029250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12174 w 2183774"/>
              <a:gd name="connsiteY0" fmla="*/ 425 h 2164296"/>
              <a:gd name="connsiteX1" fmla="*/ 964574 w 2183774"/>
              <a:gd name="connsiteY1" fmla="*/ 5188 h 2164296"/>
              <a:gd name="connsiteX2" fmla="*/ 988386 w 2183774"/>
              <a:gd name="connsiteY2" fmla="*/ 9950 h 2164296"/>
              <a:gd name="connsiteX3" fmla="*/ 1055061 w 2183774"/>
              <a:gd name="connsiteY3" fmla="*/ 19475 h 2164296"/>
              <a:gd name="connsiteX4" fmla="*/ 1083636 w 2183774"/>
              <a:gd name="connsiteY4" fmla="*/ 24238 h 2164296"/>
              <a:gd name="connsiteX5" fmla="*/ 1107449 w 2183774"/>
              <a:gd name="connsiteY5" fmla="*/ 38525 h 2164296"/>
              <a:gd name="connsiteX6" fmla="*/ 1150311 w 2183774"/>
              <a:gd name="connsiteY6" fmla="*/ 48050 h 2164296"/>
              <a:gd name="connsiteX7" fmla="*/ 1169361 w 2183774"/>
              <a:gd name="connsiteY7" fmla="*/ 52813 h 2164296"/>
              <a:gd name="connsiteX8" fmla="*/ 1202699 w 2183774"/>
              <a:gd name="connsiteY8" fmla="*/ 57575 h 2164296"/>
              <a:gd name="connsiteX9" fmla="*/ 1297949 w 2183774"/>
              <a:gd name="connsiteY9" fmla="*/ 71863 h 2164296"/>
              <a:gd name="connsiteX10" fmla="*/ 1469399 w 2183774"/>
              <a:gd name="connsiteY10" fmla="*/ 109963 h 2164296"/>
              <a:gd name="connsiteX11" fmla="*/ 1493211 w 2183774"/>
              <a:gd name="connsiteY11" fmla="*/ 114725 h 2164296"/>
              <a:gd name="connsiteX12" fmla="*/ 1631324 w 2183774"/>
              <a:gd name="connsiteY12" fmla="*/ 124250 h 2164296"/>
              <a:gd name="connsiteX13" fmla="*/ 1664661 w 2183774"/>
              <a:gd name="connsiteY13" fmla="*/ 129013 h 2164296"/>
              <a:gd name="connsiteX14" fmla="*/ 1688474 w 2183774"/>
              <a:gd name="connsiteY14" fmla="*/ 133775 h 2164296"/>
              <a:gd name="connsiteX15" fmla="*/ 1736099 w 2183774"/>
              <a:gd name="connsiteY15" fmla="*/ 138538 h 2164296"/>
              <a:gd name="connsiteX16" fmla="*/ 1774199 w 2183774"/>
              <a:gd name="connsiteY16" fmla="*/ 152825 h 2164296"/>
              <a:gd name="connsiteX17" fmla="*/ 1788486 w 2183774"/>
              <a:gd name="connsiteY17" fmla="*/ 162350 h 2164296"/>
              <a:gd name="connsiteX18" fmla="*/ 1812299 w 2183774"/>
              <a:gd name="connsiteY18" fmla="*/ 167113 h 2164296"/>
              <a:gd name="connsiteX19" fmla="*/ 1836111 w 2183774"/>
              <a:gd name="connsiteY19" fmla="*/ 181400 h 2164296"/>
              <a:gd name="connsiteX20" fmla="*/ 1859924 w 2183774"/>
              <a:gd name="connsiteY20" fmla="*/ 190925 h 2164296"/>
              <a:gd name="connsiteX21" fmla="*/ 1874211 w 2183774"/>
              <a:gd name="connsiteY21" fmla="*/ 205213 h 2164296"/>
              <a:gd name="connsiteX22" fmla="*/ 1907549 w 2183774"/>
              <a:gd name="connsiteY22" fmla="*/ 229025 h 2164296"/>
              <a:gd name="connsiteX23" fmla="*/ 1959936 w 2183774"/>
              <a:gd name="connsiteY23" fmla="*/ 267125 h 2164296"/>
              <a:gd name="connsiteX24" fmla="*/ 1983749 w 2183774"/>
              <a:gd name="connsiteY24" fmla="*/ 295700 h 2164296"/>
              <a:gd name="connsiteX25" fmla="*/ 2017086 w 2183774"/>
              <a:gd name="connsiteY25" fmla="*/ 348088 h 2164296"/>
              <a:gd name="connsiteX26" fmla="*/ 2036136 w 2183774"/>
              <a:gd name="connsiteY26" fmla="*/ 410000 h 2164296"/>
              <a:gd name="connsiteX27" fmla="*/ 2045661 w 2183774"/>
              <a:gd name="connsiteY27" fmla="*/ 443338 h 2164296"/>
              <a:gd name="connsiteX28" fmla="*/ 2050424 w 2183774"/>
              <a:gd name="connsiteY28" fmla="*/ 457625 h 2164296"/>
              <a:gd name="connsiteX29" fmla="*/ 2059949 w 2183774"/>
              <a:gd name="connsiteY29" fmla="*/ 476675 h 2164296"/>
              <a:gd name="connsiteX30" fmla="*/ 2078999 w 2183774"/>
              <a:gd name="connsiteY30" fmla="*/ 548113 h 2164296"/>
              <a:gd name="connsiteX31" fmla="*/ 2093286 w 2183774"/>
              <a:gd name="connsiteY31" fmla="*/ 610025 h 2164296"/>
              <a:gd name="connsiteX32" fmla="*/ 2098049 w 2183774"/>
              <a:gd name="connsiteY32" fmla="*/ 914825 h 2164296"/>
              <a:gd name="connsiteX33" fmla="*/ 2136149 w 2183774"/>
              <a:gd name="connsiteY33" fmla="*/ 1086275 h 2164296"/>
              <a:gd name="connsiteX34" fmla="*/ 2140911 w 2183774"/>
              <a:gd name="connsiteY34" fmla="*/ 1148188 h 2164296"/>
              <a:gd name="connsiteX35" fmla="*/ 2155199 w 2183774"/>
              <a:gd name="connsiteY35" fmla="*/ 1191050 h 2164296"/>
              <a:gd name="connsiteX36" fmla="*/ 2159961 w 2183774"/>
              <a:gd name="connsiteY36" fmla="*/ 1224388 h 2164296"/>
              <a:gd name="connsiteX37" fmla="*/ 2179011 w 2183774"/>
              <a:gd name="connsiteY37" fmla="*/ 1276775 h 2164296"/>
              <a:gd name="connsiteX38" fmla="*/ 2183774 w 2183774"/>
              <a:gd name="connsiteY38" fmla="*/ 1300588 h 2164296"/>
              <a:gd name="connsiteX39" fmla="*/ 2179011 w 2183774"/>
              <a:gd name="connsiteY39" fmla="*/ 1514900 h 2164296"/>
              <a:gd name="connsiteX40" fmla="*/ 2169486 w 2183774"/>
              <a:gd name="connsiteY40" fmla="*/ 1529188 h 2164296"/>
              <a:gd name="connsiteX41" fmla="*/ 2159961 w 2183774"/>
              <a:gd name="connsiteY41" fmla="*/ 1562525 h 2164296"/>
              <a:gd name="connsiteX42" fmla="*/ 2150436 w 2183774"/>
              <a:gd name="connsiteY42" fmla="*/ 1576813 h 2164296"/>
              <a:gd name="connsiteX43" fmla="*/ 2145674 w 2183774"/>
              <a:gd name="connsiteY43" fmla="*/ 1600625 h 2164296"/>
              <a:gd name="connsiteX44" fmla="*/ 2131386 w 2183774"/>
              <a:gd name="connsiteY44" fmla="*/ 1614913 h 2164296"/>
              <a:gd name="connsiteX45" fmla="*/ 2121861 w 2183774"/>
              <a:gd name="connsiteY45" fmla="*/ 1629200 h 2164296"/>
              <a:gd name="connsiteX46" fmla="*/ 2093286 w 2183774"/>
              <a:gd name="connsiteY46" fmla="*/ 1657775 h 2164296"/>
              <a:gd name="connsiteX47" fmla="*/ 2064711 w 2183774"/>
              <a:gd name="connsiteY47" fmla="*/ 1686350 h 2164296"/>
              <a:gd name="connsiteX48" fmla="*/ 2055186 w 2183774"/>
              <a:gd name="connsiteY48" fmla="*/ 1700638 h 2164296"/>
              <a:gd name="connsiteX49" fmla="*/ 2040899 w 2183774"/>
              <a:gd name="connsiteY49" fmla="*/ 1710163 h 2164296"/>
              <a:gd name="connsiteX50" fmla="*/ 2017086 w 2183774"/>
              <a:gd name="connsiteY50" fmla="*/ 1724450 h 2164296"/>
              <a:gd name="connsiteX51" fmla="*/ 1993274 w 2183774"/>
              <a:gd name="connsiteY51" fmla="*/ 1743500 h 2164296"/>
              <a:gd name="connsiteX52" fmla="*/ 1921836 w 2183774"/>
              <a:gd name="connsiteY52" fmla="*/ 1772075 h 2164296"/>
              <a:gd name="connsiteX53" fmla="*/ 1902786 w 2183774"/>
              <a:gd name="connsiteY53" fmla="*/ 1786363 h 2164296"/>
              <a:gd name="connsiteX54" fmla="*/ 1855161 w 2183774"/>
              <a:gd name="connsiteY54" fmla="*/ 1814938 h 2164296"/>
              <a:gd name="connsiteX55" fmla="*/ 1840874 w 2183774"/>
              <a:gd name="connsiteY55" fmla="*/ 1833988 h 2164296"/>
              <a:gd name="connsiteX56" fmla="*/ 1788486 w 2183774"/>
              <a:gd name="connsiteY56" fmla="*/ 1862563 h 2164296"/>
              <a:gd name="connsiteX57" fmla="*/ 1645612 w 2183774"/>
              <a:gd name="connsiteY57" fmla="*/ 1891137 h 2164296"/>
              <a:gd name="connsiteX58" fmla="*/ 1397961 w 2183774"/>
              <a:gd name="connsiteY58" fmla="*/ 2014962 h 2164296"/>
              <a:gd name="connsiteX59" fmla="*/ 1345574 w 2183774"/>
              <a:gd name="connsiteY59" fmla="*/ 2053063 h 2164296"/>
              <a:gd name="connsiteX60" fmla="*/ 1331286 w 2183774"/>
              <a:gd name="connsiteY60" fmla="*/ 2062588 h 2164296"/>
              <a:gd name="connsiteX61" fmla="*/ 1293186 w 2183774"/>
              <a:gd name="connsiteY61" fmla="*/ 2072113 h 2164296"/>
              <a:gd name="connsiteX62" fmla="*/ 1269374 w 2183774"/>
              <a:gd name="connsiteY62" fmla="*/ 2086400 h 2164296"/>
              <a:gd name="connsiteX63" fmla="*/ 1216986 w 2183774"/>
              <a:gd name="connsiteY63" fmla="*/ 2100688 h 2164296"/>
              <a:gd name="connsiteX64" fmla="*/ 1174124 w 2183774"/>
              <a:gd name="connsiteY64" fmla="*/ 2119738 h 2164296"/>
              <a:gd name="connsiteX65" fmla="*/ 1155074 w 2183774"/>
              <a:gd name="connsiteY65" fmla="*/ 2134025 h 2164296"/>
              <a:gd name="connsiteX66" fmla="*/ 1083636 w 2183774"/>
              <a:gd name="connsiteY66" fmla="*/ 2148313 h 2164296"/>
              <a:gd name="connsiteX67" fmla="*/ 1055061 w 2183774"/>
              <a:gd name="connsiteY67" fmla="*/ 2162600 h 2164296"/>
              <a:gd name="connsiteX68" fmla="*/ 921711 w 2183774"/>
              <a:gd name="connsiteY68" fmla="*/ 2157838 h 2164296"/>
              <a:gd name="connsiteX69" fmla="*/ 812174 w 2183774"/>
              <a:gd name="connsiteY69" fmla="*/ 2105450 h 2164296"/>
              <a:gd name="connsiteX70" fmla="*/ 774074 w 2183774"/>
              <a:gd name="connsiteY70" fmla="*/ 2091163 h 2164296"/>
              <a:gd name="connsiteX71" fmla="*/ 726449 w 2183774"/>
              <a:gd name="connsiteY71" fmla="*/ 2062588 h 2164296"/>
              <a:gd name="connsiteX72" fmla="*/ 669299 w 2183774"/>
              <a:gd name="connsiteY72" fmla="*/ 2038775 h 2164296"/>
              <a:gd name="connsiteX73" fmla="*/ 635961 w 2183774"/>
              <a:gd name="connsiteY73" fmla="*/ 2005438 h 2164296"/>
              <a:gd name="connsiteX74" fmla="*/ 597861 w 2183774"/>
              <a:gd name="connsiteY74" fmla="*/ 1976863 h 2164296"/>
              <a:gd name="connsiteX75" fmla="*/ 583574 w 2183774"/>
              <a:gd name="connsiteY75" fmla="*/ 1957813 h 2164296"/>
              <a:gd name="connsiteX76" fmla="*/ 569286 w 2183774"/>
              <a:gd name="connsiteY76" fmla="*/ 1934000 h 2164296"/>
              <a:gd name="connsiteX77" fmla="*/ 535949 w 2183774"/>
              <a:gd name="connsiteY77" fmla="*/ 1895900 h 2164296"/>
              <a:gd name="connsiteX78" fmla="*/ 393074 w 2183774"/>
              <a:gd name="connsiteY78" fmla="*/ 1705400 h 2164296"/>
              <a:gd name="connsiteX79" fmla="*/ 378786 w 2183774"/>
              <a:gd name="connsiteY79" fmla="*/ 1686350 h 2164296"/>
              <a:gd name="connsiteX80" fmla="*/ 359736 w 2183774"/>
              <a:gd name="connsiteY80" fmla="*/ 1657775 h 2164296"/>
              <a:gd name="connsiteX81" fmla="*/ 302586 w 2183774"/>
              <a:gd name="connsiteY81" fmla="*/ 1600625 h 2164296"/>
              <a:gd name="connsiteX82" fmla="*/ 278774 w 2183774"/>
              <a:gd name="connsiteY82" fmla="*/ 1576813 h 2164296"/>
              <a:gd name="connsiteX83" fmla="*/ 264486 w 2183774"/>
              <a:gd name="connsiteY83" fmla="*/ 1562525 h 2164296"/>
              <a:gd name="connsiteX84" fmla="*/ 226386 w 2183774"/>
              <a:gd name="connsiteY84" fmla="*/ 1538713 h 2164296"/>
              <a:gd name="connsiteX85" fmla="*/ 202574 w 2183774"/>
              <a:gd name="connsiteY85" fmla="*/ 1510138 h 2164296"/>
              <a:gd name="connsiteX86" fmla="*/ 178761 w 2183774"/>
              <a:gd name="connsiteY86" fmla="*/ 1491088 h 2164296"/>
              <a:gd name="connsiteX87" fmla="*/ 159711 w 2183774"/>
              <a:gd name="connsiteY87" fmla="*/ 1462513 h 2164296"/>
              <a:gd name="connsiteX88" fmla="*/ 135899 w 2183774"/>
              <a:gd name="connsiteY88" fmla="*/ 1438700 h 2164296"/>
              <a:gd name="connsiteX89" fmla="*/ 126374 w 2183774"/>
              <a:gd name="connsiteY89" fmla="*/ 1424413 h 2164296"/>
              <a:gd name="connsiteX90" fmla="*/ 107324 w 2183774"/>
              <a:gd name="connsiteY90" fmla="*/ 1405363 h 2164296"/>
              <a:gd name="connsiteX91" fmla="*/ 88274 w 2183774"/>
              <a:gd name="connsiteY91" fmla="*/ 1376788 h 2164296"/>
              <a:gd name="connsiteX92" fmla="*/ 73986 w 2183774"/>
              <a:gd name="connsiteY92" fmla="*/ 1362500 h 2164296"/>
              <a:gd name="connsiteX93" fmla="*/ 64461 w 2183774"/>
              <a:gd name="connsiteY93" fmla="*/ 1348213 h 2164296"/>
              <a:gd name="connsiteX94" fmla="*/ 50174 w 2183774"/>
              <a:gd name="connsiteY94" fmla="*/ 1329163 h 2164296"/>
              <a:gd name="connsiteX95" fmla="*/ 45411 w 2183774"/>
              <a:gd name="connsiteY95" fmla="*/ 1305350 h 2164296"/>
              <a:gd name="connsiteX96" fmla="*/ 21599 w 2183774"/>
              <a:gd name="connsiteY96" fmla="*/ 1257725 h 2164296"/>
              <a:gd name="connsiteX97" fmla="*/ 12074 w 2183774"/>
              <a:gd name="connsiteY97" fmla="*/ 1200575 h 2164296"/>
              <a:gd name="connsiteX98" fmla="*/ 16836 w 2183774"/>
              <a:gd name="connsiteY98" fmla="*/ 991025 h 2164296"/>
              <a:gd name="connsiteX99" fmla="*/ 54936 w 2183774"/>
              <a:gd name="connsiteY99" fmla="*/ 929113 h 2164296"/>
              <a:gd name="connsiteX100" fmla="*/ 78749 w 2183774"/>
              <a:gd name="connsiteY100" fmla="*/ 891013 h 2164296"/>
              <a:gd name="connsiteX101" fmla="*/ 97799 w 2183774"/>
              <a:gd name="connsiteY101" fmla="*/ 848150 h 2164296"/>
              <a:gd name="connsiteX102" fmla="*/ 159711 w 2183774"/>
              <a:gd name="connsiteY102" fmla="*/ 733850 h 2164296"/>
              <a:gd name="connsiteX103" fmla="*/ 221624 w 2183774"/>
              <a:gd name="connsiteY103" fmla="*/ 610025 h 2164296"/>
              <a:gd name="connsiteX104" fmla="*/ 226386 w 2183774"/>
              <a:gd name="connsiteY104" fmla="*/ 581450 h 2164296"/>
              <a:gd name="connsiteX105" fmla="*/ 250199 w 2183774"/>
              <a:gd name="connsiteY105" fmla="*/ 538588 h 2164296"/>
              <a:gd name="connsiteX106" fmla="*/ 264486 w 2183774"/>
              <a:gd name="connsiteY106" fmla="*/ 500488 h 2164296"/>
              <a:gd name="connsiteX107" fmla="*/ 278774 w 2183774"/>
              <a:gd name="connsiteY107" fmla="*/ 471913 h 2164296"/>
              <a:gd name="connsiteX108" fmla="*/ 288299 w 2183774"/>
              <a:gd name="connsiteY108" fmla="*/ 443338 h 2164296"/>
              <a:gd name="connsiteX109" fmla="*/ 297824 w 2183774"/>
              <a:gd name="connsiteY109" fmla="*/ 429050 h 2164296"/>
              <a:gd name="connsiteX110" fmla="*/ 307349 w 2183774"/>
              <a:gd name="connsiteY110" fmla="*/ 405238 h 2164296"/>
              <a:gd name="connsiteX111" fmla="*/ 326399 w 2183774"/>
              <a:gd name="connsiteY111" fmla="*/ 381425 h 2164296"/>
              <a:gd name="connsiteX112" fmla="*/ 345449 w 2183774"/>
              <a:gd name="connsiteY112" fmla="*/ 333800 h 2164296"/>
              <a:gd name="connsiteX113" fmla="*/ 374024 w 2183774"/>
              <a:gd name="connsiteY113" fmla="*/ 290938 h 2164296"/>
              <a:gd name="connsiteX114" fmla="*/ 397836 w 2183774"/>
              <a:gd name="connsiteY114" fmla="*/ 248075 h 2164296"/>
              <a:gd name="connsiteX115" fmla="*/ 412124 w 2183774"/>
              <a:gd name="connsiteY115" fmla="*/ 229025 h 2164296"/>
              <a:gd name="connsiteX116" fmla="*/ 435936 w 2183774"/>
              <a:gd name="connsiteY116" fmla="*/ 214738 h 2164296"/>
              <a:gd name="connsiteX117" fmla="*/ 459749 w 2183774"/>
              <a:gd name="connsiteY117" fmla="*/ 190925 h 2164296"/>
              <a:gd name="connsiteX118" fmla="*/ 474036 w 2183774"/>
              <a:gd name="connsiteY118" fmla="*/ 181400 h 2164296"/>
              <a:gd name="connsiteX119" fmla="*/ 507374 w 2183774"/>
              <a:gd name="connsiteY119" fmla="*/ 143300 h 2164296"/>
              <a:gd name="connsiteX120" fmla="*/ 521661 w 2183774"/>
              <a:gd name="connsiteY120" fmla="*/ 133775 h 2164296"/>
              <a:gd name="connsiteX121" fmla="*/ 631199 w 2183774"/>
              <a:gd name="connsiteY121" fmla="*/ 71863 h 2164296"/>
              <a:gd name="connsiteX122" fmla="*/ 645486 w 2183774"/>
              <a:gd name="connsiteY122" fmla="*/ 52813 h 2164296"/>
              <a:gd name="connsiteX123" fmla="*/ 664536 w 2183774"/>
              <a:gd name="connsiteY123" fmla="*/ 48050 h 2164296"/>
              <a:gd name="connsiteX124" fmla="*/ 688349 w 2183774"/>
              <a:gd name="connsiteY124" fmla="*/ 38525 h 2164296"/>
              <a:gd name="connsiteX125" fmla="*/ 731211 w 2183774"/>
              <a:gd name="connsiteY125" fmla="*/ 24238 h 2164296"/>
              <a:gd name="connsiteX126" fmla="*/ 759786 w 2183774"/>
              <a:gd name="connsiteY126" fmla="*/ 14713 h 2164296"/>
              <a:gd name="connsiteX127" fmla="*/ 807411 w 2183774"/>
              <a:gd name="connsiteY127" fmla="*/ 9950 h 2164296"/>
              <a:gd name="connsiteX128" fmla="*/ 878849 w 2183774"/>
              <a:gd name="connsiteY128" fmla="*/ 425 h 2164296"/>
              <a:gd name="connsiteX0" fmla="*/ 797660 w 2169260"/>
              <a:gd name="connsiteY0" fmla="*/ 425 h 2164296"/>
              <a:gd name="connsiteX1" fmla="*/ 950060 w 2169260"/>
              <a:gd name="connsiteY1" fmla="*/ 5188 h 2164296"/>
              <a:gd name="connsiteX2" fmla="*/ 973872 w 2169260"/>
              <a:gd name="connsiteY2" fmla="*/ 9950 h 2164296"/>
              <a:gd name="connsiteX3" fmla="*/ 1040547 w 2169260"/>
              <a:gd name="connsiteY3" fmla="*/ 19475 h 2164296"/>
              <a:gd name="connsiteX4" fmla="*/ 1069122 w 2169260"/>
              <a:gd name="connsiteY4" fmla="*/ 24238 h 2164296"/>
              <a:gd name="connsiteX5" fmla="*/ 1092935 w 2169260"/>
              <a:gd name="connsiteY5" fmla="*/ 38525 h 2164296"/>
              <a:gd name="connsiteX6" fmla="*/ 1135797 w 2169260"/>
              <a:gd name="connsiteY6" fmla="*/ 48050 h 2164296"/>
              <a:gd name="connsiteX7" fmla="*/ 1154847 w 2169260"/>
              <a:gd name="connsiteY7" fmla="*/ 52813 h 2164296"/>
              <a:gd name="connsiteX8" fmla="*/ 1188185 w 2169260"/>
              <a:gd name="connsiteY8" fmla="*/ 57575 h 2164296"/>
              <a:gd name="connsiteX9" fmla="*/ 1283435 w 2169260"/>
              <a:gd name="connsiteY9" fmla="*/ 71863 h 2164296"/>
              <a:gd name="connsiteX10" fmla="*/ 1454885 w 2169260"/>
              <a:gd name="connsiteY10" fmla="*/ 109963 h 2164296"/>
              <a:gd name="connsiteX11" fmla="*/ 1478697 w 2169260"/>
              <a:gd name="connsiteY11" fmla="*/ 114725 h 2164296"/>
              <a:gd name="connsiteX12" fmla="*/ 1616810 w 2169260"/>
              <a:gd name="connsiteY12" fmla="*/ 124250 h 2164296"/>
              <a:gd name="connsiteX13" fmla="*/ 1650147 w 2169260"/>
              <a:gd name="connsiteY13" fmla="*/ 129013 h 2164296"/>
              <a:gd name="connsiteX14" fmla="*/ 1673960 w 2169260"/>
              <a:gd name="connsiteY14" fmla="*/ 133775 h 2164296"/>
              <a:gd name="connsiteX15" fmla="*/ 1721585 w 2169260"/>
              <a:gd name="connsiteY15" fmla="*/ 138538 h 2164296"/>
              <a:gd name="connsiteX16" fmla="*/ 1759685 w 2169260"/>
              <a:gd name="connsiteY16" fmla="*/ 152825 h 2164296"/>
              <a:gd name="connsiteX17" fmla="*/ 1773972 w 2169260"/>
              <a:gd name="connsiteY17" fmla="*/ 162350 h 2164296"/>
              <a:gd name="connsiteX18" fmla="*/ 1797785 w 2169260"/>
              <a:gd name="connsiteY18" fmla="*/ 167113 h 2164296"/>
              <a:gd name="connsiteX19" fmla="*/ 1821597 w 2169260"/>
              <a:gd name="connsiteY19" fmla="*/ 181400 h 2164296"/>
              <a:gd name="connsiteX20" fmla="*/ 1845410 w 2169260"/>
              <a:gd name="connsiteY20" fmla="*/ 190925 h 2164296"/>
              <a:gd name="connsiteX21" fmla="*/ 1859697 w 2169260"/>
              <a:gd name="connsiteY21" fmla="*/ 205213 h 2164296"/>
              <a:gd name="connsiteX22" fmla="*/ 1893035 w 2169260"/>
              <a:gd name="connsiteY22" fmla="*/ 229025 h 2164296"/>
              <a:gd name="connsiteX23" fmla="*/ 1945422 w 2169260"/>
              <a:gd name="connsiteY23" fmla="*/ 267125 h 2164296"/>
              <a:gd name="connsiteX24" fmla="*/ 1969235 w 2169260"/>
              <a:gd name="connsiteY24" fmla="*/ 295700 h 2164296"/>
              <a:gd name="connsiteX25" fmla="*/ 2002572 w 2169260"/>
              <a:gd name="connsiteY25" fmla="*/ 348088 h 2164296"/>
              <a:gd name="connsiteX26" fmla="*/ 2021622 w 2169260"/>
              <a:gd name="connsiteY26" fmla="*/ 410000 h 2164296"/>
              <a:gd name="connsiteX27" fmla="*/ 2031147 w 2169260"/>
              <a:gd name="connsiteY27" fmla="*/ 443338 h 2164296"/>
              <a:gd name="connsiteX28" fmla="*/ 2035910 w 2169260"/>
              <a:gd name="connsiteY28" fmla="*/ 457625 h 2164296"/>
              <a:gd name="connsiteX29" fmla="*/ 2045435 w 2169260"/>
              <a:gd name="connsiteY29" fmla="*/ 476675 h 2164296"/>
              <a:gd name="connsiteX30" fmla="*/ 2064485 w 2169260"/>
              <a:gd name="connsiteY30" fmla="*/ 548113 h 2164296"/>
              <a:gd name="connsiteX31" fmla="*/ 2078772 w 2169260"/>
              <a:gd name="connsiteY31" fmla="*/ 610025 h 2164296"/>
              <a:gd name="connsiteX32" fmla="*/ 2083535 w 2169260"/>
              <a:gd name="connsiteY32" fmla="*/ 914825 h 2164296"/>
              <a:gd name="connsiteX33" fmla="*/ 2121635 w 2169260"/>
              <a:gd name="connsiteY33" fmla="*/ 1086275 h 2164296"/>
              <a:gd name="connsiteX34" fmla="*/ 2126397 w 2169260"/>
              <a:gd name="connsiteY34" fmla="*/ 1148188 h 2164296"/>
              <a:gd name="connsiteX35" fmla="*/ 2140685 w 2169260"/>
              <a:gd name="connsiteY35" fmla="*/ 1191050 h 2164296"/>
              <a:gd name="connsiteX36" fmla="*/ 2145447 w 2169260"/>
              <a:gd name="connsiteY36" fmla="*/ 1224388 h 2164296"/>
              <a:gd name="connsiteX37" fmla="*/ 2164497 w 2169260"/>
              <a:gd name="connsiteY37" fmla="*/ 1276775 h 2164296"/>
              <a:gd name="connsiteX38" fmla="*/ 2169260 w 2169260"/>
              <a:gd name="connsiteY38" fmla="*/ 1300588 h 2164296"/>
              <a:gd name="connsiteX39" fmla="*/ 2164497 w 2169260"/>
              <a:gd name="connsiteY39" fmla="*/ 1514900 h 2164296"/>
              <a:gd name="connsiteX40" fmla="*/ 2154972 w 2169260"/>
              <a:gd name="connsiteY40" fmla="*/ 1529188 h 2164296"/>
              <a:gd name="connsiteX41" fmla="*/ 2145447 w 2169260"/>
              <a:gd name="connsiteY41" fmla="*/ 1562525 h 2164296"/>
              <a:gd name="connsiteX42" fmla="*/ 2135922 w 2169260"/>
              <a:gd name="connsiteY42" fmla="*/ 1576813 h 2164296"/>
              <a:gd name="connsiteX43" fmla="*/ 2131160 w 2169260"/>
              <a:gd name="connsiteY43" fmla="*/ 1600625 h 2164296"/>
              <a:gd name="connsiteX44" fmla="*/ 2116872 w 2169260"/>
              <a:gd name="connsiteY44" fmla="*/ 1614913 h 2164296"/>
              <a:gd name="connsiteX45" fmla="*/ 2107347 w 2169260"/>
              <a:gd name="connsiteY45" fmla="*/ 1629200 h 2164296"/>
              <a:gd name="connsiteX46" fmla="*/ 2078772 w 2169260"/>
              <a:gd name="connsiteY46" fmla="*/ 1657775 h 2164296"/>
              <a:gd name="connsiteX47" fmla="*/ 2050197 w 2169260"/>
              <a:gd name="connsiteY47" fmla="*/ 1686350 h 2164296"/>
              <a:gd name="connsiteX48" fmla="*/ 2040672 w 2169260"/>
              <a:gd name="connsiteY48" fmla="*/ 1700638 h 2164296"/>
              <a:gd name="connsiteX49" fmla="*/ 2026385 w 2169260"/>
              <a:gd name="connsiteY49" fmla="*/ 1710163 h 2164296"/>
              <a:gd name="connsiteX50" fmla="*/ 2002572 w 2169260"/>
              <a:gd name="connsiteY50" fmla="*/ 1724450 h 2164296"/>
              <a:gd name="connsiteX51" fmla="*/ 1978760 w 2169260"/>
              <a:gd name="connsiteY51" fmla="*/ 1743500 h 2164296"/>
              <a:gd name="connsiteX52" fmla="*/ 1907322 w 2169260"/>
              <a:gd name="connsiteY52" fmla="*/ 1772075 h 2164296"/>
              <a:gd name="connsiteX53" fmla="*/ 1888272 w 2169260"/>
              <a:gd name="connsiteY53" fmla="*/ 1786363 h 2164296"/>
              <a:gd name="connsiteX54" fmla="*/ 1840647 w 2169260"/>
              <a:gd name="connsiteY54" fmla="*/ 1814938 h 2164296"/>
              <a:gd name="connsiteX55" fmla="*/ 1826360 w 2169260"/>
              <a:gd name="connsiteY55" fmla="*/ 1833988 h 2164296"/>
              <a:gd name="connsiteX56" fmla="*/ 1773972 w 2169260"/>
              <a:gd name="connsiteY56" fmla="*/ 1862563 h 2164296"/>
              <a:gd name="connsiteX57" fmla="*/ 1631098 w 2169260"/>
              <a:gd name="connsiteY57" fmla="*/ 1891137 h 2164296"/>
              <a:gd name="connsiteX58" fmla="*/ 1383447 w 2169260"/>
              <a:gd name="connsiteY58" fmla="*/ 2014962 h 2164296"/>
              <a:gd name="connsiteX59" fmla="*/ 1331060 w 2169260"/>
              <a:gd name="connsiteY59" fmla="*/ 2053063 h 2164296"/>
              <a:gd name="connsiteX60" fmla="*/ 1316772 w 2169260"/>
              <a:gd name="connsiteY60" fmla="*/ 2062588 h 2164296"/>
              <a:gd name="connsiteX61" fmla="*/ 1278672 w 2169260"/>
              <a:gd name="connsiteY61" fmla="*/ 2072113 h 2164296"/>
              <a:gd name="connsiteX62" fmla="*/ 1254860 w 2169260"/>
              <a:gd name="connsiteY62" fmla="*/ 2086400 h 2164296"/>
              <a:gd name="connsiteX63" fmla="*/ 1202472 w 2169260"/>
              <a:gd name="connsiteY63" fmla="*/ 2100688 h 2164296"/>
              <a:gd name="connsiteX64" fmla="*/ 1159610 w 2169260"/>
              <a:gd name="connsiteY64" fmla="*/ 2119738 h 2164296"/>
              <a:gd name="connsiteX65" fmla="*/ 1140560 w 2169260"/>
              <a:gd name="connsiteY65" fmla="*/ 2134025 h 2164296"/>
              <a:gd name="connsiteX66" fmla="*/ 1069122 w 2169260"/>
              <a:gd name="connsiteY66" fmla="*/ 2148313 h 2164296"/>
              <a:gd name="connsiteX67" fmla="*/ 1040547 w 2169260"/>
              <a:gd name="connsiteY67" fmla="*/ 2162600 h 2164296"/>
              <a:gd name="connsiteX68" fmla="*/ 907197 w 2169260"/>
              <a:gd name="connsiteY68" fmla="*/ 2157838 h 2164296"/>
              <a:gd name="connsiteX69" fmla="*/ 797660 w 2169260"/>
              <a:gd name="connsiteY69" fmla="*/ 2105450 h 2164296"/>
              <a:gd name="connsiteX70" fmla="*/ 759560 w 2169260"/>
              <a:gd name="connsiteY70" fmla="*/ 2091163 h 2164296"/>
              <a:gd name="connsiteX71" fmla="*/ 711935 w 2169260"/>
              <a:gd name="connsiteY71" fmla="*/ 2062588 h 2164296"/>
              <a:gd name="connsiteX72" fmla="*/ 654785 w 2169260"/>
              <a:gd name="connsiteY72" fmla="*/ 2038775 h 2164296"/>
              <a:gd name="connsiteX73" fmla="*/ 621447 w 2169260"/>
              <a:gd name="connsiteY73" fmla="*/ 2005438 h 2164296"/>
              <a:gd name="connsiteX74" fmla="*/ 583347 w 2169260"/>
              <a:gd name="connsiteY74" fmla="*/ 1976863 h 2164296"/>
              <a:gd name="connsiteX75" fmla="*/ 569060 w 2169260"/>
              <a:gd name="connsiteY75" fmla="*/ 1957813 h 2164296"/>
              <a:gd name="connsiteX76" fmla="*/ 554772 w 2169260"/>
              <a:gd name="connsiteY76" fmla="*/ 1934000 h 2164296"/>
              <a:gd name="connsiteX77" fmla="*/ 521435 w 2169260"/>
              <a:gd name="connsiteY77" fmla="*/ 1895900 h 2164296"/>
              <a:gd name="connsiteX78" fmla="*/ 378560 w 2169260"/>
              <a:gd name="connsiteY78" fmla="*/ 1705400 h 2164296"/>
              <a:gd name="connsiteX79" fmla="*/ 364272 w 2169260"/>
              <a:gd name="connsiteY79" fmla="*/ 1686350 h 2164296"/>
              <a:gd name="connsiteX80" fmla="*/ 345222 w 2169260"/>
              <a:gd name="connsiteY80" fmla="*/ 1657775 h 2164296"/>
              <a:gd name="connsiteX81" fmla="*/ 288072 w 2169260"/>
              <a:gd name="connsiteY81" fmla="*/ 1600625 h 2164296"/>
              <a:gd name="connsiteX82" fmla="*/ 264260 w 2169260"/>
              <a:gd name="connsiteY82" fmla="*/ 1576813 h 2164296"/>
              <a:gd name="connsiteX83" fmla="*/ 249972 w 2169260"/>
              <a:gd name="connsiteY83" fmla="*/ 1562525 h 2164296"/>
              <a:gd name="connsiteX84" fmla="*/ 211872 w 2169260"/>
              <a:gd name="connsiteY84" fmla="*/ 1538713 h 2164296"/>
              <a:gd name="connsiteX85" fmla="*/ 188060 w 2169260"/>
              <a:gd name="connsiteY85" fmla="*/ 1510138 h 2164296"/>
              <a:gd name="connsiteX86" fmla="*/ 164247 w 2169260"/>
              <a:gd name="connsiteY86" fmla="*/ 1491088 h 2164296"/>
              <a:gd name="connsiteX87" fmla="*/ 145197 w 2169260"/>
              <a:gd name="connsiteY87" fmla="*/ 1462513 h 2164296"/>
              <a:gd name="connsiteX88" fmla="*/ 121385 w 2169260"/>
              <a:gd name="connsiteY88" fmla="*/ 1438700 h 2164296"/>
              <a:gd name="connsiteX89" fmla="*/ 111860 w 2169260"/>
              <a:gd name="connsiteY89" fmla="*/ 1424413 h 2164296"/>
              <a:gd name="connsiteX90" fmla="*/ 92810 w 2169260"/>
              <a:gd name="connsiteY90" fmla="*/ 1405363 h 2164296"/>
              <a:gd name="connsiteX91" fmla="*/ 73760 w 2169260"/>
              <a:gd name="connsiteY91" fmla="*/ 1376788 h 2164296"/>
              <a:gd name="connsiteX92" fmla="*/ 59472 w 2169260"/>
              <a:gd name="connsiteY92" fmla="*/ 1362500 h 2164296"/>
              <a:gd name="connsiteX93" fmla="*/ 49947 w 2169260"/>
              <a:gd name="connsiteY93" fmla="*/ 1348213 h 2164296"/>
              <a:gd name="connsiteX94" fmla="*/ 35660 w 2169260"/>
              <a:gd name="connsiteY94" fmla="*/ 1329163 h 2164296"/>
              <a:gd name="connsiteX95" fmla="*/ 30897 w 2169260"/>
              <a:gd name="connsiteY95" fmla="*/ 1305350 h 2164296"/>
              <a:gd name="connsiteX96" fmla="*/ 7085 w 2169260"/>
              <a:gd name="connsiteY96" fmla="*/ 1257725 h 2164296"/>
              <a:gd name="connsiteX97" fmla="*/ 2322 w 2169260"/>
              <a:gd name="connsiteY97" fmla="*/ 991025 h 2164296"/>
              <a:gd name="connsiteX98" fmla="*/ 40422 w 2169260"/>
              <a:gd name="connsiteY98" fmla="*/ 929113 h 2164296"/>
              <a:gd name="connsiteX99" fmla="*/ 64235 w 2169260"/>
              <a:gd name="connsiteY99" fmla="*/ 891013 h 2164296"/>
              <a:gd name="connsiteX100" fmla="*/ 83285 w 2169260"/>
              <a:gd name="connsiteY100" fmla="*/ 848150 h 2164296"/>
              <a:gd name="connsiteX101" fmla="*/ 145197 w 2169260"/>
              <a:gd name="connsiteY101" fmla="*/ 733850 h 2164296"/>
              <a:gd name="connsiteX102" fmla="*/ 207110 w 2169260"/>
              <a:gd name="connsiteY102" fmla="*/ 610025 h 2164296"/>
              <a:gd name="connsiteX103" fmla="*/ 211872 w 2169260"/>
              <a:gd name="connsiteY103" fmla="*/ 581450 h 2164296"/>
              <a:gd name="connsiteX104" fmla="*/ 235685 w 2169260"/>
              <a:gd name="connsiteY104" fmla="*/ 538588 h 2164296"/>
              <a:gd name="connsiteX105" fmla="*/ 249972 w 2169260"/>
              <a:gd name="connsiteY105" fmla="*/ 500488 h 2164296"/>
              <a:gd name="connsiteX106" fmla="*/ 264260 w 2169260"/>
              <a:gd name="connsiteY106" fmla="*/ 471913 h 2164296"/>
              <a:gd name="connsiteX107" fmla="*/ 273785 w 2169260"/>
              <a:gd name="connsiteY107" fmla="*/ 443338 h 2164296"/>
              <a:gd name="connsiteX108" fmla="*/ 283310 w 2169260"/>
              <a:gd name="connsiteY108" fmla="*/ 429050 h 2164296"/>
              <a:gd name="connsiteX109" fmla="*/ 292835 w 2169260"/>
              <a:gd name="connsiteY109" fmla="*/ 405238 h 2164296"/>
              <a:gd name="connsiteX110" fmla="*/ 311885 w 2169260"/>
              <a:gd name="connsiteY110" fmla="*/ 381425 h 2164296"/>
              <a:gd name="connsiteX111" fmla="*/ 330935 w 2169260"/>
              <a:gd name="connsiteY111" fmla="*/ 333800 h 2164296"/>
              <a:gd name="connsiteX112" fmla="*/ 359510 w 2169260"/>
              <a:gd name="connsiteY112" fmla="*/ 290938 h 2164296"/>
              <a:gd name="connsiteX113" fmla="*/ 383322 w 2169260"/>
              <a:gd name="connsiteY113" fmla="*/ 248075 h 2164296"/>
              <a:gd name="connsiteX114" fmla="*/ 397610 w 2169260"/>
              <a:gd name="connsiteY114" fmla="*/ 229025 h 2164296"/>
              <a:gd name="connsiteX115" fmla="*/ 421422 w 2169260"/>
              <a:gd name="connsiteY115" fmla="*/ 214738 h 2164296"/>
              <a:gd name="connsiteX116" fmla="*/ 445235 w 2169260"/>
              <a:gd name="connsiteY116" fmla="*/ 190925 h 2164296"/>
              <a:gd name="connsiteX117" fmla="*/ 459522 w 2169260"/>
              <a:gd name="connsiteY117" fmla="*/ 181400 h 2164296"/>
              <a:gd name="connsiteX118" fmla="*/ 492860 w 2169260"/>
              <a:gd name="connsiteY118" fmla="*/ 143300 h 2164296"/>
              <a:gd name="connsiteX119" fmla="*/ 507147 w 2169260"/>
              <a:gd name="connsiteY119" fmla="*/ 133775 h 2164296"/>
              <a:gd name="connsiteX120" fmla="*/ 616685 w 2169260"/>
              <a:gd name="connsiteY120" fmla="*/ 71863 h 2164296"/>
              <a:gd name="connsiteX121" fmla="*/ 630972 w 2169260"/>
              <a:gd name="connsiteY121" fmla="*/ 52813 h 2164296"/>
              <a:gd name="connsiteX122" fmla="*/ 650022 w 2169260"/>
              <a:gd name="connsiteY122" fmla="*/ 48050 h 2164296"/>
              <a:gd name="connsiteX123" fmla="*/ 673835 w 2169260"/>
              <a:gd name="connsiteY123" fmla="*/ 38525 h 2164296"/>
              <a:gd name="connsiteX124" fmla="*/ 716697 w 2169260"/>
              <a:gd name="connsiteY124" fmla="*/ 24238 h 2164296"/>
              <a:gd name="connsiteX125" fmla="*/ 745272 w 2169260"/>
              <a:gd name="connsiteY125" fmla="*/ 14713 h 2164296"/>
              <a:gd name="connsiteX126" fmla="*/ 792897 w 2169260"/>
              <a:gd name="connsiteY126" fmla="*/ 9950 h 2164296"/>
              <a:gd name="connsiteX127" fmla="*/ 864335 w 2169260"/>
              <a:gd name="connsiteY127" fmla="*/ 425 h 2164296"/>
              <a:gd name="connsiteX0" fmla="*/ 829383 w 2200983"/>
              <a:gd name="connsiteY0" fmla="*/ 425 h 2164296"/>
              <a:gd name="connsiteX1" fmla="*/ 981783 w 2200983"/>
              <a:gd name="connsiteY1" fmla="*/ 5188 h 2164296"/>
              <a:gd name="connsiteX2" fmla="*/ 1005595 w 2200983"/>
              <a:gd name="connsiteY2" fmla="*/ 9950 h 2164296"/>
              <a:gd name="connsiteX3" fmla="*/ 1072270 w 2200983"/>
              <a:gd name="connsiteY3" fmla="*/ 19475 h 2164296"/>
              <a:gd name="connsiteX4" fmla="*/ 1100845 w 2200983"/>
              <a:gd name="connsiteY4" fmla="*/ 24238 h 2164296"/>
              <a:gd name="connsiteX5" fmla="*/ 1124658 w 2200983"/>
              <a:gd name="connsiteY5" fmla="*/ 38525 h 2164296"/>
              <a:gd name="connsiteX6" fmla="*/ 1167520 w 2200983"/>
              <a:gd name="connsiteY6" fmla="*/ 48050 h 2164296"/>
              <a:gd name="connsiteX7" fmla="*/ 1186570 w 2200983"/>
              <a:gd name="connsiteY7" fmla="*/ 52813 h 2164296"/>
              <a:gd name="connsiteX8" fmla="*/ 1219908 w 2200983"/>
              <a:gd name="connsiteY8" fmla="*/ 57575 h 2164296"/>
              <a:gd name="connsiteX9" fmla="*/ 1315158 w 2200983"/>
              <a:gd name="connsiteY9" fmla="*/ 71863 h 2164296"/>
              <a:gd name="connsiteX10" fmla="*/ 1486608 w 2200983"/>
              <a:gd name="connsiteY10" fmla="*/ 109963 h 2164296"/>
              <a:gd name="connsiteX11" fmla="*/ 1510420 w 2200983"/>
              <a:gd name="connsiteY11" fmla="*/ 114725 h 2164296"/>
              <a:gd name="connsiteX12" fmla="*/ 1648533 w 2200983"/>
              <a:gd name="connsiteY12" fmla="*/ 124250 h 2164296"/>
              <a:gd name="connsiteX13" fmla="*/ 1681870 w 2200983"/>
              <a:gd name="connsiteY13" fmla="*/ 129013 h 2164296"/>
              <a:gd name="connsiteX14" fmla="*/ 1705683 w 2200983"/>
              <a:gd name="connsiteY14" fmla="*/ 133775 h 2164296"/>
              <a:gd name="connsiteX15" fmla="*/ 1753308 w 2200983"/>
              <a:gd name="connsiteY15" fmla="*/ 138538 h 2164296"/>
              <a:gd name="connsiteX16" fmla="*/ 1791408 w 2200983"/>
              <a:gd name="connsiteY16" fmla="*/ 152825 h 2164296"/>
              <a:gd name="connsiteX17" fmla="*/ 1805695 w 2200983"/>
              <a:gd name="connsiteY17" fmla="*/ 162350 h 2164296"/>
              <a:gd name="connsiteX18" fmla="*/ 1829508 w 2200983"/>
              <a:gd name="connsiteY18" fmla="*/ 167113 h 2164296"/>
              <a:gd name="connsiteX19" fmla="*/ 1853320 w 2200983"/>
              <a:gd name="connsiteY19" fmla="*/ 181400 h 2164296"/>
              <a:gd name="connsiteX20" fmla="*/ 1877133 w 2200983"/>
              <a:gd name="connsiteY20" fmla="*/ 190925 h 2164296"/>
              <a:gd name="connsiteX21" fmla="*/ 1891420 w 2200983"/>
              <a:gd name="connsiteY21" fmla="*/ 205213 h 2164296"/>
              <a:gd name="connsiteX22" fmla="*/ 1924758 w 2200983"/>
              <a:gd name="connsiteY22" fmla="*/ 229025 h 2164296"/>
              <a:gd name="connsiteX23" fmla="*/ 1977145 w 2200983"/>
              <a:gd name="connsiteY23" fmla="*/ 267125 h 2164296"/>
              <a:gd name="connsiteX24" fmla="*/ 2000958 w 2200983"/>
              <a:gd name="connsiteY24" fmla="*/ 295700 h 2164296"/>
              <a:gd name="connsiteX25" fmla="*/ 2034295 w 2200983"/>
              <a:gd name="connsiteY25" fmla="*/ 348088 h 2164296"/>
              <a:gd name="connsiteX26" fmla="*/ 2053345 w 2200983"/>
              <a:gd name="connsiteY26" fmla="*/ 410000 h 2164296"/>
              <a:gd name="connsiteX27" fmla="*/ 2062870 w 2200983"/>
              <a:gd name="connsiteY27" fmla="*/ 443338 h 2164296"/>
              <a:gd name="connsiteX28" fmla="*/ 2067633 w 2200983"/>
              <a:gd name="connsiteY28" fmla="*/ 457625 h 2164296"/>
              <a:gd name="connsiteX29" fmla="*/ 2077158 w 2200983"/>
              <a:gd name="connsiteY29" fmla="*/ 476675 h 2164296"/>
              <a:gd name="connsiteX30" fmla="*/ 2096208 w 2200983"/>
              <a:gd name="connsiteY30" fmla="*/ 548113 h 2164296"/>
              <a:gd name="connsiteX31" fmla="*/ 2110495 w 2200983"/>
              <a:gd name="connsiteY31" fmla="*/ 610025 h 2164296"/>
              <a:gd name="connsiteX32" fmla="*/ 2115258 w 2200983"/>
              <a:gd name="connsiteY32" fmla="*/ 914825 h 2164296"/>
              <a:gd name="connsiteX33" fmla="*/ 2153358 w 2200983"/>
              <a:gd name="connsiteY33" fmla="*/ 1086275 h 2164296"/>
              <a:gd name="connsiteX34" fmla="*/ 2158120 w 2200983"/>
              <a:gd name="connsiteY34" fmla="*/ 1148188 h 2164296"/>
              <a:gd name="connsiteX35" fmla="*/ 2172408 w 2200983"/>
              <a:gd name="connsiteY35" fmla="*/ 1191050 h 2164296"/>
              <a:gd name="connsiteX36" fmla="*/ 2177170 w 2200983"/>
              <a:gd name="connsiteY36" fmla="*/ 1224388 h 2164296"/>
              <a:gd name="connsiteX37" fmla="*/ 2196220 w 2200983"/>
              <a:gd name="connsiteY37" fmla="*/ 1276775 h 2164296"/>
              <a:gd name="connsiteX38" fmla="*/ 2200983 w 2200983"/>
              <a:gd name="connsiteY38" fmla="*/ 1300588 h 2164296"/>
              <a:gd name="connsiteX39" fmla="*/ 2196220 w 2200983"/>
              <a:gd name="connsiteY39" fmla="*/ 1514900 h 2164296"/>
              <a:gd name="connsiteX40" fmla="*/ 2186695 w 2200983"/>
              <a:gd name="connsiteY40" fmla="*/ 1529188 h 2164296"/>
              <a:gd name="connsiteX41" fmla="*/ 2177170 w 2200983"/>
              <a:gd name="connsiteY41" fmla="*/ 1562525 h 2164296"/>
              <a:gd name="connsiteX42" fmla="*/ 2167645 w 2200983"/>
              <a:gd name="connsiteY42" fmla="*/ 1576813 h 2164296"/>
              <a:gd name="connsiteX43" fmla="*/ 2162883 w 2200983"/>
              <a:gd name="connsiteY43" fmla="*/ 1600625 h 2164296"/>
              <a:gd name="connsiteX44" fmla="*/ 2148595 w 2200983"/>
              <a:gd name="connsiteY44" fmla="*/ 1614913 h 2164296"/>
              <a:gd name="connsiteX45" fmla="*/ 2139070 w 2200983"/>
              <a:gd name="connsiteY45" fmla="*/ 1629200 h 2164296"/>
              <a:gd name="connsiteX46" fmla="*/ 2110495 w 2200983"/>
              <a:gd name="connsiteY46" fmla="*/ 1657775 h 2164296"/>
              <a:gd name="connsiteX47" fmla="*/ 2081920 w 2200983"/>
              <a:gd name="connsiteY47" fmla="*/ 1686350 h 2164296"/>
              <a:gd name="connsiteX48" fmla="*/ 2072395 w 2200983"/>
              <a:gd name="connsiteY48" fmla="*/ 1700638 h 2164296"/>
              <a:gd name="connsiteX49" fmla="*/ 2058108 w 2200983"/>
              <a:gd name="connsiteY49" fmla="*/ 1710163 h 2164296"/>
              <a:gd name="connsiteX50" fmla="*/ 2034295 w 2200983"/>
              <a:gd name="connsiteY50" fmla="*/ 1724450 h 2164296"/>
              <a:gd name="connsiteX51" fmla="*/ 2010483 w 2200983"/>
              <a:gd name="connsiteY51" fmla="*/ 1743500 h 2164296"/>
              <a:gd name="connsiteX52" fmla="*/ 1939045 w 2200983"/>
              <a:gd name="connsiteY52" fmla="*/ 1772075 h 2164296"/>
              <a:gd name="connsiteX53" fmla="*/ 1919995 w 2200983"/>
              <a:gd name="connsiteY53" fmla="*/ 1786363 h 2164296"/>
              <a:gd name="connsiteX54" fmla="*/ 1872370 w 2200983"/>
              <a:gd name="connsiteY54" fmla="*/ 1814938 h 2164296"/>
              <a:gd name="connsiteX55" fmla="*/ 1858083 w 2200983"/>
              <a:gd name="connsiteY55" fmla="*/ 1833988 h 2164296"/>
              <a:gd name="connsiteX56" fmla="*/ 1805695 w 2200983"/>
              <a:gd name="connsiteY56" fmla="*/ 1862563 h 2164296"/>
              <a:gd name="connsiteX57" fmla="*/ 1662821 w 2200983"/>
              <a:gd name="connsiteY57" fmla="*/ 1891137 h 2164296"/>
              <a:gd name="connsiteX58" fmla="*/ 1415170 w 2200983"/>
              <a:gd name="connsiteY58" fmla="*/ 2014962 h 2164296"/>
              <a:gd name="connsiteX59" fmla="*/ 1362783 w 2200983"/>
              <a:gd name="connsiteY59" fmla="*/ 2053063 h 2164296"/>
              <a:gd name="connsiteX60" fmla="*/ 1348495 w 2200983"/>
              <a:gd name="connsiteY60" fmla="*/ 2062588 h 2164296"/>
              <a:gd name="connsiteX61" fmla="*/ 1310395 w 2200983"/>
              <a:gd name="connsiteY61" fmla="*/ 2072113 h 2164296"/>
              <a:gd name="connsiteX62" fmla="*/ 1286583 w 2200983"/>
              <a:gd name="connsiteY62" fmla="*/ 2086400 h 2164296"/>
              <a:gd name="connsiteX63" fmla="*/ 1234195 w 2200983"/>
              <a:gd name="connsiteY63" fmla="*/ 2100688 h 2164296"/>
              <a:gd name="connsiteX64" fmla="*/ 1191333 w 2200983"/>
              <a:gd name="connsiteY64" fmla="*/ 2119738 h 2164296"/>
              <a:gd name="connsiteX65" fmla="*/ 1172283 w 2200983"/>
              <a:gd name="connsiteY65" fmla="*/ 2134025 h 2164296"/>
              <a:gd name="connsiteX66" fmla="*/ 1100845 w 2200983"/>
              <a:gd name="connsiteY66" fmla="*/ 2148313 h 2164296"/>
              <a:gd name="connsiteX67" fmla="*/ 1072270 w 2200983"/>
              <a:gd name="connsiteY67" fmla="*/ 2162600 h 2164296"/>
              <a:gd name="connsiteX68" fmla="*/ 938920 w 2200983"/>
              <a:gd name="connsiteY68" fmla="*/ 2157838 h 2164296"/>
              <a:gd name="connsiteX69" fmla="*/ 829383 w 2200983"/>
              <a:gd name="connsiteY69" fmla="*/ 2105450 h 2164296"/>
              <a:gd name="connsiteX70" fmla="*/ 791283 w 2200983"/>
              <a:gd name="connsiteY70" fmla="*/ 2091163 h 2164296"/>
              <a:gd name="connsiteX71" fmla="*/ 743658 w 2200983"/>
              <a:gd name="connsiteY71" fmla="*/ 2062588 h 2164296"/>
              <a:gd name="connsiteX72" fmla="*/ 686508 w 2200983"/>
              <a:gd name="connsiteY72" fmla="*/ 2038775 h 2164296"/>
              <a:gd name="connsiteX73" fmla="*/ 653170 w 2200983"/>
              <a:gd name="connsiteY73" fmla="*/ 2005438 h 2164296"/>
              <a:gd name="connsiteX74" fmla="*/ 615070 w 2200983"/>
              <a:gd name="connsiteY74" fmla="*/ 1976863 h 2164296"/>
              <a:gd name="connsiteX75" fmla="*/ 600783 w 2200983"/>
              <a:gd name="connsiteY75" fmla="*/ 1957813 h 2164296"/>
              <a:gd name="connsiteX76" fmla="*/ 586495 w 2200983"/>
              <a:gd name="connsiteY76" fmla="*/ 1934000 h 2164296"/>
              <a:gd name="connsiteX77" fmla="*/ 553158 w 2200983"/>
              <a:gd name="connsiteY77" fmla="*/ 1895900 h 2164296"/>
              <a:gd name="connsiteX78" fmla="*/ 410283 w 2200983"/>
              <a:gd name="connsiteY78" fmla="*/ 1705400 h 2164296"/>
              <a:gd name="connsiteX79" fmla="*/ 395995 w 2200983"/>
              <a:gd name="connsiteY79" fmla="*/ 1686350 h 2164296"/>
              <a:gd name="connsiteX80" fmla="*/ 376945 w 2200983"/>
              <a:gd name="connsiteY80" fmla="*/ 1657775 h 2164296"/>
              <a:gd name="connsiteX81" fmla="*/ 319795 w 2200983"/>
              <a:gd name="connsiteY81" fmla="*/ 1600625 h 2164296"/>
              <a:gd name="connsiteX82" fmla="*/ 295983 w 2200983"/>
              <a:gd name="connsiteY82" fmla="*/ 1576813 h 2164296"/>
              <a:gd name="connsiteX83" fmla="*/ 281695 w 2200983"/>
              <a:gd name="connsiteY83" fmla="*/ 1562525 h 2164296"/>
              <a:gd name="connsiteX84" fmla="*/ 243595 w 2200983"/>
              <a:gd name="connsiteY84" fmla="*/ 1538713 h 2164296"/>
              <a:gd name="connsiteX85" fmla="*/ 219783 w 2200983"/>
              <a:gd name="connsiteY85" fmla="*/ 1510138 h 2164296"/>
              <a:gd name="connsiteX86" fmla="*/ 195970 w 2200983"/>
              <a:gd name="connsiteY86" fmla="*/ 1491088 h 2164296"/>
              <a:gd name="connsiteX87" fmla="*/ 176920 w 2200983"/>
              <a:gd name="connsiteY87" fmla="*/ 1462513 h 2164296"/>
              <a:gd name="connsiteX88" fmla="*/ 153108 w 2200983"/>
              <a:gd name="connsiteY88" fmla="*/ 1438700 h 2164296"/>
              <a:gd name="connsiteX89" fmla="*/ 143583 w 2200983"/>
              <a:gd name="connsiteY89" fmla="*/ 1424413 h 2164296"/>
              <a:gd name="connsiteX90" fmla="*/ 124533 w 2200983"/>
              <a:gd name="connsiteY90" fmla="*/ 1405363 h 2164296"/>
              <a:gd name="connsiteX91" fmla="*/ 105483 w 2200983"/>
              <a:gd name="connsiteY91" fmla="*/ 1376788 h 2164296"/>
              <a:gd name="connsiteX92" fmla="*/ 91195 w 2200983"/>
              <a:gd name="connsiteY92" fmla="*/ 1362500 h 2164296"/>
              <a:gd name="connsiteX93" fmla="*/ 81670 w 2200983"/>
              <a:gd name="connsiteY93" fmla="*/ 1348213 h 2164296"/>
              <a:gd name="connsiteX94" fmla="*/ 67383 w 2200983"/>
              <a:gd name="connsiteY94" fmla="*/ 1329163 h 2164296"/>
              <a:gd name="connsiteX95" fmla="*/ 62620 w 2200983"/>
              <a:gd name="connsiteY95" fmla="*/ 1305350 h 2164296"/>
              <a:gd name="connsiteX96" fmla="*/ 38808 w 2200983"/>
              <a:gd name="connsiteY96" fmla="*/ 1257725 h 2164296"/>
              <a:gd name="connsiteX97" fmla="*/ 34045 w 2200983"/>
              <a:gd name="connsiteY97" fmla="*/ 991025 h 2164296"/>
              <a:gd name="connsiteX98" fmla="*/ 72145 w 2200983"/>
              <a:gd name="connsiteY98" fmla="*/ 929113 h 2164296"/>
              <a:gd name="connsiteX99" fmla="*/ 95958 w 2200983"/>
              <a:gd name="connsiteY99" fmla="*/ 891013 h 2164296"/>
              <a:gd name="connsiteX100" fmla="*/ 115008 w 2200983"/>
              <a:gd name="connsiteY100" fmla="*/ 848150 h 2164296"/>
              <a:gd name="connsiteX101" fmla="*/ 176920 w 2200983"/>
              <a:gd name="connsiteY101" fmla="*/ 733850 h 2164296"/>
              <a:gd name="connsiteX102" fmla="*/ 238833 w 2200983"/>
              <a:gd name="connsiteY102" fmla="*/ 610025 h 2164296"/>
              <a:gd name="connsiteX103" fmla="*/ 243595 w 2200983"/>
              <a:gd name="connsiteY103" fmla="*/ 581450 h 2164296"/>
              <a:gd name="connsiteX104" fmla="*/ 267408 w 2200983"/>
              <a:gd name="connsiteY104" fmla="*/ 538588 h 2164296"/>
              <a:gd name="connsiteX105" fmla="*/ 281695 w 2200983"/>
              <a:gd name="connsiteY105" fmla="*/ 500488 h 2164296"/>
              <a:gd name="connsiteX106" fmla="*/ 295983 w 2200983"/>
              <a:gd name="connsiteY106" fmla="*/ 471913 h 2164296"/>
              <a:gd name="connsiteX107" fmla="*/ 305508 w 2200983"/>
              <a:gd name="connsiteY107" fmla="*/ 443338 h 2164296"/>
              <a:gd name="connsiteX108" fmla="*/ 315033 w 2200983"/>
              <a:gd name="connsiteY108" fmla="*/ 429050 h 2164296"/>
              <a:gd name="connsiteX109" fmla="*/ 324558 w 2200983"/>
              <a:gd name="connsiteY109" fmla="*/ 405238 h 2164296"/>
              <a:gd name="connsiteX110" fmla="*/ 343608 w 2200983"/>
              <a:gd name="connsiteY110" fmla="*/ 381425 h 2164296"/>
              <a:gd name="connsiteX111" fmla="*/ 362658 w 2200983"/>
              <a:gd name="connsiteY111" fmla="*/ 333800 h 2164296"/>
              <a:gd name="connsiteX112" fmla="*/ 391233 w 2200983"/>
              <a:gd name="connsiteY112" fmla="*/ 290938 h 2164296"/>
              <a:gd name="connsiteX113" fmla="*/ 415045 w 2200983"/>
              <a:gd name="connsiteY113" fmla="*/ 248075 h 2164296"/>
              <a:gd name="connsiteX114" fmla="*/ 429333 w 2200983"/>
              <a:gd name="connsiteY114" fmla="*/ 229025 h 2164296"/>
              <a:gd name="connsiteX115" fmla="*/ 453145 w 2200983"/>
              <a:gd name="connsiteY115" fmla="*/ 214738 h 2164296"/>
              <a:gd name="connsiteX116" fmla="*/ 476958 w 2200983"/>
              <a:gd name="connsiteY116" fmla="*/ 190925 h 2164296"/>
              <a:gd name="connsiteX117" fmla="*/ 491245 w 2200983"/>
              <a:gd name="connsiteY117" fmla="*/ 181400 h 2164296"/>
              <a:gd name="connsiteX118" fmla="*/ 524583 w 2200983"/>
              <a:gd name="connsiteY118" fmla="*/ 143300 h 2164296"/>
              <a:gd name="connsiteX119" fmla="*/ 538870 w 2200983"/>
              <a:gd name="connsiteY119" fmla="*/ 133775 h 2164296"/>
              <a:gd name="connsiteX120" fmla="*/ 648408 w 2200983"/>
              <a:gd name="connsiteY120" fmla="*/ 71863 h 2164296"/>
              <a:gd name="connsiteX121" fmla="*/ 662695 w 2200983"/>
              <a:gd name="connsiteY121" fmla="*/ 52813 h 2164296"/>
              <a:gd name="connsiteX122" fmla="*/ 681745 w 2200983"/>
              <a:gd name="connsiteY122" fmla="*/ 48050 h 2164296"/>
              <a:gd name="connsiteX123" fmla="*/ 705558 w 2200983"/>
              <a:gd name="connsiteY123" fmla="*/ 38525 h 2164296"/>
              <a:gd name="connsiteX124" fmla="*/ 748420 w 2200983"/>
              <a:gd name="connsiteY124" fmla="*/ 24238 h 2164296"/>
              <a:gd name="connsiteX125" fmla="*/ 776995 w 2200983"/>
              <a:gd name="connsiteY125" fmla="*/ 14713 h 2164296"/>
              <a:gd name="connsiteX126" fmla="*/ 824620 w 2200983"/>
              <a:gd name="connsiteY126" fmla="*/ 9950 h 2164296"/>
              <a:gd name="connsiteX127" fmla="*/ 896058 w 2200983"/>
              <a:gd name="connsiteY127" fmla="*/ 425 h 2164296"/>
              <a:gd name="connsiteX0" fmla="*/ 795412 w 2167012"/>
              <a:gd name="connsiteY0" fmla="*/ 425 h 2164296"/>
              <a:gd name="connsiteX1" fmla="*/ 947812 w 2167012"/>
              <a:gd name="connsiteY1" fmla="*/ 5188 h 2164296"/>
              <a:gd name="connsiteX2" fmla="*/ 971624 w 2167012"/>
              <a:gd name="connsiteY2" fmla="*/ 9950 h 2164296"/>
              <a:gd name="connsiteX3" fmla="*/ 1038299 w 2167012"/>
              <a:gd name="connsiteY3" fmla="*/ 19475 h 2164296"/>
              <a:gd name="connsiteX4" fmla="*/ 1066874 w 2167012"/>
              <a:gd name="connsiteY4" fmla="*/ 24238 h 2164296"/>
              <a:gd name="connsiteX5" fmla="*/ 1090687 w 2167012"/>
              <a:gd name="connsiteY5" fmla="*/ 38525 h 2164296"/>
              <a:gd name="connsiteX6" fmla="*/ 1133549 w 2167012"/>
              <a:gd name="connsiteY6" fmla="*/ 48050 h 2164296"/>
              <a:gd name="connsiteX7" fmla="*/ 1152599 w 2167012"/>
              <a:gd name="connsiteY7" fmla="*/ 52813 h 2164296"/>
              <a:gd name="connsiteX8" fmla="*/ 1185937 w 2167012"/>
              <a:gd name="connsiteY8" fmla="*/ 57575 h 2164296"/>
              <a:gd name="connsiteX9" fmla="*/ 1281187 w 2167012"/>
              <a:gd name="connsiteY9" fmla="*/ 71863 h 2164296"/>
              <a:gd name="connsiteX10" fmla="*/ 1452637 w 2167012"/>
              <a:gd name="connsiteY10" fmla="*/ 109963 h 2164296"/>
              <a:gd name="connsiteX11" fmla="*/ 1476449 w 2167012"/>
              <a:gd name="connsiteY11" fmla="*/ 114725 h 2164296"/>
              <a:gd name="connsiteX12" fmla="*/ 1614562 w 2167012"/>
              <a:gd name="connsiteY12" fmla="*/ 124250 h 2164296"/>
              <a:gd name="connsiteX13" fmla="*/ 1647899 w 2167012"/>
              <a:gd name="connsiteY13" fmla="*/ 129013 h 2164296"/>
              <a:gd name="connsiteX14" fmla="*/ 1671712 w 2167012"/>
              <a:gd name="connsiteY14" fmla="*/ 133775 h 2164296"/>
              <a:gd name="connsiteX15" fmla="*/ 1719337 w 2167012"/>
              <a:gd name="connsiteY15" fmla="*/ 138538 h 2164296"/>
              <a:gd name="connsiteX16" fmla="*/ 1757437 w 2167012"/>
              <a:gd name="connsiteY16" fmla="*/ 152825 h 2164296"/>
              <a:gd name="connsiteX17" fmla="*/ 1771724 w 2167012"/>
              <a:gd name="connsiteY17" fmla="*/ 162350 h 2164296"/>
              <a:gd name="connsiteX18" fmla="*/ 1795537 w 2167012"/>
              <a:gd name="connsiteY18" fmla="*/ 167113 h 2164296"/>
              <a:gd name="connsiteX19" fmla="*/ 1819349 w 2167012"/>
              <a:gd name="connsiteY19" fmla="*/ 181400 h 2164296"/>
              <a:gd name="connsiteX20" fmla="*/ 1843162 w 2167012"/>
              <a:gd name="connsiteY20" fmla="*/ 190925 h 2164296"/>
              <a:gd name="connsiteX21" fmla="*/ 1857449 w 2167012"/>
              <a:gd name="connsiteY21" fmla="*/ 205213 h 2164296"/>
              <a:gd name="connsiteX22" fmla="*/ 1890787 w 2167012"/>
              <a:gd name="connsiteY22" fmla="*/ 229025 h 2164296"/>
              <a:gd name="connsiteX23" fmla="*/ 1943174 w 2167012"/>
              <a:gd name="connsiteY23" fmla="*/ 267125 h 2164296"/>
              <a:gd name="connsiteX24" fmla="*/ 1966987 w 2167012"/>
              <a:gd name="connsiteY24" fmla="*/ 295700 h 2164296"/>
              <a:gd name="connsiteX25" fmla="*/ 2000324 w 2167012"/>
              <a:gd name="connsiteY25" fmla="*/ 348088 h 2164296"/>
              <a:gd name="connsiteX26" fmla="*/ 2019374 w 2167012"/>
              <a:gd name="connsiteY26" fmla="*/ 410000 h 2164296"/>
              <a:gd name="connsiteX27" fmla="*/ 2028899 w 2167012"/>
              <a:gd name="connsiteY27" fmla="*/ 443338 h 2164296"/>
              <a:gd name="connsiteX28" fmla="*/ 2033662 w 2167012"/>
              <a:gd name="connsiteY28" fmla="*/ 457625 h 2164296"/>
              <a:gd name="connsiteX29" fmla="*/ 2043187 w 2167012"/>
              <a:gd name="connsiteY29" fmla="*/ 476675 h 2164296"/>
              <a:gd name="connsiteX30" fmla="*/ 2062237 w 2167012"/>
              <a:gd name="connsiteY30" fmla="*/ 548113 h 2164296"/>
              <a:gd name="connsiteX31" fmla="*/ 2076524 w 2167012"/>
              <a:gd name="connsiteY31" fmla="*/ 610025 h 2164296"/>
              <a:gd name="connsiteX32" fmla="*/ 2081287 w 2167012"/>
              <a:gd name="connsiteY32" fmla="*/ 914825 h 2164296"/>
              <a:gd name="connsiteX33" fmla="*/ 2119387 w 2167012"/>
              <a:gd name="connsiteY33" fmla="*/ 1086275 h 2164296"/>
              <a:gd name="connsiteX34" fmla="*/ 2124149 w 2167012"/>
              <a:gd name="connsiteY34" fmla="*/ 1148188 h 2164296"/>
              <a:gd name="connsiteX35" fmla="*/ 2138437 w 2167012"/>
              <a:gd name="connsiteY35" fmla="*/ 1191050 h 2164296"/>
              <a:gd name="connsiteX36" fmla="*/ 2143199 w 2167012"/>
              <a:gd name="connsiteY36" fmla="*/ 1224388 h 2164296"/>
              <a:gd name="connsiteX37" fmla="*/ 2162249 w 2167012"/>
              <a:gd name="connsiteY37" fmla="*/ 1276775 h 2164296"/>
              <a:gd name="connsiteX38" fmla="*/ 2167012 w 2167012"/>
              <a:gd name="connsiteY38" fmla="*/ 1300588 h 2164296"/>
              <a:gd name="connsiteX39" fmla="*/ 2162249 w 2167012"/>
              <a:gd name="connsiteY39" fmla="*/ 1514900 h 2164296"/>
              <a:gd name="connsiteX40" fmla="*/ 2152724 w 2167012"/>
              <a:gd name="connsiteY40" fmla="*/ 1529188 h 2164296"/>
              <a:gd name="connsiteX41" fmla="*/ 2143199 w 2167012"/>
              <a:gd name="connsiteY41" fmla="*/ 1562525 h 2164296"/>
              <a:gd name="connsiteX42" fmla="*/ 2133674 w 2167012"/>
              <a:gd name="connsiteY42" fmla="*/ 1576813 h 2164296"/>
              <a:gd name="connsiteX43" fmla="*/ 2128912 w 2167012"/>
              <a:gd name="connsiteY43" fmla="*/ 1600625 h 2164296"/>
              <a:gd name="connsiteX44" fmla="*/ 2114624 w 2167012"/>
              <a:gd name="connsiteY44" fmla="*/ 1614913 h 2164296"/>
              <a:gd name="connsiteX45" fmla="*/ 2105099 w 2167012"/>
              <a:gd name="connsiteY45" fmla="*/ 1629200 h 2164296"/>
              <a:gd name="connsiteX46" fmla="*/ 2076524 w 2167012"/>
              <a:gd name="connsiteY46" fmla="*/ 1657775 h 2164296"/>
              <a:gd name="connsiteX47" fmla="*/ 2047949 w 2167012"/>
              <a:gd name="connsiteY47" fmla="*/ 1686350 h 2164296"/>
              <a:gd name="connsiteX48" fmla="*/ 2038424 w 2167012"/>
              <a:gd name="connsiteY48" fmla="*/ 1700638 h 2164296"/>
              <a:gd name="connsiteX49" fmla="*/ 2024137 w 2167012"/>
              <a:gd name="connsiteY49" fmla="*/ 1710163 h 2164296"/>
              <a:gd name="connsiteX50" fmla="*/ 2000324 w 2167012"/>
              <a:gd name="connsiteY50" fmla="*/ 1724450 h 2164296"/>
              <a:gd name="connsiteX51" fmla="*/ 1976512 w 2167012"/>
              <a:gd name="connsiteY51" fmla="*/ 1743500 h 2164296"/>
              <a:gd name="connsiteX52" fmla="*/ 1905074 w 2167012"/>
              <a:gd name="connsiteY52" fmla="*/ 1772075 h 2164296"/>
              <a:gd name="connsiteX53" fmla="*/ 1886024 w 2167012"/>
              <a:gd name="connsiteY53" fmla="*/ 1786363 h 2164296"/>
              <a:gd name="connsiteX54" fmla="*/ 1838399 w 2167012"/>
              <a:gd name="connsiteY54" fmla="*/ 1814938 h 2164296"/>
              <a:gd name="connsiteX55" fmla="*/ 1824112 w 2167012"/>
              <a:gd name="connsiteY55" fmla="*/ 1833988 h 2164296"/>
              <a:gd name="connsiteX56" fmla="*/ 1771724 w 2167012"/>
              <a:gd name="connsiteY56" fmla="*/ 1862563 h 2164296"/>
              <a:gd name="connsiteX57" fmla="*/ 1628850 w 2167012"/>
              <a:gd name="connsiteY57" fmla="*/ 1891137 h 2164296"/>
              <a:gd name="connsiteX58" fmla="*/ 1381199 w 2167012"/>
              <a:gd name="connsiteY58" fmla="*/ 2014962 h 2164296"/>
              <a:gd name="connsiteX59" fmla="*/ 1328812 w 2167012"/>
              <a:gd name="connsiteY59" fmla="*/ 2053063 h 2164296"/>
              <a:gd name="connsiteX60" fmla="*/ 1314524 w 2167012"/>
              <a:gd name="connsiteY60" fmla="*/ 2062588 h 2164296"/>
              <a:gd name="connsiteX61" fmla="*/ 1276424 w 2167012"/>
              <a:gd name="connsiteY61" fmla="*/ 2072113 h 2164296"/>
              <a:gd name="connsiteX62" fmla="*/ 1252612 w 2167012"/>
              <a:gd name="connsiteY62" fmla="*/ 2086400 h 2164296"/>
              <a:gd name="connsiteX63" fmla="*/ 1200224 w 2167012"/>
              <a:gd name="connsiteY63" fmla="*/ 2100688 h 2164296"/>
              <a:gd name="connsiteX64" fmla="*/ 1157362 w 2167012"/>
              <a:gd name="connsiteY64" fmla="*/ 2119738 h 2164296"/>
              <a:gd name="connsiteX65" fmla="*/ 1138312 w 2167012"/>
              <a:gd name="connsiteY65" fmla="*/ 2134025 h 2164296"/>
              <a:gd name="connsiteX66" fmla="*/ 1066874 w 2167012"/>
              <a:gd name="connsiteY66" fmla="*/ 2148313 h 2164296"/>
              <a:gd name="connsiteX67" fmla="*/ 1038299 w 2167012"/>
              <a:gd name="connsiteY67" fmla="*/ 2162600 h 2164296"/>
              <a:gd name="connsiteX68" fmla="*/ 904949 w 2167012"/>
              <a:gd name="connsiteY68" fmla="*/ 2157838 h 2164296"/>
              <a:gd name="connsiteX69" fmla="*/ 795412 w 2167012"/>
              <a:gd name="connsiteY69" fmla="*/ 2105450 h 2164296"/>
              <a:gd name="connsiteX70" fmla="*/ 757312 w 2167012"/>
              <a:gd name="connsiteY70" fmla="*/ 2091163 h 2164296"/>
              <a:gd name="connsiteX71" fmla="*/ 709687 w 2167012"/>
              <a:gd name="connsiteY71" fmla="*/ 2062588 h 2164296"/>
              <a:gd name="connsiteX72" fmla="*/ 652537 w 2167012"/>
              <a:gd name="connsiteY72" fmla="*/ 2038775 h 2164296"/>
              <a:gd name="connsiteX73" fmla="*/ 619199 w 2167012"/>
              <a:gd name="connsiteY73" fmla="*/ 2005438 h 2164296"/>
              <a:gd name="connsiteX74" fmla="*/ 581099 w 2167012"/>
              <a:gd name="connsiteY74" fmla="*/ 1976863 h 2164296"/>
              <a:gd name="connsiteX75" fmla="*/ 566812 w 2167012"/>
              <a:gd name="connsiteY75" fmla="*/ 1957813 h 2164296"/>
              <a:gd name="connsiteX76" fmla="*/ 552524 w 2167012"/>
              <a:gd name="connsiteY76" fmla="*/ 1934000 h 2164296"/>
              <a:gd name="connsiteX77" fmla="*/ 519187 w 2167012"/>
              <a:gd name="connsiteY77" fmla="*/ 1895900 h 2164296"/>
              <a:gd name="connsiteX78" fmla="*/ 376312 w 2167012"/>
              <a:gd name="connsiteY78" fmla="*/ 1705400 h 2164296"/>
              <a:gd name="connsiteX79" fmla="*/ 362024 w 2167012"/>
              <a:gd name="connsiteY79" fmla="*/ 1686350 h 2164296"/>
              <a:gd name="connsiteX80" fmla="*/ 342974 w 2167012"/>
              <a:gd name="connsiteY80" fmla="*/ 1657775 h 2164296"/>
              <a:gd name="connsiteX81" fmla="*/ 285824 w 2167012"/>
              <a:gd name="connsiteY81" fmla="*/ 1600625 h 2164296"/>
              <a:gd name="connsiteX82" fmla="*/ 262012 w 2167012"/>
              <a:gd name="connsiteY82" fmla="*/ 1576813 h 2164296"/>
              <a:gd name="connsiteX83" fmla="*/ 247724 w 2167012"/>
              <a:gd name="connsiteY83" fmla="*/ 1562525 h 2164296"/>
              <a:gd name="connsiteX84" fmla="*/ 209624 w 2167012"/>
              <a:gd name="connsiteY84" fmla="*/ 1538713 h 2164296"/>
              <a:gd name="connsiteX85" fmla="*/ 185812 w 2167012"/>
              <a:gd name="connsiteY85" fmla="*/ 1510138 h 2164296"/>
              <a:gd name="connsiteX86" fmla="*/ 161999 w 2167012"/>
              <a:gd name="connsiteY86" fmla="*/ 1491088 h 2164296"/>
              <a:gd name="connsiteX87" fmla="*/ 142949 w 2167012"/>
              <a:gd name="connsiteY87" fmla="*/ 1462513 h 2164296"/>
              <a:gd name="connsiteX88" fmla="*/ 119137 w 2167012"/>
              <a:gd name="connsiteY88" fmla="*/ 1438700 h 2164296"/>
              <a:gd name="connsiteX89" fmla="*/ 109612 w 2167012"/>
              <a:gd name="connsiteY89" fmla="*/ 1424413 h 2164296"/>
              <a:gd name="connsiteX90" fmla="*/ 90562 w 2167012"/>
              <a:gd name="connsiteY90" fmla="*/ 1405363 h 2164296"/>
              <a:gd name="connsiteX91" fmla="*/ 71512 w 2167012"/>
              <a:gd name="connsiteY91" fmla="*/ 1376788 h 2164296"/>
              <a:gd name="connsiteX92" fmla="*/ 57224 w 2167012"/>
              <a:gd name="connsiteY92" fmla="*/ 1362500 h 2164296"/>
              <a:gd name="connsiteX93" fmla="*/ 47699 w 2167012"/>
              <a:gd name="connsiteY93" fmla="*/ 1348213 h 2164296"/>
              <a:gd name="connsiteX94" fmla="*/ 33412 w 2167012"/>
              <a:gd name="connsiteY94" fmla="*/ 1329163 h 2164296"/>
              <a:gd name="connsiteX95" fmla="*/ 28649 w 2167012"/>
              <a:gd name="connsiteY95" fmla="*/ 1305350 h 2164296"/>
              <a:gd name="connsiteX96" fmla="*/ 74 w 2167012"/>
              <a:gd name="connsiteY96" fmla="*/ 991025 h 2164296"/>
              <a:gd name="connsiteX97" fmla="*/ 38174 w 2167012"/>
              <a:gd name="connsiteY97" fmla="*/ 929113 h 2164296"/>
              <a:gd name="connsiteX98" fmla="*/ 61987 w 2167012"/>
              <a:gd name="connsiteY98" fmla="*/ 891013 h 2164296"/>
              <a:gd name="connsiteX99" fmla="*/ 81037 w 2167012"/>
              <a:gd name="connsiteY99" fmla="*/ 848150 h 2164296"/>
              <a:gd name="connsiteX100" fmla="*/ 142949 w 2167012"/>
              <a:gd name="connsiteY100" fmla="*/ 733850 h 2164296"/>
              <a:gd name="connsiteX101" fmla="*/ 204862 w 2167012"/>
              <a:gd name="connsiteY101" fmla="*/ 610025 h 2164296"/>
              <a:gd name="connsiteX102" fmla="*/ 209624 w 2167012"/>
              <a:gd name="connsiteY102" fmla="*/ 581450 h 2164296"/>
              <a:gd name="connsiteX103" fmla="*/ 233437 w 2167012"/>
              <a:gd name="connsiteY103" fmla="*/ 538588 h 2164296"/>
              <a:gd name="connsiteX104" fmla="*/ 247724 w 2167012"/>
              <a:gd name="connsiteY104" fmla="*/ 500488 h 2164296"/>
              <a:gd name="connsiteX105" fmla="*/ 262012 w 2167012"/>
              <a:gd name="connsiteY105" fmla="*/ 471913 h 2164296"/>
              <a:gd name="connsiteX106" fmla="*/ 271537 w 2167012"/>
              <a:gd name="connsiteY106" fmla="*/ 443338 h 2164296"/>
              <a:gd name="connsiteX107" fmla="*/ 281062 w 2167012"/>
              <a:gd name="connsiteY107" fmla="*/ 429050 h 2164296"/>
              <a:gd name="connsiteX108" fmla="*/ 290587 w 2167012"/>
              <a:gd name="connsiteY108" fmla="*/ 405238 h 2164296"/>
              <a:gd name="connsiteX109" fmla="*/ 309637 w 2167012"/>
              <a:gd name="connsiteY109" fmla="*/ 381425 h 2164296"/>
              <a:gd name="connsiteX110" fmla="*/ 328687 w 2167012"/>
              <a:gd name="connsiteY110" fmla="*/ 333800 h 2164296"/>
              <a:gd name="connsiteX111" fmla="*/ 357262 w 2167012"/>
              <a:gd name="connsiteY111" fmla="*/ 290938 h 2164296"/>
              <a:gd name="connsiteX112" fmla="*/ 381074 w 2167012"/>
              <a:gd name="connsiteY112" fmla="*/ 248075 h 2164296"/>
              <a:gd name="connsiteX113" fmla="*/ 395362 w 2167012"/>
              <a:gd name="connsiteY113" fmla="*/ 229025 h 2164296"/>
              <a:gd name="connsiteX114" fmla="*/ 419174 w 2167012"/>
              <a:gd name="connsiteY114" fmla="*/ 214738 h 2164296"/>
              <a:gd name="connsiteX115" fmla="*/ 442987 w 2167012"/>
              <a:gd name="connsiteY115" fmla="*/ 190925 h 2164296"/>
              <a:gd name="connsiteX116" fmla="*/ 457274 w 2167012"/>
              <a:gd name="connsiteY116" fmla="*/ 181400 h 2164296"/>
              <a:gd name="connsiteX117" fmla="*/ 490612 w 2167012"/>
              <a:gd name="connsiteY117" fmla="*/ 143300 h 2164296"/>
              <a:gd name="connsiteX118" fmla="*/ 504899 w 2167012"/>
              <a:gd name="connsiteY118" fmla="*/ 133775 h 2164296"/>
              <a:gd name="connsiteX119" fmla="*/ 614437 w 2167012"/>
              <a:gd name="connsiteY119" fmla="*/ 71863 h 2164296"/>
              <a:gd name="connsiteX120" fmla="*/ 628724 w 2167012"/>
              <a:gd name="connsiteY120" fmla="*/ 52813 h 2164296"/>
              <a:gd name="connsiteX121" fmla="*/ 647774 w 2167012"/>
              <a:gd name="connsiteY121" fmla="*/ 48050 h 2164296"/>
              <a:gd name="connsiteX122" fmla="*/ 671587 w 2167012"/>
              <a:gd name="connsiteY122" fmla="*/ 38525 h 2164296"/>
              <a:gd name="connsiteX123" fmla="*/ 714449 w 2167012"/>
              <a:gd name="connsiteY123" fmla="*/ 24238 h 2164296"/>
              <a:gd name="connsiteX124" fmla="*/ 743024 w 2167012"/>
              <a:gd name="connsiteY124" fmla="*/ 14713 h 2164296"/>
              <a:gd name="connsiteX125" fmla="*/ 790649 w 2167012"/>
              <a:gd name="connsiteY125" fmla="*/ 9950 h 2164296"/>
              <a:gd name="connsiteX126" fmla="*/ 862087 w 2167012"/>
              <a:gd name="connsiteY126" fmla="*/ 425 h 2164296"/>
              <a:gd name="connsiteX0" fmla="*/ 826759 w 2198359"/>
              <a:gd name="connsiteY0" fmla="*/ 425 h 2164296"/>
              <a:gd name="connsiteX1" fmla="*/ 979159 w 2198359"/>
              <a:gd name="connsiteY1" fmla="*/ 5188 h 2164296"/>
              <a:gd name="connsiteX2" fmla="*/ 1002971 w 2198359"/>
              <a:gd name="connsiteY2" fmla="*/ 9950 h 2164296"/>
              <a:gd name="connsiteX3" fmla="*/ 1069646 w 2198359"/>
              <a:gd name="connsiteY3" fmla="*/ 19475 h 2164296"/>
              <a:gd name="connsiteX4" fmla="*/ 1098221 w 2198359"/>
              <a:gd name="connsiteY4" fmla="*/ 24238 h 2164296"/>
              <a:gd name="connsiteX5" fmla="*/ 1122034 w 2198359"/>
              <a:gd name="connsiteY5" fmla="*/ 38525 h 2164296"/>
              <a:gd name="connsiteX6" fmla="*/ 1164896 w 2198359"/>
              <a:gd name="connsiteY6" fmla="*/ 48050 h 2164296"/>
              <a:gd name="connsiteX7" fmla="*/ 1183946 w 2198359"/>
              <a:gd name="connsiteY7" fmla="*/ 52813 h 2164296"/>
              <a:gd name="connsiteX8" fmla="*/ 1217284 w 2198359"/>
              <a:gd name="connsiteY8" fmla="*/ 57575 h 2164296"/>
              <a:gd name="connsiteX9" fmla="*/ 1312534 w 2198359"/>
              <a:gd name="connsiteY9" fmla="*/ 71863 h 2164296"/>
              <a:gd name="connsiteX10" fmla="*/ 1483984 w 2198359"/>
              <a:gd name="connsiteY10" fmla="*/ 109963 h 2164296"/>
              <a:gd name="connsiteX11" fmla="*/ 1507796 w 2198359"/>
              <a:gd name="connsiteY11" fmla="*/ 114725 h 2164296"/>
              <a:gd name="connsiteX12" fmla="*/ 1645909 w 2198359"/>
              <a:gd name="connsiteY12" fmla="*/ 124250 h 2164296"/>
              <a:gd name="connsiteX13" fmla="*/ 1679246 w 2198359"/>
              <a:gd name="connsiteY13" fmla="*/ 129013 h 2164296"/>
              <a:gd name="connsiteX14" fmla="*/ 1703059 w 2198359"/>
              <a:gd name="connsiteY14" fmla="*/ 133775 h 2164296"/>
              <a:gd name="connsiteX15" fmla="*/ 1750684 w 2198359"/>
              <a:gd name="connsiteY15" fmla="*/ 138538 h 2164296"/>
              <a:gd name="connsiteX16" fmla="*/ 1788784 w 2198359"/>
              <a:gd name="connsiteY16" fmla="*/ 152825 h 2164296"/>
              <a:gd name="connsiteX17" fmla="*/ 1803071 w 2198359"/>
              <a:gd name="connsiteY17" fmla="*/ 162350 h 2164296"/>
              <a:gd name="connsiteX18" fmla="*/ 1826884 w 2198359"/>
              <a:gd name="connsiteY18" fmla="*/ 167113 h 2164296"/>
              <a:gd name="connsiteX19" fmla="*/ 1850696 w 2198359"/>
              <a:gd name="connsiteY19" fmla="*/ 181400 h 2164296"/>
              <a:gd name="connsiteX20" fmla="*/ 1874509 w 2198359"/>
              <a:gd name="connsiteY20" fmla="*/ 190925 h 2164296"/>
              <a:gd name="connsiteX21" fmla="*/ 1888796 w 2198359"/>
              <a:gd name="connsiteY21" fmla="*/ 205213 h 2164296"/>
              <a:gd name="connsiteX22" fmla="*/ 1922134 w 2198359"/>
              <a:gd name="connsiteY22" fmla="*/ 229025 h 2164296"/>
              <a:gd name="connsiteX23" fmla="*/ 1974521 w 2198359"/>
              <a:gd name="connsiteY23" fmla="*/ 267125 h 2164296"/>
              <a:gd name="connsiteX24" fmla="*/ 1998334 w 2198359"/>
              <a:gd name="connsiteY24" fmla="*/ 295700 h 2164296"/>
              <a:gd name="connsiteX25" fmla="*/ 2031671 w 2198359"/>
              <a:gd name="connsiteY25" fmla="*/ 348088 h 2164296"/>
              <a:gd name="connsiteX26" fmla="*/ 2050721 w 2198359"/>
              <a:gd name="connsiteY26" fmla="*/ 410000 h 2164296"/>
              <a:gd name="connsiteX27" fmla="*/ 2060246 w 2198359"/>
              <a:gd name="connsiteY27" fmla="*/ 443338 h 2164296"/>
              <a:gd name="connsiteX28" fmla="*/ 2065009 w 2198359"/>
              <a:gd name="connsiteY28" fmla="*/ 457625 h 2164296"/>
              <a:gd name="connsiteX29" fmla="*/ 2074534 w 2198359"/>
              <a:gd name="connsiteY29" fmla="*/ 476675 h 2164296"/>
              <a:gd name="connsiteX30" fmla="*/ 2093584 w 2198359"/>
              <a:gd name="connsiteY30" fmla="*/ 548113 h 2164296"/>
              <a:gd name="connsiteX31" fmla="*/ 2107871 w 2198359"/>
              <a:gd name="connsiteY31" fmla="*/ 610025 h 2164296"/>
              <a:gd name="connsiteX32" fmla="*/ 2112634 w 2198359"/>
              <a:gd name="connsiteY32" fmla="*/ 914825 h 2164296"/>
              <a:gd name="connsiteX33" fmla="*/ 2150734 w 2198359"/>
              <a:gd name="connsiteY33" fmla="*/ 1086275 h 2164296"/>
              <a:gd name="connsiteX34" fmla="*/ 2155496 w 2198359"/>
              <a:gd name="connsiteY34" fmla="*/ 1148188 h 2164296"/>
              <a:gd name="connsiteX35" fmla="*/ 2169784 w 2198359"/>
              <a:gd name="connsiteY35" fmla="*/ 1191050 h 2164296"/>
              <a:gd name="connsiteX36" fmla="*/ 2174546 w 2198359"/>
              <a:gd name="connsiteY36" fmla="*/ 1224388 h 2164296"/>
              <a:gd name="connsiteX37" fmla="*/ 2193596 w 2198359"/>
              <a:gd name="connsiteY37" fmla="*/ 1276775 h 2164296"/>
              <a:gd name="connsiteX38" fmla="*/ 2198359 w 2198359"/>
              <a:gd name="connsiteY38" fmla="*/ 1300588 h 2164296"/>
              <a:gd name="connsiteX39" fmla="*/ 2193596 w 2198359"/>
              <a:gd name="connsiteY39" fmla="*/ 1514900 h 2164296"/>
              <a:gd name="connsiteX40" fmla="*/ 2184071 w 2198359"/>
              <a:gd name="connsiteY40" fmla="*/ 1529188 h 2164296"/>
              <a:gd name="connsiteX41" fmla="*/ 2174546 w 2198359"/>
              <a:gd name="connsiteY41" fmla="*/ 1562525 h 2164296"/>
              <a:gd name="connsiteX42" fmla="*/ 2165021 w 2198359"/>
              <a:gd name="connsiteY42" fmla="*/ 1576813 h 2164296"/>
              <a:gd name="connsiteX43" fmla="*/ 2160259 w 2198359"/>
              <a:gd name="connsiteY43" fmla="*/ 1600625 h 2164296"/>
              <a:gd name="connsiteX44" fmla="*/ 2145971 w 2198359"/>
              <a:gd name="connsiteY44" fmla="*/ 1614913 h 2164296"/>
              <a:gd name="connsiteX45" fmla="*/ 2136446 w 2198359"/>
              <a:gd name="connsiteY45" fmla="*/ 1629200 h 2164296"/>
              <a:gd name="connsiteX46" fmla="*/ 2107871 w 2198359"/>
              <a:gd name="connsiteY46" fmla="*/ 1657775 h 2164296"/>
              <a:gd name="connsiteX47" fmla="*/ 2079296 w 2198359"/>
              <a:gd name="connsiteY47" fmla="*/ 1686350 h 2164296"/>
              <a:gd name="connsiteX48" fmla="*/ 2069771 w 2198359"/>
              <a:gd name="connsiteY48" fmla="*/ 1700638 h 2164296"/>
              <a:gd name="connsiteX49" fmla="*/ 2055484 w 2198359"/>
              <a:gd name="connsiteY49" fmla="*/ 1710163 h 2164296"/>
              <a:gd name="connsiteX50" fmla="*/ 2031671 w 2198359"/>
              <a:gd name="connsiteY50" fmla="*/ 1724450 h 2164296"/>
              <a:gd name="connsiteX51" fmla="*/ 2007859 w 2198359"/>
              <a:gd name="connsiteY51" fmla="*/ 1743500 h 2164296"/>
              <a:gd name="connsiteX52" fmla="*/ 1936421 w 2198359"/>
              <a:gd name="connsiteY52" fmla="*/ 1772075 h 2164296"/>
              <a:gd name="connsiteX53" fmla="*/ 1917371 w 2198359"/>
              <a:gd name="connsiteY53" fmla="*/ 1786363 h 2164296"/>
              <a:gd name="connsiteX54" fmla="*/ 1869746 w 2198359"/>
              <a:gd name="connsiteY54" fmla="*/ 1814938 h 2164296"/>
              <a:gd name="connsiteX55" fmla="*/ 1855459 w 2198359"/>
              <a:gd name="connsiteY55" fmla="*/ 1833988 h 2164296"/>
              <a:gd name="connsiteX56" fmla="*/ 1803071 w 2198359"/>
              <a:gd name="connsiteY56" fmla="*/ 1862563 h 2164296"/>
              <a:gd name="connsiteX57" fmla="*/ 1660197 w 2198359"/>
              <a:gd name="connsiteY57" fmla="*/ 1891137 h 2164296"/>
              <a:gd name="connsiteX58" fmla="*/ 1412546 w 2198359"/>
              <a:gd name="connsiteY58" fmla="*/ 2014962 h 2164296"/>
              <a:gd name="connsiteX59" fmla="*/ 1360159 w 2198359"/>
              <a:gd name="connsiteY59" fmla="*/ 2053063 h 2164296"/>
              <a:gd name="connsiteX60" fmla="*/ 1345871 w 2198359"/>
              <a:gd name="connsiteY60" fmla="*/ 2062588 h 2164296"/>
              <a:gd name="connsiteX61" fmla="*/ 1307771 w 2198359"/>
              <a:gd name="connsiteY61" fmla="*/ 2072113 h 2164296"/>
              <a:gd name="connsiteX62" fmla="*/ 1283959 w 2198359"/>
              <a:gd name="connsiteY62" fmla="*/ 2086400 h 2164296"/>
              <a:gd name="connsiteX63" fmla="*/ 1231571 w 2198359"/>
              <a:gd name="connsiteY63" fmla="*/ 2100688 h 2164296"/>
              <a:gd name="connsiteX64" fmla="*/ 1188709 w 2198359"/>
              <a:gd name="connsiteY64" fmla="*/ 2119738 h 2164296"/>
              <a:gd name="connsiteX65" fmla="*/ 1169659 w 2198359"/>
              <a:gd name="connsiteY65" fmla="*/ 2134025 h 2164296"/>
              <a:gd name="connsiteX66" fmla="*/ 1098221 w 2198359"/>
              <a:gd name="connsiteY66" fmla="*/ 2148313 h 2164296"/>
              <a:gd name="connsiteX67" fmla="*/ 1069646 w 2198359"/>
              <a:gd name="connsiteY67" fmla="*/ 2162600 h 2164296"/>
              <a:gd name="connsiteX68" fmla="*/ 936296 w 2198359"/>
              <a:gd name="connsiteY68" fmla="*/ 2157838 h 2164296"/>
              <a:gd name="connsiteX69" fmla="*/ 826759 w 2198359"/>
              <a:gd name="connsiteY69" fmla="*/ 2105450 h 2164296"/>
              <a:gd name="connsiteX70" fmla="*/ 788659 w 2198359"/>
              <a:gd name="connsiteY70" fmla="*/ 2091163 h 2164296"/>
              <a:gd name="connsiteX71" fmla="*/ 741034 w 2198359"/>
              <a:gd name="connsiteY71" fmla="*/ 2062588 h 2164296"/>
              <a:gd name="connsiteX72" fmla="*/ 683884 w 2198359"/>
              <a:gd name="connsiteY72" fmla="*/ 2038775 h 2164296"/>
              <a:gd name="connsiteX73" fmla="*/ 650546 w 2198359"/>
              <a:gd name="connsiteY73" fmla="*/ 2005438 h 2164296"/>
              <a:gd name="connsiteX74" fmla="*/ 612446 w 2198359"/>
              <a:gd name="connsiteY74" fmla="*/ 1976863 h 2164296"/>
              <a:gd name="connsiteX75" fmla="*/ 598159 w 2198359"/>
              <a:gd name="connsiteY75" fmla="*/ 1957813 h 2164296"/>
              <a:gd name="connsiteX76" fmla="*/ 583871 w 2198359"/>
              <a:gd name="connsiteY76" fmla="*/ 1934000 h 2164296"/>
              <a:gd name="connsiteX77" fmla="*/ 550534 w 2198359"/>
              <a:gd name="connsiteY77" fmla="*/ 1895900 h 2164296"/>
              <a:gd name="connsiteX78" fmla="*/ 407659 w 2198359"/>
              <a:gd name="connsiteY78" fmla="*/ 1705400 h 2164296"/>
              <a:gd name="connsiteX79" fmla="*/ 393371 w 2198359"/>
              <a:gd name="connsiteY79" fmla="*/ 1686350 h 2164296"/>
              <a:gd name="connsiteX80" fmla="*/ 374321 w 2198359"/>
              <a:gd name="connsiteY80" fmla="*/ 1657775 h 2164296"/>
              <a:gd name="connsiteX81" fmla="*/ 317171 w 2198359"/>
              <a:gd name="connsiteY81" fmla="*/ 1600625 h 2164296"/>
              <a:gd name="connsiteX82" fmla="*/ 293359 w 2198359"/>
              <a:gd name="connsiteY82" fmla="*/ 1576813 h 2164296"/>
              <a:gd name="connsiteX83" fmla="*/ 279071 w 2198359"/>
              <a:gd name="connsiteY83" fmla="*/ 1562525 h 2164296"/>
              <a:gd name="connsiteX84" fmla="*/ 240971 w 2198359"/>
              <a:gd name="connsiteY84" fmla="*/ 1538713 h 2164296"/>
              <a:gd name="connsiteX85" fmla="*/ 217159 w 2198359"/>
              <a:gd name="connsiteY85" fmla="*/ 1510138 h 2164296"/>
              <a:gd name="connsiteX86" fmla="*/ 193346 w 2198359"/>
              <a:gd name="connsiteY86" fmla="*/ 1491088 h 2164296"/>
              <a:gd name="connsiteX87" fmla="*/ 174296 w 2198359"/>
              <a:gd name="connsiteY87" fmla="*/ 1462513 h 2164296"/>
              <a:gd name="connsiteX88" fmla="*/ 150484 w 2198359"/>
              <a:gd name="connsiteY88" fmla="*/ 1438700 h 2164296"/>
              <a:gd name="connsiteX89" fmla="*/ 140959 w 2198359"/>
              <a:gd name="connsiteY89" fmla="*/ 1424413 h 2164296"/>
              <a:gd name="connsiteX90" fmla="*/ 121909 w 2198359"/>
              <a:gd name="connsiteY90" fmla="*/ 1405363 h 2164296"/>
              <a:gd name="connsiteX91" fmla="*/ 102859 w 2198359"/>
              <a:gd name="connsiteY91" fmla="*/ 1376788 h 2164296"/>
              <a:gd name="connsiteX92" fmla="*/ 88571 w 2198359"/>
              <a:gd name="connsiteY92" fmla="*/ 1362500 h 2164296"/>
              <a:gd name="connsiteX93" fmla="*/ 79046 w 2198359"/>
              <a:gd name="connsiteY93" fmla="*/ 1348213 h 2164296"/>
              <a:gd name="connsiteX94" fmla="*/ 64759 w 2198359"/>
              <a:gd name="connsiteY94" fmla="*/ 1329163 h 2164296"/>
              <a:gd name="connsiteX95" fmla="*/ 59996 w 2198359"/>
              <a:gd name="connsiteY95" fmla="*/ 1305350 h 2164296"/>
              <a:gd name="connsiteX96" fmla="*/ 31421 w 2198359"/>
              <a:gd name="connsiteY96" fmla="*/ 991025 h 2164296"/>
              <a:gd name="connsiteX97" fmla="*/ 69521 w 2198359"/>
              <a:gd name="connsiteY97" fmla="*/ 929113 h 2164296"/>
              <a:gd name="connsiteX98" fmla="*/ 93334 w 2198359"/>
              <a:gd name="connsiteY98" fmla="*/ 891013 h 2164296"/>
              <a:gd name="connsiteX99" fmla="*/ 112384 w 2198359"/>
              <a:gd name="connsiteY99" fmla="*/ 848150 h 2164296"/>
              <a:gd name="connsiteX100" fmla="*/ 174296 w 2198359"/>
              <a:gd name="connsiteY100" fmla="*/ 733850 h 2164296"/>
              <a:gd name="connsiteX101" fmla="*/ 236209 w 2198359"/>
              <a:gd name="connsiteY101" fmla="*/ 610025 h 2164296"/>
              <a:gd name="connsiteX102" fmla="*/ 240971 w 2198359"/>
              <a:gd name="connsiteY102" fmla="*/ 581450 h 2164296"/>
              <a:gd name="connsiteX103" fmla="*/ 264784 w 2198359"/>
              <a:gd name="connsiteY103" fmla="*/ 538588 h 2164296"/>
              <a:gd name="connsiteX104" fmla="*/ 279071 w 2198359"/>
              <a:gd name="connsiteY104" fmla="*/ 500488 h 2164296"/>
              <a:gd name="connsiteX105" fmla="*/ 293359 w 2198359"/>
              <a:gd name="connsiteY105" fmla="*/ 471913 h 2164296"/>
              <a:gd name="connsiteX106" fmla="*/ 302884 w 2198359"/>
              <a:gd name="connsiteY106" fmla="*/ 443338 h 2164296"/>
              <a:gd name="connsiteX107" fmla="*/ 312409 w 2198359"/>
              <a:gd name="connsiteY107" fmla="*/ 429050 h 2164296"/>
              <a:gd name="connsiteX108" fmla="*/ 321934 w 2198359"/>
              <a:gd name="connsiteY108" fmla="*/ 405238 h 2164296"/>
              <a:gd name="connsiteX109" fmla="*/ 340984 w 2198359"/>
              <a:gd name="connsiteY109" fmla="*/ 381425 h 2164296"/>
              <a:gd name="connsiteX110" fmla="*/ 360034 w 2198359"/>
              <a:gd name="connsiteY110" fmla="*/ 333800 h 2164296"/>
              <a:gd name="connsiteX111" fmla="*/ 388609 w 2198359"/>
              <a:gd name="connsiteY111" fmla="*/ 290938 h 2164296"/>
              <a:gd name="connsiteX112" fmla="*/ 412421 w 2198359"/>
              <a:gd name="connsiteY112" fmla="*/ 248075 h 2164296"/>
              <a:gd name="connsiteX113" fmla="*/ 426709 w 2198359"/>
              <a:gd name="connsiteY113" fmla="*/ 229025 h 2164296"/>
              <a:gd name="connsiteX114" fmla="*/ 450521 w 2198359"/>
              <a:gd name="connsiteY114" fmla="*/ 214738 h 2164296"/>
              <a:gd name="connsiteX115" fmla="*/ 474334 w 2198359"/>
              <a:gd name="connsiteY115" fmla="*/ 190925 h 2164296"/>
              <a:gd name="connsiteX116" fmla="*/ 488621 w 2198359"/>
              <a:gd name="connsiteY116" fmla="*/ 181400 h 2164296"/>
              <a:gd name="connsiteX117" fmla="*/ 521959 w 2198359"/>
              <a:gd name="connsiteY117" fmla="*/ 143300 h 2164296"/>
              <a:gd name="connsiteX118" fmla="*/ 536246 w 2198359"/>
              <a:gd name="connsiteY118" fmla="*/ 133775 h 2164296"/>
              <a:gd name="connsiteX119" fmla="*/ 645784 w 2198359"/>
              <a:gd name="connsiteY119" fmla="*/ 71863 h 2164296"/>
              <a:gd name="connsiteX120" fmla="*/ 660071 w 2198359"/>
              <a:gd name="connsiteY120" fmla="*/ 52813 h 2164296"/>
              <a:gd name="connsiteX121" fmla="*/ 679121 w 2198359"/>
              <a:gd name="connsiteY121" fmla="*/ 48050 h 2164296"/>
              <a:gd name="connsiteX122" fmla="*/ 702934 w 2198359"/>
              <a:gd name="connsiteY122" fmla="*/ 38525 h 2164296"/>
              <a:gd name="connsiteX123" fmla="*/ 745796 w 2198359"/>
              <a:gd name="connsiteY123" fmla="*/ 24238 h 2164296"/>
              <a:gd name="connsiteX124" fmla="*/ 774371 w 2198359"/>
              <a:gd name="connsiteY124" fmla="*/ 14713 h 2164296"/>
              <a:gd name="connsiteX125" fmla="*/ 821996 w 2198359"/>
              <a:gd name="connsiteY125" fmla="*/ 9950 h 2164296"/>
              <a:gd name="connsiteX126" fmla="*/ 893434 w 2198359"/>
              <a:gd name="connsiteY126" fmla="*/ 425 h 2164296"/>
              <a:gd name="connsiteX0" fmla="*/ 827164 w 2198764"/>
              <a:gd name="connsiteY0" fmla="*/ 425 h 2164296"/>
              <a:gd name="connsiteX1" fmla="*/ 979564 w 2198764"/>
              <a:gd name="connsiteY1" fmla="*/ 5188 h 2164296"/>
              <a:gd name="connsiteX2" fmla="*/ 1003376 w 2198764"/>
              <a:gd name="connsiteY2" fmla="*/ 9950 h 2164296"/>
              <a:gd name="connsiteX3" fmla="*/ 1070051 w 2198764"/>
              <a:gd name="connsiteY3" fmla="*/ 19475 h 2164296"/>
              <a:gd name="connsiteX4" fmla="*/ 1098626 w 2198764"/>
              <a:gd name="connsiteY4" fmla="*/ 24238 h 2164296"/>
              <a:gd name="connsiteX5" fmla="*/ 1122439 w 2198764"/>
              <a:gd name="connsiteY5" fmla="*/ 38525 h 2164296"/>
              <a:gd name="connsiteX6" fmla="*/ 1165301 w 2198764"/>
              <a:gd name="connsiteY6" fmla="*/ 48050 h 2164296"/>
              <a:gd name="connsiteX7" fmla="*/ 1184351 w 2198764"/>
              <a:gd name="connsiteY7" fmla="*/ 52813 h 2164296"/>
              <a:gd name="connsiteX8" fmla="*/ 1217689 w 2198764"/>
              <a:gd name="connsiteY8" fmla="*/ 57575 h 2164296"/>
              <a:gd name="connsiteX9" fmla="*/ 1312939 w 2198764"/>
              <a:gd name="connsiteY9" fmla="*/ 71863 h 2164296"/>
              <a:gd name="connsiteX10" fmla="*/ 1484389 w 2198764"/>
              <a:gd name="connsiteY10" fmla="*/ 109963 h 2164296"/>
              <a:gd name="connsiteX11" fmla="*/ 1508201 w 2198764"/>
              <a:gd name="connsiteY11" fmla="*/ 114725 h 2164296"/>
              <a:gd name="connsiteX12" fmla="*/ 1646314 w 2198764"/>
              <a:gd name="connsiteY12" fmla="*/ 124250 h 2164296"/>
              <a:gd name="connsiteX13" fmla="*/ 1679651 w 2198764"/>
              <a:gd name="connsiteY13" fmla="*/ 129013 h 2164296"/>
              <a:gd name="connsiteX14" fmla="*/ 1703464 w 2198764"/>
              <a:gd name="connsiteY14" fmla="*/ 133775 h 2164296"/>
              <a:gd name="connsiteX15" fmla="*/ 1751089 w 2198764"/>
              <a:gd name="connsiteY15" fmla="*/ 138538 h 2164296"/>
              <a:gd name="connsiteX16" fmla="*/ 1789189 w 2198764"/>
              <a:gd name="connsiteY16" fmla="*/ 152825 h 2164296"/>
              <a:gd name="connsiteX17" fmla="*/ 1803476 w 2198764"/>
              <a:gd name="connsiteY17" fmla="*/ 162350 h 2164296"/>
              <a:gd name="connsiteX18" fmla="*/ 1827289 w 2198764"/>
              <a:gd name="connsiteY18" fmla="*/ 167113 h 2164296"/>
              <a:gd name="connsiteX19" fmla="*/ 1851101 w 2198764"/>
              <a:gd name="connsiteY19" fmla="*/ 181400 h 2164296"/>
              <a:gd name="connsiteX20" fmla="*/ 1874914 w 2198764"/>
              <a:gd name="connsiteY20" fmla="*/ 190925 h 2164296"/>
              <a:gd name="connsiteX21" fmla="*/ 1889201 w 2198764"/>
              <a:gd name="connsiteY21" fmla="*/ 205213 h 2164296"/>
              <a:gd name="connsiteX22" fmla="*/ 1922539 w 2198764"/>
              <a:gd name="connsiteY22" fmla="*/ 229025 h 2164296"/>
              <a:gd name="connsiteX23" fmla="*/ 1974926 w 2198764"/>
              <a:gd name="connsiteY23" fmla="*/ 267125 h 2164296"/>
              <a:gd name="connsiteX24" fmla="*/ 1998739 w 2198764"/>
              <a:gd name="connsiteY24" fmla="*/ 295700 h 2164296"/>
              <a:gd name="connsiteX25" fmla="*/ 2032076 w 2198764"/>
              <a:gd name="connsiteY25" fmla="*/ 348088 h 2164296"/>
              <a:gd name="connsiteX26" fmla="*/ 2051126 w 2198764"/>
              <a:gd name="connsiteY26" fmla="*/ 410000 h 2164296"/>
              <a:gd name="connsiteX27" fmla="*/ 2060651 w 2198764"/>
              <a:gd name="connsiteY27" fmla="*/ 443338 h 2164296"/>
              <a:gd name="connsiteX28" fmla="*/ 2065414 w 2198764"/>
              <a:gd name="connsiteY28" fmla="*/ 457625 h 2164296"/>
              <a:gd name="connsiteX29" fmla="*/ 2074939 w 2198764"/>
              <a:gd name="connsiteY29" fmla="*/ 476675 h 2164296"/>
              <a:gd name="connsiteX30" fmla="*/ 2093989 w 2198764"/>
              <a:gd name="connsiteY30" fmla="*/ 548113 h 2164296"/>
              <a:gd name="connsiteX31" fmla="*/ 2108276 w 2198764"/>
              <a:gd name="connsiteY31" fmla="*/ 610025 h 2164296"/>
              <a:gd name="connsiteX32" fmla="*/ 2113039 w 2198764"/>
              <a:gd name="connsiteY32" fmla="*/ 914825 h 2164296"/>
              <a:gd name="connsiteX33" fmla="*/ 2151139 w 2198764"/>
              <a:gd name="connsiteY33" fmla="*/ 1086275 h 2164296"/>
              <a:gd name="connsiteX34" fmla="*/ 2155901 w 2198764"/>
              <a:gd name="connsiteY34" fmla="*/ 1148188 h 2164296"/>
              <a:gd name="connsiteX35" fmla="*/ 2170189 w 2198764"/>
              <a:gd name="connsiteY35" fmla="*/ 1191050 h 2164296"/>
              <a:gd name="connsiteX36" fmla="*/ 2174951 w 2198764"/>
              <a:gd name="connsiteY36" fmla="*/ 1224388 h 2164296"/>
              <a:gd name="connsiteX37" fmla="*/ 2194001 w 2198764"/>
              <a:gd name="connsiteY37" fmla="*/ 1276775 h 2164296"/>
              <a:gd name="connsiteX38" fmla="*/ 2198764 w 2198764"/>
              <a:gd name="connsiteY38" fmla="*/ 1300588 h 2164296"/>
              <a:gd name="connsiteX39" fmla="*/ 2194001 w 2198764"/>
              <a:gd name="connsiteY39" fmla="*/ 1514900 h 2164296"/>
              <a:gd name="connsiteX40" fmla="*/ 2184476 w 2198764"/>
              <a:gd name="connsiteY40" fmla="*/ 1529188 h 2164296"/>
              <a:gd name="connsiteX41" fmla="*/ 2174951 w 2198764"/>
              <a:gd name="connsiteY41" fmla="*/ 1562525 h 2164296"/>
              <a:gd name="connsiteX42" fmla="*/ 2165426 w 2198764"/>
              <a:gd name="connsiteY42" fmla="*/ 1576813 h 2164296"/>
              <a:gd name="connsiteX43" fmla="*/ 2160664 w 2198764"/>
              <a:gd name="connsiteY43" fmla="*/ 1600625 h 2164296"/>
              <a:gd name="connsiteX44" fmla="*/ 2146376 w 2198764"/>
              <a:gd name="connsiteY44" fmla="*/ 1614913 h 2164296"/>
              <a:gd name="connsiteX45" fmla="*/ 2136851 w 2198764"/>
              <a:gd name="connsiteY45" fmla="*/ 1629200 h 2164296"/>
              <a:gd name="connsiteX46" fmla="*/ 2108276 w 2198764"/>
              <a:gd name="connsiteY46" fmla="*/ 1657775 h 2164296"/>
              <a:gd name="connsiteX47" fmla="*/ 2079701 w 2198764"/>
              <a:gd name="connsiteY47" fmla="*/ 1686350 h 2164296"/>
              <a:gd name="connsiteX48" fmla="*/ 2070176 w 2198764"/>
              <a:gd name="connsiteY48" fmla="*/ 1700638 h 2164296"/>
              <a:gd name="connsiteX49" fmla="*/ 2055889 w 2198764"/>
              <a:gd name="connsiteY49" fmla="*/ 1710163 h 2164296"/>
              <a:gd name="connsiteX50" fmla="*/ 2032076 w 2198764"/>
              <a:gd name="connsiteY50" fmla="*/ 1724450 h 2164296"/>
              <a:gd name="connsiteX51" fmla="*/ 2008264 w 2198764"/>
              <a:gd name="connsiteY51" fmla="*/ 1743500 h 2164296"/>
              <a:gd name="connsiteX52" fmla="*/ 1936826 w 2198764"/>
              <a:gd name="connsiteY52" fmla="*/ 1772075 h 2164296"/>
              <a:gd name="connsiteX53" fmla="*/ 1917776 w 2198764"/>
              <a:gd name="connsiteY53" fmla="*/ 1786363 h 2164296"/>
              <a:gd name="connsiteX54" fmla="*/ 1870151 w 2198764"/>
              <a:gd name="connsiteY54" fmla="*/ 1814938 h 2164296"/>
              <a:gd name="connsiteX55" fmla="*/ 1855864 w 2198764"/>
              <a:gd name="connsiteY55" fmla="*/ 1833988 h 2164296"/>
              <a:gd name="connsiteX56" fmla="*/ 1803476 w 2198764"/>
              <a:gd name="connsiteY56" fmla="*/ 1862563 h 2164296"/>
              <a:gd name="connsiteX57" fmla="*/ 1660602 w 2198764"/>
              <a:gd name="connsiteY57" fmla="*/ 1891137 h 2164296"/>
              <a:gd name="connsiteX58" fmla="*/ 1412951 w 2198764"/>
              <a:gd name="connsiteY58" fmla="*/ 2014962 h 2164296"/>
              <a:gd name="connsiteX59" fmla="*/ 1360564 w 2198764"/>
              <a:gd name="connsiteY59" fmla="*/ 2053063 h 2164296"/>
              <a:gd name="connsiteX60" fmla="*/ 1346276 w 2198764"/>
              <a:gd name="connsiteY60" fmla="*/ 2062588 h 2164296"/>
              <a:gd name="connsiteX61" fmla="*/ 1308176 w 2198764"/>
              <a:gd name="connsiteY61" fmla="*/ 2072113 h 2164296"/>
              <a:gd name="connsiteX62" fmla="*/ 1284364 w 2198764"/>
              <a:gd name="connsiteY62" fmla="*/ 2086400 h 2164296"/>
              <a:gd name="connsiteX63" fmla="*/ 1231976 w 2198764"/>
              <a:gd name="connsiteY63" fmla="*/ 2100688 h 2164296"/>
              <a:gd name="connsiteX64" fmla="*/ 1189114 w 2198764"/>
              <a:gd name="connsiteY64" fmla="*/ 2119738 h 2164296"/>
              <a:gd name="connsiteX65" fmla="*/ 1170064 w 2198764"/>
              <a:gd name="connsiteY65" fmla="*/ 2134025 h 2164296"/>
              <a:gd name="connsiteX66" fmla="*/ 1098626 w 2198764"/>
              <a:gd name="connsiteY66" fmla="*/ 2148313 h 2164296"/>
              <a:gd name="connsiteX67" fmla="*/ 1070051 w 2198764"/>
              <a:gd name="connsiteY67" fmla="*/ 2162600 h 2164296"/>
              <a:gd name="connsiteX68" fmla="*/ 936701 w 2198764"/>
              <a:gd name="connsiteY68" fmla="*/ 2157838 h 2164296"/>
              <a:gd name="connsiteX69" fmla="*/ 827164 w 2198764"/>
              <a:gd name="connsiteY69" fmla="*/ 2105450 h 2164296"/>
              <a:gd name="connsiteX70" fmla="*/ 789064 w 2198764"/>
              <a:gd name="connsiteY70" fmla="*/ 2091163 h 2164296"/>
              <a:gd name="connsiteX71" fmla="*/ 741439 w 2198764"/>
              <a:gd name="connsiteY71" fmla="*/ 2062588 h 2164296"/>
              <a:gd name="connsiteX72" fmla="*/ 684289 w 2198764"/>
              <a:gd name="connsiteY72" fmla="*/ 2038775 h 2164296"/>
              <a:gd name="connsiteX73" fmla="*/ 650951 w 2198764"/>
              <a:gd name="connsiteY73" fmla="*/ 2005438 h 2164296"/>
              <a:gd name="connsiteX74" fmla="*/ 612851 w 2198764"/>
              <a:gd name="connsiteY74" fmla="*/ 1976863 h 2164296"/>
              <a:gd name="connsiteX75" fmla="*/ 598564 w 2198764"/>
              <a:gd name="connsiteY75" fmla="*/ 1957813 h 2164296"/>
              <a:gd name="connsiteX76" fmla="*/ 584276 w 2198764"/>
              <a:gd name="connsiteY76" fmla="*/ 1934000 h 2164296"/>
              <a:gd name="connsiteX77" fmla="*/ 550939 w 2198764"/>
              <a:gd name="connsiteY77" fmla="*/ 1895900 h 2164296"/>
              <a:gd name="connsiteX78" fmla="*/ 408064 w 2198764"/>
              <a:gd name="connsiteY78" fmla="*/ 1705400 h 2164296"/>
              <a:gd name="connsiteX79" fmla="*/ 393776 w 2198764"/>
              <a:gd name="connsiteY79" fmla="*/ 1686350 h 2164296"/>
              <a:gd name="connsiteX80" fmla="*/ 374726 w 2198764"/>
              <a:gd name="connsiteY80" fmla="*/ 1657775 h 2164296"/>
              <a:gd name="connsiteX81" fmla="*/ 317576 w 2198764"/>
              <a:gd name="connsiteY81" fmla="*/ 1600625 h 2164296"/>
              <a:gd name="connsiteX82" fmla="*/ 293764 w 2198764"/>
              <a:gd name="connsiteY82" fmla="*/ 1576813 h 2164296"/>
              <a:gd name="connsiteX83" fmla="*/ 279476 w 2198764"/>
              <a:gd name="connsiteY83" fmla="*/ 1562525 h 2164296"/>
              <a:gd name="connsiteX84" fmla="*/ 241376 w 2198764"/>
              <a:gd name="connsiteY84" fmla="*/ 1538713 h 2164296"/>
              <a:gd name="connsiteX85" fmla="*/ 217564 w 2198764"/>
              <a:gd name="connsiteY85" fmla="*/ 1510138 h 2164296"/>
              <a:gd name="connsiteX86" fmla="*/ 193751 w 2198764"/>
              <a:gd name="connsiteY86" fmla="*/ 1491088 h 2164296"/>
              <a:gd name="connsiteX87" fmla="*/ 174701 w 2198764"/>
              <a:gd name="connsiteY87" fmla="*/ 1462513 h 2164296"/>
              <a:gd name="connsiteX88" fmla="*/ 150889 w 2198764"/>
              <a:gd name="connsiteY88" fmla="*/ 1438700 h 2164296"/>
              <a:gd name="connsiteX89" fmla="*/ 141364 w 2198764"/>
              <a:gd name="connsiteY89" fmla="*/ 1424413 h 2164296"/>
              <a:gd name="connsiteX90" fmla="*/ 122314 w 2198764"/>
              <a:gd name="connsiteY90" fmla="*/ 1405363 h 2164296"/>
              <a:gd name="connsiteX91" fmla="*/ 103264 w 2198764"/>
              <a:gd name="connsiteY91" fmla="*/ 1376788 h 2164296"/>
              <a:gd name="connsiteX92" fmla="*/ 88976 w 2198764"/>
              <a:gd name="connsiteY92" fmla="*/ 1362500 h 2164296"/>
              <a:gd name="connsiteX93" fmla="*/ 79451 w 2198764"/>
              <a:gd name="connsiteY93" fmla="*/ 1348213 h 2164296"/>
              <a:gd name="connsiteX94" fmla="*/ 60401 w 2198764"/>
              <a:gd name="connsiteY94" fmla="*/ 1305350 h 2164296"/>
              <a:gd name="connsiteX95" fmla="*/ 31826 w 2198764"/>
              <a:gd name="connsiteY95" fmla="*/ 991025 h 2164296"/>
              <a:gd name="connsiteX96" fmla="*/ 69926 w 2198764"/>
              <a:gd name="connsiteY96" fmla="*/ 929113 h 2164296"/>
              <a:gd name="connsiteX97" fmla="*/ 93739 w 2198764"/>
              <a:gd name="connsiteY97" fmla="*/ 891013 h 2164296"/>
              <a:gd name="connsiteX98" fmla="*/ 112789 w 2198764"/>
              <a:gd name="connsiteY98" fmla="*/ 848150 h 2164296"/>
              <a:gd name="connsiteX99" fmla="*/ 174701 w 2198764"/>
              <a:gd name="connsiteY99" fmla="*/ 733850 h 2164296"/>
              <a:gd name="connsiteX100" fmla="*/ 236614 w 2198764"/>
              <a:gd name="connsiteY100" fmla="*/ 610025 h 2164296"/>
              <a:gd name="connsiteX101" fmla="*/ 241376 w 2198764"/>
              <a:gd name="connsiteY101" fmla="*/ 581450 h 2164296"/>
              <a:gd name="connsiteX102" fmla="*/ 265189 w 2198764"/>
              <a:gd name="connsiteY102" fmla="*/ 538588 h 2164296"/>
              <a:gd name="connsiteX103" fmla="*/ 279476 w 2198764"/>
              <a:gd name="connsiteY103" fmla="*/ 500488 h 2164296"/>
              <a:gd name="connsiteX104" fmla="*/ 293764 w 2198764"/>
              <a:gd name="connsiteY104" fmla="*/ 471913 h 2164296"/>
              <a:gd name="connsiteX105" fmla="*/ 303289 w 2198764"/>
              <a:gd name="connsiteY105" fmla="*/ 443338 h 2164296"/>
              <a:gd name="connsiteX106" fmla="*/ 312814 w 2198764"/>
              <a:gd name="connsiteY106" fmla="*/ 429050 h 2164296"/>
              <a:gd name="connsiteX107" fmla="*/ 322339 w 2198764"/>
              <a:gd name="connsiteY107" fmla="*/ 405238 h 2164296"/>
              <a:gd name="connsiteX108" fmla="*/ 341389 w 2198764"/>
              <a:gd name="connsiteY108" fmla="*/ 381425 h 2164296"/>
              <a:gd name="connsiteX109" fmla="*/ 360439 w 2198764"/>
              <a:gd name="connsiteY109" fmla="*/ 333800 h 2164296"/>
              <a:gd name="connsiteX110" fmla="*/ 389014 w 2198764"/>
              <a:gd name="connsiteY110" fmla="*/ 290938 h 2164296"/>
              <a:gd name="connsiteX111" fmla="*/ 412826 w 2198764"/>
              <a:gd name="connsiteY111" fmla="*/ 248075 h 2164296"/>
              <a:gd name="connsiteX112" fmla="*/ 427114 w 2198764"/>
              <a:gd name="connsiteY112" fmla="*/ 229025 h 2164296"/>
              <a:gd name="connsiteX113" fmla="*/ 450926 w 2198764"/>
              <a:gd name="connsiteY113" fmla="*/ 214738 h 2164296"/>
              <a:gd name="connsiteX114" fmla="*/ 474739 w 2198764"/>
              <a:gd name="connsiteY114" fmla="*/ 190925 h 2164296"/>
              <a:gd name="connsiteX115" fmla="*/ 489026 w 2198764"/>
              <a:gd name="connsiteY115" fmla="*/ 181400 h 2164296"/>
              <a:gd name="connsiteX116" fmla="*/ 522364 w 2198764"/>
              <a:gd name="connsiteY116" fmla="*/ 143300 h 2164296"/>
              <a:gd name="connsiteX117" fmla="*/ 536651 w 2198764"/>
              <a:gd name="connsiteY117" fmla="*/ 133775 h 2164296"/>
              <a:gd name="connsiteX118" fmla="*/ 646189 w 2198764"/>
              <a:gd name="connsiteY118" fmla="*/ 71863 h 2164296"/>
              <a:gd name="connsiteX119" fmla="*/ 660476 w 2198764"/>
              <a:gd name="connsiteY119" fmla="*/ 52813 h 2164296"/>
              <a:gd name="connsiteX120" fmla="*/ 679526 w 2198764"/>
              <a:gd name="connsiteY120" fmla="*/ 48050 h 2164296"/>
              <a:gd name="connsiteX121" fmla="*/ 703339 w 2198764"/>
              <a:gd name="connsiteY121" fmla="*/ 38525 h 2164296"/>
              <a:gd name="connsiteX122" fmla="*/ 746201 w 2198764"/>
              <a:gd name="connsiteY122" fmla="*/ 24238 h 2164296"/>
              <a:gd name="connsiteX123" fmla="*/ 774776 w 2198764"/>
              <a:gd name="connsiteY123" fmla="*/ 14713 h 2164296"/>
              <a:gd name="connsiteX124" fmla="*/ 822401 w 2198764"/>
              <a:gd name="connsiteY124" fmla="*/ 9950 h 2164296"/>
              <a:gd name="connsiteX125" fmla="*/ 893839 w 2198764"/>
              <a:gd name="connsiteY125" fmla="*/ 425 h 2164296"/>
              <a:gd name="connsiteX0" fmla="*/ 831710 w 2203310"/>
              <a:gd name="connsiteY0" fmla="*/ 425 h 2164296"/>
              <a:gd name="connsiteX1" fmla="*/ 984110 w 2203310"/>
              <a:gd name="connsiteY1" fmla="*/ 5188 h 2164296"/>
              <a:gd name="connsiteX2" fmla="*/ 1007922 w 2203310"/>
              <a:gd name="connsiteY2" fmla="*/ 9950 h 2164296"/>
              <a:gd name="connsiteX3" fmla="*/ 1074597 w 2203310"/>
              <a:gd name="connsiteY3" fmla="*/ 19475 h 2164296"/>
              <a:gd name="connsiteX4" fmla="*/ 1103172 w 2203310"/>
              <a:gd name="connsiteY4" fmla="*/ 24238 h 2164296"/>
              <a:gd name="connsiteX5" fmla="*/ 1126985 w 2203310"/>
              <a:gd name="connsiteY5" fmla="*/ 38525 h 2164296"/>
              <a:gd name="connsiteX6" fmla="*/ 1169847 w 2203310"/>
              <a:gd name="connsiteY6" fmla="*/ 48050 h 2164296"/>
              <a:gd name="connsiteX7" fmla="*/ 1188897 w 2203310"/>
              <a:gd name="connsiteY7" fmla="*/ 52813 h 2164296"/>
              <a:gd name="connsiteX8" fmla="*/ 1222235 w 2203310"/>
              <a:gd name="connsiteY8" fmla="*/ 57575 h 2164296"/>
              <a:gd name="connsiteX9" fmla="*/ 1317485 w 2203310"/>
              <a:gd name="connsiteY9" fmla="*/ 71863 h 2164296"/>
              <a:gd name="connsiteX10" fmla="*/ 1488935 w 2203310"/>
              <a:gd name="connsiteY10" fmla="*/ 109963 h 2164296"/>
              <a:gd name="connsiteX11" fmla="*/ 1512747 w 2203310"/>
              <a:gd name="connsiteY11" fmla="*/ 114725 h 2164296"/>
              <a:gd name="connsiteX12" fmla="*/ 1650860 w 2203310"/>
              <a:gd name="connsiteY12" fmla="*/ 124250 h 2164296"/>
              <a:gd name="connsiteX13" fmla="*/ 1684197 w 2203310"/>
              <a:gd name="connsiteY13" fmla="*/ 129013 h 2164296"/>
              <a:gd name="connsiteX14" fmla="*/ 1708010 w 2203310"/>
              <a:gd name="connsiteY14" fmla="*/ 133775 h 2164296"/>
              <a:gd name="connsiteX15" fmla="*/ 1755635 w 2203310"/>
              <a:gd name="connsiteY15" fmla="*/ 138538 h 2164296"/>
              <a:gd name="connsiteX16" fmla="*/ 1793735 w 2203310"/>
              <a:gd name="connsiteY16" fmla="*/ 152825 h 2164296"/>
              <a:gd name="connsiteX17" fmla="*/ 1808022 w 2203310"/>
              <a:gd name="connsiteY17" fmla="*/ 162350 h 2164296"/>
              <a:gd name="connsiteX18" fmla="*/ 1831835 w 2203310"/>
              <a:gd name="connsiteY18" fmla="*/ 167113 h 2164296"/>
              <a:gd name="connsiteX19" fmla="*/ 1855647 w 2203310"/>
              <a:gd name="connsiteY19" fmla="*/ 181400 h 2164296"/>
              <a:gd name="connsiteX20" fmla="*/ 1879460 w 2203310"/>
              <a:gd name="connsiteY20" fmla="*/ 190925 h 2164296"/>
              <a:gd name="connsiteX21" fmla="*/ 1893747 w 2203310"/>
              <a:gd name="connsiteY21" fmla="*/ 205213 h 2164296"/>
              <a:gd name="connsiteX22" fmla="*/ 1927085 w 2203310"/>
              <a:gd name="connsiteY22" fmla="*/ 229025 h 2164296"/>
              <a:gd name="connsiteX23" fmla="*/ 1979472 w 2203310"/>
              <a:gd name="connsiteY23" fmla="*/ 267125 h 2164296"/>
              <a:gd name="connsiteX24" fmla="*/ 2003285 w 2203310"/>
              <a:gd name="connsiteY24" fmla="*/ 295700 h 2164296"/>
              <a:gd name="connsiteX25" fmla="*/ 2036622 w 2203310"/>
              <a:gd name="connsiteY25" fmla="*/ 348088 h 2164296"/>
              <a:gd name="connsiteX26" fmla="*/ 2055672 w 2203310"/>
              <a:gd name="connsiteY26" fmla="*/ 410000 h 2164296"/>
              <a:gd name="connsiteX27" fmla="*/ 2065197 w 2203310"/>
              <a:gd name="connsiteY27" fmla="*/ 443338 h 2164296"/>
              <a:gd name="connsiteX28" fmla="*/ 2069960 w 2203310"/>
              <a:gd name="connsiteY28" fmla="*/ 457625 h 2164296"/>
              <a:gd name="connsiteX29" fmla="*/ 2079485 w 2203310"/>
              <a:gd name="connsiteY29" fmla="*/ 476675 h 2164296"/>
              <a:gd name="connsiteX30" fmla="*/ 2098535 w 2203310"/>
              <a:gd name="connsiteY30" fmla="*/ 548113 h 2164296"/>
              <a:gd name="connsiteX31" fmla="*/ 2112822 w 2203310"/>
              <a:gd name="connsiteY31" fmla="*/ 610025 h 2164296"/>
              <a:gd name="connsiteX32" fmla="*/ 2117585 w 2203310"/>
              <a:gd name="connsiteY32" fmla="*/ 914825 h 2164296"/>
              <a:gd name="connsiteX33" fmla="*/ 2155685 w 2203310"/>
              <a:gd name="connsiteY33" fmla="*/ 1086275 h 2164296"/>
              <a:gd name="connsiteX34" fmla="*/ 2160447 w 2203310"/>
              <a:gd name="connsiteY34" fmla="*/ 1148188 h 2164296"/>
              <a:gd name="connsiteX35" fmla="*/ 2174735 w 2203310"/>
              <a:gd name="connsiteY35" fmla="*/ 1191050 h 2164296"/>
              <a:gd name="connsiteX36" fmla="*/ 2179497 w 2203310"/>
              <a:gd name="connsiteY36" fmla="*/ 1224388 h 2164296"/>
              <a:gd name="connsiteX37" fmla="*/ 2198547 w 2203310"/>
              <a:gd name="connsiteY37" fmla="*/ 1276775 h 2164296"/>
              <a:gd name="connsiteX38" fmla="*/ 2203310 w 2203310"/>
              <a:gd name="connsiteY38" fmla="*/ 1300588 h 2164296"/>
              <a:gd name="connsiteX39" fmla="*/ 2198547 w 2203310"/>
              <a:gd name="connsiteY39" fmla="*/ 1514900 h 2164296"/>
              <a:gd name="connsiteX40" fmla="*/ 2189022 w 2203310"/>
              <a:gd name="connsiteY40" fmla="*/ 1529188 h 2164296"/>
              <a:gd name="connsiteX41" fmla="*/ 2179497 w 2203310"/>
              <a:gd name="connsiteY41" fmla="*/ 1562525 h 2164296"/>
              <a:gd name="connsiteX42" fmla="*/ 2169972 w 2203310"/>
              <a:gd name="connsiteY42" fmla="*/ 1576813 h 2164296"/>
              <a:gd name="connsiteX43" fmla="*/ 2165210 w 2203310"/>
              <a:gd name="connsiteY43" fmla="*/ 1600625 h 2164296"/>
              <a:gd name="connsiteX44" fmla="*/ 2150922 w 2203310"/>
              <a:gd name="connsiteY44" fmla="*/ 1614913 h 2164296"/>
              <a:gd name="connsiteX45" fmla="*/ 2141397 w 2203310"/>
              <a:gd name="connsiteY45" fmla="*/ 1629200 h 2164296"/>
              <a:gd name="connsiteX46" fmla="*/ 2112822 w 2203310"/>
              <a:gd name="connsiteY46" fmla="*/ 1657775 h 2164296"/>
              <a:gd name="connsiteX47" fmla="*/ 2084247 w 2203310"/>
              <a:gd name="connsiteY47" fmla="*/ 1686350 h 2164296"/>
              <a:gd name="connsiteX48" fmla="*/ 2074722 w 2203310"/>
              <a:gd name="connsiteY48" fmla="*/ 1700638 h 2164296"/>
              <a:gd name="connsiteX49" fmla="*/ 2060435 w 2203310"/>
              <a:gd name="connsiteY49" fmla="*/ 1710163 h 2164296"/>
              <a:gd name="connsiteX50" fmla="*/ 2036622 w 2203310"/>
              <a:gd name="connsiteY50" fmla="*/ 1724450 h 2164296"/>
              <a:gd name="connsiteX51" fmla="*/ 2012810 w 2203310"/>
              <a:gd name="connsiteY51" fmla="*/ 1743500 h 2164296"/>
              <a:gd name="connsiteX52" fmla="*/ 1941372 w 2203310"/>
              <a:gd name="connsiteY52" fmla="*/ 1772075 h 2164296"/>
              <a:gd name="connsiteX53" fmla="*/ 1922322 w 2203310"/>
              <a:gd name="connsiteY53" fmla="*/ 1786363 h 2164296"/>
              <a:gd name="connsiteX54" fmla="*/ 1874697 w 2203310"/>
              <a:gd name="connsiteY54" fmla="*/ 1814938 h 2164296"/>
              <a:gd name="connsiteX55" fmla="*/ 1860410 w 2203310"/>
              <a:gd name="connsiteY55" fmla="*/ 1833988 h 2164296"/>
              <a:gd name="connsiteX56" fmla="*/ 1808022 w 2203310"/>
              <a:gd name="connsiteY56" fmla="*/ 1862563 h 2164296"/>
              <a:gd name="connsiteX57" fmla="*/ 1665148 w 2203310"/>
              <a:gd name="connsiteY57" fmla="*/ 1891137 h 2164296"/>
              <a:gd name="connsiteX58" fmla="*/ 1417497 w 2203310"/>
              <a:gd name="connsiteY58" fmla="*/ 2014962 h 2164296"/>
              <a:gd name="connsiteX59" fmla="*/ 1365110 w 2203310"/>
              <a:gd name="connsiteY59" fmla="*/ 2053063 h 2164296"/>
              <a:gd name="connsiteX60" fmla="*/ 1350822 w 2203310"/>
              <a:gd name="connsiteY60" fmla="*/ 2062588 h 2164296"/>
              <a:gd name="connsiteX61" fmla="*/ 1312722 w 2203310"/>
              <a:gd name="connsiteY61" fmla="*/ 2072113 h 2164296"/>
              <a:gd name="connsiteX62" fmla="*/ 1288910 w 2203310"/>
              <a:gd name="connsiteY62" fmla="*/ 2086400 h 2164296"/>
              <a:gd name="connsiteX63" fmla="*/ 1236522 w 2203310"/>
              <a:gd name="connsiteY63" fmla="*/ 2100688 h 2164296"/>
              <a:gd name="connsiteX64" fmla="*/ 1193660 w 2203310"/>
              <a:gd name="connsiteY64" fmla="*/ 2119738 h 2164296"/>
              <a:gd name="connsiteX65" fmla="*/ 1174610 w 2203310"/>
              <a:gd name="connsiteY65" fmla="*/ 2134025 h 2164296"/>
              <a:gd name="connsiteX66" fmla="*/ 1103172 w 2203310"/>
              <a:gd name="connsiteY66" fmla="*/ 2148313 h 2164296"/>
              <a:gd name="connsiteX67" fmla="*/ 1074597 w 2203310"/>
              <a:gd name="connsiteY67" fmla="*/ 2162600 h 2164296"/>
              <a:gd name="connsiteX68" fmla="*/ 941247 w 2203310"/>
              <a:gd name="connsiteY68" fmla="*/ 2157838 h 2164296"/>
              <a:gd name="connsiteX69" fmla="*/ 831710 w 2203310"/>
              <a:gd name="connsiteY69" fmla="*/ 2105450 h 2164296"/>
              <a:gd name="connsiteX70" fmla="*/ 793610 w 2203310"/>
              <a:gd name="connsiteY70" fmla="*/ 2091163 h 2164296"/>
              <a:gd name="connsiteX71" fmla="*/ 745985 w 2203310"/>
              <a:gd name="connsiteY71" fmla="*/ 2062588 h 2164296"/>
              <a:gd name="connsiteX72" fmla="*/ 688835 w 2203310"/>
              <a:gd name="connsiteY72" fmla="*/ 2038775 h 2164296"/>
              <a:gd name="connsiteX73" fmla="*/ 655497 w 2203310"/>
              <a:gd name="connsiteY73" fmla="*/ 2005438 h 2164296"/>
              <a:gd name="connsiteX74" fmla="*/ 617397 w 2203310"/>
              <a:gd name="connsiteY74" fmla="*/ 1976863 h 2164296"/>
              <a:gd name="connsiteX75" fmla="*/ 603110 w 2203310"/>
              <a:gd name="connsiteY75" fmla="*/ 1957813 h 2164296"/>
              <a:gd name="connsiteX76" fmla="*/ 588822 w 2203310"/>
              <a:gd name="connsiteY76" fmla="*/ 1934000 h 2164296"/>
              <a:gd name="connsiteX77" fmla="*/ 555485 w 2203310"/>
              <a:gd name="connsiteY77" fmla="*/ 1895900 h 2164296"/>
              <a:gd name="connsiteX78" fmla="*/ 412610 w 2203310"/>
              <a:gd name="connsiteY78" fmla="*/ 1705400 h 2164296"/>
              <a:gd name="connsiteX79" fmla="*/ 398322 w 2203310"/>
              <a:gd name="connsiteY79" fmla="*/ 1686350 h 2164296"/>
              <a:gd name="connsiteX80" fmla="*/ 379272 w 2203310"/>
              <a:gd name="connsiteY80" fmla="*/ 1657775 h 2164296"/>
              <a:gd name="connsiteX81" fmla="*/ 322122 w 2203310"/>
              <a:gd name="connsiteY81" fmla="*/ 1600625 h 2164296"/>
              <a:gd name="connsiteX82" fmla="*/ 298310 w 2203310"/>
              <a:gd name="connsiteY82" fmla="*/ 1576813 h 2164296"/>
              <a:gd name="connsiteX83" fmla="*/ 284022 w 2203310"/>
              <a:gd name="connsiteY83" fmla="*/ 1562525 h 2164296"/>
              <a:gd name="connsiteX84" fmla="*/ 245922 w 2203310"/>
              <a:gd name="connsiteY84" fmla="*/ 1538713 h 2164296"/>
              <a:gd name="connsiteX85" fmla="*/ 222110 w 2203310"/>
              <a:gd name="connsiteY85" fmla="*/ 1510138 h 2164296"/>
              <a:gd name="connsiteX86" fmla="*/ 198297 w 2203310"/>
              <a:gd name="connsiteY86" fmla="*/ 1491088 h 2164296"/>
              <a:gd name="connsiteX87" fmla="*/ 179247 w 2203310"/>
              <a:gd name="connsiteY87" fmla="*/ 1462513 h 2164296"/>
              <a:gd name="connsiteX88" fmla="*/ 155435 w 2203310"/>
              <a:gd name="connsiteY88" fmla="*/ 1438700 h 2164296"/>
              <a:gd name="connsiteX89" fmla="*/ 145910 w 2203310"/>
              <a:gd name="connsiteY89" fmla="*/ 1424413 h 2164296"/>
              <a:gd name="connsiteX90" fmla="*/ 126860 w 2203310"/>
              <a:gd name="connsiteY90" fmla="*/ 1405363 h 2164296"/>
              <a:gd name="connsiteX91" fmla="*/ 107810 w 2203310"/>
              <a:gd name="connsiteY91" fmla="*/ 1376788 h 2164296"/>
              <a:gd name="connsiteX92" fmla="*/ 93522 w 2203310"/>
              <a:gd name="connsiteY92" fmla="*/ 1362500 h 2164296"/>
              <a:gd name="connsiteX93" fmla="*/ 83997 w 2203310"/>
              <a:gd name="connsiteY93" fmla="*/ 1348213 h 2164296"/>
              <a:gd name="connsiteX94" fmla="*/ 64947 w 2203310"/>
              <a:gd name="connsiteY94" fmla="*/ 1305350 h 2164296"/>
              <a:gd name="connsiteX95" fmla="*/ 36372 w 2203310"/>
              <a:gd name="connsiteY95" fmla="*/ 991025 h 2164296"/>
              <a:gd name="connsiteX96" fmla="*/ 74472 w 2203310"/>
              <a:gd name="connsiteY96" fmla="*/ 929113 h 2164296"/>
              <a:gd name="connsiteX97" fmla="*/ 98285 w 2203310"/>
              <a:gd name="connsiteY97" fmla="*/ 891013 h 2164296"/>
              <a:gd name="connsiteX98" fmla="*/ 117335 w 2203310"/>
              <a:gd name="connsiteY98" fmla="*/ 848150 h 2164296"/>
              <a:gd name="connsiteX99" fmla="*/ 179247 w 2203310"/>
              <a:gd name="connsiteY99" fmla="*/ 733850 h 2164296"/>
              <a:gd name="connsiteX100" fmla="*/ 241160 w 2203310"/>
              <a:gd name="connsiteY100" fmla="*/ 610025 h 2164296"/>
              <a:gd name="connsiteX101" fmla="*/ 245922 w 2203310"/>
              <a:gd name="connsiteY101" fmla="*/ 581450 h 2164296"/>
              <a:gd name="connsiteX102" fmla="*/ 269735 w 2203310"/>
              <a:gd name="connsiteY102" fmla="*/ 538588 h 2164296"/>
              <a:gd name="connsiteX103" fmla="*/ 284022 w 2203310"/>
              <a:gd name="connsiteY103" fmla="*/ 500488 h 2164296"/>
              <a:gd name="connsiteX104" fmla="*/ 298310 w 2203310"/>
              <a:gd name="connsiteY104" fmla="*/ 471913 h 2164296"/>
              <a:gd name="connsiteX105" fmla="*/ 307835 w 2203310"/>
              <a:gd name="connsiteY105" fmla="*/ 443338 h 2164296"/>
              <a:gd name="connsiteX106" fmla="*/ 317360 w 2203310"/>
              <a:gd name="connsiteY106" fmla="*/ 429050 h 2164296"/>
              <a:gd name="connsiteX107" fmla="*/ 326885 w 2203310"/>
              <a:gd name="connsiteY107" fmla="*/ 405238 h 2164296"/>
              <a:gd name="connsiteX108" fmla="*/ 345935 w 2203310"/>
              <a:gd name="connsiteY108" fmla="*/ 381425 h 2164296"/>
              <a:gd name="connsiteX109" fmla="*/ 364985 w 2203310"/>
              <a:gd name="connsiteY109" fmla="*/ 333800 h 2164296"/>
              <a:gd name="connsiteX110" fmla="*/ 393560 w 2203310"/>
              <a:gd name="connsiteY110" fmla="*/ 290938 h 2164296"/>
              <a:gd name="connsiteX111" fmla="*/ 417372 w 2203310"/>
              <a:gd name="connsiteY111" fmla="*/ 248075 h 2164296"/>
              <a:gd name="connsiteX112" fmla="*/ 431660 w 2203310"/>
              <a:gd name="connsiteY112" fmla="*/ 229025 h 2164296"/>
              <a:gd name="connsiteX113" fmla="*/ 455472 w 2203310"/>
              <a:gd name="connsiteY113" fmla="*/ 214738 h 2164296"/>
              <a:gd name="connsiteX114" fmla="*/ 479285 w 2203310"/>
              <a:gd name="connsiteY114" fmla="*/ 190925 h 2164296"/>
              <a:gd name="connsiteX115" fmla="*/ 493572 w 2203310"/>
              <a:gd name="connsiteY115" fmla="*/ 181400 h 2164296"/>
              <a:gd name="connsiteX116" fmla="*/ 526910 w 2203310"/>
              <a:gd name="connsiteY116" fmla="*/ 143300 h 2164296"/>
              <a:gd name="connsiteX117" fmla="*/ 541197 w 2203310"/>
              <a:gd name="connsiteY117" fmla="*/ 133775 h 2164296"/>
              <a:gd name="connsiteX118" fmla="*/ 650735 w 2203310"/>
              <a:gd name="connsiteY118" fmla="*/ 71863 h 2164296"/>
              <a:gd name="connsiteX119" fmla="*/ 665022 w 2203310"/>
              <a:gd name="connsiteY119" fmla="*/ 52813 h 2164296"/>
              <a:gd name="connsiteX120" fmla="*/ 684072 w 2203310"/>
              <a:gd name="connsiteY120" fmla="*/ 48050 h 2164296"/>
              <a:gd name="connsiteX121" fmla="*/ 707885 w 2203310"/>
              <a:gd name="connsiteY121" fmla="*/ 38525 h 2164296"/>
              <a:gd name="connsiteX122" fmla="*/ 750747 w 2203310"/>
              <a:gd name="connsiteY122" fmla="*/ 24238 h 2164296"/>
              <a:gd name="connsiteX123" fmla="*/ 779322 w 2203310"/>
              <a:gd name="connsiteY123" fmla="*/ 14713 h 2164296"/>
              <a:gd name="connsiteX124" fmla="*/ 826947 w 2203310"/>
              <a:gd name="connsiteY124" fmla="*/ 9950 h 2164296"/>
              <a:gd name="connsiteX125" fmla="*/ 898385 w 2203310"/>
              <a:gd name="connsiteY125" fmla="*/ 425 h 2164296"/>
              <a:gd name="connsiteX0" fmla="*/ 827440 w 2199040"/>
              <a:gd name="connsiteY0" fmla="*/ 425 h 2164296"/>
              <a:gd name="connsiteX1" fmla="*/ 979840 w 2199040"/>
              <a:gd name="connsiteY1" fmla="*/ 5188 h 2164296"/>
              <a:gd name="connsiteX2" fmla="*/ 1003652 w 2199040"/>
              <a:gd name="connsiteY2" fmla="*/ 9950 h 2164296"/>
              <a:gd name="connsiteX3" fmla="*/ 1070327 w 2199040"/>
              <a:gd name="connsiteY3" fmla="*/ 19475 h 2164296"/>
              <a:gd name="connsiteX4" fmla="*/ 1098902 w 2199040"/>
              <a:gd name="connsiteY4" fmla="*/ 24238 h 2164296"/>
              <a:gd name="connsiteX5" fmla="*/ 1122715 w 2199040"/>
              <a:gd name="connsiteY5" fmla="*/ 38525 h 2164296"/>
              <a:gd name="connsiteX6" fmla="*/ 1165577 w 2199040"/>
              <a:gd name="connsiteY6" fmla="*/ 48050 h 2164296"/>
              <a:gd name="connsiteX7" fmla="*/ 1184627 w 2199040"/>
              <a:gd name="connsiteY7" fmla="*/ 52813 h 2164296"/>
              <a:gd name="connsiteX8" fmla="*/ 1217965 w 2199040"/>
              <a:gd name="connsiteY8" fmla="*/ 57575 h 2164296"/>
              <a:gd name="connsiteX9" fmla="*/ 1313215 w 2199040"/>
              <a:gd name="connsiteY9" fmla="*/ 71863 h 2164296"/>
              <a:gd name="connsiteX10" fmla="*/ 1484665 w 2199040"/>
              <a:gd name="connsiteY10" fmla="*/ 109963 h 2164296"/>
              <a:gd name="connsiteX11" fmla="*/ 1508477 w 2199040"/>
              <a:gd name="connsiteY11" fmla="*/ 114725 h 2164296"/>
              <a:gd name="connsiteX12" fmla="*/ 1646590 w 2199040"/>
              <a:gd name="connsiteY12" fmla="*/ 124250 h 2164296"/>
              <a:gd name="connsiteX13" fmla="*/ 1679927 w 2199040"/>
              <a:gd name="connsiteY13" fmla="*/ 129013 h 2164296"/>
              <a:gd name="connsiteX14" fmla="*/ 1703740 w 2199040"/>
              <a:gd name="connsiteY14" fmla="*/ 133775 h 2164296"/>
              <a:gd name="connsiteX15" fmla="*/ 1751365 w 2199040"/>
              <a:gd name="connsiteY15" fmla="*/ 138538 h 2164296"/>
              <a:gd name="connsiteX16" fmla="*/ 1789465 w 2199040"/>
              <a:gd name="connsiteY16" fmla="*/ 152825 h 2164296"/>
              <a:gd name="connsiteX17" fmla="*/ 1803752 w 2199040"/>
              <a:gd name="connsiteY17" fmla="*/ 162350 h 2164296"/>
              <a:gd name="connsiteX18" fmla="*/ 1827565 w 2199040"/>
              <a:gd name="connsiteY18" fmla="*/ 167113 h 2164296"/>
              <a:gd name="connsiteX19" fmla="*/ 1851377 w 2199040"/>
              <a:gd name="connsiteY19" fmla="*/ 181400 h 2164296"/>
              <a:gd name="connsiteX20" fmla="*/ 1875190 w 2199040"/>
              <a:gd name="connsiteY20" fmla="*/ 190925 h 2164296"/>
              <a:gd name="connsiteX21" fmla="*/ 1889477 w 2199040"/>
              <a:gd name="connsiteY21" fmla="*/ 205213 h 2164296"/>
              <a:gd name="connsiteX22" fmla="*/ 1922815 w 2199040"/>
              <a:gd name="connsiteY22" fmla="*/ 229025 h 2164296"/>
              <a:gd name="connsiteX23" fmla="*/ 1975202 w 2199040"/>
              <a:gd name="connsiteY23" fmla="*/ 267125 h 2164296"/>
              <a:gd name="connsiteX24" fmla="*/ 1999015 w 2199040"/>
              <a:gd name="connsiteY24" fmla="*/ 295700 h 2164296"/>
              <a:gd name="connsiteX25" fmla="*/ 2032352 w 2199040"/>
              <a:gd name="connsiteY25" fmla="*/ 348088 h 2164296"/>
              <a:gd name="connsiteX26" fmla="*/ 2051402 w 2199040"/>
              <a:gd name="connsiteY26" fmla="*/ 410000 h 2164296"/>
              <a:gd name="connsiteX27" fmla="*/ 2060927 w 2199040"/>
              <a:gd name="connsiteY27" fmla="*/ 443338 h 2164296"/>
              <a:gd name="connsiteX28" fmla="*/ 2065690 w 2199040"/>
              <a:gd name="connsiteY28" fmla="*/ 457625 h 2164296"/>
              <a:gd name="connsiteX29" fmla="*/ 2075215 w 2199040"/>
              <a:gd name="connsiteY29" fmla="*/ 476675 h 2164296"/>
              <a:gd name="connsiteX30" fmla="*/ 2094265 w 2199040"/>
              <a:gd name="connsiteY30" fmla="*/ 548113 h 2164296"/>
              <a:gd name="connsiteX31" fmla="*/ 2108552 w 2199040"/>
              <a:gd name="connsiteY31" fmla="*/ 610025 h 2164296"/>
              <a:gd name="connsiteX32" fmla="*/ 2113315 w 2199040"/>
              <a:gd name="connsiteY32" fmla="*/ 914825 h 2164296"/>
              <a:gd name="connsiteX33" fmla="*/ 2151415 w 2199040"/>
              <a:gd name="connsiteY33" fmla="*/ 1086275 h 2164296"/>
              <a:gd name="connsiteX34" fmla="*/ 2156177 w 2199040"/>
              <a:gd name="connsiteY34" fmla="*/ 1148188 h 2164296"/>
              <a:gd name="connsiteX35" fmla="*/ 2170465 w 2199040"/>
              <a:gd name="connsiteY35" fmla="*/ 1191050 h 2164296"/>
              <a:gd name="connsiteX36" fmla="*/ 2175227 w 2199040"/>
              <a:gd name="connsiteY36" fmla="*/ 1224388 h 2164296"/>
              <a:gd name="connsiteX37" fmla="*/ 2194277 w 2199040"/>
              <a:gd name="connsiteY37" fmla="*/ 1276775 h 2164296"/>
              <a:gd name="connsiteX38" fmla="*/ 2199040 w 2199040"/>
              <a:gd name="connsiteY38" fmla="*/ 1300588 h 2164296"/>
              <a:gd name="connsiteX39" fmla="*/ 2194277 w 2199040"/>
              <a:gd name="connsiteY39" fmla="*/ 1514900 h 2164296"/>
              <a:gd name="connsiteX40" fmla="*/ 2184752 w 2199040"/>
              <a:gd name="connsiteY40" fmla="*/ 1529188 h 2164296"/>
              <a:gd name="connsiteX41" fmla="*/ 2175227 w 2199040"/>
              <a:gd name="connsiteY41" fmla="*/ 1562525 h 2164296"/>
              <a:gd name="connsiteX42" fmla="*/ 2165702 w 2199040"/>
              <a:gd name="connsiteY42" fmla="*/ 1576813 h 2164296"/>
              <a:gd name="connsiteX43" fmla="*/ 2160940 w 2199040"/>
              <a:gd name="connsiteY43" fmla="*/ 1600625 h 2164296"/>
              <a:gd name="connsiteX44" fmla="*/ 2146652 w 2199040"/>
              <a:gd name="connsiteY44" fmla="*/ 1614913 h 2164296"/>
              <a:gd name="connsiteX45" fmla="*/ 2137127 w 2199040"/>
              <a:gd name="connsiteY45" fmla="*/ 1629200 h 2164296"/>
              <a:gd name="connsiteX46" fmla="*/ 2108552 w 2199040"/>
              <a:gd name="connsiteY46" fmla="*/ 1657775 h 2164296"/>
              <a:gd name="connsiteX47" fmla="*/ 2079977 w 2199040"/>
              <a:gd name="connsiteY47" fmla="*/ 1686350 h 2164296"/>
              <a:gd name="connsiteX48" fmla="*/ 2070452 w 2199040"/>
              <a:gd name="connsiteY48" fmla="*/ 1700638 h 2164296"/>
              <a:gd name="connsiteX49" fmla="*/ 2056165 w 2199040"/>
              <a:gd name="connsiteY49" fmla="*/ 1710163 h 2164296"/>
              <a:gd name="connsiteX50" fmla="*/ 2032352 w 2199040"/>
              <a:gd name="connsiteY50" fmla="*/ 1724450 h 2164296"/>
              <a:gd name="connsiteX51" fmla="*/ 2008540 w 2199040"/>
              <a:gd name="connsiteY51" fmla="*/ 1743500 h 2164296"/>
              <a:gd name="connsiteX52" fmla="*/ 1937102 w 2199040"/>
              <a:gd name="connsiteY52" fmla="*/ 1772075 h 2164296"/>
              <a:gd name="connsiteX53" fmla="*/ 1918052 w 2199040"/>
              <a:gd name="connsiteY53" fmla="*/ 1786363 h 2164296"/>
              <a:gd name="connsiteX54" fmla="*/ 1870427 w 2199040"/>
              <a:gd name="connsiteY54" fmla="*/ 1814938 h 2164296"/>
              <a:gd name="connsiteX55" fmla="*/ 1856140 w 2199040"/>
              <a:gd name="connsiteY55" fmla="*/ 1833988 h 2164296"/>
              <a:gd name="connsiteX56" fmla="*/ 1803752 w 2199040"/>
              <a:gd name="connsiteY56" fmla="*/ 1862563 h 2164296"/>
              <a:gd name="connsiteX57" fmla="*/ 1660878 w 2199040"/>
              <a:gd name="connsiteY57" fmla="*/ 1891137 h 2164296"/>
              <a:gd name="connsiteX58" fmla="*/ 1413227 w 2199040"/>
              <a:gd name="connsiteY58" fmla="*/ 2014962 h 2164296"/>
              <a:gd name="connsiteX59" fmla="*/ 1360840 w 2199040"/>
              <a:gd name="connsiteY59" fmla="*/ 2053063 h 2164296"/>
              <a:gd name="connsiteX60" fmla="*/ 1346552 w 2199040"/>
              <a:gd name="connsiteY60" fmla="*/ 2062588 h 2164296"/>
              <a:gd name="connsiteX61" fmla="*/ 1308452 w 2199040"/>
              <a:gd name="connsiteY61" fmla="*/ 2072113 h 2164296"/>
              <a:gd name="connsiteX62" fmla="*/ 1284640 w 2199040"/>
              <a:gd name="connsiteY62" fmla="*/ 2086400 h 2164296"/>
              <a:gd name="connsiteX63" fmla="*/ 1232252 w 2199040"/>
              <a:gd name="connsiteY63" fmla="*/ 2100688 h 2164296"/>
              <a:gd name="connsiteX64" fmla="*/ 1189390 w 2199040"/>
              <a:gd name="connsiteY64" fmla="*/ 2119738 h 2164296"/>
              <a:gd name="connsiteX65" fmla="*/ 1170340 w 2199040"/>
              <a:gd name="connsiteY65" fmla="*/ 2134025 h 2164296"/>
              <a:gd name="connsiteX66" fmla="*/ 1098902 w 2199040"/>
              <a:gd name="connsiteY66" fmla="*/ 2148313 h 2164296"/>
              <a:gd name="connsiteX67" fmla="*/ 1070327 w 2199040"/>
              <a:gd name="connsiteY67" fmla="*/ 2162600 h 2164296"/>
              <a:gd name="connsiteX68" fmla="*/ 936977 w 2199040"/>
              <a:gd name="connsiteY68" fmla="*/ 2157838 h 2164296"/>
              <a:gd name="connsiteX69" fmla="*/ 827440 w 2199040"/>
              <a:gd name="connsiteY69" fmla="*/ 2105450 h 2164296"/>
              <a:gd name="connsiteX70" fmla="*/ 789340 w 2199040"/>
              <a:gd name="connsiteY70" fmla="*/ 2091163 h 2164296"/>
              <a:gd name="connsiteX71" fmla="*/ 741715 w 2199040"/>
              <a:gd name="connsiteY71" fmla="*/ 2062588 h 2164296"/>
              <a:gd name="connsiteX72" fmla="*/ 684565 w 2199040"/>
              <a:gd name="connsiteY72" fmla="*/ 2038775 h 2164296"/>
              <a:gd name="connsiteX73" fmla="*/ 651227 w 2199040"/>
              <a:gd name="connsiteY73" fmla="*/ 2005438 h 2164296"/>
              <a:gd name="connsiteX74" fmla="*/ 613127 w 2199040"/>
              <a:gd name="connsiteY74" fmla="*/ 1976863 h 2164296"/>
              <a:gd name="connsiteX75" fmla="*/ 598840 w 2199040"/>
              <a:gd name="connsiteY75" fmla="*/ 1957813 h 2164296"/>
              <a:gd name="connsiteX76" fmla="*/ 584552 w 2199040"/>
              <a:gd name="connsiteY76" fmla="*/ 1934000 h 2164296"/>
              <a:gd name="connsiteX77" fmla="*/ 551215 w 2199040"/>
              <a:gd name="connsiteY77" fmla="*/ 1895900 h 2164296"/>
              <a:gd name="connsiteX78" fmla="*/ 408340 w 2199040"/>
              <a:gd name="connsiteY78" fmla="*/ 1705400 h 2164296"/>
              <a:gd name="connsiteX79" fmla="*/ 394052 w 2199040"/>
              <a:gd name="connsiteY79" fmla="*/ 1686350 h 2164296"/>
              <a:gd name="connsiteX80" fmla="*/ 375002 w 2199040"/>
              <a:gd name="connsiteY80" fmla="*/ 1657775 h 2164296"/>
              <a:gd name="connsiteX81" fmla="*/ 317852 w 2199040"/>
              <a:gd name="connsiteY81" fmla="*/ 1600625 h 2164296"/>
              <a:gd name="connsiteX82" fmla="*/ 294040 w 2199040"/>
              <a:gd name="connsiteY82" fmla="*/ 1576813 h 2164296"/>
              <a:gd name="connsiteX83" fmla="*/ 279752 w 2199040"/>
              <a:gd name="connsiteY83" fmla="*/ 1562525 h 2164296"/>
              <a:gd name="connsiteX84" fmla="*/ 241652 w 2199040"/>
              <a:gd name="connsiteY84" fmla="*/ 1538713 h 2164296"/>
              <a:gd name="connsiteX85" fmla="*/ 217840 w 2199040"/>
              <a:gd name="connsiteY85" fmla="*/ 1510138 h 2164296"/>
              <a:gd name="connsiteX86" fmla="*/ 194027 w 2199040"/>
              <a:gd name="connsiteY86" fmla="*/ 1491088 h 2164296"/>
              <a:gd name="connsiteX87" fmla="*/ 174977 w 2199040"/>
              <a:gd name="connsiteY87" fmla="*/ 1462513 h 2164296"/>
              <a:gd name="connsiteX88" fmla="*/ 151165 w 2199040"/>
              <a:gd name="connsiteY88" fmla="*/ 1438700 h 2164296"/>
              <a:gd name="connsiteX89" fmla="*/ 141640 w 2199040"/>
              <a:gd name="connsiteY89" fmla="*/ 1424413 h 2164296"/>
              <a:gd name="connsiteX90" fmla="*/ 122590 w 2199040"/>
              <a:gd name="connsiteY90" fmla="*/ 1405363 h 2164296"/>
              <a:gd name="connsiteX91" fmla="*/ 103540 w 2199040"/>
              <a:gd name="connsiteY91" fmla="*/ 1376788 h 2164296"/>
              <a:gd name="connsiteX92" fmla="*/ 89252 w 2199040"/>
              <a:gd name="connsiteY92" fmla="*/ 1362500 h 2164296"/>
              <a:gd name="connsiteX93" fmla="*/ 60677 w 2199040"/>
              <a:gd name="connsiteY93" fmla="*/ 1305350 h 2164296"/>
              <a:gd name="connsiteX94" fmla="*/ 32102 w 2199040"/>
              <a:gd name="connsiteY94" fmla="*/ 991025 h 2164296"/>
              <a:gd name="connsiteX95" fmla="*/ 70202 w 2199040"/>
              <a:gd name="connsiteY95" fmla="*/ 929113 h 2164296"/>
              <a:gd name="connsiteX96" fmla="*/ 94015 w 2199040"/>
              <a:gd name="connsiteY96" fmla="*/ 891013 h 2164296"/>
              <a:gd name="connsiteX97" fmla="*/ 113065 w 2199040"/>
              <a:gd name="connsiteY97" fmla="*/ 848150 h 2164296"/>
              <a:gd name="connsiteX98" fmla="*/ 174977 w 2199040"/>
              <a:gd name="connsiteY98" fmla="*/ 733850 h 2164296"/>
              <a:gd name="connsiteX99" fmla="*/ 236890 w 2199040"/>
              <a:gd name="connsiteY99" fmla="*/ 610025 h 2164296"/>
              <a:gd name="connsiteX100" fmla="*/ 241652 w 2199040"/>
              <a:gd name="connsiteY100" fmla="*/ 581450 h 2164296"/>
              <a:gd name="connsiteX101" fmla="*/ 265465 w 2199040"/>
              <a:gd name="connsiteY101" fmla="*/ 538588 h 2164296"/>
              <a:gd name="connsiteX102" fmla="*/ 279752 w 2199040"/>
              <a:gd name="connsiteY102" fmla="*/ 500488 h 2164296"/>
              <a:gd name="connsiteX103" fmla="*/ 294040 w 2199040"/>
              <a:gd name="connsiteY103" fmla="*/ 471913 h 2164296"/>
              <a:gd name="connsiteX104" fmla="*/ 303565 w 2199040"/>
              <a:gd name="connsiteY104" fmla="*/ 443338 h 2164296"/>
              <a:gd name="connsiteX105" fmla="*/ 313090 w 2199040"/>
              <a:gd name="connsiteY105" fmla="*/ 429050 h 2164296"/>
              <a:gd name="connsiteX106" fmla="*/ 322615 w 2199040"/>
              <a:gd name="connsiteY106" fmla="*/ 405238 h 2164296"/>
              <a:gd name="connsiteX107" fmla="*/ 341665 w 2199040"/>
              <a:gd name="connsiteY107" fmla="*/ 381425 h 2164296"/>
              <a:gd name="connsiteX108" fmla="*/ 360715 w 2199040"/>
              <a:gd name="connsiteY108" fmla="*/ 333800 h 2164296"/>
              <a:gd name="connsiteX109" fmla="*/ 389290 w 2199040"/>
              <a:gd name="connsiteY109" fmla="*/ 290938 h 2164296"/>
              <a:gd name="connsiteX110" fmla="*/ 413102 w 2199040"/>
              <a:gd name="connsiteY110" fmla="*/ 248075 h 2164296"/>
              <a:gd name="connsiteX111" fmla="*/ 427390 w 2199040"/>
              <a:gd name="connsiteY111" fmla="*/ 229025 h 2164296"/>
              <a:gd name="connsiteX112" fmla="*/ 451202 w 2199040"/>
              <a:gd name="connsiteY112" fmla="*/ 214738 h 2164296"/>
              <a:gd name="connsiteX113" fmla="*/ 475015 w 2199040"/>
              <a:gd name="connsiteY113" fmla="*/ 190925 h 2164296"/>
              <a:gd name="connsiteX114" fmla="*/ 489302 w 2199040"/>
              <a:gd name="connsiteY114" fmla="*/ 181400 h 2164296"/>
              <a:gd name="connsiteX115" fmla="*/ 522640 w 2199040"/>
              <a:gd name="connsiteY115" fmla="*/ 143300 h 2164296"/>
              <a:gd name="connsiteX116" fmla="*/ 536927 w 2199040"/>
              <a:gd name="connsiteY116" fmla="*/ 133775 h 2164296"/>
              <a:gd name="connsiteX117" fmla="*/ 646465 w 2199040"/>
              <a:gd name="connsiteY117" fmla="*/ 71863 h 2164296"/>
              <a:gd name="connsiteX118" fmla="*/ 660752 w 2199040"/>
              <a:gd name="connsiteY118" fmla="*/ 52813 h 2164296"/>
              <a:gd name="connsiteX119" fmla="*/ 679802 w 2199040"/>
              <a:gd name="connsiteY119" fmla="*/ 48050 h 2164296"/>
              <a:gd name="connsiteX120" fmla="*/ 703615 w 2199040"/>
              <a:gd name="connsiteY120" fmla="*/ 38525 h 2164296"/>
              <a:gd name="connsiteX121" fmla="*/ 746477 w 2199040"/>
              <a:gd name="connsiteY121" fmla="*/ 24238 h 2164296"/>
              <a:gd name="connsiteX122" fmla="*/ 775052 w 2199040"/>
              <a:gd name="connsiteY122" fmla="*/ 14713 h 2164296"/>
              <a:gd name="connsiteX123" fmla="*/ 822677 w 2199040"/>
              <a:gd name="connsiteY123" fmla="*/ 9950 h 2164296"/>
              <a:gd name="connsiteX124" fmla="*/ 894115 w 2199040"/>
              <a:gd name="connsiteY124" fmla="*/ 425 h 2164296"/>
              <a:gd name="connsiteX0" fmla="*/ 827859 w 2199459"/>
              <a:gd name="connsiteY0" fmla="*/ 425 h 2164296"/>
              <a:gd name="connsiteX1" fmla="*/ 980259 w 2199459"/>
              <a:gd name="connsiteY1" fmla="*/ 5188 h 2164296"/>
              <a:gd name="connsiteX2" fmla="*/ 1004071 w 2199459"/>
              <a:gd name="connsiteY2" fmla="*/ 9950 h 2164296"/>
              <a:gd name="connsiteX3" fmla="*/ 1070746 w 2199459"/>
              <a:gd name="connsiteY3" fmla="*/ 19475 h 2164296"/>
              <a:gd name="connsiteX4" fmla="*/ 1099321 w 2199459"/>
              <a:gd name="connsiteY4" fmla="*/ 24238 h 2164296"/>
              <a:gd name="connsiteX5" fmla="*/ 1123134 w 2199459"/>
              <a:gd name="connsiteY5" fmla="*/ 38525 h 2164296"/>
              <a:gd name="connsiteX6" fmla="*/ 1165996 w 2199459"/>
              <a:gd name="connsiteY6" fmla="*/ 48050 h 2164296"/>
              <a:gd name="connsiteX7" fmla="*/ 1185046 w 2199459"/>
              <a:gd name="connsiteY7" fmla="*/ 52813 h 2164296"/>
              <a:gd name="connsiteX8" fmla="*/ 1218384 w 2199459"/>
              <a:gd name="connsiteY8" fmla="*/ 57575 h 2164296"/>
              <a:gd name="connsiteX9" fmla="*/ 1313634 w 2199459"/>
              <a:gd name="connsiteY9" fmla="*/ 71863 h 2164296"/>
              <a:gd name="connsiteX10" fmla="*/ 1485084 w 2199459"/>
              <a:gd name="connsiteY10" fmla="*/ 109963 h 2164296"/>
              <a:gd name="connsiteX11" fmla="*/ 1508896 w 2199459"/>
              <a:gd name="connsiteY11" fmla="*/ 114725 h 2164296"/>
              <a:gd name="connsiteX12" fmla="*/ 1647009 w 2199459"/>
              <a:gd name="connsiteY12" fmla="*/ 124250 h 2164296"/>
              <a:gd name="connsiteX13" fmla="*/ 1680346 w 2199459"/>
              <a:gd name="connsiteY13" fmla="*/ 129013 h 2164296"/>
              <a:gd name="connsiteX14" fmla="*/ 1704159 w 2199459"/>
              <a:gd name="connsiteY14" fmla="*/ 133775 h 2164296"/>
              <a:gd name="connsiteX15" fmla="*/ 1751784 w 2199459"/>
              <a:gd name="connsiteY15" fmla="*/ 138538 h 2164296"/>
              <a:gd name="connsiteX16" fmla="*/ 1789884 w 2199459"/>
              <a:gd name="connsiteY16" fmla="*/ 152825 h 2164296"/>
              <a:gd name="connsiteX17" fmla="*/ 1804171 w 2199459"/>
              <a:gd name="connsiteY17" fmla="*/ 162350 h 2164296"/>
              <a:gd name="connsiteX18" fmla="*/ 1827984 w 2199459"/>
              <a:gd name="connsiteY18" fmla="*/ 167113 h 2164296"/>
              <a:gd name="connsiteX19" fmla="*/ 1851796 w 2199459"/>
              <a:gd name="connsiteY19" fmla="*/ 181400 h 2164296"/>
              <a:gd name="connsiteX20" fmla="*/ 1875609 w 2199459"/>
              <a:gd name="connsiteY20" fmla="*/ 190925 h 2164296"/>
              <a:gd name="connsiteX21" fmla="*/ 1889896 w 2199459"/>
              <a:gd name="connsiteY21" fmla="*/ 205213 h 2164296"/>
              <a:gd name="connsiteX22" fmla="*/ 1923234 w 2199459"/>
              <a:gd name="connsiteY22" fmla="*/ 229025 h 2164296"/>
              <a:gd name="connsiteX23" fmla="*/ 1975621 w 2199459"/>
              <a:gd name="connsiteY23" fmla="*/ 267125 h 2164296"/>
              <a:gd name="connsiteX24" fmla="*/ 1999434 w 2199459"/>
              <a:gd name="connsiteY24" fmla="*/ 295700 h 2164296"/>
              <a:gd name="connsiteX25" fmla="*/ 2032771 w 2199459"/>
              <a:gd name="connsiteY25" fmla="*/ 348088 h 2164296"/>
              <a:gd name="connsiteX26" fmla="*/ 2051821 w 2199459"/>
              <a:gd name="connsiteY26" fmla="*/ 410000 h 2164296"/>
              <a:gd name="connsiteX27" fmla="*/ 2061346 w 2199459"/>
              <a:gd name="connsiteY27" fmla="*/ 443338 h 2164296"/>
              <a:gd name="connsiteX28" fmla="*/ 2066109 w 2199459"/>
              <a:gd name="connsiteY28" fmla="*/ 457625 h 2164296"/>
              <a:gd name="connsiteX29" fmla="*/ 2075634 w 2199459"/>
              <a:gd name="connsiteY29" fmla="*/ 476675 h 2164296"/>
              <a:gd name="connsiteX30" fmla="*/ 2094684 w 2199459"/>
              <a:gd name="connsiteY30" fmla="*/ 548113 h 2164296"/>
              <a:gd name="connsiteX31" fmla="*/ 2108971 w 2199459"/>
              <a:gd name="connsiteY31" fmla="*/ 610025 h 2164296"/>
              <a:gd name="connsiteX32" fmla="*/ 2113734 w 2199459"/>
              <a:gd name="connsiteY32" fmla="*/ 914825 h 2164296"/>
              <a:gd name="connsiteX33" fmla="*/ 2151834 w 2199459"/>
              <a:gd name="connsiteY33" fmla="*/ 1086275 h 2164296"/>
              <a:gd name="connsiteX34" fmla="*/ 2156596 w 2199459"/>
              <a:gd name="connsiteY34" fmla="*/ 1148188 h 2164296"/>
              <a:gd name="connsiteX35" fmla="*/ 2170884 w 2199459"/>
              <a:gd name="connsiteY35" fmla="*/ 1191050 h 2164296"/>
              <a:gd name="connsiteX36" fmla="*/ 2175646 w 2199459"/>
              <a:gd name="connsiteY36" fmla="*/ 1224388 h 2164296"/>
              <a:gd name="connsiteX37" fmla="*/ 2194696 w 2199459"/>
              <a:gd name="connsiteY37" fmla="*/ 1276775 h 2164296"/>
              <a:gd name="connsiteX38" fmla="*/ 2199459 w 2199459"/>
              <a:gd name="connsiteY38" fmla="*/ 1300588 h 2164296"/>
              <a:gd name="connsiteX39" fmla="*/ 2194696 w 2199459"/>
              <a:gd name="connsiteY39" fmla="*/ 1514900 h 2164296"/>
              <a:gd name="connsiteX40" fmla="*/ 2185171 w 2199459"/>
              <a:gd name="connsiteY40" fmla="*/ 1529188 h 2164296"/>
              <a:gd name="connsiteX41" fmla="*/ 2175646 w 2199459"/>
              <a:gd name="connsiteY41" fmla="*/ 1562525 h 2164296"/>
              <a:gd name="connsiteX42" fmla="*/ 2166121 w 2199459"/>
              <a:gd name="connsiteY42" fmla="*/ 1576813 h 2164296"/>
              <a:gd name="connsiteX43" fmla="*/ 2161359 w 2199459"/>
              <a:gd name="connsiteY43" fmla="*/ 1600625 h 2164296"/>
              <a:gd name="connsiteX44" fmla="*/ 2147071 w 2199459"/>
              <a:gd name="connsiteY44" fmla="*/ 1614913 h 2164296"/>
              <a:gd name="connsiteX45" fmla="*/ 2137546 w 2199459"/>
              <a:gd name="connsiteY45" fmla="*/ 1629200 h 2164296"/>
              <a:gd name="connsiteX46" fmla="*/ 2108971 w 2199459"/>
              <a:gd name="connsiteY46" fmla="*/ 1657775 h 2164296"/>
              <a:gd name="connsiteX47" fmla="*/ 2080396 w 2199459"/>
              <a:gd name="connsiteY47" fmla="*/ 1686350 h 2164296"/>
              <a:gd name="connsiteX48" fmla="*/ 2070871 w 2199459"/>
              <a:gd name="connsiteY48" fmla="*/ 1700638 h 2164296"/>
              <a:gd name="connsiteX49" fmla="*/ 2056584 w 2199459"/>
              <a:gd name="connsiteY49" fmla="*/ 1710163 h 2164296"/>
              <a:gd name="connsiteX50" fmla="*/ 2032771 w 2199459"/>
              <a:gd name="connsiteY50" fmla="*/ 1724450 h 2164296"/>
              <a:gd name="connsiteX51" fmla="*/ 2008959 w 2199459"/>
              <a:gd name="connsiteY51" fmla="*/ 1743500 h 2164296"/>
              <a:gd name="connsiteX52" fmla="*/ 1937521 w 2199459"/>
              <a:gd name="connsiteY52" fmla="*/ 1772075 h 2164296"/>
              <a:gd name="connsiteX53" fmla="*/ 1918471 w 2199459"/>
              <a:gd name="connsiteY53" fmla="*/ 1786363 h 2164296"/>
              <a:gd name="connsiteX54" fmla="*/ 1870846 w 2199459"/>
              <a:gd name="connsiteY54" fmla="*/ 1814938 h 2164296"/>
              <a:gd name="connsiteX55" fmla="*/ 1856559 w 2199459"/>
              <a:gd name="connsiteY55" fmla="*/ 1833988 h 2164296"/>
              <a:gd name="connsiteX56" fmla="*/ 1804171 w 2199459"/>
              <a:gd name="connsiteY56" fmla="*/ 1862563 h 2164296"/>
              <a:gd name="connsiteX57" fmla="*/ 1661297 w 2199459"/>
              <a:gd name="connsiteY57" fmla="*/ 1891137 h 2164296"/>
              <a:gd name="connsiteX58" fmla="*/ 1413646 w 2199459"/>
              <a:gd name="connsiteY58" fmla="*/ 2014962 h 2164296"/>
              <a:gd name="connsiteX59" fmla="*/ 1361259 w 2199459"/>
              <a:gd name="connsiteY59" fmla="*/ 2053063 h 2164296"/>
              <a:gd name="connsiteX60" fmla="*/ 1346971 w 2199459"/>
              <a:gd name="connsiteY60" fmla="*/ 2062588 h 2164296"/>
              <a:gd name="connsiteX61" fmla="*/ 1308871 w 2199459"/>
              <a:gd name="connsiteY61" fmla="*/ 2072113 h 2164296"/>
              <a:gd name="connsiteX62" fmla="*/ 1285059 w 2199459"/>
              <a:gd name="connsiteY62" fmla="*/ 2086400 h 2164296"/>
              <a:gd name="connsiteX63" fmla="*/ 1232671 w 2199459"/>
              <a:gd name="connsiteY63" fmla="*/ 2100688 h 2164296"/>
              <a:gd name="connsiteX64" fmla="*/ 1189809 w 2199459"/>
              <a:gd name="connsiteY64" fmla="*/ 2119738 h 2164296"/>
              <a:gd name="connsiteX65" fmla="*/ 1170759 w 2199459"/>
              <a:gd name="connsiteY65" fmla="*/ 2134025 h 2164296"/>
              <a:gd name="connsiteX66" fmla="*/ 1099321 w 2199459"/>
              <a:gd name="connsiteY66" fmla="*/ 2148313 h 2164296"/>
              <a:gd name="connsiteX67" fmla="*/ 1070746 w 2199459"/>
              <a:gd name="connsiteY67" fmla="*/ 2162600 h 2164296"/>
              <a:gd name="connsiteX68" fmla="*/ 937396 w 2199459"/>
              <a:gd name="connsiteY68" fmla="*/ 2157838 h 2164296"/>
              <a:gd name="connsiteX69" fmla="*/ 827859 w 2199459"/>
              <a:gd name="connsiteY69" fmla="*/ 2105450 h 2164296"/>
              <a:gd name="connsiteX70" fmla="*/ 789759 w 2199459"/>
              <a:gd name="connsiteY70" fmla="*/ 2091163 h 2164296"/>
              <a:gd name="connsiteX71" fmla="*/ 742134 w 2199459"/>
              <a:gd name="connsiteY71" fmla="*/ 2062588 h 2164296"/>
              <a:gd name="connsiteX72" fmla="*/ 684984 w 2199459"/>
              <a:gd name="connsiteY72" fmla="*/ 2038775 h 2164296"/>
              <a:gd name="connsiteX73" fmla="*/ 651646 w 2199459"/>
              <a:gd name="connsiteY73" fmla="*/ 2005438 h 2164296"/>
              <a:gd name="connsiteX74" fmla="*/ 613546 w 2199459"/>
              <a:gd name="connsiteY74" fmla="*/ 1976863 h 2164296"/>
              <a:gd name="connsiteX75" fmla="*/ 599259 w 2199459"/>
              <a:gd name="connsiteY75" fmla="*/ 1957813 h 2164296"/>
              <a:gd name="connsiteX76" fmla="*/ 584971 w 2199459"/>
              <a:gd name="connsiteY76" fmla="*/ 1934000 h 2164296"/>
              <a:gd name="connsiteX77" fmla="*/ 551634 w 2199459"/>
              <a:gd name="connsiteY77" fmla="*/ 1895900 h 2164296"/>
              <a:gd name="connsiteX78" fmla="*/ 408759 w 2199459"/>
              <a:gd name="connsiteY78" fmla="*/ 1705400 h 2164296"/>
              <a:gd name="connsiteX79" fmla="*/ 394471 w 2199459"/>
              <a:gd name="connsiteY79" fmla="*/ 1686350 h 2164296"/>
              <a:gd name="connsiteX80" fmla="*/ 375421 w 2199459"/>
              <a:gd name="connsiteY80" fmla="*/ 1657775 h 2164296"/>
              <a:gd name="connsiteX81" fmla="*/ 318271 w 2199459"/>
              <a:gd name="connsiteY81" fmla="*/ 1600625 h 2164296"/>
              <a:gd name="connsiteX82" fmla="*/ 294459 w 2199459"/>
              <a:gd name="connsiteY82" fmla="*/ 1576813 h 2164296"/>
              <a:gd name="connsiteX83" fmla="*/ 280171 w 2199459"/>
              <a:gd name="connsiteY83" fmla="*/ 1562525 h 2164296"/>
              <a:gd name="connsiteX84" fmla="*/ 242071 w 2199459"/>
              <a:gd name="connsiteY84" fmla="*/ 1538713 h 2164296"/>
              <a:gd name="connsiteX85" fmla="*/ 218259 w 2199459"/>
              <a:gd name="connsiteY85" fmla="*/ 1510138 h 2164296"/>
              <a:gd name="connsiteX86" fmla="*/ 194446 w 2199459"/>
              <a:gd name="connsiteY86" fmla="*/ 1491088 h 2164296"/>
              <a:gd name="connsiteX87" fmla="*/ 175396 w 2199459"/>
              <a:gd name="connsiteY87" fmla="*/ 1462513 h 2164296"/>
              <a:gd name="connsiteX88" fmla="*/ 151584 w 2199459"/>
              <a:gd name="connsiteY88" fmla="*/ 1438700 h 2164296"/>
              <a:gd name="connsiteX89" fmla="*/ 142059 w 2199459"/>
              <a:gd name="connsiteY89" fmla="*/ 1424413 h 2164296"/>
              <a:gd name="connsiteX90" fmla="*/ 123009 w 2199459"/>
              <a:gd name="connsiteY90" fmla="*/ 1405363 h 2164296"/>
              <a:gd name="connsiteX91" fmla="*/ 103959 w 2199459"/>
              <a:gd name="connsiteY91" fmla="*/ 1376788 h 2164296"/>
              <a:gd name="connsiteX92" fmla="*/ 61096 w 2199459"/>
              <a:gd name="connsiteY92" fmla="*/ 1305350 h 2164296"/>
              <a:gd name="connsiteX93" fmla="*/ 32521 w 2199459"/>
              <a:gd name="connsiteY93" fmla="*/ 991025 h 2164296"/>
              <a:gd name="connsiteX94" fmla="*/ 70621 w 2199459"/>
              <a:gd name="connsiteY94" fmla="*/ 929113 h 2164296"/>
              <a:gd name="connsiteX95" fmla="*/ 94434 w 2199459"/>
              <a:gd name="connsiteY95" fmla="*/ 891013 h 2164296"/>
              <a:gd name="connsiteX96" fmla="*/ 113484 w 2199459"/>
              <a:gd name="connsiteY96" fmla="*/ 848150 h 2164296"/>
              <a:gd name="connsiteX97" fmla="*/ 175396 w 2199459"/>
              <a:gd name="connsiteY97" fmla="*/ 733850 h 2164296"/>
              <a:gd name="connsiteX98" fmla="*/ 237309 w 2199459"/>
              <a:gd name="connsiteY98" fmla="*/ 610025 h 2164296"/>
              <a:gd name="connsiteX99" fmla="*/ 242071 w 2199459"/>
              <a:gd name="connsiteY99" fmla="*/ 581450 h 2164296"/>
              <a:gd name="connsiteX100" fmla="*/ 265884 w 2199459"/>
              <a:gd name="connsiteY100" fmla="*/ 538588 h 2164296"/>
              <a:gd name="connsiteX101" fmla="*/ 280171 w 2199459"/>
              <a:gd name="connsiteY101" fmla="*/ 500488 h 2164296"/>
              <a:gd name="connsiteX102" fmla="*/ 294459 w 2199459"/>
              <a:gd name="connsiteY102" fmla="*/ 471913 h 2164296"/>
              <a:gd name="connsiteX103" fmla="*/ 303984 w 2199459"/>
              <a:gd name="connsiteY103" fmla="*/ 443338 h 2164296"/>
              <a:gd name="connsiteX104" fmla="*/ 313509 w 2199459"/>
              <a:gd name="connsiteY104" fmla="*/ 429050 h 2164296"/>
              <a:gd name="connsiteX105" fmla="*/ 323034 w 2199459"/>
              <a:gd name="connsiteY105" fmla="*/ 405238 h 2164296"/>
              <a:gd name="connsiteX106" fmla="*/ 342084 w 2199459"/>
              <a:gd name="connsiteY106" fmla="*/ 381425 h 2164296"/>
              <a:gd name="connsiteX107" fmla="*/ 361134 w 2199459"/>
              <a:gd name="connsiteY107" fmla="*/ 333800 h 2164296"/>
              <a:gd name="connsiteX108" fmla="*/ 389709 w 2199459"/>
              <a:gd name="connsiteY108" fmla="*/ 290938 h 2164296"/>
              <a:gd name="connsiteX109" fmla="*/ 413521 w 2199459"/>
              <a:gd name="connsiteY109" fmla="*/ 248075 h 2164296"/>
              <a:gd name="connsiteX110" fmla="*/ 427809 w 2199459"/>
              <a:gd name="connsiteY110" fmla="*/ 229025 h 2164296"/>
              <a:gd name="connsiteX111" fmla="*/ 451621 w 2199459"/>
              <a:gd name="connsiteY111" fmla="*/ 214738 h 2164296"/>
              <a:gd name="connsiteX112" fmla="*/ 475434 w 2199459"/>
              <a:gd name="connsiteY112" fmla="*/ 190925 h 2164296"/>
              <a:gd name="connsiteX113" fmla="*/ 489721 w 2199459"/>
              <a:gd name="connsiteY113" fmla="*/ 181400 h 2164296"/>
              <a:gd name="connsiteX114" fmla="*/ 523059 w 2199459"/>
              <a:gd name="connsiteY114" fmla="*/ 143300 h 2164296"/>
              <a:gd name="connsiteX115" fmla="*/ 537346 w 2199459"/>
              <a:gd name="connsiteY115" fmla="*/ 133775 h 2164296"/>
              <a:gd name="connsiteX116" fmla="*/ 646884 w 2199459"/>
              <a:gd name="connsiteY116" fmla="*/ 71863 h 2164296"/>
              <a:gd name="connsiteX117" fmla="*/ 661171 w 2199459"/>
              <a:gd name="connsiteY117" fmla="*/ 52813 h 2164296"/>
              <a:gd name="connsiteX118" fmla="*/ 680221 w 2199459"/>
              <a:gd name="connsiteY118" fmla="*/ 48050 h 2164296"/>
              <a:gd name="connsiteX119" fmla="*/ 704034 w 2199459"/>
              <a:gd name="connsiteY119" fmla="*/ 38525 h 2164296"/>
              <a:gd name="connsiteX120" fmla="*/ 746896 w 2199459"/>
              <a:gd name="connsiteY120" fmla="*/ 24238 h 2164296"/>
              <a:gd name="connsiteX121" fmla="*/ 775471 w 2199459"/>
              <a:gd name="connsiteY121" fmla="*/ 14713 h 2164296"/>
              <a:gd name="connsiteX122" fmla="*/ 823096 w 2199459"/>
              <a:gd name="connsiteY122" fmla="*/ 9950 h 2164296"/>
              <a:gd name="connsiteX123" fmla="*/ 894534 w 2199459"/>
              <a:gd name="connsiteY123" fmla="*/ 425 h 2164296"/>
              <a:gd name="connsiteX0" fmla="*/ 828432 w 2200032"/>
              <a:gd name="connsiteY0" fmla="*/ 425 h 2164296"/>
              <a:gd name="connsiteX1" fmla="*/ 980832 w 2200032"/>
              <a:gd name="connsiteY1" fmla="*/ 5188 h 2164296"/>
              <a:gd name="connsiteX2" fmla="*/ 1004644 w 2200032"/>
              <a:gd name="connsiteY2" fmla="*/ 9950 h 2164296"/>
              <a:gd name="connsiteX3" fmla="*/ 1071319 w 2200032"/>
              <a:gd name="connsiteY3" fmla="*/ 19475 h 2164296"/>
              <a:gd name="connsiteX4" fmla="*/ 1099894 w 2200032"/>
              <a:gd name="connsiteY4" fmla="*/ 24238 h 2164296"/>
              <a:gd name="connsiteX5" fmla="*/ 1123707 w 2200032"/>
              <a:gd name="connsiteY5" fmla="*/ 38525 h 2164296"/>
              <a:gd name="connsiteX6" fmla="*/ 1166569 w 2200032"/>
              <a:gd name="connsiteY6" fmla="*/ 48050 h 2164296"/>
              <a:gd name="connsiteX7" fmla="*/ 1185619 w 2200032"/>
              <a:gd name="connsiteY7" fmla="*/ 52813 h 2164296"/>
              <a:gd name="connsiteX8" fmla="*/ 1218957 w 2200032"/>
              <a:gd name="connsiteY8" fmla="*/ 57575 h 2164296"/>
              <a:gd name="connsiteX9" fmla="*/ 1314207 w 2200032"/>
              <a:gd name="connsiteY9" fmla="*/ 71863 h 2164296"/>
              <a:gd name="connsiteX10" fmla="*/ 1485657 w 2200032"/>
              <a:gd name="connsiteY10" fmla="*/ 109963 h 2164296"/>
              <a:gd name="connsiteX11" fmla="*/ 1509469 w 2200032"/>
              <a:gd name="connsiteY11" fmla="*/ 114725 h 2164296"/>
              <a:gd name="connsiteX12" fmla="*/ 1647582 w 2200032"/>
              <a:gd name="connsiteY12" fmla="*/ 124250 h 2164296"/>
              <a:gd name="connsiteX13" fmla="*/ 1680919 w 2200032"/>
              <a:gd name="connsiteY13" fmla="*/ 129013 h 2164296"/>
              <a:gd name="connsiteX14" fmla="*/ 1704732 w 2200032"/>
              <a:gd name="connsiteY14" fmla="*/ 133775 h 2164296"/>
              <a:gd name="connsiteX15" fmla="*/ 1752357 w 2200032"/>
              <a:gd name="connsiteY15" fmla="*/ 138538 h 2164296"/>
              <a:gd name="connsiteX16" fmla="*/ 1790457 w 2200032"/>
              <a:gd name="connsiteY16" fmla="*/ 152825 h 2164296"/>
              <a:gd name="connsiteX17" fmla="*/ 1804744 w 2200032"/>
              <a:gd name="connsiteY17" fmla="*/ 162350 h 2164296"/>
              <a:gd name="connsiteX18" fmla="*/ 1828557 w 2200032"/>
              <a:gd name="connsiteY18" fmla="*/ 167113 h 2164296"/>
              <a:gd name="connsiteX19" fmla="*/ 1852369 w 2200032"/>
              <a:gd name="connsiteY19" fmla="*/ 181400 h 2164296"/>
              <a:gd name="connsiteX20" fmla="*/ 1876182 w 2200032"/>
              <a:gd name="connsiteY20" fmla="*/ 190925 h 2164296"/>
              <a:gd name="connsiteX21" fmla="*/ 1890469 w 2200032"/>
              <a:gd name="connsiteY21" fmla="*/ 205213 h 2164296"/>
              <a:gd name="connsiteX22" fmla="*/ 1923807 w 2200032"/>
              <a:gd name="connsiteY22" fmla="*/ 229025 h 2164296"/>
              <a:gd name="connsiteX23" fmla="*/ 1976194 w 2200032"/>
              <a:gd name="connsiteY23" fmla="*/ 267125 h 2164296"/>
              <a:gd name="connsiteX24" fmla="*/ 2000007 w 2200032"/>
              <a:gd name="connsiteY24" fmla="*/ 295700 h 2164296"/>
              <a:gd name="connsiteX25" fmla="*/ 2033344 w 2200032"/>
              <a:gd name="connsiteY25" fmla="*/ 348088 h 2164296"/>
              <a:gd name="connsiteX26" fmla="*/ 2052394 w 2200032"/>
              <a:gd name="connsiteY26" fmla="*/ 410000 h 2164296"/>
              <a:gd name="connsiteX27" fmla="*/ 2061919 w 2200032"/>
              <a:gd name="connsiteY27" fmla="*/ 443338 h 2164296"/>
              <a:gd name="connsiteX28" fmla="*/ 2066682 w 2200032"/>
              <a:gd name="connsiteY28" fmla="*/ 457625 h 2164296"/>
              <a:gd name="connsiteX29" fmla="*/ 2076207 w 2200032"/>
              <a:gd name="connsiteY29" fmla="*/ 476675 h 2164296"/>
              <a:gd name="connsiteX30" fmla="*/ 2095257 w 2200032"/>
              <a:gd name="connsiteY30" fmla="*/ 548113 h 2164296"/>
              <a:gd name="connsiteX31" fmla="*/ 2109544 w 2200032"/>
              <a:gd name="connsiteY31" fmla="*/ 610025 h 2164296"/>
              <a:gd name="connsiteX32" fmla="*/ 2114307 w 2200032"/>
              <a:gd name="connsiteY32" fmla="*/ 914825 h 2164296"/>
              <a:gd name="connsiteX33" fmla="*/ 2152407 w 2200032"/>
              <a:gd name="connsiteY33" fmla="*/ 1086275 h 2164296"/>
              <a:gd name="connsiteX34" fmla="*/ 2157169 w 2200032"/>
              <a:gd name="connsiteY34" fmla="*/ 1148188 h 2164296"/>
              <a:gd name="connsiteX35" fmla="*/ 2171457 w 2200032"/>
              <a:gd name="connsiteY35" fmla="*/ 1191050 h 2164296"/>
              <a:gd name="connsiteX36" fmla="*/ 2176219 w 2200032"/>
              <a:gd name="connsiteY36" fmla="*/ 1224388 h 2164296"/>
              <a:gd name="connsiteX37" fmla="*/ 2195269 w 2200032"/>
              <a:gd name="connsiteY37" fmla="*/ 1276775 h 2164296"/>
              <a:gd name="connsiteX38" fmla="*/ 2200032 w 2200032"/>
              <a:gd name="connsiteY38" fmla="*/ 1300588 h 2164296"/>
              <a:gd name="connsiteX39" fmla="*/ 2195269 w 2200032"/>
              <a:gd name="connsiteY39" fmla="*/ 1514900 h 2164296"/>
              <a:gd name="connsiteX40" fmla="*/ 2185744 w 2200032"/>
              <a:gd name="connsiteY40" fmla="*/ 1529188 h 2164296"/>
              <a:gd name="connsiteX41" fmla="*/ 2176219 w 2200032"/>
              <a:gd name="connsiteY41" fmla="*/ 1562525 h 2164296"/>
              <a:gd name="connsiteX42" fmla="*/ 2166694 w 2200032"/>
              <a:gd name="connsiteY42" fmla="*/ 1576813 h 2164296"/>
              <a:gd name="connsiteX43" fmla="*/ 2161932 w 2200032"/>
              <a:gd name="connsiteY43" fmla="*/ 1600625 h 2164296"/>
              <a:gd name="connsiteX44" fmla="*/ 2147644 w 2200032"/>
              <a:gd name="connsiteY44" fmla="*/ 1614913 h 2164296"/>
              <a:gd name="connsiteX45" fmla="*/ 2138119 w 2200032"/>
              <a:gd name="connsiteY45" fmla="*/ 1629200 h 2164296"/>
              <a:gd name="connsiteX46" fmla="*/ 2109544 w 2200032"/>
              <a:gd name="connsiteY46" fmla="*/ 1657775 h 2164296"/>
              <a:gd name="connsiteX47" fmla="*/ 2080969 w 2200032"/>
              <a:gd name="connsiteY47" fmla="*/ 1686350 h 2164296"/>
              <a:gd name="connsiteX48" fmla="*/ 2071444 w 2200032"/>
              <a:gd name="connsiteY48" fmla="*/ 1700638 h 2164296"/>
              <a:gd name="connsiteX49" fmla="*/ 2057157 w 2200032"/>
              <a:gd name="connsiteY49" fmla="*/ 1710163 h 2164296"/>
              <a:gd name="connsiteX50" fmla="*/ 2033344 w 2200032"/>
              <a:gd name="connsiteY50" fmla="*/ 1724450 h 2164296"/>
              <a:gd name="connsiteX51" fmla="*/ 2009532 w 2200032"/>
              <a:gd name="connsiteY51" fmla="*/ 1743500 h 2164296"/>
              <a:gd name="connsiteX52" fmla="*/ 1938094 w 2200032"/>
              <a:gd name="connsiteY52" fmla="*/ 1772075 h 2164296"/>
              <a:gd name="connsiteX53" fmla="*/ 1919044 w 2200032"/>
              <a:gd name="connsiteY53" fmla="*/ 1786363 h 2164296"/>
              <a:gd name="connsiteX54" fmla="*/ 1871419 w 2200032"/>
              <a:gd name="connsiteY54" fmla="*/ 1814938 h 2164296"/>
              <a:gd name="connsiteX55" fmla="*/ 1857132 w 2200032"/>
              <a:gd name="connsiteY55" fmla="*/ 1833988 h 2164296"/>
              <a:gd name="connsiteX56" fmla="*/ 1804744 w 2200032"/>
              <a:gd name="connsiteY56" fmla="*/ 1862563 h 2164296"/>
              <a:gd name="connsiteX57" fmla="*/ 1661870 w 2200032"/>
              <a:gd name="connsiteY57" fmla="*/ 1891137 h 2164296"/>
              <a:gd name="connsiteX58" fmla="*/ 1414219 w 2200032"/>
              <a:gd name="connsiteY58" fmla="*/ 2014962 h 2164296"/>
              <a:gd name="connsiteX59" fmla="*/ 1361832 w 2200032"/>
              <a:gd name="connsiteY59" fmla="*/ 2053063 h 2164296"/>
              <a:gd name="connsiteX60" fmla="*/ 1347544 w 2200032"/>
              <a:gd name="connsiteY60" fmla="*/ 2062588 h 2164296"/>
              <a:gd name="connsiteX61" fmla="*/ 1309444 w 2200032"/>
              <a:gd name="connsiteY61" fmla="*/ 2072113 h 2164296"/>
              <a:gd name="connsiteX62" fmla="*/ 1285632 w 2200032"/>
              <a:gd name="connsiteY62" fmla="*/ 2086400 h 2164296"/>
              <a:gd name="connsiteX63" fmla="*/ 1233244 w 2200032"/>
              <a:gd name="connsiteY63" fmla="*/ 2100688 h 2164296"/>
              <a:gd name="connsiteX64" fmla="*/ 1190382 w 2200032"/>
              <a:gd name="connsiteY64" fmla="*/ 2119738 h 2164296"/>
              <a:gd name="connsiteX65" fmla="*/ 1171332 w 2200032"/>
              <a:gd name="connsiteY65" fmla="*/ 2134025 h 2164296"/>
              <a:gd name="connsiteX66" fmla="*/ 1099894 w 2200032"/>
              <a:gd name="connsiteY66" fmla="*/ 2148313 h 2164296"/>
              <a:gd name="connsiteX67" fmla="*/ 1071319 w 2200032"/>
              <a:gd name="connsiteY67" fmla="*/ 2162600 h 2164296"/>
              <a:gd name="connsiteX68" fmla="*/ 937969 w 2200032"/>
              <a:gd name="connsiteY68" fmla="*/ 2157838 h 2164296"/>
              <a:gd name="connsiteX69" fmla="*/ 828432 w 2200032"/>
              <a:gd name="connsiteY69" fmla="*/ 2105450 h 2164296"/>
              <a:gd name="connsiteX70" fmla="*/ 790332 w 2200032"/>
              <a:gd name="connsiteY70" fmla="*/ 2091163 h 2164296"/>
              <a:gd name="connsiteX71" fmla="*/ 742707 w 2200032"/>
              <a:gd name="connsiteY71" fmla="*/ 2062588 h 2164296"/>
              <a:gd name="connsiteX72" fmla="*/ 685557 w 2200032"/>
              <a:gd name="connsiteY72" fmla="*/ 2038775 h 2164296"/>
              <a:gd name="connsiteX73" fmla="*/ 652219 w 2200032"/>
              <a:gd name="connsiteY73" fmla="*/ 2005438 h 2164296"/>
              <a:gd name="connsiteX74" fmla="*/ 614119 w 2200032"/>
              <a:gd name="connsiteY74" fmla="*/ 1976863 h 2164296"/>
              <a:gd name="connsiteX75" fmla="*/ 599832 w 2200032"/>
              <a:gd name="connsiteY75" fmla="*/ 1957813 h 2164296"/>
              <a:gd name="connsiteX76" fmla="*/ 585544 w 2200032"/>
              <a:gd name="connsiteY76" fmla="*/ 1934000 h 2164296"/>
              <a:gd name="connsiteX77" fmla="*/ 552207 w 2200032"/>
              <a:gd name="connsiteY77" fmla="*/ 1895900 h 2164296"/>
              <a:gd name="connsiteX78" fmla="*/ 409332 w 2200032"/>
              <a:gd name="connsiteY78" fmla="*/ 1705400 h 2164296"/>
              <a:gd name="connsiteX79" fmla="*/ 395044 w 2200032"/>
              <a:gd name="connsiteY79" fmla="*/ 1686350 h 2164296"/>
              <a:gd name="connsiteX80" fmla="*/ 375994 w 2200032"/>
              <a:gd name="connsiteY80" fmla="*/ 1657775 h 2164296"/>
              <a:gd name="connsiteX81" fmla="*/ 318844 w 2200032"/>
              <a:gd name="connsiteY81" fmla="*/ 1600625 h 2164296"/>
              <a:gd name="connsiteX82" fmla="*/ 295032 w 2200032"/>
              <a:gd name="connsiteY82" fmla="*/ 1576813 h 2164296"/>
              <a:gd name="connsiteX83" fmla="*/ 280744 w 2200032"/>
              <a:gd name="connsiteY83" fmla="*/ 1562525 h 2164296"/>
              <a:gd name="connsiteX84" fmla="*/ 242644 w 2200032"/>
              <a:gd name="connsiteY84" fmla="*/ 1538713 h 2164296"/>
              <a:gd name="connsiteX85" fmla="*/ 218832 w 2200032"/>
              <a:gd name="connsiteY85" fmla="*/ 1510138 h 2164296"/>
              <a:gd name="connsiteX86" fmla="*/ 195019 w 2200032"/>
              <a:gd name="connsiteY86" fmla="*/ 1491088 h 2164296"/>
              <a:gd name="connsiteX87" fmla="*/ 175969 w 2200032"/>
              <a:gd name="connsiteY87" fmla="*/ 1462513 h 2164296"/>
              <a:gd name="connsiteX88" fmla="*/ 152157 w 2200032"/>
              <a:gd name="connsiteY88" fmla="*/ 1438700 h 2164296"/>
              <a:gd name="connsiteX89" fmla="*/ 142632 w 2200032"/>
              <a:gd name="connsiteY89" fmla="*/ 1424413 h 2164296"/>
              <a:gd name="connsiteX90" fmla="*/ 123582 w 2200032"/>
              <a:gd name="connsiteY90" fmla="*/ 1405363 h 2164296"/>
              <a:gd name="connsiteX91" fmla="*/ 61669 w 2200032"/>
              <a:gd name="connsiteY91" fmla="*/ 1305350 h 2164296"/>
              <a:gd name="connsiteX92" fmla="*/ 33094 w 2200032"/>
              <a:gd name="connsiteY92" fmla="*/ 991025 h 2164296"/>
              <a:gd name="connsiteX93" fmla="*/ 71194 w 2200032"/>
              <a:gd name="connsiteY93" fmla="*/ 929113 h 2164296"/>
              <a:gd name="connsiteX94" fmla="*/ 95007 w 2200032"/>
              <a:gd name="connsiteY94" fmla="*/ 891013 h 2164296"/>
              <a:gd name="connsiteX95" fmla="*/ 114057 w 2200032"/>
              <a:gd name="connsiteY95" fmla="*/ 848150 h 2164296"/>
              <a:gd name="connsiteX96" fmla="*/ 175969 w 2200032"/>
              <a:gd name="connsiteY96" fmla="*/ 733850 h 2164296"/>
              <a:gd name="connsiteX97" fmla="*/ 237882 w 2200032"/>
              <a:gd name="connsiteY97" fmla="*/ 610025 h 2164296"/>
              <a:gd name="connsiteX98" fmla="*/ 242644 w 2200032"/>
              <a:gd name="connsiteY98" fmla="*/ 581450 h 2164296"/>
              <a:gd name="connsiteX99" fmla="*/ 266457 w 2200032"/>
              <a:gd name="connsiteY99" fmla="*/ 538588 h 2164296"/>
              <a:gd name="connsiteX100" fmla="*/ 280744 w 2200032"/>
              <a:gd name="connsiteY100" fmla="*/ 500488 h 2164296"/>
              <a:gd name="connsiteX101" fmla="*/ 295032 w 2200032"/>
              <a:gd name="connsiteY101" fmla="*/ 471913 h 2164296"/>
              <a:gd name="connsiteX102" fmla="*/ 304557 w 2200032"/>
              <a:gd name="connsiteY102" fmla="*/ 443338 h 2164296"/>
              <a:gd name="connsiteX103" fmla="*/ 314082 w 2200032"/>
              <a:gd name="connsiteY103" fmla="*/ 429050 h 2164296"/>
              <a:gd name="connsiteX104" fmla="*/ 323607 w 2200032"/>
              <a:gd name="connsiteY104" fmla="*/ 405238 h 2164296"/>
              <a:gd name="connsiteX105" fmla="*/ 342657 w 2200032"/>
              <a:gd name="connsiteY105" fmla="*/ 381425 h 2164296"/>
              <a:gd name="connsiteX106" fmla="*/ 361707 w 2200032"/>
              <a:gd name="connsiteY106" fmla="*/ 333800 h 2164296"/>
              <a:gd name="connsiteX107" fmla="*/ 390282 w 2200032"/>
              <a:gd name="connsiteY107" fmla="*/ 290938 h 2164296"/>
              <a:gd name="connsiteX108" fmla="*/ 414094 w 2200032"/>
              <a:gd name="connsiteY108" fmla="*/ 248075 h 2164296"/>
              <a:gd name="connsiteX109" fmla="*/ 428382 w 2200032"/>
              <a:gd name="connsiteY109" fmla="*/ 229025 h 2164296"/>
              <a:gd name="connsiteX110" fmla="*/ 452194 w 2200032"/>
              <a:gd name="connsiteY110" fmla="*/ 214738 h 2164296"/>
              <a:gd name="connsiteX111" fmla="*/ 476007 w 2200032"/>
              <a:gd name="connsiteY111" fmla="*/ 190925 h 2164296"/>
              <a:gd name="connsiteX112" fmla="*/ 490294 w 2200032"/>
              <a:gd name="connsiteY112" fmla="*/ 181400 h 2164296"/>
              <a:gd name="connsiteX113" fmla="*/ 523632 w 2200032"/>
              <a:gd name="connsiteY113" fmla="*/ 143300 h 2164296"/>
              <a:gd name="connsiteX114" fmla="*/ 537919 w 2200032"/>
              <a:gd name="connsiteY114" fmla="*/ 133775 h 2164296"/>
              <a:gd name="connsiteX115" fmla="*/ 647457 w 2200032"/>
              <a:gd name="connsiteY115" fmla="*/ 71863 h 2164296"/>
              <a:gd name="connsiteX116" fmla="*/ 661744 w 2200032"/>
              <a:gd name="connsiteY116" fmla="*/ 52813 h 2164296"/>
              <a:gd name="connsiteX117" fmla="*/ 680794 w 2200032"/>
              <a:gd name="connsiteY117" fmla="*/ 48050 h 2164296"/>
              <a:gd name="connsiteX118" fmla="*/ 704607 w 2200032"/>
              <a:gd name="connsiteY118" fmla="*/ 38525 h 2164296"/>
              <a:gd name="connsiteX119" fmla="*/ 747469 w 2200032"/>
              <a:gd name="connsiteY119" fmla="*/ 24238 h 2164296"/>
              <a:gd name="connsiteX120" fmla="*/ 776044 w 2200032"/>
              <a:gd name="connsiteY120" fmla="*/ 14713 h 2164296"/>
              <a:gd name="connsiteX121" fmla="*/ 823669 w 2200032"/>
              <a:gd name="connsiteY121" fmla="*/ 9950 h 2164296"/>
              <a:gd name="connsiteX122" fmla="*/ 895107 w 2200032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810660 w 2205948"/>
              <a:gd name="connsiteY56" fmla="*/ 1862563 h 2164296"/>
              <a:gd name="connsiteX57" fmla="*/ 1667786 w 2205948"/>
              <a:gd name="connsiteY57" fmla="*/ 1891137 h 2164296"/>
              <a:gd name="connsiteX58" fmla="*/ 1420135 w 2205948"/>
              <a:gd name="connsiteY58" fmla="*/ 2014962 h 2164296"/>
              <a:gd name="connsiteX59" fmla="*/ 1367748 w 2205948"/>
              <a:gd name="connsiteY59" fmla="*/ 2053063 h 2164296"/>
              <a:gd name="connsiteX60" fmla="*/ 1353460 w 2205948"/>
              <a:gd name="connsiteY60" fmla="*/ 2062588 h 2164296"/>
              <a:gd name="connsiteX61" fmla="*/ 1315360 w 2205948"/>
              <a:gd name="connsiteY61" fmla="*/ 2072113 h 2164296"/>
              <a:gd name="connsiteX62" fmla="*/ 1291548 w 2205948"/>
              <a:gd name="connsiteY62" fmla="*/ 2086400 h 2164296"/>
              <a:gd name="connsiteX63" fmla="*/ 1239160 w 2205948"/>
              <a:gd name="connsiteY63" fmla="*/ 2100688 h 2164296"/>
              <a:gd name="connsiteX64" fmla="*/ 1196298 w 2205948"/>
              <a:gd name="connsiteY64" fmla="*/ 2119738 h 2164296"/>
              <a:gd name="connsiteX65" fmla="*/ 1177248 w 2205948"/>
              <a:gd name="connsiteY65" fmla="*/ 2134025 h 2164296"/>
              <a:gd name="connsiteX66" fmla="*/ 1105810 w 2205948"/>
              <a:gd name="connsiteY66" fmla="*/ 2148313 h 2164296"/>
              <a:gd name="connsiteX67" fmla="*/ 1077235 w 2205948"/>
              <a:gd name="connsiteY67" fmla="*/ 2162600 h 2164296"/>
              <a:gd name="connsiteX68" fmla="*/ 943885 w 2205948"/>
              <a:gd name="connsiteY68" fmla="*/ 2157838 h 2164296"/>
              <a:gd name="connsiteX69" fmla="*/ 834348 w 2205948"/>
              <a:gd name="connsiteY69" fmla="*/ 2105450 h 2164296"/>
              <a:gd name="connsiteX70" fmla="*/ 796248 w 2205948"/>
              <a:gd name="connsiteY70" fmla="*/ 2091163 h 2164296"/>
              <a:gd name="connsiteX71" fmla="*/ 748623 w 2205948"/>
              <a:gd name="connsiteY71" fmla="*/ 2062588 h 2164296"/>
              <a:gd name="connsiteX72" fmla="*/ 691473 w 2205948"/>
              <a:gd name="connsiteY72" fmla="*/ 2038775 h 2164296"/>
              <a:gd name="connsiteX73" fmla="*/ 658135 w 2205948"/>
              <a:gd name="connsiteY73" fmla="*/ 2005438 h 2164296"/>
              <a:gd name="connsiteX74" fmla="*/ 620035 w 2205948"/>
              <a:gd name="connsiteY74" fmla="*/ 1976863 h 2164296"/>
              <a:gd name="connsiteX75" fmla="*/ 605748 w 2205948"/>
              <a:gd name="connsiteY75" fmla="*/ 1957813 h 2164296"/>
              <a:gd name="connsiteX76" fmla="*/ 591460 w 2205948"/>
              <a:gd name="connsiteY76" fmla="*/ 1934000 h 2164296"/>
              <a:gd name="connsiteX77" fmla="*/ 558123 w 2205948"/>
              <a:gd name="connsiteY77" fmla="*/ 1895900 h 2164296"/>
              <a:gd name="connsiteX78" fmla="*/ 415248 w 2205948"/>
              <a:gd name="connsiteY78" fmla="*/ 1705400 h 2164296"/>
              <a:gd name="connsiteX79" fmla="*/ 400960 w 2205948"/>
              <a:gd name="connsiteY79" fmla="*/ 1686350 h 2164296"/>
              <a:gd name="connsiteX80" fmla="*/ 381910 w 2205948"/>
              <a:gd name="connsiteY80" fmla="*/ 1657775 h 2164296"/>
              <a:gd name="connsiteX81" fmla="*/ 324760 w 2205948"/>
              <a:gd name="connsiteY81" fmla="*/ 1600625 h 2164296"/>
              <a:gd name="connsiteX82" fmla="*/ 300948 w 2205948"/>
              <a:gd name="connsiteY82" fmla="*/ 1576813 h 2164296"/>
              <a:gd name="connsiteX83" fmla="*/ 286660 w 2205948"/>
              <a:gd name="connsiteY83" fmla="*/ 1562525 h 2164296"/>
              <a:gd name="connsiteX84" fmla="*/ 248560 w 2205948"/>
              <a:gd name="connsiteY84" fmla="*/ 1538713 h 2164296"/>
              <a:gd name="connsiteX85" fmla="*/ 224748 w 2205948"/>
              <a:gd name="connsiteY85" fmla="*/ 1510138 h 2164296"/>
              <a:gd name="connsiteX86" fmla="*/ 200935 w 2205948"/>
              <a:gd name="connsiteY86" fmla="*/ 1491088 h 2164296"/>
              <a:gd name="connsiteX87" fmla="*/ 181885 w 2205948"/>
              <a:gd name="connsiteY87" fmla="*/ 1462513 h 2164296"/>
              <a:gd name="connsiteX88" fmla="*/ 158073 w 2205948"/>
              <a:gd name="connsiteY88" fmla="*/ 1438700 h 2164296"/>
              <a:gd name="connsiteX89" fmla="*/ 148548 w 2205948"/>
              <a:gd name="connsiteY89" fmla="*/ 1424413 h 2164296"/>
              <a:gd name="connsiteX90" fmla="*/ 129498 w 2205948"/>
              <a:gd name="connsiteY90" fmla="*/ 1405363 h 2164296"/>
              <a:gd name="connsiteX91" fmla="*/ 67585 w 2205948"/>
              <a:gd name="connsiteY91" fmla="*/ 1305350 h 2164296"/>
              <a:gd name="connsiteX92" fmla="*/ 39010 w 2205948"/>
              <a:gd name="connsiteY92" fmla="*/ 991025 h 2164296"/>
              <a:gd name="connsiteX93" fmla="*/ 77110 w 2205948"/>
              <a:gd name="connsiteY93" fmla="*/ 929113 h 2164296"/>
              <a:gd name="connsiteX94" fmla="*/ 100923 w 2205948"/>
              <a:gd name="connsiteY94" fmla="*/ 891013 h 2164296"/>
              <a:gd name="connsiteX95" fmla="*/ 119973 w 2205948"/>
              <a:gd name="connsiteY95" fmla="*/ 848150 h 2164296"/>
              <a:gd name="connsiteX96" fmla="*/ 181885 w 2205948"/>
              <a:gd name="connsiteY96" fmla="*/ 733850 h 2164296"/>
              <a:gd name="connsiteX97" fmla="*/ 243798 w 2205948"/>
              <a:gd name="connsiteY97" fmla="*/ 610025 h 2164296"/>
              <a:gd name="connsiteX98" fmla="*/ 248560 w 2205948"/>
              <a:gd name="connsiteY98" fmla="*/ 581450 h 2164296"/>
              <a:gd name="connsiteX99" fmla="*/ 272373 w 2205948"/>
              <a:gd name="connsiteY99" fmla="*/ 538588 h 2164296"/>
              <a:gd name="connsiteX100" fmla="*/ 286660 w 2205948"/>
              <a:gd name="connsiteY100" fmla="*/ 500488 h 2164296"/>
              <a:gd name="connsiteX101" fmla="*/ 300948 w 2205948"/>
              <a:gd name="connsiteY101" fmla="*/ 471913 h 2164296"/>
              <a:gd name="connsiteX102" fmla="*/ 310473 w 2205948"/>
              <a:gd name="connsiteY102" fmla="*/ 443338 h 2164296"/>
              <a:gd name="connsiteX103" fmla="*/ 319998 w 2205948"/>
              <a:gd name="connsiteY103" fmla="*/ 429050 h 2164296"/>
              <a:gd name="connsiteX104" fmla="*/ 329523 w 2205948"/>
              <a:gd name="connsiteY104" fmla="*/ 405238 h 2164296"/>
              <a:gd name="connsiteX105" fmla="*/ 348573 w 2205948"/>
              <a:gd name="connsiteY105" fmla="*/ 381425 h 2164296"/>
              <a:gd name="connsiteX106" fmla="*/ 367623 w 2205948"/>
              <a:gd name="connsiteY106" fmla="*/ 333800 h 2164296"/>
              <a:gd name="connsiteX107" fmla="*/ 396198 w 2205948"/>
              <a:gd name="connsiteY107" fmla="*/ 290938 h 2164296"/>
              <a:gd name="connsiteX108" fmla="*/ 420010 w 2205948"/>
              <a:gd name="connsiteY108" fmla="*/ 248075 h 2164296"/>
              <a:gd name="connsiteX109" fmla="*/ 434298 w 2205948"/>
              <a:gd name="connsiteY109" fmla="*/ 229025 h 2164296"/>
              <a:gd name="connsiteX110" fmla="*/ 458110 w 2205948"/>
              <a:gd name="connsiteY110" fmla="*/ 214738 h 2164296"/>
              <a:gd name="connsiteX111" fmla="*/ 481923 w 2205948"/>
              <a:gd name="connsiteY111" fmla="*/ 190925 h 2164296"/>
              <a:gd name="connsiteX112" fmla="*/ 496210 w 2205948"/>
              <a:gd name="connsiteY112" fmla="*/ 181400 h 2164296"/>
              <a:gd name="connsiteX113" fmla="*/ 529548 w 2205948"/>
              <a:gd name="connsiteY113" fmla="*/ 143300 h 2164296"/>
              <a:gd name="connsiteX114" fmla="*/ 543835 w 2205948"/>
              <a:gd name="connsiteY114" fmla="*/ 133775 h 2164296"/>
              <a:gd name="connsiteX115" fmla="*/ 653373 w 2205948"/>
              <a:gd name="connsiteY115" fmla="*/ 71863 h 2164296"/>
              <a:gd name="connsiteX116" fmla="*/ 667660 w 2205948"/>
              <a:gd name="connsiteY116" fmla="*/ 52813 h 2164296"/>
              <a:gd name="connsiteX117" fmla="*/ 686710 w 2205948"/>
              <a:gd name="connsiteY117" fmla="*/ 48050 h 2164296"/>
              <a:gd name="connsiteX118" fmla="*/ 710523 w 2205948"/>
              <a:gd name="connsiteY118" fmla="*/ 38525 h 2164296"/>
              <a:gd name="connsiteX119" fmla="*/ 753385 w 2205948"/>
              <a:gd name="connsiteY119" fmla="*/ 24238 h 2164296"/>
              <a:gd name="connsiteX120" fmla="*/ 781960 w 2205948"/>
              <a:gd name="connsiteY120" fmla="*/ 14713 h 2164296"/>
              <a:gd name="connsiteX121" fmla="*/ 829585 w 2205948"/>
              <a:gd name="connsiteY121" fmla="*/ 9950 h 2164296"/>
              <a:gd name="connsiteX122" fmla="*/ 901023 w 2205948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667786 w 2205948"/>
              <a:gd name="connsiteY56" fmla="*/ 1891137 h 2164296"/>
              <a:gd name="connsiteX57" fmla="*/ 1420135 w 2205948"/>
              <a:gd name="connsiteY57" fmla="*/ 2014962 h 2164296"/>
              <a:gd name="connsiteX58" fmla="*/ 1367748 w 2205948"/>
              <a:gd name="connsiteY58" fmla="*/ 2053063 h 2164296"/>
              <a:gd name="connsiteX59" fmla="*/ 1353460 w 2205948"/>
              <a:gd name="connsiteY59" fmla="*/ 2062588 h 2164296"/>
              <a:gd name="connsiteX60" fmla="*/ 1315360 w 2205948"/>
              <a:gd name="connsiteY60" fmla="*/ 2072113 h 2164296"/>
              <a:gd name="connsiteX61" fmla="*/ 1291548 w 2205948"/>
              <a:gd name="connsiteY61" fmla="*/ 2086400 h 2164296"/>
              <a:gd name="connsiteX62" fmla="*/ 1239160 w 2205948"/>
              <a:gd name="connsiteY62" fmla="*/ 2100688 h 2164296"/>
              <a:gd name="connsiteX63" fmla="*/ 1196298 w 2205948"/>
              <a:gd name="connsiteY63" fmla="*/ 2119738 h 2164296"/>
              <a:gd name="connsiteX64" fmla="*/ 1177248 w 2205948"/>
              <a:gd name="connsiteY64" fmla="*/ 2134025 h 2164296"/>
              <a:gd name="connsiteX65" fmla="*/ 1105810 w 2205948"/>
              <a:gd name="connsiteY65" fmla="*/ 2148313 h 2164296"/>
              <a:gd name="connsiteX66" fmla="*/ 1077235 w 2205948"/>
              <a:gd name="connsiteY66" fmla="*/ 2162600 h 2164296"/>
              <a:gd name="connsiteX67" fmla="*/ 943885 w 2205948"/>
              <a:gd name="connsiteY67" fmla="*/ 2157838 h 2164296"/>
              <a:gd name="connsiteX68" fmla="*/ 834348 w 2205948"/>
              <a:gd name="connsiteY68" fmla="*/ 2105450 h 2164296"/>
              <a:gd name="connsiteX69" fmla="*/ 796248 w 2205948"/>
              <a:gd name="connsiteY69" fmla="*/ 2091163 h 2164296"/>
              <a:gd name="connsiteX70" fmla="*/ 748623 w 2205948"/>
              <a:gd name="connsiteY70" fmla="*/ 2062588 h 2164296"/>
              <a:gd name="connsiteX71" fmla="*/ 691473 w 2205948"/>
              <a:gd name="connsiteY71" fmla="*/ 2038775 h 2164296"/>
              <a:gd name="connsiteX72" fmla="*/ 658135 w 2205948"/>
              <a:gd name="connsiteY72" fmla="*/ 2005438 h 2164296"/>
              <a:gd name="connsiteX73" fmla="*/ 620035 w 2205948"/>
              <a:gd name="connsiteY73" fmla="*/ 1976863 h 2164296"/>
              <a:gd name="connsiteX74" fmla="*/ 605748 w 2205948"/>
              <a:gd name="connsiteY74" fmla="*/ 1957813 h 2164296"/>
              <a:gd name="connsiteX75" fmla="*/ 591460 w 2205948"/>
              <a:gd name="connsiteY75" fmla="*/ 1934000 h 2164296"/>
              <a:gd name="connsiteX76" fmla="*/ 558123 w 2205948"/>
              <a:gd name="connsiteY76" fmla="*/ 1895900 h 2164296"/>
              <a:gd name="connsiteX77" fmla="*/ 415248 w 2205948"/>
              <a:gd name="connsiteY77" fmla="*/ 1705400 h 2164296"/>
              <a:gd name="connsiteX78" fmla="*/ 400960 w 2205948"/>
              <a:gd name="connsiteY78" fmla="*/ 1686350 h 2164296"/>
              <a:gd name="connsiteX79" fmla="*/ 381910 w 2205948"/>
              <a:gd name="connsiteY79" fmla="*/ 1657775 h 2164296"/>
              <a:gd name="connsiteX80" fmla="*/ 324760 w 2205948"/>
              <a:gd name="connsiteY80" fmla="*/ 1600625 h 2164296"/>
              <a:gd name="connsiteX81" fmla="*/ 300948 w 2205948"/>
              <a:gd name="connsiteY81" fmla="*/ 1576813 h 2164296"/>
              <a:gd name="connsiteX82" fmla="*/ 286660 w 2205948"/>
              <a:gd name="connsiteY82" fmla="*/ 1562525 h 2164296"/>
              <a:gd name="connsiteX83" fmla="*/ 248560 w 2205948"/>
              <a:gd name="connsiteY83" fmla="*/ 1538713 h 2164296"/>
              <a:gd name="connsiteX84" fmla="*/ 224748 w 2205948"/>
              <a:gd name="connsiteY84" fmla="*/ 1510138 h 2164296"/>
              <a:gd name="connsiteX85" fmla="*/ 200935 w 2205948"/>
              <a:gd name="connsiteY85" fmla="*/ 1491088 h 2164296"/>
              <a:gd name="connsiteX86" fmla="*/ 181885 w 2205948"/>
              <a:gd name="connsiteY86" fmla="*/ 1462513 h 2164296"/>
              <a:gd name="connsiteX87" fmla="*/ 158073 w 2205948"/>
              <a:gd name="connsiteY87" fmla="*/ 1438700 h 2164296"/>
              <a:gd name="connsiteX88" fmla="*/ 148548 w 2205948"/>
              <a:gd name="connsiteY88" fmla="*/ 1424413 h 2164296"/>
              <a:gd name="connsiteX89" fmla="*/ 129498 w 2205948"/>
              <a:gd name="connsiteY89" fmla="*/ 1405363 h 2164296"/>
              <a:gd name="connsiteX90" fmla="*/ 67585 w 2205948"/>
              <a:gd name="connsiteY90" fmla="*/ 1305350 h 2164296"/>
              <a:gd name="connsiteX91" fmla="*/ 39010 w 2205948"/>
              <a:gd name="connsiteY91" fmla="*/ 991025 h 2164296"/>
              <a:gd name="connsiteX92" fmla="*/ 77110 w 2205948"/>
              <a:gd name="connsiteY92" fmla="*/ 929113 h 2164296"/>
              <a:gd name="connsiteX93" fmla="*/ 100923 w 2205948"/>
              <a:gd name="connsiteY93" fmla="*/ 891013 h 2164296"/>
              <a:gd name="connsiteX94" fmla="*/ 119973 w 2205948"/>
              <a:gd name="connsiteY94" fmla="*/ 848150 h 2164296"/>
              <a:gd name="connsiteX95" fmla="*/ 181885 w 2205948"/>
              <a:gd name="connsiteY95" fmla="*/ 733850 h 2164296"/>
              <a:gd name="connsiteX96" fmla="*/ 243798 w 2205948"/>
              <a:gd name="connsiteY96" fmla="*/ 610025 h 2164296"/>
              <a:gd name="connsiteX97" fmla="*/ 248560 w 2205948"/>
              <a:gd name="connsiteY97" fmla="*/ 581450 h 2164296"/>
              <a:gd name="connsiteX98" fmla="*/ 272373 w 2205948"/>
              <a:gd name="connsiteY98" fmla="*/ 538588 h 2164296"/>
              <a:gd name="connsiteX99" fmla="*/ 286660 w 2205948"/>
              <a:gd name="connsiteY99" fmla="*/ 500488 h 2164296"/>
              <a:gd name="connsiteX100" fmla="*/ 300948 w 2205948"/>
              <a:gd name="connsiteY100" fmla="*/ 471913 h 2164296"/>
              <a:gd name="connsiteX101" fmla="*/ 310473 w 2205948"/>
              <a:gd name="connsiteY101" fmla="*/ 443338 h 2164296"/>
              <a:gd name="connsiteX102" fmla="*/ 319998 w 2205948"/>
              <a:gd name="connsiteY102" fmla="*/ 429050 h 2164296"/>
              <a:gd name="connsiteX103" fmla="*/ 329523 w 2205948"/>
              <a:gd name="connsiteY103" fmla="*/ 405238 h 2164296"/>
              <a:gd name="connsiteX104" fmla="*/ 348573 w 2205948"/>
              <a:gd name="connsiteY104" fmla="*/ 381425 h 2164296"/>
              <a:gd name="connsiteX105" fmla="*/ 367623 w 2205948"/>
              <a:gd name="connsiteY105" fmla="*/ 333800 h 2164296"/>
              <a:gd name="connsiteX106" fmla="*/ 396198 w 2205948"/>
              <a:gd name="connsiteY106" fmla="*/ 290938 h 2164296"/>
              <a:gd name="connsiteX107" fmla="*/ 420010 w 2205948"/>
              <a:gd name="connsiteY107" fmla="*/ 248075 h 2164296"/>
              <a:gd name="connsiteX108" fmla="*/ 434298 w 2205948"/>
              <a:gd name="connsiteY108" fmla="*/ 229025 h 2164296"/>
              <a:gd name="connsiteX109" fmla="*/ 458110 w 2205948"/>
              <a:gd name="connsiteY109" fmla="*/ 214738 h 2164296"/>
              <a:gd name="connsiteX110" fmla="*/ 481923 w 2205948"/>
              <a:gd name="connsiteY110" fmla="*/ 190925 h 2164296"/>
              <a:gd name="connsiteX111" fmla="*/ 496210 w 2205948"/>
              <a:gd name="connsiteY111" fmla="*/ 181400 h 2164296"/>
              <a:gd name="connsiteX112" fmla="*/ 529548 w 2205948"/>
              <a:gd name="connsiteY112" fmla="*/ 143300 h 2164296"/>
              <a:gd name="connsiteX113" fmla="*/ 543835 w 2205948"/>
              <a:gd name="connsiteY113" fmla="*/ 133775 h 2164296"/>
              <a:gd name="connsiteX114" fmla="*/ 653373 w 2205948"/>
              <a:gd name="connsiteY114" fmla="*/ 71863 h 2164296"/>
              <a:gd name="connsiteX115" fmla="*/ 667660 w 2205948"/>
              <a:gd name="connsiteY115" fmla="*/ 52813 h 2164296"/>
              <a:gd name="connsiteX116" fmla="*/ 686710 w 2205948"/>
              <a:gd name="connsiteY116" fmla="*/ 48050 h 2164296"/>
              <a:gd name="connsiteX117" fmla="*/ 710523 w 2205948"/>
              <a:gd name="connsiteY117" fmla="*/ 38525 h 2164296"/>
              <a:gd name="connsiteX118" fmla="*/ 753385 w 2205948"/>
              <a:gd name="connsiteY118" fmla="*/ 24238 h 2164296"/>
              <a:gd name="connsiteX119" fmla="*/ 781960 w 2205948"/>
              <a:gd name="connsiteY119" fmla="*/ 14713 h 2164296"/>
              <a:gd name="connsiteX120" fmla="*/ 829585 w 2205948"/>
              <a:gd name="connsiteY120" fmla="*/ 9950 h 2164296"/>
              <a:gd name="connsiteX121" fmla="*/ 901023 w 2205948"/>
              <a:gd name="connsiteY121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67786 w 2205948"/>
              <a:gd name="connsiteY55" fmla="*/ 189113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96173 w 2205948"/>
              <a:gd name="connsiteY94" fmla="*/ 75290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205948" h="2164296">
                <a:moveTo>
                  <a:pt x="834348" y="425"/>
                </a:moveTo>
                <a:cubicBezTo>
                  <a:pt x="885148" y="2013"/>
                  <a:pt x="935997" y="2445"/>
                  <a:pt x="986748" y="5188"/>
                </a:cubicBezTo>
                <a:cubicBezTo>
                  <a:pt x="994831" y="5625"/>
                  <a:pt x="1002565" y="8688"/>
                  <a:pt x="1010560" y="9950"/>
                </a:cubicBezTo>
                <a:cubicBezTo>
                  <a:pt x="1032736" y="13451"/>
                  <a:pt x="1055010" y="16300"/>
                  <a:pt x="1077235" y="19475"/>
                </a:cubicBezTo>
                <a:cubicBezTo>
                  <a:pt x="1086794" y="20841"/>
                  <a:pt x="1096285" y="22650"/>
                  <a:pt x="1105810" y="24238"/>
                </a:cubicBezTo>
                <a:cubicBezTo>
                  <a:pt x="1113748" y="29000"/>
                  <a:pt x="1121344" y="34385"/>
                  <a:pt x="1129623" y="38525"/>
                </a:cubicBezTo>
                <a:cubicBezTo>
                  <a:pt x="1141985" y="44706"/>
                  <a:pt x="1160282" y="45609"/>
                  <a:pt x="1172485" y="48050"/>
                </a:cubicBezTo>
                <a:cubicBezTo>
                  <a:pt x="1178903" y="49334"/>
                  <a:pt x="1185095" y="51642"/>
                  <a:pt x="1191535" y="52813"/>
                </a:cubicBezTo>
                <a:cubicBezTo>
                  <a:pt x="1202579" y="54821"/>
                  <a:pt x="1213800" y="55730"/>
                  <a:pt x="1224873" y="57575"/>
                </a:cubicBezTo>
                <a:cubicBezTo>
                  <a:pt x="1309563" y="71689"/>
                  <a:pt x="1244912" y="63505"/>
                  <a:pt x="1320123" y="71863"/>
                </a:cubicBezTo>
                <a:cubicBezTo>
                  <a:pt x="1364573" y="80594"/>
                  <a:pt x="1459029" y="102819"/>
                  <a:pt x="1491573" y="109963"/>
                </a:cubicBezTo>
                <a:cubicBezTo>
                  <a:pt x="1524117" y="117107"/>
                  <a:pt x="1507340" y="113831"/>
                  <a:pt x="1515385" y="114725"/>
                </a:cubicBezTo>
                <a:cubicBezTo>
                  <a:pt x="1541305" y="117605"/>
                  <a:pt x="1632093" y="122912"/>
                  <a:pt x="1653498" y="124250"/>
                </a:cubicBezTo>
                <a:cubicBezTo>
                  <a:pt x="1664610" y="125838"/>
                  <a:pt x="1675763" y="127168"/>
                  <a:pt x="1686835" y="129013"/>
                </a:cubicBezTo>
                <a:cubicBezTo>
                  <a:pt x="1694820" y="130344"/>
                  <a:pt x="1702624" y="132705"/>
                  <a:pt x="1710648" y="133775"/>
                </a:cubicBezTo>
                <a:cubicBezTo>
                  <a:pt x="1726462" y="135884"/>
                  <a:pt x="1742398" y="136950"/>
                  <a:pt x="1758273" y="138538"/>
                </a:cubicBezTo>
                <a:cubicBezTo>
                  <a:pt x="1770973" y="143300"/>
                  <a:pt x="1784025" y="147212"/>
                  <a:pt x="1796373" y="152825"/>
                </a:cubicBezTo>
                <a:cubicBezTo>
                  <a:pt x="1801584" y="155193"/>
                  <a:pt x="1805301" y="160340"/>
                  <a:pt x="1810660" y="162350"/>
                </a:cubicBezTo>
                <a:cubicBezTo>
                  <a:pt x="1818239" y="165192"/>
                  <a:pt x="1826535" y="165525"/>
                  <a:pt x="1834473" y="167113"/>
                </a:cubicBezTo>
                <a:cubicBezTo>
                  <a:pt x="1842410" y="171875"/>
                  <a:pt x="1850006" y="177260"/>
                  <a:pt x="1858285" y="181400"/>
                </a:cubicBezTo>
                <a:cubicBezTo>
                  <a:pt x="1865932" y="185223"/>
                  <a:pt x="1874848" y="186394"/>
                  <a:pt x="1882098" y="190925"/>
                </a:cubicBezTo>
                <a:cubicBezTo>
                  <a:pt x="1887809" y="194495"/>
                  <a:pt x="1891271" y="200830"/>
                  <a:pt x="1896385" y="205213"/>
                </a:cubicBezTo>
                <a:cubicBezTo>
                  <a:pt x="1911948" y="218553"/>
                  <a:pt x="1914647" y="218257"/>
                  <a:pt x="1929723" y="229025"/>
                </a:cubicBezTo>
                <a:cubicBezTo>
                  <a:pt x="1947293" y="241575"/>
                  <a:pt x="1968287" y="250538"/>
                  <a:pt x="1982110" y="267125"/>
                </a:cubicBezTo>
                <a:cubicBezTo>
                  <a:pt x="1990048" y="276650"/>
                  <a:pt x="1998484" y="285781"/>
                  <a:pt x="2005923" y="295700"/>
                </a:cubicBezTo>
                <a:cubicBezTo>
                  <a:pt x="2018018" y="311827"/>
                  <a:pt x="2028859" y="330752"/>
                  <a:pt x="2039260" y="348088"/>
                </a:cubicBezTo>
                <a:cubicBezTo>
                  <a:pt x="2066720" y="444198"/>
                  <a:pt x="2031945" y="324314"/>
                  <a:pt x="2058310" y="410000"/>
                </a:cubicBezTo>
                <a:cubicBezTo>
                  <a:pt x="2061709" y="421046"/>
                  <a:pt x="2064514" y="432268"/>
                  <a:pt x="2067835" y="443338"/>
                </a:cubicBezTo>
                <a:cubicBezTo>
                  <a:pt x="2069278" y="448146"/>
                  <a:pt x="2070620" y="453011"/>
                  <a:pt x="2072598" y="457625"/>
                </a:cubicBezTo>
                <a:cubicBezTo>
                  <a:pt x="2075395" y="464150"/>
                  <a:pt x="2078948" y="470325"/>
                  <a:pt x="2082123" y="476675"/>
                </a:cubicBezTo>
                <a:cubicBezTo>
                  <a:pt x="2094919" y="553458"/>
                  <a:pt x="2075163" y="444071"/>
                  <a:pt x="2101173" y="548113"/>
                </a:cubicBezTo>
                <a:cubicBezTo>
                  <a:pt x="2112661" y="594066"/>
                  <a:pt x="2108131" y="573376"/>
                  <a:pt x="2115460" y="610025"/>
                </a:cubicBezTo>
                <a:cubicBezTo>
                  <a:pt x="2117048" y="711625"/>
                  <a:pt x="2113079" y="835450"/>
                  <a:pt x="2120223" y="914825"/>
                </a:cubicBezTo>
                <a:cubicBezTo>
                  <a:pt x="2127367" y="994200"/>
                  <a:pt x="2151179" y="1047381"/>
                  <a:pt x="2158323" y="1086275"/>
                </a:cubicBezTo>
                <a:cubicBezTo>
                  <a:pt x="2165467" y="1125169"/>
                  <a:pt x="2159382" y="1127823"/>
                  <a:pt x="2163085" y="1148188"/>
                </a:cubicBezTo>
                <a:cubicBezTo>
                  <a:pt x="2165779" y="1163005"/>
                  <a:pt x="2172610" y="1176763"/>
                  <a:pt x="2177373" y="1191050"/>
                </a:cubicBezTo>
                <a:cubicBezTo>
                  <a:pt x="2178960" y="1202163"/>
                  <a:pt x="2179611" y="1213450"/>
                  <a:pt x="2182135" y="1224388"/>
                </a:cubicBezTo>
                <a:cubicBezTo>
                  <a:pt x="2191028" y="1262928"/>
                  <a:pt x="2190771" y="1242062"/>
                  <a:pt x="2201185" y="1276775"/>
                </a:cubicBezTo>
                <a:cubicBezTo>
                  <a:pt x="2203511" y="1284528"/>
                  <a:pt x="2204360" y="1292650"/>
                  <a:pt x="2205948" y="1300588"/>
                </a:cubicBezTo>
                <a:cubicBezTo>
                  <a:pt x="2204360" y="1372025"/>
                  <a:pt x="2205642" y="1443584"/>
                  <a:pt x="2201185" y="1514900"/>
                </a:cubicBezTo>
                <a:cubicBezTo>
                  <a:pt x="2200828" y="1520613"/>
                  <a:pt x="2194220" y="1524068"/>
                  <a:pt x="2191660" y="1529188"/>
                </a:cubicBezTo>
                <a:cubicBezTo>
                  <a:pt x="2182397" y="1547715"/>
                  <a:pt x="2191286" y="1541174"/>
                  <a:pt x="2182135" y="1562525"/>
                </a:cubicBezTo>
                <a:cubicBezTo>
                  <a:pt x="2179880" y="1567786"/>
                  <a:pt x="2175785" y="1572050"/>
                  <a:pt x="2172610" y="1576813"/>
                </a:cubicBezTo>
                <a:cubicBezTo>
                  <a:pt x="2171023" y="1584750"/>
                  <a:pt x="2171468" y="1593385"/>
                  <a:pt x="2167848" y="1600625"/>
                </a:cubicBezTo>
                <a:cubicBezTo>
                  <a:pt x="2164836" y="1606649"/>
                  <a:pt x="2157872" y="1609739"/>
                  <a:pt x="2153560" y="1614913"/>
                </a:cubicBezTo>
                <a:cubicBezTo>
                  <a:pt x="2149896" y="1619310"/>
                  <a:pt x="2147838" y="1624922"/>
                  <a:pt x="2144035" y="1629200"/>
                </a:cubicBezTo>
                <a:cubicBezTo>
                  <a:pt x="2135086" y="1639268"/>
                  <a:pt x="2123542" y="1646999"/>
                  <a:pt x="2115460" y="1657775"/>
                </a:cubicBezTo>
                <a:cubicBezTo>
                  <a:pt x="2097739" y="1681404"/>
                  <a:pt x="2107777" y="1672422"/>
                  <a:pt x="2086885" y="1686350"/>
                </a:cubicBezTo>
                <a:cubicBezTo>
                  <a:pt x="2083710" y="1691113"/>
                  <a:pt x="2081407" y="1696590"/>
                  <a:pt x="2077360" y="1700638"/>
                </a:cubicBezTo>
                <a:cubicBezTo>
                  <a:pt x="2073313" y="1704685"/>
                  <a:pt x="2067927" y="1707130"/>
                  <a:pt x="2063073" y="1710163"/>
                </a:cubicBezTo>
                <a:cubicBezTo>
                  <a:pt x="2055223" y="1715069"/>
                  <a:pt x="2046843" y="1719142"/>
                  <a:pt x="2039260" y="1724450"/>
                </a:cubicBezTo>
                <a:cubicBezTo>
                  <a:pt x="2030933" y="1730279"/>
                  <a:pt x="2024432" y="1738744"/>
                  <a:pt x="2015448" y="1743500"/>
                </a:cubicBezTo>
                <a:cubicBezTo>
                  <a:pt x="1989180" y="1757407"/>
                  <a:pt x="1969237" y="1763667"/>
                  <a:pt x="1944010" y="1772075"/>
                </a:cubicBezTo>
                <a:cubicBezTo>
                  <a:pt x="1937660" y="1776838"/>
                  <a:pt x="1931637" y="1782071"/>
                  <a:pt x="1924960" y="1786363"/>
                </a:cubicBezTo>
                <a:cubicBezTo>
                  <a:pt x="1909387" y="1796374"/>
                  <a:pt x="1922578" y="1800651"/>
                  <a:pt x="1877335" y="1814938"/>
                </a:cubicBezTo>
                <a:cubicBezTo>
                  <a:pt x="1832092" y="1829225"/>
                  <a:pt x="1729699" y="1838750"/>
                  <a:pt x="1653499" y="1872087"/>
                </a:cubicBezTo>
                <a:cubicBezTo>
                  <a:pt x="1534436" y="1924474"/>
                  <a:pt x="1467760" y="1984799"/>
                  <a:pt x="1420135" y="2014962"/>
                </a:cubicBezTo>
                <a:cubicBezTo>
                  <a:pt x="1372510" y="2045125"/>
                  <a:pt x="1393576" y="2046605"/>
                  <a:pt x="1367748" y="2053063"/>
                </a:cubicBezTo>
                <a:cubicBezTo>
                  <a:pt x="1362985" y="2056238"/>
                  <a:pt x="1358580" y="2060028"/>
                  <a:pt x="1353460" y="2062588"/>
                </a:cubicBezTo>
                <a:cubicBezTo>
                  <a:pt x="1343699" y="2067468"/>
                  <a:pt x="1324413" y="2070302"/>
                  <a:pt x="1315360" y="2072113"/>
                </a:cubicBezTo>
                <a:cubicBezTo>
                  <a:pt x="1307423" y="2076875"/>
                  <a:pt x="1299975" y="2082570"/>
                  <a:pt x="1291548" y="2086400"/>
                </a:cubicBezTo>
                <a:cubicBezTo>
                  <a:pt x="1272558" y="2095032"/>
                  <a:pt x="1258899" y="2096740"/>
                  <a:pt x="1239160" y="2100688"/>
                </a:cubicBezTo>
                <a:cubicBezTo>
                  <a:pt x="1188848" y="2138420"/>
                  <a:pt x="1253170" y="2094461"/>
                  <a:pt x="1196298" y="2119738"/>
                </a:cubicBezTo>
                <a:cubicBezTo>
                  <a:pt x="1189045" y="2122962"/>
                  <a:pt x="1184187" y="2130170"/>
                  <a:pt x="1177248" y="2134025"/>
                </a:cubicBezTo>
                <a:cubicBezTo>
                  <a:pt x="1151811" y="2148156"/>
                  <a:pt x="1137328" y="2145161"/>
                  <a:pt x="1105810" y="2148313"/>
                </a:cubicBezTo>
                <a:cubicBezTo>
                  <a:pt x="1096285" y="2153075"/>
                  <a:pt x="1087866" y="2161975"/>
                  <a:pt x="1077235" y="2162600"/>
                </a:cubicBezTo>
                <a:cubicBezTo>
                  <a:pt x="1032833" y="2165212"/>
                  <a:pt x="987677" y="2165623"/>
                  <a:pt x="943885" y="2157838"/>
                </a:cubicBezTo>
                <a:cubicBezTo>
                  <a:pt x="849110" y="2140989"/>
                  <a:pt x="888473" y="2132512"/>
                  <a:pt x="834348" y="2105450"/>
                </a:cubicBezTo>
                <a:cubicBezTo>
                  <a:pt x="822216" y="2099384"/>
                  <a:pt x="808380" y="2097229"/>
                  <a:pt x="796248" y="2091163"/>
                </a:cubicBezTo>
                <a:cubicBezTo>
                  <a:pt x="779689" y="2082884"/>
                  <a:pt x="765182" y="2070868"/>
                  <a:pt x="748623" y="2062588"/>
                </a:cubicBezTo>
                <a:cubicBezTo>
                  <a:pt x="711068" y="2043810"/>
                  <a:pt x="730151" y="2051668"/>
                  <a:pt x="691473" y="2038775"/>
                </a:cubicBezTo>
                <a:cubicBezTo>
                  <a:pt x="680360" y="2027663"/>
                  <a:pt x="670011" y="2015730"/>
                  <a:pt x="658135" y="2005438"/>
                </a:cubicBezTo>
                <a:cubicBezTo>
                  <a:pt x="646138" y="1995041"/>
                  <a:pt x="629560" y="1989563"/>
                  <a:pt x="620035" y="1976863"/>
                </a:cubicBezTo>
                <a:cubicBezTo>
                  <a:pt x="615273" y="1970513"/>
                  <a:pt x="610151" y="1964417"/>
                  <a:pt x="605748" y="1957813"/>
                </a:cubicBezTo>
                <a:cubicBezTo>
                  <a:pt x="600613" y="1950111"/>
                  <a:pt x="597104" y="1941337"/>
                  <a:pt x="591460" y="1934000"/>
                </a:cubicBezTo>
                <a:cubicBezTo>
                  <a:pt x="581171" y="1920624"/>
                  <a:pt x="587492" y="1934000"/>
                  <a:pt x="558123" y="1895900"/>
                </a:cubicBezTo>
                <a:cubicBezTo>
                  <a:pt x="528754" y="1857800"/>
                  <a:pt x="441442" y="1740325"/>
                  <a:pt x="415248" y="1705400"/>
                </a:cubicBezTo>
                <a:cubicBezTo>
                  <a:pt x="389054" y="1670475"/>
                  <a:pt x="405512" y="1692853"/>
                  <a:pt x="400960" y="1686350"/>
                </a:cubicBezTo>
                <a:cubicBezTo>
                  <a:pt x="394395" y="1676972"/>
                  <a:pt x="389407" y="1666426"/>
                  <a:pt x="381910" y="1657775"/>
                </a:cubicBezTo>
                <a:lnTo>
                  <a:pt x="324760" y="1600625"/>
                </a:lnTo>
                <a:lnTo>
                  <a:pt x="300948" y="1576813"/>
                </a:lnTo>
                <a:cubicBezTo>
                  <a:pt x="296185" y="1572050"/>
                  <a:pt x="292372" y="1566095"/>
                  <a:pt x="286660" y="1562525"/>
                </a:cubicBezTo>
                <a:lnTo>
                  <a:pt x="248560" y="1538713"/>
                </a:lnTo>
                <a:cubicBezTo>
                  <a:pt x="238416" y="1523496"/>
                  <a:pt x="239416" y="1522972"/>
                  <a:pt x="224748" y="1510138"/>
                </a:cubicBezTo>
                <a:cubicBezTo>
                  <a:pt x="217098" y="1503444"/>
                  <a:pt x="207735" y="1498644"/>
                  <a:pt x="200935" y="1491088"/>
                </a:cubicBezTo>
                <a:cubicBezTo>
                  <a:pt x="193277" y="1482579"/>
                  <a:pt x="189134" y="1471373"/>
                  <a:pt x="181885" y="1462513"/>
                </a:cubicBezTo>
                <a:cubicBezTo>
                  <a:pt x="174777" y="1453825"/>
                  <a:pt x="165465" y="1447148"/>
                  <a:pt x="158073" y="1438700"/>
                </a:cubicBezTo>
                <a:cubicBezTo>
                  <a:pt x="154304" y="1434392"/>
                  <a:pt x="152273" y="1428759"/>
                  <a:pt x="148548" y="1424413"/>
                </a:cubicBezTo>
                <a:cubicBezTo>
                  <a:pt x="142704" y="1417595"/>
                  <a:pt x="142992" y="1425207"/>
                  <a:pt x="129498" y="1405363"/>
                </a:cubicBezTo>
                <a:cubicBezTo>
                  <a:pt x="116004" y="1385519"/>
                  <a:pt x="105355" y="1365096"/>
                  <a:pt x="67585" y="1305350"/>
                </a:cubicBezTo>
                <a:cubicBezTo>
                  <a:pt x="23929" y="1236294"/>
                  <a:pt x="-43540" y="1163268"/>
                  <a:pt x="39010" y="991025"/>
                </a:cubicBezTo>
                <a:cubicBezTo>
                  <a:pt x="121560" y="818782"/>
                  <a:pt x="69200" y="948889"/>
                  <a:pt x="77110" y="929113"/>
                </a:cubicBezTo>
                <a:cubicBezTo>
                  <a:pt x="89136" y="899047"/>
                  <a:pt x="80590" y="911345"/>
                  <a:pt x="100923" y="891013"/>
                </a:cubicBezTo>
                <a:cubicBezTo>
                  <a:pt x="111746" y="869367"/>
                  <a:pt x="104098" y="871169"/>
                  <a:pt x="119973" y="848150"/>
                </a:cubicBezTo>
                <a:cubicBezTo>
                  <a:pt x="135848" y="825131"/>
                  <a:pt x="175536" y="792588"/>
                  <a:pt x="196173" y="752900"/>
                </a:cubicBezTo>
                <a:cubicBezTo>
                  <a:pt x="216811" y="713213"/>
                  <a:pt x="210512" y="665500"/>
                  <a:pt x="243798" y="610025"/>
                </a:cubicBezTo>
                <a:cubicBezTo>
                  <a:pt x="245385" y="600500"/>
                  <a:pt x="245785" y="590699"/>
                  <a:pt x="248560" y="581450"/>
                </a:cubicBezTo>
                <a:cubicBezTo>
                  <a:pt x="252506" y="568297"/>
                  <a:pt x="267104" y="550004"/>
                  <a:pt x="272373" y="538588"/>
                </a:cubicBezTo>
                <a:cubicBezTo>
                  <a:pt x="278057" y="526273"/>
                  <a:pt x="281317" y="512955"/>
                  <a:pt x="286660" y="500488"/>
                </a:cubicBezTo>
                <a:cubicBezTo>
                  <a:pt x="290855" y="490700"/>
                  <a:pt x="296852" y="481743"/>
                  <a:pt x="300948" y="471913"/>
                </a:cubicBezTo>
                <a:cubicBezTo>
                  <a:pt x="304810" y="462645"/>
                  <a:pt x="306395" y="452513"/>
                  <a:pt x="310473" y="443338"/>
                </a:cubicBezTo>
                <a:cubicBezTo>
                  <a:pt x="312798" y="438107"/>
                  <a:pt x="317438" y="434170"/>
                  <a:pt x="319998" y="429050"/>
                </a:cubicBezTo>
                <a:cubicBezTo>
                  <a:pt x="323821" y="421404"/>
                  <a:pt x="325125" y="412569"/>
                  <a:pt x="329523" y="405238"/>
                </a:cubicBezTo>
                <a:cubicBezTo>
                  <a:pt x="334753" y="396522"/>
                  <a:pt x="342223" y="389363"/>
                  <a:pt x="348573" y="381425"/>
                </a:cubicBezTo>
                <a:cubicBezTo>
                  <a:pt x="354406" y="358089"/>
                  <a:pt x="352866" y="358394"/>
                  <a:pt x="367623" y="333800"/>
                </a:cubicBezTo>
                <a:cubicBezTo>
                  <a:pt x="376458" y="319076"/>
                  <a:pt x="388519" y="306296"/>
                  <a:pt x="396198" y="290938"/>
                </a:cubicBezTo>
                <a:cubicBezTo>
                  <a:pt x="405274" y="272786"/>
                  <a:pt x="408053" y="266010"/>
                  <a:pt x="420010" y="248075"/>
                </a:cubicBezTo>
                <a:cubicBezTo>
                  <a:pt x="424413" y="241470"/>
                  <a:pt x="428324" y="234252"/>
                  <a:pt x="434298" y="229025"/>
                </a:cubicBezTo>
                <a:cubicBezTo>
                  <a:pt x="441264" y="222930"/>
                  <a:pt x="450882" y="220520"/>
                  <a:pt x="458110" y="214738"/>
                </a:cubicBezTo>
                <a:cubicBezTo>
                  <a:pt x="466876" y="207725"/>
                  <a:pt x="473475" y="198317"/>
                  <a:pt x="481923" y="190925"/>
                </a:cubicBezTo>
                <a:cubicBezTo>
                  <a:pt x="486230" y="187156"/>
                  <a:pt x="491813" y="185064"/>
                  <a:pt x="496210" y="181400"/>
                </a:cubicBezTo>
                <a:cubicBezTo>
                  <a:pt x="519331" y="162133"/>
                  <a:pt x="503808" y="169040"/>
                  <a:pt x="529548" y="143300"/>
                </a:cubicBezTo>
                <a:cubicBezTo>
                  <a:pt x="533595" y="139253"/>
                  <a:pt x="523197" y="145681"/>
                  <a:pt x="543835" y="133775"/>
                </a:cubicBezTo>
                <a:cubicBezTo>
                  <a:pt x="564473" y="121869"/>
                  <a:pt x="632736" y="85357"/>
                  <a:pt x="653373" y="71863"/>
                </a:cubicBezTo>
                <a:cubicBezTo>
                  <a:pt x="658135" y="65513"/>
                  <a:pt x="661201" y="57427"/>
                  <a:pt x="667660" y="52813"/>
                </a:cubicBezTo>
                <a:cubicBezTo>
                  <a:pt x="672986" y="49008"/>
                  <a:pt x="680500" y="50120"/>
                  <a:pt x="686710" y="48050"/>
                </a:cubicBezTo>
                <a:cubicBezTo>
                  <a:pt x="694820" y="45346"/>
                  <a:pt x="702711" y="41997"/>
                  <a:pt x="710523" y="38525"/>
                </a:cubicBezTo>
                <a:cubicBezTo>
                  <a:pt x="756752" y="17979"/>
                  <a:pt x="699878" y="38831"/>
                  <a:pt x="753385" y="24238"/>
                </a:cubicBezTo>
                <a:cubicBezTo>
                  <a:pt x="763071" y="21596"/>
                  <a:pt x="772092" y="16563"/>
                  <a:pt x="781960" y="14713"/>
                </a:cubicBezTo>
                <a:cubicBezTo>
                  <a:pt x="797641" y="11773"/>
                  <a:pt x="813710" y="11538"/>
                  <a:pt x="829585" y="9950"/>
                </a:cubicBezTo>
                <a:cubicBezTo>
                  <a:pt x="875134" y="-3064"/>
                  <a:pt x="851366" y="425"/>
                  <a:pt x="901023" y="425"/>
                </a:cubicBezTo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6" name="Graphic 20">
            <a:extLst>
              <a:ext uri="{FF2B5EF4-FFF2-40B4-BE49-F238E27FC236}">
                <a16:creationId xmlns:a16="http://schemas.microsoft.com/office/drawing/2014/main" id="{05278CB4-128C-1B68-AD93-1C0A4BBD36B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114085" y="3843646"/>
            <a:ext cx="246978" cy="246978"/>
          </a:xfrm>
          <a:prstGeom prst="rect">
            <a:avLst/>
          </a:prstGeom>
        </p:spPr>
      </p:pic>
      <p:sp>
        <p:nvSpPr>
          <p:cNvPr id="38" name="Flowchart: Alternate Process 30">
            <a:extLst>
              <a:ext uri="{FF2B5EF4-FFF2-40B4-BE49-F238E27FC236}">
                <a16:creationId xmlns:a16="http://schemas.microsoft.com/office/drawing/2014/main" id="{D4CD8D45-864D-7620-0314-84E38189A463}"/>
              </a:ext>
            </a:extLst>
          </p:cNvPr>
          <p:cNvSpPr/>
          <p:nvPr/>
        </p:nvSpPr>
        <p:spPr>
          <a:xfrm>
            <a:off x="896419" y="4602341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ivskvalitet og sundhed</a:t>
            </a:r>
          </a:p>
        </p:txBody>
      </p:sp>
      <p:grpSp>
        <p:nvGrpSpPr>
          <p:cNvPr id="39" name="Group 183">
            <a:extLst>
              <a:ext uri="{FF2B5EF4-FFF2-40B4-BE49-F238E27FC236}">
                <a16:creationId xmlns:a16="http://schemas.microsoft.com/office/drawing/2014/main" id="{109DC5C6-4B08-782A-16ED-AD1E1E38D655}"/>
              </a:ext>
            </a:extLst>
          </p:cNvPr>
          <p:cNvGrpSpPr/>
          <p:nvPr/>
        </p:nvGrpSpPr>
        <p:grpSpPr>
          <a:xfrm>
            <a:off x="608511" y="4582519"/>
            <a:ext cx="265490" cy="271818"/>
            <a:chOff x="4391901" y="5167205"/>
            <a:chExt cx="297751" cy="304848"/>
          </a:xfrm>
        </p:grpSpPr>
        <p:sp>
          <p:nvSpPr>
            <p:cNvPr id="40" name="Freeform: Shape 327">
              <a:extLst>
                <a:ext uri="{FF2B5EF4-FFF2-40B4-BE49-F238E27FC236}">
                  <a16:creationId xmlns:a16="http://schemas.microsoft.com/office/drawing/2014/main" id="{8988BBCD-BEE8-275F-AEEC-63AB48A95B26}"/>
                </a:ext>
              </a:extLst>
            </p:cNvPr>
            <p:cNvSpPr/>
            <p:nvPr/>
          </p:nvSpPr>
          <p:spPr>
            <a:xfrm>
              <a:off x="4409752" y="5231119"/>
              <a:ext cx="242648" cy="240934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43" name="Graphic 58">
              <a:extLst>
                <a:ext uri="{FF2B5EF4-FFF2-40B4-BE49-F238E27FC236}">
                  <a16:creationId xmlns:a16="http://schemas.microsoft.com/office/drawing/2014/main" id="{49242E43-FE54-1431-FE12-7B1D9F4696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4391901" y="5167205"/>
              <a:ext cx="297751" cy="297751"/>
            </a:xfrm>
            <a:prstGeom prst="rect">
              <a:avLst/>
            </a:prstGeom>
          </p:spPr>
        </p:pic>
      </p:grpSp>
      <p:pic>
        <p:nvPicPr>
          <p:cNvPr id="52" name="Grafik 51">
            <a:extLst>
              <a:ext uri="{FF2B5EF4-FFF2-40B4-BE49-F238E27FC236}">
                <a16:creationId xmlns:a16="http://schemas.microsoft.com/office/drawing/2014/main" id="{07A45FDE-0E54-A54E-2E71-45671A7103A3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7454280" y="5845201"/>
            <a:ext cx="283767" cy="283767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8F5111C3-3B15-72E8-93E3-5E25CDAFBFB5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622746" y="4245710"/>
            <a:ext cx="280573" cy="280573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24402BE1-A4E0-8066-B940-4D4135ABEDA6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608511" y="3935461"/>
            <a:ext cx="289669" cy="289669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8AC78F91-D9D6-0A6A-0428-C993873EC701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7071508" y="4129053"/>
            <a:ext cx="295728" cy="295728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01D887C7-6D90-1752-1FD8-D570637D8E57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608511" y="4851168"/>
            <a:ext cx="331456" cy="331456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D1B3810F-2FD4-6468-E504-129CC40B4D06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34030" y="5857920"/>
            <a:ext cx="331456" cy="331456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5325D0BD-3780-CD05-21E1-B9B35E3F78A9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7126639" y="2603280"/>
            <a:ext cx="258866" cy="258866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B0832B14-FA7B-7F71-A2AD-012EC32409B2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7119746" y="2295099"/>
            <a:ext cx="265129" cy="265129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0F4793B8-F03C-E782-C87F-D066AB866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371471"/>
            <a:ext cx="11712257" cy="1030292"/>
          </a:xfrm>
        </p:spPr>
        <p:txBody>
          <a:bodyPr/>
          <a:lstStyle/>
          <a:p>
            <a:r>
              <a:rPr lang="da-DK">
                <a:latin typeface="Verdana" panose="020B0604030504040204" pitchFamily="34" charset="0"/>
                <a:ea typeface="Verdana" panose="020B0604030504040204" pitchFamily="34" charset="0"/>
              </a:rPr>
              <a:t>Det meste data får I leveret af Landsbyggefonden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F5D3A8EA-9590-EE6A-D5CF-AB46A4B9A7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Resten er så simpelt som muligt og med vejledning hele vejen</a:t>
            </a:r>
          </a:p>
        </p:txBody>
      </p:sp>
      <p:sp>
        <p:nvSpPr>
          <p:cNvPr id="16" name="Flowchart: Alternate Process 30">
            <a:extLst>
              <a:ext uri="{FF2B5EF4-FFF2-40B4-BE49-F238E27FC236}">
                <a16:creationId xmlns:a16="http://schemas.microsoft.com/office/drawing/2014/main" id="{373C978B-4387-7F1D-6065-4F6BC83D2AFE}"/>
              </a:ext>
            </a:extLst>
          </p:cNvPr>
          <p:cNvSpPr/>
          <p:nvPr/>
        </p:nvSpPr>
        <p:spPr>
          <a:xfrm>
            <a:off x="7414943" y="2955708"/>
            <a:ext cx="2904152" cy="217382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5995" rtlCol="0" anchor="ctr"/>
          <a:lstStyle/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ivschancer</a:t>
            </a:r>
          </a:p>
          <a:p>
            <a:pPr marL="0" marR="0" lvl="0" indent="0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Indikator for udsættelser)</a:t>
            </a:r>
            <a:endParaRPr kumimoji="0" lang="da-DK" sz="8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17" name="Grafik 52">
            <a:extLst>
              <a:ext uri="{FF2B5EF4-FFF2-40B4-BE49-F238E27FC236}">
                <a16:creationId xmlns:a16="http://schemas.microsoft.com/office/drawing/2014/main" id="{B27A3E3F-78EE-0217-9E55-C17E9D08A2DC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114085" y="2955708"/>
            <a:ext cx="280573" cy="280573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261B4768-4D06-CC4C-9E3A-5D8D04FD92ED}"/>
              </a:ext>
            </a:extLst>
          </p:cNvPr>
          <p:cNvGrpSpPr/>
          <p:nvPr/>
        </p:nvGrpSpPr>
        <p:grpSpPr>
          <a:xfrm>
            <a:off x="10200505" y="2760602"/>
            <a:ext cx="1091226" cy="846139"/>
            <a:chOff x="421888" y="5146939"/>
            <a:chExt cx="1313512" cy="972605"/>
          </a:xfrm>
        </p:grpSpPr>
        <p:grpSp>
          <p:nvGrpSpPr>
            <p:cNvPr id="19" name="Group 80">
              <a:extLst>
                <a:ext uri="{FF2B5EF4-FFF2-40B4-BE49-F238E27FC236}">
                  <a16:creationId xmlns:a16="http://schemas.microsoft.com/office/drawing/2014/main" id="{2BE40A3B-514F-A4BC-004D-37796F7C7FC2}"/>
                </a:ext>
              </a:extLst>
            </p:cNvPr>
            <p:cNvGrpSpPr/>
            <p:nvPr/>
          </p:nvGrpSpPr>
          <p:grpSpPr>
            <a:xfrm>
              <a:off x="421888" y="5146939"/>
              <a:ext cx="1313512" cy="972605"/>
              <a:chOff x="568143" y="2449513"/>
              <a:chExt cx="4839770" cy="3484739"/>
            </a:xfrm>
          </p:grpSpPr>
          <p:grpSp>
            <p:nvGrpSpPr>
              <p:cNvPr id="21" name="Group 81">
                <a:extLst>
                  <a:ext uri="{FF2B5EF4-FFF2-40B4-BE49-F238E27FC236}">
                    <a16:creationId xmlns:a16="http://schemas.microsoft.com/office/drawing/2014/main" id="{5D797B05-55B2-9DA0-8112-C69CCD4D6E7F}"/>
                  </a:ext>
                </a:extLst>
              </p:cNvPr>
              <p:cNvGrpSpPr/>
              <p:nvPr/>
            </p:nvGrpSpPr>
            <p:grpSpPr>
              <a:xfrm>
                <a:off x="568143" y="2449513"/>
                <a:ext cx="4839770" cy="3484739"/>
                <a:chOff x="5825943" y="2209357"/>
                <a:chExt cx="4839770" cy="3484739"/>
              </a:xfrm>
            </p:grpSpPr>
            <p:sp>
              <p:nvSpPr>
                <p:cNvPr id="96" name="Freeform: Shape 127">
                  <a:extLst>
                    <a:ext uri="{FF2B5EF4-FFF2-40B4-BE49-F238E27FC236}">
                      <a16:creationId xmlns:a16="http://schemas.microsoft.com/office/drawing/2014/main" id="{15BB5C51-52AA-C2A6-6A8A-FA4963582A64}"/>
                    </a:ext>
                  </a:extLst>
                </p:cNvPr>
                <p:cNvSpPr/>
                <p:nvPr/>
              </p:nvSpPr>
              <p:spPr>
                <a:xfrm>
                  <a:off x="7087743" y="4994509"/>
                  <a:ext cx="2316170" cy="699587"/>
                </a:xfrm>
                <a:custGeom>
                  <a:avLst/>
                  <a:gdLst>
                    <a:gd name="connsiteX0" fmla="*/ 1037649 w 2316170"/>
                    <a:gd name="connsiteY0" fmla="*/ 21198 h 699587"/>
                    <a:gd name="connsiteX1" fmla="*/ 1294824 w 2316170"/>
                    <a:gd name="connsiteY1" fmla="*/ 11673 h 699587"/>
                    <a:gd name="connsiteX2" fmla="*/ 1290062 w 2316170"/>
                    <a:gd name="connsiteY2" fmla="*/ 78348 h 699587"/>
                    <a:gd name="connsiteX3" fmla="*/ 1280537 w 2316170"/>
                    <a:gd name="connsiteY3" fmla="*/ 426010 h 699587"/>
                    <a:gd name="connsiteX4" fmla="*/ 1294824 w 2316170"/>
                    <a:gd name="connsiteY4" fmla="*/ 530785 h 699587"/>
                    <a:gd name="connsiteX5" fmla="*/ 1361499 w 2316170"/>
                    <a:gd name="connsiteY5" fmla="*/ 535548 h 699587"/>
                    <a:gd name="connsiteX6" fmla="*/ 1728212 w 2316170"/>
                    <a:gd name="connsiteY6" fmla="*/ 545073 h 699587"/>
                    <a:gd name="connsiteX7" fmla="*/ 1971099 w 2316170"/>
                    <a:gd name="connsiteY7" fmla="*/ 540310 h 699587"/>
                    <a:gd name="connsiteX8" fmla="*/ 2290187 w 2316170"/>
                    <a:gd name="connsiteY8" fmla="*/ 549835 h 699587"/>
                    <a:gd name="connsiteX9" fmla="*/ 2271137 w 2316170"/>
                    <a:gd name="connsiteY9" fmla="*/ 687948 h 699587"/>
                    <a:gd name="connsiteX10" fmla="*/ 1742499 w 2316170"/>
                    <a:gd name="connsiteY10" fmla="*/ 687948 h 699587"/>
                    <a:gd name="connsiteX11" fmla="*/ 1285299 w 2316170"/>
                    <a:gd name="connsiteY11" fmla="*/ 673660 h 699587"/>
                    <a:gd name="connsiteX12" fmla="*/ 23237 w 2316170"/>
                    <a:gd name="connsiteY12" fmla="*/ 654610 h 699587"/>
                    <a:gd name="connsiteX13" fmla="*/ 13712 w 2316170"/>
                    <a:gd name="connsiteY13" fmla="*/ 554598 h 699587"/>
                    <a:gd name="connsiteX14" fmla="*/ 123250 w 2316170"/>
                    <a:gd name="connsiteY14" fmla="*/ 516498 h 699587"/>
                    <a:gd name="connsiteX15" fmla="*/ 813812 w 2316170"/>
                    <a:gd name="connsiteY15" fmla="*/ 535548 h 699587"/>
                    <a:gd name="connsiteX16" fmla="*/ 999549 w 2316170"/>
                    <a:gd name="connsiteY16" fmla="*/ 530786 h 699587"/>
                    <a:gd name="connsiteX17" fmla="*/ 1037649 w 2316170"/>
                    <a:gd name="connsiteY17" fmla="*/ 430773 h 699587"/>
                    <a:gd name="connsiteX18" fmla="*/ 1028124 w 2316170"/>
                    <a:gd name="connsiteY18" fmla="*/ 216460 h 699587"/>
                    <a:gd name="connsiteX19" fmla="*/ 1037649 w 2316170"/>
                    <a:gd name="connsiteY19" fmla="*/ 21198 h 699587"/>
                    <a:gd name="connsiteX20" fmla="*/ 1042895 w 2344523"/>
                    <a:gd name="connsiteY20" fmla="*/ 21198 h 706212"/>
                    <a:gd name="connsiteX21" fmla="*/ 1042895 w 2344523"/>
                    <a:gd name="connsiteY21" fmla="*/ 21198 h 706998"/>
                    <a:gd name="connsiteX22" fmla="*/ 1030095 w 2331723"/>
                    <a:gd name="connsiteY22" fmla="*/ 21198 h 706998"/>
                    <a:gd name="connsiteX23" fmla="*/ 1030095 w 2331723"/>
                    <a:gd name="connsiteY23" fmla="*/ 21198 h 715055"/>
                    <a:gd name="connsiteX24" fmla="*/ 1030095 w 2331723"/>
                    <a:gd name="connsiteY24" fmla="*/ 21198 h 721285"/>
                    <a:gd name="connsiteX25" fmla="*/ 1030095 w 2331723"/>
                    <a:gd name="connsiteY25" fmla="*/ 21198 h 721285"/>
                    <a:gd name="connsiteX26" fmla="*/ 1030095 w 2331723"/>
                    <a:gd name="connsiteY26" fmla="*/ 21198 h 721285"/>
                    <a:gd name="connsiteX27" fmla="*/ 1030095 w 2331723"/>
                    <a:gd name="connsiteY27" fmla="*/ 21198 h 721285"/>
                    <a:gd name="connsiteX28" fmla="*/ 1030095 w 2325718"/>
                    <a:gd name="connsiteY28" fmla="*/ 21198 h 721285"/>
                    <a:gd name="connsiteX29" fmla="*/ 1030095 w 2325718"/>
                    <a:gd name="connsiteY29" fmla="*/ 21198 h 721285"/>
                    <a:gd name="connsiteX30" fmla="*/ 1030095 w 2325718"/>
                    <a:gd name="connsiteY30" fmla="*/ 21198 h 721285"/>
                    <a:gd name="connsiteX31" fmla="*/ 1030095 w 2316661"/>
                    <a:gd name="connsiteY31" fmla="*/ 21198 h 721285"/>
                    <a:gd name="connsiteX32" fmla="*/ 1030095 w 2306667"/>
                    <a:gd name="connsiteY32" fmla="*/ 21198 h 721285"/>
                    <a:gd name="connsiteX33" fmla="*/ 1030095 w 2308157"/>
                    <a:gd name="connsiteY33" fmla="*/ 21198 h 721285"/>
                    <a:gd name="connsiteX34" fmla="*/ 1030095 w 2316107"/>
                    <a:gd name="connsiteY34" fmla="*/ 21198 h 721285"/>
                    <a:gd name="connsiteX35" fmla="*/ 1030095 w 2315970"/>
                    <a:gd name="connsiteY35" fmla="*/ 21198 h 721285"/>
                    <a:gd name="connsiteX36" fmla="*/ 1030095 w 2315970"/>
                    <a:gd name="connsiteY36" fmla="*/ 21198 h 721285"/>
                    <a:gd name="connsiteX37" fmla="*/ 1030095 w 2315970"/>
                    <a:gd name="connsiteY37" fmla="*/ 21198 h 721285"/>
                    <a:gd name="connsiteX38" fmla="*/ 1030095 w 2315970"/>
                    <a:gd name="connsiteY38" fmla="*/ 21198 h 721285"/>
                    <a:gd name="connsiteX39" fmla="*/ 1030095 w 2315970"/>
                    <a:gd name="connsiteY39" fmla="*/ 21198 h 721285"/>
                    <a:gd name="connsiteX40" fmla="*/ 1030095 w 2315970"/>
                    <a:gd name="connsiteY40" fmla="*/ 21198 h 721285"/>
                    <a:gd name="connsiteX41" fmla="*/ 1030095 w 2315970"/>
                    <a:gd name="connsiteY41" fmla="*/ 21198 h 721285"/>
                    <a:gd name="connsiteX42" fmla="*/ 1030095 w 2315970"/>
                    <a:gd name="connsiteY42" fmla="*/ 21198 h 721285"/>
                    <a:gd name="connsiteX43" fmla="*/ 1030095 w 2315970"/>
                    <a:gd name="connsiteY43" fmla="*/ 15546 h 715633"/>
                    <a:gd name="connsiteX44" fmla="*/ 1030095 w 2315970"/>
                    <a:gd name="connsiteY44" fmla="*/ 15546 h 715633"/>
                    <a:gd name="connsiteX45" fmla="*/ 1030095 w 2315970"/>
                    <a:gd name="connsiteY45" fmla="*/ 15546 h 715633"/>
                    <a:gd name="connsiteX46" fmla="*/ 1030095 w 2315970"/>
                    <a:gd name="connsiteY46" fmla="*/ 15549 h 715636"/>
                    <a:gd name="connsiteX47" fmla="*/ 1020570 w 2315970"/>
                    <a:gd name="connsiteY47" fmla="*/ 1257 h 715632"/>
                    <a:gd name="connsiteX48" fmla="*/ 1006283 w 2315970"/>
                    <a:gd name="connsiteY48" fmla="*/ 5467 h 715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316170" h="699587">
                      <a:moveTo>
                        <a:pt x="1037649" y="21198"/>
                      </a:moveTo>
                      <a:cubicBezTo>
                        <a:pt x="1082099" y="-12933"/>
                        <a:pt x="1252755" y="2148"/>
                        <a:pt x="1294824" y="11673"/>
                      </a:cubicBezTo>
                      <a:cubicBezTo>
                        <a:pt x="1336893" y="21198"/>
                        <a:pt x="1292443" y="9292"/>
                        <a:pt x="1290062" y="78348"/>
                      </a:cubicBezTo>
                      <a:cubicBezTo>
                        <a:pt x="1287681" y="147404"/>
                        <a:pt x="1279743" y="350604"/>
                        <a:pt x="1280537" y="426010"/>
                      </a:cubicBezTo>
                      <a:cubicBezTo>
                        <a:pt x="1280774" y="432897"/>
                        <a:pt x="1290479" y="530475"/>
                        <a:pt x="1294824" y="530785"/>
                      </a:cubicBezTo>
                      <a:lnTo>
                        <a:pt x="1361499" y="535548"/>
                      </a:lnTo>
                      <a:lnTo>
                        <a:pt x="1728212" y="545073"/>
                      </a:lnTo>
                      <a:cubicBezTo>
                        <a:pt x="1809101" y="541281"/>
                        <a:pt x="1890137" y="541898"/>
                        <a:pt x="1971099" y="540310"/>
                      </a:cubicBezTo>
                      <a:cubicBezTo>
                        <a:pt x="2077462" y="543485"/>
                        <a:pt x="2240181" y="525229"/>
                        <a:pt x="2290187" y="549835"/>
                      </a:cubicBezTo>
                      <a:cubicBezTo>
                        <a:pt x="2340193" y="574441"/>
                        <a:pt x="2309191" y="674301"/>
                        <a:pt x="2271137" y="687948"/>
                      </a:cubicBezTo>
                      <a:cubicBezTo>
                        <a:pt x="2183700" y="719305"/>
                        <a:pt x="1906805" y="676042"/>
                        <a:pt x="1742499" y="687948"/>
                      </a:cubicBezTo>
                      <a:cubicBezTo>
                        <a:pt x="1578605" y="699824"/>
                        <a:pt x="1571843" y="679216"/>
                        <a:pt x="1285299" y="673660"/>
                      </a:cubicBezTo>
                      <a:lnTo>
                        <a:pt x="23237" y="654610"/>
                      </a:lnTo>
                      <a:cubicBezTo>
                        <a:pt x="-9307" y="663341"/>
                        <a:pt x="-2957" y="577617"/>
                        <a:pt x="13712" y="554598"/>
                      </a:cubicBezTo>
                      <a:cubicBezTo>
                        <a:pt x="30381" y="531579"/>
                        <a:pt x="-10100" y="519673"/>
                        <a:pt x="123250" y="516498"/>
                      </a:cubicBezTo>
                      <a:cubicBezTo>
                        <a:pt x="395067" y="546697"/>
                        <a:pt x="667762" y="533167"/>
                        <a:pt x="813812" y="535548"/>
                      </a:cubicBezTo>
                      <a:cubicBezTo>
                        <a:pt x="959862" y="537929"/>
                        <a:pt x="923349" y="533961"/>
                        <a:pt x="999549" y="530786"/>
                      </a:cubicBezTo>
                      <a:cubicBezTo>
                        <a:pt x="1036855" y="513323"/>
                        <a:pt x="1032887" y="483161"/>
                        <a:pt x="1037649" y="430773"/>
                      </a:cubicBezTo>
                      <a:cubicBezTo>
                        <a:pt x="1042411" y="378385"/>
                        <a:pt x="1028124" y="284722"/>
                        <a:pt x="1028124" y="216460"/>
                      </a:cubicBezTo>
                      <a:cubicBezTo>
                        <a:pt x="1028124" y="148198"/>
                        <a:pt x="993199" y="55329"/>
                        <a:pt x="1037649" y="21198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7" name="Freeform: Shape 128">
                  <a:extLst>
                    <a:ext uri="{FF2B5EF4-FFF2-40B4-BE49-F238E27FC236}">
                      <a16:creationId xmlns:a16="http://schemas.microsoft.com/office/drawing/2014/main" id="{DE53085E-0F94-7B8D-12CF-141E17128094}"/>
                    </a:ext>
                  </a:extLst>
                </p:cNvPr>
                <p:cNvSpPr/>
                <p:nvPr/>
              </p:nvSpPr>
              <p:spPr>
                <a:xfrm>
                  <a:off x="7087743" y="4994509"/>
                  <a:ext cx="2316170" cy="699587"/>
                </a:xfrm>
                <a:custGeom>
                  <a:avLst/>
                  <a:gdLst>
                    <a:gd name="connsiteX0" fmla="*/ 1037649 w 2316170"/>
                    <a:gd name="connsiteY0" fmla="*/ 21198 h 699587"/>
                    <a:gd name="connsiteX1" fmla="*/ 1294824 w 2316170"/>
                    <a:gd name="connsiteY1" fmla="*/ 11673 h 699587"/>
                    <a:gd name="connsiteX2" fmla="*/ 1290062 w 2316170"/>
                    <a:gd name="connsiteY2" fmla="*/ 78348 h 699587"/>
                    <a:gd name="connsiteX3" fmla="*/ 1280537 w 2316170"/>
                    <a:gd name="connsiteY3" fmla="*/ 426010 h 699587"/>
                    <a:gd name="connsiteX4" fmla="*/ 1294824 w 2316170"/>
                    <a:gd name="connsiteY4" fmla="*/ 530785 h 699587"/>
                    <a:gd name="connsiteX5" fmla="*/ 1361499 w 2316170"/>
                    <a:gd name="connsiteY5" fmla="*/ 535548 h 699587"/>
                    <a:gd name="connsiteX6" fmla="*/ 1728212 w 2316170"/>
                    <a:gd name="connsiteY6" fmla="*/ 545073 h 699587"/>
                    <a:gd name="connsiteX7" fmla="*/ 1971099 w 2316170"/>
                    <a:gd name="connsiteY7" fmla="*/ 540310 h 699587"/>
                    <a:gd name="connsiteX8" fmla="*/ 2290187 w 2316170"/>
                    <a:gd name="connsiteY8" fmla="*/ 549835 h 699587"/>
                    <a:gd name="connsiteX9" fmla="*/ 2271137 w 2316170"/>
                    <a:gd name="connsiteY9" fmla="*/ 687948 h 699587"/>
                    <a:gd name="connsiteX10" fmla="*/ 1742499 w 2316170"/>
                    <a:gd name="connsiteY10" fmla="*/ 687948 h 699587"/>
                    <a:gd name="connsiteX11" fmla="*/ 1285299 w 2316170"/>
                    <a:gd name="connsiteY11" fmla="*/ 673660 h 699587"/>
                    <a:gd name="connsiteX12" fmla="*/ 23237 w 2316170"/>
                    <a:gd name="connsiteY12" fmla="*/ 654610 h 699587"/>
                    <a:gd name="connsiteX13" fmla="*/ 13712 w 2316170"/>
                    <a:gd name="connsiteY13" fmla="*/ 554598 h 699587"/>
                    <a:gd name="connsiteX14" fmla="*/ 123250 w 2316170"/>
                    <a:gd name="connsiteY14" fmla="*/ 516498 h 699587"/>
                    <a:gd name="connsiteX15" fmla="*/ 813812 w 2316170"/>
                    <a:gd name="connsiteY15" fmla="*/ 535548 h 699587"/>
                    <a:gd name="connsiteX16" fmla="*/ 999549 w 2316170"/>
                    <a:gd name="connsiteY16" fmla="*/ 530786 h 699587"/>
                    <a:gd name="connsiteX17" fmla="*/ 1037649 w 2316170"/>
                    <a:gd name="connsiteY17" fmla="*/ 430773 h 699587"/>
                    <a:gd name="connsiteX18" fmla="*/ 1028124 w 2316170"/>
                    <a:gd name="connsiteY18" fmla="*/ 216460 h 699587"/>
                    <a:gd name="connsiteX19" fmla="*/ 1037649 w 2316170"/>
                    <a:gd name="connsiteY19" fmla="*/ 21198 h 699587"/>
                    <a:gd name="connsiteX20" fmla="*/ 1042895 w 2344523"/>
                    <a:gd name="connsiteY20" fmla="*/ 21198 h 706212"/>
                    <a:gd name="connsiteX21" fmla="*/ 1042895 w 2344523"/>
                    <a:gd name="connsiteY21" fmla="*/ 21198 h 706998"/>
                    <a:gd name="connsiteX22" fmla="*/ 1030095 w 2331723"/>
                    <a:gd name="connsiteY22" fmla="*/ 21198 h 706998"/>
                    <a:gd name="connsiteX23" fmla="*/ 1030095 w 2331723"/>
                    <a:gd name="connsiteY23" fmla="*/ 21198 h 715055"/>
                    <a:gd name="connsiteX24" fmla="*/ 1030095 w 2331723"/>
                    <a:gd name="connsiteY24" fmla="*/ 21198 h 721285"/>
                    <a:gd name="connsiteX25" fmla="*/ 1030095 w 2331723"/>
                    <a:gd name="connsiteY25" fmla="*/ 21198 h 721285"/>
                    <a:gd name="connsiteX26" fmla="*/ 1030095 w 2331723"/>
                    <a:gd name="connsiteY26" fmla="*/ 21198 h 721285"/>
                    <a:gd name="connsiteX27" fmla="*/ 1030095 w 2331723"/>
                    <a:gd name="connsiteY27" fmla="*/ 21198 h 721285"/>
                    <a:gd name="connsiteX28" fmla="*/ 1030095 w 2325718"/>
                    <a:gd name="connsiteY28" fmla="*/ 21198 h 721285"/>
                    <a:gd name="connsiteX29" fmla="*/ 1030095 w 2325718"/>
                    <a:gd name="connsiteY29" fmla="*/ 21198 h 721285"/>
                    <a:gd name="connsiteX30" fmla="*/ 1030095 w 2325718"/>
                    <a:gd name="connsiteY30" fmla="*/ 21198 h 721285"/>
                    <a:gd name="connsiteX31" fmla="*/ 1030095 w 2316661"/>
                    <a:gd name="connsiteY31" fmla="*/ 21198 h 721285"/>
                    <a:gd name="connsiteX32" fmla="*/ 1030095 w 2306667"/>
                    <a:gd name="connsiteY32" fmla="*/ 21198 h 721285"/>
                    <a:gd name="connsiteX33" fmla="*/ 1030095 w 2308157"/>
                    <a:gd name="connsiteY33" fmla="*/ 21198 h 721285"/>
                    <a:gd name="connsiteX34" fmla="*/ 1030095 w 2316107"/>
                    <a:gd name="connsiteY34" fmla="*/ 21198 h 721285"/>
                    <a:gd name="connsiteX35" fmla="*/ 1030095 w 2315970"/>
                    <a:gd name="connsiteY35" fmla="*/ 21198 h 721285"/>
                    <a:gd name="connsiteX36" fmla="*/ 1030095 w 2315970"/>
                    <a:gd name="connsiteY36" fmla="*/ 21198 h 721285"/>
                    <a:gd name="connsiteX37" fmla="*/ 1030095 w 2315970"/>
                    <a:gd name="connsiteY37" fmla="*/ 21198 h 721285"/>
                    <a:gd name="connsiteX38" fmla="*/ 1030095 w 2315970"/>
                    <a:gd name="connsiteY38" fmla="*/ 21198 h 721285"/>
                    <a:gd name="connsiteX39" fmla="*/ 1030095 w 2315970"/>
                    <a:gd name="connsiteY39" fmla="*/ 21198 h 721285"/>
                    <a:gd name="connsiteX40" fmla="*/ 1030095 w 2315970"/>
                    <a:gd name="connsiteY40" fmla="*/ 21198 h 721285"/>
                    <a:gd name="connsiteX41" fmla="*/ 1030095 w 2315970"/>
                    <a:gd name="connsiteY41" fmla="*/ 21198 h 721285"/>
                    <a:gd name="connsiteX42" fmla="*/ 1030095 w 2315970"/>
                    <a:gd name="connsiteY42" fmla="*/ 21198 h 721285"/>
                    <a:gd name="connsiteX43" fmla="*/ 1030095 w 2315970"/>
                    <a:gd name="connsiteY43" fmla="*/ 15546 h 715633"/>
                    <a:gd name="connsiteX44" fmla="*/ 1030095 w 2315970"/>
                    <a:gd name="connsiteY44" fmla="*/ 15546 h 715633"/>
                    <a:gd name="connsiteX45" fmla="*/ 1030095 w 2315970"/>
                    <a:gd name="connsiteY45" fmla="*/ 15546 h 715633"/>
                    <a:gd name="connsiteX46" fmla="*/ 1030095 w 2315970"/>
                    <a:gd name="connsiteY46" fmla="*/ 15549 h 715636"/>
                    <a:gd name="connsiteX47" fmla="*/ 1020570 w 2315970"/>
                    <a:gd name="connsiteY47" fmla="*/ 1257 h 715632"/>
                    <a:gd name="connsiteX48" fmla="*/ 1006283 w 2315970"/>
                    <a:gd name="connsiteY48" fmla="*/ 5467 h 715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316170" h="699587">
                      <a:moveTo>
                        <a:pt x="1037649" y="21198"/>
                      </a:moveTo>
                      <a:cubicBezTo>
                        <a:pt x="1082099" y="-12933"/>
                        <a:pt x="1252755" y="2148"/>
                        <a:pt x="1294824" y="11673"/>
                      </a:cubicBezTo>
                      <a:cubicBezTo>
                        <a:pt x="1336893" y="21198"/>
                        <a:pt x="1292443" y="9292"/>
                        <a:pt x="1290062" y="78348"/>
                      </a:cubicBezTo>
                      <a:cubicBezTo>
                        <a:pt x="1287681" y="147404"/>
                        <a:pt x="1279743" y="350604"/>
                        <a:pt x="1280537" y="426010"/>
                      </a:cubicBezTo>
                      <a:cubicBezTo>
                        <a:pt x="1280774" y="432897"/>
                        <a:pt x="1290479" y="530475"/>
                        <a:pt x="1294824" y="530785"/>
                      </a:cubicBezTo>
                      <a:lnTo>
                        <a:pt x="1361499" y="535548"/>
                      </a:lnTo>
                      <a:lnTo>
                        <a:pt x="1728212" y="545073"/>
                      </a:lnTo>
                      <a:cubicBezTo>
                        <a:pt x="1809101" y="541281"/>
                        <a:pt x="1890137" y="541898"/>
                        <a:pt x="1971099" y="540310"/>
                      </a:cubicBezTo>
                      <a:cubicBezTo>
                        <a:pt x="2077462" y="543485"/>
                        <a:pt x="2240181" y="525229"/>
                        <a:pt x="2290187" y="549835"/>
                      </a:cubicBezTo>
                      <a:cubicBezTo>
                        <a:pt x="2340193" y="574441"/>
                        <a:pt x="2309191" y="674301"/>
                        <a:pt x="2271137" y="687948"/>
                      </a:cubicBezTo>
                      <a:cubicBezTo>
                        <a:pt x="2183700" y="719305"/>
                        <a:pt x="1906805" y="676042"/>
                        <a:pt x="1742499" y="687948"/>
                      </a:cubicBezTo>
                      <a:cubicBezTo>
                        <a:pt x="1578605" y="699824"/>
                        <a:pt x="1571843" y="679216"/>
                        <a:pt x="1285299" y="673660"/>
                      </a:cubicBezTo>
                      <a:lnTo>
                        <a:pt x="23237" y="654610"/>
                      </a:lnTo>
                      <a:cubicBezTo>
                        <a:pt x="-9307" y="663341"/>
                        <a:pt x="-2957" y="577617"/>
                        <a:pt x="13712" y="554598"/>
                      </a:cubicBezTo>
                      <a:cubicBezTo>
                        <a:pt x="30381" y="531579"/>
                        <a:pt x="-10100" y="519673"/>
                        <a:pt x="123250" y="516498"/>
                      </a:cubicBezTo>
                      <a:cubicBezTo>
                        <a:pt x="395067" y="546697"/>
                        <a:pt x="667762" y="533167"/>
                        <a:pt x="813812" y="535548"/>
                      </a:cubicBezTo>
                      <a:cubicBezTo>
                        <a:pt x="959862" y="537929"/>
                        <a:pt x="923349" y="533961"/>
                        <a:pt x="999549" y="530786"/>
                      </a:cubicBezTo>
                      <a:cubicBezTo>
                        <a:pt x="1036855" y="513323"/>
                        <a:pt x="1032887" y="483161"/>
                        <a:pt x="1037649" y="430773"/>
                      </a:cubicBezTo>
                      <a:cubicBezTo>
                        <a:pt x="1042411" y="378385"/>
                        <a:pt x="1028124" y="284722"/>
                        <a:pt x="1028124" y="216460"/>
                      </a:cubicBezTo>
                      <a:cubicBezTo>
                        <a:pt x="1028124" y="148198"/>
                        <a:pt x="993199" y="55329"/>
                        <a:pt x="1037649" y="21198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8" name="Freeform: Shape 129">
                  <a:extLst>
                    <a:ext uri="{FF2B5EF4-FFF2-40B4-BE49-F238E27FC236}">
                      <a16:creationId xmlns:a16="http://schemas.microsoft.com/office/drawing/2014/main" id="{B301A597-AA46-C7F9-024A-A3FE715111D2}"/>
                    </a:ext>
                  </a:extLst>
                </p:cNvPr>
                <p:cNvSpPr/>
                <p:nvPr/>
              </p:nvSpPr>
              <p:spPr>
                <a:xfrm>
                  <a:off x="5825943" y="2209357"/>
                  <a:ext cx="4839770" cy="2829294"/>
                </a:xfrm>
                <a:custGeom>
                  <a:avLst/>
                  <a:gdLst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  <a:gd name="connsiteX21" fmla="*/ 30012 w 4839770"/>
                    <a:gd name="connsiteY21" fmla="*/ 7573 h 2829294"/>
                    <a:gd name="connsiteX22" fmla="*/ 30012 w 4839770"/>
                    <a:gd name="connsiteY22" fmla="*/ 7573 h 2829294"/>
                    <a:gd name="connsiteX23" fmla="*/ 89494 w 4899252"/>
                    <a:gd name="connsiteY23" fmla="*/ 7573 h 2822848"/>
                    <a:gd name="connsiteX24" fmla="*/ 85732 w 4895490"/>
                    <a:gd name="connsiteY24" fmla="*/ 7573 h 2822848"/>
                    <a:gd name="connsiteX25" fmla="*/ 30011 w 4839769"/>
                    <a:gd name="connsiteY25" fmla="*/ 7573 h 2872940"/>
                    <a:gd name="connsiteX26" fmla="*/ 30011 w 4839769"/>
                    <a:gd name="connsiteY26" fmla="*/ 7573 h 2872940"/>
                    <a:gd name="connsiteX27" fmla="*/ 30011 w 4839769"/>
                    <a:gd name="connsiteY27" fmla="*/ 7573 h 2872940"/>
                    <a:gd name="connsiteX28" fmla="*/ 30011 w 4839769"/>
                    <a:gd name="connsiteY28" fmla="*/ 7573 h 2872940"/>
                    <a:gd name="connsiteX29" fmla="*/ 30011 w 4839769"/>
                    <a:gd name="connsiteY29" fmla="*/ 7573 h 2872940"/>
                    <a:gd name="connsiteX30" fmla="*/ 30011 w 4836961"/>
                    <a:gd name="connsiteY30" fmla="*/ 7573 h 2872940"/>
                    <a:gd name="connsiteX31" fmla="*/ 30011 w 4836961"/>
                    <a:gd name="connsiteY31" fmla="*/ 7573 h 2872940"/>
                    <a:gd name="connsiteX32" fmla="*/ 30011 w 4836961"/>
                    <a:gd name="connsiteY32" fmla="*/ 7573 h 2872940"/>
                    <a:gd name="connsiteX33" fmla="*/ 30011 w 4836961"/>
                    <a:gd name="connsiteY33" fmla="*/ 7573 h 2872940"/>
                    <a:gd name="connsiteX34" fmla="*/ 30011 w 4843311"/>
                    <a:gd name="connsiteY34" fmla="*/ 7573 h 2872940"/>
                    <a:gd name="connsiteX35" fmla="*/ 30011 w 4843311"/>
                    <a:gd name="connsiteY35" fmla="*/ 7573 h 2872940"/>
                    <a:gd name="connsiteX36" fmla="*/ 30011 w 4843311"/>
                    <a:gd name="connsiteY36" fmla="*/ 7573 h 2872940"/>
                    <a:gd name="connsiteX37" fmla="*/ 30011 w 4916906"/>
                    <a:gd name="connsiteY37" fmla="*/ 7573 h 2872940"/>
                    <a:gd name="connsiteX38" fmla="*/ 30011 w 4843311"/>
                    <a:gd name="connsiteY38" fmla="*/ 7573 h 2872940"/>
                    <a:gd name="connsiteX39" fmla="*/ 30011 w 4843311"/>
                    <a:gd name="connsiteY39" fmla="*/ 12700 h 2878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99" name="Freeform: Shape 130">
                  <a:extLst>
                    <a:ext uri="{FF2B5EF4-FFF2-40B4-BE49-F238E27FC236}">
                      <a16:creationId xmlns:a16="http://schemas.microsoft.com/office/drawing/2014/main" id="{B5347E31-E89A-1774-B795-B8EA120D3755}"/>
                    </a:ext>
                  </a:extLst>
                </p:cNvPr>
                <p:cNvSpPr/>
                <p:nvPr/>
              </p:nvSpPr>
              <p:spPr>
                <a:xfrm>
                  <a:off x="5825943" y="2209357"/>
                  <a:ext cx="4839770" cy="2829294"/>
                </a:xfrm>
                <a:custGeom>
                  <a:avLst/>
                  <a:gdLst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  <a:gd name="connsiteX21" fmla="*/ 30012 w 4839770"/>
                    <a:gd name="connsiteY21" fmla="*/ 7573 h 2829294"/>
                    <a:gd name="connsiteX22" fmla="*/ 30012 w 4839770"/>
                    <a:gd name="connsiteY22" fmla="*/ 7573 h 2829294"/>
                    <a:gd name="connsiteX23" fmla="*/ 89494 w 4899252"/>
                    <a:gd name="connsiteY23" fmla="*/ 7573 h 2822848"/>
                    <a:gd name="connsiteX24" fmla="*/ 85732 w 4895490"/>
                    <a:gd name="connsiteY24" fmla="*/ 7573 h 2822848"/>
                    <a:gd name="connsiteX25" fmla="*/ 30011 w 4839769"/>
                    <a:gd name="connsiteY25" fmla="*/ 7573 h 2872940"/>
                    <a:gd name="connsiteX26" fmla="*/ 30011 w 4839769"/>
                    <a:gd name="connsiteY26" fmla="*/ 7573 h 2872940"/>
                    <a:gd name="connsiteX27" fmla="*/ 30011 w 4839769"/>
                    <a:gd name="connsiteY27" fmla="*/ 7573 h 2872940"/>
                    <a:gd name="connsiteX28" fmla="*/ 30011 w 4839769"/>
                    <a:gd name="connsiteY28" fmla="*/ 7573 h 2872940"/>
                    <a:gd name="connsiteX29" fmla="*/ 30011 w 4839769"/>
                    <a:gd name="connsiteY29" fmla="*/ 7573 h 2872940"/>
                    <a:gd name="connsiteX30" fmla="*/ 30011 w 4836961"/>
                    <a:gd name="connsiteY30" fmla="*/ 7573 h 2872940"/>
                    <a:gd name="connsiteX31" fmla="*/ 30011 w 4836961"/>
                    <a:gd name="connsiteY31" fmla="*/ 7573 h 2872940"/>
                    <a:gd name="connsiteX32" fmla="*/ 30011 w 4836961"/>
                    <a:gd name="connsiteY32" fmla="*/ 7573 h 2872940"/>
                    <a:gd name="connsiteX33" fmla="*/ 30011 w 4836961"/>
                    <a:gd name="connsiteY33" fmla="*/ 7573 h 2872940"/>
                    <a:gd name="connsiteX34" fmla="*/ 30011 w 4843311"/>
                    <a:gd name="connsiteY34" fmla="*/ 7573 h 2872940"/>
                    <a:gd name="connsiteX35" fmla="*/ 30011 w 4843311"/>
                    <a:gd name="connsiteY35" fmla="*/ 7573 h 2872940"/>
                    <a:gd name="connsiteX36" fmla="*/ 30011 w 4843311"/>
                    <a:gd name="connsiteY36" fmla="*/ 7573 h 2872940"/>
                    <a:gd name="connsiteX37" fmla="*/ 30011 w 4916906"/>
                    <a:gd name="connsiteY37" fmla="*/ 7573 h 2872940"/>
                    <a:gd name="connsiteX38" fmla="*/ 30011 w 4843311"/>
                    <a:gd name="connsiteY38" fmla="*/ 7573 h 2872940"/>
                    <a:gd name="connsiteX39" fmla="*/ 30011 w 4843311"/>
                    <a:gd name="connsiteY39" fmla="*/ 12700 h 2878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0" name="Freeform: Shape 131">
                  <a:extLst>
                    <a:ext uri="{FF2B5EF4-FFF2-40B4-BE49-F238E27FC236}">
                      <a16:creationId xmlns:a16="http://schemas.microsoft.com/office/drawing/2014/main" id="{CDB10A0E-82D5-F08C-0131-0EBEE8F42061}"/>
                    </a:ext>
                  </a:extLst>
                </p:cNvPr>
                <p:cNvSpPr/>
                <p:nvPr/>
              </p:nvSpPr>
              <p:spPr>
                <a:xfrm>
                  <a:off x="5976394" y="2297310"/>
                  <a:ext cx="4538868" cy="2653389"/>
                </a:xfrm>
                <a:custGeom>
                  <a:avLst/>
                  <a:gdLst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  <a:gd name="connsiteX21" fmla="*/ 30012 w 4839770"/>
                    <a:gd name="connsiteY21" fmla="*/ 7573 h 2829294"/>
                    <a:gd name="connsiteX22" fmla="*/ 30012 w 4839770"/>
                    <a:gd name="connsiteY22" fmla="*/ 7573 h 2829294"/>
                    <a:gd name="connsiteX23" fmla="*/ 89494 w 4899252"/>
                    <a:gd name="connsiteY23" fmla="*/ 7573 h 2822848"/>
                    <a:gd name="connsiteX24" fmla="*/ 85732 w 4895490"/>
                    <a:gd name="connsiteY24" fmla="*/ 7573 h 2822848"/>
                    <a:gd name="connsiteX25" fmla="*/ 30011 w 4839769"/>
                    <a:gd name="connsiteY25" fmla="*/ 7573 h 2872940"/>
                    <a:gd name="connsiteX26" fmla="*/ 30011 w 4839769"/>
                    <a:gd name="connsiteY26" fmla="*/ 7573 h 2872940"/>
                    <a:gd name="connsiteX27" fmla="*/ 30011 w 4839769"/>
                    <a:gd name="connsiteY27" fmla="*/ 7573 h 2872940"/>
                    <a:gd name="connsiteX28" fmla="*/ 30011 w 4839769"/>
                    <a:gd name="connsiteY28" fmla="*/ 7573 h 2872940"/>
                    <a:gd name="connsiteX29" fmla="*/ 30011 w 4839769"/>
                    <a:gd name="connsiteY29" fmla="*/ 7573 h 2872940"/>
                    <a:gd name="connsiteX30" fmla="*/ 30011 w 4836961"/>
                    <a:gd name="connsiteY30" fmla="*/ 7573 h 2872940"/>
                    <a:gd name="connsiteX31" fmla="*/ 30011 w 4836961"/>
                    <a:gd name="connsiteY31" fmla="*/ 7573 h 2872940"/>
                    <a:gd name="connsiteX32" fmla="*/ 30011 w 4836961"/>
                    <a:gd name="connsiteY32" fmla="*/ 7573 h 2872940"/>
                    <a:gd name="connsiteX33" fmla="*/ 30011 w 4836961"/>
                    <a:gd name="connsiteY33" fmla="*/ 7573 h 2872940"/>
                    <a:gd name="connsiteX34" fmla="*/ 30011 w 4843311"/>
                    <a:gd name="connsiteY34" fmla="*/ 7573 h 2872940"/>
                    <a:gd name="connsiteX35" fmla="*/ 30011 w 4843311"/>
                    <a:gd name="connsiteY35" fmla="*/ 7573 h 2872940"/>
                    <a:gd name="connsiteX36" fmla="*/ 30011 w 4843311"/>
                    <a:gd name="connsiteY36" fmla="*/ 7573 h 2872940"/>
                    <a:gd name="connsiteX37" fmla="*/ 30011 w 4916906"/>
                    <a:gd name="connsiteY37" fmla="*/ 7573 h 2872940"/>
                    <a:gd name="connsiteX38" fmla="*/ 30011 w 4843311"/>
                    <a:gd name="connsiteY38" fmla="*/ 7573 h 2872940"/>
                    <a:gd name="connsiteX39" fmla="*/ 30011 w 4843311"/>
                    <a:gd name="connsiteY39" fmla="*/ 12700 h 2878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</p:grpSp>
          <p:grpSp>
            <p:nvGrpSpPr>
              <p:cNvPr id="22" name="Group 82">
                <a:extLst>
                  <a:ext uri="{FF2B5EF4-FFF2-40B4-BE49-F238E27FC236}">
                    <a16:creationId xmlns:a16="http://schemas.microsoft.com/office/drawing/2014/main" id="{FE5C695D-6502-1995-7DB2-2D640BF9D41D}"/>
                  </a:ext>
                </a:extLst>
              </p:cNvPr>
              <p:cNvGrpSpPr/>
              <p:nvPr/>
            </p:nvGrpSpPr>
            <p:grpSpPr>
              <a:xfrm>
                <a:off x="881064" y="2870203"/>
                <a:ext cx="1613973" cy="2143013"/>
                <a:chOff x="7815263" y="2204990"/>
                <a:chExt cx="1643062" cy="2181634"/>
              </a:xfrm>
            </p:grpSpPr>
            <p:sp>
              <p:nvSpPr>
                <p:cNvPr id="32" name="Freeform: Shape 86">
                  <a:extLst>
                    <a:ext uri="{FF2B5EF4-FFF2-40B4-BE49-F238E27FC236}">
                      <a16:creationId xmlns:a16="http://schemas.microsoft.com/office/drawing/2014/main" id="{2243FDA9-8BFE-5A0A-52BF-318D97BFB267}"/>
                    </a:ext>
                  </a:extLst>
                </p:cNvPr>
                <p:cNvSpPr/>
                <p:nvPr/>
              </p:nvSpPr>
              <p:spPr>
                <a:xfrm>
                  <a:off x="8162926" y="2204990"/>
                  <a:ext cx="857248" cy="177599"/>
                </a:xfrm>
                <a:custGeom>
                  <a:avLst/>
                  <a:gdLst>
                    <a:gd name="connsiteX0" fmla="*/ 0 w 857248"/>
                    <a:gd name="connsiteY0" fmla="*/ 176258 h 177599"/>
                    <a:gd name="connsiteX1" fmla="*/ 592931 w 857248"/>
                    <a:gd name="connsiteY1" fmla="*/ 164352 h 177599"/>
                    <a:gd name="connsiteX2" fmla="*/ 845344 w 857248"/>
                    <a:gd name="connsiteY2" fmla="*/ 176258 h 177599"/>
                    <a:gd name="connsiteX3" fmla="*/ 847726 w 857248"/>
                    <a:gd name="connsiteY3" fmla="*/ 28621 h 177599"/>
                    <a:gd name="connsiteX4" fmla="*/ 747713 w 857248"/>
                    <a:gd name="connsiteY4" fmla="*/ 4808 h 177599"/>
                    <a:gd name="connsiteX5" fmla="*/ 33338 w 857248"/>
                    <a:gd name="connsiteY5" fmla="*/ 46 h 177599"/>
                    <a:gd name="connsiteX6" fmla="*/ 9525 w 857248"/>
                    <a:gd name="connsiteY6" fmla="*/ 47671 h 177599"/>
                    <a:gd name="connsiteX7" fmla="*/ 14288 w 857248"/>
                    <a:gd name="connsiteY7" fmla="*/ 128634 h 177599"/>
                    <a:gd name="connsiteX8" fmla="*/ 0 w 857248"/>
                    <a:gd name="connsiteY8" fmla="*/ 176258 h 177599"/>
                    <a:gd name="connsiteX9" fmla="*/ 27850 w 880517"/>
                    <a:gd name="connsiteY9" fmla="*/ 178706 h 180047"/>
                    <a:gd name="connsiteX10" fmla="*/ 27850 w 873194"/>
                    <a:gd name="connsiteY10" fmla="*/ 178950 h 187022"/>
                    <a:gd name="connsiteX11" fmla="*/ 27850 w 889863"/>
                    <a:gd name="connsiteY11" fmla="*/ 178950 h 218061"/>
                    <a:gd name="connsiteX12" fmla="*/ 27850 w 889863"/>
                    <a:gd name="connsiteY12" fmla="*/ 178950 h 218061"/>
                    <a:gd name="connsiteX13" fmla="*/ 27850 w 889863"/>
                    <a:gd name="connsiteY13" fmla="*/ 178950 h 218061"/>
                    <a:gd name="connsiteX14" fmla="*/ 27850 w 889863"/>
                    <a:gd name="connsiteY14" fmla="*/ 178950 h 218061"/>
                    <a:gd name="connsiteX15" fmla="*/ 0 w 862013"/>
                    <a:gd name="connsiteY15" fmla="*/ 196076 h 235187"/>
                    <a:gd name="connsiteX16" fmla="*/ 0 w 862013"/>
                    <a:gd name="connsiteY16" fmla="*/ 196076 h 235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57248" h="177599">
                      <a:moveTo>
                        <a:pt x="0" y="176258"/>
                      </a:moveTo>
                      <a:cubicBezTo>
                        <a:pt x="94853" y="179830"/>
                        <a:pt x="452040" y="164352"/>
                        <a:pt x="592931" y="164352"/>
                      </a:cubicBezTo>
                      <a:cubicBezTo>
                        <a:pt x="733822" y="164352"/>
                        <a:pt x="842169" y="182608"/>
                        <a:pt x="845344" y="176258"/>
                      </a:cubicBezTo>
                      <a:cubicBezTo>
                        <a:pt x="856854" y="133792"/>
                        <a:pt x="863998" y="57196"/>
                        <a:pt x="847726" y="28621"/>
                      </a:cubicBezTo>
                      <a:cubicBezTo>
                        <a:pt x="831454" y="46"/>
                        <a:pt x="883444" y="9570"/>
                        <a:pt x="747713" y="4808"/>
                      </a:cubicBezTo>
                      <a:cubicBezTo>
                        <a:pt x="611982" y="46"/>
                        <a:pt x="155554" y="-142"/>
                        <a:pt x="33338" y="46"/>
                      </a:cubicBezTo>
                      <a:cubicBezTo>
                        <a:pt x="-7477" y="109"/>
                        <a:pt x="11118" y="43689"/>
                        <a:pt x="9525" y="47671"/>
                      </a:cubicBezTo>
                      <a:cubicBezTo>
                        <a:pt x="7937" y="71484"/>
                        <a:pt x="15876" y="107203"/>
                        <a:pt x="14288" y="128634"/>
                      </a:cubicBezTo>
                      <a:lnTo>
                        <a:pt x="0" y="176258"/>
                      </a:lnTo>
                      <a:close/>
                    </a:path>
                  </a:pathLst>
                </a:custGeom>
                <a:solidFill>
                  <a:srgbClr val="FBCCD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3" name="Freeform: Shape 88">
                  <a:extLst>
                    <a:ext uri="{FF2B5EF4-FFF2-40B4-BE49-F238E27FC236}">
                      <a16:creationId xmlns:a16="http://schemas.microsoft.com/office/drawing/2014/main" id="{33118C6B-8577-211E-965E-A4491D30AC37}"/>
                    </a:ext>
                  </a:extLst>
                </p:cNvPr>
                <p:cNvSpPr/>
                <p:nvPr/>
              </p:nvSpPr>
              <p:spPr>
                <a:xfrm>
                  <a:off x="7815263" y="4376738"/>
                  <a:ext cx="1643062" cy="9886"/>
                </a:xfrm>
                <a:custGeom>
                  <a:avLst/>
                  <a:gdLst>
                    <a:gd name="connsiteX0" fmla="*/ 0 w 1643062"/>
                    <a:gd name="connsiteY0" fmla="*/ 0 h 9886"/>
                    <a:gd name="connsiteX1" fmla="*/ 28575 w 1643062"/>
                    <a:gd name="connsiteY1" fmla="*/ 4762 h 9886"/>
                    <a:gd name="connsiteX2" fmla="*/ 1643062 w 1643062"/>
                    <a:gd name="connsiteY2" fmla="*/ 9525 h 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43061" h="9886">
                      <a:moveTo>
                        <a:pt x="0" y="0"/>
                      </a:moveTo>
                      <a:cubicBezTo>
                        <a:pt x="9525" y="1587"/>
                        <a:pt x="18920" y="4628"/>
                        <a:pt x="28575" y="4762"/>
                      </a:cubicBezTo>
                      <a:cubicBezTo>
                        <a:pt x="538004" y="11837"/>
                        <a:pt x="1146714" y="9525"/>
                        <a:pt x="1643062" y="9525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34" name="Freeform: Shape 89">
                  <a:extLst>
                    <a:ext uri="{FF2B5EF4-FFF2-40B4-BE49-F238E27FC236}">
                      <a16:creationId xmlns:a16="http://schemas.microsoft.com/office/drawing/2014/main" id="{915A4B64-143C-773B-0D9A-D98D286C076F}"/>
                    </a:ext>
                  </a:extLst>
                </p:cNvPr>
                <p:cNvSpPr/>
                <p:nvPr/>
              </p:nvSpPr>
              <p:spPr>
                <a:xfrm>
                  <a:off x="8003464" y="2364919"/>
                  <a:ext cx="1185264" cy="2021530"/>
                </a:xfrm>
                <a:custGeom>
                  <a:avLst/>
                  <a:gdLst>
                    <a:gd name="connsiteX0" fmla="*/ 54685 w 1185264"/>
                    <a:gd name="connsiteY0" fmla="*/ 1983242 h 2021530"/>
                    <a:gd name="connsiteX1" fmla="*/ 259473 w 1185264"/>
                    <a:gd name="connsiteY1" fmla="*/ 2007054 h 2021530"/>
                    <a:gd name="connsiteX2" fmla="*/ 583323 w 1185264"/>
                    <a:gd name="connsiteY2" fmla="*/ 2011817 h 2021530"/>
                    <a:gd name="connsiteX3" fmla="*/ 659523 w 1185264"/>
                    <a:gd name="connsiteY3" fmla="*/ 2021342 h 2021530"/>
                    <a:gd name="connsiteX4" fmla="*/ 1145298 w 1185264"/>
                    <a:gd name="connsiteY4" fmla="*/ 1992767 h 2021530"/>
                    <a:gd name="connsiteX5" fmla="*/ 1154823 w 1185264"/>
                    <a:gd name="connsiteY5" fmla="*/ 1673679 h 2021530"/>
                    <a:gd name="connsiteX6" fmla="*/ 1159585 w 1185264"/>
                    <a:gd name="connsiteY6" fmla="*/ 849767 h 2021530"/>
                    <a:gd name="connsiteX7" fmla="*/ 1150060 w 1185264"/>
                    <a:gd name="connsiteY7" fmla="*/ 297317 h 2021530"/>
                    <a:gd name="connsiteX8" fmla="*/ 1159585 w 1185264"/>
                    <a:gd name="connsiteY8" fmla="*/ 40142 h 2021530"/>
                    <a:gd name="connsiteX9" fmla="*/ 1007185 w 1185264"/>
                    <a:gd name="connsiteY9" fmla="*/ 21092 h 2021530"/>
                    <a:gd name="connsiteX10" fmla="*/ 283285 w 1185264"/>
                    <a:gd name="connsiteY10" fmla="*/ 6804 h 2021530"/>
                    <a:gd name="connsiteX11" fmla="*/ 40398 w 1185264"/>
                    <a:gd name="connsiteY11" fmla="*/ 16329 h 2021530"/>
                    <a:gd name="connsiteX12" fmla="*/ 2298 w 1185264"/>
                    <a:gd name="connsiteY12" fmla="*/ 183017 h 2021530"/>
                    <a:gd name="connsiteX13" fmla="*/ 21348 w 1185264"/>
                    <a:gd name="connsiteY13" fmla="*/ 278267 h 2021530"/>
                    <a:gd name="connsiteX14" fmla="*/ 26110 w 1185264"/>
                    <a:gd name="connsiteY14" fmla="*/ 911679 h 2021530"/>
                    <a:gd name="connsiteX15" fmla="*/ 16585 w 1185264"/>
                    <a:gd name="connsiteY15" fmla="*/ 1168854 h 2021530"/>
                    <a:gd name="connsiteX16" fmla="*/ 54685 w 1185264"/>
                    <a:gd name="connsiteY16" fmla="*/ 1983242 h 2021530"/>
                    <a:gd name="connsiteX17" fmla="*/ 54685 w 1185264"/>
                    <a:gd name="connsiteY17" fmla="*/ 1980568 h 2018856"/>
                    <a:gd name="connsiteX18" fmla="*/ 33706 w 1183335"/>
                    <a:gd name="connsiteY18" fmla="*/ 2023430 h 2046039"/>
                    <a:gd name="connsiteX19" fmla="*/ 33706 w 1183335"/>
                    <a:gd name="connsiteY19" fmla="*/ 2023430 h 2046039"/>
                    <a:gd name="connsiteX20" fmla="*/ 33706 w 1194053"/>
                    <a:gd name="connsiteY20" fmla="*/ 2023430 h 2046039"/>
                    <a:gd name="connsiteX21" fmla="*/ 33706 w 1194053"/>
                    <a:gd name="connsiteY21" fmla="*/ 2023430 h 2046039"/>
                    <a:gd name="connsiteX22" fmla="*/ 33706 w 1194053"/>
                    <a:gd name="connsiteY22" fmla="*/ 2023430 h 2046039"/>
                    <a:gd name="connsiteX23" fmla="*/ 33706 w 1194053"/>
                    <a:gd name="connsiteY23" fmla="*/ 2023430 h 2046039"/>
                    <a:gd name="connsiteX24" fmla="*/ 33706 w 1201079"/>
                    <a:gd name="connsiteY24" fmla="*/ 2023430 h 2046039"/>
                    <a:gd name="connsiteX25" fmla="*/ 33706 w 1200519"/>
                    <a:gd name="connsiteY25" fmla="*/ 2023430 h 2046039"/>
                    <a:gd name="connsiteX26" fmla="*/ 33706 w 1207774"/>
                    <a:gd name="connsiteY26" fmla="*/ 2023430 h 2046039"/>
                    <a:gd name="connsiteX27" fmla="*/ 33706 w 1212804"/>
                    <a:gd name="connsiteY27" fmla="*/ 2023430 h 2046039"/>
                    <a:gd name="connsiteX28" fmla="*/ 33706 w 1211812"/>
                    <a:gd name="connsiteY28" fmla="*/ 2023430 h 2046039"/>
                    <a:gd name="connsiteX29" fmla="*/ 33706 w 1210220"/>
                    <a:gd name="connsiteY29" fmla="*/ 2023430 h 2046039"/>
                    <a:gd name="connsiteX30" fmla="*/ 33706 w 1210044"/>
                    <a:gd name="connsiteY30" fmla="*/ 2023430 h 2046039"/>
                    <a:gd name="connsiteX31" fmla="*/ 33706 w 1210044"/>
                    <a:gd name="connsiteY31" fmla="*/ 2023430 h 2046039"/>
                    <a:gd name="connsiteX32" fmla="*/ 33706 w 1210044"/>
                    <a:gd name="connsiteY32" fmla="*/ 2023430 h 2046039"/>
                    <a:gd name="connsiteX33" fmla="*/ 33706 w 1210044"/>
                    <a:gd name="connsiteY33" fmla="*/ 2023430 h 2046039"/>
                    <a:gd name="connsiteX34" fmla="*/ 33706 w 1210044"/>
                    <a:gd name="connsiteY34" fmla="*/ 2023430 h 2046039"/>
                    <a:gd name="connsiteX35" fmla="*/ 33706 w 1210044"/>
                    <a:gd name="connsiteY35" fmla="*/ 2023430 h 2046039"/>
                    <a:gd name="connsiteX36" fmla="*/ 33706 w 1210044"/>
                    <a:gd name="connsiteY36" fmla="*/ 2024166 h 2046775"/>
                    <a:gd name="connsiteX37" fmla="*/ 33706 w 1210044"/>
                    <a:gd name="connsiteY37" fmla="*/ 2033778 h 2056387"/>
                    <a:gd name="connsiteX38" fmla="*/ 33706 w 1210044"/>
                    <a:gd name="connsiteY38" fmla="*/ 2033587 h 2056196"/>
                    <a:gd name="connsiteX39" fmla="*/ 37004 w 1213342"/>
                    <a:gd name="connsiteY39" fmla="*/ 2033587 h 2056196"/>
                    <a:gd name="connsiteX40" fmla="*/ 52464 w 1228802"/>
                    <a:gd name="connsiteY40" fmla="*/ 2033587 h 2056196"/>
                    <a:gd name="connsiteX41" fmla="*/ 55029 w 1231367"/>
                    <a:gd name="connsiteY41" fmla="*/ 2033587 h 2056196"/>
                    <a:gd name="connsiteX42" fmla="*/ 55029 w 1231367"/>
                    <a:gd name="connsiteY42" fmla="*/ 2033587 h 2042526"/>
                    <a:gd name="connsiteX43" fmla="*/ 55029 w 1231367"/>
                    <a:gd name="connsiteY43" fmla="*/ 2033587 h 2042526"/>
                    <a:gd name="connsiteX44" fmla="*/ 55029 w 1231367"/>
                    <a:gd name="connsiteY44" fmla="*/ 2033587 h 2042526"/>
                    <a:gd name="connsiteX45" fmla="*/ 55029 w 1231367"/>
                    <a:gd name="connsiteY45" fmla="*/ 2033587 h 2042526"/>
                    <a:gd name="connsiteX46" fmla="*/ 55029 w 1231367"/>
                    <a:gd name="connsiteY46" fmla="*/ 2033587 h 2042526"/>
                    <a:gd name="connsiteX47" fmla="*/ 55029 w 1231367"/>
                    <a:gd name="connsiteY47" fmla="*/ 2033587 h 2042526"/>
                    <a:gd name="connsiteX48" fmla="*/ 58349 w 1234687"/>
                    <a:gd name="connsiteY48" fmla="*/ 2033587 h 2037016"/>
                    <a:gd name="connsiteX49" fmla="*/ 57326 w 1233664"/>
                    <a:gd name="connsiteY49" fmla="*/ 2033587 h 2037016"/>
                    <a:gd name="connsiteX50" fmla="*/ 57150 w 1233488"/>
                    <a:gd name="connsiteY50" fmla="*/ 2033587 h 2037016"/>
                    <a:gd name="connsiteX51" fmla="*/ 57150 w 1233488"/>
                    <a:gd name="connsiteY51" fmla="*/ 2033587 h 2035980"/>
                    <a:gd name="connsiteX52" fmla="*/ 57150 w 1233488"/>
                    <a:gd name="connsiteY52" fmla="*/ 2033587 h 2035862"/>
                    <a:gd name="connsiteX53" fmla="*/ 57150 w 1233488"/>
                    <a:gd name="connsiteY53" fmla="*/ 2033587 h 2068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85264" h="2021530">
                      <a:moveTo>
                        <a:pt x="54685" y="1983242"/>
                      </a:moveTo>
                      <a:cubicBezTo>
                        <a:pt x="147555" y="2011023"/>
                        <a:pt x="171367" y="2002292"/>
                        <a:pt x="259473" y="2007054"/>
                      </a:cubicBezTo>
                      <a:cubicBezTo>
                        <a:pt x="347579" y="2011816"/>
                        <a:pt x="516648" y="2009436"/>
                        <a:pt x="583323" y="2011817"/>
                      </a:cubicBezTo>
                      <a:cubicBezTo>
                        <a:pt x="649998" y="2014198"/>
                        <a:pt x="633946" y="2020319"/>
                        <a:pt x="659523" y="2021342"/>
                      </a:cubicBezTo>
                      <a:cubicBezTo>
                        <a:pt x="826210" y="2021342"/>
                        <a:pt x="1061178" y="2025679"/>
                        <a:pt x="1145298" y="1992767"/>
                      </a:cubicBezTo>
                      <a:cubicBezTo>
                        <a:pt x="1230608" y="1959389"/>
                        <a:pt x="1152442" y="1864179"/>
                        <a:pt x="1154823" y="1673679"/>
                      </a:cubicBezTo>
                      <a:cubicBezTo>
                        <a:pt x="1157204" y="1483179"/>
                        <a:pt x="1160379" y="1079161"/>
                        <a:pt x="1159585" y="849767"/>
                      </a:cubicBezTo>
                      <a:cubicBezTo>
                        <a:pt x="1158791" y="620373"/>
                        <a:pt x="1150060" y="432254"/>
                        <a:pt x="1150060" y="297317"/>
                      </a:cubicBezTo>
                      <a:cubicBezTo>
                        <a:pt x="1150060" y="162380"/>
                        <a:pt x="1183398" y="86180"/>
                        <a:pt x="1159585" y="40142"/>
                      </a:cubicBezTo>
                      <a:cubicBezTo>
                        <a:pt x="1135773" y="-5896"/>
                        <a:pt x="1153235" y="26648"/>
                        <a:pt x="1007185" y="21092"/>
                      </a:cubicBezTo>
                      <a:cubicBezTo>
                        <a:pt x="861135" y="15536"/>
                        <a:pt x="444416" y="7598"/>
                        <a:pt x="283285" y="6804"/>
                      </a:cubicBezTo>
                      <a:cubicBezTo>
                        <a:pt x="122154" y="6010"/>
                        <a:pt x="87229" y="-13040"/>
                        <a:pt x="40398" y="16329"/>
                      </a:cubicBezTo>
                      <a:cubicBezTo>
                        <a:pt x="-6433" y="45698"/>
                        <a:pt x="5473" y="139361"/>
                        <a:pt x="2298" y="183017"/>
                      </a:cubicBezTo>
                      <a:cubicBezTo>
                        <a:pt x="-877" y="226673"/>
                        <a:pt x="17379" y="156823"/>
                        <a:pt x="21348" y="278267"/>
                      </a:cubicBezTo>
                      <a:cubicBezTo>
                        <a:pt x="22935" y="489404"/>
                        <a:pt x="21650" y="700583"/>
                        <a:pt x="26110" y="911679"/>
                      </a:cubicBezTo>
                      <a:cubicBezTo>
                        <a:pt x="25316" y="1060110"/>
                        <a:pt x="22935" y="1091860"/>
                        <a:pt x="16585" y="1168854"/>
                      </a:cubicBezTo>
                      <a:cubicBezTo>
                        <a:pt x="14998" y="1345066"/>
                        <a:pt x="-38185" y="1955461"/>
                        <a:pt x="54685" y="1983242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44" name="Freeform: Shape 90">
                  <a:extLst>
                    <a:ext uri="{FF2B5EF4-FFF2-40B4-BE49-F238E27FC236}">
                      <a16:creationId xmlns:a16="http://schemas.microsoft.com/office/drawing/2014/main" id="{BE302E85-C6C8-CE15-3C8C-649B9846FA0D}"/>
                    </a:ext>
                  </a:extLst>
                </p:cNvPr>
                <p:cNvSpPr/>
                <p:nvPr/>
              </p:nvSpPr>
              <p:spPr>
                <a:xfrm>
                  <a:off x="8162926" y="2204990"/>
                  <a:ext cx="857248" cy="176258"/>
                </a:xfrm>
                <a:custGeom>
                  <a:avLst/>
                  <a:gdLst>
                    <a:gd name="connsiteX0" fmla="*/ 845344 w 857248"/>
                    <a:gd name="connsiteY0" fmla="*/ 176258 h 176258"/>
                    <a:gd name="connsiteX1" fmla="*/ 847726 w 857248"/>
                    <a:gd name="connsiteY1" fmla="*/ 28621 h 176258"/>
                    <a:gd name="connsiteX2" fmla="*/ 747713 w 857248"/>
                    <a:gd name="connsiteY2" fmla="*/ 4808 h 176258"/>
                    <a:gd name="connsiteX3" fmla="*/ 33338 w 857248"/>
                    <a:gd name="connsiteY3" fmla="*/ 46 h 176258"/>
                    <a:gd name="connsiteX4" fmla="*/ 9525 w 857248"/>
                    <a:gd name="connsiteY4" fmla="*/ 47671 h 176258"/>
                    <a:gd name="connsiteX5" fmla="*/ 14288 w 857248"/>
                    <a:gd name="connsiteY5" fmla="*/ 128634 h 176258"/>
                    <a:gd name="connsiteX6" fmla="*/ 0 w 857248"/>
                    <a:gd name="connsiteY6" fmla="*/ 176258 h 176258"/>
                    <a:gd name="connsiteX7" fmla="*/ 0 w 857248"/>
                    <a:gd name="connsiteY7" fmla="*/ 176258 h 177599"/>
                    <a:gd name="connsiteX8" fmla="*/ 684371 w 857248"/>
                    <a:gd name="connsiteY8" fmla="*/ 255792 h 255792"/>
                    <a:gd name="connsiteX9" fmla="*/ 27850 w 880517"/>
                    <a:gd name="connsiteY9" fmla="*/ 178706 h 180047"/>
                    <a:gd name="connsiteX10" fmla="*/ 27850 w 873194"/>
                    <a:gd name="connsiteY10" fmla="*/ 178950 h 187022"/>
                    <a:gd name="connsiteX11" fmla="*/ 27850 w 889863"/>
                    <a:gd name="connsiteY11" fmla="*/ 178950 h 218061"/>
                    <a:gd name="connsiteX12" fmla="*/ 27850 w 889863"/>
                    <a:gd name="connsiteY12" fmla="*/ 178950 h 218061"/>
                    <a:gd name="connsiteX13" fmla="*/ 27850 w 889863"/>
                    <a:gd name="connsiteY13" fmla="*/ 178950 h 218061"/>
                    <a:gd name="connsiteX14" fmla="*/ 27850 w 889863"/>
                    <a:gd name="connsiteY14" fmla="*/ 178950 h 218061"/>
                    <a:gd name="connsiteX15" fmla="*/ 0 w 862013"/>
                    <a:gd name="connsiteY15" fmla="*/ 196076 h 235187"/>
                    <a:gd name="connsiteX16" fmla="*/ 0 w 862013"/>
                    <a:gd name="connsiteY16" fmla="*/ 196076 h 235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57248" h="176258">
                      <a:moveTo>
                        <a:pt x="845344" y="176258"/>
                      </a:moveTo>
                      <a:cubicBezTo>
                        <a:pt x="856854" y="133792"/>
                        <a:pt x="863998" y="57196"/>
                        <a:pt x="847726" y="28621"/>
                      </a:cubicBezTo>
                      <a:cubicBezTo>
                        <a:pt x="831454" y="46"/>
                        <a:pt x="883444" y="9570"/>
                        <a:pt x="747713" y="4808"/>
                      </a:cubicBezTo>
                      <a:cubicBezTo>
                        <a:pt x="611982" y="46"/>
                        <a:pt x="155554" y="-142"/>
                        <a:pt x="33338" y="46"/>
                      </a:cubicBezTo>
                      <a:cubicBezTo>
                        <a:pt x="-7477" y="109"/>
                        <a:pt x="11118" y="43689"/>
                        <a:pt x="9525" y="47671"/>
                      </a:cubicBezTo>
                      <a:cubicBezTo>
                        <a:pt x="7937" y="71484"/>
                        <a:pt x="15876" y="107203"/>
                        <a:pt x="14288" y="128634"/>
                      </a:cubicBezTo>
                      <a:lnTo>
                        <a:pt x="0" y="176258"/>
                      </a:ln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45" name="Freeform: Shape 91">
                  <a:extLst>
                    <a:ext uri="{FF2B5EF4-FFF2-40B4-BE49-F238E27FC236}">
                      <a16:creationId xmlns:a16="http://schemas.microsoft.com/office/drawing/2014/main" id="{337C37BB-7E31-E6C9-11BE-C20F343D6BD9}"/>
                    </a:ext>
                  </a:extLst>
                </p:cNvPr>
                <p:cNvSpPr/>
                <p:nvPr/>
              </p:nvSpPr>
              <p:spPr>
                <a:xfrm>
                  <a:off x="8192367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47" name="Freeform: Shape 92">
                  <a:extLst>
                    <a:ext uri="{FF2B5EF4-FFF2-40B4-BE49-F238E27FC236}">
                      <a16:creationId xmlns:a16="http://schemas.microsoft.com/office/drawing/2014/main" id="{11E8F232-638A-8E9A-D356-1B90351A0A54}"/>
                    </a:ext>
                  </a:extLst>
                </p:cNvPr>
                <p:cNvSpPr/>
                <p:nvPr/>
              </p:nvSpPr>
              <p:spPr>
                <a:xfrm>
                  <a:off x="8475736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48" name="Freeform: Shape 93">
                  <a:extLst>
                    <a:ext uri="{FF2B5EF4-FFF2-40B4-BE49-F238E27FC236}">
                      <a16:creationId xmlns:a16="http://schemas.microsoft.com/office/drawing/2014/main" id="{B006520C-B64D-E623-90E4-2A38B7E4057B}"/>
                    </a:ext>
                  </a:extLst>
                </p:cNvPr>
                <p:cNvSpPr/>
                <p:nvPr/>
              </p:nvSpPr>
              <p:spPr>
                <a:xfrm>
                  <a:off x="8761486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49" name="Freeform: Shape 94">
                  <a:extLst>
                    <a:ext uri="{FF2B5EF4-FFF2-40B4-BE49-F238E27FC236}">
                      <a16:creationId xmlns:a16="http://schemas.microsoft.com/office/drawing/2014/main" id="{3A228C76-BFBC-26E1-8F63-BA17DEC47614}"/>
                    </a:ext>
                  </a:extLst>
                </p:cNvPr>
                <p:cNvSpPr/>
                <p:nvPr/>
              </p:nvSpPr>
              <p:spPr>
                <a:xfrm>
                  <a:off x="8192367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51" name="Freeform: Shape 95">
                  <a:extLst>
                    <a:ext uri="{FF2B5EF4-FFF2-40B4-BE49-F238E27FC236}">
                      <a16:creationId xmlns:a16="http://schemas.microsoft.com/office/drawing/2014/main" id="{ACE2F49E-FCE8-BEC3-BFE2-F69E54ECB2B3}"/>
                    </a:ext>
                  </a:extLst>
                </p:cNvPr>
                <p:cNvSpPr/>
                <p:nvPr/>
              </p:nvSpPr>
              <p:spPr>
                <a:xfrm>
                  <a:off x="8475736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3" name="Freeform: Shape 96">
                  <a:extLst>
                    <a:ext uri="{FF2B5EF4-FFF2-40B4-BE49-F238E27FC236}">
                      <a16:creationId xmlns:a16="http://schemas.microsoft.com/office/drawing/2014/main" id="{535E306A-E756-7974-9BD9-FFC9B194351F}"/>
                    </a:ext>
                  </a:extLst>
                </p:cNvPr>
                <p:cNvSpPr/>
                <p:nvPr/>
              </p:nvSpPr>
              <p:spPr>
                <a:xfrm>
                  <a:off x="8761486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4" name="Freeform: Shape 97">
                  <a:extLst>
                    <a:ext uri="{FF2B5EF4-FFF2-40B4-BE49-F238E27FC236}">
                      <a16:creationId xmlns:a16="http://schemas.microsoft.com/office/drawing/2014/main" id="{648FE487-B3DB-4298-4F47-431773520E7E}"/>
                    </a:ext>
                  </a:extLst>
                </p:cNvPr>
                <p:cNvSpPr/>
                <p:nvPr/>
              </p:nvSpPr>
              <p:spPr>
                <a:xfrm>
                  <a:off x="8192367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5" name="Freeform: Shape 98">
                  <a:extLst>
                    <a:ext uri="{FF2B5EF4-FFF2-40B4-BE49-F238E27FC236}">
                      <a16:creationId xmlns:a16="http://schemas.microsoft.com/office/drawing/2014/main" id="{40E86150-CBBC-E75C-8BF4-49824300EB60}"/>
                    </a:ext>
                  </a:extLst>
                </p:cNvPr>
                <p:cNvSpPr/>
                <p:nvPr/>
              </p:nvSpPr>
              <p:spPr>
                <a:xfrm>
                  <a:off x="8475736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6" name="Freeform: Shape 99">
                  <a:extLst>
                    <a:ext uri="{FF2B5EF4-FFF2-40B4-BE49-F238E27FC236}">
                      <a16:creationId xmlns:a16="http://schemas.microsoft.com/office/drawing/2014/main" id="{48E6B798-D588-8166-5F81-6259504591BC}"/>
                    </a:ext>
                  </a:extLst>
                </p:cNvPr>
                <p:cNvSpPr/>
                <p:nvPr/>
              </p:nvSpPr>
              <p:spPr>
                <a:xfrm>
                  <a:off x="8761486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7" name="Freeform: Shape 100">
                  <a:extLst>
                    <a:ext uri="{FF2B5EF4-FFF2-40B4-BE49-F238E27FC236}">
                      <a16:creationId xmlns:a16="http://schemas.microsoft.com/office/drawing/2014/main" id="{604F1F4E-6C6F-480A-0715-B30D47B9FD65}"/>
                    </a:ext>
                  </a:extLst>
                </p:cNvPr>
                <p:cNvSpPr/>
                <p:nvPr/>
              </p:nvSpPr>
              <p:spPr>
                <a:xfrm>
                  <a:off x="8192367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8" name="Freeform: Shape 101">
                  <a:extLst>
                    <a:ext uri="{FF2B5EF4-FFF2-40B4-BE49-F238E27FC236}">
                      <a16:creationId xmlns:a16="http://schemas.microsoft.com/office/drawing/2014/main" id="{5AA616E1-C1FF-92ED-4E9C-4B11751C6C35}"/>
                    </a:ext>
                  </a:extLst>
                </p:cNvPr>
                <p:cNvSpPr/>
                <p:nvPr/>
              </p:nvSpPr>
              <p:spPr>
                <a:xfrm>
                  <a:off x="8475736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69" name="Freeform: Shape 102">
                  <a:extLst>
                    <a:ext uri="{FF2B5EF4-FFF2-40B4-BE49-F238E27FC236}">
                      <a16:creationId xmlns:a16="http://schemas.microsoft.com/office/drawing/2014/main" id="{2755B2B6-E6AF-6B4F-BE9C-06A75BD3A723}"/>
                    </a:ext>
                  </a:extLst>
                </p:cNvPr>
                <p:cNvSpPr/>
                <p:nvPr/>
              </p:nvSpPr>
              <p:spPr>
                <a:xfrm>
                  <a:off x="8761486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0" name="Freeform: Shape 103">
                  <a:extLst>
                    <a:ext uri="{FF2B5EF4-FFF2-40B4-BE49-F238E27FC236}">
                      <a16:creationId xmlns:a16="http://schemas.microsoft.com/office/drawing/2014/main" id="{8EB249F1-4E79-1463-318B-208A1610710D}"/>
                    </a:ext>
                  </a:extLst>
                </p:cNvPr>
                <p:cNvSpPr/>
                <p:nvPr/>
              </p:nvSpPr>
              <p:spPr>
                <a:xfrm>
                  <a:off x="8192367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1" name="Freeform: Shape 104">
                  <a:extLst>
                    <a:ext uri="{FF2B5EF4-FFF2-40B4-BE49-F238E27FC236}">
                      <a16:creationId xmlns:a16="http://schemas.microsoft.com/office/drawing/2014/main" id="{9A55A5E2-D7A0-72C2-0035-9B581FF77805}"/>
                    </a:ext>
                  </a:extLst>
                </p:cNvPr>
                <p:cNvSpPr/>
                <p:nvPr/>
              </p:nvSpPr>
              <p:spPr>
                <a:xfrm>
                  <a:off x="8475736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2" name="Freeform: Shape 105">
                  <a:extLst>
                    <a:ext uri="{FF2B5EF4-FFF2-40B4-BE49-F238E27FC236}">
                      <a16:creationId xmlns:a16="http://schemas.microsoft.com/office/drawing/2014/main" id="{1847C8BA-10B8-9EB1-0C4D-1AEB7F1A228E}"/>
                    </a:ext>
                  </a:extLst>
                </p:cNvPr>
                <p:cNvSpPr/>
                <p:nvPr/>
              </p:nvSpPr>
              <p:spPr>
                <a:xfrm>
                  <a:off x="8761486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3" name="Freeform: Shape 106">
                  <a:extLst>
                    <a:ext uri="{FF2B5EF4-FFF2-40B4-BE49-F238E27FC236}">
                      <a16:creationId xmlns:a16="http://schemas.microsoft.com/office/drawing/2014/main" id="{E1FCD9E8-83B1-291B-4A9F-903EC4BFFA94}"/>
                    </a:ext>
                  </a:extLst>
                </p:cNvPr>
                <p:cNvSpPr/>
                <p:nvPr/>
              </p:nvSpPr>
              <p:spPr>
                <a:xfrm>
                  <a:off x="8192367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4" name="Freeform: Shape 107">
                  <a:extLst>
                    <a:ext uri="{FF2B5EF4-FFF2-40B4-BE49-F238E27FC236}">
                      <a16:creationId xmlns:a16="http://schemas.microsoft.com/office/drawing/2014/main" id="{D4F9C59A-A413-57AC-0DED-32DA96645C6D}"/>
                    </a:ext>
                  </a:extLst>
                </p:cNvPr>
                <p:cNvSpPr/>
                <p:nvPr/>
              </p:nvSpPr>
              <p:spPr>
                <a:xfrm>
                  <a:off x="8761486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5" name="Freeform: Shape 108">
                  <a:extLst>
                    <a:ext uri="{FF2B5EF4-FFF2-40B4-BE49-F238E27FC236}">
                      <a16:creationId xmlns:a16="http://schemas.microsoft.com/office/drawing/2014/main" id="{D31C11D5-CA3A-FB27-A7A1-138DC730EF84}"/>
                    </a:ext>
                  </a:extLst>
                </p:cNvPr>
                <p:cNvSpPr/>
                <p:nvPr/>
              </p:nvSpPr>
              <p:spPr>
                <a:xfrm>
                  <a:off x="8473232" y="4033947"/>
                  <a:ext cx="130302" cy="349935"/>
                </a:xfrm>
                <a:custGeom>
                  <a:avLst/>
                  <a:gdLst>
                    <a:gd name="connsiteX0" fmla="*/ 4096 w 130302"/>
                    <a:gd name="connsiteY0" fmla="*/ 349934 h 349935"/>
                    <a:gd name="connsiteX1" fmla="*/ 6477 w 130302"/>
                    <a:gd name="connsiteY1" fmla="*/ 140384 h 349935"/>
                    <a:gd name="connsiteX2" fmla="*/ 13620 w 130302"/>
                    <a:gd name="connsiteY2" fmla="*/ 2272 h 349935"/>
                    <a:gd name="connsiteX3" fmla="*/ 108872 w 130302"/>
                    <a:gd name="connsiteY3" fmla="*/ 4654 h 349935"/>
                    <a:gd name="connsiteX4" fmla="*/ 125539 w 130302"/>
                    <a:gd name="connsiteY4" fmla="*/ 54659 h 349935"/>
                    <a:gd name="connsiteX5" fmla="*/ 123159 w 130302"/>
                    <a:gd name="connsiteY5" fmla="*/ 218966 h 349935"/>
                    <a:gd name="connsiteX6" fmla="*/ 130302 w 130302"/>
                    <a:gd name="connsiteY6" fmla="*/ 349935 h 349935"/>
                    <a:gd name="connsiteX7" fmla="*/ 137446 w 137446"/>
                    <a:gd name="connsiteY7" fmla="*/ 352316 h 352316"/>
                    <a:gd name="connsiteX8" fmla="*/ 137670 w 137670"/>
                    <a:gd name="connsiteY8" fmla="*/ 352316 h 356165"/>
                    <a:gd name="connsiteX9" fmla="*/ 133350 w 133350"/>
                    <a:gd name="connsiteY9" fmla="*/ 365671 h 369520"/>
                    <a:gd name="connsiteX10" fmla="*/ 133350 w 133350"/>
                    <a:gd name="connsiteY10" fmla="*/ 365671 h 369520"/>
                    <a:gd name="connsiteX11" fmla="*/ 133350 w 133350"/>
                    <a:gd name="connsiteY11" fmla="*/ 368113 h 373676"/>
                    <a:gd name="connsiteX12" fmla="*/ 133350 w 133350"/>
                    <a:gd name="connsiteY12" fmla="*/ 368113 h 373676"/>
                    <a:gd name="connsiteX13" fmla="*/ 133350 w 133350"/>
                    <a:gd name="connsiteY13" fmla="*/ 368113 h 371621"/>
                    <a:gd name="connsiteX14" fmla="*/ 133350 w 133350"/>
                    <a:gd name="connsiteY14" fmla="*/ 368113 h 368263"/>
                    <a:gd name="connsiteX15" fmla="*/ 133350 w 133350"/>
                    <a:gd name="connsiteY15" fmla="*/ 368113 h 368113"/>
                    <a:gd name="connsiteX16" fmla="*/ 133350 w 133350"/>
                    <a:gd name="connsiteY16" fmla="*/ 368113 h 368113"/>
                    <a:gd name="connsiteX17" fmla="*/ 133350 w 133350"/>
                    <a:gd name="connsiteY17" fmla="*/ 368113 h 368113"/>
                    <a:gd name="connsiteX18" fmla="*/ 133350 w 133350"/>
                    <a:gd name="connsiteY18" fmla="*/ 368113 h 368113"/>
                    <a:gd name="connsiteX19" fmla="*/ 133350 w 133350"/>
                    <a:gd name="connsiteY19" fmla="*/ 368113 h 368113"/>
                    <a:gd name="connsiteX20" fmla="*/ 133350 w 133350"/>
                    <a:gd name="connsiteY20" fmla="*/ 368113 h 368113"/>
                    <a:gd name="connsiteX21" fmla="*/ 133350 w 133350"/>
                    <a:gd name="connsiteY21" fmla="*/ 368113 h 368113"/>
                    <a:gd name="connsiteX22" fmla="*/ 133350 w 133350"/>
                    <a:gd name="connsiteY22" fmla="*/ 368113 h 368113"/>
                    <a:gd name="connsiteX23" fmla="*/ 133350 w 133350"/>
                    <a:gd name="connsiteY23" fmla="*/ 368113 h 368113"/>
                    <a:gd name="connsiteX24" fmla="*/ 133350 w 133350"/>
                    <a:gd name="connsiteY24" fmla="*/ 368113 h 368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0302" h="349935">
                      <a:moveTo>
                        <a:pt x="4096" y="349934"/>
                      </a:moveTo>
                      <a:cubicBezTo>
                        <a:pt x="4592" y="306278"/>
                        <a:pt x="4890" y="198328"/>
                        <a:pt x="6477" y="140384"/>
                      </a:cubicBezTo>
                      <a:cubicBezTo>
                        <a:pt x="8064" y="82440"/>
                        <a:pt x="-13136" y="11605"/>
                        <a:pt x="13620" y="2272"/>
                      </a:cubicBezTo>
                      <a:cubicBezTo>
                        <a:pt x="30686" y="-3681"/>
                        <a:pt x="81884" y="3860"/>
                        <a:pt x="108872" y="4654"/>
                      </a:cubicBezTo>
                      <a:cubicBezTo>
                        <a:pt x="125144" y="6638"/>
                        <a:pt x="122364" y="49103"/>
                        <a:pt x="125539" y="54659"/>
                      </a:cubicBezTo>
                      <a:cubicBezTo>
                        <a:pt x="124746" y="109428"/>
                        <a:pt x="123952" y="164197"/>
                        <a:pt x="123159" y="218966"/>
                      </a:cubicBezTo>
                      <a:cubicBezTo>
                        <a:pt x="125143" y="268575"/>
                        <a:pt x="127326" y="322154"/>
                        <a:pt x="130302" y="349935"/>
                      </a:cubicBezTo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6" name="Freeform: Shape 109">
                  <a:extLst>
                    <a:ext uri="{FF2B5EF4-FFF2-40B4-BE49-F238E27FC236}">
                      <a16:creationId xmlns:a16="http://schemas.microsoft.com/office/drawing/2014/main" id="{6CEE4CDC-33AE-674E-0356-A80DC28023A7}"/>
                    </a:ext>
                  </a:extLst>
                </p:cNvPr>
                <p:cNvSpPr/>
                <p:nvPr/>
              </p:nvSpPr>
              <p:spPr>
                <a:xfrm>
                  <a:off x="8251819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7" name="Freeform: Shape 110">
                  <a:extLst>
                    <a:ext uri="{FF2B5EF4-FFF2-40B4-BE49-F238E27FC236}">
                      <a16:creationId xmlns:a16="http://schemas.microsoft.com/office/drawing/2014/main" id="{72F175C7-3238-1574-2E12-DC829DEC3904}"/>
                    </a:ext>
                  </a:extLst>
                </p:cNvPr>
                <p:cNvSpPr/>
                <p:nvPr/>
              </p:nvSpPr>
              <p:spPr>
                <a:xfrm>
                  <a:off x="8535188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79" name="Freeform: Shape 111">
                  <a:extLst>
                    <a:ext uri="{FF2B5EF4-FFF2-40B4-BE49-F238E27FC236}">
                      <a16:creationId xmlns:a16="http://schemas.microsoft.com/office/drawing/2014/main" id="{6B6C0B18-2050-A290-2EDE-B4262A23A24A}"/>
                    </a:ext>
                  </a:extLst>
                </p:cNvPr>
                <p:cNvSpPr/>
                <p:nvPr/>
              </p:nvSpPr>
              <p:spPr>
                <a:xfrm>
                  <a:off x="8820938" y="2600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0" name="Freeform: Shape 112">
                  <a:extLst>
                    <a:ext uri="{FF2B5EF4-FFF2-40B4-BE49-F238E27FC236}">
                      <a16:creationId xmlns:a16="http://schemas.microsoft.com/office/drawing/2014/main" id="{0A2FAD31-9962-8E9C-A509-AE6D85BACA11}"/>
                    </a:ext>
                  </a:extLst>
                </p:cNvPr>
                <p:cNvSpPr/>
                <p:nvPr/>
              </p:nvSpPr>
              <p:spPr>
                <a:xfrm>
                  <a:off x="8251819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1" name="Freeform: Shape 113">
                  <a:extLst>
                    <a:ext uri="{FF2B5EF4-FFF2-40B4-BE49-F238E27FC236}">
                      <a16:creationId xmlns:a16="http://schemas.microsoft.com/office/drawing/2014/main" id="{724FB45F-0FA0-A11A-A2EB-EBEAA32DE86A}"/>
                    </a:ext>
                  </a:extLst>
                </p:cNvPr>
                <p:cNvSpPr/>
                <p:nvPr/>
              </p:nvSpPr>
              <p:spPr>
                <a:xfrm>
                  <a:off x="8535188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2" name="Freeform: Shape 114">
                  <a:extLst>
                    <a:ext uri="{FF2B5EF4-FFF2-40B4-BE49-F238E27FC236}">
                      <a16:creationId xmlns:a16="http://schemas.microsoft.com/office/drawing/2014/main" id="{DBB637C1-A539-077F-67FD-8D2E169573C0}"/>
                    </a:ext>
                  </a:extLst>
                </p:cNvPr>
                <p:cNvSpPr/>
                <p:nvPr/>
              </p:nvSpPr>
              <p:spPr>
                <a:xfrm>
                  <a:off x="8820938" y="288817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3" name="Freeform: Shape 115">
                  <a:extLst>
                    <a:ext uri="{FF2B5EF4-FFF2-40B4-BE49-F238E27FC236}">
                      <a16:creationId xmlns:a16="http://schemas.microsoft.com/office/drawing/2014/main" id="{B4BC0794-066E-1A39-ADD5-4F526D759FA3}"/>
                    </a:ext>
                  </a:extLst>
                </p:cNvPr>
                <p:cNvSpPr/>
                <p:nvPr/>
              </p:nvSpPr>
              <p:spPr>
                <a:xfrm>
                  <a:off x="8251819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4" name="Freeform: Shape 116">
                  <a:extLst>
                    <a:ext uri="{FF2B5EF4-FFF2-40B4-BE49-F238E27FC236}">
                      <a16:creationId xmlns:a16="http://schemas.microsoft.com/office/drawing/2014/main" id="{F0D53655-4E39-88F8-FA7E-19948BD0898A}"/>
                    </a:ext>
                  </a:extLst>
                </p:cNvPr>
                <p:cNvSpPr/>
                <p:nvPr/>
              </p:nvSpPr>
              <p:spPr>
                <a:xfrm>
                  <a:off x="8535188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5" name="Freeform: Shape 117">
                  <a:extLst>
                    <a:ext uri="{FF2B5EF4-FFF2-40B4-BE49-F238E27FC236}">
                      <a16:creationId xmlns:a16="http://schemas.microsoft.com/office/drawing/2014/main" id="{ABB2E37B-E187-B93A-6C70-B39E2D6B904C}"/>
                    </a:ext>
                  </a:extLst>
                </p:cNvPr>
                <p:cNvSpPr/>
                <p:nvPr/>
              </p:nvSpPr>
              <p:spPr>
                <a:xfrm>
                  <a:off x="8820938" y="3173920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6" name="Freeform: Shape 118">
                  <a:extLst>
                    <a:ext uri="{FF2B5EF4-FFF2-40B4-BE49-F238E27FC236}">
                      <a16:creationId xmlns:a16="http://schemas.microsoft.com/office/drawing/2014/main" id="{4A5807D9-3411-F962-D533-D645BADACA10}"/>
                    </a:ext>
                  </a:extLst>
                </p:cNvPr>
                <p:cNvSpPr/>
                <p:nvPr/>
              </p:nvSpPr>
              <p:spPr>
                <a:xfrm>
                  <a:off x="8251819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7" name="Freeform: Shape 119">
                  <a:extLst>
                    <a:ext uri="{FF2B5EF4-FFF2-40B4-BE49-F238E27FC236}">
                      <a16:creationId xmlns:a16="http://schemas.microsoft.com/office/drawing/2014/main" id="{C1C3A5B1-1B6E-4AE6-A7E1-59F48ACD14F1}"/>
                    </a:ext>
                  </a:extLst>
                </p:cNvPr>
                <p:cNvSpPr/>
                <p:nvPr/>
              </p:nvSpPr>
              <p:spPr>
                <a:xfrm>
                  <a:off x="8535188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8" name="Freeform: Shape 120">
                  <a:extLst>
                    <a:ext uri="{FF2B5EF4-FFF2-40B4-BE49-F238E27FC236}">
                      <a16:creationId xmlns:a16="http://schemas.microsoft.com/office/drawing/2014/main" id="{D0CC43CA-B668-2851-3E36-C7173F3035BE}"/>
                    </a:ext>
                  </a:extLst>
                </p:cNvPr>
                <p:cNvSpPr/>
                <p:nvPr/>
              </p:nvSpPr>
              <p:spPr>
                <a:xfrm>
                  <a:off x="8820938" y="345728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9" name="Freeform: Shape 121">
                  <a:extLst>
                    <a:ext uri="{FF2B5EF4-FFF2-40B4-BE49-F238E27FC236}">
                      <a16:creationId xmlns:a16="http://schemas.microsoft.com/office/drawing/2014/main" id="{4314DE94-3FE2-8F68-33A2-6ADD7DC0A585}"/>
                    </a:ext>
                  </a:extLst>
                </p:cNvPr>
                <p:cNvSpPr/>
                <p:nvPr/>
              </p:nvSpPr>
              <p:spPr>
                <a:xfrm>
                  <a:off x="8251819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0" name="Freeform: Shape 122">
                  <a:extLst>
                    <a:ext uri="{FF2B5EF4-FFF2-40B4-BE49-F238E27FC236}">
                      <a16:creationId xmlns:a16="http://schemas.microsoft.com/office/drawing/2014/main" id="{606428C5-13F5-340E-7FC8-238C6B401BAD}"/>
                    </a:ext>
                  </a:extLst>
                </p:cNvPr>
                <p:cNvSpPr/>
                <p:nvPr/>
              </p:nvSpPr>
              <p:spPr>
                <a:xfrm>
                  <a:off x="8535188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1" name="Freeform: Shape 123">
                  <a:extLst>
                    <a:ext uri="{FF2B5EF4-FFF2-40B4-BE49-F238E27FC236}">
                      <a16:creationId xmlns:a16="http://schemas.microsoft.com/office/drawing/2014/main" id="{9A9F1F3C-7B26-E6B1-D1C5-94D02D708B57}"/>
                    </a:ext>
                  </a:extLst>
                </p:cNvPr>
                <p:cNvSpPr/>
                <p:nvPr/>
              </p:nvSpPr>
              <p:spPr>
                <a:xfrm>
                  <a:off x="8820938" y="3743039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2" name="Freeform: Shape 124">
                  <a:extLst>
                    <a:ext uri="{FF2B5EF4-FFF2-40B4-BE49-F238E27FC236}">
                      <a16:creationId xmlns:a16="http://schemas.microsoft.com/office/drawing/2014/main" id="{6ADED82B-EBE2-0221-5F08-247DF31A4B5A}"/>
                    </a:ext>
                  </a:extLst>
                </p:cNvPr>
                <p:cNvSpPr/>
                <p:nvPr/>
              </p:nvSpPr>
              <p:spPr>
                <a:xfrm>
                  <a:off x="8251819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3" name="Freeform: Shape 125">
                  <a:extLst>
                    <a:ext uri="{FF2B5EF4-FFF2-40B4-BE49-F238E27FC236}">
                      <a16:creationId xmlns:a16="http://schemas.microsoft.com/office/drawing/2014/main" id="{C3337A6F-262B-BC81-1310-C5EF508ACC13}"/>
                    </a:ext>
                  </a:extLst>
                </p:cNvPr>
                <p:cNvSpPr/>
                <p:nvPr/>
              </p:nvSpPr>
              <p:spPr>
                <a:xfrm>
                  <a:off x="8820938" y="4024027"/>
                  <a:ext cx="118904" cy="183526"/>
                </a:xfrm>
                <a:custGeom>
                  <a:avLst/>
                  <a:gdLst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  <a:gd name="connsiteX8" fmla="*/ 3214 w 141991"/>
                    <a:gd name="connsiteY8" fmla="*/ 43149 h 191716"/>
                    <a:gd name="connsiteX9" fmla="*/ 3214 w 147385"/>
                    <a:gd name="connsiteY9" fmla="*/ 43149 h 185392"/>
                    <a:gd name="connsiteX10" fmla="*/ 2776 w 146947"/>
                    <a:gd name="connsiteY10" fmla="*/ 43149 h 185392"/>
                    <a:gd name="connsiteX11" fmla="*/ 2381 w 146552"/>
                    <a:gd name="connsiteY11" fmla="*/ 43149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14" fmla="*/ 19050 w 146552"/>
                    <a:gd name="connsiteY14" fmla="*/ 12192 h 185392"/>
                    <a:gd name="connsiteX15" fmla="*/ 19050 w 146382"/>
                    <a:gd name="connsiteY15" fmla="*/ 12192 h 185392"/>
                    <a:gd name="connsiteX16" fmla="*/ 19050 w 145256"/>
                    <a:gd name="connsiteY16" fmla="*/ 12192 h 185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5" name="Freeform: Shape 126">
                  <a:extLst>
                    <a:ext uri="{FF2B5EF4-FFF2-40B4-BE49-F238E27FC236}">
                      <a16:creationId xmlns:a16="http://schemas.microsoft.com/office/drawing/2014/main" id="{F1CC7197-11C0-2A15-2997-48E8B0598B78}"/>
                    </a:ext>
                  </a:extLst>
                </p:cNvPr>
                <p:cNvSpPr/>
                <p:nvPr/>
              </p:nvSpPr>
              <p:spPr>
                <a:xfrm>
                  <a:off x="8532684" y="4033947"/>
                  <a:ext cx="130302" cy="349935"/>
                </a:xfrm>
                <a:custGeom>
                  <a:avLst/>
                  <a:gdLst>
                    <a:gd name="connsiteX0" fmla="*/ 4096 w 130302"/>
                    <a:gd name="connsiteY0" fmla="*/ 349934 h 349935"/>
                    <a:gd name="connsiteX1" fmla="*/ 6477 w 130302"/>
                    <a:gd name="connsiteY1" fmla="*/ 140384 h 349935"/>
                    <a:gd name="connsiteX2" fmla="*/ 13620 w 130302"/>
                    <a:gd name="connsiteY2" fmla="*/ 2272 h 349935"/>
                    <a:gd name="connsiteX3" fmla="*/ 108872 w 130302"/>
                    <a:gd name="connsiteY3" fmla="*/ 4654 h 349935"/>
                    <a:gd name="connsiteX4" fmla="*/ 125539 w 130302"/>
                    <a:gd name="connsiteY4" fmla="*/ 54659 h 349935"/>
                    <a:gd name="connsiteX5" fmla="*/ 123159 w 130302"/>
                    <a:gd name="connsiteY5" fmla="*/ 218966 h 349935"/>
                    <a:gd name="connsiteX6" fmla="*/ 130302 w 130302"/>
                    <a:gd name="connsiteY6" fmla="*/ 349935 h 349935"/>
                    <a:gd name="connsiteX7" fmla="*/ 137446 w 137446"/>
                    <a:gd name="connsiteY7" fmla="*/ 352316 h 352316"/>
                    <a:gd name="connsiteX8" fmla="*/ 137670 w 137670"/>
                    <a:gd name="connsiteY8" fmla="*/ 352316 h 356165"/>
                    <a:gd name="connsiteX9" fmla="*/ 133350 w 133350"/>
                    <a:gd name="connsiteY9" fmla="*/ 365671 h 369520"/>
                    <a:gd name="connsiteX10" fmla="*/ 133350 w 133350"/>
                    <a:gd name="connsiteY10" fmla="*/ 365671 h 369520"/>
                    <a:gd name="connsiteX11" fmla="*/ 133350 w 133350"/>
                    <a:gd name="connsiteY11" fmla="*/ 368113 h 373676"/>
                    <a:gd name="connsiteX12" fmla="*/ 133350 w 133350"/>
                    <a:gd name="connsiteY12" fmla="*/ 368113 h 373676"/>
                    <a:gd name="connsiteX13" fmla="*/ 133350 w 133350"/>
                    <a:gd name="connsiteY13" fmla="*/ 368113 h 371621"/>
                    <a:gd name="connsiteX14" fmla="*/ 133350 w 133350"/>
                    <a:gd name="connsiteY14" fmla="*/ 368113 h 368263"/>
                    <a:gd name="connsiteX15" fmla="*/ 133350 w 133350"/>
                    <a:gd name="connsiteY15" fmla="*/ 368113 h 368113"/>
                    <a:gd name="connsiteX16" fmla="*/ 133350 w 133350"/>
                    <a:gd name="connsiteY16" fmla="*/ 368113 h 368113"/>
                    <a:gd name="connsiteX17" fmla="*/ 133350 w 133350"/>
                    <a:gd name="connsiteY17" fmla="*/ 368113 h 368113"/>
                    <a:gd name="connsiteX18" fmla="*/ 133350 w 133350"/>
                    <a:gd name="connsiteY18" fmla="*/ 368113 h 368113"/>
                    <a:gd name="connsiteX19" fmla="*/ 133350 w 133350"/>
                    <a:gd name="connsiteY19" fmla="*/ 368113 h 368113"/>
                    <a:gd name="connsiteX20" fmla="*/ 133350 w 133350"/>
                    <a:gd name="connsiteY20" fmla="*/ 368113 h 368113"/>
                    <a:gd name="connsiteX21" fmla="*/ 133350 w 133350"/>
                    <a:gd name="connsiteY21" fmla="*/ 368113 h 368113"/>
                    <a:gd name="connsiteX22" fmla="*/ 133350 w 133350"/>
                    <a:gd name="connsiteY22" fmla="*/ 368113 h 368113"/>
                    <a:gd name="connsiteX23" fmla="*/ 133350 w 133350"/>
                    <a:gd name="connsiteY23" fmla="*/ 368113 h 368113"/>
                    <a:gd name="connsiteX24" fmla="*/ 133350 w 133350"/>
                    <a:gd name="connsiteY24" fmla="*/ 368113 h 368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0302" h="349935">
                      <a:moveTo>
                        <a:pt x="4096" y="349934"/>
                      </a:moveTo>
                      <a:cubicBezTo>
                        <a:pt x="4592" y="306278"/>
                        <a:pt x="4890" y="198328"/>
                        <a:pt x="6477" y="140384"/>
                      </a:cubicBezTo>
                      <a:cubicBezTo>
                        <a:pt x="8064" y="82440"/>
                        <a:pt x="-13136" y="11605"/>
                        <a:pt x="13620" y="2272"/>
                      </a:cubicBezTo>
                      <a:cubicBezTo>
                        <a:pt x="30686" y="-3681"/>
                        <a:pt x="81884" y="3860"/>
                        <a:pt x="108872" y="4654"/>
                      </a:cubicBezTo>
                      <a:cubicBezTo>
                        <a:pt x="125144" y="6638"/>
                        <a:pt x="122364" y="49103"/>
                        <a:pt x="125539" y="54659"/>
                      </a:cubicBezTo>
                      <a:cubicBezTo>
                        <a:pt x="124746" y="109428"/>
                        <a:pt x="123952" y="164197"/>
                        <a:pt x="123159" y="218966"/>
                      </a:cubicBezTo>
                      <a:cubicBezTo>
                        <a:pt x="125143" y="268575"/>
                        <a:pt x="127326" y="322154"/>
                        <a:pt x="130302" y="349935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25" name="Graphic 9">
                <a:extLst>
                  <a:ext uri="{FF2B5EF4-FFF2-40B4-BE49-F238E27FC236}">
                    <a16:creationId xmlns:a16="http://schemas.microsoft.com/office/drawing/2014/main" id="{6116F8FC-5CF5-C1F1-DB5D-27F1705A790D}"/>
                  </a:ext>
                </a:extLst>
              </p:cNvPr>
              <p:cNvSpPr/>
              <p:nvPr/>
            </p:nvSpPr>
            <p:spPr>
              <a:xfrm>
                <a:off x="2650822" y="3565081"/>
                <a:ext cx="611595" cy="609442"/>
              </a:xfrm>
              <a:custGeom>
                <a:avLst/>
                <a:gdLst>
                  <a:gd name="connsiteX0" fmla="*/ 1045115 w 2090225"/>
                  <a:gd name="connsiteY0" fmla="*/ 2082868 h 2082867"/>
                  <a:gd name="connsiteX1" fmla="*/ 2090226 w 2090225"/>
                  <a:gd name="connsiteY1" fmla="*/ 1041435 h 2082867"/>
                  <a:gd name="connsiteX2" fmla="*/ 1045115 w 2090225"/>
                  <a:gd name="connsiteY2" fmla="*/ 0 h 2082867"/>
                  <a:gd name="connsiteX3" fmla="*/ 0 w 2090225"/>
                  <a:gd name="connsiteY3" fmla="*/ 1041435 h 2082867"/>
                  <a:gd name="connsiteX4" fmla="*/ 1045115 w 2090225"/>
                  <a:gd name="connsiteY4" fmla="*/ 2082868 h 208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0225" h="2082867">
                    <a:moveTo>
                      <a:pt x="1045115" y="2082868"/>
                    </a:moveTo>
                    <a:cubicBezTo>
                      <a:pt x="1622314" y="2082868"/>
                      <a:pt x="2090226" y="1616600"/>
                      <a:pt x="2090226" y="1041435"/>
                    </a:cubicBezTo>
                    <a:cubicBezTo>
                      <a:pt x="2090226" y="466266"/>
                      <a:pt x="1622314" y="0"/>
                      <a:pt x="1045115" y="0"/>
                    </a:cubicBezTo>
                    <a:cubicBezTo>
                      <a:pt x="467913" y="0"/>
                      <a:pt x="0" y="466266"/>
                      <a:pt x="0" y="1041435"/>
                    </a:cubicBezTo>
                    <a:cubicBezTo>
                      <a:pt x="0" y="1616600"/>
                      <a:pt x="467913" y="2082868"/>
                      <a:pt x="1045115" y="2082868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5213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S</a:t>
                </a:r>
              </a:p>
            </p:txBody>
          </p:sp>
          <p:sp>
            <p:nvSpPr>
              <p:cNvPr id="26" name="Graphic 7">
                <a:extLst>
                  <a:ext uri="{FF2B5EF4-FFF2-40B4-BE49-F238E27FC236}">
                    <a16:creationId xmlns:a16="http://schemas.microsoft.com/office/drawing/2014/main" id="{8C6ADF5F-3AFD-D3C6-8804-58E26F7CAB22}"/>
                  </a:ext>
                </a:extLst>
              </p:cNvPr>
              <p:cNvSpPr/>
              <p:nvPr/>
            </p:nvSpPr>
            <p:spPr>
              <a:xfrm>
                <a:off x="2631470" y="2724249"/>
                <a:ext cx="650299" cy="650299"/>
              </a:xfrm>
              <a:custGeom>
                <a:avLst/>
                <a:gdLst>
                  <a:gd name="connsiteX0" fmla="*/ 1999914 w 2149254"/>
                  <a:gd name="connsiteY0" fmla="*/ 714081 h 2149255"/>
                  <a:gd name="connsiteX1" fmla="*/ 1435173 w 2149254"/>
                  <a:gd name="connsiteY1" fmla="*/ 149343 h 2149255"/>
                  <a:gd name="connsiteX2" fmla="*/ 714080 w 2149254"/>
                  <a:gd name="connsiteY2" fmla="*/ 149343 h 2149255"/>
                  <a:gd name="connsiteX3" fmla="*/ 149344 w 2149254"/>
                  <a:gd name="connsiteY3" fmla="*/ 714081 h 2149255"/>
                  <a:gd name="connsiteX4" fmla="*/ 149344 w 2149254"/>
                  <a:gd name="connsiteY4" fmla="*/ 1435174 h 2149255"/>
                  <a:gd name="connsiteX5" fmla="*/ 714080 w 2149254"/>
                  <a:gd name="connsiteY5" fmla="*/ 1999915 h 2149255"/>
                  <a:gd name="connsiteX6" fmla="*/ 1435173 w 2149254"/>
                  <a:gd name="connsiteY6" fmla="*/ 1999915 h 2149255"/>
                  <a:gd name="connsiteX7" fmla="*/ 1999914 w 2149254"/>
                  <a:gd name="connsiteY7" fmla="*/ 1435174 h 2149255"/>
                  <a:gd name="connsiteX8" fmla="*/ 1999914 w 2149254"/>
                  <a:gd name="connsiteY8" fmla="*/ 714081 h 2149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49254" h="2149255">
                    <a:moveTo>
                      <a:pt x="1999914" y="714081"/>
                    </a:moveTo>
                    <a:lnTo>
                      <a:pt x="1435173" y="149343"/>
                    </a:lnTo>
                    <a:cubicBezTo>
                      <a:pt x="1236052" y="-49781"/>
                      <a:pt x="913207" y="-49781"/>
                      <a:pt x="714080" y="149343"/>
                    </a:cubicBezTo>
                    <a:lnTo>
                      <a:pt x="149344" y="714081"/>
                    </a:lnTo>
                    <a:cubicBezTo>
                      <a:pt x="-49781" y="913208"/>
                      <a:pt x="-49781" y="1236053"/>
                      <a:pt x="149344" y="1435174"/>
                    </a:cubicBezTo>
                    <a:lnTo>
                      <a:pt x="714080" y="1999915"/>
                    </a:lnTo>
                    <a:cubicBezTo>
                      <a:pt x="913207" y="2199036"/>
                      <a:pt x="1236052" y="2199036"/>
                      <a:pt x="1435173" y="1999915"/>
                    </a:cubicBezTo>
                    <a:lnTo>
                      <a:pt x="1999914" y="1435174"/>
                    </a:lnTo>
                    <a:cubicBezTo>
                      <a:pt x="2199035" y="1236053"/>
                      <a:pt x="2199035" y="913208"/>
                      <a:pt x="1999914" y="714081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5212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E</a:t>
                </a:r>
              </a:p>
            </p:txBody>
          </p:sp>
          <p:sp>
            <p:nvSpPr>
              <p:cNvPr id="27" name="Graphic 5">
                <a:extLst>
                  <a:ext uri="{FF2B5EF4-FFF2-40B4-BE49-F238E27FC236}">
                    <a16:creationId xmlns:a16="http://schemas.microsoft.com/office/drawing/2014/main" id="{E0BA5F52-1CE6-D2FE-0608-99A0ECBAD429}"/>
                  </a:ext>
                </a:extLst>
              </p:cNvPr>
              <p:cNvSpPr/>
              <p:nvPr/>
            </p:nvSpPr>
            <p:spPr>
              <a:xfrm>
                <a:off x="2670545" y="4365055"/>
                <a:ext cx="572149" cy="568076"/>
              </a:xfrm>
              <a:custGeom>
                <a:avLst/>
                <a:gdLst>
                  <a:gd name="connsiteX0" fmla="*/ 1540115 w 2068146"/>
                  <a:gd name="connsiteY0" fmla="*/ 109518 h 2053427"/>
                  <a:gd name="connsiteX1" fmla="*/ 882859 w 2068146"/>
                  <a:gd name="connsiteY1" fmla="*/ 6187 h 2053427"/>
                  <a:gd name="connsiteX2" fmla="*/ 356860 w 2068146"/>
                  <a:gd name="connsiteY2" fmla="*/ 272246 h 2053427"/>
                  <a:gd name="connsiteX3" fmla="*/ 54805 w 2068146"/>
                  <a:gd name="connsiteY3" fmla="*/ 861064 h 2053427"/>
                  <a:gd name="connsiteX4" fmla="*/ 147251 w 2068146"/>
                  <a:gd name="connsiteY4" fmla="*/ 1440064 h 2053427"/>
                  <a:gd name="connsiteX5" fmla="*/ 617883 w 2068146"/>
                  <a:gd name="connsiteY5" fmla="*/ 1907386 h 2053427"/>
                  <a:gd name="connsiteX6" fmla="*/ 1200983 w 2068146"/>
                  <a:gd name="connsiteY6" fmla="*/ 1999181 h 2053427"/>
                  <a:gd name="connsiteX7" fmla="*/ 1793969 w 2068146"/>
                  <a:gd name="connsiteY7" fmla="*/ 1699250 h 2053427"/>
                  <a:gd name="connsiteX8" fmla="*/ 2061914 w 2068146"/>
                  <a:gd name="connsiteY8" fmla="*/ 1176950 h 2053427"/>
                  <a:gd name="connsiteX9" fmla="*/ 1957854 w 2068146"/>
                  <a:gd name="connsiteY9" fmla="*/ 524316 h 2053427"/>
                  <a:gd name="connsiteX10" fmla="*/ 1540366 w 2068146"/>
                  <a:gd name="connsiteY10" fmla="*/ 109763 h 2053427"/>
                  <a:gd name="connsiteX11" fmla="*/ 1540115 w 2068146"/>
                  <a:gd name="connsiteY11" fmla="*/ 109518 h 205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68146" h="2053427">
                    <a:moveTo>
                      <a:pt x="1540115" y="109518"/>
                    </a:moveTo>
                    <a:lnTo>
                      <a:pt x="882859" y="6187"/>
                    </a:lnTo>
                    <a:cubicBezTo>
                      <a:pt x="668061" y="-27684"/>
                      <a:pt x="455732" y="79820"/>
                      <a:pt x="356860" y="272246"/>
                    </a:cubicBezTo>
                    <a:lnTo>
                      <a:pt x="54805" y="861064"/>
                    </a:lnTo>
                    <a:cubicBezTo>
                      <a:pt x="-44068" y="1053492"/>
                      <a:pt x="-6743" y="1287396"/>
                      <a:pt x="147251" y="1440064"/>
                    </a:cubicBezTo>
                    <a:lnTo>
                      <a:pt x="617883" y="1907386"/>
                    </a:lnTo>
                    <a:cubicBezTo>
                      <a:pt x="771631" y="2060049"/>
                      <a:pt x="1007193" y="2097111"/>
                      <a:pt x="1200983" y="1999181"/>
                    </a:cubicBezTo>
                    <a:lnTo>
                      <a:pt x="1793969" y="1699250"/>
                    </a:lnTo>
                    <a:cubicBezTo>
                      <a:pt x="1987764" y="1601069"/>
                      <a:pt x="2096029" y="1390235"/>
                      <a:pt x="2061914" y="1176950"/>
                    </a:cubicBezTo>
                    <a:lnTo>
                      <a:pt x="1957854" y="524316"/>
                    </a:lnTo>
                    <a:cubicBezTo>
                      <a:pt x="1923739" y="311026"/>
                      <a:pt x="1755409" y="143634"/>
                      <a:pt x="1540366" y="109763"/>
                    </a:cubicBezTo>
                    <a:lnTo>
                      <a:pt x="1540115" y="109518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5206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G</a:t>
                </a:r>
              </a:p>
            </p:txBody>
          </p:sp>
        </p:grp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8D6CE34B-5B3C-A267-94C1-FF11AAEDF0C2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497099" y="5203505"/>
              <a:ext cx="1146040" cy="697940"/>
            </a:xfrm>
            <a:prstGeom prst="rect">
              <a:avLst/>
            </a:prstGeom>
          </p:spPr>
        </p:pic>
      </p:grpSp>
      <p:pic>
        <p:nvPicPr>
          <p:cNvPr id="101" name="Grafik 100">
            <a:extLst>
              <a:ext uri="{FF2B5EF4-FFF2-40B4-BE49-F238E27FC236}">
                <a16:creationId xmlns:a16="http://schemas.microsoft.com/office/drawing/2014/main" id="{2E27A9DA-73E1-C666-FCE0-C44AB02D594D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1107706" y="3218932"/>
            <a:ext cx="414513" cy="414513"/>
          </a:xfrm>
          <a:prstGeom prst="rect">
            <a:avLst/>
          </a:prstGeom>
        </p:spPr>
      </p:pic>
      <p:grpSp>
        <p:nvGrpSpPr>
          <p:cNvPr id="102" name="Group 21">
            <a:extLst>
              <a:ext uri="{FF2B5EF4-FFF2-40B4-BE49-F238E27FC236}">
                <a16:creationId xmlns:a16="http://schemas.microsoft.com/office/drawing/2014/main" id="{2CC55877-FF66-4F3E-4649-3613795011D1}"/>
              </a:ext>
            </a:extLst>
          </p:cNvPr>
          <p:cNvGrpSpPr/>
          <p:nvPr/>
        </p:nvGrpSpPr>
        <p:grpSpPr>
          <a:xfrm>
            <a:off x="5039727" y="2703585"/>
            <a:ext cx="379410" cy="432074"/>
            <a:chOff x="3395346" y="1880433"/>
            <a:chExt cx="1633885" cy="2089588"/>
          </a:xfrm>
        </p:grpSpPr>
        <p:sp>
          <p:nvSpPr>
            <p:cNvPr id="103" name="Freeform: Shape 22">
              <a:extLst>
                <a:ext uri="{FF2B5EF4-FFF2-40B4-BE49-F238E27FC236}">
                  <a16:creationId xmlns:a16="http://schemas.microsoft.com/office/drawing/2014/main" id="{3D4DB056-D904-02D4-792D-6655699FD53A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04" name="Freeform: Shape 23">
              <a:extLst>
                <a:ext uri="{FF2B5EF4-FFF2-40B4-BE49-F238E27FC236}">
                  <a16:creationId xmlns:a16="http://schemas.microsoft.com/office/drawing/2014/main" id="{BCD83835-8CBC-E951-534B-74E1DA87BF22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05" name="Freeform: Shape 24">
              <a:extLst>
                <a:ext uri="{FF2B5EF4-FFF2-40B4-BE49-F238E27FC236}">
                  <a16:creationId xmlns:a16="http://schemas.microsoft.com/office/drawing/2014/main" id="{2D845719-E8EF-BD7F-3C77-F85F86F16251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06" name="Freeform: Shape 25">
              <a:extLst>
                <a:ext uri="{FF2B5EF4-FFF2-40B4-BE49-F238E27FC236}">
                  <a16:creationId xmlns:a16="http://schemas.microsoft.com/office/drawing/2014/main" id="{3AD8F8CF-4DED-5665-E026-01E287E2CBC8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E1EBE5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da-DK" sz="1400">
                  <a:latin typeface="Verdana" panose="020B0604030504040204" pitchFamily="34" charset="0"/>
                  <a:ea typeface="Verdana" panose="020B0604030504040204" pitchFamily="34" charset="0"/>
                </a:rPr>
                <a:t>…</a:t>
              </a:r>
            </a:p>
          </p:txBody>
        </p:sp>
        <p:sp>
          <p:nvSpPr>
            <p:cNvPr id="107" name="Freeform: Shape 26">
              <a:extLst>
                <a:ext uri="{FF2B5EF4-FFF2-40B4-BE49-F238E27FC236}">
                  <a16:creationId xmlns:a16="http://schemas.microsoft.com/office/drawing/2014/main" id="{93F317D3-0DA1-87F8-8D87-F6DC7AEAE9B6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08" name="Freeform: Shape 27">
              <a:extLst>
                <a:ext uri="{FF2B5EF4-FFF2-40B4-BE49-F238E27FC236}">
                  <a16:creationId xmlns:a16="http://schemas.microsoft.com/office/drawing/2014/main" id="{7435499B-8FB1-F24D-CAD3-97FE9AAFB60D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09" name="Freeform: Shape 28">
              <a:extLst>
                <a:ext uri="{FF2B5EF4-FFF2-40B4-BE49-F238E27FC236}">
                  <a16:creationId xmlns:a16="http://schemas.microsoft.com/office/drawing/2014/main" id="{91D436DD-150F-9E2D-F711-B2B50F980751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0" name="Freeform: Shape 29">
              <a:extLst>
                <a:ext uri="{FF2B5EF4-FFF2-40B4-BE49-F238E27FC236}">
                  <a16:creationId xmlns:a16="http://schemas.microsoft.com/office/drawing/2014/main" id="{3A84C2FE-C5BC-1E5F-1367-4D797FDFC079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grpSp>
        <p:nvGrpSpPr>
          <p:cNvPr id="111" name="Group 30">
            <a:extLst>
              <a:ext uri="{FF2B5EF4-FFF2-40B4-BE49-F238E27FC236}">
                <a16:creationId xmlns:a16="http://schemas.microsoft.com/office/drawing/2014/main" id="{9A772D6E-DAA3-9A86-3A1E-E9A8AA6E5396}"/>
              </a:ext>
            </a:extLst>
          </p:cNvPr>
          <p:cNvGrpSpPr/>
          <p:nvPr/>
        </p:nvGrpSpPr>
        <p:grpSpPr>
          <a:xfrm>
            <a:off x="4508251" y="2704409"/>
            <a:ext cx="381594" cy="416084"/>
            <a:chOff x="3395346" y="1880433"/>
            <a:chExt cx="1633885" cy="2089588"/>
          </a:xfrm>
        </p:grpSpPr>
        <p:sp>
          <p:nvSpPr>
            <p:cNvPr id="112" name="Freeform: Shape 31">
              <a:extLst>
                <a:ext uri="{FF2B5EF4-FFF2-40B4-BE49-F238E27FC236}">
                  <a16:creationId xmlns:a16="http://schemas.microsoft.com/office/drawing/2014/main" id="{8CE80B8E-7C58-3AAB-300E-5388A92B2CFE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3" name="Freeform: Shape 32">
              <a:extLst>
                <a:ext uri="{FF2B5EF4-FFF2-40B4-BE49-F238E27FC236}">
                  <a16:creationId xmlns:a16="http://schemas.microsoft.com/office/drawing/2014/main" id="{4AAD7267-DF8E-421C-45C7-91C7482BD512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4" name="Freeform: Shape 33">
              <a:extLst>
                <a:ext uri="{FF2B5EF4-FFF2-40B4-BE49-F238E27FC236}">
                  <a16:creationId xmlns:a16="http://schemas.microsoft.com/office/drawing/2014/main" id="{1367A48F-4A4F-5319-5E21-74CEE6C727AE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5" name="Freeform: Shape 34">
              <a:extLst>
                <a:ext uri="{FF2B5EF4-FFF2-40B4-BE49-F238E27FC236}">
                  <a16:creationId xmlns:a16="http://schemas.microsoft.com/office/drawing/2014/main" id="{C79CC15F-143B-55B2-6E43-916FB3276D52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da-DK" sz="1400">
                  <a:latin typeface="Verdana" panose="020B0604030504040204" pitchFamily="34" charset="0"/>
                  <a:ea typeface="Verdana" panose="020B0604030504040204" pitchFamily="34" charset="0"/>
                </a:rPr>
                <a:t>…</a:t>
              </a:r>
            </a:p>
          </p:txBody>
        </p:sp>
        <p:sp>
          <p:nvSpPr>
            <p:cNvPr id="116" name="Freeform: Shape 35">
              <a:extLst>
                <a:ext uri="{FF2B5EF4-FFF2-40B4-BE49-F238E27FC236}">
                  <a16:creationId xmlns:a16="http://schemas.microsoft.com/office/drawing/2014/main" id="{DD059DE2-7023-FF9C-5956-CCB7A3D8DC53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7" name="Freeform: Shape 36">
              <a:extLst>
                <a:ext uri="{FF2B5EF4-FFF2-40B4-BE49-F238E27FC236}">
                  <a16:creationId xmlns:a16="http://schemas.microsoft.com/office/drawing/2014/main" id="{6277F4AD-82A6-DA2C-A641-23591C64094A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8" name="Freeform: Shape 37">
              <a:extLst>
                <a:ext uri="{FF2B5EF4-FFF2-40B4-BE49-F238E27FC236}">
                  <a16:creationId xmlns:a16="http://schemas.microsoft.com/office/drawing/2014/main" id="{B135EF98-963F-92AF-563A-3E230BF4CF1A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19" name="Freeform: Shape 38">
              <a:extLst>
                <a:ext uri="{FF2B5EF4-FFF2-40B4-BE49-F238E27FC236}">
                  <a16:creationId xmlns:a16="http://schemas.microsoft.com/office/drawing/2014/main" id="{80C64140-8D69-3646-E530-4084633726F9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grpSp>
        <p:nvGrpSpPr>
          <p:cNvPr id="120" name="Group 39">
            <a:extLst>
              <a:ext uri="{FF2B5EF4-FFF2-40B4-BE49-F238E27FC236}">
                <a16:creationId xmlns:a16="http://schemas.microsoft.com/office/drawing/2014/main" id="{638F199B-1083-277D-A0B6-C41053F22133}"/>
              </a:ext>
            </a:extLst>
          </p:cNvPr>
          <p:cNvGrpSpPr/>
          <p:nvPr/>
        </p:nvGrpSpPr>
        <p:grpSpPr>
          <a:xfrm>
            <a:off x="3978956" y="2703584"/>
            <a:ext cx="381594" cy="409287"/>
            <a:chOff x="3395346" y="1880433"/>
            <a:chExt cx="1633885" cy="2089588"/>
          </a:xfrm>
        </p:grpSpPr>
        <p:sp>
          <p:nvSpPr>
            <p:cNvPr id="121" name="Freeform: Shape 40">
              <a:extLst>
                <a:ext uri="{FF2B5EF4-FFF2-40B4-BE49-F238E27FC236}">
                  <a16:creationId xmlns:a16="http://schemas.microsoft.com/office/drawing/2014/main" id="{23AFD569-7A79-8A1D-BE14-8CDF5280EED6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22" name="Freeform: Shape 41">
              <a:extLst>
                <a:ext uri="{FF2B5EF4-FFF2-40B4-BE49-F238E27FC236}">
                  <a16:creationId xmlns:a16="http://schemas.microsoft.com/office/drawing/2014/main" id="{EB6D905B-92AB-B199-B5ED-F88604988691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23" name="Freeform: Shape 42">
              <a:extLst>
                <a:ext uri="{FF2B5EF4-FFF2-40B4-BE49-F238E27FC236}">
                  <a16:creationId xmlns:a16="http://schemas.microsoft.com/office/drawing/2014/main" id="{0BEE4D31-481B-0570-B066-8D7B12E39E82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24" name="Freeform: Shape 43">
              <a:extLst>
                <a:ext uri="{FF2B5EF4-FFF2-40B4-BE49-F238E27FC236}">
                  <a16:creationId xmlns:a16="http://schemas.microsoft.com/office/drawing/2014/main" id="{720EB224-077B-1061-E0A1-5C291E401973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solidFill>
              <a:srgbClr val="FACCD0"/>
            </a:solidFill>
            <a:ln w="12700"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da-DK" sz="1400">
                  <a:latin typeface="Verdana" panose="020B0604030504040204" pitchFamily="34" charset="0"/>
                  <a:ea typeface="Verdana" panose="020B0604030504040204" pitchFamily="34" charset="0"/>
                </a:rPr>
                <a:t>…</a:t>
              </a:r>
            </a:p>
          </p:txBody>
        </p:sp>
        <p:sp>
          <p:nvSpPr>
            <p:cNvPr id="125" name="Freeform: Shape 44">
              <a:extLst>
                <a:ext uri="{FF2B5EF4-FFF2-40B4-BE49-F238E27FC236}">
                  <a16:creationId xmlns:a16="http://schemas.microsoft.com/office/drawing/2014/main" id="{41F5EAAA-EDB4-23DA-6962-504E4BEE2FF0}"/>
                </a:ext>
              </a:extLst>
            </p:cNvPr>
            <p:cNvSpPr/>
            <p:nvPr/>
          </p:nvSpPr>
          <p:spPr>
            <a:xfrm>
              <a:off x="3397293" y="1880433"/>
              <a:ext cx="1624532" cy="292545"/>
            </a:xfrm>
            <a:custGeom>
              <a:avLst/>
              <a:gdLst>
                <a:gd name="connsiteX0" fmla="*/ 4635 w 1125067"/>
                <a:gd name="connsiteY0" fmla="*/ 111074 h 202601"/>
                <a:gd name="connsiteX1" fmla="*/ 67500 w 1125067"/>
                <a:gd name="connsiteY1" fmla="*/ 145379 h 202601"/>
                <a:gd name="connsiteX2" fmla="*/ 123267 w 1125067"/>
                <a:gd name="connsiteY2" fmla="*/ 160097 h 202601"/>
                <a:gd name="connsiteX3" fmla="*/ 289125 w 1125067"/>
                <a:gd name="connsiteY3" fmla="*/ 190362 h 202601"/>
                <a:gd name="connsiteX4" fmla="*/ 437899 w 1125067"/>
                <a:gd name="connsiteY4" fmla="*/ 202130 h 202601"/>
                <a:gd name="connsiteX5" fmla="*/ 620964 w 1125067"/>
                <a:gd name="connsiteY5" fmla="*/ 200025 h 202601"/>
                <a:gd name="connsiteX6" fmla="*/ 673351 w 1125067"/>
                <a:gd name="connsiteY6" fmla="*/ 197644 h 202601"/>
                <a:gd name="connsiteX7" fmla="*/ 828810 w 1125067"/>
                <a:gd name="connsiteY7" fmla="*/ 186859 h 202601"/>
                <a:gd name="connsiteX8" fmla="*/ 968626 w 1125067"/>
                <a:gd name="connsiteY8" fmla="*/ 166687 h 202601"/>
                <a:gd name="connsiteX9" fmla="*/ 1060927 w 1125067"/>
                <a:gd name="connsiteY9" fmla="*/ 144135 h 202601"/>
                <a:gd name="connsiteX10" fmla="*/ 1122701 w 1125067"/>
                <a:gd name="connsiteY10" fmla="*/ 102808 h 202601"/>
                <a:gd name="connsiteX11" fmla="*/ 1103942 w 1125067"/>
                <a:gd name="connsiteY11" fmla="*/ 74387 h 202601"/>
                <a:gd name="connsiteX12" fmla="*/ 1026774 w 1125067"/>
                <a:gd name="connsiteY12" fmla="*/ 40496 h 202601"/>
                <a:gd name="connsiteX13" fmla="*/ 879522 w 1125067"/>
                <a:gd name="connsiteY13" fmla="*/ 12613 h 202601"/>
                <a:gd name="connsiteX14" fmla="*/ 780092 w 1125067"/>
                <a:gd name="connsiteY14" fmla="*/ 3226 h 202601"/>
                <a:gd name="connsiteX15" fmla="*/ 690727 w 1125067"/>
                <a:gd name="connsiteY15" fmla="*/ 2105 h 202601"/>
                <a:gd name="connsiteX16" fmla="*/ 556670 w 1125067"/>
                <a:gd name="connsiteY16" fmla="*/ 0 h 202601"/>
                <a:gd name="connsiteX17" fmla="*/ 345292 w 1125067"/>
                <a:gd name="connsiteY17" fmla="*/ 4901 h 202601"/>
                <a:gd name="connsiteX18" fmla="*/ 218824 w 1125067"/>
                <a:gd name="connsiteY18" fmla="*/ 15547 h 202601"/>
                <a:gd name="connsiteX19" fmla="*/ 60663 w 1125067"/>
                <a:gd name="connsiteY19" fmla="*/ 53093 h 202601"/>
                <a:gd name="connsiteX20" fmla="*/ 6601 w 1125067"/>
                <a:gd name="connsiteY20" fmla="*/ 80962 h 202601"/>
                <a:gd name="connsiteX21" fmla="*/ 4635 w 1125067"/>
                <a:gd name="connsiteY21" fmla="*/ 111074 h 202601"/>
                <a:gd name="connsiteX22" fmla="*/ 5566 w 1125768"/>
                <a:gd name="connsiteY22" fmla="*/ 111074 h 202601"/>
                <a:gd name="connsiteX23" fmla="*/ 5566 w 1126518"/>
                <a:gd name="connsiteY23" fmla="*/ 111074 h 202601"/>
                <a:gd name="connsiteX24" fmla="*/ 5566 w 1126518"/>
                <a:gd name="connsiteY24" fmla="*/ 111074 h 202601"/>
                <a:gd name="connsiteX25" fmla="*/ 5566 w 1126518"/>
                <a:gd name="connsiteY25" fmla="*/ 111074 h 205690"/>
                <a:gd name="connsiteX26" fmla="*/ 0 w 1128511"/>
                <a:gd name="connsiteY26" fmla="*/ 104775 h 207169"/>
                <a:gd name="connsiteX27" fmla="*/ 0 w 1128511"/>
                <a:gd name="connsiteY27" fmla="*/ 104775 h 207169"/>
                <a:gd name="connsiteX28" fmla="*/ 0 w 1128511"/>
                <a:gd name="connsiteY28" fmla="*/ 104775 h 207169"/>
                <a:gd name="connsiteX29" fmla="*/ 0 w 1121416"/>
                <a:gd name="connsiteY29" fmla="*/ 104775 h 207169"/>
                <a:gd name="connsiteX30" fmla="*/ 0 w 1121416"/>
                <a:gd name="connsiteY30" fmla="*/ 104775 h 207169"/>
                <a:gd name="connsiteX31" fmla="*/ 0 w 1121416"/>
                <a:gd name="connsiteY31" fmla="*/ 104775 h 207169"/>
                <a:gd name="connsiteX32" fmla="*/ 0 w 1121416"/>
                <a:gd name="connsiteY32" fmla="*/ 104775 h 207169"/>
                <a:gd name="connsiteX33" fmla="*/ 0 w 1121416"/>
                <a:gd name="connsiteY33" fmla="*/ 104775 h 207169"/>
                <a:gd name="connsiteX34" fmla="*/ 0 w 1121416"/>
                <a:gd name="connsiteY34" fmla="*/ 104775 h 207169"/>
                <a:gd name="connsiteX35" fmla="*/ 0 w 1121416"/>
                <a:gd name="connsiteY35" fmla="*/ 104775 h 207169"/>
                <a:gd name="connsiteX36" fmla="*/ 0 w 1121416"/>
                <a:gd name="connsiteY36" fmla="*/ 104775 h 207169"/>
                <a:gd name="connsiteX37" fmla="*/ 0 w 1121416"/>
                <a:gd name="connsiteY37" fmla="*/ 104775 h 207169"/>
                <a:gd name="connsiteX38" fmla="*/ 0 w 1121416"/>
                <a:gd name="connsiteY38" fmla="*/ 104775 h 207169"/>
                <a:gd name="connsiteX39" fmla="*/ 0 w 1121416"/>
                <a:gd name="connsiteY39" fmla="*/ 104775 h 207169"/>
                <a:gd name="connsiteX40" fmla="*/ 0 w 1121416"/>
                <a:gd name="connsiteY40" fmla="*/ 104775 h 207169"/>
                <a:gd name="connsiteX41" fmla="*/ 0 w 1121416"/>
                <a:gd name="connsiteY41" fmla="*/ 104775 h 207169"/>
                <a:gd name="connsiteX42" fmla="*/ 0 w 1121416"/>
                <a:gd name="connsiteY42" fmla="*/ 104775 h 207169"/>
                <a:gd name="connsiteX43" fmla="*/ 11907 w 1121416"/>
                <a:gd name="connsiteY43" fmla="*/ 111919 h 207169"/>
                <a:gd name="connsiteX44" fmla="*/ 11907 w 1121416"/>
                <a:gd name="connsiteY44" fmla="*/ 111919 h 207169"/>
                <a:gd name="connsiteX45" fmla="*/ 11907 w 1121416"/>
                <a:gd name="connsiteY45" fmla="*/ 111919 h 207169"/>
                <a:gd name="connsiteX46" fmla="*/ 11907 w 1121416"/>
                <a:gd name="connsiteY46" fmla="*/ 111919 h 207169"/>
                <a:gd name="connsiteX47" fmla="*/ 11907 w 1121416"/>
                <a:gd name="connsiteY47" fmla="*/ 111919 h 207169"/>
                <a:gd name="connsiteX48" fmla="*/ 11907 w 1121416"/>
                <a:gd name="connsiteY48" fmla="*/ 111919 h 207169"/>
                <a:gd name="connsiteX49" fmla="*/ 11907 w 1121416"/>
                <a:gd name="connsiteY49" fmla="*/ 111919 h 207169"/>
                <a:gd name="connsiteX50" fmla="*/ 11907 w 1121416"/>
                <a:gd name="connsiteY50" fmla="*/ 111919 h 207169"/>
                <a:gd name="connsiteX51" fmla="*/ 11907 w 1121416"/>
                <a:gd name="connsiteY51" fmla="*/ 111919 h 207169"/>
                <a:gd name="connsiteX52" fmla="*/ 11907 w 1121416"/>
                <a:gd name="connsiteY52" fmla="*/ 111919 h 207169"/>
                <a:gd name="connsiteX53" fmla="*/ 11907 w 1121416"/>
                <a:gd name="connsiteY53" fmla="*/ 111919 h 207169"/>
                <a:gd name="connsiteX54" fmla="*/ 11907 w 1121416"/>
                <a:gd name="connsiteY54" fmla="*/ 111919 h 207169"/>
                <a:gd name="connsiteX55" fmla="*/ 11907 w 1121416"/>
                <a:gd name="connsiteY55" fmla="*/ 111919 h 207169"/>
                <a:gd name="connsiteX56" fmla="*/ 11907 w 1121416"/>
                <a:gd name="connsiteY56" fmla="*/ 111919 h 207169"/>
                <a:gd name="connsiteX57" fmla="*/ 11907 w 1121416"/>
                <a:gd name="connsiteY57" fmla="*/ 111919 h 207169"/>
                <a:gd name="connsiteX58" fmla="*/ 11907 w 1121416"/>
                <a:gd name="connsiteY58" fmla="*/ 111919 h 207169"/>
                <a:gd name="connsiteX59" fmla="*/ 11907 w 1118595"/>
                <a:gd name="connsiteY59" fmla="*/ 111919 h 207169"/>
                <a:gd name="connsiteX60" fmla="*/ 11907 w 1117890"/>
                <a:gd name="connsiteY60" fmla="*/ 111919 h 207169"/>
                <a:gd name="connsiteX61" fmla="*/ 11907 w 1117890"/>
                <a:gd name="connsiteY61" fmla="*/ 111919 h 207169"/>
                <a:gd name="connsiteX62" fmla="*/ 11907 w 1116840"/>
                <a:gd name="connsiteY62" fmla="*/ 111919 h 207169"/>
                <a:gd name="connsiteX63" fmla="*/ 11907 w 1116840"/>
                <a:gd name="connsiteY63" fmla="*/ 111919 h 207169"/>
                <a:gd name="connsiteX64" fmla="*/ 11907 w 1116840"/>
                <a:gd name="connsiteY64" fmla="*/ 111919 h 207169"/>
                <a:gd name="connsiteX65" fmla="*/ 11907 w 1116840"/>
                <a:gd name="connsiteY65" fmla="*/ 111919 h 207169"/>
                <a:gd name="connsiteX66" fmla="*/ 11907 w 1116840"/>
                <a:gd name="connsiteY66" fmla="*/ 111919 h 207169"/>
                <a:gd name="connsiteX67" fmla="*/ 11907 w 1116840"/>
                <a:gd name="connsiteY67" fmla="*/ 111919 h 207169"/>
                <a:gd name="connsiteX68" fmla="*/ 11907 w 1116840"/>
                <a:gd name="connsiteY68" fmla="*/ 111919 h 207169"/>
                <a:gd name="connsiteX69" fmla="*/ 11907 w 1116840"/>
                <a:gd name="connsiteY69" fmla="*/ 111919 h 207169"/>
                <a:gd name="connsiteX70" fmla="*/ 11907 w 1116840"/>
                <a:gd name="connsiteY70" fmla="*/ 124159 h 219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5067" h="202601">
                  <a:moveTo>
                    <a:pt x="4635" y="111074"/>
                  </a:moveTo>
                  <a:cubicBezTo>
                    <a:pt x="14785" y="121810"/>
                    <a:pt x="47288" y="138367"/>
                    <a:pt x="67500" y="145379"/>
                  </a:cubicBezTo>
                  <a:cubicBezTo>
                    <a:pt x="91051" y="153549"/>
                    <a:pt x="86330" y="152600"/>
                    <a:pt x="123267" y="160097"/>
                  </a:cubicBezTo>
                  <a:cubicBezTo>
                    <a:pt x="160204" y="167594"/>
                    <a:pt x="236686" y="183356"/>
                    <a:pt x="289125" y="190362"/>
                  </a:cubicBezTo>
                  <a:cubicBezTo>
                    <a:pt x="341564" y="197368"/>
                    <a:pt x="388308" y="198207"/>
                    <a:pt x="437899" y="202130"/>
                  </a:cubicBezTo>
                  <a:cubicBezTo>
                    <a:pt x="493205" y="203740"/>
                    <a:pt x="581722" y="200773"/>
                    <a:pt x="620964" y="200025"/>
                  </a:cubicBezTo>
                  <a:cubicBezTo>
                    <a:pt x="660206" y="199277"/>
                    <a:pt x="655889" y="198438"/>
                    <a:pt x="673351" y="197644"/>
                  </a:cubicBezTo>
                  <a:cubicBezTo>
                    <a:pt x="718032" y="195729"/>
                    <a:pt x="770272" y="192553"/>
                    <a:pt x="828810" y="186859"/>
                  </a:cubicBezTo>
                  <a:cubicBezTo>
                    <a:pt x="887348" y="181165"/>
                    <a:pt x="928260" y="174858"/>
                    <a:pt x="968626" y="166687"/>
                  </a:cubicBezTo>
                  <a:cubicBezTo>
                    <a:pt x="1008992" y="158517"/>
                    <a:pt x="1035248" y="154782"/>
                    <a:pt x="1060927" y="144135"/>
                  </a:cubicBezTo>
                  <a:cubicBezTo>
                    <a:pt x="1086606" y="133489"/>
                    <a:pt x="1115532" y="114433"/>
                    <a:pt x="1122701" y="102808"/>
                  </a:cubicBezTo>
                  <a:cubicBezTo>
                    <a:pt x="1129870" y="91183"/>
                    <a:pt x="1119930" y="84772"/>
                    <a:pt x="1103942" y="74387"/>
                  </a:cubicBezTo>
                  <a:cubicBezTo>
                    <a:pt x="1087954" y="64002"/>
                    <a:pt x="1064177" y="50792"/>
                    <a:pt x="1026774" y="40496"/>
                  </a:cubicBezTo>
                  <a:cubicBezTo>
                    <a:pt x="989371" y="30200"/>
                    <a:pt x="922735" y="19454"/>
                    <a:pt x="879522" y="12613"/>
                  </a:cubicBezTo>
                  <a:cubicBezTo>
                    <a:pt x="836309" y="5772"/>
                    <a:pt x="811558" y="4977"/>
                    <a:pt x="780092" y="3226"/>
                  </a:cubicBezTo>
                  <a:cubicBezTo>
                    <a:pt x="748626" y="1475"/>
                    <a:pt x="727964" y="2643"/>
                    <a:pt x="690727" y="2105"/>
                  </a:cubicBezTo>
                  <a:cubicBezTo>
                    <a:pt x="653490" y="1567"/>
                    <a:pt x="604294" y="2506"/>
                    <a:pt x="556670" y="0"/>
                  </a:cubicBezTo>
                  <a:cubicBezTo>
                    <a:pt x="482851" y="794"/>
                    <a:pt x="401600" y="2310"/>
                    <a:pt x="345292" y="4901"/>
                  </a:cubicBezTo>
                  <a:cubicBezTo>
                    <a:pt x="288984" y="7492"/>
                    <a:pt x="271091" y="6885"/>
                    <a:pt x="218824" y="15547"/>
                  </a:cubicBezTo>
                  <a:cubicBezTo>
                    <a:pt x="183105" y="23881"/>
                    <a:pt x="101072" y="33372"/>
                    <a:pt x="60663" y="53093"/>
                  </a:cubicBezTo>
                  <a:cubicBezTo>
                    <a:pt x="27401" y="69326"/>
                    <a:pt x="15729" y="73818"/>
                    <a:pt x="6601" y="80962"/>
                  </a:cubicBezTo>
                  <a:cubicBezTo>
                    <a:pt x="3756" y="86654"/>
                    <a:pt x="-5515" y="100338"/>
                    <a:pt x="4635" y="111074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27" name="Freeform: Shape 45">
              <a:extLst>
                <a:ext uri="{FF2B5EF4-FFF2-40B4-BE49-F238E27FC236}">
                  <a16:creationId xmlns:a16="http://schemas.microsoft.com/office/drawing/2014/main" id="{3BF91067-B5DC-9D58-BE44-15157718DA53}"/>
                </a:ext>
              </a:extLst>
            </p:cNvPr>
            <p:cNvSpPr/>
            <p:nvPr/>
          </p:nvSpPr>
          <p:spPr>
            <a:xfrm>
              <a:off x="3395346" y="2639947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28" name="Freeform: Shape 46">
              <a:extLst>
                <a:ext uri="{FF2B5EF4-FFF2-40B4-BE49-F238E27FC236}">
                  <a16:creationId xmlns:a16="http://schemas.microsoft.com/office/drawing/2014/main" id="{FB7C35F1-156A-D3C0-E68E-CD71F193713B}"/>
                </a:ext>
              </a:extLst>
            </p:cNvPr>
            <p:cNvSpPr/>
            <p:nvPr/>
          </p:nvSpPr>
          <p:spPr>
            <a:xfrm>
              <a:off x="3395346" y="3242409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29" name="Freeform: Shape 47">
              <a:extLst>
                <a:ext uri="{FF2B5EF4-FFF2-40B4-BE49-F238E27FC236}">
                  <a16:creationId xmlns:a16="http://schemas.microsoft.com/office/drawing/2014/main" id="{68F5C987-DB91-DF42-F7A1-AC523C1E18A7}"/>
                </a:ext>
              </a:extLst>
            </p:cNvPr>
            <p:cNvSpPr/>
            <p:nvPr/>
          </p:nvSpPr>
          <p:spPr>
            <a:xfrm>
              <a:off x="3395346" y="2041850"/>
              <a:ext cx="1633885" cy="727612"/>
            </a:xfrm>
            <a:custGeom>
              <a:avLst/>
              <a:gdLst>
                <a:gd name="connsiteX0" fmla="*/ 3175 w 2851842"/>
                <a:gd name="connsiteY0" fmla="*/ 0 h 1270000"/>
                <a:gd name="connsiteX1" fmla="*/ 3175 w 2851842"/>
                <a:gd name="connsiteY1" fmla="*/ 38100 h 1270000"/>
                <a:gd name="connsiteX2" fmla="*/ 0 w 2851842"/>
                <a:gd name="connsiteY2" fmla="*/ 111125 h 1270000"/>
                <a:gd name="connsiteX3" fmla="*/ 3175 w 2851842"/>
                <a:gd name="connsiteY3" fmla="*/ 793750 h 1270000"/>
                <a:gd name="connsiteX4" fmla="*/ 9525 w 2851842"/>
                <a:gd name="connsiteY4" fmla="*/ 1025525 h 1270000"/>
                <a:gd name="connsiteX5" fmla="*/ 85725 w 2851842"/>
                <a:gd name="connsiteY5" fmla="*/ 1082675 h 1270000"/>
                <a:gd name="connsiteX6" fmla="*/ 203200 w 2851842"/>
                <a:gd name="connsiteY6" fmla="*/ 1136650 h 1270000"/>
                <a:gd name="connsiteX7" fmla="*/ 342900 w 2851842"/>
                <a:gd name="connsiteY7" fmla="*/ 1165225 h 1270000"/>
                <a:gd name="connsiteX8" fmla="*/ 695325 w 2851842"/>
                <a:gd name="connsiteY8" fmla="*/ 1225550 h 1270000"/>
                <a:gd name="connsiteX9" fmla="*/ 927100 w 2851842"/>
                <a:gd name="connsiteY9" fmla="*/ 1247775 h 1270000"/>
                <a:gd name="connsiteX10" fmla="*/ 1143000 w 2851842"/>
                <a:gd name="connsiteY10" fmla="*/ 1260475 h 1270000"/>
                <a:gd name="connsiteX11" fmla="*/ 1346200 w 2851842"/>
                <a:gd name="connsiteY11" fmla="*/ 1270000 h 1270000"/>
                <a:gd name="connsiteX12" fmla="*/ 1752600 w 2851842"/>
                <a:gd name="connsiteY12" fmla="*/ 1257300 h 1270000"/>
                <a:gd name="connsiteX13" fmla="*/ 2003425 w 2851842"/>
                <a:gd name="connsiteY13" fmla="*/ 1238250 h 1270000"/>
                <a:gd name="connsiteX14" fmla="*/ 2162175 w 2851842"/>
                <a:gd name="connsiteY14" fmla="*/ 1231900 h 1270000"/>
                <a:gd name="connsiteX15" fmla="*/ 2397125 w 2851842"/>
                <a:gd name="connsiteY15" fmla="*/ 1190625 h 1270000"/>
                <a:gd name="connsiteX16" fmla="*/ 2667000 w 2851842"/>
                <a:gd name="connsiteY16" fmla="*/ 1130300 h 1270000"/>
                <a:gd name="connsiteX17" fmla="*/ 2841625 w 2851842"/>
                <a:gd name="connsiteY17" fmla="*/ 1038225 h 1270000"/>
                <a:gd name="connsiteX18" fmla="*/ 2844800 w 2851842"/>
                <a:gd name="connsiteY18" fmla="*/ 692150 h 1270000"/>
                <a:gd name="connsiteX19" fmla="*/ 2838450 w 2851842"/>
                <a:gd name="connsiteY19" fmla="*/ 641350 h 1270000"/>
                <a:gd name="connsiteX20" fmla="*/ 2828925 w 2851842"/>
                <a:gd name="connsiteY20" fmla="*/ 384175 h 1270000"/>
                <a:gd name="connsiteX21" fmla="*/ 2838450 w 2851842"/>
                <a:gd name="connsiteY21" fmla="*/ 161925 h 1270000"/>
                <a:gd name="connsiteX22" fmla="*/ 2825750 w 2851842"/>
                <a:gd name="connsiteY22" fmla="*/ 19050 h 1270000"/>
                <a:gd name="connsiteX23" fmla="*/ 2720975 w 2851842"/>
                <a:gd name="connsiteY23" fmla="*/ 69850 h 1270000"/>
                <a:gd name="connsiteX24" fmla="*/ 2520950 w 2851842"/>
                <a:gd name="connsiteY24" fmla="*/ 123825 h 1270000"/>
                <a:gd name="connsiteX25" fmla="*/ 2146300 w 2851842"/>
                <a:gd name="connsiteY25" fmla="*/ 190500 h 1270000"/>
                <a:gd name="connsiteX26" fmla="*/ 1670050 w 2851842"/>
                <a:gd name="connsiteY26" fmla="*/ 228600 h 1270000"/>
                <a:gd name="connsiteX27" fmla="*/ 1044575 w 2851842"/>
                <a:gd name="connsiteY27" fmla="*/ 222250 h 1270000"/>
                <a:gd name="connsiteX28" fmla="*/ 666750 w 2851842"/>
                <a:gd name="connsiteY28" fmla="*/ 187325 h 1270000"/>
                <a:gd name="connsiteX29" fmla="*/ 374650 w 2851842"/>
                <a:gd name="connsiteY29" fmla="*/ 136525 h 1270000"/>
                <a:gd name="connsiteX30" fmla="*/ 57150 w 2851842"/>
                <a:gd name="connsiteY30" fmla="*/ 38100 h 1270000"/>
                <a:gd name="connsiteX31" fmla="*/ 3175 w 2851842"/>
                <a:gd name="connsiteY31" fmla="*/ 0 h 1270000"/>
                <a:gd name="connsiteX32" fmla="*/ 3175 w 2851842"/>
                <a:gd name="connsiteY32" fmla="*/ 0 h 1270000"/>
                <a:gd name="connsiteX33" fmla="*/ 3175 w 2851842"/>
                <a:gd name="connsiteY33" fmla="*/ 5431 h 1275431"/>
                <a:gd name="connsiteX34" fmla="*/ 3175 w 2851842"/>
                <a:gd name="connsiteY34" fmla="*/ 5431 h 1275431"/>
                <a:gd name="connsiteX35" fmla="*/ 3175 w 2851842"/>
                <a:gd name="connsiteY35" fmla="*/ 5431 h 1275431"/>
                <a:gd name="connsiteX36" fmla="*/ 3175 w 2851842"/>
                <a:gd name="connsiteY36" fmla="*/ 5431 h 1281781"/>
                <a:gd name="connsiteX37" fmla="*/ 13293 w 2861960"/>
                <a:gd name="connsiteY37" fmla="*/ 5431 h 1281781"/>
                <a:gd name="connsiteX38" fmla="*/ 15875 w 2864542"/>
                <a:gd name="connsiteY38" fmla="*/ 5431 h 1281781"/>
                <a:gd name="connsiteX39" fmla="*/ 15875 w 2864542"/>
                <a:gd name="connsiteY39" fmla="*/ 5431 h 1281781"/>
                <a:gd name="connsiteX40" fmla="*/ 15875 w 2864542"/>
                <a:gd name="connsiteY40" fmla="*/ 5431 h 1281781"/>
                <a:gd name="connsiteX41" fmla="*/ 15875 w 2864542"/>
                <a:gd name="connsiteY41" fmla="*/ 5431 h 1281781"/>
                <a:gd name="connsiteX42" fmla="*/ 15875 w 2864542"/>
                <a:gd name="connsiteY42" fmla="*/ 5431 h 1281781"/>
                <a:gd name="connsiteX43" fmla="*/ 15875 w 2864542"/>
                <a:gd name="connsiteY43" fmla="*/ 5431 h 1281781"/>
                <a:gd name="connsiteX44" fmla="*/ 15875 w 2864542"/>
                <a:gd name="connsiteY44" fmla="*/ 5431 h 1281781"/>
                <a:gd name="connsiteX45" fmla="*/ 15875 w 2864542"/>
                <a:gd name="connsiteY45" fmla="*/ 5431 h 1281781"/>
                <a:gd name="connsiteX46" fmla="*/ 15875 w 2864542"/>
                <a:gd name="connsiteY46" fmla="*/ 5431 h 1281781"/>
                <a:gd name="connsiteX47" fmla="*/ 15875 w 2864542"/>
                <a:gd name="connsiteY47" fmla="*/ 5431 h 1281781"/>
                <a:gd name="connsiteX48" fmla="*/ 15875 w 2864542"/>
                <a:gd name="connsiteY48" fmla="*/ 5431 h 1281781"/>
                <a:gd name="connsiteX49" fmla="*/ 15875 w 2864542"/>
                <a:gd name="connsiteY49" fmla="*/ 5431 h 1281781"/>
                <a:gd name="connsiteX50" fmla="*/ 15875 w 2864542"/>
                <a:gd name="connsiteY50" fmla="*/ 5431 h 1281781"/>
                <a:gd name="connsiteX51" fmla="*/ 15875 w 2864542"/>
                <a:gd name="connsiteY51" fmla="*/ 5431 h 1281781"/>
                <a:gd name="connsiteX52" fmla="*/ 15875 w 2864542"/>
                <a:gd name="connsiteY52" fmla="*/ 5431 h 1281781"/>
                <a:gd name="connsiteX53" fmla="*/ 15875 w 2864542"/>
                <a:gd name="connsiteY53" fmla="*/ 5431 h 1281781"/>
                <a:gd name="connsiteX54" fmla="*/ 15875 w 2864542"/>
                <a:gd name="connsiteY54" fmla="*/ 5431 h 1281781"/>
                <a:gd name="connsiteX55" fmla="*/ 15875 w 2864542"/>
                <a:gd name="connsiteY55" fmla="*/ 5431 h 1281781"/>
                <a:gd name="connsiteX56" fmla="*/ 15875 w 2864542"/>
                <a:gd name="connsiteY56" fmla="*/ 5431 h 1281781"/>
                <a:gd name="connsiteX57" fmla="*/ 15875 w 2864542"/>
                <a:gd name="connsiteY57" fmla="*/ 5431 h 1281781"/>
                <a:gd name="connsiteX58" fmla="*/ 15875 w 2864542"/>
                <a:gd name="connsiteY58" fmla="*/ 5431 h 1281781"/>
                <a:gd name="connsiteX59" fmla="*/ 15875 w 2864542"/>
                <a:gd name="connsiteY59" fmla="*/ 5431 h 1281781"/>
                <a:gd name="connsiteX60" fmla="*/ 15875 w 2864542"/>
                <a:gd name="connsiteY60" fmla="*/ 5431 h 1281781"/>
                <a:gd name="connsiteX61" fmla="*/ 15875 w 2864542"/>
                <a:gd name="connsiteY61" fmla="*/ 5431 h 1281781"/>
                <a:gd name="connsiteX62" fmla="*/ 15875 w 2864542"/>
                <a:gd name="connsiteY62" fmla="*/ 5431 h 1281781"/>
                <a:gd name="connsiteX63" fmla="*/ 15875 w 2864542"/>
                <a:gd name="connsiteY63" fmla="*/ 5431 h 1281781"/>
                <a:gd name="connsiteX64" fmla="*/ 15875 w 2864542"/>
                <a:gd name="connsiteY64" fmla="*/ 5431 h 1281781"/>
                <a:gd name="connsiteX65" fmla="*/ 15875 w 2864542"/>
                <a:gd name="connsiteY65" fmla="*/ 5431 h 1281781"/>
                <a:gd name="connsiteX66" fmla="*/ 15875 w 2864542"/>
                <a:gd name="connsiteY66" fmla="*/ 5431 h 1281781"/>
                <a:gd name="connsiteX67" fmla="*/ 15875 w 2864542"/>
                <a:gd name="connsiteY67" fmla="*/ 5431 h 1281781"/>
                <a:gd name="connsiteX68" fmla="*/ 15875 w 2864542"/>
                <a:gd name="connsiteY68" fmla="*/ 5431 h 1281781"/>
                <a:gd name="connsiteX69" fmla="*/ 15875 w 2864542"/>
                <a:gd name="connsiteY69" fmla="*/ 5431 h 1281781"/>
                <a:gd name="connsiteX70" fmla="*/ 15875 w 2864542"/>
                <a:gd name="connsiteY70" fmla="*/ 5431 h 1281781"/>
                <a:gd name="connsiteX71" fmla="*/ 15875 w 2864542"/>
                <a:gd name="connsiteY71" fmla="*/ 5431 h 1281781"/>
                <a:gd name="connsiteX72" fmla="*/ 15875 w 2864542"/>
                <a:gd name="connsiteY72" fmla="*/ 5431 h 1281781"/>
                <a:gd name="connsiteX73" fmla="*/ 15875 w 2864542"/>
                <a:gd name="connsiteY73" fmla="*/ 5431 h 1281781"/>
                <a:gd name="connsiteX74" fmla="*/ 15875 w 2864542"/>
                <a:gd name="connsiteY74" fmla="*/ 5431 h 1281781"/>
                <a:gd name="connsiteX75" fmla="*/ 15875 w 2864542"/>
                <a:gd name="connsiteY75" fmla="*/ 5431 h 1281781"/>
                <a:gd name="connsiteX76" fmla="*/ 15875 w 2864542"/>
                <a:gd name="connsiteY76" fmla="*/ 5431 h 1281781"/>
                <a:gd name="connsiteX77" fmla="*/ 15875 w 2864542"/>
                <a:gd name="connsiteY77" fmla="*/ 5431 h 1281781"/>
                <a:gd name="connsiteX78" fmla="*/ 15875 w 2864542"/>
                <a:gd name="connsiteY78" fmla="*/ 5431 h 1281781"/>
                <a:gd name="connsiteX79" fmla="*/ 15875 w 2864542"/>
                <a:gd name="connsiteY79" fmla="*/ 5431 h 1281781"/>
                <a:gd name="connsiteX80" fmla="*/ 15875 w 2864542"/>
                <a:gd name="connsiteY80" fmla="*/ 5431 h 1281781"/>
                <a:gd name="connsiteX81" fmla="*/ 15875 w 2864542"/>
                <a:gd name="connsiteY81" fmla="*/ 3191 h 1279541"/>
                <a:gd name="connsiteX82" fmla="*/ 15875 w 2864542"/>
                <a:gd name="connsiteY82" fmla="*/ 3191 h 1279541"/>
                <a:gd name="connsiteX83" fmla="*/ 15875 w 2864542"/>
                <a:gd name="connsiteY83" fmla="*/ 7767 h 1284117"/>
                <a:gd name="connsiteX84" fmla="*/ 15875 w 2864542"/>
                <a:gd name="connsiteY84" fmla="*/ 4649 h 1280999"/>
                <a:gd name="connsiteX85" fmla="*/ 15875 w 2864542"/>
                <a:gd name="connsiteY85" fmla="*/ 4649 h 1280999"/>
                <a:gd name="connsiteX86" fmla="*/ 15875 w 2864542"/>
                <a:gd name="connsiteY86" fmla="*/ 4649 h 1280999"/>
                <a:gd name="connsiteX87" fmla="*/ 15875 w 2864542"/>
                <a:gd name="connsiteY87" fmla="*/ 4649 h 1280999"/>
                <a:gd name="connsiteX88" fmla="*/ 15875 w 2864542"/>
                <a:gd name="connsiteY88" fmla="*/ 4649 h 1280999"/>
                <a:gd name="connsiteX89" fmla="*/ 15875 w 2864542"/>
                <a:gd name="connsiteY89" fmla="*/ 4649 h 1280999"/>
                <a:gd name="connsiteX90" fmla="*/ 15875 w 2864542"/>
                <a:gd name="connsiteY90" fmla="*/ 4649 h 1280999"/>
                <a:gd name="connsiteX91" fmla="*/ 15875 w 2864542"/>
                <a:gd name="connsiteY91" fmla="*/ 4649 h 1280999"/>
                <a:gd name="connsiteX92" fmla="*/ 15875 w 2864542"/>
                <a:gd name="connsiteY92" fmla="*/ 4649 h 1280999"/>
                <a:gd name="connsiteX93" fmla="*/ 15875 w 2864542"/>
                <a:gd name="connsiteY93" fmla="*/ 4649 h 1280999"/>
                <a:gd name="connsiteX94" fmla="*/ 15875 w 2864542"/>
                <a:gd name="connsiteY94" fmla="*/ 4649 h 1280999"/>
                <a:gd name="connsiteX95" fmla="*/ 15875 w 2864542"/>
                <a:gd name="connsiteY95" fmla="*/ 4649 h 1280999"/>
                <a:gd name="connsiteX96" fmla="*/ 15875 w 2864542"/>
                <a:gd name="connsiteY96" fmla="*/ 4649 h 1280999"/>
                <a:gd name="connsiteX97" fmla="*/ 15875 w 2864542"/>
                <a:gd name="connsiteY97" fmla="*/ 4649 h 1280999"/>
                <a:gd name="connsiteX98" fmla="*/ 15875 w 2864542"/>
                <a:gd name="connsiteY98" fmla="*/ 4649 h 1280999"/>
                <a:gd name="connsiteX99" fmla="*/ 15875 w 2864542"/>
                <a:gd name="connsiteY99" fmla="*/ 4649 h 1280999"/>
                <a:gd name="connsiteX100" fmla="*/ 15875 w 2864542"/>
                <a:gd name="connsiteY100" fmla="*/ 4649 h 1280999"/>
                <a:gd name="connsiteX101" fmla="*/ 15875 w 2864542"/>
                <a:gd name="connsiteY101" fmla="*/ 4649 h 1280999"/>
                <a:gd name="connsiteX102" fmla="*/ 15875 w 2864542"/>
                <a:gd name="connsiteY102" fmla="*/ 4649 h 1280999"/>
                <a:gd name="connsiteX103" fmla="*/ 15875 w 2864542"/>
                <a:gd name="connsiteY103" fmla="*/ 4649 h 1280999"/>
                <a:gd name="connsiteX104" fmla="*/ 15875 w 2864542"/>
                <a:gd name="connsiteY104" fmla="*/ 4649 h 1280999"/>
                <a:gd name="connsiteX105" fmla="*/ 15875 w 2864542"/>
                <a:gd name="connsiteY105" fmla="*/ 4649 h 1280999"/>
                <a:gd name="connsiteX106" fmla="*/ 15875 w 2864542"/>
                <a:gd name="connsiteY106" fmla="*/ 4649 h 1280999"/>
                <a:gd name="connsiteX107" fmla="*/ 15875 w 2864542"/>
                <a:gd name="connsiteY107" fmla="*/ 4649 h 1280999"/>
                <a:gd name="connsiteX108" fmla="*/ 15875 w 2864542"/>
                <a:gd name="connsiteY108" fmla="*/ 4649 h 1280999"/>
                <a:gd name="connsiteX109" fmla="*/ 15875 w 2864542"/>
                <a:gd name="connsiteY109" fmla="*/ 4649 h 1280999"/>
                <a:gd name="connsiteX110" fmla="*/ 15875 w 2864542"/>
                <a:gd name="connsiteY110" fmla="*/ 4649 h 1280999"/>
                <a:gd name="connsiteX111" fmla="*/ 15875 w 2864542"/>
                <a:gd name="connsiteY111" fmla="*/ 4649 h 1280999"/>
                <a:gd name="connsiteX112" fmla="*/ 15875 w 2864542"/>
                <a:gd name="connsiteY112" fmla="*/ 4649 h 1280999"/>
                <a:gd name="connsiteX113" fmla="*/ 15875 w 2864542"/>
                <a:gd name="connsiteY113" fmla="*/ 4649 h 1280999"/>
                <a:gd name="connsiteX114" fmla="*/ 15875 w 2864542"/>
                <a:gd name="connsiteY114" fmla="*/ 4649 h 1280999"/>
                <a:gd name="connsiteX115" fmla="*/ 15875 w 2864542"/>
                <a:gd name="connsiteY115" fmla="*/ 4649 h 1280999"/>
                <a:gd name="connsiteX116" fmla="*/ 15875 w 2864542"/>
                <a:gd name="connsiteY116" fmla="*/ 4649 h 1280999"/>
                <a:gd name="connsiteX117" fmla="*/ 15875 w 2864542"/>
                <a:gd name="connsiteY117" fmla="*/ 4649 h 1280999"/>
                <a:gd name="connsiteX118" fmla="*/ 15875 w 2864542"/>
                <a:gd name="connsiteY118" fmla="*/ 4649 h 1280999"/>
                <a:gd name="connsiteX119" fmla="*/ 15875 w 2864542"/>
                <a:gd name="connsiteY119" fmla="*/ 4649 h 1280999"/>
                <a:gd name="connsiteX120" fmla="*/ 15875 w 2864542"/>
                <a:gd name="connsiteY120" fmla="*/ 4649 h 128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1842" h="1270000">
                  <a:moveTo>
                    <a:pt x="3175" y="0"/>
                  </a:moveTo>
                  <a:cubicBezTo>
                    <a:pt x="3175" y="3175"/>
                    <a:pt x="5538" y="2656"/>
                    <a:pt x="3175" y="38100"/>
                  </a:cubicBezTo>
                  <a:cubicBezTo>
                    <a:pt x="1554" y="62411"/>
                    <a:pt x="1058" y="86783"/>
                    <a:pt x="0" y="111125"/>
                  </a:cubicBezTo>
                  <a:cubicBezTo>
                    <a:pt x="1058" y="338667"/>
                    <a:pt x="6689" y="566233"/>
                    <a:pt x="3175" y="793750"/>
                  </a:cubicBezTo>
                  <a:cubicBezTo>
                    <a:pt x="1588" y="944562"/>
                    <a:pt x="-4233" y="977371"/>
                    <a:pt x="9525" y="1025525"/>
                  </a:cubicBezTo>
                  <a:cubicBezTo>
                    <a:pt x="23283" y="1073679"/>
                    <a:pt x="53446" y="1064154"/>
                    <a:pt x="85725" y="1082675"/>
                  </a:cubicBezTo>
                  <a:cubicBezTo>
                    <a:pt x="118004" y="1101196"/>
                    <a:pt x="160338" y="1122892"/>
                    <a:pt x="203200" y="1136650"/>
                  </a:cubicBezTo>
                  <a:cubicBezTo>
                    <a:pt x="246062" y="1150408"/>
                    <a:pt x="260879" y="1150408"/>
                    <a:pt x="342900" y="1165225"/>
                  </a:cubicBezTo>
                  <a:cubicBezTo>
                    <a:pt x="424921" y="1180042"/>
                    <a:pt x="597958" y="1211792"/>
                    <a:pt x="695325" y="1225550"/>
                  </a:cubicBezTo>
                  <a:cubicBezTo>
                    <a:pt x="792692" y="1239308"/>
                    <a:pt x="852488" y="1241954"/>
                    <a:pt x="927100" y="1247775"/>
                  </a:cubicBezTo>
                  <a:cubicBezTo>
                    <a:pt x="1001713" y="1253596"/>
                    <a:pt x="1073150" y="1256771"/>
                    <a:pt x="1143000" y="1260475"/>
                  </a:cubicBezTo>
                  <a:cubicBezTo>
                    <a:pt x="1198731" y="1264762"/>
                    <a:pt x="1314141" y="1269116"/>
                    <a:pt x="1346200" y="1270000"/>
                  </a:cubicBezTo>
                  <a:lnTo>
                    <a:pt x="1752600" y="1257300"/>
                  </a:lnTo>
                  <a:cubicBezTo>
                    <a:pt x="1810808" y="1250950"/>
                    <a:pt x="1935163" y="1242483"/>
                    <a:pt x="2003425" y="1238250"/>
                  </a:cubicBezTo>
                  <a:cubicBezTo>
                    <a:pt x="2071687" y="1234017"/>
                    <a:pt x="2124075" y="1237721"/>
                    <a:pt x="2162175" y="1231900"/>
                  </a:cubicBezTo>
                  <a:lnTo>
                    <a:pt x="2397125" y="1190625"/>
                  </a:lnTo>
                  <a:cubicBezTo>
                    <a:pt x="2469621" y="1178454"/>
                    <a:pt x="2603500" y="1157287"/>
                    <a:pt x="2667000" y="1130300"/>
                  </a:cubicBezTo>
                  <a:lnTo>
                    <a:pt x="2841625" y="1038225"/>
                  </a:lnTo>
                  <a:cubicBezTo>
                    <a:pt x="2857067" y="891527"/>
                    <a:pt x="2852345" y="958738"/>
                    <a:pt x="2844800" y="692150"/>
                  </a:cubicBezTo>
                  <a:cubicBezTo>
                    <a:pt x="2844317" y="675092"/>
                    <a:pt x="2841096" y="692679"/>
                    <a:pt x="2838450" y="641350"/>
                  </a:cubicBezTo>
                  <a:cubicBezTo>
                    <a:pt x="2835804" y="590021"/>
                    <a:pt x="2828925" y="464079"/>
                    <a:pt x="2828925" y="384175"/>
                  </a:cubicBezTo>
                  <a:cubicBezTo>
                    <a:pt x="2828925" y="304271"/>
                    <a:pt x="2838979" y="222779"/>
                    <a:pt x="2838450" y="161925"/>
                  </a:cubicBezTo>
                  <a:cubicBezTo>
                    <a:pt x="2837921" y="101071"/>
                    <a:pt x="2845329" y="34396"/>
                    <a:pt x="2825750" y="19050"/>
                  </a:cubicBezTo>
                  <a:cubicBezTo>
                    <a:pt x="2806171" y="3704"/>
                    <a:pt x="2771775" y="52388"/>
                    <a:pt x="2720975" y="69850"/>
                  </a:cubicBezTo>
                  <a:cubicBezTo>
                    <a:pt x="2670175" y="87312"/>
                    <a:pt x="2618317" y="103717"/>
                    <a:pt x="2520950" y="123825"/>
                  </a:cubicBezTo>
                  <a:cubicBezTo>
                    <a:pt x="2423583" y="143933"/>
                    <a:pt x="2288117" y="173038"/>
                    <a:pt x="2146300" y="190500"/>
                  </a:cubicBezTo>
                  <a:cubicBezTo>
                    <a:pt x="2004483" y="207963"/>
                    <a:pt x="1851025" y="222250"/>
                    <a:pt x="1670050" y="228600"/>
                  </a:cubicBezTo>
                  <a:lnTo>
                    <a:pt x="1044575" y="222250"/>
                  </a:lnTo>
                  <a:cubicBezTo>
                    <a:pt x="978958" y="215371"/>
                    <a:pt x="778404" y="201613"/>
                    <a:pt x="666750" y="187325"/>
                  </a:cubicBezTo>
                  <a:cubicBezTo>
                    <a:pt x="555096" y="173038"/>
                    <a:pt x="476250" y="161396"/>
                    <a:pt x="374650" y="136525"/>
                  </a:cubicBezTo>
                  <a:cubicBezTo>
                    <a:pt x="198967" y="106892"/>
                    <a:pt x="123296" y="59267"/>
                    <a:pt x="57150" y="38100"/>
                  </a:cubicBezTo>
                  <a:cubicBezTo>
                    <a:pt x="-4763" y="15346"/>
                    <a:pt x="12171" y="0"/>
                    <a:pt x="3175" y="0"/>
                  </a:cubicBez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pic>
        <p:nvPicPr>
          <p:cNvPr id="147" name="Billede 146">
            <a:extLst>
              <a:ext uri="{FF2B5EF4-FFF2-40B4-BE49-F238E27FC236}">
                <a16:creationId xmlns:a16="http://schemas.microsoft.com/office/drawing/2014/main" id="{5B8C0DB8-4887-23F5-1C31-AD9D19DA21BB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 rot="20684350">
            <a:off x="4463241" y="3293229"/>
            <a:ext cx="387624" cy="7962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828782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: afrundede hjørner 22">
            <a:extLst>
              <a:ext uri="{FF2B5EF4-FFF2-40B4-BE49-F238E27FC236}">
                <a16:creationId xmlns:a16="http://schemas.microsoft.com/office/drawing/2014/main" id="{C3E8EC07-4F82-1655-3426-1E74F9A810C6}"/>
              </a:ext>
            </a:extLst>
          </p:cNvPr>
          <p:cNvSpPr/>
          <p:nvPr/>
        </p:nvSpPr>
        <p:spPr>
          <a:xfrm>
            <a:off x="3132330" y="4714754"/>
            <a:ext cx="5927339" cy="1677037"/>
          </a:xfrm>
          <a:custGeom>
            <a:avLst/>
            <a:gdLst>
              <a:gd name="csX0" fmla="*/ 0 w 5927339"/>
              <a:gd name="csY0" fmla="*/ 279512 h 1677037"/>
              <a:gd name="csX1" fmla="*/ 279512 w 5927339"/>
              <a:gd name="csY1" fmla="*/ 0 h 1677037"/>
              <a:gd name="csX2" fmla="*/ 1057918 w 5927339"/>
              <a:gd name="csY2" fmla="*/ 0 h 1677037"/>
              <a:gd name="csX3" fmla="*/ 1675274 w 5927339"/>
              <a:gd name="csY3" fmla="*/ 0 h 1677037"/>
              <a:gd name="csX4" fmla="*/ 2238947 w 5927339"/>
              <a:gd name="csY4" fmla="*/ 0 h 1677037"/>
              <a:gd name="csX5" fmla="*/ 2963670 w 5927339"/>
              <a:gd name="csY5" fmla="*/ 0 h 1677037"/>
              <a:gd name="csX6" fmla="*/ 3581026 w 5927339"/>
              <a:gd name="csY6" fmla="*/ 0 h 1677037"/>
              <a:gd name="csX7" fmla="*/ 4359431 w 5927339"/>
              <a:gd name="csY7" fmla="*/ 0 h 1677037"/>
              <a:gd name="csX8" fmla="*/ 4923104 w 5927339"/>
              <a:gd name="csY8" fmla="*/ 0 h 1677037"/>
              <a:gd name="csX9" fmla="*/ 5647827 w 5927339"/>
              <a:gd name="csY9" fmla="*/ 0 h 1677037"/>
              <a:gd name="csX10" fmla="*/ 5927339 w 5927339"/>
              <a:gd name="csY10" fmla="*/ 279512 h 1677037"/>
              <a:gd name="csX11" fmla="*/ 5927339 w 5927339"/>
              <a:gd name="csY11" fmla="*/ 838519 h 1677037"/>
              <a:gd name="csX12" fmla="*/ 5927339 w 5927339"/>
              <a:gd name="csY12" fmla="*/ 1397525 h 1677037"/>
              <a:gd name="csX13" fmla="*/ 5647827 w 5927339"/>
              <a:gd name="csY13" fmla="*/ 1677037 h 1677037"/>
              <a:gd name="csX14" fmla="*/ 4976788 w 5927339"/>
              <a:gd name="csY14" fmla="*/ 1677037 h 1677037"/>
              <a:gd name="csX15" fmla="*/ 4305748 w 5927339"/>
              <a:gd name="csY15" fmla="*/ 1677037 h 1677037"/>
              <a:gd name="csX16" fmla="*/ 3527343 w 5927339"/>
              <a:gd name="csY16" fmla="*/ 1677037 h 1677037"/>
              <a:gd name="csX17" fmla="*/ 2856303 w 5927339"/>
              <a:gd name="csY17" fmla="*/ 1677037 h 1677037"/>
              <a:gd name="csX18" fmla="*/ 2346313 w 5927339"/>
              <a:gd name="csY18" fmla="*/ 1677037 h 1677037"/>
              <a:gd name="csX19" fmla="*/ 1782640 w 5927339"/>
              <a:gd name="csY19" fmla="*/ 1677037 h 1677037"/>
              <a:gd name="csX20" fmla="*/ 1004235 w 5927339"/>
              <a:gd name="csY20" fmla="*/ 1677037 h 1677037"/>
              <a:gd name="csX21" fmla="*/ 279512 w 5927339"/>
              <a:gd name="csY21" fmla="*/ 1677037 h 1677037"/>
              <a:gd name="csX22" fmla="*/ 0 w 5927339"/>
              <a:gd name="csY22" fmla="*/ 1397525 h 1677037"/>
              <a:gd name="csX23" fmla="*/ 0 w 5927339"/>
              <a:gd name="csY23" fmla="*/ 827338 h 1677037"/>
              <a:gd name="csX24" fmla="*/ 0 w 5927339"/>
              <a:gd name="csY24" fmla="*/ 279512 h 167703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</a:cxnLst>
            <a:rect l="l" t="t" r="r" b="b"/>
            <a:pathLst>
              <a:path w="5927339" h="1677037" extrusionOk="0">
                <a:moveTo>
                  <a:pt x="0" y="279512"/>
                </a:moveTo>
                <a:cubicBezTo>
                  <a:pt x="-16493" y="114969"/>
                  <a:pt x="91324" y="12692"/>
                  <a:pt x="279512" y="0"/>
                </a:cubicBezTo>
                <a:cubicBezTo>
                  <a:pt x="636476" y="19151"/>
                  <a:pt x="776041" y="30074"/>
                  <a:pt x="1057918" y="0"/>
                </a:cubicBezTo>
                <a:cubicBezTo>
                  <a:pt x="1339795" y="-30074"/>
                  <a:pt x="1468043" y="14741"/>
                  <a:pt x="1675274" y="0"/>
                </a:cubicBezTo>
                <a:cubicBezTo>
                  <a:pt x="1882505" y="-14741"/>
                  <a:pt x="1993441" y="-17475"/>
                  <a:pt x="2238947" y="0"/>
                </a:cubicBezTo>
                <a:cubicBezTo>
                  <a:pt x="2484453" y="17475"/>
                  <a:pt x="2711518" y="5860"/>
                  <a:pt x="2963670" y="0"/>
                </a:cubicBezTo>
                <a:cubicBezTo>
                  <a:pt x="3215822" y="-5860"/>
                  <a:pt x="3433052" y="-3077"/>
                  <a:pt x="3581026" y="0"/>
                </a:cubicBezTo>
                <a:cubicBezTo>
                  <a:pt x="3729000" y="3077"/>
                  <a:pt x="4162963" y="-29695"/>
                  <a:pt x="4359431" y="0"/>
                </a:cubicBezTo>
                <a:cubicBezTo>
                  <a:pt x="4555899" y="29695"/>
                  <a:pt x="4716861" y="4847"/>
                  <a:pt x="4923104" y="0"/>
                </a:cubicBezTo>
                <a:cubicBezTo>
                  <a:pt x="5129347" y="-4847"/>
                  <a:pt x="5459509" y="-35204"/>
                  <a:pt x="5647827" y="0"/>
                </a:cubicBezTo>
                <a:cubicBezTo>
                  <a:pt x="5812724" y="2531"/>
                  <a:pt x="5905301" y="121578"/>
                  <a:pt x="5927339" y="279512"/>
                </a:cubicBezTo>
                <a:cubicBezTo>
                  <a:pt x="5907756" y="555655"/>
                  <a:pt x="5942410" y="589850"/>
                  <a:pt x="5927339" y="838519"/>
                </a:cubicBezTo>
                <a:cubicBezTo>
                  <a:pt x="5912268" y="1087188"/>
                  <a:pt x="5948844" y="1200672"/>
                  <a:pt x="5927339" y="1397525"/>
                </a:cubicBezTo>
                <a:cubicBezTo>
                  <a:pt x="5938411" y="1565458"/>
                  <a:pt x="5824865" y="1657190"/>
                  <a:pt x="5647827" y="1677037"/>
                </a:cubicBezTo>
                <a:cubicBezTo>
                  <a:pt x="5510074" y="1682286"/>
                  <a:pt x="5168259" y="1692054"/>
                  <a:pt x="4976788" y="1677037"/>
                </a:cubicBezTo>
                <a:cubicBezTo>
                  <a:pt x="4785317" y="1662020"/>
                  <a:pt x="4605560" y="1707466"/>
                  <a:pt x="4305748" y="1677037"/>
                </a:cubicBezTo>
                <a:cubicBezTo>
                  <a:pt x="4005936" y="1646608"/>
                  <a:pt x="3803533" y="1671438"/>
                  <a:pt x="3527343" y="1677037"/>
                </a:cubicBezTo>
                <a:cubicBezTo>
                  <a:pt x="3251153" y="1682636"/>
                  <a:pt x="3183692" y="1709995"/>
                  <a:pt x="2856303" y="1677037"/>
                </a:cubicBezTo>
                <a:cubicBezTo>
                  <a:pt x="2528914" y="1644079"/>
                  <a:pt x="2521712" y="1654971"/>
                  <a:pt x="2346313" y="1677037"/>
                </a:cubicBezTo>
                <a:cubicBezTo>
                  <a:pt x="2170914" y="1699104"/>
                  <a:pt x="1995712" y="1666723"/>
                  <a:pt x="1782640" y="1677037"/>
                </a:cubicBezTo>
                <a:cubicBezTo>
                  <a:pt x="1569568" y="1687351"/>
                  <a:pt x="1192724" y="1692977"/>
                  <a:pt x="1004235" y="1677037"/>
                </a:cubicBezTo>
                <a:cubicBezTo>
                  <a:pt x="815746" y="1661097"/>
                  <a:pt x="526587" y="1676562"/>
                  <a:pt x="279512" y="1677037"/>
                </a:cubicBezTo>
                <a:cubicBezTo>
                  <a:pt x="128144" y="1682981"/>
                  <a:pt x="-28197" y="1566765"/>
                  <a:pt x="0" y="1397525"/>
                </a:cubicBezTo>
                <a:cubicBezTo>
                  <a:pt x="-24155" y="1151821"/>
                  <a:pt x="9075" y="1026798"/>
                  <a:pt x="0" y="827338"/>
                </a:cubicBezTo>
                <a:cubicBezTo>
                  <a:pt x="-9075" y="627878"/>
                  <a:pt x="-18046" y="416200"/>
                  <a:pt x="0" y="279512"/>
                </a:cubicBezTo>
                <a:close/>
              </a:path>
            </a:pathLst>
          </a:custGeom>
          <a:noFill/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5712D06-DA37-080F-0D04-DDDF36AFCE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>
                <a:solidFill>
                  <a:schemeClr val="accent4">
                    <a:lumMod val="50000"/>
                  </a:schemeClr>
                </a:solidFill>
              </a:rPr>
              <a:t>Sådan virker AlmenKompas i praksis</a:t>
            </a:r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CC5BA07-48A3-7FF9-47A5-FE8DD15E15C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3C6C65D6-6224-0243-4CA9-FD1DB5D6A8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Produkter, materialer og vejledninger</a:t>
            </a:r>
          </a:p>
        </p:txBody>
      </p:sp>
      <p:pic>
        <p:nvPicPr>
          <p:cNvPr id="7" name="Picture 2" descr="Et billede, der indeholder cirkel, Farverigt, Grafik, Cd&#10;&#10;Automatisk genereret beskrivelse">
            <a:extLst>
              <a:ext uri="{FF2B5EF4-FFF2-40B4-BE49-F238E27FC236}">
                <a16:creationId xmlns:a16="http://schemas.microsoft.com/office/drawing/2014/main" id="{469B17AA-FC31-4182-9014-66898D380B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57127" y="3040830"/>
            <a:ext cx="1067549" cy="1083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81">
            <a:extLst>
              <a:ext uri="{FF2B5EF4-FFF2-40B4-BE49-F238E27FC236}">
                <a16:creationId xmlns:a16="http://schemas.microsoft.com/office/drawing/2014/main" id="{772FA4A1-393C-5D7F-4D72-BCA7E1B4D103}"/>
              </a:ext>
            </a:extLst>
          </p:cNvPr>
          <p:cNvGrpSpPr/>
          <p:nvPr/>
        </p:nvGrpSpPr>
        <p:grpSpPr>
          <a:xfrm rot="17595485">
            <a:off x="4310770" y="2097832"/>
            <a:ext cx="3213026" cy="3028727"/>
            <a:chOff x="1440078" y="2460162"/>
            <a:chExt cx="4336679" cy="4137915"/>
          </a:xfrm>
        </p:grpSpPr>
        <p:sp>
          <p:nvSpPr>
            <p:cNvPr id="9" name="Freeform: Shape 74">
              <a:extLst>
                <a:ext uri="{FF2B5EF4-FFF2-40B4-BE49-F238E27FC236}">
                  <a16:creationId xmlns:a16="http://schemas.microsoft.com/office/drawing/2014/main" id="{8287D7DA-9A2E-8FF9-ABC9-B298464ABA29}"/>
                </a:ext>
              </a:extLst>
            </p:cNvPr>
            <p:cNvSpPr/>
            <p:nvPr/>
          </p:nvSpPr>
          <p:spPr>
            <a:xfrm flipH="1" flipV="1">
              <a:off x="1694553" y="2460162"/>
              <a:ext cx="3800904" cy="1639169"/>
            </a:xfrm>
            <a:custGeom>
              <a:avLst/>
              <a:gdLst>
                <a:gd name="connsiteX0" fmla="*/ 1969928 w 3800904"/>
                <a:gd name="connsiteY0" fmla="*/ 1639137 h 1639169"/>
                <a:gd name="connsiteX1" fmla="*/ 1880563 w 3800904"/>
                <a:gd name="connsiteY1" fmla="*/ 1634213 h 1639169"/>
                <a:gd name="connsiteX2" fmla="*/ 1824888 w 3800904"/>
                <a:gd name="connsiteY2" fmla="*/ 1631936 h 1639169"/>
                <a:gd name="connsiteX3" fmla="*/ 1682114 w 3800904"/>
                <a:gd name="connsiteY3" fmla="*/ 1628120 h 1639169"/>
                <a:gd name="connsiteX4" fmla="*/ 1526471 w 3800904"/>
                <a:gd name="connsiteY4" fmla="*/ 1617580 h 1639169"/>
                <a:gd name="connsiteX5" fmla="*/ 1447347 w 3800904"/>
                <a:gd name="connsiteY5" fmla="*/ 1603944 h 1639169"/>
                <a:gd name="connsiteX6" fmla="*/ 1416161 w 3800904"/>
                <a:gd name="connsiteY6" fmla="*/ 1596912 h 1639169"/>
                <a:gd name="connsiteX7" fmla="*/ 1388393 w 3800904"/>
                <a:gd name="connsiteY7" fmla="*/ 1592399 h 1639169"/>
                <a:gd name="connsiteX8" fmla="*/ 1272830 w 3800904"/>
                <a:gd name="connsiteY8" fmla="*/ 1572008 h 1639169"/>
                <a:gd name="connsiteX9" fmla="*/ 1094263 w 3800904"/>
                <a:gd name="connsiteY9" fmla="*/ 1505718 h 1639169"/>
                <a:gd name="connsiteX10" fmla="*/ 860691 w 3800904"/>
                <a:gd name="connsiteY10" fmla="*/ 1413489 h 1639169"/>
                <a:gd name="connsiteX11" fmla="*/ 808847 w 3800904"/>
                <a:gd name="connsiteY11" fmla="*/ 1384552 h 1639169"/>
                <a:gd name="connsiteX12" fmla="*/ 772863 w 3800904"/>
                <a:gd name="connsiteY12" fmla="*/ 1364468 h 1639169"/>
                <a:gd name="connsiteX13" fmla="*/ 763342 w 3800904"/>
                <a:gd name="connsiteY13" fmla="*/ 1358782 h 1639169"/>
                <a:gd name="connsiteX14" fmla="*/ 642805 w 3800904"/>
                <a:gd name="connsiteY14" fmla="*/ 1285986 h 1639169"/>
                <a:gd name="connsiteX15" fmla="*/ 571379 w 3800904"/>
                <a:gd name="connsiteY15" fmla="*/ 1241297 h 1639169"/>
                <a:gd name="connsiteX16" fmla="*/ 489387 w 3800904"/>
                <a:gd name="connsiteY16" fmla="*/ 1187249 h 1639169"/>
                <a:gd name="connsiteX17" fmla="*/ 355609 w 3800904"/>
                <a:gd name="connsiteY17" fmla="*/ 1078624 h 1639169"/>
                <a:gd name="connsiteX18" fmla="*/ 338813 w 3800904"/>
                <a:gd name="connsiteY18" fmla="*/ 1061959 h 1639169"/>
                <a:gd name="connsiteX19" fmla="*/ 338918 w 3800904"/>
                <a:gd name="connsiteY19" fmla="*/ 1064281 h 1639169"/>
                <a:gd name="connsiteX20" fmla="*/ 303070 w 3800904"/>
                <a:gd name="connsiteY20" fmla="*/ 1032779 h 1639169"/>
                <a:gd name="connsiteX21" fmla="*/ 159433 w 3800904"/>
                <a:gd name="connsiteY21" fmla="*/ 869063 h 1639169"/>
                <a:gd name="connsiteX22" fmla="*/ 26742 w 3800904"/>
                <a:gd name="connsiteY22" fmla="*/ 709301 h 1639169"/>
                <a:gd name="connsiteX23" fmla="*/ 0 w 3800904"/>
                <a:gd name="connsiteY23" fmla="*/ 666937 h 1639169"/>
                <a:gd name="connsiteX24" fmla="*/ 27913 w 3800904"/>
                <a:gd name="connsiteY24" fmla="*/ 610858 h 1639169"/>
                <a:gd name="connsiteX25" fmla="*/ 89753 w 3800904"/>
                <a:gd name="connsiteY25" fmla="*/ 515187 h 1639169"/>
                <a:gd name="connsiteX26" fmla="*/ 166319 w 3800904"/>
                <a:gd name="connsiteY26" fmla="*/ 393024 h 1639169"/>
                <a:gd name="connsiteX27" fmla="*/ 382769 w 3800904"/>
                <a:gd name="connsiteY27" fmla="*/ 19170 h 1639169"/>
                <a:gd name="connsiteX28" fmla="*/ 410741 w 3800904"/>
                <a:gd name="connsiteY28" fmla="*/ 38 h 1639169"/>
                <a:gd name="connsiteX29" fmla="*/ 454163 w 3800904"/>
                <a:gd name="connsiteY29" fmla="*/ 15503 h 1639169"/>
                <a:gd name="connsiteX30" fmla="*/ 477714 w 3800904"/>
                <a:gd name="connsiteY30" fmla="*/ 19922 h 1639169"/>
                <a:gd name="connsiteX31" fmla="*/ 507890 w 3800904"/>
                <a:gd name="connsiteY31" fmla="*/ 28024 h 1639169"/>
                <a:gd name="connsiteX32" fmla="*/ 548368 w 3800904"/>
                <a:gd name="connsiteY32" fmla="*/ 33182 h 1639169"/>
                <a:gd name="connsiteX33" fmla="*/ 591790 w 3800904"/>
                <a:gd name="connsiteY33" fmla="*/ 48645 h 1639169"/>
                <a:gd name="connsiteX34" fmla="*/ 659502 w 3800904"/>
                <a:gd name="connsiteY34" fmla="*/ 51601 h 1639169"/>
                <a:gd name="connsiteX35" fmla="*/ 703662 w 3800904"/>
                <a:gd name="connsiteY35" fmla="*/ 50137 h 1639169"/>
                <a:gd name="connsiteX36" fmla="*/ 730896 w 3800904"/>
                <a:gd name="connsiteY36" fmla="*/ 47933 h 1639169"/>
                <a:gd name="connsiteX37" fmla="*/ 754446 w 3800904"/>
                <a:gd name="connsiteY37" fmla="*/ 52353 h 1639169"/>
                <a:gd name="connsiteX38" fmla="*/ 791983 w 3800904"/>
                <a:gd name="connsiteY38" fmla="*/ 47208 h 1639169"/>
                <a:gd name="connsiteX39" fmla="*/ 872942 w 3800904"/>
                <a:gd name="connsiteY39" fmla="*/ 57526 h 1639169"/>
                <a:gd name="connsiteX40" fmla="*/ 941486 w 3800904"/>
                <a:gd name="connsiteY40" fmla="*/ 69992 h 1639169"/>
                <a:gd name="connsiteX41" fmla="*/ 990004 w 3800904"/>
                <a:gd name="connsiteY41" fmla="*/ 145175 h 1639169"/>
                <a:gd name="connsiteX42" fmla="*/ 1035704 w 3800904"/>
                <a:gd name="connsiteY42" fmla="*/ 210088 h 1639169"/>
                <a:gd name="connsiteX43" fmla="*/ 1047156 w 3800904"/>
                <a:gd name="connsiteY43" fmla="*/ 239174 h 1639169"/>
                <a:gd name="connsiteX44" fmla="*/ 1052368 w 3800904"/>
                <a:gd name="connsiteY44" fmla="*/ 245610 h 1639169"/>
                <a:gd name="connsiteX45" fmla="*/ 1077148 w 3800904"/>
                <a:gd name="connsiteY45" fmla="*/ 276212 h 1639169"/>
                <a:gd name="connsiteX46" fmla="*/ 1103265 w 3800904"/>
                <a:gd name="connsiteY46" fmla="*/ 305272 h 1639169"/>
                <a:gd name="connsiteX47" fmla="*/ 1123739 w 3800904"/>
                <a:gd name="connsiteY47" fmla="*/ 324037 h 1639169"/>
                <a:gd name="connsiteX48" fmla="*/ 1125614 w 3800904"/>
                <a:gd name="connsiteY48" fmla="*/ 323014 h 1639169"/>
                <a:gd name="connsiteX49" fmla="*/ 1132009 w 3800904"/>
                <a:gd name="connsiteY49" fmla="*/ 320130 h 1639169"/>
                <a:gd name="connsiteX50" fmla="*/ 1150247 w 3800904"/>
                <a:gd name="connsiteY50" fmla="*/ 338491 h 1639169"/>
                <a:gd name="connsiteX51" fmla="*/ 1198202 w 3800904"/>
                <a:gd name="connsiteY51" fmla="*/ 376837 h 1639169"/>
                <a:gd name="connsiteX52" fmla="*/ 1202222 w 3800904"/>
                <a:gd name="connsiteY52" fmla="*/ 379611 h 1639169"/>
                <a:gd name="connsiteX53" fmla="*/ 1238006 w 3800904"/>
                <a:gd name="connsiteY53" fmla="*/ 404296 h 1639169"/>
                <a:gd name="connsiteX54" fmla="*/ 1283501 w 3800904"/>
                <a:gd name="connsiteY54" fmla="*/ 433775 h 1639169"/>
                <a:gd name="connsiteX55" fmla="*/ 1318276 w 3800904"/>
                <a:gd name="connsiteY55" fmla="*/ 455104 h 1639169"/>
                <a:gd name="connsiteX56" fmla="*/ 1403118 w 3800904"/>
                <a:gd name="connsiteY56" fmla="*/ 499758 h 1639169"/>
                <a:gd name="connsiteX57" fmla="*/ 1426560 w 3800904"/>
                <a:gd name="connsiteY57" fmla="*/ 513433 h 1639169"/>
                <a:gd name="connsiteX58" fmla="*/ 1434842 w 3800904"/>
                <a:gd name="connsiteY58" fmla="*/ 518098 h 1639169"/>
                <a:gd name="connsiteX59" fmla="*/ 1440828 w 3800904"/>
                <a:gd name="connsiteY59" fmla="*/ 520547 h 1639169"/>
                <a:gd name="connsiteX60" fmla="*/ 1491554 w 3800904"/>
                <a:gd name="connsiteY60" fmla="*/ 539081 h 1639169"/>
                <a:gd name="connsiteX61" fmla="*/ 1578054 w 3800904"/>
                <a:gd name="connsiteY61" fmla="*/ 573049 h 1639169"/>
                <a:gd name="connsiteX62" fmla="*/ 1696864 w 3800904"/>
                <a:gd name="connsiteY62" fmla="*/ 593476 h 1639169"/>
                <a:gd name="connsiteX63" fmla="*/ 1832734 w 3800904"/>
                <a:gd name="connsiteY63" fmla="*/ 604592 h 1639169"/>
                <a:gd name="connsiteX64" fmla="*/ 1848290 w 3800904"/>
                <a:gd name="connsiteY64" fmla="*/ 605373 h 1639169"/>
                <a:gd name="connsiteX65" fmla="*/ 1857093 w 3800904"/>
                <a:gd name="connsiteY65" fmla="*/ 600972 h 1639169"/>
                <a:gd name="connsiteX66" fmla="*/ 2079243 w 3800904"/>
                <a:gd name="connsiteY66" fmla="*/ 571947 h 1639169"/>
                <a:gd name="connsiteX67" fmla="*/ 2091454 w 3800904"/>
                <a:gd name="connsiteY67" fmla="*/ 569124 h 1639169"/>
                <a:gd name="connsiteX68" fmla="*/ 2121011 w 3800904"/>
                <a:gd name="connsiteY68" fmla="*/ 560618 h 1639169"/>
                <a:gd name="connsiteX69" fmla="*/ 2168149 w 3800904"/>
                <a:gd name="connsiteY69" fmla="*/ 547261 h 1639169"/>
                <a:gd name="connsiteX70" fmla="*/ 2200442 w 3800904"/>
                <a:gd name="connsiteY70" fmla="*/ 538777 h 1639169"/>
                <a:gd name="connsiteX71" fmla="*/ 2206877 w 3800904"/>
                <a:gd name="connsiteY71" fmla="*/ 535479 h 1639169"/>
                <a:gd name="connsiteX72" fmla="*/ 2375072 w 3800904"/>
                <a:gd name="connsiteY72" fmla="*/ 461058 h 1639169"/>
                <a:gd name="connsiteX73" fmla="*/ 2506054 w 3800904"/>
                <a:gd name="connsiteY73" fmla="*/ 370263 h 1639169"/>
                <a:gd name="connsiteX74" fmla="*/ 2580396 w 3800904"/>
                <a:gd name="connsiteY74" fmla="*/ 318527 h 1639169"/>
                <a:gd name="connsiteX75" fmla="*/ 2580452 w 3800904"/>
                <a:gd name="connsiteY75" fmla="*/ 319727 h 1639169"/>
                <a:gd name="connsiteX76" fmla="*/ 2591344 w 3800904"/>
                <a:gd name="connsiteY76" fmla="*/ 310416 h 1639169"/>
                <a:gd name="connsiteX77" fmla="*/ 2630096 w 3800904"/>
                <a:gd name="connsiteY77" fmla="*/ 262103 h 1639169"/>
                <a:gd name="connsiteX78" fmla="*/ 2681106 w 3800904"/>
                <a:gd name="connsiteY78" fmla="*/ 181821 h 1639169"/>
                <a:gd name="connsiteX79" fmla="*/ 2703974 w 3800904"/>
                <a:gd name="connsiteY79" fmla="*/ 149938 h 1639169"/>
                <a:gd name="connsiteX80" fmla="*/ 2702257 w 3800904"/>
                <a:gd name="connsiteY80" fmla="*/ 152749 h 1639169"/>
                <a:gd name="connsiteX81" fmla="*/ 2706162 w 3800904"/>
                <a:gd name="connsiteY81" fmla="*/ 161407 h 1639169"/>
                <a:gd name="connsiteX82" fmla="*/ 2727506 w 3800904"/>
                <a:gd name="connsiteY82" fmla="*/ 131125 h 1639169"/>
                <a:gd name="connsiteX83" fmla="*/ 2744270 w 3800904"/>
                <a:gd name="connsiteY83" fmla="*/ 106368 h 1639169"/>
                <a:gd name="connsiteX84" fmla="*/ 2737021 w 3800904"/>
                <a:gd name="connsiteY84" fmla="*/ 90296 h 1639169"/>
                <a:gd name="connsiteX85" fmla="*/ 2738632 w 3800904"/>
                <a:gd name="connsiteY85" fmla="*/ 87657 h 1639169"/>
                <a:gd name="connsiteX86" fmla="*/ 2766048 w 3800904"/>
                <a:gd name="connsiteY86" fmla="*/ 43855 h 1639169"/>
                <a:gd name="connsiteX87" fmla="*/ 2768994 w 3800904"/>
                <a:gd name="connsiteY87" fmla="*/ 51990 h 1639169"/>
                <a:gd name="connsiteX88" fmla="*/ 2804945 w 3800904"/>
                <a:gd name="connsiteY88" fmla="*/ 147705 h 1639169"/>
                <a:gd name="connsiteX89" fmla="*/ 2850638 w 3800904"/>
                <a:gd name="connsiteY89" fmla="*/ 223067 h 1639169"/>
                <a:gd name="connsiteX90" fmla="*/ 2880215 w 3800904"/>
                <a:gd name="connsiteY90" fmla="*/ 251336 h 1639169"/>
                <a:gd name="connsiteX91" fmla="*/ 2892307 w 3800904"/>
                <a:gd name="connsiteY91" fmla="*/ 274212 h 1639169"/>
                <a:gd name="connsiteX92" fmla="*/ 2912473 w 3800904"/>
                <a:gd name="connsiteY92" fmla="*/ 295748 h 1639169"/>
                <a:gd name="connsiteX93" fmla="*/ 2943390 w 3800904"/>
                <a:gd name="connsiteY93" fmla="*/ 332090 h 1639169"/>
                <a:gd name="connsiteX94" fmla="*/ 2986400 w 3800904"/>
                <a:gd name="connsiteY94" fmla="*/ 391306 h 1639169"/>
                <a:gd name="connsiteX95" fmla="*/ 3002515 w 3800904"/>
                <a:gd name="connsiteY95" fmla="*/ 438400 h 1639169"/>
                <a:gd name="connsiteX96" fmla="*/ 3025359 w 3800904"/>
                <a:gd name="connsiteY96" fmla="*/ 476079 h 1639169"/>
                <a:gd name="connsiteX97" fmla="*/ 3038794 w 3800904"/>
                <a:gd name="connsiteY97" fmla="*/ 507028 h 1639169"/>
                <a:gd name="connsiteX98" fmla="*/ 3050886 w 3800904"/>
                <a:gd name="connsiteY98" fmla="*/ 529904 h 1639169"/>
                <a:gd name="connsiteX99" fmla="*/ 3066999 w 3800904"/>
                <a:gd name="connsiteY99" fmla="*/ 576998 h 1639169"/>
                <a:gd name="connsiteX100" fmla="*/ 3101970 w 3800904"/>
                <a:gd name="connsiteY100" fmla="*/ 587782 h 1639169"/>
                <a:gd name="connsiteX101" fmla="*/ 3563429 w 3800904"/>
                <a:gd name="connsiteY101" fmla="*/ 519462 h 1639169"/>
                <a:gd name="connsiteX102" fmla="*/ 3718141 w 3800904"/>
                <a:gd name="connsiteY102" fmla="*/ 502071 h 1639169"/>
                <a:gd name="connsiteX103" fmla="*/ 3779475 w 3800904"/>
                <a:gd name="connsiteY103" fmla="*/ 496950 h 1639169"/>
                <a:gd name="connsiteX104" fmla="*/ 3800904 w 3800904"/>
                <a:gd name="connsiteY104" fmla="*/ 494526 h 1639169"/>
                <a:gd name="connsiteX105" fmla="*/ 3796504 w 3800904"/>
                <a:gd name="connsiteY105" fmla="*/ 504238 h 1639169"/>
                <a:gd name="connsiteX106" fmla="*/ 3735944 w 3800904"/>
                <a:gd name="connsiteY106" fmla="*/ 593919 h 1639169"/>
                <a:gd name="connsiteX107" fmla="*/ 3670465 w 3800904"/>
                <a:gd name="connsiteY107" fmla="*/ 686628 h 1639169"/>
                <a:gd name="connsiteX108" fmla="*/ 3615086 w 3800904"/>
                <a:gd name="connsiteY108" fmla="*/ 761958 h 1639169"/>
                <a:gd name="connsiteX109" fmla="*/ 3615085 w 3800904"/>
                <a:gd name="connsiteY109" fmla="*/ 761957 h 1639169"/>
                <a:gd name="connsiteX110" fmla="*/ 3588446 w 3800904"/>
                <a:gd name="connsiteY110" fmla="*/ 798194 h 1639169"/>
                <a:gd name="connsiteX111" fmla="*/ 3514716 w 3800904"/>
                <a:gd name="connsiteY111" fmla="*/ 893711 h 1639169"/>
                <a:gd name="connsiteX112" fmla="*/ 3500166 w 3800904"/>
                <a:gd name="connsiteY112" fmla="*/ 912542 h 1639169"/>
                <a:gd name="connsiteX113" fmla="*/ 3424273 w 3800904"/>
                <a:gd name="connsiteY113" fmla="*/ 1002200 h 1639169"/>
                <a:gd name="connsiteX114" fmla="*/ 3211349 w 3800904"/>
                <a:gd name="connsiteY114" fmla="*/ 1161962 h 1639169"/>
                <a:gd name="connsiteX115" fmla="*/ 2939794 w 3800904"/>
                <a:gd name="connsiteY115" fmla="*/ 1342434 h 1639169"/>
                <a:gd name="connsiteX116" fmla="*/ 2852473 w 3800904"/>
                <a:gd name="connsiteY116" fmla="*/ 1384270 h 1639169"/>
                <a:gd name="connsiteX117" fmla="*/ 2832280 w 3800904"/>
                <a:gd name="connsiteY117" fmla="*/ 1392801 h 1639169"/>
                <a:gd name="connsiteX118" fmla="*/ 2825137 w 3800904"/>
                <a:gd name="connsiteY118" fmla="*/ 1396494 h 1639169"/>
                <a:gd name="connsiteX119" fmla="*/ 2713244 w 3800904"/>
                <a:gd name="connsiteY119" fmla="*/ 1453273 h 1639169"/>
                <a:gd name="connsiteX120" fmla="*/ 2623822 w 3800904"/>
                <a:gd name="connsiteY120" fmla="*/ 1478822 h 1639169"/>
                <a:gd name="connsiteX121" fmla="*/ 2613854 w 3800904"/>
                <a:gd name="connsiteY121" fmla="*/ 1481304 h 1639169"/>
                <a:gd name="connsiteX122" fmla="*/ 2591091 w 3800904"/>
                <a:gd name="connsiteY122" fmla="*/ 1490362 h 1639169"/>
                <a:gd name="connsiteX123" fmla="*/ 2480000 w 3800904"/>
                <a:gd name="connsiteY123" fmla="*/ 1528824 h 1639169"/>
                <a:gd name="connsiteX124" fmla="*/ 2326479 w 3800904"/>
                <a:gd name="connsiteY124" fmla="*/ 1562847 h 1639169"/>
                <a:gd name="connsiteX125" fmla="*/ 2210498 w 3800904"/>
                <a:gd name="connsiteY125" fmla="*/ 1591107 h 1639169"/>
                <a:gd name="connsiteX126" fmla="*/ 2162328 w 3800904"/>
                <a:gd name="connsiteY126" fmla="*/ 1604220 h 1639169"/>
                <a:gd name="connsiteX127" fmla="*/ 2067471 w 3800904"/>
                <a:gd name="connsiteY127" fmla="*/ 1626754 h 1639169"/>
                <a:gd name="connsiteX128" fmla="*/ 1969928 w 3800904"/>
                <a:gd name="connsiteY128" fmla="*/ 1639137 h 1639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3800904" h="1639169">
                  <a:moveTo>
                    <a:pt x="1969928" y="1639137"/>
                  </a:moveTo>
                  <a:cubicBezTo>
                    <a:pt x="1947437" y="1638779"/>
                    <a:pt x="1926310" y="1635538"/>
                    <a:pt x="1880563" y="1634213"/>
                  </a:cubicBezTo>
                  <a:lnTo>
                    <a:pt x="1824888" y="1631936"/>
                  </a:lnTo>
                  <a:lnTo>
                    <a:pt x="1682114" y="1628120"/>
                  </a:lnTo>
                  <a:cubicBezTo>
                    <a:pt x="1629076" y="1626703"/>
                    <a:pt x="1576616" y="1624237"/>
                    <a:pt x="1526471" y="1617580"/>
                  </a:cubicBezTo>
                  <a:cubicBezTo>
                    <a:pt x="1501398" y="1614252"/>
                    <a:pt x="1474493" y="1609475"/>
                    <a:pt x="1447347" y="1603944"/>
                  </a:cubicBezTo>
                  <a:lnTo>
                    <a:pt x="1416161" y="1596912"/>
                  </a:lnTo>
                  <a:lnTo>
                    <a:pt x="1388393" y="1592399"/>
                  </a:lnTo>
                  <a:cubicBezTo>
                    <a:pt x="1349872" y="1585602"/>
                    <a:pt x="1313776" y="1578482"/>
                    <a:pt x="1272830" y="1572008"/>
                  </a:cubicBezTo>
                  <a:cubicBezTo>
                    <a:pt x="1204268" y="1557600"/>
                    <a:pt x="1162952" y="1532138"/>
                    <a:pt x="1094263" y="1505718"/>
                  </a:cubicBezTo>
                  <a:cubicBezTo>
                    <a:pt x="1025572" y="1479298"/>
                    <a:pt x="961504" y="1466566"/>
                    <a:pt x="860691" y="1413489"/>
                  </a:cubicBezTo>
                  <a:lnTo>
                    <a:pt x="808847" y="1384552"/>
                  </a:lnTo>
                  <a:lnTo>
                    <a:pt x="772863" y="1364468"/>
                  </a:lnTo>
                  <a:lnTo>
                    <a:pt x="763342" y="1358782"/>
                  </a:lnTo>
                  <a:lnTo>
                    <a:pt x="642805" y="1285986"/>
                  </a:lnTo>
                  <a:lnTo>
                    <a:pt x="571379" y="1241297"/>
                  </a:lnTo>
                  <a:cubicBezTo>
                    <a:pt x="540207" y="1221327"/>
                    <a:pt x="511996" y="1202753"/>
                    <a:pt x="489387" y="1187249"/>
                  </a:cubicBezTo>
                  <a:cubicBezTo>
                    <a:pt x="421561" y="1140737"/>
                    <a:pt x="390418" y="1112832"/>
                    <a:pt x="355609" y="1078624"/>
                  </a:cubicBezTo>
                  <a:lnTo>
                    <a:pt x="338813" y="1061959"/>
                  </a:lnTo>
                  <a:lnTo>
                    <a:pt x="338918" y="1064281"/>
                  </a:lnTo>
                  <a:lnTo>
                    <a:pt x="303070" y="1032779"/>
                  </a:lnTo>
                  <a:cubicBezTo>
                    <a:pt x="243618" y="974463"/>
                    <a:pt x="202249" y="916770"/>
                    <a:pt x="159433" y="869063"/>
                  </a:cubicBezTo>
                  <a:cubicBezTo>
                    <a:pt x="102344" y="805453"/>
                    <a:pt x="62743" y="759597"/>
                    <a:pt x="26742" y="709301"/>
                  </a:cubicBezTo>
                  <a:lnTo>
                    <a:pt x="0" y="666937"/>
                  </a:lnTo>
                  <a:lnTo>
                    <a:pt x="27913" y="610858"/>
                  </a:lnTo>
                  <a:cubicBezTo>
                    <a:pt x="46359" y="577668"/>
                    <a:pt x="69389" y="547238"/>
                    <a:pt x="89753" y="515187"/>
                  </a:cubicBezTo>
                  <a:lnTo>
                    <a:pt x="166319" y="393024"/>
                  </a:lnTo>
                  <a:cubicBezTo>
                    <a:pt x="238470" y="268405"/>
                    <a:pt x="306718" y="141446"/>
                    <a:pt x="382769" y="19170"/>
                  </a:cubicBezTo>
                  <a:cubicBezTo>
                    <a:pt x="388735" y="9577"/>
                    <a:pt x="399461" y="619"/>
                    <a:pt x="410741" y="38"/>
                  </a:cubicBezTo>
                  <a:cubicBezTo>
                    <a:pt x="426085" y="-750"/>
                    <a:pt x="439434" y="11128"/>
                    <a:pt x="454163" y="15503"/>
                  </a:cubicBezTo>
                  <a:cubicBezTo>
                    <a:pt x="461820" y="17774"/>
                    <a:pt x="469935" y="18110"/>
                    <a:pt x="477714" y="19922"/>
                  </a:cubicBezTo>
                  <a:cubicBezTo>
                    <a:pt x="487856" y="22285"/>
                    <a:pt x="497653" y="26102"/>
                    <a:pt x="507890" y="28024"/>
                  </a:cubicBezTo>
                  <a:cubicBezTo>
                    <a:pt x="521258" y="30532"/>
                    <a:pt x="535159" y="29936"/>
                    <a:pt x="548368" y="33182"/>
                  </a:cubicBezTo>
                  <a:cubicBezTo>
                    <a:pt x="563289" y="36849"/>
                    <a:pt x="577316" y="43492"/>
                    <a:pt x="591790" y="48645"/>
                  </a:cubicBezTo>
                  <a:cubicBezTo>
                    <a:pt x="654882" y="43541"/>
                    <a:pt x="576678" y="47987"/>
                    <a:pt x="659502" y="51601"/>
                  </a:cubicBezTo>
                  <a:cubicBezTo>
                    <a:pt x="674216" y="52242"/>
                    <a:pt x="688953" y="50892"/>
                    <a:pt x="703662" y="50137"/>
                  </a:cubicBezTo>
                  <a:cubicBezTo>
                    <a:pt x="712758" y="49670"/>
                    <a:pt x="721796" y="47536"/>
                    <a:pt x="730896" y="47933"/>
                  </a:cubicBezTo>
                  <a:cubicBezTo>
                    <a:pt x="738875" y="48282"/>
                    <a:pt x="746596" y="50881"/>
                    <a:pt x="754446" y="52353"/>
                  </a:cubicBezTo>
                  <a:cubicBezTo>
                    <a:pt x="766959" y="50638"/>
                    <a:pt x="779371" y="47857"/>
                    <a:pt x="791983" y="47208"/>
                  </a:cubicBezTo>
                  <a:cubicBezTo>
                    <a:pt x="821997" y="45665"/>
                    <a:pt x="842742" y="51858"/>
                    <a:pt x="872942" y="57526"/>
                  </a:cubicBezTo>
                  <a:lnTo>
                    <a:pt x="941486" y="69992"/>
                  </a:lnTo>
                  <a:lnTo>
                    <a:pt x="990004" y="145175"/>
                  </a:lnTo>
                  <a:cubicBezTo>
                    <a:pt x="1008442" y="169915"/>
                    <a:pt x="1025400" y="191379"/>
                    <a:pt x="1035704" y="210088"/>
                  </a:cubicBezTo>
                  <a:lnTo>
                    <a:pt x="1047156" y="239174"/>
                  </a:lnTo>
                  <a:lnTo>
                    <a:pt x="1052368" y="245610"/>
                  </a:lnTo>
                  <a:lnTo>
                    <a:pt x="1077148" y="276212"/>
                  </a:lnTo>
                  <a:cubicBezTo>
                    <a:pt x="1085117" y="285748"/>
                    <a:pt x="1093707" y="295492"/>
                    <a:pt x="1103265" y="305272"/>
                  </a:cubicBezTo>
                  <a:lnTo>
                    <a:pt x="1123739" y="324037"/>
                  </a:lnTo>
                  <a:lnTo>
                    <a:pt x="1125614" y="323014"/>
                  </a:lnTo>
                  <a:lnTo>
                    <a:pt x="1132009" y="320130"/>
                  </a:lnTo>
                  <a:lnTo>
                    <a:pt x="1150247" y="338491"/>
                  </a:lnTo>
                  <a:cubicBezTo>
                    <a:pt x="1162194" y="349560"/>
                    <a:pt x="1176245" y="361090"/>
                    <a:pt x="1198202" y="376837"/>
                  </a:cubicBezTo>
                  <a:lnTo>
                    <a:pt x="1202222" y="379611"/>
                  </a:lnTo>
                  <a:lnTo>
                    <a:pt x="1238006" y="404296"/>
                  </a:lnTo>
                  <a:lnTo>
                    <a:pt x="1283501" y="433775"/>
                  </a:lnTo>
                  <a:lnTo>
                    <a:pt x="1318276" y="455104"/>
                  </a:lnTo>
                  <a:cubicBezTo>
                    <a:pt x="1362929" y="482640"/>
                    <a:pt x="1380790" y="487850"/>
                    <a:pt x="1403118" y="499758"/>
                  </a:cubicBezTo>
                  <a:cubicBezTo>
                    <a:pt x="1414281" y="505712"/>
                    <a:pt x="1420235" y="509619"/>
                    <a:pt x="1426560" y="513433"/>
                  </a:cubicBezTo>
                  <a:lnTo>
                    <a:pt x="1434842" y="518098"/>
                  </a:lnTo>
                  <a:lnTo>
                    <a:pt x="1440828" y="520547"/>
                  </a:lnTo>
                  <a:cubicBezTo>
                    <a:pt x="1458848" y="527277"/>
                    <a:pt x="1474915" y="532317"/>
                    <a:pt x="1491554" y="539081"/>
                  </a:cubicBezTo>
                  <a:cubicBezTo>
                    <a:pt x="1524832" y="552610"/>
                    <a:pt x="1544883" y="565555"/>
                    <a:pt x="1578054" y="573049"/>
                  </a:cubicBezTo>
                  <a:cubicBezTo>
                    <a:pt x="1617657" y="579858"/>
                    <a:pt x="1647901" y="587893"/>
                    <a:pt x="1696864" y="593476"/>
                  </a:cubicBezTo>
                  <a:cubicBezTo>
                    <a:pt x="1733588" y="597665"/>
                    <a:pt x="1788783" y="601987"/>
                    <a:pt x="1832734" y="604592"/>
                  </a:cubicBezTo>
                  <a:lnTo>
                    <a:pt x="1848290" y="605373"/>
                  </a:lnTo>
                  <a:lnTo>
                    <a:pt x="1857093" y="600972"/>
                  </a:lnTo>
                  <a:cubicBezTo>
                    <a:pt x="1951237" y="608042"/>
                    <a:pt x="2010216" y="589994"/>
                    <a:pt x="2079243" y="571947"/>
                  </a:cubicBezTo>
                  <a:lnTo>
                    <a:pt x="2091454" y="569124"/>
                  </a:lnTo>
                  <a:lnTo>
                    <a:pt x="2121011" y="560618"/>
                  </a:lnTo>
                  <a:lnTo>
                    <a:pt x="2168149" y="547261"/>
                  </a:lnTo>
                  <a:lnTo>
                    <a:pt x="2200442" y="538777"/>
                  </a:lnTo>
                  <a:lnTo>
                    <a:pt x="2206877" y="535479"/>
                  </a:lnTo>
                  <a:cubicBezTo>
                    <a:pt x="2243840" y="519852"/>
                    <a:pt x="2325208" y="488593"/>
                    <a:pt x="2375072" y="461058"/>
                  </a:cubicBezTo>
                  <a:cubicBezTo>
                    <a:pt x="2426670" y="428808"/>
                    <a:pt x="2467107" y="398791"/>
                    <a:pt x="2506054" y="370263"/>
                  </a:cubicBezTo>
                  <a:cubicBezTo>
                    <a:pt x="2535266" y="348866"/>
                    <a:pt x="2554708" y="341145"/>
                    <a:pt x="2580396" y="318527"/>
                  </a:cubicBezTo>
                  <a:cubicBezTo>
                    <a:pt x="2580415" y="318927"/>
                    <a:pt x="2580433" y="319327"/>
                    <a:pt x="2580452" y="319727"/>
                  </a:cubicBezTo>
                  <a:lnTo>
                    <a:pt x="2591344" y="310416"/>
                  </a:lnTo>
                  <a:cubicBezTo>
                    <a:pt x="2604997" y="298291"/>
                    <a:pt x="2609479" y="291834"/>
                    <a:pt x="2630096" y="262103"/>
                  </a:cubicBezTo>
                  <a:cubicBezTo>
                    <a:pt x="2643840" y="242282"/>
                    <a:pt x="2661931" y="213208"/>
                    <a:pt x="2681106" y="181821"/>
                  </a:cubicBezTo>
                  <a:lnTo>
                    <a:pt x="2703974" y="149938"/>
                  </a:lnTo>
                  <a:lnTo>
                    <a:pt x="2702257" y="152749"/>
                  </a:lnTo>
                  <a:lnTo>
                    <a:pt x="2706162" y="161407"/>
                  </a:lnTo>
                  <a:lnTo>
                    <a:pt x="2727506" y="131125"/>
                  </a:lnTo>
                  <a:lnTo>
                    <a:pt x="2744270" y="106368"/>
                  </a:lnTo>
                  <a:lnTo>
                    <a:pt x="2737021" y="90296"/>
                  </a:lnTo>
                  <a:lnTo>
                    <a:pt x="2738632" y="87657"/>
                  </a:lnTo>
                  <a:lnTo>
                    <a:pt x="2766048" y="43855"/>
                  </a:lnTo>
                  <a:lnTo>
                    <a:pt x="2768994" y="51990"/>
                  </a:lnTo>
                  <a:cubicBezTo>
                    <a:pt x="2781960" y="88378"/>
                    <a:pt x="2795367" y="126180"/>
                    <a:pt x="2804945" y="147705"/>
                  </a:cubicBezTo>
                  <a:cubicBezTo>
                    <a:pt x="2824102" y="190757"/>
                    <a:pt x="2829161" y="198737"/>
                    <a:pt x="2850638" y="223067"/>
                  </a:cubicBezTo>
                  <a:cubicBezTo>
                    <a:pt x="2859662" y="233293"/>
                    <a:pt x="2870354" y="241912"/>
                    <a:pt x="2880215" y="251336"/>
                  </a:cubicBezTo>
                  <a:cubicBezTo>
                    <a:pt x="2884246" y="258960"/>
                    <a:pt x="2887239" y="267232"/>
                    <a:pt x="2892307" y="274212"/>
                  </a:cubicBezTo>
                  <a:cubicBezTo>
                    <a:pt x="2898086" y="282169"/>
                    <a:pt x="2905965" y="288374"/>
                    <a:pt x="2912473" y="295748"/>
                  </a:cubicBezTo>
                  <a:cubicBezTo>
                    <a:pt x="2922997" y="307673"/>
                    <a:pt x="2934043" y="319220"/>
                    <a:pt x="2943390" y="332090"/>
                  </a:cubicBezTo>
                  <a:cubicBezTo>
                    <a:pt x="2996001" y="404520"/>
                    <a:pt x="2939682" y="341411"/>
                    <a:pt x="2986400" y="391306"/>
                  </a:cubicBezTo>
                  <a:cubicBezTo>
                    <a:pt x="2991773" y="407003"/>
                    <a:pt x="2995585" y="423323"/>
                    <a:pt x="3002515" y="438400"/>
                  </a:cubicBezTo>
                  <a:cubicBezTo>
                    <a:pt x="3008647" y="451745"/>
                    <a:pt x="3018495" y="463094"/>
                    <a:pt x="3025359" y="476079"/>
                  </a:cubicBezTo>
                  <a:cubicBezTo>
                    <a:pt x="3030617" y="486021"/>
                    <a:pt x="3033974" y="496867"/>
                    <a:pt x="3038794" y="507028"/>
                  </a:cubicBezTo>
                  <a:cubicBezTo>
                    <a:pt x="3042490" y="514820"/>
                    <a:pt x="3047661" y="521906"/>
                    <a:pt x="3050886" y="529904"/>
                  </a:cubicBezTo>
                  <a:cubicBezTo>
                    <a:pt x="3057090" y="545293"/>
                    <a:pt x="3056020" y="564559"/>
                    <a:pt x="3066999" y="576998"/>
                  </a:cubicBezTo>
                  <a:cubicBezTo>
                    <a:pt x="3075071" y="586142"/>
                    <a:pt x="3089851" y="589187"/>
                    <a:pt x="3101970" y="587782"/>
                  </a:cubicBezTo>
                  <a:cubicBezTo>
                    <a:pt x="3256432" y="569879"/>
                    <a:pt x="3409609" y="542235"/>
                    <a:pt x="3563429" y="519462"/>
                  </a:cubicBezTo>
                  <a:lnTo>
                    <a:pt x="3718141" y="502071"/>
                  </a:lnTo>
                  <a:cubicBezTo>
                    <a:pt x="3738529" y="499906"/>
                    <a:pt x="3759023" y="498577"/>
                    <a:pt x="3779475" y="496950"/>
                  </a:cubicBezTo>
                  <a:lnTo>
                    <a:pt x="3800904" y="494526"/>
                  </a:lnTo>
                  <a:lnTo>
                    <a:pt x="3796504" y="504238"/>
                  </a:lnTo>
                  <a:cubicBezTo>
                    <a:pt x="3785060" y="525133"/>
                    <a:pt x="3770403" y="543870"/>
                    <a:pt x="3735944" y="593919"/>
                  </a:cubicBezTo>
                  <a:cubicBezTo>
                    <a:pt x="3718714" y="618943"/>
                    <a:pt x="3696085" y="651056"/>
                    <a:pt x="3670465" y="686628"/>
                  </a:cubicBezTo>
                  <a:lnTo>
                    <a:pt x="3615086" y="761958"/>
                  </a:lnTo>
                  <a:lnTo>
                    <a:pt x="3615085" y="761957"/>
                  </a:lnTo>
                  <a:lnTo>
                    <a:pt x="3588446" y="798194"/>
                  </a:lnTo>
                  <a:lnTo>
                    <a:pt x="3514716" y="893711"/>
                  </a:lnTo>
                  <a:lnTo>
                    <a:pt x="3500166" y="912542"/>
                  </a:lnTo>
                  <a:cubicBezTo>
                    <a:pt x="3472232" y="947435"/>
                    <a:pt x="3446131" y="978531"/>
                    <a:pt x="3424273" y="1002200"/>
                  </a:cubicBezTo>
                  <a:cubicBezTo>
                    <a:pt x="3336841" y="1096874"/>
                    <a:pt x="3292096" y="1105257"/>
                    <a:pt x="3211349" y="1161962"/>
                  </a:cubicBezTo>
                  <a:cubicBezTo>
                    <a:pt x="3130602" y="1218667"/>
                    <a:pt x="3046770" y="1278331"/>
                    <a:pt x="2939794" y="1342434"/>
                  </a:cubicBezTo>
                  <a:cubicBezTo>
                    <a:pt x="2913950" y="1356117"/>
                    <a:pt x="2884023" y="1370263"/>
                    <a:pt x="2852473" y="1384270"/>
                  </a:cubicBezTo>
                  <a:lnTo>
                    <a:pt x="2832280" y="1392801"/>
                  </a:lnTo>
                  <a:lnTo>
                    <a:pt x="2825137" y="1396494"/>
                  </a:lnTo>
                  <a:cubicBezTo>
                    <a:pt x="2804252" y="1407204"/>
                    <a:pt x="2768275" y="1434078"/>
                    <a:pt x="2713244" y="1453273"/>
                  </a:cubicBezTo>
                  <a:cubicBezTo>
                    <a:pt x="2685728" y="1462870"/>
                    <a:pt x="2658062" y="1470239"/>
                    <a:pt x="2623822" y="1478822"/>
                  </a:cubicBezTo>
                  <a:lnTo>
                    <a:pt x="2613854" y="1481304"/>
                  </a:lnTo>
                  <a:lnTo>
                    <a:pt x="2591091" y="1490362"/>
                  </a:lnTo>
                  <a:cubicBezTo>
                    <a:pt x="2514460" y="1521426"/>
                    <a:pt x="2600864" y="1507128"/>
                    <a:pt x="2480000" y="1528824"/>
                  </a:cubicBezTo>
                  <a:cubicBezTo>
                    <a:pt x="2424198" y="1538932"/>
                    <a:pt x="2374181" y="1550890"/>
                    <a:pt x="2326479" y="1562847"/>
                  </a:cubicBezTo>
                  <a:lnTo>
                    <a:pt x="2210498" y="1591107"/>
                  </a:lnTo>
                  <a:lnTo>
                    <a:pt x="2162328" y="1604220"/>
                  </a:lnTo>
                  <a:cubicBezTo>
                    <a:pt x="2125861" y="1613708"/>
                    <a:pt x="2093070" y="1621648"/>
                    <a:pt x="2067471" y="1626754"/>
                  </a:cubicBezTo>
                  <a:cubicBezTo>
                    <a:pt x="2016271" y="1636967"/>
                    <a:pt x="1992418" y="1639494"/>
                    <a:pt x="1969928" y="1639137"/>
                  </a:cubicBezTo>
                  <a:close/>
                </a:path>
              </a:pathLst>
            </a:custGeom>
            <a:solidFill>
              <a:schemeClr val="accent6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wrap="square" lIns="91440" tIns="45721" rIns="91440" bIns="45721" rtlCol="0" anchor="ctr">
              <a:noAutofit/>
            </a:bodyPr>
            <a:lstStyle/>
            <a:p>
              <a:pPr marL="0" marR="0" lvl="0" indent="0" algn="ctr" defTabSz="914400" rtl="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51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DM Sans 14pt"/>
                <a:cs typeface="Arial"/>
              </a:endParaRPr>
            </a:p>
          </p:txBody>
        </p:sp>
        <p:sp>
          <p:nvSpPr>
            <p:cNvPr id="10" name="Freeform: Shape 72">
              <a:extLst>
                <a:ext uri="{FF2B5EF4-FFF2-40B4-BE49-F238E27FC236}">
                  <a16:creationId xmlns:a16="http://schemas.microsoft.com/office/drawing/2014/main" id="{F2D8F8D9-97A4-29E5-50BF-A0283188C01E}"/>
                </a:ext>
              </a:extLst>
            </p:cNvPr>
            <p:cNvSpPr/>
            <p:nvPr/>
          </p:nvSpPr>
          <p:spPr>
            <a:xfrm flipH="1" flipV="1">
              <a:off x="3375915" y="3542631"/>
              <a:ext cx="2400842" cy="3047872"/>
            </a:xfrm>
            <a:custGeom>
              <a:avLst/>
              <a:gdLst>
                <a:gd name="connsiteX0" fmla="*/ 254673 w 2400842"/>
                <a:gd name="connsiteY0" fmla="*/ 3047872 h 3047872"/>
                <a:gd name="connsiteX1" fmla="*/ 232788 w 2400842"/>
                <a:gd name="connsiteY1" fmla="*/ 3004324 h 3047872"/>
                <a:gd name="connsiteX2" fmla="*/ 207908 w 2400842"/>
                <a:gd name="connsiteY2" fmla="*/ 2949961 h 3047872"/>
                <a:gd name="connsiteX3" fmla="*/ 170878 w 2400842"/>
                <a:gd name="connsiteY3" fmla="*/ 2861205 h 3047872"/>
                <a:gd name="connsiteX4" fmla="*/ 159741 w 2400842"/>
                <a:gd name="connsiteY4" fmla="*/ 2821819 h 3047872"/>
                <a:gd name="connsiteX5" fmla="*/ 157248 w 2400842"/>
                <a:gd name="connsiteY5" fmla="*/ 2812030 h 3047872"/>
                <a:gd name="connsiteX6" fmla="*/ 78332 w 2400842"/>
                <a:gd name="connsiteY6" fmla="*/ 2598882 h 3047872"/>
                <a:gd name="connsiteX7" fmla="*/ 0 w 2400842"/>
                <a:gd name="connsiteY7" fmla="*/ 2140999 h 3047872"/>
                <a:gd name="connsiteX8" fmla="*/ 1557 w 2400842"/>
                <a:gd name="connsiteY8" fmla="*/ 2102749 h 3047872"/>
                <a:gd name="connsiteX9" fmla="*/ 1156 w 2400842"/>
                <a:gd name="connsiteY9" fmla="*/ 2097895 h 3047872"/>
                <a:gd name="connsiteX10" fmla="*/ 4303 w 2400842"/>
                <a:gd name="connsiteY10" fmla="*/ 2035270 h 3047872"/>
                <a:gd name="connsiteX11" fmla="*/ 5510 w 2400842"/>
                <a:gd name="connsiteY11" fmla="*/ 2005627 h 3047872"/>
                <a:gd name="connsiteX12" fmla="*/ 6023 w 2400842"/>
                <a:gd name="connsiteY12" fmla="*/ 2001053 h 3047872"/>
                <a:gd name="connsiteX13" fmla="*/ 8485 w 2400842"/>
                <a:gd name="connsiteY13" fmla="*/ 1952048 h 3047872"/>
                <a:gd name="connsiteX14" fmla="*/ 62669 w 2400842"/>
                <a:gd name="connsiteY14" fmla="*/ 1602596 h 3047872"/>
                <a:gd name="connsiteX15" fmla="*/ 66548 w 2400842"/>
                <a:gd name="connsiteY15" fmla="*/ 1581261 h 3047872"/>
                <a:gd name="connsiteX16" fmla="*/ 68601 w 2400842"/>
                <a:gd name="connsiteY16" fmla="*/ 1569335 h 3047872"/>
                <a:gd name="connsiteX17" fmla="*/ 73899 w 2400842"/>
                <a:gd name="connsiteY17" fmla="*/ 1540259 h 3047872"/>
                <a:gd name="connsiteX18" fmla="*/ 74598 w 2400842"/>
                <a:gd name="connsiteY18" fmla="*/ 1537434 h 3047872"/>
                <a:gd name="connsiteX19" fmla="*/ 80015 w 2400842"/>
                <a:gd name="connsiteY19" fmla="*/ 1508616 h 3047872"/>
                <a:gd name="connsiteX20" fmla="*/ 133848 w 2400842"/>
                <a:gd name="connsiteY20" fmla="*/ 1343462 h 3047872"/>
                <a:gd name="connsiteX21" fmla="*/ 235682 w 2400842"/>
                <a:gd name="connsiteY21" fmla="*/ 1103818 h 3047872"/>
                <a:gd name="connsiteX22" fmla="*/ 328257 w 2400842"/>
                <a:gd name="connsiteY22" fmla="*/ 961808 h 3047872"/>
                <a:gd name="connsiteX23" fmla="*/ 387852 w 2400842"/>
                <a:gd name="connsiteY23" fmla="*/ 897458 h 3047872"/>
                <a:gd name="connsiteX24" fmla="*/ 400075 w 2400842"/>
                <a:gd name="connsiteY24" fmla="*/ 885405 h 3047872"/>
                <a:gd name="connsiteX25" fmla="*/ 406727 w 2400842"/>
                <a:gd name="connsiteY25" fmla="*/ 876702 h 3047872"/>
                <a:gd name="connsiteX26" fmla="*/ 539600 w 2400842"/>
                <a:gd name="connsiteY26" fmla="*/ 747577 h 3047872"/>
                <a:gd name="connsiteX27" fmla="*/ 555210 w 2400842"/>
                <a:gd name="connsiteY27" fmla="*/ 731832 h 3047872"/>
                <a:gd name="connsiteX28" fmla="*/ 549945 w 2400842"/>
                <a:gd name="connsiteY28" fmla="*/ 731558 h 3047872"/>
                <a:gd name="connsiteX29" fmla="*/ 550440 w 2400842"/>
                <a:gd name="connsiteY29" fmla="*/ 731040 h 3047872"/>
                <a:gd name="connsiteX30" fmla="*/ 837425 w 2400842"/>
                <a:gd name="connsiteY30" fmla="*/ 429266 h 3047872"/>
                <a:gd name="connsiteX31" fmla="*/ 976288 w 2400842"/>
                <a:gd name="connsiteY31" fmla="*/ 325717 h 3047872"/>
                <a:gd name="connsiteX32" fmla="*/ 1263274 w 2400842"/>
                <a:gd name="connsiteY32" fmla="*/ 195541 h 3047872"/>
                <a:gd name="connsiteX33" fmla="*/ 1411395 w 2400842"/>
                <a:gd name="connsiteY33" fmla="*/ 136370 h 3047872"/>
                <a:gd name="connsiteX34" fmla="*/ 1541001 w 2400842"/>
                <a:gd name="connsiteY34" fmla="*/ 91991 h 3047872"/>
                <a:gd name="connsiteX35" fmla="*/ 1661349 w 2400842"/>
                <a:gd name="connsiteY35" fmla="*/ 56488 h 3047872"/>
                <a:gd name="connsiteX36" fmla="*/ 1753925 w 2400842"/>
                <a:gd name="connsiteY36" fmla="*/ 47613 h 3047872"/>
                <a:gd name="connsiteX37" fmla="*/ 1788469 w 2400842"/>
                <a:gd name="connsiteY37" fmla="*/ 45492 h 3047872"/>
                <a:gd name="connsiteX38" fmla="*/ 1801438 w 2400842"/>
                <a:gd name="connsiteY38" fmla="*/ 36041 h 3047872"/>
                <a:gd name="connsiteX39" fmla="*/ 1958677 w 2400842"/>
                <a:gd name="connsiteY39" fmla="*/ 11311 h 3047872"/>
                <a:gd name="connsiteX40" fmla="*/ 2056514 w 2400842"/>
                <a:gd name="connsiteY40" fmla="*/ 0 h 3047872"/>
                <a:gd name="connsiteX41" fmla="*/ 2071441 w 2400842"/>
                <a:gd name="connsiteY41" fmla="*/ 23339 h 3047872"/>
                <a:gd name="connsiteX42" fmla="*/ 2121592 w 2400842"/>
                <a:gd name="connsiteY42" fmla="*/ 125320 h 3047872"/>
                <a:gd name="connsiteX43" fmla="*/ 2186861 w 2400842"/>
                <a:gd name="connsiteY43" fmla="*/ 253489 h 3047872"/>
                <a:gd name="connsiteX44" fmla="*/ 2395763 w 2400842"/>
                <a:gd name="connsiteY44" fmla="*/ 630436 h 3047872"/>
                <a:gd name="connsiteX45" fmla="*/ 2397788 w 2400842"/>
                <a:gd name="connsiteY45" fmla="*/ 664183 h 3047872"/>
                <a:gd name="connsiteX46" fmla="*/ 2362287 w 2400842"/>
                <a:gd name="connsiteY46" fmla="*/ 693408 h 3047872"/>
                <a:gd name="connsiteX47" fmla="*/ 2346426 w 2400842"/>
                <a:gd name="connsiteY47" fmla="*/ 711295 h 3047872"/>
                <a:gd name="connsiteX48" fmla="*/ 2324019 w 2400842"/>
                <a:gd name="connsiteY48" fmla="*/ 732961 h 3047872"/>
                <a:gd name="connsiteX49" fmla="*/ 2298845 w 2400842"/>
                <a:gd name="connsiteY49" fmla="*/ 764953 h 3047872"/>
                <a:gd name="connsiteX50" fmla="*/ 2263345 w 2400842"/>
                <a:gd name="connsiteY50" fmla="*/ 794179 h 3047872"/>
                <a:gd name="connsiteX51" fmla="*/ 2226090 w 2400842"/>
                <a:gd name="connsiteY51" fmla="*/ 850604 h 3047872"/>
                <a:gd name="connsiteX52" fmla="*/ 2204695 w 2400842"/>
                <a:gd name="connsiteY52" fmla="*/ 889143 h 3047872"/>
                <a:gd name="connsiteX53" fmla="*/ 2192614 w 2400842"/>
                <a:gd name="connsiteY53" fmla="*/ 913577 h 3047872"/>
                <a:gd name="connsiteX54" fmla="*/ 2176754 w 2400842"/>
                <a:gd name="connsiteY54" fmla="*/ 931463 h 3047872"/>
                <a:gd name="connsiteX55" fmla="*/ 2161905 w 2400842"/>
                <a:gd name="connsiteY55" fmla="*/ 966222 h 3047872"/>
                <a:gd name="connsiteX56" fmla="*/ 2111557 w 2400842"/>
                <a:gd name="connsiteY56" fmla="*/ 1030207 h 3047872"/>
                <a:gd name="connsiteX57" fmla="*/ 2103188 w 2400842"/>
                <a:gd name="connsiteY57" fmla="*/ 1039753 h 3047872"/>
                <a:gd name="connsiteX58" fmla="*/ 2067968 w 2400842"/>
                <a:gd name="connsiteY58" fmla="*/ 1043221 h 3047872"/>
                <a:gd name="connsiteX59" fmla="*/ 2032744 w 2400842"/>
                <a:gd name="connsiteY59" fmla="*/ 1046464 h 3047872"/>
                <a:gd name="connsiteX60" fmla="*/ 1997068 w 2400842"/>
                <a:gd name="connsiteY60" fmla="*/ 1049115 h 3047872"/>
                <a:gd name="connsiteX61" fmla="*/ 1976889 w 2400842"/>
                <a:gd name="connsiteY61" fmla="*/ 1050408 h 3047872"/>
                <a:gd name="connsiteX62" fmla="*/ 1973246 w 2400842"/>
                <a:gd name="connsiteY62" fmla="*/ 1053155 h 3047872"/>
                <a:gd name="connsiteX63" fmla="*/ 1690361 w 2400842"/>
                <a:gd name="connsiteY63" fmla="*/ 1152350 h 3047872"/>
                <a:gd name="connsiteX64" fmla="*/ 1641185 w 2400842"/>
                <a:gd name="connsiteY64" fmla="*/ 1181115 h 3047872"/>
                <a:gd name="connsiteX65" fmla="*/ 1489313 w 2400842"/>
                <a:gd name="connsiteY65" fmla="*/ 1284859 h 3047872"/>
                <a:gd name="connsiteX66" fmla="*/ 1470910 w 2400842"/>
                <a:gd name="connsiteY66" fmla="*/ 1302718 h 3047872"/>
                <a:gd name="connsiteX67" fmla="*/ 1461925 w 2400842"/>
                <a:gd name="connsiteY67" fmla="*/ 1312615 h 3047872"/>
                <a:gd name="connsiteX68" fmla="*/ 1433644 w 2400842"/>
                <a:gd name="connsiteY68" fmla="*/ 1339812 h 3047872"/>
                <a:gd name="connsiteX69" fmla="*/ 1435843 w 2400842"/>
                <a:gd name="connsiteY69" fmla="*/ 1337359 h 3047872"/>
                <a:gd name="connsiteX70" fmla="*/ 1435722 w 2400842"/>
                <a:gd name="connsiteY70" fmla="*/ 1336868 h 3047872"/>
                <a:gd name="connsiteX71" fmla="*/ 1428750 w 2400842"/>
                <a:gd name="connsiteY71" fmla="*/ 1343635 h 3047872"/>
                <a:gd name="connsiteX72" fmla="*/ 1388654 w 2400842"/>
                <a:gd name="connsiteY72" fmla="*/ 1385719 h 3047872"/>
                <a:gd name="connsiteX73" fmla="*/ 1390310 w 2400842"/>
                <a:gd name="connsiteY73" fmla="*/ 1392456 h 3047872"/>
                <a:gd name="connsiteX74" fmla="*/ 1388246 w 2400842"/>
                <a:gd name="connsiteY74" fmla="*/ 1394758 h 3047872"/>
                <a:gd name="connsiteX75" fmla="*/ 1343400 w 2400842"/>
                <a:gd name="connsiteY75" fmla="*/ 1443680 h 3047872"/>
                <a:gd name="connsiteX76" fmla="*/ 1339127 w 2400842"/>
                <a:gd name="connsiteY76" fmla="*/ 1448342 h 3047872"/>
                <a:gd name="connsiteX77" fmla="*/ 1281078 w 2400842"/>
                <a:gd name="connsiteY77" fmla="*/ 1510857 h 3047872"/>
                <a:gd name="connsiteX78" fmla="*/ 1276111 w 2400842"/>
                <a:gd name="connsiteY78" fmla="*/ 1517823 h 3047872"/>
                <a:gd name="connsiteX79" fmla="*/ 1277323 w 2400842"/>
                <a:gd name="connsiteY79" fmla="*/ 1520043 h 3047872"/>
                <a:gd name="connsiteX80" fmla="*/ 1262822 w 2400842"/>
                <a:gd name="connsiteY80" fmla="*/ 1546649 h 3047872"/>
                <a:gd name="connsiteX81" fmla="*/ 1231894 w 2400842"/>
                <a:gd name="connsiteY81" fmla="*/ 1609888 h 3047872"/>
                <a:gd name="connsiteX82" fmla="*/ 1231891 w 2400842"/>
                <a:gd name="connsiteY82" fmla="*/ 1609888 h 3047872"/>
                <a:gd name="connsiteX83" fmla="*/ 1231888 w 2400842"/>
                <a:gd name="connsiteY83" fmla="*/ 1609893 h 3047872"/>
                <a:gd name="connsiteX84" fmla="*/ 1180113 w 2400842"/>
                <a:gd name="connsiteY84" fmla="*/ 1724942 h 3047872"/>
                <a:gd name="connsiteX85" fmla="*/ 1172362 w 2400842"/>
                <a:gd name="connsiteY85" fmla="*/ 1742934 h 3047872"/>
                <a:gd name="connsiteX86" fmla="*/ 1171491 w 2400842"/>
                <a:gd name="connsiteY86" fmla="*/ 1745287 h 3047872"/>
                <a:gd name="connsiteX87" fmla="*/ 1157537 w 2400842"/>
                <a:gd name="connsiteY87" fmla="*/ 1807057 h 3047872"/>
                <a:gd name="connsiteX88" fmla="*/ 1123303 w 2400842"/>
                <a:gd name="connsiteY88" fmla="*/ 2082419 h 3047872"/>
                <a:gd name="connsiteX89" fmla="*/ 1164979 w 2400842"/>
                <a:gd name="connsiteY89" fmla="*/ 2314616 h 3047872"/>
                <a:gd name="connsiteX90" fmla="*/ 1182841 w 2400842"/>
                <a:gd name="connsiteY90" fmla="*/ 2377130 h 3047872"/>
                <a:gd name="connsiteX91" fmla="*/ 1189787 w 2400842"/>
                <a:gd name="connsiteY91" fmla="*/ 2405608 h 3047872"/>
                <a:gd name="connsiteX92" fmla="*/ 1205854 w 2400842"/>
                <a:gd name="connsiteY92" fmla="*/ 2449949 h 3047872"/>
                <a:gd name="connsiteX93" fmla="*/ 1227022 w 2400842"/>
                <a:gd name="connsiteY93" fmla="*/ 2498808 h 3047872"/>
                <a:gd name="connsiteX94" fmla="*/ 1188643 w 2400842"/>
                <a:gd name="connsiteY94" fmla="*/ 2485831 h 3047872"/>
                <a:gd name="connsiteX95" fmla="*/ 1145726 w 2400842"/>
                <a:gd name="connsiteY95" fmla="*/ 2472764 h 3047872"/>
                <a:gd name="connsiteX96" fmla="*/ 1059459 w 2400842"/>
                <a:gd name="connsiteY96" fmla="*/ 2461771 h 3047872"/>
                <a:gd name="connsiteX97" fmla="*/ 1019461 w 2400842"/>
                <a:gd name="connsiteY97" fmla="*/ 2467253 h 3047872"/>
                <a:gd name="connsiteX98" fmla="*/ 994367 w 2400842"/>
                <a:gd name="connsiteY98" fmla="*/ 2462542 h 3047872"/>
                <a:gd name="connsiteX99" fmla="*/ 965348 w 2400842"/>
                <a:gd name="connsiteY99" fmla="*/ 2464891 h 3047872"/>
                <a:gd name="connsiteX100" fmla="*/ 918292 w 2400842"/>
                <a:gd name="connsiteY100" fmla="*/ 2466451 h 3047872"/>
                <a:gd name="connsiteX101" fmla="*/ 846143 w 2400842"/>
                <a:gd name="connsiteY101" fmla="*/ 2463301 h 3047872"/>
                <a:gd name="connsiteX102" fmla="*/ 799873 w 2400842"/>
                <a:gd name="connsiteY102" fmla="*/ 2446825 h 3047872"/>
                <a:gd name="connsiteX103" fmla="*/ 756743 w 2400842"/>
                <a:gd name="connsiteY103" fmla="*/ 2441327 h 3047872"/>
                <a:gd name="connsiteX104" fmla="*/ 724588 w 2400842"/>
                <a:gd name="connsiteY104" fmla="*/ 2432696 h 3047872"/>
                <a:gd name="connsiteX105" fmla="*/ 699494 w 2400842"/>
                <a:gd name="connsiteY105" fmla="*/ 2427986 h 3047872"/>
                <a:gd name="connsiteX106" fmla="*/ 653227 w 2400842"/>
                <a:gd name="connsiteY106" fmla="*/ 2411508 h 3047872"/>
                <a:gd name="connsiteX107" fmla="*/ 623419 w 2400842"/>
                <a:gd name="connsiteY107" fmla="*/ 2431894 h 3047872"/>
                <a:gd name="connsiteX108" fmla="*/ 392781 w 2400842"/>
                <a:gd name="connsiteY108" fmla="*/ 2830256 h 3047872"/>
                <a:gd name="connsiteX109" fmla="*/ 311196 w 2400842"/>
                <a:gd name="connsiteY109" fmla="*/ 2960427 h 3047872"/>
                <a:gd name="connsiteX110" fmla="*/ 254673 w 2400842"/>
                <a:gd name="connsiteY110" fmla="*/ 3047872 h 3047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400842" h="3047872">
                  <a:moveTo>
                    <a:pt x="254673" y="3047872"/>
                  </a:moveTo>
                  <a:lnTo>
                    <a:pt x="232788" y="3004324"/>
                  </a:lnTo>
                  <a:cubicBezTo>
                    <a:pt x="223724" y="2985094"/>
                    <a:pt x="215623" y="2966973"/>
                    <a:pt x="207908" y="2949961"/>
                  </a:cubicBezTo>
                  <a:cubicBezTo>
                    <a:pt x="192480" y="2915937"/>
                    <a:pt x="184764" y="2905583"/>
                    <a:pt x="170878" y="2861205"/>
                  </a:cubicBezTo>
                  <a:cubicBezTo>
                    <a:pt x="167407" y="2850110"/>
                    <a:pt x="163646" y="2836612"/>
                    <a:pt x="159741" y="2821819"/>
                  </a:cubicBezTo>
                  <a:lnTo>
                    <a:pt x="157248" y="2812030"/>
                  </a:lnTo>
                  <a:lnTo>
                    <a:pt x="78332" y="2598882"/>
                  </a:lnTo>
                  <a:cubicBezTo>
                    <a:pt x="25732" y="2433098"/>
                    <a:pt x="2763" y="2305965"/>
                    <a:pt x="0" y="2140999"/>
                  </a:cubicBezTo>
                  <a:lnTo>
                    <a:pt x="1557" y="2102749"/>
                  </a:lnTo>
                  <a:cubicBezTo>
                    <a:pt x="1423" y="2101131"/>
                    <a:pt x="1290" y="2099513"/>
                    <a:pt x="1156" y="2097895"/>
                  </a:cubicBezTo>
                  <a:lnTo>
                    <a:pt x="4303" y="2035270"/>
                  </a:lnTo>
                  <a:cubicBezTo>
                    <a:pt x="4705" y="2025389"/>
                    <a:pt x="5108" y="2015508"/>
                    <a:pt x="5510" y="2005627"/>
                  </a:cubicBezTo>
                  <a:lnTo>
                    <a:pt x="6023" y="2001053"/>
                  </a:lnTo>
                  <a:lnTo>
                    <a:pt x="8485" y="1952048"/>
                  </a:lnTo>
                  <a:cubicBezTo>
                    <a:pt x="20619" y="1826655"/>
                    <a:pt x="45210" y="1696929"/>
                    <a:pt x="62669" y="1602596"/>
                  </a:cubicBezTo>
                  <a:lnTo>
                    <a:pt x="66548" y="1581261"/>
                  </a:lnTo>
                  <a:lnTo>
                    <a:pt x="68601" y="1569335"/>
                  </a:lnTo>
                  <a:cubicBezTo>
                    <a:pt x="70571" y="1558050"/>
                    <a:pt x="72284" y="1548545"/>
                    <a:pt x="73899" y="1540259"/>
                  </a:cubicBezTo>
                  <a:lnTo>
                    <a:pt x="74598" y="1537434"/>
                  </a:lnTo>
                  <a:lnTo>
                    <a:pt x="80015" y="1508616"/>
                  </a:lnTo>
                  <a:cubicBezTo>
                    <a:pt x="97565" y="1422041"/>
                    <a:pt x="109997" y="1408612"/>
                    <a:pt x="133848" y="1343462"/>
                  </a:cubicBezTo>
                  <a:cubicBezTo>
                    <a:pt x="161106" y="1269005"/>
                    <a:pt x="203280" y="1167427"/>
                    <a:pt x="235682" y="1103818"/>
                  </a:cubicBezTo>
                  <a:cubicBezTo>
                    <a:pt x="268082" y="1040210"/>
                    <a:pt x="292769" y="1006186"/>
                    <a:pt x="328257" y="961808"/>
                  </a:cubicBezTo>
                  <a:cubicBezTo>
                    <a:pt x="346000" y="939618"/>
                    <a:pt x="366830" y="918168"/>
                    <a:pt x="387852" y="897458"/>
                  </a:cubicBezTo>
                  <a:lnTo>
                    <a:pt x="400075" y="885405"/>
                  </a:lnTo>
                  <a:lnTo>
                    <a:pt x="406727" y="876702"/>
                  </a:lnTo>
                  <a:cubicBezTo>
                    <a:pt x="450927" y="822818"/>
                    <a:pt x="487776" y="800401"/>
                    <a:pt x="539600" y="747577"/>
                  </a:cubicBezTo>
                  <a:lnTo>
                    <a:pt x="555210" y="731832"/>
                  </a:lnTo>
                  <a:lnTo>
                    <a:pt x="549945" y="731558"/>
                  </a:lnTo>
                  <a:lnTo>
                    <a:pt x="550440" y="731040"/>
                  </a:lnTo>
                  <a:cubicBezTo>
                    <a:pt x="646102" y="630449"/>
                    <a:pt x="766450" y="496821"/>
                    <a:pt x="837425" y="429266"/>
                  </a:cubicBezTo>
                  <a:cubicBezTo>
                    <a:pt x="908400" y="361713"/>
                    <a:pt x="905314" y="364671"/>
                    <a:pt x="976288" y="325717"/>
                  </a:cubicBezTo>
                  <a:cubicBezTo>
                    <a:pt x="1047264" y="286763"/>
                    <a:pt x="1190756" y="227099"/>
                    <a:pt x="1263274" y="195541"/>
                  </a:cubicBezTo>
                  <a:cubicBezTo>
                    <a:pt x="1335790" y="163982"/>
                    <a:pt x="1383808" y="138574"/>
                    <a:pt x="1411395" y="136370"/>
                  </a:cubicBezTo>
                  <a:cubicBezTo>
                    <a:pt x="1471472" y="113330"/>
                    <a:pt x="1465508" y="114609"/>
                    <a:pt x="1541001" y="91991"/>
                  </a:cubicBezTo>
                  <a:cubicBezTo>
                    <a:pt x="1563485" y="85254"/>
                    <a:pt x="1603746" y="65364"/>
                    <a:pt x="1661349" y="56488"/>
                  </a:cubicBezTo>
                  <a:cubicBezTo>
                    <a:pt x="1690151" y="52051"/>
                    <a:pt x="1718695" y="49832"/>
                    <a:pt x="1753925" y="47613"/>
                  </a:cubicBezTo>
                  <a:lnTo>
                    <a:pt x="1788469" y="45492"/>
                  </a:lnTo>
                  <a:lnTo>
                    <a:pt x="1801438" y="36041"/>
                  </a:lnTo>
                  <a:cubicBezTo>
                    <a:pt x="1853473" y="28934"/>
                    <a:pt x="1906264" y="19555"/>
                    <a:pt x="1958677" y="11311"/>
                  </a:cubicBezTo>
                  <a:lnTo>
                    <a:pt x="2056514" y="0"/>
                  </a:lnTo>
                  <a:lnTo>
                    <a:pt x="2071441" y="23339"/>
                  </a:lnTo>
                  <a:cubicBezTo>
                    <a:pt x="2090382" y="56145"/>
                    <a:pt x="2104610" y="91457"/>
                    <a:pt x="2121592" y="125320"/>
                  </a:cubicBezTo>
                  <a:lnTo>
                    <a:pt x="2186861" y="253489"/>
                  </a:lnTo>
                  <a:cubicBezTo>
                    <a:pt x="2256495" y="379139"/>
                    <a:pt x="2330133" y="502650"/>
                    <a:pt x="2395763" y="630436"/>
                  </a:cubicBezTo>
                  <a:cubicBezTo>
                    <a:pt x="2400911" y="640461"/>
                    <a:pt x="2403077" y="654233"/>
                    <a:pt x="2397788" y="664183"/>
                  </a:cubicBezTo>
                  <a:cubicBezTo>
                    <a:pt x="2390594" y="677717"/>
                    <a:pt x="2373584" y="683048"/>
                    <a:pt x="2362287" y="693408"/>
                  </a:cubicBezTo>
                  <a:cubicBezTo>
                    <a:pt x="2356416" y="698796"/>
                    <a:pt x="2351967" y="705567"/>
                    <a:pt x="2346426" y="711295"/>
                  </a:cubicBezTo>
                  <a:cubicBezTo>
                    <a:pt x="2339203" y="718761"/>
                    <a:pt x="2330913" y="725187"/>
                    <a:pt x="2324019" y="732961"/>
                  </a:cubicBezTo>
                  <a:cubicBezTo>
                    <a:pt x="2315017" y="743114"/>
                    <a:pt x="2308397" y="755315"/>
                    <a:pt x="2298845" y="764953"/>
                  </a:cubicBezTo>
                  <a:cubicBezTo>
                    <a:pt x="2288055" y="775841"/>
                    <a:pt x="2275177" y="784436"/>
                    <a:pt x="2263345" y="794179"/>
                  </a:cubicBezTo>
                  <a:cubicBezTo>
                    <a:pt x="2235356" y="850784"/>
                    <a:pt x="2271658" y="781585"/>
                    <a:pt x="2226090" y="850604"/>
                  </a:cubicBezTo>
                  <a:cubicBezTo>
                    <a:pt x="2217994" y="862866"/>
                    <a:pt x="2211592" y="876169"/>
                    <a:pt x="2204695" y="889143"/>
                  </a:cubicBezTo>
                  <a:cubicBezTo>
                    <a:pt x="2200429" y="897165"/>
                    <a:pt x="2197620" y="905994"/>
                    <a:pt x="2192614" y="913577"/>
                  </a:cubicBezTo>
                  <a:cubicBezTo>
                    <a:pt x="2188223" y="920226"/>
                    <a:pt x="2182040" y="925500"/>
                    <a:pt x="2176754" y="931463"/>
                  </a:cubicBezTo>
                  <a:cubicBezTo>
                    <a:pt x="2171804" y="943049"/>
                    <a:pt x="2167819" y="955096"/>
                    <a:pt x="2161905" y="966222"/>
                  </a:cubicBezTo>
                  <a:cubicBezTo>
                    <a:pt x="2147833" y="992696"/>
                    <a:pt x="2131895" y="1007271"/>
                    <a:pt x="2111557" y="1030207"/>
                  </a:cubicBezTo>
                  <a:lnTo>
                    <a:pt x="2103188" y="1039753"/>
                  </a:lnTo>
                  <a:lnTo>
                    <a:pt x="2067968" y="1043221"/>
                  </a:lnTo>
                  <a:cubicBezTo>
                    <a:pt x="2054783" y="1044502"/>
                    <a:pt x="2042791" y="1045627"/>
                    <a:pt x="2032744" y="1046464"/>
                  </a:cubicBezTo>
                  <a:lnTo>
                    <a:pt x="1997068" y="1049115"/>
                  </a:lnTo>
                  <a:lnTo>
                    <a:pt x="1976889" y="1050408"/>
                  </a:lnTo>
                  <a:lnTo>
                    <a:pt x="1973246" y="1053155"/>
                  </a:lnTo>
                  <a:cubicBezTo>
                    <a:pt x="1848098" y="1066695"/>
                    <a:pt x="1792537" y="1112783"/>
                    <a:pt x="1690361" y="1152350"/>
                  </a:cubicBezTo>
                  <a:cubicBezTo>
                    <a:pt x="1635017" y="1173677"/>
                    <a:pt x="1674693" y="1159030"/>
                    <a:pt x="1641185" y="1181115"/>
                  </a:cubicBezTo>
                  <a:cubicBezTo>
                    <a:pt x="1607677" y="1203198"/>
                    <a:pt x="1533344" y="1248722"/>
                    <a:pt x="1489313" y="1284859"/>
                  </a:cubicBezTo>
                  <a:lnTo>
                    <a:pt x="1470910" y="1302718"/>
                  </a:lnTo>
                  <a:lnTo>
                    <a:pt x="1461925" y="1312615"/>
                  </a:lnTo>
                  <a:lnTo>
                    <a:pt x="1433644" y="1339812"/>
                  </a:lnTo>
                  <a:lnTo>
                    <a:pt x="1435843" y="1337359"/>
                  </a:lnTo>
                  <a:cubicBezTo>
                    <a:pt x="1435803" y="1337195"/>
                    <a:pt x="1435762" y="1337032"/>
                    <a:pt x="1435722" y="1336868"/>
                  </a:cubicBezTo>
                  <a:lnTo>
                    <a:pt x="1428750" y="1343635"/>
                  </a:lnTo>
                  <a:lnTo>
                    <a:pt x="1388654" y="1385719"/>
                  </a:lnTo>
                  <a:lnTo>
                    <a:pt x="1390310" y="1392456"/>
                  </a:lnTo>
                  <a:lnTo>
                    <a:pt x="1388246" y="1394758"/>
                  </a:lnTo>
                  <a:lnTo>
                    <a:pt x="1343400" y="1443680"/>
                  </a:lnTo>
                  <a:lnTo>
                    <a:pt x="1339127" y="1448342"/>
                  </a:lnTo>
                  <a:cubicBezTo>
                    <a:pt x="1321266" y="1467692"/>
                    <a:pt x="1298195" y="1488530"/>
                    <a:pt x="1281078" y="1510857"/>
                  </a:cubicBezTo>
                  <a:lnTo>
                    <a:pt x="1276111" y="1517823"/>
                  </a:lnTo>
                  <a:lnTo>
                    <a:pt x="1277323" y="1520043"/>
                  </a:lnTo>
                  <a:lnTo>
                    <a:pt x="1262822" y="1546649"/>
                  </a:lnTo>
                  <a:lnTo>
                    <a:pt x="1231894" y="1609888"/>
                  </a:lnTo>
                  <a:cubicBezTo>
                    <a:pt x="1231893" y="1609888"/>
                    <a:pt x="1231892" y="1609887"/>
                    <a:pt x="1231891" y="1609888"/>
                  </a:cubicBezTo>
                  <a:cubicBezTo>
                    <a:pt x="1231891" y="1609890"/>
                    <a:pt x="1231889" y="1609891"/>
                    <a:pt x="1231888" y="1609893"/>
                  </a:cubicBezTo>
                  <a:cubicBezTo>
                    <a:pt x="1211305" y="1653462"/>
                    <a:pt x="1191883" y="1697162"/>
                    <a:pt x="1180113" y="1724942"/>
                  </a:cubicBezTo>
                  <a:lnTo>
                    <a:pt x="1172362" y="1742934"/>
                  </a:lnTo>
                  <a:lnTo>
                    <a:pt x="1171491" y="1745287"/>
                  </a:lnTo>
                  <a:cubicBezTo>
                    <a:pt x="1167026" y="1758745"/>
                    <a:pt x="1162871" y="1775428"/>
                    <a:pt x="1157537" y="1807057"/>
                  </a:cubicBezTo>
                  <a:cubicBezTo>
                    <a:pt x="1146870" y="1870315"/>
                    <a:pt x="1122559" y="1989391"/>
                    <a:pt x="1123303" y="2082419"/>
                  </a:cubicBezTo>
                  <a:cubicBezTo>
                    <a:pt x="1124047" y="2175446"/>
                    <a:pt x="1155056" y="2265497"/>
                    <a:pt x="1164979" y="2314616"/>
                  </a:cubicBezTo>
                  <a:cubicBezTo>
                    <a:pt x="1174902" y="2363734"/>
                    <a:pt x="1176142" y="2351827"/>
                    <a:pt x="1182841" y="2377130"/>
                  </a:cubicBezTo>
                  <a:lnTo>
                    <a:pt x="1189787" y="2405608"/>
                  </a:lnTo>
                  <a:lnTo>
                    <a:pt x="1205854" y="2449949"/>
                  </a:lnTo>
                  <a:lnTo>
                    <a:pt x="1227022" y="2498808"/>
                  </a:lnTo>
                  <a:lnTo>
                    <a:pt x="1188643" y="2485831"/>
                  </a:lnTo>
                  <a:cubicBezTo>
                    <a:pt x="1171964" y="2480346"/>
                    <a:pt x="1156980" y="2475675"/>
                    <a:pt x="1145726" y="2472764"/>
                  </a:cubicBezTo>
                  <a:cubicBezTo>
                    <a:pt x="1100710" y="2461119"/>
                    <a:pt x="1091440" y="2460125"/>
                    <a:pt x="1059459" y="2461771"/>
                  </a:cubicBezTo>
                  <a:cubicBezTo>
                    <a:pt x="1046019" y="2462460"/>
                    <a:pt x="1032795" y="2465425"/>
                    <a:pt x="1019461" y="2467253"/>
                  </a:cubicBezTo>
                  <a:cubicBezTo>
                    <a:pt x="1011097" y="2465683"/>
                    <a:pt x="1002870" y="2462915"/>
                    <a:pt x="994367" y="2462542"/>
                  </a:cubicBezTo>
                  <a:cubicBezTo>
                    <a:pt x="984672" y="2462119"/>
                    <a:pt x="975041" y="2464394"/>
                    <a:pt x="965348" y="2464891"/>
                  </a:cubicBezTo>
                  <a:cubicBezTo>
                    <a:pt x="949675" y="2465696"/>
                    <a:pt x="933973" y="2467135"/>
                    <a:pt x="918292" y="2466451"/>
                  </a:cubicBezTo>
                  <a:cubicBezTo>
                    <a:pt x="830041" y="2462601"/>
                    <a:pt x="913371" y="2457862"/>
                    <a:pt x="846143" y="2463301"/>
                  </a:cubicBezTo>
                  <a:cubicBezTo>
                    <a:pt x="830720" y="2457810"/>
                    <a:pt x="815774" y="2450732"/>
                    <a:pt x="799873" y="2446825"/>
                  </a:cubicBezTo>
                  <a:cubicBezTo>
                    <a:pt x="785801" y="2443365"/>
                    <a:pt x="770987" y="2444000"/>
                    <a:pt x="756743" y="2441327"/>
                  </a:cubicBezTo>
                  <a:cubicBezTo>
                    <a:pt x="745835" y="2439282"/>
                    <a:pt x="735396" y="2435214"/>
                    <a:pt x="724588" y="2432696"/>
                  </a:cubicBezTo>
                  <a:cubicBezTo>
                    <a:pt x="716300" y="2430765"/>
                    <a:pt x="707652" y="2430407"/>
                    <a:pt x="699494" y="2427986"/>
                  </a:cubicBezTo>
                  <a:cubicBezTo>
                    <a:pt x="683799" y="2423326"/>
                    <a:pt x="669576" y="2410668"/>
                    <a:pt x="653227" y="2411508"/>
                  </a:cubicBezTo>
                  <a:cubicBezTo>
                    <a:pt x="641206" y="2412127"/>
                    <a:pt x="629777" y="2421672"/>
                    <a:pt x="623419" y="2431894"/>
                  </a:cubicBezTo>
                  <a:cubicBezTo>
                    <a:pt x="542384" y="2562186"/>
                    <a:pt x="469661" y="2697468"/>
                    <a:pt x="392781" y="2830256"/>
                  </a:cubicBezTo>
                  <a:lnTo>
                    <a:pt x="311196" y="2960427"/>
                  </a:lnTo>
                  <a:lnTo>
                    <a:pt x="254673" y="3047872"/>
                  </a:lnTo>
                  <a:close/>
                </a:path>
              </a:pathLst>
            </a:cu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wrap="square" lIns="91440" tIns="45721" rIns="91440" bIns="45721" rtlCol="0" anchor="ctr">
              <a:noAutofit/>
            </a:bodyPr>
            <a:lstStyle/>
            <a:p>
              <a:pPr marL="0" marR="0" lvl="0" indent="0" algn="ctr" defTabSz="914400" rtl="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51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DM Sans 14pt"/>
                <a:cs typeface="Arial"/>
              </a:endParaRPr>
            </a:p>
          </p:txBody>
        </p:sp>
        <p:sp>
          <p:nvSpPr>
            <p:cNvPr id="11" name="Freeform: Shape 70">
              <a:extLst>
                <a:ext uri="{FF2B5EF4-FFF2-40B4-BE49-F238E27FC236}">
                  <a16:creationId xmlns:a16="http://schemas.microsoft.com/office/drawing/2014/main" id="{20CC2697-26B1-0956-4D2F-5031445BEEB6}"/>
                </a:ext>
              </a:extLst>
            </p:cNvPr>
            <p:cNvSpPr/>
            <p:nvPr/>
          </p:nvSpPr>
          <p:spPr>
            <a:xfrm flipH="1" flipV="1">
              <a:off x="1440078" y="3621148"/>
              <a:ext cx="2155831" cy="2976929"/>
            </a:xfrm>
            <a:custGeom>
              <a:avLst/>
              <a:gdLst>
                <a:gd name="connsiteX0" fmla="*/ 1258768 w 2155831"/>
                <a:gd name="connsiteY0" fmla="*/ 2976623 h 2976929"/>
                <a:gd name="connsiteX1" fmla="*/ 1225949 w 2155831"/>
                <a:gd name="connsiteY1" fmla="*/ 2966502 h 2976929"/>
                <a:gd name="connsiteX2" fmla="*/ 1210828 w 2155831"/>
                <a:gd name="connsiteY2" fmla="*/ 2922306 h 2976929"/>
                <a:gd name="connsiteX3" fmla="*/ 1199479 w 2155831"/>
                <a:gd name="connsiteY3" fmla="*/ 2900837 h 2976929"/>
                <a:gd name="connsiteX4" fmla="*/ 1186871 w 2155831"/>
                <a:gd name="connsiteY4" fmla="*/ 2871791 h 2976929"/>
                <a:gd name="connsiteX5" fmla="*/ 1165432 w 2155831"/>
                <a:gd name="connsiteY5" fmla="*/ 2836430 h 2976929"/>
                <a:gd name="connsiteX6" fmla="*/ 1150309 w 2155831"/>
                <a:gd name="connsiteY6" fmla="*/ 2792234 h 2976929"/>
                <a:gd name="connsiteX7" fmla="*/ 1109944 w 2155831"/>
                <a:gd name="connsiteY7" fmla="*/ 2736660 h 2976929"/>
                <a:gd name="connsiteX8" fmla="*/ 1080930 w 2155831"/>
                <a:gd name="connsiteY8" fmla="*/ 2702555 h 2976929"/>
                <a:gd name="connsiteX9" fmla="*/ 1062004 w 2155831"/>
                <a:gd name="connsiteY9" fmla="*/ 2682343 h 2976929"/>
                <a:gd name="connsiteX10" fmla="*/ 1050655 w 2155831"/>
                <a:gd name="connsiteY10" fmla="*/ 2660875 h 2976929"/>
                <a:gd name="connsiteX11" fmla="*/ 1022898 w 2155831"/>
                <a:gd name="connsiteY11" fmla="*/ 2634345 h 2976929"/>
                <a:gd name="connsiteX12" fmla="*/ 980017 w 2155831"/>
                <a:gd name="connsiteY12" fmla="*/ 2563620 h 2976929"/>
                <a:gd name="connsiteX13" fmla="*/ 943279 w 2155831"/>
                <a:gd name="connsiteY13" fmla="*/ 2495053 h 2976929"/>
                <a:gd name="connsiteX14" fmla="*/ 942090 w 2155831"/>
                <a:gd name="connsiteY14" fmla="*/ 2492777 h 2976929"/>
                <a:gd name="connsiteX15" fmla="*/ 955208 w 2155831"/>
                <a:gd name="connsiteY15" fmla="*/ 2471060 h 2976929"/>
                <a:gd name="connsiteX16" fmla="*/ 966192 w 2155831"/>
                <a:gd name="connsiteY16" fmla="*/ 2439732 h 2976929"/>
                <a:gd name="connsiteX17" fmla="*/ 1008823 w 2155831"/>
                <a:gd name="connsiteY17" fmla="*/ 2302330 h 2976929"/>
                <a:gd name="connsiteX18" fmla="*/ 1019560 w 2155831"/>
                <a:gd name="connsiteY18" fmla="*/ 2253039 h 2976929"/>
                <a:gd name="connsiteX19" fmla="*/ 1023765 w 2155831"/>
                <a:gd name="connsiteY19" fmla="*/ 2229413 h 2976929"/>
                <a:gd name="connsiteX20" fmla="*/ 1024004 w 2155831"/>
                <a:gd name="connsiteY20" fmla="*/ 2228039 h 2976929"/>
                <a:gd name="connsiteX21" fmla="*/ 1029596 w 2155831"/>
                <a:gd name="connsiteY21" fmla="*/ 2165763 h 2976929"/>
                <a:gd name="connsiteX22" fmla="*/ 1029767 w 2155831"/>
                <a:gd name="connsiteY22" fmla="*/ 2145929 h 2976929"/>
                <a:gd name="connsiteX23" fmla="*/ 1029265 w 2155831"/>
                <a:gd name="connsiteY23" fmla="*/ 2088433 h 2976929"/>
                <a:gd name="connsiteX24" fmla="*/ 1027844 w 2155831"/>
                <a:gd name="connsiteY24" fmla="*/ 2018884 h 2976929"/>
                <a:gd name="connsiteX25" fmla="*/ 1026277 w 2155831"/>
                <a:gd name="connsiteY25" fmla="*/ 2002176 h 2976929"/>
                <a:gd name="connsiteX26" fmla="*/ 975669 w 2155831"/>
                <a:gd name="connsiteY26" fmla="*/ 1756583 h 2976929"/>
                <a:gd name="connsiteX27" fmla="*/ 941072 w 2155831"/>
                <a:gd name="connsiteY27" fmla="*/ 1672504 h 2976929"/>
                <a:gd name="connsiteX28" fmla="*/ 934149 w 2155831"/>
                <a:gd name="connsiteY28" fmla="*/ 1656975 h 2976929"/>
                <a:gd name="connsiteX29" fmla="*/ 918207 w 2155831"/>
                <a:gd name="connsiteY29" fmla="*/ 1624656 h 2976929"/>
                <a:gd name="connsiteX30" fmla="*/ 910872 w 2155831"/>
                <a:gd name="connsiteY30" fmla="*/ 1607193 h 2976929"/>
                <a:gd name="connsiteX31" fmla="*/ 907911 w 2155831"/>
                <a:gd name="connsiteY31" fmla="*/ 1602487 h 2976929"/>
                <a:gd name="connsiteX32" fmla="*/ 901300 w 2155831"/>
                <a:gd name="connsiteY32" fmla="*/ 1589944 h 2976929"/>
                <a:gd name="connsiteX33" fmla="*/ 863118 w 2155831"/>
                <a:gd name="connsiteY33" fmla="*/ 1506180 h 2976929"/>
                <a:gd name="connsiteX34" fmla="*/ 837441 w 2155831"/>
                <a:gd name="connsiteY34" fmla="*/ 1465515 h 2976929"/>
                <a:gd name="connsiteX35" fmla="*/ 836353 w 2155831"/>
                <a:gd name="connsiteY35" fmla="*/ 1463975 h 2976929"/>
                <a:gd name="connsiteX36" fmla="*/ 836329 w 2155831"/>
                <a:gd name="connsiteY36" fmla="*/ 1463983 h 2976929"/>
                <a:gd name="connsiteX37" fmla="*/ 829517 w 2155831"/>
                <a:gd name="connsiteY37" fmla="*/ 1465657 h 2976929"/>
                <a:gd name="connsiteX38" fmla="*/ 814919 w 2155831"/>
                <a:gd name="connsiteY38" fmla="*/ 1444288 h 2976929"/>
                <a:gd name="connsiteX39" fmla="*/ 774730 w 2155831"/>
                <a:gd name="connsiteY39" fmla="*/ 1397866 h 2976929"/>
                <a:gd name="connsiteX40" fmla="*/ 771280 w 2155831"/>
                <a:gd name="connsiteY40" fmla="*/ 1394408 h 2976929"/>
                <a:gd name="connsiteX41" fmla="*/ 740577 w 2155831"/>
                <a:gd name="connsiteY41" fmla="*/ 1363632 h 2976929"/>
                <a:gd name="connsiteX42" fmla="*/ 618443 w 2155831"/>
                <a:gd name="connsiteY42" fmla="*/ 1251999 h 2976929"/>
                <a:gd name="connsiteX43" fmla="*/ 515741 w 2155831"/>
                <a:gd name="connsiteY43" fmla="*/ 1185020 h 2976929"/>
                <a:gd name="connsiteX44" fmla="*/ 476669 w 2155831"/>
                <a:gd name="connsiteY44" fmla="*/ 1158228 h 2976929"/>
                <a:gd name="connsiteX45" fmla="*/ 468785 w 2155831"/>
                <a:gd name="connsiteY45" fmla="*/ 1153807 h 2976929"/>
                <a:gd name="connsiteX46" fmla="*/ 447952 w 2155831"/>
                <a:gd name="connsiteY46" fmla="*/ 1144978 h 2976929"/>
                <a:gd name="connsiteX47" fmla="*/ 348750 w 2155831"/>
                <a:gd name="connsiteY47" fmla="*/ 1106263 h 2976929"/>
                <a:gd name="connsiteX48" fmla="*/ 257206 w 2155831"/>
                <a:gd name="connsiteY48" fmla="*/ 1077769 h 2976929"/>
                <a:gd name="connsiteX49" fmla="*/ 242508 w 2155831"/>
                <a:gd name="connsiteY49" fmla="*/ 1072716 h 2976929"/>
                <a:gd name="connsiteX50" fmla="*/ 232374 w 2155831"/>
                <a:gd name="connsiteY50" fmla="*/ 1068850 h 2976929"/>
                <a:gd name="connsiteX51" fmla="*/ 192144 w 2155831"/>
                <a:gd name="connsiteY51" fmla="*/ 1058607 h 2976929"/>
                <a:gd name="connsiteX52" fmla="*/ 154049 w 2155831"/>
                <a:gd name="connsiteY52" fmla="*/ 1049571 h 2976929"/>
                <a:gd name="connsiteX53" fmla="*/ 152095 w 2155831"/>
                <a:gd name="connsiteY53" fmla="*/ 1049082 h 2976929"/>
                <a:gd name="connsiteX54" fmla="*/ 95743 w 2155831"/>
                <a:gd name="connsiteY54" fmla="*/ 1039491 h 2976929"/>
                <a:gd name="connsiteX55" fmla="*/ 68392 w 2155831"/>
                <a:gd name="connsiteY55" fmla="*/ 1037000 h 2976929"/>
                <a:gd name="connsiteX56" fmla="*/ 60630 w 2155831"/>
                <a:gd name="connsiteY56" fmla="*/ 1036393 h 2976929"/>
                <a:gd name="connsiteX57" fmla="*/ 27470 w 2155831"/>
                <a:gd name="connsiteY57" fmla="*/ 1038142 h 2976929"/>
                <a:gd name="connsiteX58" fmla="*/ 46023 w 2155831"/>
                <a:gd name="connsiteY58" fmla="*/ 1019406 h 2976929"/>
                <a:gd name="connsiteX59" fmla="*/ 79454 w 2155831"/>
                <a:gd name="connsiteY59" fmla="*/ 971642 h 2976929"/>
                <a:gd name="connsiteX60" fmla="*/ 95276 w 2155831"/>
                <a:gd name="connsiteY60" fmla="*/ 934604 h 2976929"/>
                <a:gd name="connsiteX61" fmla="*/ 112176 w 2155831"/>
                <a:gd name="connsiteY61" fmla="*/ 915547 h 2976929"/>
                <a:gd name="connsiteX62" fmla="*/ 125048 w 2155831"/>
                <a:gd name="connsiteY62" fmla="*/ 889511 h 2976929"/>
                <a:gd name="connsiteX63" fmla="*/ 147846 w 2155831"/>
                <a:gd name="connsiteY63" fmla="*/ 848445 h 2976929"/>
                <a:gd name="connsiteX64" fmla="*/ 187543 w 2155831"/>
                <a:gd name="connsiteY64" fmla="*/ 788322 h 2976929"/>
                <a:gd name="connsiteX65" fmla="*/ 225371 w 2155831"/>
                <a:gd name="connsiteY65" fmla="*/ 757179 h 2976929"/>
                <a:gd name="connsiteX66" fmla="*/ 252196 w 2155831"/>
                <a:gd name="connsiteY66" fmla="*/ 723092 h 2976929"/>
                <a:gd name="connsiteX67" fmla="*/ 276071 w 2155831"/>
                <a:gd name="connsiteY67" fmla="*/ 700003 h 2976929"/>
                <a:gd name="connsiteX68" fmla="*/ 292971 w 2155831"/>
                <a:gd name="connsiteY68" fmla="*/ 680946 h 2976929"/>
                <a:gd name="connsiteX69" fmla="*/ 330800 w 2155831"/>
                <a:gd name="connsiteY69" fmla="*/ 649805 h 2976929"/>
                <a:gd name="connsiteX70" fmla="*/ 328642 w 2155831"/>
                <a:gd name="connsiteY70" fmla="*/ 613844 h 2976929"/>
                <a:gd name="connsiteX71" fmla="*/ 106045 w 2155831"/>
                <a:gd name="connsiteY71" fmla="*/ 212188 h 2976929"/>
                <a:gd name="connsiteX72" fmla="*/ 36499 w 2155831"/>
                <a:gd name="connsiteY72" fmla="*/ 75617 h 2976929"/>
                <a:gd name="connsiteX73" fmla="*/ 10562 w 2155831"/>
                <a:gd name="connsiteY73" fmla="*/ 20862 h 2976929"/>
                <a:gd name="connsiteX74" fmla="*/ 0 w 2155831"/>
                <a:gd name="connsiteY74" fmla="*/ 158 h 2976929"/>
                <a:gd name="connsiteX75" fmla="*/ 13079 w 2155831"/>
                <a:gd name="connsiteY75" fmla="*/ 0 h 2976929"/>
                <a:gd name="connsiteX76" fmla="*/ 226829 w 2155831"/>
                <a:gd name="connsiteY76" fmla="*/ 12827 h 2976929"/>
                <a:gd name="connsiteX77" fmla="*/ 450723 w 2155831"/>
                <a:gd name="connsiteY77" fmla="*/ 52689 h 2976929"/>
                <a:gd name="connsiteX78" fmla="*/ 560539 w 2155831"/>
                <a:gd name="connsiteY78" fmla="*/ 86554 h 2976929"/>
                <a:gd name="connsiteX79" fmla="*/ 749631 w 2155831"/>
                <a:gd name="connsiteY79" fmla="*/ 141872 h 2976929"/>
                <a:gd name="connsiteX80" fmla="*/ 954426 w 2155831"/>
                <a:gd name="connsiteY80" fmla="*/ 217419 h 2976929"/>
                <a:gd name="connsiteX81" fmla="*/ 1044168 w 2155831"/>
                <a:gd name="connsiteY81" fmla="*/ 253433 h 2976929"/>
                <a:gd name="connsiteX82" fmla="*/ 1068846 w 2155831"/>
                <a:gd name="connsiteY82" fmla="*/ 263336 h 2976929"/>
                <a:gd name="connsiteX83" fmla="*/ 1080840 w 2155831"/>
                <a:gd name="connsiteY83" fmla="*/ 268631 h 2976929"/>
                <a:gd name="connsiteX84" fmla="*/ 1201115 w 2155831"/>
                <a:gd name="connsiteY84" fmla="*/ 329275 h 2976929"/>
                <a:gd name="connsiteX85" fmla="*/ 1242090 w 2155831"/>
                <a:gd name="connsiteY85" fmla="*/ 353738 h 2976929"/>
                <a:gd name="connsiteX86" fmla="*/ 1413084 w 2155831"/>
                <a:gd name="connsiteY86" fmla="*/ 488630 h 2976929"/>
                <a:gd name="connsiteX87" fmla="*/ 1572595 w 2155831"/>
                <a:gd name="connsiteY87" fmla="*/ 621622 h 2976929"/>
                <a:gd name="connsiteX88" fmla="*/ 1680332 w 2155831"/>
                <a:gd name="connsiteY88" fmla="*/ 746131 h 2976929"/>
                <a:gd name="connsiteX89" fmla="*/ 1755918 w 2155831"/>
                <a:gd name="connsiteY89" fmla="*/ 849500 h 2976929"/>
                <a:gd name="connsiteX90" fmla="*/ 1808459 w 2155831"/>
                <a:gd name="connsiteY90" fmla="*/ 930050 h 2976929"/>
                <a:gd name="connsiteX91" fmla="*/ 1886231 w 2155831"/>
                <a:gd name="connsiteY91" fmla="*/ 1096198 h 2976929"/>
                <a:gd name="connsiteX92" fmla="*/ 1945223 w 2155831"/>
                <a:gd name="connsiteY92" fmla="*/ 1211661 h 2976929"/>
                <a:gd name="connsiteX93" fmla="*/ 2114052 w 2155831"/>
                <a:gd name="connsiteY93" fmla="*/ 1649815 h 2976929"/>
                <a:gd name="connsiteX94" fmla="*/ 2133346 w 2155831"/>
                <a:gd name="connsiteY94" fmla="*/ 1794566 h 2976929"/>
                <a:gd name="connsiteX95" fmla="*/ 2141246 w 2155831"/>
                <a:gd name="connsiteY95" fmla="*/ 1938447 h 2976929"/>
                <a:gd name="connsiteX96" fmla="*/ 2152491 w 2155831"/>
                <a:gd name="connsiteY96" fmla="*/ 2053419 h 2976929"/>
                <a:gd name="connsiteX97" fmla="*/ 2134338 w 2155831"/>
                <a:gd name="connsiteY97" fmla="*/ 2395410 h 2976929"/>
                <a:gd name="connsiteX98" fmla="*/ 2104323 w 2155831"/>
                <a:gd name="connsiteY98" fmla="*/ 2527528 h 2976929"/>
                <a:gd name="connsiteX99" fmla="*/ 2082966 w 2155831"/>
                <a:gd name="connsiteY99" fmla="*/ 2597961 h 2976929"/>
                <a:gd name="connsiteX100" fmla="*/ 2079599 w 2155831"/>
                <a:gd name="connsiteY100" fmla="*/ 2612366 h 2976929"/>
                <a:gd name="connsiteX101" fmla="*/ 2064057 w 2155831"/>
                <a:gd name="connsiteY101" fmla="*/ 2669958 h 2976929"/>
                <a:gd name="connsiteX102" fmla="*/ 2033891 w 2155831"/>
                <a:gd name="connsiteY102" fmla="*/ 2755072 h 2976929"/>
                <a:gd name="connsiteX103" fmla="*/ 2026445 w 2155831"/>
                <a:gd name="connsiteY103" fmla="*/ 2770222 h 2976929"/>
                <a:gd name="connsiteX104" fmla="*/ 2015942 w 2155831"/>
                <a:gd name="connsiteY104" fmla="*/ 2800640 h 2976929"/>
                <a:gd name="connsiteX105" fmla="*/ 1995007 w 2155831"/>
                <a:gd name="connsiteY105" fmla="*/ 2858228 h 2976929"/>
                <a:gd name="connsiteX106" fmla="*/ 1988021 w 2155831"/>
                <a:gd name="connsiteY106" fmla="*/ 2877202 h 2976929"/>
                <a:gd name="connsiteX107" fmla="*/ 1951925 w 2155831"/>
                <a:gd name="connsiteY107" fmla="*/ 2884893 h 2976929"/>
                <a:gd name="connsiteX108" fmla="*/ 1837033 w 2155831"/>
                <a:gd name="connsiteY108" fmla="*/ 2896184 h 2976929"/>
                <a:gd name="connsiteX109" fmla="*/ 1691838 w 2155831"/>
                <a:gd name="connsiteY109" fmla="*/ 2912506 h 2976929"/>
                <a:gd name="connsiteX110" fmla="*/ 1258768 w 2155831"/>
                <a:gd name="connsiteY110" fmla="*/ 2976623 h 297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155831" h="2976929">
                  <a:moveTo>
                    <a:pt x="1258768" y="2976623"/>
                  </a:moveTo>
                  <a:cubicBezTo>
                    <a:pt x="1247396" y="2977941"/>
                    <a:pt x="1233525" y="2975084"/>
                    <a:pt x="1225949" y="2966502"/>
                  </a:cubicBezTo>
                  <a:cubicBezTo>
                    <a:pt x="1215646" y="2954829"/>
                    <a:pt x="1216648" y="2936748"/>
                    <a:pt x="1210828" y="2922306"/>
                  </a:cubicBezTo>
                  <a:cubicBezTo>
                    <a:pt x="1207800" y="2914799"/>
                    <a:pt x="1202948" y="2908151"/>
                    <a:pt x="1199479" y="2900837"/>
                  </a:cubicBezTo>
                  <a:cubicBezTo>
                    <a:pt x="1194956" y="2891302"/>
                    <a:pt x="1191804" y="2881123"/>
                    <a:pt x="1186871" y="2871791"/>
                  </a:cubicBezTo>
                  <a:cubicBezTo>
                    <a:pt x="1180429" y="2859606"/>
                    <a:pt x="1171188" y="2848955"/>
                    <a:pt x="1165432" y="2836430"/>
                  </a:cubicBezTo>
                  <a:cubicBezTo>
                    <a:pt x="1158929" y="2822281"/>
                    <a:pt x="1155351" y="2806965"/>
                    <a:pt x="1150309" y="2792234"/>
                  </a:cubicBezTo>
                  <a:cubicBezTo>
                    <a:pt x="1106465" y="2745408"/>
                    <a:pt x="1159319" y="2804636"/>
                    <a:pt x="1109944" y="2736660"/>
                  </a:cubicBezTo>
                  <a:cubicBezTo>
                    <a:pt x="1101172" y="2724583"/>
                    <a:pt x="1090806" y="2713746"/>
                    <a:pt x="1080930" y="2702555"/>
                  </a:cubicBezTo>
                  <a:cubicBezTo>
                    <a:pt x="1074822" y="2695634"/>
                    <a:pt x="1067428" y="2689811"/>
                    <a:pt x="1062004" y="2682343"/>
                  </a:cubicBezTo>
                  <a:cubicBezTo>
                    <a:pt x="1057248" y="2675794"/>
                    <a:pt x="1054439" y="2668030"/>
                    <a:pt x="1050655" y="2660875"/>
                  </a:cubicBezTo>
                  <a:cubicBezTo>
                    <a:pt x="1041403" y="2652031"/>
                    <a:pt x="1031368" y="2643940"/>
                    <a:pt x="1022898" y="2634345"/>
                  </a:cubicBezTo>
                  <a:cubicBezTo>
                    <a:pt x="1002743" y="2611511"/>
                    <a:pt x="994571" y="2591150"/>
                    <a:pt x="980017" y="2563620"/>
                  </a:cubicBezTo>
                  <a:cubicBezTo>
                    <a:pt x="966256" y="2537587"/>
                    <a:pt x="953964" y="2514928"/>
                    <a:pt x="943279" y="2495053"/>
                  </a:cubicBezTo>
                  <a:lnTo>
                    <a:pt x="942090" y="2492777"/>
                  </a:lnTo>
                  <a:lnTo>
                    <a:pt x="955208" y="2471060"/>
                  </a:lnTo>
                  <a:lnTo>
                    <a:pt x="966192" y="2439732"/>
                  </a:lnTo>
                  <a:cubicBezTo>
                    <a:pt x="980325" y="2398707"/>
                    <a:pt x="996613" y="2349061"/>
                    <a:pt x="1008823" y="2302330"/>
                  </a:cubicBezTo>
                  <a:lnTo>
                    <a:pt x="1019560" y="2253039"/>
                  </a:lnTo>
                  <a:lnTo>
                    <a:pt x="1023765" y="2229413"/>
                  </a:lnTo>
                  <a:cubicBezTo>
                    <a:pt x="1023845" y="2228955"/>
                    <a:pt x="1023924" y="2228497"/>
                    <a:pt x="1024004" y="2228039"/>
                  </a:cubicBezTo>
                  <a:lnTo>
                    <a:pt x="1029596" y="2165763"/>
                  </a:lnTo>
                  <a:lnTo>
                    <a:pt x="1029767" y="2145929"/>
                  </a:lnTo>
                  <a:cubicBezTo>
                    <a:pt x="1029516" y="2129893"/>
                    <a:pt x="1029469" y="2110272"/>
                    <a:pt x="1029265" y="2088433"/>
                  </a:cubicBezTo>
                  <a:cubicBezTo>
                    <a:pt x="1028791" y="2065250"/>
                    <a:pt x="1028318" y="2042067"/>
                    <a:pt x="1027844" y="2018884"/>
                  </a:cubicBezTo>
                  <a:lnTo>
                    <a:pt x="1026277" y="2002176"/>
                  </a:lnTo>
                  <a:cubicBezTo>
                    <a:pt x="1015858" y="1915351"/>
                    <a:pt x="996013" y="1825051"/>
                    <a:pt x="975669" y="1756583"/>
                  </a:cubicBezTo>
                  <a:lnTo>
                    <a:pt x="941072" y="1672504"/>
                  </a:lnTo>
                  <a:lnTo>
                    <a:pt x="934149" y="1656975"/>
                  </a:lnTo>
                  <a:lnTo>
                    <a:pt x="918207" y="1624656"/>
                  </a:lnTo>
                  <a:lnTo>
                    <a:pt x="910872" y="1607193"/>
                  </a:lnTo>
                  <a:lnTo>
                    <a:pt x="907911" y="1602487"/>
                  </a:lnTo>
                  <a:cubicBezTo>
                    <a:pt x="906134" y="1599551"/>
                    <a:pt x="904096" y="1595860"/>
                    <a:pt x="901300" y="1589944"/>
                  </a:cubicBezTo>
                  <a:cubicBezTo>
                    <a:pt x="890116" y="1566278"/>
                    <a:pt x="873761" y="1526919"/>
                    <a:pt x="863118" y="1506180"/>
                  </a:cubicBezTo>
                  <a:cubicBezTo>
                    <a:pt x="852475" y="1485443"/>
                    <a:pt x="847869" y="1480996"/>
                    <a:pt x="837441" y="1465515"/>
                  </a:cubicBezTo>
                  <a:lnTo>
                    <a:pt x="836353" y="1463975"/>
                  </a:lnTo>
                  <a:cubicBezTo>
                    <a:pt x="836345" y="1463978"/>
                    <a:pt x="836337" y="1463980"/>
                    <a:pt x="836329" y="1463983"/>
                  </a:cubicBezTo>
                  <a:lnTo>
                    <a:pt x="829517" y="1465657"/>
                  </a:lnTo>
                  <a:lnTo>
                    <a:pt x="814919" y="1444288"/>
                  </a:lnTo>
                  <a:cubicBezTo>
                    <a:pt x="805182" y="1431232"/>
                    <a:pt x="793460" y="1417341"/>
                    <a:pt x="774730" y="1397866"/>
                  </a:cubicBezTo>
                  <a:lnTo>
                    <a:pt x="771280" y="1394408"/>
                  </a:lnTo>
                  <a:lnTo>
                    <a:pt x="740577" y="1363632"/>
                  </a:lnTo>
                  <a:cubicBezTo>
                    <a:pt x="701471" y="1325445"/>
                    <a:pt x="650817" y="1278606"/>
                    <a:pt x="618443" y="1251999"/>
                  </a:cubicBezTo>
                  <a:cubicBezTo>
                    <a:pt x="575278" y="1216524"/>
                    <a:pt x="546006" y="1204369"/>
                    <a:pt x="515741" y="1185020"/>
                  </a:cubicBezTo>
                  <a:cubicBezTo>
                    <a:pt x="500608" y="1175345"/>
                    <a:pt x="488700" y="1166414"/>
                    <a:pt x="476669" y="1158228"/>
                  </a:cubicBezTo>
                  <a:lnTo>
                    <a:pt x="468785" y="1153807"/>
                  </a:lnTo>
                  <a:lnTo>
                    <a:pt x="447952" y="1144978"/>
                  </a:lnTo>
                  <a:cubicBezTo>
                    <a:pt x="410285" y="1129706"/>
                    <a:pt x="373207" y="1115745"/>
                    <a:pt x="348750" y="1106263"/>
                  </a:cubicBezTo>
                  <a:cubicBezTo>
                    <a:pt x="299836" y="1087299"/>
                    <a:pt x="281326" y="1085421"/>
                    <a:pt x="257206" y="1077769"/>
                  </a:cubicBezTo>
                  <a:cubicBezTo>
                    <a:pt x="251177" y="1075856"/>
                    <a:pt x="246521" y="1074209"/>
                    <a:pt x="242508" y="1072716"/>
                  </a:cubicBezTo>
                  <a:lnTo>
                    <a:pt x="232374" y="1068850"/>
                  </a:lnTo>
                  <a:lnTo>
                    <a:pt x="192144" y="1058607"/>
                  </a:lnTo>
                  <a:lnTo>
                    <a:pt x="154049" y="1049571"/>
                  </a:lnTo>
                  <a:lnTo>
                    <a:pt x="152095" y="1049082"/>
                  </a:lnTo>
                  <a:lnTo>
                    <a:pt x="95743" y="1039491"/>
                  </a:lnTo>
                  <a:lnTo>
                    <a:pt x="68392" y="1037000"/>
                  </a:lnTo>
                  <a:lnTo>
                    <a:pt x="60630" y="1036393"/>
                  </a:lnTo>
                  <a:lnTo>
                    <a:pt x="27470" y="1038142"/>
                  </a:lnTo>
                  <a:lnTo>
                    <a:pt x="46023" y="1019406"/>
                  </a:lnTo>
                  <a:cubicBezTo>
                    <a:pt x="62245" y="1002265"/>
                    <a:pt x="68209" y="992800"/>
                    <a:pt x="79454" y="971642"/>
                  </a:cubicBezTo>
                  <a:cubicBezTo>
                    <a:pt x="85757" y="959788"/>
                    <a:pt x="90002" y="946952"/>
                    <a:pt x="95276" y="934604"/>
                  </a:cubicBezTo>
                  <a:cubicBezTo>
                    <a:pt x="100908" y="928252"/>
                    <a:pt x="107497" y="922632"/>
                    <a:pt x="112176" y="915547"/>
                  </a:cubicBezTo>
                  <a:cubicBezTo>
                    <a:pt x="117510" y="907468"/>
                    <a:pt x="120503" y="898060"/>
                    <a:pt x="125048" y="889511"/>
                  </a:cubicBezTo>
                  <a:cubicBezTo>
                    <a:pt x="132398" y="875687"/>
                    <a:pt x="139219" y="861513"/>
                    <a:pt x="147846" y="848445"/>
                  </a:cubicBezTo>
                  <a:cubicBezTo>
                    <a:pt x="196400" y="774903"/>
                    <a:pt x="157720" y="848639"/>
                    <a:pt x="187543" y="788322"/>
                  </a:cubicBezTo>
                  <a:cubicBezTo>
                    <a:pt x="200151" y="777941"/>
                    <a:pt x="213873" y="768782"/>
                    <a:pt x="225371" y="757179"/>
                  </a:cubicBezTo>
                  <a:cubicBezTo>
                    <a:pt x="235549" y="746912"/>
                    <a:pt x="242603" y="733909"/>
                    <a:pt x="252196" y="723092"/>
                  </a:cubicBezTo>
                  <a:cubicBezTo>
                    <a:pt x="259539" y="714807"/>
                    <a:pt x="268374" y="707960"/>
                    <a:pt x="276071" y="700003"/>
                  </a:cubicBezTo>
                  <a:cubicBezTo>
                    <a:pt x="281974" y="693901"/>
                    <a:pt x="286715" y="686685"/>
                    <a:pt x="292971" y="680946"/>
                  </a:cubicBezTo>
                  <a:cubicBezTo>
                    <a:pt x="305008" y="669905"/>
                    <a:pt x="323134" y="664226"/>
                    <a:pt x="330800" y="649805"/>
                  </a:cubicBezTo>
                  <a:cubicBezTo>
                    <a:pt x="336435" y="639202"/>
                    <a:pt x="334128" y="624527"/>
                    <a:pt x="328642" y="613844"/>
                  </a:cubicBezTo>
                  <a:cubicBezTo>
                    <a:pt x="258709" y="477682"/>
                    <a:pt x="180244" y="346074"/>
                    <a:pt x="106045" y="212188"/>
                  </a:cubicBezTo>
                  <a:lnTo>
                    <a:pt x="36499" y="75617"/>
                  </a:lnTo>
                  <a:cubicBezTo>
                    <a:pt x="27451" y="57576"/>
                    <a:pt x="19137" y="39149"/>
                    <a:pt x="10562" y="20862"/>
                  </a:cubicBezTo>
                  <a:lnTo>
                    <a:pt x="0" y="158"/>
                  </a:lnTo>
                  <a:lnTo>
                    <a:pt x="13079" y="0"/>
                  </a:lnTo>
                  <a:cubicBezTo>
                    <a:pt x="96177" y="1522"/>
                    <a:pt x="182644" y="9333"/>
                    <a:pt x="226829" y="12827"/>
                  </a:cubicBezTo>
                  <a:cubicBezTo>
                    <a:pt x="313150" y="21446"/>
                    <a:pt x="406801" y="44257"/>
                    <a:pt x="450723" y="52689"/>
                  </a:cubicBezTo>
                  <a:cubicBezTo>
                    <a:pt x="506342" y="64975"/>
                    <a:pt x="510720" y="71690"/>
                    <a:pt x="560539" y="86554"/>
                  </a:cubicBezTo>
                  <a:cubicBezTo>
                    <a:pt x="610356" y="101417"/>
                    <a:pt x="648652" y="104872"/>
                    <a:pt x="749631" y="141872"/>
                  </a:cubicBezTo>
                  <a:lnTo>
                    <a:pt x="954426" y="217419"/>
                  </a:lnTo>
                  <a:lnTo>
                    <a:pt x="1044168" y="253433"/>
                  </a:lnTo>
                  <a:lnTo>
                    <a:pt x="1068846" y="263336"/>
                  </a:lnTo>
                  <a:lnTo>
                    <a:pt x="1080840" y="268631"/>
                  </a:lnTo>
                  <a:lnTo>
                    <a:pt x="1201115" y="329275"/>
                  </a:lnTo>
                  <a:lnTo>
                    <a:pt x="1242090" y="353738"/>
                  </a:lnTo>
                  <a:cubicBezTo>
                    <a:pt x="1311149" y="400281"/>
                    <a:pt x="1362312" y="449497"/>
                    <a:pt x="1413084" y="488630"/>
                  </a:cubicBezTo>
                  <a:cubicBezTo>
                    <a:pt x="1480781" y="540808"/>
                    <a:pt x="1528055" y="578705"/>
                    <a:pt x="1572595" y="621622"/>
                  </a:cubicBezTo>
                  <a:cubicBezTo>
                    <a:pt x="1617138" y="664539"/>
                    <a:pt x="1659514" y="718385"/>
                    <a:pt x="1680332" y="746131"/>
                  </a:cubicBezTo>
                  <a:cubicBezTo>
                    <a:pt x="1710885" y="784110"/>
                    <a:pt x="1734563" y="818847"/>
                    <a:pt x="1755918" y="849500"/>
                  </a:cubicBezTo>
                  <a:cubicBezTo>
                    <a:pt x="1777272" y="880154"/>
                    <a:pt x="1786741" y="888934"/>
                    <a:pt x="1808459" y="930050"/>
                  </a:cubicBezTo>
                  <a:cubicBezTo>
                    <a:pt x="1830177" y="971167"/>
                    <a:pt x="1863438" y="1049264"/>
                    <a:pt x="1886231" y="1096198"/>
                  </a:cubicBezTo>
                  <a:cubicBezTo>
                    <a:pt x="1909025" y="1143134"/>
                    <a:pt x="1907253" y="1119392"/>
                    <a:pt x="1945223" y="1211661"/>
                  </a:cubicBezTo>
                  <a:cubicBezTo>
                    <a:pt x="1983194" y="1303931"/>
                    <a:pt x="2078936" y="1468263"/>
                    <a:pt x="2114052" y="1649815"/>
                  </a:cubicBezTo>
                  <a:cubicBezTo>
                    <a:pt x="2122831" y="1695202"/>
                    <a:pt x="2129005" y="1744362"/>
                    <a:pt x="2133346" y="1794566"/>
                  </a:cubicBezTo>
                  <a:lnTo>
                    <a:pt x="2141246" y="1938447"/>
                  </a:lnTo>
                  <a:lnTo>
                    <a:pt x="2152491" y="2053419"/>
                  </a:lnTo>
                  <a:cubicBezTo>
                    <a:pt x="2160182" y="2170189"/>
                    <a:pt x="2154782" y="2273369"/>
                    <a:pt x="2134338" y="2395410"/>
                  </a:cubicBezTo>
                  <a:cubicBezTo>
                    <a:pt x="2127523" y="2436090"/>
                    <a:pt x="2116980" y="2481085"/>
                    <a:pt x="2104323" y="2527528"/>
                  </a:cubicBezTo>
                  <a:lnTo>
                    <a:pt x="2082966" y="2597961"/>
                  </a:lnTo>
                  <a:lnTo>
                    <a:pt x="2079599" y="2612366"/>
                  </a:lnTo>
                  <a:cubicBezTo>
                    <a:pt x="2074378" y="2633294"/>
                    <a:pt x="2069133" y="2652848"/>
                    <a:pt x="2064057" y="2669958"/>
                  </a:cubicBezTo>
                  <a:cubicBezTo>
                    <a:pt x="2053905" y="2704176"/>
                    <a:pt x="2044306" y="2730771"/>
                    <a:pt x="2033891" y="2755072"/>
                  </a:cubicBezTo>
                  <a:lnTo>
                    <a:pt x="2026445" y="2770222"/>
                  </a:lnTo>
                  <a:lnTo>
                    <a:pt x="2015942" y="2800640"/>
                  </a:lnTo>
                  <a:cubicBezTo>
                    <a:pt x="2008617" y="2821027"/>
                    <a:pt x="2001571" y="2840342"/>
                    <a:pt x="1995007" y="2858228"/>
                  </a:cubicBezTo>
                  <a:lnTo>
                    <a:pt x="1988021" y="2877202"/>
                  </a:lnTo>
                  <a:lnTo>
                    <a:pt x="1951925" y="2884893"/>
                  </a:lnTo>
                  <a:cubicBezTo>
                    <a:pt x="1913963" y="2891196"/>
                    <a:pt x="1875300" y="2892122"/>
                    <a:pt x="1837033" y="2896184"/>
                  </a:cubicBezTo>
                  <a:lnTo>
                    <a:pt x="1691838" y="2912506"/>
                  </a:lnTo>
                  <a:cubicBezTo>
                    <a:pt x="1547480" y="2933878"/>
                    <a:pt x="1403728" y="2959822"/>
                    <a:pt x="1258768" y="2976623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wrap="square" lIns="91440" tIns="45721" rIns="91440" bIns="45721" rtlCol="0" anchor="ctr">
              <a:noAutofit/>
            </a:bodyPr>
            <a:lstStyle/>
            <a:p>
              <a:pPr marL="0" marR="0" lvl="0" indent="0" algn="ctr" defTabSz="914400" rtl="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51" b="1" i="0" u="none" strike="noStrike" kern="1200" cap="none" spc="0" normalizeH="0" baseline="0" noProof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DM Sans 14pt"/>
                <a:cs typeface="Arial"/>
              </a:endParaRPr>
            </a:p>
          </p:txBody>
        </p:sp>
      </p:grpSp>
      <p:sp>
        <p:nvSpPr>
          <p:cNvPr id="12" name="TextBox 18" descr="decorative: TextBox 18">
            <a:extLst>
              <a:ext uri="{FF2B5EF4-FFF2-40B4-BE49-F238E27FC236}">
                <a16:creationId xmlns:a16="http://schemas.microsoft.com/office/drawing/2014/main" id="{8DAD15AE-6697-9EBC-1493-04C83E067CA2}"/>
              </a:ext>
            </a:extLst>
          </p:cNvPr>
          <p:cNvSpPr txBox="1"/>
          <p:nvPr/>
        </p:nvSpPr>
        <p:spPr>
          <a:xfrm>
            <a:off x="7482537" y="1747207"/>
            <a:ext cx="1980000" cy="7560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1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/>
                <a:cs typeface="Arial"/>
              </a:rPr>
              <a:t>2. Prioritering</a:t>
            </a:r>
            <a:r>
              <a:rPr lang="da-DK" sz="1400" b="1" noProof="1">
                <a:solidFill>
                  <a:srgbClr val="252F5F"/>
                </a:solidFill>
                <a:latin typeface="Verdana"/>
                <a:cs typeface="Arial"/>
              </a:rPr>
              <a:t> og</a:t>
            </a:r>
            <a:r>
              <a:rPr kumimoji="0" lang="da-DK" sz="1400" b="1" i="0" u="none" strike="noStrike" kern="1200" cap="none" spc="0" normalizeH="0" baseline="0" noProof="1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Verdana"/>
                <a:cs typeface="Arial"/>
              </a:rPr>
              <a:t> ambitioner</a:t>
            </a:r>
          </a:p>
        </p:txBody>
      </p:sp>
      <p:sp>
        <p:nvSpPr>
          <p:cNvPr id="13" name="TextBox 18" descr="decorative: TextBox 18">
            <a:extLst>
              <a:ext uri="{FF2B5EF4-FFF2-40B4-BE49-F238E27FC236}">
                <a16:creationId xmlns:a16="http://schemas.microsoft.com/office/drawing/2014/main" id="{5CFF8C74-B039-3E7A-7318-EBF8A477440B}"/>
              </a:ext>
            </a:extLst>
          </p:cNvPr>
          <p:cNvSpPr txBox="1"/>
          <p:nvPr/>
        </p:nvSpPr>
        <p:spPr>
          <a:xfrm>
            <a:off x="3377127" y="4930139"/>
            <a:ext cx="1980000" cy="756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1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Verdana"/>
                <a:cs typeface="Arial"/>
              </a:rPr>
              <a:t>3. Opfølgning og rapportering</a:t>
            </a:r>
          </a:p>
        </p:txBody>
      </p:sp>
      <p:sp>
        <p:nvSpPr>
          <p:cNvPr id="14" name="TextBox 18" descr="decorative: TextBox 18">
            <a:extLst>
              <a:ext uri="{FF2B5EF4-FFF2-40B4-BE49-F238E27FC236}">
                <a16:creationId xmlns:a16="http://schemas.microsoft.com/office/drawing/2014/main" id="{634F849B-BC55-E3BE-026E-1D1AF30BA9EA}"/>
              </a:ext>
            </a:extLst>
          </p:cNvPr>
          <p:cNvSpPr txBox="1"/>
          <p:nvPr/>
        </p:nvSpPr>
        <p:spPr>
          <a:xfrm>
            <a:off x="2591028" y="1828385"/>
            <a:ext cx="1980000" cy="756000"/>
          </a:xfrm>
          <a:custGeom>
            <a:avLst/>
            <a:gdLst>
              <a:gd name="csX0" fmla="*/ 0 w 1980000"/>
              <a:gd name="csY0" fmla="*/ 126003 h 756000"/>
              <a:gd name="csX1" fmla="*/ 126003 w 1980000"/>
              <a:gd name="csY1" fmla="*/ 0 h 756000"/>
              <a:gd name="csX2" fmla="*/ 719281 w 1980000"/>
              <a:gd name="csY2" fmla="*/ 0 h 756000"/>
              <a:gd name="csX3" fmla="*/ 1295279 w 1980000"/>
              <a:gd name="csY3" fmla="*/ 0 h 756000"/>
              <a:gd name="csX4" fmla="*/ 1853997 w 1980000"/>
              <a:gd name="csY4" fmla="*/ 0 h 756000"/>
              <a:gd name="csX5" fmla="*/ 1980000 w 1980000"/>
              <a:gd name="csY5" fmla="*/ 126003 h 756000"/>
              <a:gd name="csX6" fmla="*/ 1980000 w 1980000"/>
              <a:gd name="csY6" fmla="*/ 629997 h 756000"/>
              <a:gd name="csX7" fmla="*/ 1853997 w 1980000"/>
              <a:gd name="csY7" fmla="*/ 756000 h 756000"/>
              <a:gd name="csX8" fmla="*/ 1260719 w 1980000"/>
              <a:gd name="csY8" fmla="*/ 756000 h 756000"/>
              <a:gd name="csX9" fmla="*/ 736561 w 1980000"/>
              <a:gd name="csY9" fmla="*/ 756000 h 756000"/>
              <a:gd name="csX10" fmla="*/ 126003 w 1980000"/>
              <a:gd name="csY10" fmla="*/ 756000 h 756000"/>
              <a:gd name="csX11" fmla="*/ 0 w 1980000"/>
              <a:gd name="csY11" fmla="*/ 629997 h 756000"/>
              <a:gd name="csX12" fmla="*/ 0 w 1980000"/>
              <a:gd name="csY12" fmla="*/ 126003 h 756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</a:cxnLst>
            <a:rect l="l" t="t" r="r" b="b"/>
            <a:pathLst>
              <a:path w="1980000" h="756000" fill="none" extrusionOk="0">
                <a:moveTo>
                  <a:pt x="0" y="126003"/>
                </a:moveTo>
                <a:cubicBezTo>
                  <a:pt x="-11822" y="58354"/>
                  <a:pt x="53446" y="-2047"/>
                  <a:pt x="126003" y="0"/>
                </a:cubicBezTo>
                <a:cubicBezTo>
                  <a:pt x="288852" y="27765"/>
                  <a:pt x="466847" y="-28538"/>
                  <a:pt x="719281" y="0"/>
                </a:cubicBezTo>
                <a:cubicBezTo>
                  <a:pt x="971715" y="28538"/>
                  <a:pt x="1144218" y="-2239"/>
                  <a:pt x="1295279" y="0"/>
                </a:cubicBezTo>
                <a:cubicBezTo>
                  <a:pt x="1446340" y="2239"/>
                  <a:pt x="1740679" y="-27042"/>
                  <a:pt x="1853997" y="0"/>
                </a:cubicBezTo>
                <a:cubicBezTo>
                  <a:pt x="1911430" y="501"/>
                  <a:pt x="1982075" y="52673"/>
                  <a:pt x="1980000" y="126003"/>
                </a:cubicBezTo>
                <a:cubicBezTo>
                  <a:pt x="1985610" y="292999"/>
                  <a:pt x="1961998" y="388518"/>
                  <a:pt x="1980000" y="629997"/>
                </a:cubicBezTo>
                <a:cubicBezTo>
                  <a:pt x="1982213" y="703968"/>
                  <a:pt x="1909757" y="763293"/>
                  <a:pt x="1853997" y="756000"/>
                </a:cubicBezTo>
                <a:cubicBezTo>
                  <a:pt x="1702383" y="779947"/>
                  <a:pt x="1528311" y="745449"/>
                  <a:pt x="1260719" y="756000"/>
                </a:cubicBezTo>
                <a:cubicBezTo>
                  <a:pt x="993127" y="766551"/>
                  <a:pt x="899074" y="765784"/>
                  <a:pt x="736561" y="756000"/>
                </a:cubicBezTo>
                <a:cubicBezTo>
                  <a:pt x="574048" y="746216"/>
                  <a:pt x="401148" y="749826"/>
                  <a:pt x="126003" y="756000"/>
                </a:cubicBezTo>
                <a:cubicBezTo>
                  <a:pt x="58316" y="756666"/>
                  <a:pt x="4767" y="715643"/>
                  <a:pt x="0" y="629997"/>
                </a:cubicBezTo>
                <a:cubicBezTo>
                  <a:pt x="-22384" y="479332"/>
                  <a:pt x="16299" y="258299"/>
                  <a:pt x="0" y="126003"/>
                </a:cubicBezTo>
                <a:close/>
              </a:path>
              <a:path w="1980000" h="756000" stroke="0" extrusionOk="0">
                <a:moveTo>
                  <a:pt x="0" y="126003"/>
                </a:moveTo>
                <a:cubicBezTo>
                  <a:pt x="-8025" y="51463"/>
                  <a:pt x="49253" y="2687"/>
                  <a:pt x="126003" y="0"/>
                </a:cubicBezTo>
                <a:cubicBezTo>
                  <a:pt x="386062" y="-17300"/>
                  <a:pt x="529665" y="-19198"/>
                  <a:pt x="736561" y="0"/>
                </a:cubicBezTo>
                <a:cubicBezTo>
                  <a:pt x="943457" y="19198"/>
                  <a:pt x="1073775" y="5272"/>
                  <a:pt x="1295279" y="0"/>
                </a:cubicBezTo>
                <a:cubicBezTo>
                  <a:pt x="1516783" y="-5272"/>
                  <a:pt x="1704618" y="-280"/>
                  <a:pt x="1853997" y="0"/>
                </a:cubicBezTo>
                <a:cubicBezTo>
                  <a:pt x="1918902" y="-15091"/>
                  <a:pt x="1981627" y="50394"/>
                  <a:pt x="1980000" y="126003"/>
                </a:cubicBezTo>
                <a:cubicBezTo>
                  <a:pt x="1956720" y="259830"/>
                  <a:pt x="1990556" y="416721"/>
                  <a:pt x="1980000" y="629997"/>
                </a:cubicBezTo>
                <a:cubicBezTo>
                  <a:pt x="1979689" y="696619"/>
                  <a:pt x="1916186" y="766286"/>
                  <a:pt x="1853997" y="756000"/>
                </a:cubicBezTo>
                <a:cubicBezTo>
                  <a:pt x="1681090" y="756137"/>
                  <a:pt x="1581691" y="752747"/>
                  <a:pt x="1312559" y="756000"/>
                </a:cubicBezTo>
                <a:cubicBezTo>
                  <a:pt x="1043427" y="759253"/>
                  <a:pt x="873641" y="741487"/>
                  <a:pt x="736561" y="756000"/>
                </a:cubicBezTo>
                <a:cubicBezTo>
                  <a:pt x="599481" y="770513"/>
                  <a:pt x="359495" y="777148"/>
                  <a:pt x="126003" y="756000"/>
                </a:cubicBezTo>
                <a:cubicBezTo>
                  <a:pt x="64895" y="747618"/>
                  <a:pt x="9839" y="693243"/>
                  <a:pt x="0" y="629997"/>
                </a:cubicBezTo>
                <a:cubicBezTo>
                  <a:pt x="11195" y="444588"/>
                  <a:pt x="14623" y="342539"/>
                  <a:pt x="0" y="126003"/>
                </a:cubicBezTo>
                <a:close/>
              </a:path>
            </a:pathLst>
          </a:custGeom>
          <a:solidFill>
            <a:schemeClr val="bg1"/>
          </a:solidFill>
          <a:ln>
            <a:noFill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1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Verdana"/>
                <a:cs typeface="Arial"/>
              </a:rPr>
              <a:t>1. Analyse, situation, risici og potentialer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5442A2E4-FA16-4E26-5BD2-71F317FC14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540" y="1652143"/>
            <a:ext cx="2317155" cy="1333014"/>
          </a:xfrm>
          <a:prstGeom prst="rect">
            <a:avLst/>
          </a:prstGeom>
        </p:spPr>
      </p:pic>
      <p:pic>
        <p:nvPicPr>
          <p:cNvPr id="16" name="Picture 14">
            <a:extLst>
              <a:ext uri="{FF2B5EF4-FFF2-40B4-BE49-F238E27FC236}">
                <a16:creationId xmlns:a16="http://schemas.microsoft.com/office/drawing/2014/main" id="{41E3A89B-40DE-3665-30B0-D1C424132C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4340" y="5416992"/>
            <a:ext cx="1194103" cy="671411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ED9BBAA7-FDEB-01FC-F2BE-195D812D56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5416" y="2711416"/>
            <a:ext cx="1754597" cy="1219391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1" name="Rektangel: afrundede hjørner 20">
            <a:extLst>
              <a:ext uri="{FF2B5EF4-FFF2-40B4-BE49-F238E27FC236}">
                <a16:creationId xmlns:a16="http://schemas.microsoft.com/office/drawing/2014/main" id="{30DE97EE-10A1-B21B-3A2C-3A2D935607E3}"/>
              </a:ext>
            </a:extLst>
          </p:cNvPr>
          <p:cNvSpPr/>
          <p:nvPr/>
        </p:nvSpPr>
        <p:spPr>
          <a:xfrm>
            <a:off x="226673" y="1416266"/>
            <a:ext cx="4339394" cy="2857350"/>
          </a:xfrm>
          <a:custGeom>
            <a:avLst/>
            <a:gdLst>
              <a:gd name="csX0" fmla="*/ 0 w 4339394"/>
              <a:gd name="csY0" fmla="*/ 476235 h 2857350"/>
              <a:gd name="csX1" fmla="*/ 476235 w 4339394"/>
              <a:gd name="csY1" fmla="*/ 0 h 2857350"/>
              <a:gd name="csX2" fmla="*/ 1221358 w 4339394"/>
              <a:gd name="csY2" fmla="*/ 0 h 2857350"/>
              <a:gd name="csX3" fmla="*/ 1864874 w 4339394"/>
              <a:gd name="csY3" fmla="*/ 0 h 2857350"/>
              <a:gd name="csX4" fmla="*/ 2474520 w 4339394"/>
              <a:gd name="csY4" fmla="*/ 0 h 2857350"/>
              <a:gd name="csX5" fmla="*/ 3185774 w 4339394"/>
              <a:gd name="csY5" fmla="*/ 0 h 2857350"/>
              <a:gd name="csX6" fmla="*/ 3863159 w 4339394"/>
              <a:gd name="csY6" fmla="*/ 0 h 2857350"/>
              <a:gd name="csX7" fmla="*/ 4339394 w 4339394"/>
              <a:gd name="csY7" fmla="*/ 476235 h 2857350"/>
              <a:gd name="csX8" fmla="*/ 4339394 w 4339394"/>
              <a:gd name="csY8" fmla="*/ 1111195 h 2857350"/>
              <a:gd name="csX9" fmla="*/ 4339394 w 4339394"/>
              <a:gd name="csY9" fmla="*/ 1689009 h 2857350"/>
              <a:gd name="csX10" fmla="*/ 4339394 w 4339394"/>
              <a:gd name="csY10" fmla="*/ 2381115 h 2857350"/>
              <a:gd name="csX11" fmla="*/ 3863159 w 4339394"/>
              <a:gd name="csY11" fmla="*/ 2857350 h 2857350"/>
              <a:gd name="csX12" fmla="*/ 3287382 w 4339394"/>
              <a:gd name="csY12" fmla="*/ 2857350 h 2857350"/>
              <a:gd name="csX13" fmla="*/ 2542259 w 4339394"/>
              <a:gd name="csY13" fmla="*/ 2857350 h 2857350"/>
              <a:gd name="csX14" fmla="*/ 1932612 w 4339394"/>
              <a:gd name="csY14" fmla="*/ 2857350 h 2857350"/>
              <a:gd name="csX15" fmla="*/ 1255228 w 4339394"/>
              <a:gd name="csY15" fmla="*/ 2857350 h 2857350"/>
              <a:gd name="csX16" fmla="*/ 476235 w 4339394"/>
              <a:gd name="csY16" fmla="*/ 2857350 h 2857350"/>
              <a:gd name="csX17" fmla="*/ 0 w 4339394"/>
              <a:gd name="csY17" fmla="*/ 2381115 h 2857350"/>
              <a:gd name="csX18" fmla="*/ 0 w 4339394"/>
              <a:gd name="csY18" fmla="*/ 1803301 h 2857350"/>
              <a:gd name="csX19" fmla="*/ 0 w 4339394"/>
              <a:gd name="csY19" fmla="*/ 1130244 h 2857350"/>
              <a:gd name="csX20" fmla="*/ 0 w 4339394"/>
              <a:gd name="csY20" fmla="*/ 476235 h 285735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4339394" h="2857350" extrusionOk="0">
                <a:moveTo>
                  <a:pt x="0" y="476235"/>
                </a:moveTo>
                <a:cubicBezTo>
                  <a:pt x="-49689" y="182569"/>
                  <a:pt x="160200" y="19898"/>
                  <a:pt x="476235" y="0"/>
                </a:cubicBezTo>
                <a:cubicBezTo>
                  <a:pt x="801859" y="1416"/>
                  <a:pt x="921146" y="-901"/>
                  <a:pt x="1221358" y="0"/>
                </a:cubicBezTo>
                <a:cubicBezTo>
                  <a:pt x="1521570" y="901"/>
                  <a:pt x="1617294" y="-23971"/>
                  <a:pt x="1864874" y="0"/>
                </a:cubicBezTo>
                <a:cubicBezTo>
                  <a:pt x="2112454" y="23971"/>
                  <a:pt x="2251612" y="5355"/>
                  <a:pt x="2474520" y="0"/>
                </a:cubicBezTo>
                <a:cubicBezTo>
                  <a:pt x="2697428" y="-5355"/>
                  <a:pt x="2902316" y="-26513"/>
                  <a:pt x="3185774" y="0"/>
                </a:cubicBezTo>
                <a:cubicBezTo>
                  <a:pt x="3469232" y="26513"/>
                  <a:pt x="3542759" y="10238"/>
                  <a:pt x="3863159" y="0"/>
                </a:cubicBezTo>
                <a:cubicBezTo>
                  <a:pt x="4141896" y="-25582"/>
                  <a:pt x="4323446" y="227233"/>
                  <a:pt x="4339394" y="476235"/>
                </a:cubicBezTo>
                <a:cubicBezTo>
                  <a:pt x="4335725" y="728621"/>
                  <a:pt x="4366091" y="818470"/>
                  <a:pt x="4339394" y="1111195"/>
                </a:cubicBezTo>
                <a:cubicBezTo>
                  <a:pt x="4312697" y="1403920"/>
                  <a:pt x="4366345" y="1554320"/>
                  <a:pt x="4339394" y="1689009"/>
                </a:cubicBezTo>
                <a:cubicBezTo>
                  <a:pt x="4312443" y="1823698"/>
                  <a:pt x="4355364" y="2141897"/>
                  <a:pt x="4339394" y="2381115"/>
                </a:cubicBezTo>
                <a:cubicBezTo>
                  <a:pt x="4344406" y="2651593"/>
                  <a:pt x="4130415" y="2901250"/>
                  <a:pt x="3863159" y="2857350"/>
                </a:cubicBezTo>
                <a:cubicBezTo>
                  <a:pt x="3644956" y="2835246"/>
                  <a:pt x="3452593" y="2840085"/>
                  <a:pt x="3287382" y="2857350"/>
                </a:cubicBezTo>
                <a:cubicBezTo>
                  <a:pt x="3122171" y="2874615"/>
                  <a:pt x="2854438" y="2890691"/>
                  <a:pt x="2542259" y="2857350"/>
                </a:cubicBezTo>
                <a:cubicBezTo>
                  <a:pt x="2230080" y="2824009"/>
                  <a:pt x="2124116" y="2870764"/>
                  <a:pt x="1932612" y="2857350"/>
                </a:cubicBezTo>
                <a:cubicBezTo>
                  <a:pt x="1741108" y="2843936"/>
                  <a:pt x="1428302" y="2862155"/>
                  <a:pt x="1255228" y="2857350"/>
                </a:cubicBezTo>
                <a:cubicBezTo>
                  <a:pt x="1082154" y="2852545"/>
                  <a:pt x="707509" y="2869324"/>
                  <a:pt x="476235" y="2857350"/>
                </a:cubicBezTo>
                <a:cubicBezTo>
                  <a:pt x="198110" y="2811900"/>
                  <a:pt x="49192" y="2634138"/>
                  <a:pt x="0" y="2381115"/>
                </a:cubicBezTo>
                <a:cubicBezTo>
                  <a:pt x="-1090" y="2193430"/>
                  <a:pt x="13856" y="1922558"/>
                  <a:pt x="0" y="1803301"/>
                </a:cubicBezTo>
                <a:cubicBezTo>
                  <a:pt x="-13856" y="1684044"/>
                  <a:pt x="-13606" y="1324425"/>
                  <a:pt x="0" y="1130244"/>
                </a:cubicBezTo>
                <a:cubicBezTo>
                  <a:pt x="13606" y="936063"/>
                  <a:pt x="-30739" y="668808"/>
                  <a:pt x="0" y="476235"/>
                </a:cubicBezTo>
                <a:close/>
              </a:path>
            </a:pathLst>
          </a:custGeom>
          <a:noFill/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sp>
        <p:nvSpPr>
          <p:cNvPr id="22" name="Rektangel: afrundede hjørner 21">
            <a:extLst>
              <a:ext uri="{FF2B5EF4-FFF2-40B4-BE49-F238E27FC236}">
                <a16:creationId xmlns:a16="http://schemas.microsoft.com/office/drawing/2014/main" id="{D3356529-07AD-EA45-56AE-4C65420670F3}"/>
              </a:ext>
            </a:extLst>
          </p:cNvPr>
          <p:cNvSpPr/>
          <p:nvPr/>
        </p:nvSpPr>
        <p:spPr>
          <a:xfrm>
            <a:off x="7239366" y="1401763"/>
            <a:ext cx="4446342" cy="2857350"/>
          </a:xfrm>
          <a:custGeom>
            <a:avLst/>
            <a:gdLst>
              <a:gd name="csX0" fmla="*/ 0 w 4446342"/>
              <a:gd name="csY0" fmla="*/ 476235 h 2857350"/>
              <a:gd name="csX1" fmla="*/ 476235 w 4446342"/>
              <a:gd name="csY1" fmla="*/ 0 h 2857350"/>
              <a:gd name="csX2" fmla="*/ 1244887 w 4446342"/>
              <a:gd name="csY2" fmla="*/ 0 h 2857350"/>
              <a:gd name="csX3" fmla="*/ 1908723 w 4446342"/>
              <a:gd name="csY3" fmla="*/ 0 h 2857350"/>
              <a:gd name="csX4" fmla="*/ 2537619 w 4446342"/>
              <a:gd name="csY4" fmla="*/ 0 h 2857350"/>
              <a:gd name="csX5" fmla="*/ 3271333 w 4446342"/>
              <a:gd name="csY5" fmla="*/ 0 h 2857350"/>
              <a:gd name="csX6" fmla="*/ 3970107 w 4446342"/>
              <a:gd name="csY6" fmla="*/ 0 h 2857350"/>
              <a:gd name="csX7" fmla="*/ 4446342 w 4446342"/>
              <a:gd name="csY7" fmla="*/ 476235 h 2857350"/>
              <a:gd name="csX8" fmla="*/ 4446342 w 4446342"/>
              <a:gd name="csY8" fmla="*/ 1111195 h 2857350"/>
              <a:gd name="csX9" fmla="*/ 4446342 w 4446342"/>
              <a:gd name="csY9" fmla="*/ 1689009 h 2857350"/>
              <a:gd name="csX10" fmla="*/ 4446342 w 4446342"/>
              <a:gd name="csY10" fmla="*/ 2381115 h 2857350"/>
              <a:gd name="csX11" fmla="*/ 3970107 w 4446342"/>
              <a:gd name="csY11" fmla="*/ 2857350 h 2857350"/>
              <a:gd name="csX12" fmla="*/ 3376149 w 4446342"/>
              <a:gd name="csY12" fmla="*/ 2857350 h 2857350"/>
              <a:gd name="csX13" fmla="*/ 2607497 w 4446342"/>
              <a:gd name="csY13" fmla="*/ 2857350 h 2857350"/>
              <a:gd name="csX14" fmla="*/ 1978600 w 4446342"/>
              <a:gd name="csY14" fmla="*/ 2857350 h 2857350"/>
              <a:gd name="csX15" fmla="*/ 1279826 w 4446342"/>
              <a:gd name="csY15" fmla="*/ 2857350 h 2857350"/>
              <a:gd name="csX16" fmla="*/ 476235 w 4446342"/>
              <a:gd name="csY16" fmla="*/ 2857350 h 2857350"/>
              <a:gd name="csX17" fmla="*/ 0 w 4446342"/>
              <a:gd name="csY17" fmla="*/ 2381115 h 2857350"/>
              <a:gd name="csX18" fmla="*/ 0 w 4446342"/>
              <a:gd name="csY18" fmla="*/ 1803301 h 2857350"/>
              <a:gd name="csX19" fmla="*/ 0 w 4446342"/>
              <a:gd name="csY19" fmla="*/ 1130244 h 2857350"/>
              <a:gd name="csX20" fmla="*/ 0 w 4446342"/>
              <a:gd name="csY20" fmla="*/ 476235 h 285735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</a:cxnLst>
            <a:rect l="l" t="t" r="r" b="b"/>
            <a:pathLst>
              <a:path w="4446342" h="2857350" extrusionOk="0">
                <a:moveTo>
                  <a:pt x="0" y="476235"/>
                </a:moveTo>
                <a:cubicBezTo>
                  <a:pt x="-49689" y="182569"/>
                  <a:pt x="160200" y="19898"/>
                  <a:pt x="476235" y="0"/>
                </a:cubicBezTo>
                <a:cubicBezTo>
                  <a:pt x="672121" y="4452"/>
                  <a:pt x="947257" y="34169"/>
                  <a:pt x="1244887" y="0"/>
                </a:cubicBezTo>
                <a:cubicBezTo>
                  <a:pt x="1542517" y="-34169"/>
                  <a:pt x="1596491" y="13240"/>
                  <a:pt x="1908723" y="0"/>
                </a:cubicBezTo>
                <a:cubicBezTo>
                  <a:pt x="2220955" y="-13240"/>
                  <a:pt x="2347475" y="-22331"/>
                  <a:pt x="2537619" y="0"/>
                </a:cubicBezTo>
                <a:cubicBezTo>
                  <a:pt x="2727763" y="22331"/>
                  <a:pt x="2934461" y="-25163"/>
                  <a:pt x="3271333" y="0"/>
                </a:cubicBezTo>
                <a:cubicBezTo>
                  <a:pt x="3608205" y="25163"/>
                  <a:pt x="3648273" y="-5833"/>
                  <a:pt x="3970107" y="0"/>
                </a:cubicBezTo>
                <a:cubicBezTo>
                  <a:pt x="4248844" y="-25582"/>
                  <a:pt x="4430394" y="227233"/>
                  <a:pt x="4446342" y="476235"/>
                </a:cubicBezTo>
                <a:cubicBezTo>
                  <a:pt x="4442673" y="728621"/>
                  <a:pt x="4473039" y="818470"/>
                  <a:pt x="4446342" y="1111195"/>
                </a:cubicBezTo>
                <a:cubicBezTo>
                  <a:pt x="4419645" y="1403920"/>
                  <a:pt x="4473293" y="1554320"/>
                  <a:pt x="4446342" y="1689009"/>
                </a:cubicBezTo>
                <a:cubicBezTo>
                  <a:pt x="4419391" y="1823698"/>
                  <a:pt x="4462312" y="2141897"/>
                  <a:pt x="4446342" y="2381115"/>
                </a:cubicBezTo>
                <a:cubicBezTo>
                  <a:pt x="4451354" y="2651593"/>
                  <a:pt x="4237363" y="2901250"/>
                  <a:pt x="3970107" y="2857350"/>
                </a:cubicBezTo>
                <a:cubicBezTo>
                  <a:pt x="3795759" y="2858212"/>
                  <a:pt x="3639100" y="2884725"/>
                  <a:pt x="3376149" y="2857350"/>
                </a:cubicBezTo>
                <a:cubicBezTo>
                  <a:pt x="3113198" y="2829975"/>
                  <a:pt x="2938639" y="2829000"/>
                  <a:pt x="2607497" y="2857350"/>
                </a:cubicBezTo>
                <a:cubicBezTo>
                  <a:pt x="2276355" y="2885700"/>
                  <a:pt x="2260143" y="2855047"/>
                  <a:pt x="1978600" y="2857350"/>
                </a:cubicBezTo>
                <a:cubicBezTo>
                  <a:pt x="1697057" y="2859653"/>
                  <a:pt x="1476597" y="2873639"/>
                  <a:pt x="1279826" y="2857350"/>
                </a:cubicBezTo>
                <a:cubicBezTo>
                  <a:pt x="1083055" y="2841061"/>
                  <a:pt x="778546" y="2864255"/>
                  <a:pt x="476235" y="2857350"/>
                </a:cubicBezTo>
                <a:cubicBezTo>
                  <a:pt x="198110" y="2811900"/>
                  <a:pt x="49192" y="2634138"/>
                  <a:pt x="0" y="2381115"/>
                </a:cubicBezTo>
                <a:cubicBezTo>
                  <a:pt x="-1090" y="2193430"/>
                  <a:pt x="13856" y="1922558"/>
                  <a:pt x="0" y="1803301"/>
                </a:cubicBezTo>
                <a:cubicBezTo>
                  <a:pt x="-13856" y="1684044"/>
                  <a:pt x="-13606" y="1324425"/>
                  <a:pt x="0" y="1130244"/>
                </a:cubicBezTo>
                <a:cubicBezTo>
                  <a:pt x="13606" y="936063"/>
                  <a:pt x="-30739" y="668808"/>
                  <a:pt x="0" y="476235"/>
                </a:cubicBezTo>
                <a:close/>
              </a:path>
            </a:pathLst>
          </a:custGeom>
          <a:noFill/>
          <a:ln>
            <a:solidFill>
              <a:schemeClr val="accent4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pic>
        <p:nvPicPr>
          <p:cNvPr id="25" name="Billede 24">
            <a:extLst>
              <a:ext uri="{FF2B5EF4-FFF2-40B4-BE49-F238E27FC236}">
                <a16:creationId xmlns:a16="http://schemas.microsoft.com/office/drawing/2014/main" id="{B66A7900-1F09-2BA6-71A5-E3498E5F1A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2139" y="3121649"/>
            <a:ext cx="1896439" cy="100249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521048BE-236B-ECDD-1E99-C66A24EFC0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82132" y="5351148"/>
            <a:ext cx="1427733" cy="80310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" name="Billede 62" descr="Et billede, der indeholder tekst, skærmbillede, Font/skrifttype&#10;&#10;AI-genereret indhold kan være ukorrekt.">
            <a:extLst>
              <a:ext uri="{FF2B5EF4-FFF2-40B4-BE49-F238E27FC236}">
                <a16:creationId xmlns:a16="http://schemas.microsoft.com/office/drawing/2014/main" id="{6D740B6D-8FC6-1CB1-2B2C-BF9BC3A347F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2272" y="1747207"/>
            <a:ext cx="1033201" cy="1510065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Billede 75" descr="Et billede, der indeholder tekst, skærmbillede, design&#10;&#10;AI-genereret indhold kan være ukorrekt.">
            <a:extLst>
              <a:ext uri="{FF2B5EF4-FFF2-40B4-BE49-F238E27FC236}">
                <a16:creationId xmlns:a16="http://schemas.microsoft.com/office/drawing/2014/main" id="{4EC85B8A-9D3B-2C6D-28C3-52602EAC1DA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0795" y="2445799"/>
            <a:ext cx="1809049" cy="1258000"/>
          </a:xfrm>
          <a:prstGeom prst="rect">
            <a:avLst/>
          </a:prstGeom>
          <a:ln>
            <a:solidFill>
              <a:srgbClr val="1650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2DBB6828-3694-7499-C581-CA246CAC4059}"/>
              </a:ext>
            </a:extLst>
          </p:cNvPr>
          <p:cNvSpPr txBox="1"/>
          <p:nvPr/>
        </p:nvSpPr>
        <p:spPr>
          <a:xfrm>
            <a:off x="8778260" y="234183"/>
            <a:ext cx="3680204" cy="1037630"/>
          </a:xfrm>
          <a:custGeom>
            <a:avLst/>
            <a:gdLst>
              <a:gd name="csX0" fmla="*/ 1952893 w 3680204"/>
              <a:gd name="csY0" fmla="*/ 208582 h 1037630"/>
              <a:gd name="csX1" fmla="*/ 2519917 w 3680204"/>
              <a:gd name="csY1" fmla="*/ 0 h 1037630"/>
              <a:gd name="csX2" fmla="*/ 2474766 w 3680204"/>
              <a:gd name="csY2" fmla="*/ 277517 h 1037630"/>
              <a:gd name="csX3" fmla="*/ 3068029 w 3680204"/>
              <a:gd name="csY3" fmla="*/ 152377 h 1037630"/>
              <a:gd name="csX4" fmla="*/ 2790821 w 3680204"/>
              <a:gd name="csY4" fmla="*/ 313786 h 1037630"/>
              <a:gd name="csX5" fmla="*/ 3235513 w 3680204"/>
              <a:gd name="csY5" fmla="*/ 316501 h 1037630"/>
              <a:gd name="csX6" fmla="*/ 3680204 w 3680204"/>
              <a:gd name="csY6" fmla="*/ 319215 h 1037630"/>
              <a:gd name="csX7" fmla="*/ 3279189 w 3680204"/>
              <a:gd name="csY7" fmla="*/ 386760 h 1037630"/>
              <a:gd name="csX8" fmla="*/ 2893901 w 3680204"/>
              <a:gd name="csY8" fmla="*/ 451657 h 1037630"/>
              <a:gd name="csX9" fmla="*/ 3112839 w 3680204"/>
              <a:gd name="csY9" fmla="*/ 542353 h 1037630"/>
              <a:gd name="csX10" fmla="*/ 2790821 w 3680204"/>
              <a:gd name="csY10" fmla="*/ 591353 h 1037630"/>
              <a:gd name="csX11" fmla="*/ 3216259 w 3680204"/>
              <a:gd name="csY11" fmla="*/ 750936 h 1037630"/>
              <a:gd name="csX12" fmla="*/ 2848091 w 3680204"/>
              <a:gd name="csY12" fmla="*/ 719528 h 1037630"/>
              <a:gd name="csX13" fmla="*/ 2494360 w 3680204"/>
              <a:gd name="csY13" fmla="*/ 689351 h 1037630"/>
              <a:gd name="csX14" fmla="*/ 2545815 w 3680204"/>
              <a:gd name="csY14" fmla="*/ 834427 h 1037630"/>
              <a:gd name="csX15" fmla="*/ 2075226 w 3680204"/>
              <a:gd name="csY15" fmla="*/ 765492 h 1037630"/>
              <a:gd name="csX16" fmla="*/ 1978450 w 3680204"/>
              <a:gd name="csY16" fmla="*/ 905140 h 1037630"/>
              <a:gd name="csX17" fmla="*/ 1681989 w 3680204"/>
              <a:gd name="csY17" fmla="*/ 834427 h 1037630"/>
              <a:gd name="csX18" fmla="*/ 1482304 w 3680204"/>
              <a:gd name="csY18" fmla="*/ 946933 h 1037630"/>
              <a:gd name="csX19" fmla="*/ 1282448 w 3680204"/>
              <a:gd name="csY19" fmla="*/ 870696 h 1037630"/>
              <a:gd name="csX20" fmla="*/ 837757 w 3680204"/>
              <a:gd name="csY20" fmla="*/ 1037630 h 1037630"/>
              <a:gd name="csX21" fmla="*/ 818675 w 3680204"/>
              <a:gd name="csY21" fmla="*/ 876220 h 1037630"/>
              <a:gd name="csX22" fmla="*/ 218938 w 3680204"/>
              <a:gd name="csY22" fmla="*/ 856284 h 1037630"/>
              <a:gd name="csX23" fmla="*/ 567364 w 3680204"/>
              <a:gd name="csY23" fmla="*/ 738350 h 1037630"/>
              <a:gd name="csX24" fmla="*/ 0 w 3680204"/>
              <a:gd name="csY24" fmla="*/ 618590 h 1037630"/>
              <a:gd name="csX25" fmla="*/ 670444 w 3680204"/>
              <a:gd name="csY25" fmla="*/ 556861 h 1037630"/>
              <a:gd name="csX26" fmla="*/ 199685 w 3680204"/>
              <a:gd name="csY26" fmla="*/ 397277 h 1037630"/>
              <a:gd name="csX27" fmla="*/ 571794 w 3680204"/>
              <a:gd name="csY27" fmla="*/ 385961 h 1037630"/>
              <a:gd name="csX28" fmla="*/ 915280 w 3680204"/>
              <a:gd name="csY28" fmla="*/ 375516 h 1037630"/>
              <a:gd name="csX29" fmla="*/ 767049 w 3680204"/>
              <a:gd name="csY29" fmla="*/ 174139 h 1037630"/>
              <a:gd name="csX30" fmla="*/ 1105001 w 3680204"/>
              <a:gd name="csY30" fmla="*/ 239036 h 1037630"/>
              <a:gd name="csX31" fmla="*/ 1456747 w 3680204"/>
              <a:gd name="csY31" fmla="*/ 306581 h 1037630"/>
              <a:gd name="csX32" fmla="*/ 1656432 w 3680204"/>
              <a:gd name="csY32" fmla="*/ 90648 h 1037630"/>
              <a:gd name="csX33" fmla="*/ 1952893 w 3680204"/>
              <a:gd name="csY33" fmla="*/ 208582 h 103763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  <a:cxn ang="0">
                <a:pos x="csX23" y="csY23"/>
              </a:cxn>
              <a:cxn ang="0">
                <a:pos x="csX24" y="csY24"/>
              </a:cxn>
              <a:cxn ang="0">
                <a:pos x="csX25" y="csY25"/>
              </a:cxn>
              <a:cxn ang="0">
                <a:pos x="csX26" y="csY26"/>
              </a:cxn>
              <a:cxn ang="0">
                <a:pos x="csX27" y="csY27"/>
              </a:cxn>
              <a:cxn ang="0">
                <a:pos x="csX28" y="csY28"/>
              </a:cxn>
              <a:cxn ang="0">
                <a:pos x="csX29" y="csY29"/>
              </a:cxn>
              <a:cxn ang="0">
                <a:pos x="csX30" y="csY30"/>
              </a:cxn>
              <a:cxn ang="0">
                <a:pos x="csX31" y="csY31"/>
              </a:cxn>
              <a:cxn ang="0">
                <a:pos x="csX32" y="csY32"/>
              </a:cxn>
              <a:cxn ang="0">
                <a:pos x="csX33" y="csY33"/>
              </a:cxn>
            </a:cxnLst>
            <a:rect l="l" t="t" r="r" b="b"/>
            <a:pathLst>
              <a:path w="3680204" h="1037630" fill="none" extrusionOk="0">
                <a:moveTo>
                  <a:pt x="1952893" y="208582"/>
                </a:moveTo>
                <a:cubicBezTo>
                  <a:pt x="2120733" y="163393"/>
                  <a:pt x="2357727" y="66376"/>
                  <a:pt x="2519917" y="0"/>
                </a:cubicBezTo>
                <a:cubicBezTo>
                  <a:pt x="2511378" y="73443"/>
                  <a:pt x="2486793" y="185227"/>
                  <a:pt x="2474766" y="277517"/>
                </a:cubicBezTo>
                <a:cubicBezTo>
                  <a:pt x="2643470" y="261138"/>
                  <a:pt x="2799712" y="220762"/>
                  <a:pt x="3068029" y="152377"/>
                </a:cubicBezTo>
                <a:cubicBezTo>
                  <a:pt x="3003227" y="195777"/>
                  <a:pt x="2883547" y="247152"/>
                  <a:pt x="2790821" y="313786"/>
                </a:cubicBezTo>
                <a:cubicBezTo>
                  <a:pt x="2942953" y="334966"/>
                  <a:pt x="3115907" y="319340"/>
                  <a:pt x="3235513" y="316501"/>
                </a:cubicBezTo>
                <a:cubicBezTo>
                  <a:pt x="3355119" y="313662"/>
                  <a:pt x="3517453" y="310378"/>
                  <a:pt x="3680204" y="319215"/>
                </a:cubicBezTo>
                <a:cubicBezTo>
                  <a:pt x="3484823" y="335238"/>
                  <a:pt x="3427443" y="355592"/>
                  <a:pt x="3279189" y="386760"/>
                </a:cubicBezTo>
                <a:cubicBezTo>
                  <a:pt x="3130935" y="417928"/>
                  <a:pt x="3069523" y="405601"/>
                  <a:pt x="2893901" y="451657"/>
                </a:cubicBezTo>
                <a:cubicBezTo>
                  <a:pt x="2944974" y="472894"/>
                  <a:pt x="3006952" y="509386"/>
                  <a:pt x="3112839" y="542353"/>
                </a:cubicBezTo>
                <a:cubicBezTo>
                  <a:pt x="3029372" y="559715"/>
                  <a:pt x="2866669" y="564222"/>
                  <a:pt x="2790821" y="591353"/>
                </a:cubicBezTo>
                <a:cubicBezTo>
                  <a:pt x="2882192" y="637397"/>
                  <a:pt x="3122484" y="702363"/>
                  <a:pt x="3216259" y="750936"/>
                </a:cubicBezTo>
                <a:cubicBezTo>
                  <a:pt x="3037255" y="746587"/>
                  <a:pt x="2998897" y="725590"/>
                  <a:pt x="2848091" y="719528"/>
                </a:cubicBezTo>
                <a:cubicBezTo>
                  <a:pt x="2697285" y="713466"/>
                  <a:pt x="2572956" y="710342"/>
                  <a:pt x="2494360" y="689351"/>
                </a:cubicBezTo>
                <a:cubicBezTo>
                  <a:pt x="2517220" y="746452"/>
                  <a:pt x="2523279" y="785537"/>
                  <a:pt x="2545815" y="834427"/>
                </a:cubicBezTo>
                <a:cubicBezTo>
                  <a:pt x="2382077" y="817292"/>
                  <a:pt x="2224996" y="790654"/>
                  <a:pt x="2075226" y="765492"/>
                </a:cubicBezTo>
                <a:cubicBezTo>
                  <a:pt x="2033357" y="815979"/>
                  <a:pt x="2008342" y="874687"/>
                  <a:pt x="1978450" y="905140"/>
                </a:cubicBezTo>
                <a:cubicBezTo>
                  <a:pt x="1840872" y="862197"/>
                  <a:pt x="1741233" y="855700"/>
                  <a:pt x="1681989" y="834427"/>
                </a:cubicBezTo>
                <a:cubicBezTo>
                  <a:pt x="1623351" y="875514"/>
                  <a:pt x="1535302" y="919818"/>
                  <a:pt x="1482304" y="946933"/>
                </a:cubicBezTo>
                <a:cubicBezTo>
                  <a:pt x="1413068" y="911947"/>
                  <a:pt x="1325199" y="887535"/>
                  <a:pt x="1282448" y="870696"/>
                </a:cubicBezTo>
                <a:cubicBezTo>
                  <a:pt x="1182505" y="921456"/>
                  <a:pt x="944044" y="1009673"/>
                  <a:pt x="837757" y="1037630"/>
                </a:cubicBezTo>
                <a:cubicBezTo>
                  <a:pt x="831625" y="986027"/>
                  <a:pt x="823355" y="929413"/>
                  <a:pt x="818675" y="876220"/>
                </a:cubicBezTo>
                <a:cubicBezTo>
                  <a:pt x="529753" y="854941"/>
                  <a:pt x="369956" y="865104"/>
                  <a:pt x="218938" y="856284"/>
                </a:cubicBezTo>
                <a:cubicBezTo>
                  <a:pt x="380796" y="795575"/>
                  <a:pt x="395596" y="787201"/>
                  <a:pt x="567364" y="738350"/>
                </a:cubicBezTo>
                <a:cubicBezTo>
                  <a:pt x="445549" y="691886"/>
                  <a:pt x="126207" y="647910"/>
                  <a:pt x="0" y="618590"/>
                </a:cubicBezTo>
                <a:cubicBezTo>
                  <a:pt x="245341" y="585927"/>
                  <a:pt x="367627" y="599752"/>
                  <a:pt x="670444" y="556861"/>
                </a:cubicBezTo>
                <a:cubicBezTo>
                  <a:pt x="459619" y="465245"/>
                  <a:pt x="320444" y="455826"/>
                  <a:pt x="199685" y="397277"/>
                </a:cubicBezTo>
                <a:cubicBezTo>
                  <a:pt x="337190" y="407109"/>
                  <a:pt x="419524" y="405102"/>
                  <a:pt x="571794" y="385961"/>
                </a:cubicBezTo>
                <a:cubicBezTo>
                  <a:pt x="724064" y="366820"/>
                  <a:pt x="785821" y="384894"/>
                  <a:pt x="915280" y="375516"/>
                </a:cubicBezTo>
                <a:cubicBezTo>
                  <a:pt x="879726" y="311084"/>
                  <a:pt x="842049" y="271254"/>
                  <a:pt x="767049" y="174139"/>
                </a:cubicBezTo>
                <a:cubicBezTo>
                  <a:pt x="879073" y="188757"/>
                  <a:pt x="962822" y="206118"/>
                  <a:pt x="1105001" y="239036"/>
                </a:cubicBezTo>
                <a:cubicBezTo>
                  <a:pt x="1247180" y="271954"/>
                  <a:pt x="1337476" y="298396"/>
                  <a:pt x="1456747" y="306581"/>
                </a:cubicBezTo>
                <a:cubicBezTo>
                  <a:pt x="1503082" y="250185"/>
                  <a:pt x="1565720" y="190716"/>
                  <a:pt x="1656432" y="90648"/>
                </a:cubicBezTo>
                <a:cubicBezTo>
                  <a:pt x="1766676" y="149824"/>
                  <a:pt x="1807954" y="164550"/>
                  <a:pt x="1952893" y="208582"/>
                </a:cubicBezTo>
                <a:close/>
              </a:path>
              <a:path w="3680204" h="1037630" stroke="0" extrusionOk="0">
                <a:moveTo>
                  <a:pt x="1952893" y="208582"/>
                </a:moveTo>
                <a:cubicBezTo>
                  <a:pt x="2076790" y="173107"/>
                  <a:pt x="2344297" y="34588"/>
                  <a:pt x="2519917" y="0"/>
                </a:cubicBezTo>
                <a:cubicBezTo>
                  <a:pt x="2509799" y="93487"/>
                  <a:pt x="2488255" y="178540"/>
                  <a:pt x="2474766" y="277517"/>
                </a:cubicBezTo>
                <a:cubicBezTo>
                  <a:pt x="2634587" y="213314"/>
                  <a:pt x="2923199" y="170977"/>
                  <a:pt x="3068029" y="152377"/>
                </a:cubicBezTo>
                <a:cubicBezTo>
                  <a:pt x="2962896" y="196112"/>
                  <a:pt x="2897395" y="251320"/>
                  <a:pt x="2790821" y="313786"/>
                </a:cubicBezTo>
                <a:cubicBezTo>
                  <a:pt x="2883170" y="312925"/>
                  <a:pt x="3098431" y="313188"/>
                  <a:pt x="3217725" y="316392"/>
                </a:cubicBezTo>
                <a:cubicBezTo>
                  <a:pt x="3337019" y="319596"/>
                  <a:pt x="3542957" y="312581"/>
                  <a:pt x="3680204" y="319215"/>
                </a:cubicBezTo>
                <a:cubicBezTo>
                  <a:pt x="3507789" y="337973"/>
                  <a:pt x="3437527" y="366152"/>
                  <a:pt x="3271326" y="388085"/>
                </a:cubicBezTo>
                <a:cubicBezTo>
                  <a:pt x="3105125" y="410018"/>
                  <a:pt x="2974940" y="454471"/>
                  <a:pt x="2893901" y="451657"/>
                </a:cubicBezTo>
                <a:cubicBezTo>
                  <a:pt x="2975982" y="498339"/>
                  <a:pt x="3019464" y="499873"/>
                  <a:pt x="3112839" y="542353"/>
                </a:cubicBezTo>
                <a:cubicBezTo>
                  <a:pt x="3045030" y="568047"/>
                  <a:pt x="2869046" y="586507"/>
                  <a:pt x="2790821" y="591353"/>
                </a:cubicBezTo>
                <a:cubicBezTo>
                  <a:pt x="2988770" y="680226"/>
                  <a:pt x="3010623" y="674284"/>
                  <a:pt x="3216259" y="750936"/>
                </a:cubicBezTo>
                <a:cubicBezTo>
                  <a:pt x="3054663" y="720145"/>
                  <a:pt x="2968348" y="726830"/>
                  <a:pt x="2840872" y="718912"/>
                </a:cubicBezTo>
                <a:cubicBezTo>
                  <a:pt x="2713396" y="710994"/>
                  <a:pt x="2608971" y="715086"/>
                  <a:pt x="2494360" y="689351"/>
                </a:cubicBezTo>
                <a:cubicBezTo>
                  <a:pt x="2510996" y="732403"/>
                  <a:pt x="2521907" y="776523"/>
                  <a:pt x="2545815" y="834427"/>
                </a:cubicBezTo>
                <a:cubicBezTo>
                  <a:pt x="2418592" y="838155"/>
                  <a:pt x="2236765" y="811536"/>
                  <a:pt x="2075226" y="765492"/>
                </a:cubicBezTo>
                <a:cubicBezTo>
                  <a:pt x="2046020" y="808791"/>
                  <a:pt x="2011013" y="852187"/>
                  <a:pt x="1978450" y="905140"/>
                </a:cubicBezTo>
                <a:cubicBezTo>
                  <a:pt x="1874294" y="875660"/>
                  <a:pt x="1758230" y="851208"/>
                  <a:pt x="1681989" y="834427"/>
                </a:cubicBezTo>
                <a:cubicBezTo>
                  <a:pt x="1622452" y="878110"/>
                  <a:pt x="1576766" y="903934"/>
                  <a:pt x="1482304" y="946933"/>
                </a:cubicBezTo>
                <a:cubicBezTo>
                  <a:pt x="1433956" y="932468"/>
                  <a:pt x="1364927" y="898916"/>
                  <a:pt x="1282448" y="870696"/>
                </a:cubicBezTo>
                <a:cubicBezTo>
                  <a:pt x="1140840" y="945592"/>
                  <a:pt x="954213" y="971443"/>
                  <a:pt x="837757" y="1037630"/>
                </a:cubicBezTo>
                <a:cubicBezTo>
                  <a:pt x="833888" y="983292"/>
                  <a:pt x="830593" y="934648"/>
                  <a:pt x="818675" y="876220"/>
                </a:cubicBezTo>
                <a:cubicBezTo>
                  <a:pt x="665693" y="844140"/>
                  <a:pt x="401815" y="876193"/>
                  <a:pt x="218938" y="856284"/>
                </a:cubicBezTo>
                <a:cubicBezTo>
                  <a:pt x="304362" y="830620"/>
                  <a:pt x="422839" y="781103"/>
                  <a:pt x="567364" y="738350"/>
                </a:cubicBezTo>
                <a:cubicBezTo>
                  <a:pt x="361363" y="695838"/>
                  <a:pt x="157272" y="672954"/>
                  <a:pt x="0" y="618590"/>
                </a:cubicBezTo>
                <a:cubicBezTo>
                  <a:pt x="235965" y="614020"/>
                  <a:pt x="413285" y="560369"/>
                  <a:pt x="670444" y="556861"/>
                </a:cubicBezTo>
                <a:cubicBezTo>
                  <a:pt x="565332" y="522710"/>
                  <a:pt x="299486" y="445718"/>
                  <a:pt x="199685" y="397277"/>
                </a:cubicBezTo>
                <a:cubicBezTo>
                  <a:pt x="292098" y="410478"/>
                  <a:pt x="396125" y="404049"/>
                  <a:pt x="536015" y="387049"/>
                </a:cubicBezTo>
                <a:cubicBezTo>
                  <a:pt x="675905" y="370049"/>
                  <a:pt x="736582" y="388341"/>
                  <a:pt x="915280" y="375516"/>
                </a:cubicBezTo>
                <a:cubicBezTo>
                  <a:pt x="867562" y="298859"/>
                  <a:pt x="823764" y="266511"/>
                  <a:pt x="767049" y="174139"/>
                </a:cubicBezTo>
                <a:cubicBezTo>
                  <a:pt x="842002" y="186181"/>
                  <a:pt x="953321" y="227222"/>
                  <a:pt x="1125692" y="243009"/>
                </a:cubicBezTo>
                <a:cubicBezTo>
                  <a:pt x="1298063" y="258796"/>
                  <a:pt x="1299398" y="284157"/>
                  <a:pt x="1456747" y="306581"/>
                </a:cubicBezTo>
                <a:cubicBezTo>
                  <a:pt x="1555090" y="208625"/>
                  <a:pt x="1546340" y="188315"/>
                  <a:pt x="1656432" y="90648"/>
                </a:cubicBezTo>
                <a:cubicBezTo>
                  <a:pt x="1767575" y="122724"/>
                  <a:pt x="1842752" y="151247"/>
                  <a:pt x="1952893" y="208582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1">
                <a:lumMod val="90000"/>
                <a:lumOff val="1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irregularSeal2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da-DK" sz="1200" b="1">
                <a:latin typeface="Verdana" panose="020B0604030504040204" pitchFamily="34" charset="0"/>
                <a:ea typeface="Verdana" panose="020B0604030504040204" pitchFamily="34" charset="0"/>
              </a:rPr>
              <a:t>Se hvordan på hjemmesiden</a:t>
            </a:r>
          </a:p>
        </p:txBody>
      </p:sp>
      <p:sp>
        <p:nvSpPr>
          <p:cNvPr id="27" name="Pladsholder til tekst 26">
            <a:extLst>
              <a:ext uri="{FF2B5EF4-FFF2-40B4-BE49-F238E27FC236}">
                <a16:creationId xmlns:a16="http://schemas.microsoft.com/office/drawing/2014/main" id="{C4287979-0FE4-6E50-8351-10EACF98ED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00928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6A898-232B-98FE-8F97-CA5A8B25E1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F7096D-1A34-2F89-78FF-0B7BEDBF8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Det hele er udviklet sammen med j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1B80E3C7-0F06-D542-D152-2C88E1D349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3E52409-E105-B8D0-D8E4-C901EB6B6E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Og vi tilpasser løbende efter jeres feedback</a:t>
            </a:r>
          </a:p>
        </p:txBody>
      </p:sp>
      <p:sp>
        <p:nvSpPr>
          <p:cNvPr id="11" name="Freeform: Shape 246">
            <a:extLst>
              <a:ext uri="{FF2B5EF4-FFF2-40B4-BE49-F238E27FC236}">
                <a16:creationId xmlns:a16="http://schemas.microsoft.com/office/drawing/2014/main" id="{4A11E725-E100-624C-AD20-BA17D896CC91}"/>
              </a:ext>
            </a:extLst>
          </p:cNvPr>
          <p:cNvSpPr/>
          <p:nvPr/>
        </p:nvSpPr>
        <p:spPr>
          <a:xfrm>
            <a:off x="404823" y="1972840"/>
            <a:ext cx="6297978" cy="661345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360000" fontAlgn="t">
              <a:spcBef>
                <a:spcPts val="600"/>
              </a:spcBef>
            </a:pPr>
            <a:r>
              <a:rPr lang="da-DK" sz="1400">
                <a:latin typeface="Verdana"/>
                <a:ea typeface="Verdana"/>
              </a:rPr>
              <a:t>Rigtig mange ansatte og beboerdemokrater fra hundredvis af boligorganisationer har været involveret i udviklingen af AlmenKompas</a:t>
            </a:r>
          </a:p>
        </p:txBody>
      </p:sp>
      <p:sp>
        <p:nvSpPr>
          <p:cNvPr id="23" name="Freeform: Shape 246">
            <a:extLst>
              <a:ext uri="{FF2B5EF4-FFF2-40B4-BE49-F238E27FC236}">
                <a16:creationId xmlns:a16="http://schemas.microsoft.com/office/drawing/2014/main" id="{46A8DC62-A2BF-CEC6-6CE8-833A8C05690D}"/>
              </a:ext>
            </a:extLst>
          </p:cNvPr>
          <p:cNvSpPr/>
          <p:nvPr/>
        </p:nvSpPr>
        <p:spPr>
          <a:xfrm>
            <a:off x="404823" y="2750295"/>
            <a:ext cx="6297978" cy="661346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360000" fontAlgn="t">
              <a:spcBef>
                <a:spcPts val="600"/>
              </a:spcBef>
            </a:pPr>
            <a:r>
              <a:rPr lang="da-DK" sz="1400">
                <a:latin typeface="Verdana"/>
                <a:ea typeface="Verdana"/>
              </a:rPr>
              <a:t>Alle administrationsorganisationer har været med</a:t>
            </a:r>
          </a:p>
        </p:txBody>
      </p:sp>
      <p:sp>
        <p:nvSpPr>
          <p:cNvPr id="25" name="Freeform: Shape 246">
            <a:extLst>
              <a:ext uri="{FF2B5EF4-FFF2-40B4-BE49-F238E27FC236}">
                <a16:creationId xmlns:a16="http://schemas.microsoft.com/office/drawing/2014/main" id="{2EC282EE-C7E7-5AB2-7F24-7F6E6CDFBA40}"/>
              </a:ext>
            </a:extLst>
          </p:cNvPr>
          <p:cNvSpPr/>
          <p:nvPr/>
        </p:nvSpPr>
        <p:spPr>
          <a:xfrm>
            <a:off x="360000" y="3527751"/>
            <a:ext cx="6342801" cy="661346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360000" fontAlgn="t">
              <a:spcBef>
                <a:spcPts val="600"/>
              </a:spcBef>
            </a:pPr>
            <a:r>
              <a:rPr lang="da-DK" sz="1400">
                <a:latin typeface="Verdana"/>
                <a:ea typeface="Verdana"/>
              </a:rPr>
              <a:t>Tusindvis af personer har deltaget på arrangementer med AlmenKompas på programmet</a:t>
            </a:r>
          </a:p>
        </p:txBody>
      </p:sp>
      <p:sp>
        <p:nvSpPr>
          <p:cNvPr id="31" name="Freeform: Shape 246">
            <a:extLst>
              <a:ext uri="{FF2B5EF4-FFF2-40B4-BE49-F238E27FC236}">
                <a16:creationId xmlns:a16="http://schemas.microsoft.com/office/drawing/2014/main" id="{198A579B-9BA2-2039-D2B4-8ED8E4998B25}"/>
              </a:ext>
            </a:extLst>
          </p:cNvPr>
          <p:cNvSpPr/>
          <p:nvPr/>
        </p:nvSpPr>
        <p:spPr>
          <a:xfrm>
            <a:off x="360000" y="4292326"/>
            <a:ext cx="6342801" cy="1005369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360000" fontAlgn="t">
              <a:spcBef>
                <a:spcPts val="600"/>
              </a:spcBef>
            </a:pPr>
            <a:r>
              <a:rPr lang="da-DK" sz="1400">
                <a:latin typeface="Verdana"/>
                <a:ea typeface="Verdana"/>
              </a:rPr>
              <a:t>Samarbejde med eksterne interessenter; privat ejendomsbranche, banker, kommuner, revisorer, advokater, rådgivere, eksperter m.fl.</a:t>
            </a:r>
          </a:p>
        </p:txBody>
      </p:sp>
      <p:pic>
        <p:nvPicPr>
          <p:cNvPr id="2059" name="Billede 2058">
            <a:extLst>
              <a:ext uri="{FF2B5EF4-FFF2-40B4-BE49-F238E27FC236}">
                <a16:creationId xmlns:a16="http://schemas.microsoft.com/office/drawing/2014/main" id="{C05402D1-13C5-EF27-DCF3-160FC53480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9763" y="1986545"/>
            <a:ext cx="1706234" cy="1060871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F60B4CB3-74B6-27EF-D15A-96B1409DB0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3561" y="1986545"/>
            <a:ext cx="2006853" cy="1060871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21C63FEE-B713-85A5-C69A-C05FA05FE7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5214" y="1986545"/>
            <a:ext cx="1913766" cy="1271488"/>
          </a:xfrm>
          <a:prstGeom prst="rect">
            <a:avLst/>
          </a:prstGeom>
        </p:spPr>
      </p:pic>
      <p:pic>
        <p:nvPicPr>
          <p:cNvPr id="2067" name="Picture 14" descr="Closeup af hænderne på fire siddende personer, der skriver og tegner på papirer om ESG">
            <a:extLst>
              <a:ext uri="{FF2B5EF4-FFF2-40B4-BE49-F238E27FC236}">
                <a16:creationId xmlns:a16="http://schemas.microsoft.com/office/drawing/2014/main" id="{3CE251C1-5D61-DE41-E9E2-183215AC3F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214" y="3047416"/>
            <a:ext cx="4850783" cy="2741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Et billede, der indeholder cirkel, Farverigt, Grafik, Cd&#10;&#10;Automatisk genereret beskrivelse">
            <a:extLst>
              <a:ext uri="{FF2B5EF4-FFF2-40B4-BE49-F238E27FC236}">
                <a16:creationId xmlns:a16="http://schemas.microsoft.com/office/drawing/2014/main" id="{7014ABC3-3022-6020-6F58-7F3BFB59B0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50417" y="371471"/>
            <a:ext cx="8164571" cy="8285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11648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20F7DD-454C-3A74-59C1-1A0E7CFD25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B3EE5EB-AACC-46DF-4248-84F20E86ED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3EE5EB-AACC-46DF-4248-84F20E86ED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A1110065-218A-B2F9-7A23-647957C0C6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Sådan er AlmenKompas organiseret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9596351-1A96-79C0-705A-04BD354B575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28</a:t>
            </a:fld>
            <a:endParaRPr lang="da-DK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9E532B-59F9-A5FB-A1A8-DD6C3368ED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0E9C43F-06E4-153B-6FA0-E0C2472FF2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Se, hvem der rådgiver, skaber fremdrift og styrer retningen i projektet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AFC2C7B-1FED-96E4-7962-074927AB897E}"/>
              </a:ext>
            </a:extLst>
          </p:cNvPr>
          <p:cNvGrpSpPr/>
          <p:nvPr/>
        </p:nvGrpSpPr>
        <p:grpSpPr>
          <a:xfrm>
            <a:off x="11100546" y="4574573"/>
            <a:ext cx="749008" cy="1484945"/>
            <a:chOff x="8083911" y="2970459"/>
            <a:chExt cx="326204" cy="652133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21FC782-A442-251B-670D-1670803AF924}"/>
                </a:ext>
              </a:extLst>
            </p:cNvPr>
            <p:cNvSpPr/>
            <p:nvPr/>
          </p:nvSpPr>
          <p:spPr>
            <a:xfrm>
              <a:off x="8178986" y="3066338"/>
              <a:ext cx="103893" cy="93231"/>
            </a:xfrm>
            <a:custGeom>
              <a:avLst/>
              <a:gdLst>
                <a:gd name="connsiteX0" fmla="*/ 0 w 103893"/>
                <a:gd name="connsiteY0" fmla="*/ 271 h 93231"/>
                <a:gd name="connsiteX1" fmla="*/ 7992 w 103893"/>
                <a:gd name="connsiteY1" fmla="*/ 9712 h 93231"/>
                <a:gd name="connsiteX2" fmla="*/ 17888 w 103893"/>
                <a:gd name="connsiteY2" fmla="*/ 18366 h 93231"/>
                <a:gd name="connsiteX3" fmla="*/ 28116 w 103893"/>
                <a:gd name="connsiteY3" fmla="*/ 26648 h 93231"/>
                <a:gd name="connsiteX4" fmla="*/ 40083 w 103893"/>
                <a:gd name="connsiteY4" fmla="*/ 32114 h 93231"/>
                <a:gd name="connsiteX5" fmla="*/ 52009 w 103893"/>
                <a:gd name="connsiteY5" fmla="*/ 37538 h 93231"/>
                <a:gd name="connsiteX6" fmla="*/ 64928 w 103893"/>
                <a:gd name="connsiteY6" fmla="*/ 39774 h 93231"/>
                <a:gd name="connsiteX7" fmla="*/ 77806 w 103893"/>
                <a:gd name="connsiteY7" fmla="*/ 41721 h 93231"/>
                <a:gd name="connsiteX8" fmla="*/ 91016 w 103893"/>
                <a:gd name="connsiteY8" fmla="*/ 42756 h 93231"/>
                <a:gd name="connsiteX9" fmla="*/ 103894 w 103893"/>
                <a:gd name="connsiteY9" fmla="*/ 40064 h 93231"/>
                <a:gd name="connsiteX10" fmla="*/ 97765 w 103893"/>
                <a:gd name="connsiteY10" fmla="*/ 52073 h 93231"/>
                <a:gd name="connsiteX11" fmla="*/ 90395 w 103893"/>
                <a:gd name="connsiteY11" fmla="*/ 63708 h 93231"/>
                <a:gd name="connsiteX12" fmla="*/ 81740 w 103893"/>
                <a:gd name="connsiteY12" fmla="*/ 74475 h 93231"/>
                <a:gd name="connsiteX13" fmla="*/ 72009 w 103893"/>
                <a:gd name="connsiteY13" fmla="*/ 84330 h 93231"/>
                <a:gd name="connsiteX14" fmla="*/ 59711 w 103893"/>
                <a:gd name="connsiteY14" fmla="*/ 90582 h 93231"/>
                <a:gd name="connsiteX15" fmla="*/ 46543 w 103893"/>
                <a:gd name="connsiteY15" fmla="*/ 93067 h 93231"/>
                <a:gd name="connsiteX16" fmla="*/ 34121 w 103893"/>
                <a:gd name="connsiteY16" fmla="*/ 87684 h 93231"/>
                <a:gd name="connsiteX17" fmla="*/ 25342 w 103893"/>
                <a:gd name="connsiteY17" fmla="*/ 77166 h 93231"/>
                <a:gd name="connsiteX18" fmla="*/ 18054 w 103893"/>
                <a:gd name="connsiteY18" fmla="*/ 65489 h 93231"/>
                <a:gd name="connsiteX19" fmla="*/ 12588 w 103893"/>
                <a:gd name="connsiteY19" fmla="*/ 52818 h 93231"/>
                <a:gd name="connsiteX20" fmla="*/ 8365 w 103893"/>
                <a:gd name="connsiteY20" fmla="*/ 39692 h 93231"/>
                <a:gd name="connsiteX21" fmla="*/ 4721 w 103893"/>
                <a:gd name="connsiteY21" fmla="*/ 26399 h 93231"/>
                <a:gd name="connsiteX22" fmla="*/ 1656 w 103893"/>
                <a:gd name="connsiteY22" fmla="*/ 12983 h 93231"/>
                <a:gd name="connsiteX23" fmla="*/ 41 w 103893"/>
                <a:gd name="connsiteY23" fmla="*/ 146 h 93231"/>
                <a:gd name="connsiteX24" fmla="*/ 0 w 103893"/>
                <a:gd name="connsiteY24" fmla="*/ 271 h 93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3893" h="93231">
                  <a:moveTo>
                    <a:pt x="0" y="271"/>
                  </a:moveTo>
                  <a:cubicBezTo>
                    <a:pt x="6377" y="-1261"/>
                    <a:pt x="2402" y="3956"/>
                    <a:pt x="7992" y="9712"/>
                  </a:cubicBezTo>
                  <a:cubicBezTo>
                    <a:pt x="10601" y="12445"/>
                    <a:pt x="14079" y="15219"/>
                    <a:pt x="17888" y="18366"/>
                  </a:cubicBezTo>
                  <a:cubicBezTo>
                    <a:pt x="21035" y="20975"/>
                    <a:pt x="24224" y="24122"/>
                    <a:pt x="28116" y="26648"/>
                  </a:cubicBezTo>
                  <a:cubicBezTo>
                    <a:pt x="31636" y="28925"/>
                    <a:pt x="35984" y="30126"/>
                    <a:pt x="40083" y="32114"/>
                  </a:cubicBezTo>
                  <a:cubicBezTo>
                    <a:pt x="43893" y="33936"/>
                    <a:pt x="47703" y="36130"/>
                    <a:pt x="52009" y="37538"/>
                  </a:cubicBezTo>
                  <a:cubicBezTo>
                    <a:pt x="56026" y="38863"/>
                    <a:pt x="60456" y="38988"/>
                    <a:pt x="64928" y="39774"/>
                  </a:cubicBezTo>
                  <a:cubicBezTo>
                    <a:pt x="69069" y="40520"/>
                    <a:pt x="73293" y="41513"/>
                    <a:pt x="77806" y="41721"/>
                  </a:cubicBezTo>
                  <a:cubicBezTo>
                    <a:pt x="82030" y="41886"/>
                    <a:pt x="86461" y="43170"/>
                    <a:pt x="91016" y="42756"/>
                  </a:cubicBezTo>
                  <a:cubicBezTo>
                    <a:pt x="95198" y="42383"/>
                    <a:pt x="99422" y="41058"/>
                    <a:pt x="103894" y="40064"/>
                  </a:cubicBezTo>
                  <a:cubicBezTo>
                    <a:pt x="103314" y="41224"/>
                    <a:pt x="101492" y="45944"/>
                    <a:pt x="97765" y="52073"/>
                  </a:cubicBezTo>
                  <a:cubicBezTo>
                    <a:pt x="95653" y="55551"/>
                    <a:pt x="93293" y="59692"/>
                    <a:pt x="90395" y="63708"/>
                  </a:cubicBezTo>
                  <a:cubicBezTo>
                    <a:pt x="87827" y="67311"/>
                    <a:pt x="84804" y="70955"/>
                    <a:pt x="81740" y="74475"/>
                  </a:cubicBezTo>
                  <a:cubicBezTo>
                    <a:pt x="78676" y="77994"/>
                    <a:pt x="75405" y="81473"/>
                    <a:pt x="72009" y="84330"/>
                  </a:cubicBezTo>
                  <a:cubicBezTo>
                    <a:pt x="68324" y="87435"/>
                    <a:pt x="63686" y="88885"/>
                    <a:pt x="59711" y="90582"/>
                  </a:cubicBezTo>
                  <a:cubicBezTo>
                    <a:pt x="55322" y="92487"/>
                    <a:pt x="51057" y="93688"/>
                    <a:pt x="46543" y="93067"/>
                  </a:cubicBezTo>
                  <a:cubicBezTo>
                    <a:pt x="42444" y="92529"/>
                    <a:pt x="38179" y="90997"/>
                    <a:pt x="34121" y="87684"/>
                  </a:cubicBezTo>
                  <a:cubicBezTo>
                    <a:pt x="31056" y="85199"/>
                    <a:pt x="28323" y="81555"/>
                    <a:pt x="25342" y="77166"/>
                  </a:cubicBezTo>
                  <a:cubicBezTo>
                    <a:pt x="23065" y="73812"/>
                    <a:pt x="20249" y="70127"/>
                    <a:pt x="18054" y="65489"/>
                  </a:cubicBezTo>
                  <a:cubicBezTo>
                    <a:pt x="16274" y="61721"/>
                    <a:pt x="14286" y="57539"/>
                    <a:pt x="12588" y="52818"/>
                  </a:cubicBezTo>
                  <a:cubicBezTo>
                    <a:pt x="11139" y="48801"/>
                    <a:pt x="9772" y="44412"/>
                    <a:pt x="8365" y="39692"/>
                  </a:cubicBezTo>
                  <a:cubicBezTo>
                    <a:pt x="7164" y="35551"/>
                    <a:pt x="5880" y="31120"/>
                    <a:pt x="4721" y="26399"/>
                  </a:cubicBezTo>
                  <a:cubicBezTo>
                    <a:pt x="3685" y="22176"/>
                    <a:pt x="2609" y="17704"/>
                    <a:pt x="1656" y="12983"/>
                  </a:cubicBezTo>
                  <a:cubicBezTo>
                    <a:pt x="787" y="8677"/>
                    <a:pt x="911" y="4826"/>
                    <a:pt x="41" y="146"/>
                  </a:cubicBezTo>
                  <a:lnTo>
                    <a:pt x="0" y="271"/>
                  </a:lnTo>
                  <a:close/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E808879-8D3F-B83C-A24C-F4F78252EF18}"/>
                </a:ext>
              </a:extLst>
            </p:cNvPr>
            <p:cNvSpPr/>
            <p:nvPr/>
          </p:nvSpPr>
          <p:spPr>
            <a:xfrm>
              <a:off x="8180587" y="3155224"/>
              <a:ext cx="94879" cy="215560"/>
            </a:xfrm>
            <a:custGeom>
              <a:avLst/>
              <a:gdLst>
                <a:gd name="connsiteX0" fmla="*/ 7591 w 94879"/>
                <a:gd name="connsiteY0" fmla="*/ 0 h 215560"/>
                <a:gd name="connsiteX1" fmla="*/ 7177 w 94879"/>
                <a:gd name="connsiteY1" fmla="*/ 11387 h 215560"/>
                <a:gd name="connsiteX2" fmla="*/ 6307 w 94879"/>
                <a:gd name="connsiteY2" fmla="*/ 22609 h 215560"/>
                <a:gd name="connsiteX3" fmla="*/ 3491 w 94879"/>
                <a:gd name="connsiteY3" fmla="*/ 30518 h 215560"/>
                <a:gd name="connsiteX4" fmla="*/ 179 w 94879"/>
                <a:gd name="connsiteY4" fmla="*/ 45259 h 215560"/>
                <a:gd name="connsiteX5" fmla="*/ 1421 w 94879"/>
                <a:gd name="connsiteY5" fmla="*/ 60125 h 215560"/>
                <a:gd name="connsiteX6" fmla="*/ 5769 w 94879"/>
                <a:gd name="connsiteY6" fmla="*/ 74742 h 215560"/>
                <a:gd name="connsiteX7" fmla="*/ 6431 w 94879"/>
                <a:gd name="connsiteY7" fmla="*/ 74287 h 215560"/>
                <a:gd name="connsiteX8" fmla="*/ 5479 w 94879"/>
                <a:gd name="connsiteY8" fmla="*/ 87165 h 215560"/>
                <a:gd name="connsiteX9" fmla="*/ 6348 w 94879"/>
                <a:gd name="connsiteY9" fmla="*/ 100084 h 215560"/>
                <a:gd name="connsiteX10" fmla="*/ 6845 w 94879"/>
                <a:gd name="connsiteY10" fmla="*/ 113004 h 215560"/>
                <a:gd name="connsiteX11" fmla="*/ 6721 w 94879"/>
                <a:gd name="connsiteY11" fmla="*/ 125923 h 215560"/>
                <a:gd name="connsiteX12" fmla="*/ 5065 w 94879"/>
                <a:gd name="connsiteY12" fmla="*/ 138801 h 215560"/>
                <a:gd name="connsiteX13" fmla="*/ 5934 w 94879"/>
                <a:gd name="connsiteY13" fmla="*/ 151720 h 215560"/>
                <a:gd name="connsiteX14" fmla="*/ 5769 w 94879"/>
                <a:gd name="connsiteY14" fmla="*/ 164639 h 215560"/>
                <a:gd name="connsiteX15" fmla="*/ 5065 w 94879"/>
                <a:gd name="connsiteY15" fmla="*/ 177558 h 215560"/>
                <a:gd name="connsiteX16" fmla="*/ 5231 w 94879"/>
                <a:gd name="connsiteY16" fmla="*/ 190519 h 215560"/>
                <a:gd name="connsiteX17" fmla="*/ 4402 w 94879"/>
                <a:gd name="connsiteY17" fmla="*/ 203646 h 215560"/>
                <a:gd name="connsiteX18" fmla="*/ 17322 w 94879"/>
                <a:gd name="connsiteY18" fmla="*/ 204267 h 215560"/>
                <a:gd name="connsiteX19" fmla="*/ 29869 w 94879"/>
                <a:gd name="connsiteY19" fmla="*/ 206213 h 215560"/>
                <a:gd name="connsiteX20" fmla="*/ 42291 w 94879"/>
                <a:gd name="connsiteY20" fmla="*/ 209112 h 215560"/>
                <a:gd name="connsiteX21" fmla="*/ 54755 w 94879"/>
                <a:gd name="connsiteY21" fmla="*/ 211513 h 215560"/>
                <a:gd name="connsiteX22" fmla="*/ 67467 w 94879"/>
                <a:gd name="connsiteY22" fmla="*/ 212383 h 215560"/>
                <a:gd name="connsiteX23" fmla="*/ 79973 w 94879"/>
                <a:gd name="connsiteY23" fmla="*/ 213874 h 215560"/>
                <a:gd name="connsiteX24" fmla="*/ 81215 w 94879"/>
                <a:gd name="connsiteY24" fmla="*/ 200002 h 215560"/>
                <a:gd name="connsiteX25" fmla="*/ 83906 w 94879"/>
                <a:gd name="connsiteY25" fmla="*/ 186171 h 215560"/>
                <a:gd name="connsiteX26" fmla="*/ 84900 w 94879"/>
                <a:gd name="connsiteY26" fmla="*/ 172134 h 215560"/>
                <a:gd name="connsiteX27" fmla="*/ 85770 w 94879"/>
                <a:gd name="connsiteY27" fmla="*/ 158097 h 215560"/>
                <a:gd name="connsiteX28" fmla="*/ 87426 w 94879"/>
                <a:gd name="connsiteY28" fmla="*/ 144143 h 215560"/>
                <a:gd name="connsiteX29" fmla="*/ 88586 w 94879"/>
                <a:gd name="connsiteY29" fmla="*/ 130147 h 215560"/>
                <a:gd name="connsiteX30" fmla="*/ 90904 w 94879"/>
                <a:gd name="connsiteY30" fmla="*/ 116275 h 215560"/>
                <a:gd name="connsiteX31" fmla="*/ 92768 w 94879"/>
                <a:gd name="connsiteY31" fmla="*/ 102320 h 215560"/>
                <a:gd name="connsiteX32" fmla="*/ 93762 w 94879"/>
                <a:gd name="connsiteY32" fmla="*/ 88241 h 215560"/>
                <a:gd name="connsiteX33" fmla="*/ 94880 w 94879"/>
                <a:gd name="connsiteY33" fmla="*/ 74204 h 215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94879" h="215560">
                  <a:moveTo>
                    <a:pt x="7591" y="0"/>
                  </a:moveTo>
                  <a:cubicBezTo>
                    <a:pt x="7508" y="5714"/>
                    <a:pt x="7259" y="5673"/>
                    <a:pt x="7177" y="11387"/>
                  </a:cubicBezTo>
                  <a:cubicBezTo>
                    <a:pt x="7094" y="17102"/>
                    <a:pt x="7425" y="17019"/>
                    <a:pt x="6307" y="22609"/>
                  </a:cubicBezTo>
                  <a:cubicBezTo>
                    <a:pt x="5479" y="26791"/>
                    <a:pt x="5313" y="26626"/>
                    <a:pt x="3491" y="30518"/>
                  </a:cubicBezTo>
                  <a:cubicBezTo>
                    <a:pt x="1297" y="35197"/>
                    <a:pt x="676" y="40249"/>
                    <a:pt x="179" y="45259"/>
                  </a:cubicBezTo>
                  <a:cubicBezTo>
                    <a:pt x="-318" y="50270"/>
                    <a:pt x="261" y="55156"/>
                    <a:pt x="1421" y="60125"/>
                  </a:cubicBezTo>
                  <a:cubicBezTo>
                    <a:pt x="2580" y="65094"/>
                    <a:pt x="2953" y="70394"/>
                    <a:pt x="5769" y="74742"/>
                  </a:cubicBezTo>
                  <a:lnTo>
                    <a:pt x="6431" y="74287"/>
                  </a:lnTo>
                  <a:cubicBezTo>
                    <a:pt x="6348" y="80746"/>
                    <a:pt x="5562" y="80746"/>
                    <a:pt x="5479" y="87165"/>
                  </a:cubicBezTo>
                  <a:cubicBezTo>
                    <a:pt x="5396" y="93583"/>
                    <a:pt x="6431" y="93624"/>
                    <a:pt x="6348" y="100084"/>
                  </a:cubicBezTo>
                  <a:cubicBezTo>
                    <a:pt x="6266" y="106544"/>
                    <a:pt x="6928" y="106544"/>
                    <a:pt x="6845" y="113004"/>
                  </a:cubicBezTo>
                  <a:cubicBezTo>
                    <a:pt x="6763" y="119463"/>
                    <a:pt x="6845" y="119463"/>
                    <a:pt x="6721" y="125923"/>
                  </a:cubicBezTo>
                  <a:cubicBezTo>
                    <a:pt x="6597" y="132383"/>
                    <a:pt x="5148" y="132341"/>
                    <a:pt x="5065" y="138801"/>
                  </a:cubicBezTo>
                  <a:cubicBezTo>
                    <a:pt x="4982" y="145261"/>
                    <a:pt x="6017" y="145261"/>
                    <a:pt x="5934" y="151720"/>
                  </a:cubicBezTo>
                  <a:cubicBezTo>
                    <a:pt x="5852" y="158179"/>
                    <a:pt x="5852" y="158179"/>
                    <a:pt x="5769" y="164639"/>
                  </a:cubicBezTo>
                  <a:cubicBezTo>
                    <a:pt x="5686" y="171099"/>
                    <a:pt x="5148" y="171099"/>
                    <a:pt x="5065" y="177558"/>
                  </a:cubicBezTo>
                  <a:cubicBezTo>
                    <a:pt x="4982" y="184018"/>
                    <a:pt x="5313" y="184018"/>
                    <a:pt x="5231" y="190519"/>
                  </a:cubicBezTo>
                  <a:cubicBezTo>
                    <a:pt x="5148" y="197020"/>
                    <a:pt x="261" y="198718"/>
                    <a:pt x="4402" y="203646"/>
                  </a:cubicBezTo>
                  <a:cubicBezTo>
                    <a:pt x="8543" y="208573"/>
                    <a:pt x="11028" y="203397"/>
                    <a:pt x="17322" y="204267"/>
                  </a:cubicBezTo>
                  <a:cubicBezTo>
                    <a:pt x="23616" y="205136"/>
                    <a:pt x="23574" y="205302"/>
                    <a:pt x="29869" y="206213"/>
                  </a:cubicBezTo>
                  <a:cubicBezTo>
                    <a:pt x="36163" y="207124"/>
                    <a:pt x="35997" y="208201"/>
                    <a:pt x="42291" y="209112"/>
                  </a:cubicBezTo>
                  <a:cubicBezTo>
                    <a:pt x="48585" y="210023"/>
                    <a:pt x="48502" y="210602"/>
                    <a:pt x="54755" y="211513"/>
                  </a:cubicBezTo>
                  <a:cubicBezTo>
                    <a:pt x="61008" y="212424"/>
                    <a:pt x="61173" y="211513"/>
                    <a:pt x="67467" y="212383"/>
                  </a:cubicBezTo>
                  <a:cubicBezTo>
                    <a:pt x="73761" y="213253"/>
                    <a:pt x="75128" y="218056"/>
                    <a:pt x="79973" y="213874"/>
                  </a:cubicBezTo>
                  <a:cubicBezTo>
                    <a:pt x="85273" y="209277"/>
                    <a:pt x="80387" y="206958"/>
                    <a:pt x="81215" y="200002"/>
                  </a:cubicBezTo>
                  <a:cubicBezTo>
                    <a:pt x="82043" y="193045"/>
                    <a:pt x="83120" y="193128"/>
                    <a:pt x="83906" y="186171"/>
                  </a:cubicBezTo>
                  <a:cubicBezTo>
                    <a:pt x="84693" y="179215"/>
                    <a:pt x="84113" y="179132"/>
                    <a:pt x="84900" y="172134"/>
                  </a:cubicBezTo>
                  <a:cubicBezTo>
                    <a:pt x="85687" y="165136"/>
                    <a:pt x="84983" y="165053"/>
                    <a:pt x="85770" y="158097"/>
                  </a:cubicBezTo>
                  <a:cubicBezTo>
                    <a:pt x="86557" y="151141"/>
                    <a:pt x="86639" y="151141"/>
                    <a:pt x="87426" y="144143"/>
                  </a:cubicBezTo>
                  <a:cubicBezTo>
                    <a:pt x="88213" y="137145"/>
                    <a:pt x="87799" y="137103"/>
                    <a:pt x="88586" y="130147"/>
                  </a:cubicBezTo>
                  <a:cubicBezTo>
                    <a:pt x="89372" y="123190"/>
                    <a:pt x="90118" y="123231"/>
                    <a:pt x="90904" y="116275"/>
                  </a:cubicBezTo>
                  <a:cubicBezTo>
                    <a:pt x="91691" y="109318"/>
                    <a:pt x="91981" y="109318"/>
                    <a:pt x="92768" y="102320"/>
                  </a:cubicBezTo>
                  <a:cubicBezTo>
                    <a:pt x="93555" y="95322"/>
                    <a:pt x="92975" y="95239"/>
                    <a:pt x="93762" y="88241"/>
                  </a:cubicBezTo>
                  <a:cubicBezTo>
                    <a:pt x="94548" y="81243"/>
                    <a:pt x="94093" y="81202"/>
                    <a:pt x="94880" y="74204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0166813-9593-7B84-3749-643685728751}"/>
                </a:ext>
              </a:extLst>
            </p:cNvPr>
            <p:cNvSpPr/>
            <p:nvPr/>
          </p:nvSpPr>
          <p:spPr>
            <a:xfrm>
              <a:off x="8182600" y="3358621"/>
              <a:ext cx="116741" cy="263971"/>
            </a:xfrm>
            <a:custGeom>
              <a:avLst/>
              <a:gdLst>
                <a:gd name="connsiteX0" fmla="*/ 2845 w 116741"/>
                <a:gd name="connsiteY0" fmla="*/ 0 h 263971"/>
                <a:gd name="connsiteX1" fmla="*/ 5744 w 116741"/>
                <a:gd name="connsiteY1" fmla="*/ 13085 h 263971"/>
                <a:gd name="connsiteX2" fmla="*/ 8808 w 116741"/>
                <a:gd name="connsiteY2" fmla="*/ 26129 h 263971"/>
                <a:gd name="connsiteX3" fmla="*/ 11375 w 116741"/>
                <a:gd name="connsiteY3" fmla="*/ 39297 h 263971"/>
                <a:gd name="connsiteX4" fmla="*/ 15309 w 116741"/>
                <a:gd name="connsiteY4" fmla="*/ 52175 h 263971"/>
                <a:gd name="connsiteX5" fmla="*/ 17256 w 116741"/>
                <a:gd name="connsiteY5" fmla="*/ 65508 h 263971"/>
                <a:gd name="connsiteX6" fmla="*/ 21189 w 116741"/>
                <a:gd name="connsiteY6" fmla="*/ 78386 h 263971"/>
                <a:gd name="connsiteX7" fmla="*/ 23674 w 116741"/>
                <a:gd name="connsiteY7" fmla="*/ 91595 h 263971"/>
                <a:gd name="connsiteX8" fmla="*/ 26821 w 116741"/>
                <a:gd name="connsiteY8" fmla="*/ 104639 h 263971"/>
                <a:gd name="connsiteX9" fmla="*/ 28519 w 116741"/>
                <a:gd name="connsiteY9" fmla="*/ 118014 h 263971"/>
                <a:gd name="connsiteX10" fmla="*/ 32825 w 116741"/>
                <a:gd name="connsiteY10" fmla="*/ 130768 h 263971"/>
                <a:gd name="connsiteX11" fmla="*/ 36055 w 116741"/>
                <a:gd name="connsiteY11" fmla="*/ 143811 h 263971"/>
                <a:gd name="connsiteX12" fmla="*/ 38664 w 116741"/>
                <a:gd name="connsiteY12" fmla="*/ 156979 h 263971"/>
                <a:gd name="connsiteX13" fmla="*/ 40154 w 116741"/>
                <a:gd name="connsiteY13" fmla="*/ 170396 h 263971"/>
                <a:gd name="connsiteX14" fmla="*/ 43301 w 116741"/>
                <a:gd name="connsiteY14" fmla="*/ 183481 h 263971"/>
                <a:gd name="connsiteX15" fmla="*/ 46987 w 116741"/>
                <a:gd name="connsiteY15" fmla="*/ 196442 h 263971"/>
                <a:gd name="connsiteX16" fmla="*/ 39202 w 116741"/>
                <a:gd name="connsiteY16" fmla="*/ 207249 h 263971"/>
                <a:gd name="connsiteX17" fmla="*/ 32287 w 116741"/>
                <a:gd name="connsiteY17" fmla="*/ 218678 h 263971"/>
                <a:gd name="connsiteX18" fmla="*/ 23674 w 116741"/>
                <a:gd name="connsiteY18" fmla="*/ 228947 h 263971"/>
                <a:gd name="connsiteX19" fmla="*/ 15930 w 116741"/>
                <a:gd name="connsiteY19" fmla="*/ 239838 h 263971"/>
                <a:gd name="connsiteX20" fmla="*/ 9264 w 116741"/>
                <a:gd name="connsiteY20" fmla="*/ 251515 h 263971"/>
                <a:gd name="connsiteX21" fmla="*/ 526 w 116741"/>
                <a:gd name="connsiteY21" fmla="*/ 262032 h 263971"/>
                <a:gd name="connsiteX22" fmla="*/ 11955 w 116741"/>
                <a:gd name="connsiteY22" fmla="*/ 259051 h 263971"/>
                <a:gd name="connsiteX23" fmla="*/ 23260 w 116741"/>
                <a:gd name="connsiteY23" fmla="*/ 256608 h 263971"/>
                <a:gd name="connsiteX24" fmla="*/ 34771 w 116741"/>
                <a:gd name="connsiteY24" fmla="*/ 255034 h 263971"/>
                <a:gd name="connsiteX25" fmla="*/ 41190 w 116741"/>
                <a:gd name="connsiteY25" fmla="*/ 245800 h 263971"/>
                <a:gd name="connsiteX26" fmla="*/ 46945 w 116741"/>
                <a:gd name="connsiteY26" fmla="*/ 236152 h 263971"/>
                <a:gd name="connsiteX27" fmla="*/ 49803 w 116741"/>
                <a:gd name="connsiteY27" fmla="*/ 250107 h 263971"/>
                <a:gd name="connsiteX28" fmla="*/ 50962 w 116741"/>
                <a:gd name="connsiteY28" fmla="*/ 236649 h 263971"/>
                <a:gd name="connsiteX29" fmla="*/ 52204 w 116741"/>
                <a:gd name="connsiteY29" fmla="*/ 223688 h 263971"/>
                <a:gd name="connsiteX30" fmla="*/ 52163 w 116741"/>
                <a:gd name="connsiteY30" fmla="*/ 210645 h 263971"/>
                <a:gd name="connsiteX31" fmla="*/ 52743 w 116741"/>
                <a:gd name="connsiteY31" fmla="*/ 198056 h 263971"/>
                <a:gd name="connsiteX32" fmla="*/ 53985 w 116741"/>
                <a:gd name="connsiteY32" fmla="*/ 211224 h 263971"/>
                <a:gd name="connsiteX33" fmla="*/ 57422 w 116741"/>
                <a:gd name="connsiteY33" fmla="*/ 224475 h 263971"/>
                <a:gd name="connsiteX34" fmla="*/ 58954 w 116741"/>
                <a:gd name="connsiteY34" fmla="*/ 238057 h 263971"/>
                <a:gd name="connsiteX35" fmla="*/ 62101 w 116741"/>
                <a:gd name="connsiteY35" fmla="*/ 252343 h 263971"/>
                <a:gd name="connsiteX36" fmla="*/ 67443 w 116741"/>
                <a:gd name="connsiteY36" fmla="*/ 233502 h 263971"/>
                <a:gd name="connsiteX37" fmla="*/ 75476 w 116741"/>
                <a:gd name="connsiteY37" fmla="*/ 248575 h 263971"/>
                <a:gd name="connsiteX38" fmla="*/ 88851 w 116741"/>
                <a:gd name="connsiteY38" fmla="*/ 251308 h 263971"/>
                <a:gd name="connsiteX39" fmla="*/ 102143 w 116741"/>
                <a:gd name="connsiteY39" fmla="*/ 255945 h 263971"/>
                <a:gd name="connsiteX40" fmla="*/ 115890 w 116741"/>
                <a:gd name="connsiteY40" fmla="*/ 258471 h 263971"/>
                <a:gd name="connsiteX41" fmla="*/ 106946 w 116741"/>
                <a:gd name="connsiteY41" fmla="*/ 247374 h 263971"/>
                <a:gd name="connsiteX42" fmla="*/ 97339 w 116741"/>
                <a:gd name="connsiteY42" fmla="*/ 236773 h 263971"/>
                <a:gd name="connsiteX43" fmla="*/ 87981 w 116741"/>
                <a:gd name="connsiteY43" fmla="*/ 225966 h 263971"/>
                <a:gd name="connsiteX44" fmla="*/ 78499 w 116741"/>
                <a:gd name="connsiteY44" fmla="*/ 215241 h 263971"/>
                <a:gd name="connsiteX45" fmla="*/ 70217 w 116741"/>
                <a:gd name="connsiteY45" fmla="*/ 203481 h 263971"/>
                <a:gd name="connsiteX46" fmla="*/ 59865 w 116741"/>
                <a:gd name="connsiteY46" fmla="*/ 193212 h 263971"/>
                <a:gd name="connsiteX47" fmla="*/ 60859 w 116741"/>
                <a:gd name="connsiteY47" fmla="*/ 179961 h 263971"/>
                <a:gd name="connsiteX48" fmla="*/ 63177 w 116741"/>
                <a:gd name="connsiteY48" fmla="*/ 167042 h 263971"/>
                <a:gd name="connsiteX49" fmla="*/ 64502 w 116741"/>
                <a:gd name="connsiteY49" fmla="*/ 154039 h 263971"/>
                <a:gd name="connsiteX50" fmla="*/ 66159 w 116741"/>
                <a:gd name="connsiteY50" fmla="*/ 141037 h 263971"/>
                <a:gd name="connsiteX51" fmla="*/ 66200 w 116741"/>
                <a:gd name="connsiteY51" fmla="*/ 127911 h 263971"/>
                <a:gd name="connsiteX52" fmla="*/ 67111 w 116741"/>
                <a:gd name="connsiteY52" fmla="*/ 114867 h 263971"/>
                <a:gd name="connsiteX53" fmla="*/ 69968 w 116741"/>
                <a:gd name="connsiteY53" fmla="*/ 101989 h 263971"/>
                <a:gd name="connsiteX54" fmla="*/ 70962 w 116741"/>
                <a:gd name="connsiteY54" fmla="*/ 88945 h 263971"/>
                <a:gd name="connsiteX55" fmla="*/ 72412 w 116741"/>
                <a:gd name="connsiteY55" fmla="*/ 75943 h 263971"/>
                <a:gd name="connsiteX56" fmla="*/ 72163 w 116741"/>
                <a:gd name="connsiteY56" fmla="*/ 62775 h 263971"/>
                <a:gd name="connsiteX57" fmla="*/ 74399 w 116741"/>
                <a:gd name="connsiteY57" fmla="*/ 49856 h 263971"/>
                <a:gd name="connsiteX58" fmla="*/ 76345 w 116741"/>
                <a:gd name="connsiteY58" fmla="*/ 36895 h 263971"/>
                <a:gd name="connsiteX59" fmla="*/ 76180 w 116741"/>
                <a:gd name="connsiteY59" fmla="*/ 23686 h 263971"/>
                <a:gd name="connsiteX60" fmla="*/ 77753 w 116741"/>
                <a:gd name="connsiteY60" fmla="*/ 10642 h 263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16741" h="263971">
                  <a:moveTo>
                    <a:pt x="2845" y="0"/>
                  </a:moveTo>
                  <a:cubicBezTo>
                    <a:pt x="4336" y="6543"/>
                    <a:pt x="4253" y="6543"/>
                    <a:pt x="5744" y="13085"/>
                  </a:cubicBezTo>
                  <a:cubicBezTo>
                    <a:pt x="7235" y="19628"/>
                    <a:pt x="7317" y="19586"/>
                    <a:pt x="8808" y="26129"/>
                  </a:cubicBezTo>
                  <a:cubicBezTo>
                    <a:pt x="10299" y="32671"/>
                    <a:pt x="9885" y="32754"/>
                    <a:pt x="11375" y="39297"/>
                  </a:cubicBezTo>
                  <a:cubicBezTo>
                    <a:pt x="12866" y="45839"/>
                    <a:pt x="13819" y="45632"/>
                    <a:pt x="15309" y="52175"/>
                  </a:cubicBezTo>
                  <a:cubicBezTo>
                    <a:pt x="16800" y="58717"/>
                    <a:pt x="15765" y="58966"/>
                    <a:pt x="17256" y="65508"/>
                  </a:cubicBezTo>
                  <a:cubicBezTo>
                    <a:pt x="18746" y="72051"/>
                    <a:pt x="19699" y="71844"/>
                    <a:pt x="21189" y="78386"/>
                  </a:cubicBezTo>
                  <a:cubicBezTo>
                    <a:pt x="22680" y="84929"/>
                    <a:pt x="22183" y="85053"/>
                    <a:pt x="23674" y="91595"/>
                  </a:cubicBezTo>
                  <a:cubicBezTo>
                    <a:pt x="25164" y="98138"/>
                    <a:pt x="25330" y="98097"/>
                    <a:pt x="26821" y="104639"/>
                  </a:cubicBezTo>
                  <a:cubicBezTo>
                    <a:pt x="28312" y="111182"/>
                    <a:pt x="27069" y="111471"/>
                    <a:pt x="28519" y="118014"/>
                  </a:cubicBezTo>
                  <a:cubicBezTo>
                    <a:pt x="29968" y="124557"/>
                    <a:pt x="31376" y="124267"/>
                    <a:pt x="32825" y="130768"/>
                  </a:cubicBezTo>
                  <a:cubicBezTo>
                    <a:pt x="34274" y="137269"/>
                    <a:pt x="34564" y="137269"/>
                    <a:pt x="36055" y="143811"/>
                  </a:cubicBezTo>
                  <a:cubicBezTo>
                    <a:pt x="37546" y="150354"/>
                    <a:pt x="37173" y="150437"/>
                    <a:pt x="38664" y="156979"/>
                  </a:cubicBezTo>
                  <a:cubicBezTo>
                    <a:pt x="40154" y="163522"/>
                    <a:pt x="38664" y="163853"/>
                    <a:pt x="40154" y="170396"/>
                  </a:cubicBezTo>
                  <a:cubicBezTo>
                    <a:pt x="41645" y="176938"/>
                    <a:pt x="41811" y="176897"/>
                    <a:pt x="43301" y="183481"/>
                  </a:cubicBezTo>
                  <a:cubicBezTo>
                    <a:pt x="44792" y="190065"/>
                    <a:pt x="48312" y="189858"/>
                    <a:pt x="46987" y="196442"/>
                  </a:cubicBezTo>
                  <a:cubicBezTo>
                    <a:pt x="45662" y="203025"/>
                    <a:pt x="43053" y="201825"/>
                    <a:pt x="39202" y="207249"/>
                  </a:cubicBezTo>
                  <a:cubicBezTo>
                    <a:pt x="35351" y="212674"/>
                    <a:pt x="36138" y="213253"/>
                    <a:pt x="32287" y="218678"/>
                  </a:cubicBezTo>
                  <a:cubicBezTo>
                    <a:pt x="28436" y="224102"/>
                    <a:pt x="27525" y="223481"/>
                    <a:pt x="23674" y="228947"/>
                  </a:cubicBezTo>
                  <a:cubicBezTo>
                    <a:pt x="19823" y="234413"/>
                    <a:pt x="19781" y="234372"/>
                    <a:pt x="15930" y="239838"/>
                  </a:cubicBezTo>
                  <a:cubicBezTo>
                    <a:pt x="12079" y="245303"/>
                    <a:pt x="13115" y="246049"/>
                    <a:pt x="9264" y="251515"/>
                  </a:cubicBezTo>
                  <a:cubicBezTo>
                    <a:pt x="5413" y="256981"/>
                    <a:pt x="-2041" y="255863"/>
                    <a:pt x="526" y="262032"/>
                  </a:cubicBezTo>
                  <a:cubicBezTo>
                    <a:pt x="2763" y="267333"/>
                    <a:pt x="6324" y="260210"/>
                    <a:pt x="11955" y="259051"/>
                  </a:cubicBezTo>
                  <a:cubicBezTo>
                    <a:pt x="17587" y="257892"/>
                    <a:pt x="17587" y="257809"/>
                    <a:pt x="23260" y="256608"/>
                  </a:cubicBezTo>
                  <a:cubicBezTo>
                    <a:pt x="28933" y="255407"/>
                    <a:pt x="30009" y="258264"/>
                    <a:pt x="34771" y="255034"/>
                  </a:cubicBezTo>
                  <a:cubicBezTo>
                    <a:pt x="39533" y="251805"/>
                    <a:pt x="38125" y="250480"/>
                    <a:pt x="41190" y="245800"/>
                  </a:cubicBezTo>
                  <a:cubicBezTo>
                    <a:pt x="44254" y="241121"/>
                    <a:pt x="41852" y="233875"/>
                    <a:pt x="46945" y="236152"/>
                  </a:cubicBezTo>
                  <a:cubicBezTo>
                    <a:pt x="53198" y="238968"/>
                    <a:pt x="42970" y="249237"/>
                    <a:pt x="49803" y="250107"/>
                  </a:cubicBezTo>
                  <a:cubicBezTo>
                    <a:pt x="56262" y="250894"/>
                    <a:pt x="50631" y="243150"/>
                    <a:pt x="50962" y="236649"/>
                  </a:cubicBezTo>
                  <a:cubicBezTo>
                    <a:pt x="51293" y="230148"/>
                    <a:pt x="51832" y="230189"/>
                    <a:pt x="52204" y="223688"/>
                  </a:cubicBezTo>
                  <a:cubicBezTo>
                    <a:pt x="52577" y="217187"/>
                    <a:pt x="51790" y="217146"/>
                    <a:pt x="52163" y="210645"/>
                  </a:cubicBezTo>
                  <a:cubicBezTo>
                    <a:pt x="52535" y="204144"/>
                    <a:pt x="46283" y="197145"/>
                    <a:pt x="52743" y="198056"/>
                  </a:cubicBezTo>
                  <a:cubicBezTo>
                    <a:pt x="59202" y="198967"/>
                    <a:pt x="52908" y="204516"/>
                    <a:pt x="53985" y="211224"/>
                  </a:cubicBezTo>
                  <a:cubicBezTo>
                    <a:pt x="55061" y="217933"/>
                    <a:pt x="56304" y="217725"/>
                    <a:pt x="57422" y="224475"/>
                  </a:cubicBezTo>
                  <a:cubicBezTo>
                    <a:pt x="58540" y="231225"/>
                    <a:pt x="57836" y="231307"/>
                    <a:pt x="58954" y="238057"/>
                  </a:cubicBezTo>
                  <a:cubicBezTo>
                    <a:pt x="60072" y="244807"/>
                    <a:pt x="56221" y="255738"/>
                    <a:pt x="62101" y="252343"/>
                  </a:cubicBezTo>
                  <a:cubicBezTo>
                    <a:pt x="70341" y="247581"/>
                    <a:pt x="58084" y="235158"/>
                    <a:pt x="67443" y="233502"/>
                  </a:cubicBezTo>
                  <a:cubicBezTo>
                    <a:pt x="76055" y="232011"/>
                    <a:pt x="68933" y="242736"/>
                    <a:pt x="75476" y="248575"/>
                  </a:cubicBezTo>
                  <a:cubicBezTo>
                    <a:pt x="80693" y="253213"/>
                    <a:pt x="82018" y="249734"/>
                    <a:pt x="88851" y="251308"/>
                  </a:cubicBezTo>
                  <a:cubicBezTo>
                    <a:pt x="95683" y="252881"/>
                    <a:pt x="95310" y="254372"/>
                    <a:pt x="102143" y="255945"/>
                  </a:cubicBezTo>
                  <a:cubicBezTo>
                    <a:pt x="108975" y="257519"/>
                    <a:pt x="112453" y="264558"/>
                    <a:pt x="115890" y="258471"/>
                  </a:cubicBezTo>
                  <a:cubicBezTo>
                    <a:pt x="119327" y="252384"/>
                    <a:pt x="111542" y="252798"/>
                    <a:pt x="106946" y="247374"/>
                  </a:cubicBezTo>
                  <a:cubicBezTo>
                    <a:pt x="102350" y="241949"/>
                    <a:pt x="101936" y="242239"/>
                    <a:pt x="97339" y="236773"/>
                  </a:cubicBezTo>
                  <a:cubicBezTo>
                    <a:pt x="92743" y="231307"/>
                    <a:pt x="92619" y="231390"/>
                    <a:pt x="87981" y="225966"/>
                  </a:cubicBezTo>
                  <a:cubicBezTo>
                    <a:pt x="83343" y="220541"/>
                    <a:pt x="83136" y="220707"/>
                    <a:pt x="78499" y="215241"/>
                  </a:cubicBezTo>
                  <a:cubicBezTo>
                    <a:pt x="73861" y="209775"/>
                    <a:pt x="74855" y="208947"/>
                    <a:pt x="70217" y="203481"/>
                  </a:cubicBezTo>
                  <a:cubicBezTo>
                    <a:pt x="65579" y="198015"/>
                    <a:pt x="62142" y="200003"/>
                    <a:pt x="59865" y="193212"/>
                  </a:cubicBezTo>
                  <a:cubicBezTo>
                    <a:pt x="57794" y="187000"/>
                    <a:pt x="60237" y="186462"/>
                    <a:pt x="60859" y="179961"/>
                  </a:cubicBezTo>
                  <a:cubicBezTo>
                    <a:pt x="61480" y="173460"/>
                    <a:pt x="62556" y="173543"/>
                    <a:pt x="63177" y="167042"/>
                  </a:cubicBezTo>
                  <a:cubicBezTo>
                    <a:pt x="63799" y="160540"/>
                    <a:pt x="63881" y="160540"/>
                    <a:pt x="64502" y="154039"/>
                  </a:cubicBezTo>
                  <a:cubicBezTo>
                    <a:pt x="65124" y="147538"/>
                    <a:pt x="65538" y="147580"/>
                    <a:pt x="66159" y="141037"/>
                  </a:cubicBezTo>
                  <a:cubicBezTo>
                    <a:pt x="66780" y="134495"/>
                    <a:pt x="65579" y="134412"/>
                    <a:pt x="66200" y="127911"/>
                  </a:cubicBezTo>
                  <a:cubicBezTo>
                    <a:pt x="66821" y="121410"/>
                    <a:pt x="66490" y="121368"/>
                    <a:pt x="67111" y="114867"/>
                  </a:cubicBezTo>
                  <a:cubicBezTo>
                    <a:pt x="67732" y="108366"/>
                    <a:pt x="69306" y="108490"/>
                    <a:pt x="69968" y="101989"/>
                  </a:cubicBezTo>
                  <a:cubicBezTo>
                    <a:pt x="70631" y="95488"/>
                    <a:pt x="70341" y="95446"/>
                    <a:pt x="70962" y="88945"/>
                  </a:cubicBezTo>
                  <a:cubicBezTo>
                    <a:pt x="71583" y="82444"/>
                    <a:pt x="71790" y="82444"/>
                    <a:pt x="72412" y="75943"/>
                  </a:cubicBezTo>
                  <a:cubicBezTo>
                    <a:pt x="73033" y="69442"/>
                    <a:pt x="71542" y="69276"/>
                    <a:pt x="72163" y="62775"/>
                  </a:cubicBezTo>
                  <a:cubicBezTo>
                    <a:pt x="72784" y="56274"/>
                    <a:pt x="73778" y="56357"/>
                    <a:pt x="74399" y="49856"/>
                  </a:cubicBezTo>
                  <a:cubicBezTo>
                    <a:pt x="75020" y="43355"/>
                    <a:pt x="75724" y="43396"/>
                    <a:pt x="76345" y="36895"/>
                  </a:cubicBezTo>
                  <a:cubicBezTo>
                    <a:pt x="76966" y="30394"/>
                    <a:pt x="75559" y="30228"/>
                    <a:pt x="76180" y="23686"/>
                  </a:cubicBezTo>
                  <a:cubicBezTo>
                    <a:pt x="76801" y="17143"/>
                    <a:pt x="77132" y="17185"/>
                    <a:pt x="77753" y="10642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7E985E-0E64-4386-C13D-0BD1EE0201B9}"/>
                </a:ext>
              </a:extLst>
            </p:cNvPr>
            <p:cNvSpPr/>
            <p:nvPr/>
          </p:nvSpPr>
          <p:spPr>
            <a:xfrm>
              <a:off x="8223099" y="3380858"/>
              <a:ext cx="2595" cy="98013"/>
            </a:xfrm>
            <a:custGeom>
              <a:avLst/>
              <a:gdLst>
                <a:gd name="connsiteX0" fmla="*/ 318 w 2595"/>
                <a:gd name="connsiteY0" fmla="*/ 0 h 98013"/>
                <a:gd name="connsiteX1" fmla="*/ 28 w 2595"/>
                <a:gd name="connsiteY1" fmla="*/ 13996 h 98013"/>
                <a:gd name="connsiteX2" fmla="*/ 318 w 2595"/>
                <a:gd name="connsiteY2" fmla="*/ 27992 h 98013"/>
                <a:gd name="connsiteX3" fmla="*/ 235 w 2595"/>
                <a:gd name="connsiteY3" fmla="*/ 41988 h 98013"/>
                <a:gd name="connsiteX4" fmla="*/ 939 w 2595"/>
                <a:gd name="connsiteY4" fmla="*/ 55984 h 98013"/>
                <a:gd name="connsiteX5" fmla="*/ 318 w 2595"/>
                <a:gd name="connsiteY5" fmla="*/ 70022 h 98013"/>
                <a:gd name="connsiteX6" fmla="*/ 1602 w 2595"/>
                <a:gd name="connsiteY6" fmla="*/ 84018 h 98013"/>
                <a:gd name="connsiteX7" fmla="*/ 2596 w 2595"/>
                <a:gd name="connsiteY7" fmla="*/ 98014 h 98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5" h="98013">
                  <a:moveTo>
                    <a:pt x="318" y="0"/>
                  </a:moveTo>
                  <a:cubicBezTo>
                    <a:pt x="484" y="6998"/>
                    <a:pt x="-137" y="6998"/>
                    <a:pt x="28" y="13996"/>
                  </a:cubicBezTo>
                  <a:cubicBezTo>
                    <a:pt x="194" y="20994"/>
                    <a:pt x="153" y="20994"/>
                    <a:pt x="318" y="27992"/>
                  </a:cubicBezTo>
                  <a:cubicBezTo>
                    <a:pt x="484" y="34990"/>
                    <a:pt x="70" y="34990"/>
                    <a:pt x="235" y="41988"/>
                  </a:cubicBezTo>
                  <a:cubicBezTo>
                    <a:pt x="401" y="48986"/>
                    <a:pt x="774" y="48986"/>
                    <a:pt x="939" y="55984"/>
                  </a:cubicBezTo>
                  <a:cubicBezTo>
                    <a:pt x="1105" y="62982"/>
                    <a:pt x="153" y="63024"/>
                    <a:pt x="318" y="70022"/>
                  </a:cubicBezTo>
                  <a:cubicBezTo>
                    <a:pt x="484" y="77020"/>
                    <a:pt x="1436" y="77020"/>
                    <a:pt x="1602" y="84018"/>
                  </a:cubicBezTo>
                  <a:cubicBezTo>
                    <a:pt x="1768" y="91016"/>
                    <a:pt x="2430" y="91016"/>
                    <a:pt x="2596" y="98014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F16E88A-C7BC-4200-E795-5B43F592DB87}"/>
                </a:ext>
              </a:extLst>
            </p:cNvPr>
            <p:cNvSpPr/>
            <p:nvPr/>
          </p:nvSpPr>
          <p:spPr>
            <a:xfrm>
              <a:off x="8195466" y="3023089"/>
              <a:ext cx="4058" cy="18302"/>
            </a:xfrm>
            <a:custGeom>
              <a:avLst/>
              <a:gdLst>
                <a:gd name="connsiteX0" fmla="*/ 4058 w 4058"/>
                <a:gd name="connsiteY0" fmla="*/ 0 h 18302"/>
                <a:gd name="connsiteX1" fmla="*/ 0 w 4058"/>
                <a:gd name="connsiteY1" fmla="*/ 18303 h 18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8" h="18302">
                  <a:moveTo>
                    <a:pt x="4058" y="0"/>
                  </a:moveTo>
                  <a:cubicBezTo>
                    <a:pt x="1739" y="9068"/>
                    <a:pt x="2360" y="9234"/>
                    <a:pt x="0" y="18303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622EB10-8E65-8207-5D99-48EEEFEE3CBA}"/>
                </a:ext>
              </a:extLst>
            </p:cNvPr>
            <p:cNvSpPr/>
            <p:nvPr/>
          </p:nvSpPr>
          <p:spPr>
            <a:xfrm>
              <a:off x="8220145" y="3029715"/>
              <a:ext cx="5838" cy="17971"/>
            </a:xfrm>
            <a:custGeom>
              <a:avLst/>
              <a:gdLst>
                <a:gd name="connsiteX0" fmla="*/ 5839 w 5838"/>
                <a:gd name="connsiteY0" fmla="*/ 0 h 17971"/>
                <a:gd name="connsiteX1" fmla="*/ 0 w 5838"/>
                <a:gd name="connsiteY1" fmla="*/ 17971 h 1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38" h="17971">
                  <a:moveTo>
                    <a:pt x="5839" y="0"/>
                  </a:moveTo>
                  <a:cubicBezTo>
                    <a:pt x="3188" y="9068"/>
                    <a:pt x="2609" y="8903"/>
                    <a:pt x="0" y="17971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B9AEE4D-0A27-0354-9768-BD19D939F07A}"/>
                </a:ext>
              </a:extLst>
            </p:cNvPr>
            <p:cNvSpPr/>
            <p:nvPr/>
          </p:nvSpPr>
          <p:spPr>
            <a:xfrm>
              <a:off x="8210497" y="2978575"/>
              <a:ext cx="104473" cy="93955"/>
            </a:xfrm>
            <a:custGeom>
              <a:avLst/>
              <a:gdLst>
                <a:gd name="connsiteX0" fmla="*/ 0 w 104473"/>
                <a:gd name="connsiteY0" fmla="*/ 0 h 93955"/>
                <a:gd name="connsiteX1" fmla="*/ 8406 w 104473"/>
                <a:gd name="connsiteY1" fmla="*/ 9855 h 93955"/>
                <a:gd name="connsiteX2" fmla="*/ 16066 w 104473"/>
                <a:gd name="connsiteY2" fmla="*/ 20332 h 93955"/>
                <a:gd name="connsiteX3" fmla="*/ 24762 w 104473"/>
                <a:gd name="connsiteY3" fmla="*/ 29938 h 93955"/>
                <a:gd name="connsiteX4" fmla="*/ 33003 w 104473"/>
                <a:gd name="connsiteY4" fmla="*/ 39959 h 93955"/>
                <a:gd name="connsiteX5" fmla="*/ 42071 w 104473"/>
                <a:gd name="connsiteY5" fmla="*/ 49276 h 93955"/>
                <a:gd name="connsiteX6" fmla="*/ 52009 w 104473"/>
                <a:gd name="connsiteY6" fmla="*/ 57682 h 93955"/>
                <a:gd name="connsiteX7" fmla="*/ 61326 w 104473"/>
                <a:gd name="connsiteY7" fmla="*/ 66668 h 93955"/>
                <a:gd name="connsiteX8" fmla="*/ 71140 w 104473"/>
                <a:gd name="connsiteY8" fmla="*/ 75073 h 93955"/>
                <a:gd name="connsiteX9" fmla="*/ 80746 w 104473"/>
                <a:gd name="connsiteY9" fmla="*/ 83852 h 93955"/>
                <a:gd name="connsiteX10" fmla="*/ 92009 w 104473"/>
                <a:gd name="connsiteY10" fmla="*/ 90395 h 93955"/>
                <a:gd name="connsiteX11" fmla="*/ 104473 w 104473"/>
                <a:gd name="connsiteY11" fmla="*/ 93956 h 9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473" h="93955">
                  <a:moveTo>
                    <a:pt x="0" y="0"/>
                  </a:moveTo>
                  <a:cubicBezTo>
                    <a:pt x="3975" y="5135"/>
                    <a:pt x="3313" y="3644"/>
                    <a:pt x="8406" y="9855"/>
                  </a:cubicBezTo>
                  <a:cubicBezTo>
                    <a:pt x="10766" y="12712"/>
                    <a:pt x="12919" y="16646"/>
                    <a:pt x="16066" y="20332"/>
                  </a:cubicBezTo>
                  <a:cubicBezTo>
                    <a:pt x="18675" y="23396"/>
                    <a:pt x="21739" y="26501"/>
                    <a:pt x="24762" y="29938"/>
                  </a:cubicBezTo>
                  <a:cubicBezTo>
                    <a:pt x="27495" y="33044"/>
                    <a:pt x="29980" y="36688"/>
                    <a:pt x="33003" y="39959"/>
                  </a:cubicBezTo>
                  <a:cubicBezTo>
                    <a:pt x="36025" y="43230"/>
                    <a:pt x="39007" y="46088"/>
                    <a:pt x="42071" y="49276"/>
                  </a:cubicBezTo>
                  <a:cubicBezTo>
                    <a:pt x="45135" y="52464"/>
                    <a:pt x="48903" y="54659"/>
                    <a:pt x="52009" y="57682"/>
                  </a:cubicBezTo>
                  <a:cubicBezTo>
                    <a:pt x="55115" y="60705"/>
                    <a:pt x="58179" y="63810"/>
                    <a:pt x="61326" y="66668"/>
                  </a:cubicBezTo>
                  <a:cubicBezTo>
                    <a:pt x="64473" y="69525"/>
                    <a:pt x="67910" y="72423"/>
                    <a:pt x="71140" y="75073"/>
                  </a:cubicBezTo>
                  <a:cubicBezTo>
                    <a:pt x="74659" y="77931"/>
                    <a:pt x="77392" y="81533"/>
                    <a:pt x="80746" y="83852"/>
                  </a:cubicBezTo>
                  <a:cubicBezTo>
                    <a:pt x="84597" y="86502"/>
                    <a:pt x="88448" y="88655"/>
                    <a:pt x="92009" y="90395"/>
                  </a:cubicBezTo>
                  <a:cubicBezTo>
                    <a:pt x="96482" y="92589"/>
                    <a:pt x="100788" y="93749"/>
                    <a:pt x="104473" y="93956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3DDB3DD-B645-1DAB-CD3D-1625C904D666}"/>
                </a:ext>
              </a:extLst>
            </p:cNvPr>
            <p:cNvSpPr/>
            <p:nvPr/>
          </p:nvSpPr>
          <p:spPr>
            <a:xfrm>
              <a:off x="8312942" y="3047355"/>
              <a:ext cx="97173" cy="185730"/>
            </a:xfrm>
            <a:custGeom>
              <a:avLst/>
              <a:gdLst>
                <a:gd name="connsiteX0" fmla="*/ 455 w 97173"/>
                <a:gd name="connsiteY0" fmla="*/ 0 h 185730"/>
                <a:gd name="connsiteX1" fmla="*/ 6667 w 97173"/>
                <a:gd name="connsiteY1" fmla="*/ 11222 h 185730"/>
                <a:gd name="connsiteX2" fmla="*/ 11594 w 97173"/>
                <a:gd name="connsiteY2" fmla="*/ 23064 h 185730"/>
                <a:gd name="connsiteX3" fmla="*/ 15280 w 97173"/>
                <a:gd name="connsiteY3" fmla="*/ 35363 h 185730"/>
                <a:gd name="connsiteX4" fmla="*/ 18717 w 97173"/>
                <a:gd name="connsiteY4" fmla="*/ 47744 h 185730"/>
                <a:gd name="connsiteX5" fmla="*/ 19959 w 97173"/>
                <a:gd name="connsiteY5" fmla="*/ 60539 h 185730"/>
                <a:gd name="connsiteX6" fmla="*/ 19876 w 97173"/>
                <a:gd name="connsiteY6" fmla="*/ 73417 h 185730"/>
                <a:gd name="connsiteX7" fmla="*/ 20042 w 97173"/>
                <a:gd name="connsiteY7" fmla="*/ 87041 h 185730"/>
                <a:gd name="connsiteX8" fmla="*/ 25756 w 97173"/>
                <a:gd name="connsiteY8" fmla="*/ 99463 h 185730"/>
                <a:gd name="connsiteX9" fmla="*/ 33913 w 97173"/>
                <a:gd name="connsiteY9" fmla="*/ 110312 h 185730"/>
                <a:gd name="connsiteX10" fmla="*/ 42609 w 97173"/>
                <a:gd name="connsiteY10" fmla="*/ 120540 h 185730"/>
                <a:gd name="connsiteX11" fmla="*/ 52423 w 97173"/>
                <a:gd name="connsiteY11" fmla="*/ 129815 h 185730"/>
                <a:gd name="connsiteX12" fmla="*/ 64473 w 97173"/>
                <a:gd name="connsiteY12" fmla="*/ 135820 h 185730"/>
                <a:gd name="connsiteX13" fmla="*/ 77599 w 97173"/>
                <a:gd name="connsiteY13" fmla="*/ 136979 h 185730"/>
                <a:gd name="connsiteX14" fmla="*/ 88697 w 97173"/>
                <a:gd name="connsiteY14" fmla="*/ 129650 h 185730"/>
                <a:gd name="connsiteX15" fmla="*/ 93542 w 97173"/>
                <a:gd name="connsiteY15" fmla="*/ 117020 h 185730"/>
                <a:gd name="connsiteX16" fmla="*/ 96399 w 97173"/>
                <a:gd name="connsiteY16" fmla="*/ 103935 h 185730"/>
                <a:gd name="connsiteX17" fmla="*/ 97144 w 97173"/>
                <a:gd name="connsiteY17" fmla="*/ 117269 h 185730"/>
                <a:gd name="connsiteX18" fmla="*/ 95861 w 97173"/>
                <a:gd name="connsiteY18" fmla="*/ 130726 h 185730"/>
                <a:gd name="connsiteX19" fmla="*/ 91720 w 97173"/>
                <a:gd name="connsiteY19" fmla="*/ 143604 h 185730"/>
                <a:gd name="connsiteX20" fmla="*/ 88614 w 97173"/>
                <a:gd name="connsiteY20" fmla="*/ 156731 h 185730"/>
                <a:gd name="connsiteX21" fmla="*/ 81243 w 97173"/>
                <a:gd name="connsiteY21" fmla="*/ 167953 h 185730"/>
                <a:gd name="connsiteX22" fmla="*/ 72796 w 97173"/>
                <a:gd name="connsiteY22" fmla="*/ 178222 h 185730"/>
                <a:gd name="connsiteX23" fmla="*/ 61036 w 97173"/>
                <a:gd name="connsiteY23" fmla="*/ 184889 h 185730"/>
                <a:gd name="connsiteX24" fmla="*/ 47495 w 97173"/>
                <a:gd name="connsiteY24" fmla="*/ 185344 h 185730"/>
                <a:gd name="connsiteX25" fmla="*/ 34659 w 97173"/>
                <a:gd name="connsiteY25" fmla="*/ 181410 h 185730"/>
                <a:gd name="connsiteX26" fmla="*/ 22319 w 97173"/>
                <a:gd name="connsiteY26" fmla="*/ 176069 h 185730"/>
                <a:gd name="connsiteX27" fmla="*/ 11139 w 97173"/>
                <a:gd name="connsiteY27" fmla="*/ 168574 h 185730"/>
                <a:gd name="connsiteX28" fmla="*/ 0 w 97173"/>
                <a:gd name="connsiteY28" fmla="*/ 160872 h 18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7173" h="185730">
                  <a:moveTo>
                    <a:pt x="455" y="0"/>
                  </a:moveTo>
                  <a:cubicBezTo>
                    <a:pt x="3810" y="5507"/>
                    <a:pt x="3354" y="4141"/>
                    <a:pt x="6667" y="11222"/>
                  </a:cubicBezTo>
                  <a:cubicBezTo>
                    <a:pt x="8240" y="14617"/>
                    <a:pt x="9897" y="18634"/>
                    <a:pt x="11594" y="23064"/>
                  </a:cubicBezTo>
                  <a:cubicBezTo>
                    <a:pt x="13044" y="26833"/>
                    <a:pt x="14037" y="31015"/>
                    <a:pt x="15280" y="35363"/>
                  </a:cubicBezTo>
                  <a:cubicBezTo>
                    <a:pt x="16398" y="39379"/>
                    <a:pt x="17971" y="43437"/>
                    <a:pt x="18717" y="47744"/>
                  </a:cubicBezTo>
                  <a:cubicBezTo>
                    <a:pt x="19462" y="52050"/>
                    <a:pt x="19793" y="56233"/>
                    <a:pt x="19959" y="60539"/>
                  </a:cubicBezTo>
                  <a:cubicBezTo>
                    <a:pt x="20124" y="64846"/>
                    <a:pt x="20456" y="69152"/>
                    <a:pt x="19876" y="73417"/>
                  </a:cubicBezTo>
                  <a:cubicBezTo>
                    <a:pt x="19296" y="77682"/>
                    <a:pt x="18717" y="82279"/>
                    <a:pt x="20042" y="87041"/>
                  </a:cubicBezTo>
                  <a:cubicBezTo>
                    <a:pt x="21201" y="91140"/>
                    <a:pt x="23520" y="95281"/>
                    <a:pt x="25756" y="99463"/>
                  </a:cubicBezTo>
                  <a:cubicBezTo>
                    <a:pt x="27826" y="103355"/>
                    <a:pt x="31181" y="106627"/>
                    <a:pt x="33913" y="110312"/>
                  </a:cubicBezTo>
                  <a:cubicBezTo>
                    <a:pt x="36646" y="113997"/>
                    <a:pt x="39462" y="117393"/>
                    <a:pt x="42609" y="120540"/>
                  </a:cubicBezTo>
                  <a:cubicBezTo>
                    <a:pt x="45756" y="123687"/>
                    <a:pt x="48903" y="127289"/>
                    <a:pt x="52423" y="129815"/>
                  </a:cubicBezTo>
                  <a:cubicBezTo>
                    <a:pt x="56357" y="132590"/>
                    <a:pt x="60539" y="134453"/>
                    <a:pt x="64473" y="135820"/>
                  </a:cubicBezTo>
                  <a:cubicBezTo>
                    <a:pt x="69111" y="137435"/>
                    <a:pt x="73459" y="138014"/>
                    <a:pt x="77599" y="136979"/>
                  </a:cubicBezTo>
                  <a:cubicBezTo>
                    <a:pt x="81740" y="135944"/>
                    <a:pt x="85674" y="133915"/>
                    <a:pt x="88697" y="129650"/>
                  </a:cubicBezTo>
                  <a:cubicBezTo>
                    <a:pt x="90891" y="126544"/>
                    <a:pt x="92134" y="122196"/>
                    <a:pt x="93542" y="117020"/>
                  </a:cubicBezTo>
                  <a:cubicBezTo>
                    <a:pt x="94577" y="113211"/>
                    <a:pt x="95902" y="109028"/>
                    <a:pt x="96399" y="103935"/>
                  </a:cubicBezTo>
                  <a:cubicBezTo>
                    <a:pt x="96730" y="108159"/>
                    <a:pt x="97310" y="112590"/>
                    <a:pt x="97144" y="117269"/>
                  </a:cubicBezTo>
                  <a:cubicBezTo>
                    <a:pt x="96978" y="121658"/>
                    <a:pt x="96482" y="126213"/>
                    <a:pt x="95861" y="130726"/>
                  </a:cubicBezTo>
                  <a:cubicBezTo>
                    <a:pt x="95239" y="135240"/>
                    <a:pt x="92879" y="139298"/>
                    <a:pt x="91720" y="143604"/>
                  </a:cubicBezTo>
                  <a:cubicBezTo>
                    <a:pt x="90560" y="147911"/>
                    <a:pt x="90312" y="152673"/>
                    <a:pt x="88614" y="156731"/>
                  </a:cubicBezTo>
                  <a:cubicBezTo>
                    <a:pt x="86792" y="160996"/>
                    <a:pt x="83728" y="164391"/>
                    <a:pt x="81243" y="167953"/>
                  </a:cubicBezTo>
                  <a:cubicBezTo>
                    <a:pt x="78593" y="171762"/>
                    <a:pt x="76233" y="175530"/>
                    <a:pt x="72796" y="178222"/>
                  </a:cubicBezTo>
                  <a:cubicBezTo>
                    <a:pt x="69359" y="180913"/>
                    <a:pt x="65508" y="183729"/>
                    <a:pt x="61036" y="184889"/>
                  </a:cubicBezTo>
                  <a:cubicBezTo>
                    <a:pt x="56978" y="185965"/>
                    <a:pt x="52340" y="185882"/>
                    <a:pt x="47495" y="185344"/>
                  </a:cubicBezTo>
                  <a:cubicBezTo>
                    <a:pt x="43437" y="184889"/>
                    <a:pt x="39297" y="183149"/>
                    <a:pt x="34659" y="181410"/>
                  </a:cubicBezTo>
                  <a:cubicBezTo>
                    <a:pt x="30808" y="179961"/>
                    <a:pt x="26584" y="178512"/>
                    <a:pt x="22319" y="176069"/>
                  </a:cubicBezTo>
                  <a:cubicBezTo>
                    <a:pt x="18717" y="173998"/>
                    <a:pt x="15073" y="171431"/>
                    <a:pt x="11139" y="168574"/>
                  </a:cubicBezTo>
                  <a:cubicBezTo>
                    <a:pt x="7743" y="166089"/>
                    <a:pt x="3644" y="163977"/>
                    <a:pt x="0" y="160872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C4C45B4-8034-9264-E17F-EAC335D7778E}"/>
                </a:ext>
              </a:extLst>
            </p:cNvPr>
            <p:cNvSpPr/>
            <p:nvPr/>
          </p:nvSpPr>
          <p:spPr>
            <a:xfrm>
              <a:off x="8215176" y="3194520"/>
              <a:ext cx="17805" cy="46211"/>
            </a:xfrm>
            <a:custGeom>
              <a:avLst/>
              <a:gdLst>
                <a:gd name="connsiteX0" fmla="*/ 17806 w 17805"/>
                <a:gd name="connsiteY0" fmla="*/ 0 h 46211"/>
                <a:gd name="connsiteX1" fmla="*/ 10808 w 17805"/>
                <a:gd name="connsiteY1" fmla="*/ 11139 h 46211"/>
                <a:gd name="connsiteX2" fmla="*/ 4638 w 17805"/>
                <a:gd name="connsiteY2" fmla="*/ 22485 h 46211"/>
                <a:gd name="connsiteX3" fmla="*/ 0 w 17805"/>
                <a:gd name="connsiteY3" fmla="*/ 34659 h 46211"/>
                <a:gd name="connsiteX4" fmla="*/ 5797 w 17805"/>
                <a:gd name="connsiteY4" fmla="*/ 46212 h 46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05" h="46211">
                  <a:moveTo>
                    <a:pt x="17806" y="0"/>
                  </a:moveTo>
                  <a:cubicBezTo>
                    <a:pt x="13416" y="4886"/>
                    <a:pt x="14948" y="5052"/>
                    <a:pt x="10808" y="11139"/>
                  </a:cubicBezTo>
                  <a:cubicBezTo>
                    <a:pt x="8530" y="14534"/>
                    <a:pt x="6460" y="18427"/>
                    <a:pt x="4638" y="22485"/>
                  </a:cubicBezTo>
                  <a:cubicBezTo>
                    <a:pt x="2816" y="26543"/>
                    <a:pt x="0" y="30642"/>
                    <a:pt x="0" y="34659"/>
                  </a:cubicBezTo>
                  <a:cubicBezTo>
                    <a:pt x="0" y="39048"/>
                    <a:pt x="1781" y="43313"/>
                    <a:pt x="5797" y="46212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D51632E-DC35-F95E-0D7F-E2B7AE12F77F}"/>
                </a:ext>
              </a:extLst>
            </p:cNvPr>
            <p:cNvSpPr/>
            <p:nvPr/>
          </p:nvSpPr>
          <p:spPr>
            <a:xfrm>
              <a:off x="8083911" y="3080481"/>
              <a:ext cx="103397" cy="139199"/>
            </a:xfrm>
            <a:custGeom>
              <a:avLst/>
              <a:gdLst>
                <a:gd name="connsiteX0" fmla="*/ 103398 w 103397"/>
                <a:gd name="connsiteY0" fmla="*/ 94328 h 139199"/>
                <a:gd name="connsiteX1" fmla="*/ 89692 w 103397"/>
                <a:gd name="connsiteY1" fmla="*/ 96482 h 139199"/>
                <a:gd name="connsiteX2" fmla="*/ 76193 w 103397"/>
                <a:gd name="connsiteY2" fmla="*/ 99753 h 139199"/>
                <a:gd name="connsiteX3" fmla="*/ 62652 w 103397"/>
                <a:gd name="connsiteY3" fmla="*/ 102900 h 139199"/>
                <a:gd name="connsiteX4" fmla="*/ 49401 w 103397"/>
                <a:gd name="connsiteY4" fmla="*/ 107579 h 139199"/>
                <a:gd name="connsiteX5" fmla="*/ 43066 w 103397"/>
                <a:gd name="connsiteY5" fmla="*/ 97393 h 139199"/>
                <a:gd name="connsiteX6" fmla="*/ 36316 w 103397"/>
                <a:gd name="connsiteY6" fmla="*/ 85964 h 139199"/>
                <a:gd name="connsiteX7" fmla="*/ 32879 w 103397"/>
                <a:gd name="connsiteY7" fmla="*/ 73086 h 139199"/>
                <a:gd name="connsiteX8" fmla="*/ 27703 w 103397"/>
                <a:gd name="connsiteY8" fmla="*/ 60953 h 139199"/>
                <a:gd name="connsiteX9" fmla="*/ 21492 w 103397"/>
                <a:gd name="connsiteY9" fmla="*/ 49193 h 139199"/>
                <a:gd name="connsiteX10" fmla="*/ 17186 w 103397"/>
                <a:gd name="connsiteY10" fmla="*/ 36688 h 139199"/>
                <a:gd name="connsiteX11" fmla="*/ 12714 w 103397"/>
                <a:gd name="connsiteY11" fmla="*/ 24224 h 139199"/>
                <a:gd name="connsiteX12" fmla="*/ 7869 w 103397"/>
                <a:gd name="connsiteY12" fmla="*/ 11926 h 139199"/>
                <a:gd name="connsiteX13" fmla="*/ 2154 w 103397"/>
                <a:gd name="connsiteY13" fmla="*/ 0 h 139199"/>
                <a:gd name="connsiteX14" fmla="*/ 1 w 103397"/>
                <a:gd name="connsiteY14" fmla="*/ 13706 h 139199"/>
                <a:gd name="connsiteX15" fmla="*/ 374 w 103397"/>
                <a:gd name="connsiteY15" fmla="*/ 27619 h 139199"/>
                <a:gd name="connsiteX16" fmla="*/ 2693 w 103397"/>
                <a:gd name="connsiteY16" fmla="*/ 41367 h 139199"/>
                <a:gd name="connsiteX17" fmla="*/ 4887 w 103397"/>
                <a:gd name="connsiteY17" fmla="*/ 55073 h 139199"/>
                <a:gd name="connsiteX18" fmla="*/ 5757 w 103397"/>
                <a:gd name="connsiteY18" fmla="*/ 69069 h 139199"/>
                <a:gd name="connsiteX19" fmla="*/ 9070 w 103397"/>
                <a:gd name="connsiteY19" fmla="*/ 82610 h 139199"/>
                <a:gd name="connsiteX20" fmla="*/ 13335 w 103397"/>
                <a:gd name="connsiteY20" fmla="*/ 95902 h 139199"/>
                <a:gd name="connsiteX21" fmla="*/ 15778 w 103397"/>
                <a:gd name="connsiteY21" fmla="*/ 109691 h 139199"/>
                <a:gd name="connsiteX22" fmla="*/ 20747 w 103397"/>
                <a:gd name="connsiteY22" fmla="*/ 122776 h 139199"/>
                <a:gd name="connsiteX23" fmla="*/ 28407 w 103397"/>
                <a:gd name="connsiteY23" fmla="*/ 134577 h 139199"/>
                <a:gd name="connsiteX24" fmla="*/ 41451 w 103397"/>
                <a:gd name="connsiteY24" fmla="*/ 138470 h 139199"/>
                <a:gd name="connsiteX25" fmla="*/ 54992 w 103397"/>
                <a:gd name="connsiteY25" fmla="*/ 139174 h 139199"/>
                <a:gd name="connsiteX26" fmla="*/ 68615 w 103397"/>
                <a:gd name="connsiteY26" fmla="*/ 138180 h 139199"/>
                <a:gd name="connsiteX27" fmla="*/ 82445 w 103397"/>
                <a:gd name="connsiteY27" fmla="*/ 137476 h 139199"/>
                <a:gd name="connsiteX28" fmla="*/ 95903 w 103397"/>
                <a:gd name="connsiteY28" fmla="*/ 134495 h 13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3397" h="139199">
                  <a:moveTo>
                    <a:pt x="103398" y="94328"/>
                  </a:moveTo>
                  <a:cubicBezTo>
                    <a:pt x="96607" y="95695"/>
                    <a:pt x="97477" y="94784"/>
                    <a:pt x="89692" y="96482"/>
                  </a:cubicBezTo>
                  <a:cubicBezTo>
                    <a:pt x="85551" y="97393"/>
                    <a:pt x="80913" y="98635"/>
                    <a:pt x="76193" y="99753"/>
                  </a:cubicBezTo>
                  <a:cubicBezTo>
                    <a:pt x="71472" y="100871"/>
                    <a:pt x="66751" y="101740"/>
                    <a:pt x="62652" y="102900"/>
                  </a:cubicBezTo>
                  <a:cubicBezTo>
                    <a:pt x="56234" y="104722"/>
                    <a:pt x="50851" y="106254"/>
                    <a:pt x="49401" y="107579"/>
                  </a:cubicBezTo>
                  <a:cubicBezTo>
                    <a:pt x="48325" y="108573"/>
                    <a:pt x="46544" y="104639"/>
                    <a:pt x="43066" y="97393"/>
                  </a:cubicBezTo>
                  <a:cubicBezTo>
                    <a:pt x="41410" y="93997"/>
                    <a:pt x="38262" y="90477"/>
                    <a:pt x="36316" y="85964"/>
                  </a:cubicBezTo>
                  <a:cubicBezTo>
                    <a:pt x="34701" y="82196"/>
                    <a:pt x="34660" y="77351"/>
                    <a:pt x="32879" y="73086"/>
                  </a:cubicBezTo>
                  <a:cubicBezTo>
                    <a:pt x="31264" y="69111"/>
                    <a:pt x="29360" y="65094"/>
                    <a:pt x="27703" y="60953"/>
                  </a:cubicBezTo>
                  <a:cubicBezTo>
                    <a:pt x="26047" y="56812"/>
                    <a:pt x="23107" y="53293"/>
                    <a:pt x="21492" y="49193"/>
                  </a:cubicBezTo>
                  <a:cubicBezTo>
                    <a:pt x="19877" y="45094"/>
                    <a:pt x="18759" y="40663"/>
                    <a:pt x="17186" y="36688"/>
                  </a:cubicBezTo>
                  <a:cubicBezTo>
                    <a:pt x="15488" y="32381"/>
                    <a:pt x="14246" y="28075"/>
                    <a:pt x="12714" y="24224"/>
                  </a:cubicBezTo>
                  <a:cubicBezTo>
                    <a:pt x="10892" y="19669"/>
                    <a:pt x="9318" y="15487"/>
                    <a:pt x="7869" y="11926"/>
                  </a:cubicBezTo>
                  <a:cubicBezTo>
                    <a:pt x="5012" y="4886"/>
                    <a:pt x="2734" y="290"/>
                    <a:pt x="2154" y="0"/>
                  </a:cubicBezTo>
                  <a:cubicBezTo>
                    <a:pt x="705" y="1988"/>
                    <a:pt x="1" y="6957"/>
                    <a:pt x="1" y="13706"/>
                  </a:cubicBezTo>
                  <a:cubicBezTo>
                    <a:pt x="1" y="17723"/>
                    <a:pt x="-40" y="22443"/>
                    <a:pt x="374" y="27619"/>
                  </a:cubicBezTo>
                  <a:cubicBezTo>
                    <a:pt x="746" y="31926"/>
                    <a:pt x="2072" y="36481"/>
                    <a:pt x="2693" y="41367"/>
                  </a:cubicBezTo>
                  <a:cubicBezTo>
                    <a:pt x="3272" y="45798"/>
                    <a:pt x="4142" y="50394"/>
                    <a:pt x="4887" y="55073"/>
                  </a:cubicBezTo>
                  <a:cubicBezTo>
                    <a:pt x="5633" y="59752"/>
                    <a:pt x="4887" y="64473"/>
                    <a:pt x="5757" y="69069"/>
                  </a:cubicBezTo>
                  <a:cubicBezTo>
                    <a:pt x="6626" y="73666"/>
                    <a:pt x="8076" y="78138"/>
                    <a:pt x="9070" y="82610"/>
                  </a:cubicBezTo>
                  <a:cubicBezTo>
                    <a:pt x="10063" y="87082"/>
                    <a:pt x="12217" y="91554"/>
                    <a:pt x="13335" y="95902"/>
                  </a:cubicBezTo>
                  <a:cubicBezTo>
                    <a:pt x="14577" y="100622"/>
                    <a:pt x="14453" y="105550"/>
                    <a:pt x="15778" y="109691"/>
                  </a:cubicBezTo>
                  <a:cubicBezTo>
                    <a:pt x="17351" y="114577"/>
                    <a:pt x="19132" y="119008"/>
                    <a:pt x="20747" y="122776"/>
                  </a:cubicBezTo>
                  <a:cubicBezTo>
                    <a:pt x="23148" y="128366"/>
                    <a:pt x="26006" y="132548"/>
                    <a:pt x="28407" y="134577"/>
                  </a:cubicBezTo>
                  <a:cubicBezTo>
                    <a:pt x="31513" y="137228"/>
                    <a:pt x="36358" y="137600"/>
                    <a:pt x="41451" y="138470"/>
                  </a:cubicBezTo>
                  <a:cubicBezTo>
                    <a:pt x="45675" y="139174"/>
                    <a:pt x="50188" y="139257"/>
                    <a:pt x="54992" y="139174"/>
                  </a:cubicBezTo>
                  <a:cubicBezTo>
                    <a:pt x="59795" y="139091"/>
                    <a:pt x="64143" y="138760"/>
                    <a:pt x="68615" y="138180"/>
                  </a:cubicBezTo>
                  <a:cubicBezTo>
                    <a:pt x="73501" y="137559"/>
                    <a:pt x="78429" y="138263"/>
                    <a:pt x="82445" y="137476"/>
                  </a:cubicBezTo>
                  <a:cubicBezTo>
                    <a:pt x="90354" y="135944"/>
                    <a:pt x="89278" y="136317"/>
                    <a:pt x="95903" y="134495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1F6DEC7-228D-EA8F-8805-96019E20B55E}"/>
                </a:ext>
              </a:extLst>
            </p:cNvPr>
            <p:cNvSpPr/>
            <p:nvPr/>
          </p:nvSpPr>
          <p:spPr>
            <a:xfrm>
              <a:off x="8271575" y="3178246"/>
              <a:ext cx="95820" cy="212144"/>
            </a:xfrm>
            <a:custGeom>
              <a:avLst/>
              <a:gdLst>
                <a:gd name="connsiteX0" fmla="*/ 10435 w 95820"/>
                <a:gd name="connsiteY0" fmla="*/ 0 h 212144"/>
                <a:gd name="connsiteX1" fmla="*/ 19545 w 95820"/>
                <a:gd name="connsiteY1" fmla="*/ 9317 h 212144"/>
                <a:gd name="connsiteX2" fmla="*/ 26791 w 95820"/>
                <a:gd name="connsiteY2" fmla="*/ 20083 h 212144"/>
                <a:gd name="connsiteX3" fmla="*/ 34990 w 95820"/>
                <a:gd name="connsiteY3" fmla="*/ 30104 h 212144"/>
                <a:gd name="connsiteX4" fmla="*/ 43230 w 95820"/>
                <a:gd name="connsiteY4" fmla="*/ 40083 h 212144"/>
                <a:gd name="connsiteX5" fmla="*/ 49980 w 95820"/>
                <a:gd name="connsiteY5" fmla="*/ 51264 h 212144"/>
                <a:gd name="connsiteX6" fmla="*/ 59214 w 95820"/>
                <a:gd name="connsiteY6" fmla="*/ 60539 h 212144"/>
                <a:gd name="connsiteX7" fmla="*/ 66253 w 95820"/>
                <a:gd name="connsiteY7" fmla="*/ 71512 h 212144"/>
                <a:gd name="connsiteX8" fmla="*/ 73997 w 95820"/>
                <a:gd name="connsiteY8" fmla="*/ 81947 h 212144"/>
                <a:gd name="connsiteX9" fmla="*/ 82403 w 95820"/>
                <a:gd name="connsiteY9" fmla="*/ 91885 h 212144"/>
                <a:gd name="connsiteX10" fmla="*/ 89111 w 95820"/>
                <a:gd name="connsiteY10" fmla="*/ 103024 h 212144"/>
                <a:gd name="connsiteX11" fmla="*/ 95819 w 95820"/>
                <a:gd name="connsiteY11" fmla="*/ 113790 h 212144"/>
                <a:gd name="connsiteX12" fmla="*/ 90560 w 95820"/>
                <a:gd name="connsiteY12" fmla="*/ 127041 h 212144"/>
                <a:gd name="connsiteX13" fmla="*/ 82900 w 95820"/>
                <a:gd name="connsiteY13" fmla="*/ 139174 h 212144"/>
                <a:gd name="connsiteX14" fmla="*/ 76150 w 95820"/>
                <a:gd name="connsiteY14" fmla="*/ 151762 h 212144"/>
                <a:gd name="connsiteX15" fmla="*/ 69483 w 95820"/>
                <a:gd name="connsiteY15" fmla="*/ 164474 h 212144"/>
                <a:gd name="connsiteX16" fmla="*/ 61492 w 95820"/>
                <a:gd name="connsiteY16" fmla="*/ 176358 h 212144"/>
                <a:gd name="connsiteX17" fmla="*/ 53914 w 95820"/>
                <a:gd name="connsiteY17" fmla="*/ 188533 h 212144"/>
                <a:gd name="connsiteX18" fmla="*/ 46377 w 95820"/>
                <a:gd name="connsiteY18" fmla="*/ 200707 h 212144"/>
                <a:gd name="connsiteX19" fmla="*/ 37268 w 95820"/>
                <a:gd name="connsiteY19" fmla="*/ 212011 h 212144"/>
                <a:gd name="connsiteX20" fmla="*/ 37185 w 95820"/>
                <a:gd name="connsiteY20" fmla="*/ 199174 h 212144"/>
                <a:gd name="connsiteX21" fmla="*/ 40083 w 95820"/>
                <a:gd name="connsiteY21" fmla="*/ 186048 h 212144"/>
                <a:gd name="connsiteX22" fmla="*/ 42319 w 95820"/>
                <a:gd name="connsiteY22" fmla="*/ 172715 h 212144"/>
                <a:gd name="connsiteX23" fmla="*/ 46626 w 95820"/>
                <a:gd name="connsiteY23" fmla="*/ 159878 h 212144"/>
                <a:gd name="connsiteX24" fmla="*/ 49359 w 95820"/>
                <a:gd name="connsiteY24" fmla="*/ 146627 h 212144"/>
                <a:gd name="connsiteX25" fmla="*/ 53127 w 95820"/>
                <a:gd name="connsiteY25" fmla="*/ 133625 h 212144"/>
                <a:gd name="connsiteX26" fmla="*/ 57806 w 95820"/>
                <a:gd name="connsiteY26" fmla="*/ 120913 h 212144"/>
                <a:gd name="connsiteX27" fmla="*/ 60912 w 95820"/>
                <a:gd name="connsiteY27" fmla="*/ 108242 h 212144"/>
                <a:gd name="connsiteX28" fmla="*/ 52216 w 95820"/>
                <a:gd name="connsiteY28" fmla="*/ 99132 h 212144"/>
                <a:gd name="connsiteX29" fmla="*/ 44183 w 95820"/>
                <a:gd name="connsiteY29" fmla="*/ 89111 h 212144"/>
                <a:gd name="connsiteX30" fmla="*/ 35032 w 95820"/>
                <a:gd name="connsiteY30" fmla="*/ 80125 h 212144"/>
                <a:gd name="connsiteX31" fmla="*/ 26336 w 95820"/>
                <a:gd name="connsiteY31" fmla="*/ 70684 h 212144"/>
                <a:gd name="connsiteX32" fmla="*/ 17474 w 95820"/>
                <a:gd name="connsiteY32" fmla="*/ 61409 h 212144"/>
                <a:gd name="connsiteX33" fmla="*/ 7661 w 95820"/>
                <a:gd name="connsiteY33" fmla="*/ 53003 h 212144"/>
                <a:gd name="connsiteX34" fmla="*/ 0 w 95820"/>
                <a:gd name="connsiteY34" fmla="*/ 42568 h 212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95820" h="212144">
                  <a:moveTo>
                    <a:pt x="10435" y="0"/>
                  </a:moveTo>
                  <a:cubicBezTo>
                    <a:pt x="14493" y="5052"/>
                    <a:pt x="14534" y="3023"/>
                    <a:pt x="19545" y="9317"/>
                  </a:cubicBezTo>
                  <a:cubicBezTo>
                    <a:pt x="21864" y="12215"/>
                    <a:pt x="23810" y="16274"/>
                    <a:pt x="26791" y="20083"/>
                  </a:cubicBezTo>
                  <a:cubicBezTo>
                    <a:pt x="29276" y="23230"/>
                    <a:pt x="32174" y="26501"/>
                    <a:pt x="34990" y="30104"/>
                  </a:cubicBezTo>
                  <a:cubicBezTo>
                    <a:pt x="37557" y="33375"/>
                    <a:pt x="40497" y="36564"/>
                    <a:pt x="43230" y="40083"/>
                  </a:cubicBezTo>
                  <a:cubicBezTo>
                    <a:pt x="45963" y="43603"/>
                    <a:pt x="47288" y="47827"/>
                    <a:pt x="49980" y="51264"/>
                  </a:cubicBezTo>
                  <a:cubicBezTo>
                    <a:pt x="52672" y="54701"/>
                    <a:pt x="56605" y="57102"/>
                    <a:pt x="59214" y="60539"/>
                  </a:cubicBezTo>
                  <a:cubicBezTo>
                    <a:pt x="61823" y="63976"/>
                    <a:pt x="63686" y="68117"/>
                    <a:pt x="66253" y="71512"/>
                  </a:cubicBezTo>
                  <a:cubicBezTo>
                    <a:pt x="68945" y="75073"/>
                    <a:pt x="71512" y="78593"/>
                    <a:pt x="73997" y="81947"/>
                  </a:cubicBezTo>
                  <a:cubicBezTo>
                    <a:pt x="76730" y="85633"/>
                    <a:pt x="80042" y="88614"/>
                    <a:pt x="82403" y="91885"/>
                  </a:cubicBezTo>
                  <a:cubicBezTo>
                    <a:pt x="85260" y="95819"/>
                    <a:pt x="87040" y="99960"/>
                    <a:pt x="89111" y="103024"/>
                  </a:cubicBezTo>
                  <a:cubicBezTo>
                    <a:pt x="93210" y="108987"/>
                    <a:pt x="95902" y="112714"/>
                    <a:pt x="95819" y="113790"/>
                  </a:cubicBezTo>
                  <a:cubicBezTo>
                    <a:pt x="95695" y="115115"/>
                    <a:pt x="94121" y="120209"/>
                    <a:pt x="90560" y="127041"/>
                  </a:cubicBezTo>
                  <a:cubicBezTo>
                    <a:pt x="88614" y="130726"/>
                    <a:pt x="85467" y="134536"/>
                    <a:pt x="82900" y="139174"/>
                  </a:cubicBezTo>
                  <a:cubicBezTo>
                    <a:pt x="80705" y="143107"/>
                    <a:pt x="78635" y="147455"/>
                    <a:pt x="76150" y="151762"/>
                  </a:cubicBezTo>
                  <a:cubicBezTo>
                    <a:pt x="73831" y="155820"/>
                    <a:pt x="71968" y="160333"/>
                    <a:pt x="69483" y="164474"/>
                  </a:cubicBezTo>
                  <a:cubicBezTo>
                    <a:pt x="66999" y="168615"/>
                    <a:pt x="63935" y="172383"/>
                    <a:pt x="61492" y="176358"/>
                  </a:cubicBezTo>
                  <a:cubicBezTo>
                    <a:pt x="58883" y="180624"/>
                    <a:pt x="56357" y="184723"/>
                    <a:pt x="53914" y="188533"/>
                  </a:cubicBezTo>
                  <a:cubicBezTo>
                    <a:pt x="51057" y="193005"/>
                    <a:pt x="48779" y="197311"/>
                    <a:pt x="46377" y="200707"/>
                  </a:cubicBezTo>
                  <a:cubicBezTo>
                    <a:pt x="42195" y="206669"/>
                    <a:pt x="39007" y="211100"/>
                    <a:pt x="37268" y="212011"/>
                  </a:cubicBezTo>
                  <a:cubicBezTo>
                    <a:pt x="35239" y="213088"/>
                    <a:pt x="35611" y="207539"/>
                    <a:pt x="37185" y="199174"/>
                  </a:cubicBezTo>
                  <a:cubicBezTo>
                    <a:pt x="37889" y="195365"/>
                    <a:pt x="38924" y="190934"/>
                    <a:pt x="40083" y="186048"/>
                  </a:cubicBezTo>
                  <a:cubicBezTo>
                    <a:pt x="41077" y="181949"/>
                    <a:pt x="41119" y="177269"/>
                    <a:pt x="42319" y="172715"/>
                  </a:cubicBezTo>
                  <a:cubicBezTo>
                    <a:pt x="43437" y="168449"/>
                    <a:pt x="45425" y="164267"/>
                    <a:pt x="46626" y="159878"/>
                  </a:cubicBezTo>
                  <a:cubicBezTo>
                    <a:pt x="47827" y="155489"/>
                    <a:pt x="48158" y="150851"/>
                    <a:pt x="49359" y="146627"/>
                  </a:cubicBezTo>
                  <a:cubicBezTo>
                    <a:pt x="50642" y="142114"/>
                    <a:pt x="51926" y="137724"/>
                    <a:pt x="53127" y="133625"/>
                  </a:cubicBezTo>
                  <a:cubicBezTo>
                    <a:pt x="54535" y="128822"/>
                    <a:pt x="56688" y="124681"/>
                    <a:pt x="57806" y="120913"/>
                  </a:cubicBezTo>
                  <a:cubicBezTo>
                    <a:pt x="60166" y="113045"/>
                    <a:pt x="63976" y="114246"/>
                    <a:pt x="60912" y="108242"/>
                  </a:cubicBezTo>
                  <a:cubicBezTo>
                    <a:pt x="58013" y="102527"/>
                    <a:pt x="56605" y="103769"/>
                    <a:pt x="52216" y="99132"/>
                  </a:cubicBezTo>
                  <a:cubicBezTo>
                    <a:pt x="47827" y="94494"/>
                    <a:pt x="48613" y="93749"/>
                    <a:pt x="44183" y="89111"/>
                  </a:cubicBezTo>
                  <a:cubicBezTo>
                    <a:pt x="39752" y="84473"/>
                    <a:pt x="39462" y="84763"/>
                    <a:pt x="35032" y="80125"/>
                  </a:cubicBezTo>
                  <a:cubicBezTo>
                    <a:pt x="30601" y="75488"/>
                    <a:pt x="30766" y="75322"/>
                    <a:pt x="26336" y="70684"/>
                  </a:cubicBezTo>
                  <a:cubicBezTo>
                    <a:pt x="21905" y="66046"/>
                    <a:pt x="21905" y="66046"/>
                    <a:pt x="17474" y="61409"/>
                  </a:cubicBezTo>
                  <a:cubicBezTo>
                    <a:pt x="13044" y="56771"/>
                    <a:pt x="12133" y="57641"/>
                    <a:pt x="7661" y="53003"/>
                  </a:cubicBezTo>
                  <a:cubicBezTo>
                    <a:pt x="3188" y="48365"/>
                    <a:pt x="4431" y="47206"/>
                    <a:pt x="0" y="42568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4411189-4588-6A23-3D2B-14484548A9FD}"/>
                </a:ext>
              </a:extLst>
            </p:cNvPr>
            <p:cNvSpPr/>
            <p:nvPr/>
          </p:nvSpPr>
          <p:spPr>
            <a:xfrm>
              <a:off x="8163126" y="2970459"/>
              <a:ext cx="152093" cy="203123"/>
            </a:xfrm>
            <a:custGeom>
              <a:avLst/>
              <a:gdLst>
                <a:gd name="connsiteX0" fmla="*/ 152093 w 152093"/>
                <a:gd name="connsiteY0" fmla="*/ 101989 h 203123"/>
                <a:gd name="connsiteX1" fmla="*/ 150561 w 152093"/>
                <a:gd name="connsiteY1" fmla="*/ 115861 h 203123"/>
                <a:gd name="connsiteX2" fmla="*/ 148946 w 152093"/>
                <a:gd name="connsiteY2" fmla="*/ 129691 h 203123"/>
                <a:gd name="connsiteX3" fmla="*/ 144515 w 152093"/>
                <a:gd name="connsiteY3" fmla="*/ 142900 h 203123"/>
                <a:gd name="connsiteX4" fmla="*/ 140871 w 152093"/>
                <a:gd name="connsiteY4" fmla="*/ 156482 h 203123"/>
                <a:gd name="connsiteX5" fmla="*/ 133045 w 152093"/>
                <a:gd name="connsiteY5" fmla="*/ 168118 h 203123"/>
                <a:gd name="connsiteX6" fmla="*/ 124474 w 152093"/>
                <a:gd name="connsiteY6" fmla="*/ 179009 h 203123"/>
                <a:gd name="connsiteX7" fmla="*/ 114950 w 152093"/>
                <a:gd name="connsiteY7" fmla="*/ 189154 h 203123"/>
                <a:gd name="connsiteX8" fmla="*/ 103438 w 152093"/>
                <a:gd name="connsiteY8" fmla="*/ 197145 h 203123"/>
                <a:gd name="connsiteX9" fmla="*/ 90105 w 152093"/>
                <a:gd name="connsiteY9" fmla="*/ 201493 h 203123"/>
                <a:gd name="connsiteX10" fmla="*/ 76274 w 152093"/>
                <a:gd name="connsiteY10" fmla="*/ 203108 h 203123"/>
                <a:gd name="connsiteX11" fmla="*/ 62278 w 152093"/>
                <a:gd name="connsiteY11" fmla="*/ 202197 h 203123"/>
                <a:gd name="connsiteX12" fmla="*/ 49152 w 152093"/>
                <a:gd name="connsiteY12" fmla="*/ 197063 h 203123"/>
                <a:gd name="connsiteX13" fmla="*/ 37557 w 152093"/>
                <a:gd name="connsiteY13" fmla="*/ 189195 h 203123"/>
                <a:gd name="connsiteX14" fmla="*/ 28199 w 152093"/>
                <a:gd name="connsiteY14" fmla="*/ 178884 h 203123"/>
                <a:gd name="connsiteX15" fmla="*/ 18592 w 152093"/>
                <a:gd name="connsiteY15" fmla="*/ 168656 h 203123"/>
                <a:gd name="connsiteX16" fmla="*/ 13002 w 152093"/>
                <a:gd name="connsiteY16" fmla="*/ 155820 h 203123"/>
                <a:gd name="connsiteX17" fmla="*/ 6915 w 152093"/>
                <a:gd name="connsiteY17" fmla="*/ 143273 h 203123"/>
                <a:gd name="connsiteX18" fmla="*/ 4431 w 152093"/>
                <a:gd name="connsiteY18" fmla="*/ 129526 h 203123"/>
                <a:gd name="connsiteX19" fmla="*/ 1449 w 152093"/>
                <a:gd name="connsiteY19" fmla="*/ 115902 h 203123"/>
                <a:gd name="connsiteX20" fmla="*/ 0 w 152093"/>
                <a:gd name="connsiteY20" fmla="*/ 101948 h 203123"/>
                <a:gd name="connsiteX21" fmla="*/ 1408 w 152093"/>
                <a:gd name="connsiteY21" fmla="*/ 87993 h 203123"/>
                <a:gd name="connsiteX22" fmla="*/ 3768 w 152093"/>
                <a:gd name="connsiteY22" fmla="*/ 74245 h 203123"/>
                <a:gd name="connsiteX23" fmla="*/ 6377 w 152093"/>
                <a:gd name="connsiteY23" fmla="*/ 60456 h 203123"/>
                <a:gd name="connsiteX24" fmla="*/ 12174 w 152093"/>
                <a:gd name="connsiteY24" fmla="*/ 47661 h 203123"/>
                <a:gd name="connsiteX25" fmla="*/ 18427 w 152093"/>
                <a:gd name="connsiteY25" fmla="*/ 35114 h 203123"/>
                <a:gd name="connsiteX26" fmla="*/ 27371 w 152093"/>
                <a:gd name="connsiteY26" fmla="*/ 24265 h 203123"/>
                <a:gd name="connsiteX27" fmla="*/ 37143 w 152093"/>
                <a:gd name="connsiteY27" fmla="*/ 14162 h 203123"/>
                <a:gd name="connsiteX28" fmla="*/ 49028 w 152093"/>
                <a:gd name="connsiteY28" fmla="*/ 6584 h 203123"/>
                <a:gd name="connsiteX29" fmla="*/ 62527 w 152093"/>
                <a:gd name="connsiteY29" fmla="*/ 2774 h 203123"/>
                <a:gd name="connsiteX30" fmla="*/ 76233 w 152093"/>
                <a:gd name="connsiteY30" fmla="*/ 0 h 203123"/>
                <a:gd name="connsiteX31" fmla="*/ 89981 w 152093"/>
                <a:gd name="connsiteY31" fmla="*/ 2650 h 203123"/>
                <a:gd name="connsiteX32" fmla="*/ 102941 w 152093"/>
                <a:gd name="connsiteY32" fmla="*/ 7536 h 203123"/>
                <a:gd name="connsiteX33" fmla="*/ 115240 w 152093"/>
                <a:gd name="connsiteY33" fmla="*/ 14244 h 203123"/>
                <a:gd name="connsiteX34" fmla="*/ 125095 w 152093"/>
                <a:gd name="connsiteY34" fmla="*/ 24224 h 203123"/>
                <a:gd name="connsiteX35" fmla="*/ 134039 w 152093"/>
                <a:gd name="connsiteY35" fmla="*/ 35073 h 203123"/>
                <a:gd name="connsiteX36" fmla="*/ 139712 w 152093"/>
                <a:gd name="connsiteY36" fmla="*/ 47910 h 203123"/>
                <a:gd name="connsiteX37" fmla="*/ 145509 w 152093"/>
                <a:gd name="connsiteY37" fmla="*/ 60622 h 203123"/>
                <a:gd name="connsiteX38" fmla="*/ 148284 w 152093"/>
                <a:gd name="connsiteY38" fmla="*/ 74328 h 203123"/>
                <a:gd name="connsiteX39" fmla="*/ 150520 w 152093"/>
                <a:gd name="connsiteY39" fmla="*/ 88034 h 203123"/>
                <a:gd name="connsiteX40" fmla="*/ 152010 w 152093"/>
                <a:gd name="connsiteY40" fmla="*/ 101906 h 203123"/>
                <a:gd name="connsiteX41" fmla="*/ 152093 w 152093"/>
                <a:gd name="connsiteY41" fmla="*/ 101989 h 203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52093" h="203123">
                  <a:moveTo>
                    <a:pt x="152093" y="101989"/>
                  </a:moveTo>
                  <a:cubicBezTo>
                    <a:pt x="152093" y="106709"/>
                    <a:pt x="151016" y="111306"/>
                    <a:pt x="150561" y="115861"/>
                  </a:cubicBezTo>
                  <a:cubicBezTo>
                    <a:pt x="150105" y="120416"/>
                    <a:pt x="149898" y="125219"/>
                    <a:pt x="148946" y="129691"/>
                  </a:cubicBezTo>
                  <a:cubicBezTo>
                    <a:pt x="147994" y="134163"/>
                    <a:pt x="145965" y="138553"/>
                    <a:pt x="144515" y="142900"/>
                  </a:cubicBezTo>
                  <a:cubicBezTo>
                    <a:pt x="143066" y="147248"/>
                    <a:pt x="142818" y="152342"/>
                    <a:pt x="140871" y="156482"/>
                  </a:cubicBezTo>
                  <a:cubicBezTo>
                    <a:pt x="138925" y="160623"/>
                    <a:pt x="135530" y="164309"/>
                    <a:pt x="133045" y="168118"/>
                  </a:cubicBezTo>
                  <a:cubicBezTo>
                    <a:pt x="130561" y="171928"/>
                    <a:pt x="127497" y="175613"/>
                    <a:pt x="124474" y="179009"/>
                  </a:cubicBezTo>
                  <a:cubicBezTo>
                    <a:pt x="121451" y="182404"/>
                    <a:pt x="118511" y="186338"/>
                    <a:pt x="114950" y="189154"/>
                  </a:cubicBezTo>
                  <a:cubicBezTo>
                    <a:pt x="111389" y="191969"/>
                    <a:pt x="107538" y="195075"/>
                    <a:pt x="103438" y="197145"/>
                  </a:cubicBezTo>
                  <a:cubicBezTo>
                    <a:pt x="99339" y="199216"/>
                    <a:pt x="94618" y="200375"/>
                    <a:pt x="90105" y="201493"/>
                  </a:cubicBezTo>
                  <a:cubicBezTo>
                    <a:pt x="85591" y="202611"/>
                    <a:pt x="80995" y="203108"/>
                    <a:pt x="76274" y="203108"/>
                  </a:cubicBezTo>
                  <a:cubicBezTo>
                    <a:pt x="71554" y="203108"/>
                    <a:pt x="66750" y="203315"/>
                    <a:pt x="62278" y="202197"/>
                  </a:cubicBezTo>
                  <a:cubicBezTo>
                    <a:pt x="57806" y="201079"/>
                    <a:pt x="53334" y="199216"/>
                    <a:pt x="49152" y="197063"/>
                  </a:cubicBezTo>
                  <a:cubicBezTo>
                    <a:pt x="44970" y="194909"/>
                    <a:pt x="41284" y="192135"/>
                    <a:pt x="37557" y="189195"/>
                  </a:cubicBezTo>
                  <a:cubicBezTo>
                    <a:pt x="33831" y="186255"/>
                    <a:pt x="31346" y="182445"/>
                    <a:pt x="28199" y="178884"/>
                  </a:cubicBezTo>
                  <a:cubicBezTo>
                    <a:pt x="25052" y="175323"/>
                    <a:pt x="21201" y="172673"/>
                    <a:pt x="18592" y="168656"/>
                  </a:cubicBezTo>
                  <a:cubicBezTo>
                    <a:pt x="15984" y="164640"/>
                    <a:pt x="15031" y="160085"/>
                    <a:pt x="13002" y="155820"/>
                  </a:cubicBezTo>
                  <a:cubicBezTo>
                    <a:pt x="10973" y="151555"/>
                    <a:pt x="8406" y="147745"/>
                    <a:pt x="6915" y="143273"/>
                  </a:cubicBezTo>
                  <a:cubicBezTo>
                    <a:pt x="5424" y="138801"/>
                    <a:pt x="5424" y="134163"/>
                    <a:pt x="4431" y="129526"/>
                  </a:cubicBezTo>
                  <a:cubicBezTo>
                    <a:pt x="3437" y="124888"/>
                    <a:pt x="1905" y="120623"/>
                    <a:pt x="1449" y="115902"/>
                  </a:cubicBezTo>
                  <a:cubicBezTo>
                    <a:pt x="994" y="111182"/>
                    <a:pt x="0" y="106709"/>
                    <a:pt x="0" y="101948"/>
                  </a:cubicBezTo>
                  <a:cubicBezTo>
                    <a:pt x="0" y="97186"/>
                    <a:pt x="952" y="92548"/>
                    <a:pt x="1408" y="87993"/>
                  </a:cubicBezTo>
                  <a:cubicBezTo>
                    <a:pt x="1863" y="83438"/>
                    <a:pt x="2816" y="78717"/>
                    <a:pt x="3768" y="74245"/>
                  </a:cubicBezTo>
                  <a:cubicBezTo>
                    <a:pt x="4721" y="69773"/>
                    <a:pt x="4969" y="64804"/>
                    <a:pt x="6377" y="60456"/>
                  </a:cubicBezTo>
                  <a:cubicBezTo>
                    <a:pt x="7785" y="56108"/>
                    <a:pt x="10228" y="51802"/>
                    <a:pt x="12174" y="47661"/>
                  </a:cubicBezTo>
                  <a:cubicBezTo>
                    <a:pt x="14120" y="43520"/>
                    <a:pt x="15942" y="38924"/>
                    <a:pt x="18427" y="35114"/>
                  </a:cubicBezTo>
                  <a:cubicBezTo>
                    <a:pt x="20911" y="31305"/>
                    <a:pt x="24348" y="27702"/>
                    <a:pt x="27371" y="24265"/>
                  </a:cubicBezTo>
                  <a:cubicBezTo>
                    <a:pt x="30394" y="20828"/>
                    <a:pt x="33582" y="17019"/>
                    <a:pt x="37143" y="14162"/>
                  </a:cubicBezTo>
                  <a:cubicBezTo>
                    <a:pt x="40704" y="11304"/>
                    <a:pt x="44928" y="8654"/>
                    <a:pt x="49028" y="6584"/>
                  </a:cubicBezTo>
                  <a:cubicBezTo>
                    <a:pt x="53127" y="4514"/>
                    <a:pt x="58013" y="3892"/>
                    <a:pt x="62527" y="2774"/>
                  </a:cubicBezTo>
                  <a:cubicBezTo>
                    <a:pt x="67040" y="1656"/>
                    <a:pt x="71512" y="0"/>
                    <a:pt x="76233" y="0"/>
                  </a:cubicBezTo>
                  <a:cubicBezTo>
                    <a:pt x="80953" y="0"/>
                    <a:pt x="85508" y="1574"/>
                    <a:pt x="89981" y="2650"/>
                  </a:cubicBezTo>
                  <a:cubicBezTo>
                    <a:pt x="94453" y="3727"/>
                    <a:pt x="98759" y="5383"/>
                    <a:pt x="102941" y="7536"/>
                  </a:cubicBezTo>
                  <a:cubicBezTo>
                    <a:pt x="107124" y="9690"/>
                    <a:pt x="111554" y="11304"/>
                    <a:pt x="115240" y="14244"/>
                  </a:cubicBezTo>
                  <a:cubicBezTo>
                    <a:pt x="118925" y="17184"/>
                    <a:pt x="121948" y="20663"/>
                    <a:pt x="125095" y="24224"/>
                  </a:cubicBezTo>
                  <a:cubicBezTo>
                    <a:pt x="128242" y="27785"/>
                    <a:pt x="131430" y="31056"/>
                    <a:pt x="134039" y="35073"/>
                  </a:cubicBezTo>
                  <a:cubicBezTo>
                    <a:pt x="136648" y="39090"/>
                    <a:pt x="137683" y="43603"/>
                    <a:pt x="139712" y="47910"/>
                  </a:cubicBezTo>
                  <a:cubicBezTo>
                    <a:pt x="141741" y="52216"/>
                    <a:pt x="144018" y="56108"/>
                    <a:pt x="145509" y="60622"/>
                  </a:cubicBezTo>
                  <a:cubicBezTo>
                    <a:pt x="147000" y="65135"/>
                    <a:pt x="147290" y="69690"/>
                    <a:pt x="148284" y="74328"/>
                  </a:cubicBezTo>
                  <a:cubicBezTo>
                    <a:pt x="149277" y="78966"/>
                    <a:pt x="150023" y="83314"/>
                    <a:pt x="150520" y="88034"/>
                  </a:cubicBezTo>
                  <a:cubicBezTo>
                    <a:pt x="151016" y="92755"/>
                    <a:pt x="152010" y="97186"/>
                    <a:pt x="152010" y="101906"/>
                  </a:cubicBezTo>
                  <a:lnTo>
                    <a:pt x="152093" y="101989"/>
                  </a:lnTo>
                  <a:close/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CE3A82-AA22-36B3-604E-B1D407D887C8}"/>
                </a:ext>
              </a:extLst>
            </p:cNvPr>
            <p:cNvSpPr/>
            <p:nvPr/>
          </p:nvSpPr>
          <p:spPr>
            <a:xfrm>
              <a:off x="8223831" y="3617134"/>
              <a:ext cx="130146" cy="1739"/>
            </a:xfrm>
            <a:custGeom>
              <a:avLst/>
              <a:gdLst>
                <a:gd name="connsiteX0" fmla="*/ 130147 w 130146"/>
                <a:gd name="connsiteY0" fmla="*/ 787 h 1739"/>
                <a:gd name="connsiteX1" fmla="*/ 117144 w 130146"/>
                <a:gd name="connsiteY1" fmla="*/ 1242 h 1739"/>
                <a:gd name="connsiteX2" fmla="*/ 104142 w 130146"/>
                <a:gd name="connsiteY2" fmla="*/ 1077 h 1739"/>
                <a:gd name="connsiteX3" fmla="*/ 91140 w 130146"/>
                <a:gd name="connsiteY3" fmla="*/ 1739 h 1739"/>
                <a:gd name="connsiteX4" fmla="*/ 78138 w 130146"/>
                <a:gd name="connsiteY4" fmla="*/ 1201 h 1739"/>
                <a:gd name="connsiteX5" fmla="*/ 65135 w 130146"/>
                <a:gd name="connsiteY5" fmla="*/ 1573 h 1739"/>
                <a:gd name="connsiteX6" fmla="*/ 52133 w 130146"/>
                <a:gd name="connsiteY6" fmla="*/ 1449 h 1739"/>
                <a:gd name="connsiteX7" fmla="*/ 39131 w 130146"/>
                <a:gd name="connsiteY7" fmla="*/ 1035 h 1739"/>
                <a:gd name="connsiteX8" fmla="*/ 26087 w 130146"/>
                <a:gd name="connsiteY8" fmla="*/ 1573 h 1739"/>
                <a:gd name="connsiteX9" fmla="*/ 13044 w 130146"/>
                <a:gd name="connsiteY9" fmla="*/ 0 h 1739"/>
                <a:gd name="connsiteX10" fmla="*/ 0 w 130146"/>
                <a:gd name="connsiteY10" fmla="*/ 1201 h 1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0146" h="1739">
                  <a:moveTo>
                    <a:pt x="130147" y="787"/>
                  </a:moveTo>
                  <a:cubicBezTo>
                    <a:pt x="128987" y="787"/>
                    <a:pt x="124515" y="1242"/>
                    <a:pt x="117144" y="1242"/>
                  </a:cubicBezTo>
                  <a:cubicBezTo>
                    <a:pt x="113500" y="1242"/>
                    <a:pt x="109153" y="1077"/>
                    <a:pt x="104142" y="1077"/>
                  </a:cubicBezTo>
                  <a:cubicBezTo>
                    <a:pt x="100208" y="1077"/>
                    <a:pt x="95860" y="1739"/>
                    <a:pt x="91140" y="1739"/>
                  </a:cubicBezTo>
                  <a:cubicBezTo>
                    <a:pt x="87082" y="1739"/>
                    <a:pt x="82734" y="1201"/>
                    <a:pt x="78138" y="1201"/>
                  </a:cubicBezTo>
                  <a:cubicBezTo>
                    <a:pt x="73997" y="1201"/>
                    <a:pt x="69649" y="1573"/>
                    <a:pt x="65135" y="1573"/>
                  </a:cubicBezTo>
                  <a:cubicBezTo>
                    <a:pt x="60953" y="1573"/>
                    <a:pt x="56605" y="1449"/>
                    <a:pt x="52133" y="1449"/>
                  </a:cubicBezTo>
                  <a:cubicBezTo>
                    <a:pt x="47910" y="1449"/>
                    <a:pt x="43603" y="1035"/>
                    <a:pt x="39131" y="1035"/>
                  </a:cubicBezTo>
                  <a:cubicBezTo>
                    <a:pt x="34907" y="1035"/>
                    <a:pt x="30559" y="1573"/>
                    <a:pt x="26087" y="1573"/>
                  </a:cubicBezTo>
                  <a:cubicBezTo>
                    <a:pt x="21615" y="1573"/>
                    <a:pt x="17474" y="0"/>
                    <a:pt x="13044" y="0"/>
                  </a:cubicBezTo>
                  <a:cubicBezTo>
                    <a:pt x="8613" y="0"/>
                    <a:pt x="4431" y="1201"/>
                    <a:pt x="0" y="1201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</a:endParaRPr>
            </a:p>
          </p:txBody>
        </p:sp>
      </p:grp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316D9A18-CA11-8D70-C6DF-41555AA395B7}"/>
              </a:ext>
            </a:extLst>
          </p:cNvPr>
          <p:cNvSpPr/>
          <p:nvPr/>
        </p:nvSpPr>
        <p:spPr>
          <a:xfrm rot="10800000">
            <a:off x="352433" y="1743075"/>
            <a:ext cx="5620678" cy="2755774"/>
          </a:xfrm>
          <a:prstGeom prst="round2SameRect">
            <a:avLst>
              <a:gd name="adj1" fmla="val 8065"/>
              <a:gd name="adj2" fmla="val 0"/>
            </a:avLst>
          </a:prstGeom>
          <a:noFill/>
          <a:ln w="12700">
            <a:solidFill>
              <a:srgbClr val="B5CE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56AD1B-2591-1754-A3C0-AA9CAEAFE2C0}"/>
              </a:ext>
            </a:extLst>
          </p:cNvPr>
          <p:cNvSpPr>
            <a:spLocks/>
          </p:cNvSpPr>
          <p:nvPr/>
        </p:nvSpPr>
        <p:spPr>
          <a:xfrm>
            <a:off x="362451" y="2209934"/>
            <a:ext cx="5611300" cy="22788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45720" rIns="36000" bIns="45720" rtlCol="0" anchor="t"/>
          <a:lstStyle/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Anne Bach Waagstein – kommunikationsdirektør, Forenet Kredit</a:t>
            </a: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Erik Lønne Gottfredsen – direktør, </a:t>
            </a:r>
            <a:r>
              <a:rPr lang="da-DK" sz="1300" err="1">
                <a:solidFill>
                  <a:schemeClr val="tx1"/>
                </a:solidFill>
                <a:latin typeface="Verdana"/>
                <a:ea typeface="Verdana"/>
              </a:rPr>
              <a:t>Alfabo</a:t>
            </a: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Helle Juul – adm.- og udviklingschef, Landsbyggefonden</a:t>
            </a:r>
          </a:p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Liv Jørgensen – udviklingskonsulent, BL</a:t>
            </a:r>
          </a:p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Ole Nielsen – adm. direktør, Boligselskabet Sct. Jørgen</a:t>
            </a:r>
          </a:p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Thomas Holluf Nielsen – adm. direktør, Domea.dk</a:t>
            </a:r>
          </a:p>
          <a:p>
            <a:pPr marL="229870" indent="-22987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/>
                <a:ea typeface="Verdana"/>
              </a:rPr>
              <a:t>Tonny Thierry Andersen – koncerndirektør, Nykredi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626433-6FC8-4B9A-D293-520738CB6808}"/>
              </a:ext>
            </a:extLst>
          </p:cNvPr>
          <p:cNvSpPr>
            <a:spLocks/>
          </p:cNvSpPr>
          <p:nvPr/>
        </p:nvSpPr>
        <p:spPr>
          <a:xfrm>
            <a:off x="352432" y="1743075"/>
            <a:ext cx="5620678" cy="476885"/>
          </a:xfrm>
          <a:prstGeom prst="rect">
            <a:avLst/>
          </a:prstGeom>
          <a:solidFill>
            <a:schemeClr val="accent3"/>
          </a:solidFill>
          <a:ln>
            <a:solidFill>
              <a:srgbClr val="B5CE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/>
          <a:p>
            <a:pPr marL="422275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yregruppe</a:t>
            </a: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75D9F175-525B-838E-36E5-906E4D14CC75}"/>
              </a:ext>
            </a:extLst>
          </p:cNvPr>
          <p:cNvSpPr/>
          <p:nvPr/>
        </p:nvSpPr>
        <p:spPr>
          <a:xfrm rot="10800000">
            <a:off x="6218894" y="1743075"/>
            <a:ext cx="5620678" cy="4379913"/>
          </a:xfrm>
          <a:prstGeom prst="round2SameRect">
            <a:avLst>
              <a:gd name="adj1" fmla="val 5533"/>
              <a:gd name="adj2" fmla="val 0"/>
            </a:avLst>
          </a:prstGeom>
          <a:noFill/>
          <a:ln w="12700">
            <a:solidFill>
              <a:srgbClr val="FCD9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1300">
              <a:latin typeface="Verdana" panose="020B060403050404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FA5C62D-53E9-AB9E-6332-57E0DD824BC1}"/>
              </a:ext>
            </a:extLst>
          </p:cNvPr>
          <p:cNvSpPr>
            <a:spLocks/>
          </p:cNvSpPr>
          <p:nvPr/>
        </p:nvSpPr>
        <p:spPr>
          <a:xfrm>
            <a:off x="6218897" y="1743075"/>
            <a:ext cx="5746124" cy="4768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CD9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/>
          <a:p>
            <a:pPr marL="422275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dvisory board</a:t>
            </a:r>
          </a:p>
        </p:txBody>
      </p:sp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AF398FAA-1DC3-07C9-0205-E9C5FEA57812}"/>
              </a:ext>
            </a:extLst>
          </p:cNvPr>
          <p:cNvSpPr/>
          <p:nvPr/>
        </p:nvSpPr>
        <p:spPr>
          <a:xfrm rot="10800000">
            <a:off x="352433" y="4762966"/>
            <a:ext cx="5620678" cy="1360021"/>
          </a:xfrm>
          <a:prstGeom prst="round2SameRect">
            <a:avLst>
              <a:gd name="adj1" fmla="val 20201"/>
              <a:gd name="adj2" fmla="val 0"/>
            </a:avLst>
          </a:prstGeom>
          <a:noFill/>
          <a:ln w="12700">
            <a:solidFill>
              <a:srgbClr val="D5DAE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44BDE93-5472-7256-022E-FA0BED2F9737}"/>
              </a:ext>
            </a:extLst>
          </p:cNvPr>
          <p:cNvSpPr>
            <a:spLocks/>
          </p:cNvSpPr>
          <p:nvPr/>
        </p:nvSpPr>
        <p:spPr>
          <a:xfrm>
            <a:off x="352425" y="4941395"/>
            <a:ext cx="5511037" cy="512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45720" rIns="36000" bIns="45720" rtlCol="0" anchor="t"/>
          <a:lstStyle/>
          <a:p>
            <a:pPr>
              <a:spcBef>
                <a:spcPts val="600"/>
              </a:spcBef>
            </a:pP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 medarbejderne på </a:t>
            </a:r>
          </a:p>
          <a:p>
            <a:pPr>
              <a:spcBef>
                <a:spcPts val="600"/>
              </a:spcBef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7"/>
              </a:rPr>
              <a:t>almenkompas.dk/organisering</a:t>
            </a: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361E10-6855-7433-3EF4-A438FBDD2D8A}"/>
              </a:ext>
            </a:extLst>
          </p:cNvPr>
          <p:cNvSpPr>
            <a:spLocks/>
          </p:cNvSpPr>
          <p:nvPr/>
        </p:nvSpPr>
        <p:spPr>
          <a:xfrm>
            <a:off x="352432" y="4630527"/>
            <a:ext cx="5620678" cy="4292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D5DAE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/>
          <a:p>
            <a:pPr marL="422275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kretariate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DBE4273-8075-004F-1F52-679D205EB083}"/>
              </a:ext>
            </a:extLst>
          </p:cNvPr>
          <p:cNvSpPr>
            <a:spLocks/>
          </p:cNvSpPr>
          <p:nvPr/>
        </p:nvSpPr>
        <p:spPr>
          <a:xfrm>
            <a:off x="6218891" y="2219960"/>
            <a:ext cx="5825625" cy="22788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45720" rIns="36000" bIns="45720" rtlCol="0" anchor="t"/>
          <a:lstStyle/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lan Werge – direktør, Al2Bolig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 i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Anders Holmgren </a:t>
            </a:r>
            <a:r>
              <a:rPr lang="da-DK" sz="1300" b="0" i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– kundedirektør, DAB</a:t>
            </a:r>
            <a:endParaRPr lang="da-DK" sz="13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ne-Grethe Slagelse - direktør, Holbæk Boligselskab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rne Juul – direktør, Slagelse Boligselska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jarne Larsson – adm. direktør, FS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n Muus – direktør, Boligkontoret Fredericia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Jacob Michaelsen – direktør, FA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rtin Hersom Bien – adm. direktør, Boligforeningen Ringgården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te Bach Kjær – direktør, Plus Bolig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te Hagesen – direktør,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ovia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lle Adamsen – adm. direktør,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jerbo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eter Basland – adm. direktør, AAB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ia Lyngdrup Nedergaard – direktør,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ØsterBO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ia Nielsen – </a:t>
            </a:r>
            <a:r>
              <a:rPr lang="da-DK" sz="13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ceadm</a:t>
            </a: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direktør, Boligkontoret Danmark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fie Wedel Heilskov – innovationschef, KA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3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lrik Hoffmeyer – adm. direktør, Bo-Vest </a:t>
            </a: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285FF6A5-848B-57E0-4B71-BFEDC76E7E8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39712" y="3276601"/>
            <a:ext cx="305001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>
              <a:latin typeface="Verdana" panose="020B060403050404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03909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89D27-8D42-047B-31B3-B35A7B1B53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D687F32-6BEA-1F77-7096-ABAAD9312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87F32-6BEA-1F77-7096-ABAAD9312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93218F41-FB9D-7F11-ECA2-3095ADA8E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Vil du vide mere om AlmenKompas?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6E4BCC4-D6EB-3F5F-0441-9393AA576D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29</a:t>
            </a:fld>
            <a:endParaRPr lang="da-DK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AA6A83-04E4-BB34-9A41-BE3130531A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E557F7C8-4D63-45AB-822A-12C45DB035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 noProof="0"/>
              <a:t>Kontakt os, og følg med på projektets kanaler</a:t>
            </a:r>
          </a:p>
        </p:txBody>
      </p:sp>
      <p:sp>
        <p:nvSpPr>
          <p:cNvPr id="58" name="Graphic 7">
            <a:extLst>
              <a:ext uri="{FF2B5EF4-FFF2-40B4-BE49-F238E27FC236}">
                <a16:creationId xmlns:a16="http://schemas.microsoft.com/office/drawing/2014/main" id="{952CDA73-1956-4F14-A89E-026A64C45FC7}"/>
              </a:ext>
            </a:extLst>
          </p:cNvPr>
          <p:cNvSpPr/>
          <p:nvPr/>
        </p:nvSpPr>
        <p:spPr>
          <a:xfrm>
            <a:off x="1177989" y="2372729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Verdana" panose="020B0604030504040204" pitchFamily="34" charset="0"/>
            </a:endParaRPr>
          </a:p>
        </p:txBody>
      </p:sp>
      <p:sp>
        <p:nvSpPr>
          <p:cNvPr id="59" name="Graphic 7">
            <a:extLst>
              <a:ext uri="{FF2B5EF4-FFF2-40B4-BE49-F238E27FC236}">
                <a16:creationId xmlns:a16="http://schemas.microsoft.com/office/drawing/2014/main" id="{7F756B24-A0B7-43F3-A8FD-915F96A558CA}"/>
              </a:ext>
            </a:extLst>
          </p:cNvPr>
          <p:cNvSpPr/>
          <p:nvPr/>
        </p:nvSpPr>
        <p:spPr>
          <a:xfrm>
            <a:off x="1148331" y="3302653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Verdana" panose="020B0604030504040204" pitchFamily="34" charset="0"/>
            </a:endParaRPr>
          </a:p>
        </p:txBody>
      </p:sp>
      <p:sp>
        <p:nvSpPr>
          <p:cNvPr id="60" name="Graphic 7">
            <a:extLst>
              <a:ext uri="{FF2B5EF4-FFF2-40B4-BE49-F238E27FC236}">
                <a16:creationId xmlns:a16="http://schemas.microsoft.com/office/drawing/2014/main" id="{CD17B9DE-A959-429E-B6FC-DB4942D63BED}"/>
              </a:ext>
            </a:extLst>
          </p:cNvPr>
          <p:cNvSpPr/>
          <p:nvPr/>
        </p:nvSpPr>
        <p:spPr>
          <a:xfrm>
            <a:off x="1148331" y="4264048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Verdana" panose="020B0604030504040204" pitchFamily="34" charset="0"/>
            </a:endParaRPr>
          </a:p>
        </p:txBody>
      </p:sp>
      <p:pic>
        <p:nvPicPr>
          <p:cNvPr id="71" name="Grafik 4" descr="Videokamera kontur">
            <a:extLst>
              <a:ext uri="{FF2B5EF4-FFF2-40B4-BE49-F238E27FC236}">
                <a16:creationId xmlns:a16="http://schemas.microsoft.com/office/drawing/2014/main" id="{D27ACCC3-1D74-4183-8710-051575EA454A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05880" y="5383589"/>
            <a:ext cx="518160" cy="518158"/>
          </a:xfrm>
          <a:prstGeom prst="rect">
            <a:avLst/>
          </a:prstGeom>
        </p:spPr>
      </p:pic>
      <p:pic>
        <p:nvPicPr>
          <p:cNvPr id="72" name="Grafik 19" descr="Markør kontur">
            <a:extLst>
              <a:ext uri="{FF2B5EF4-FFF2-40B4-BE49-F238E27FC236}">
                <a16:creationId xmlns:a16="http://schemas.microsoft.com/office/drawing/2014/main" id="{F7A2FBF0-E0AF-436C-9CC2-498DE34ED10E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05880" y="3457227"/>
            <a:ext cx="518160" cy="518158"/>
          </a:xfrm>
          <a:prstGeom prst="rect">
            <a:avLst/>
          </a:prstGeom>
        </p:spPr>
      </p:pic>
      <p:pic>
        <p:nvPicPr>
          <p:cNvPr id="73" name="Grafik 20" descr="Mail kontur">
            <a:extLst>
              <a:ext uri="{FF2B5EF4-FFF2-40B4-BE49-F238E27FC236}">
                <a16:creationId xmlns:a16="http://schemas.microsoft.com/office/drawing/2014/main" id="{AB21B671-8568-47E7-B002-1A82D3A680BE}"/>
              </a:ext>
            </a:extLst>
          </p:cNvPr>
          <p:cNvPicPr>
            <a:picLocks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305880" y="2494046"/>
            <a:ext cx="518160" cy="518158"/>
          </a:xfrm>
          <a:prstGeom prst="rect">
            <a:avLst/>
          </a:prstGeom>
        </p:spPr>
      </p:pic>
      <p:pic>
        <p:nvPicPr>
          <p:cNvPr id="74" name="Grafik 21" descr="Cyklus med personer kontur">
            <a:extLst>
              <a:ext uri="{FF2B5EF4-FFF2-40B4-BE49-F238E27FC236}">
                <a16:creationId xmlns:a16="http://schemas.microsoft.com/office/drawing/2014/main" id="{90687A0D-9127-4A4D-B82D-B81F1A18E9DC}"/>
              </a:ext>
            </a:extLst>
          </p:cNvPr>
          <p:cNvPicPr>
            <a:picLocks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75829" y="4390357"/>
            <a:ext cx="578262" cy="578260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87CC7F01-E184-4790-9D42-59A46AE3BB04}"/>
              </a:ext>
            </a:extLst>
          </p:cNvPr>
          <p:cNvSpPr txBox="1"/>
          <p:nvPr/>
        </p:nvSpPr>
        <p:spPr>
          <a:xfrm>
            <a:off x="2086319" y="2383793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u er altid velkommen til at skrive til os på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@domea.dk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663D505-9D09-466E-81E5-F92A204820C9}"/>
              </a:ext>
            </a:extLst>
          </p:cNvPr>
          <p:cNvSpPr txBox="1"/>
          <p:nvPr/>
        </p:nvSpPr>
        <p:spPr>
          <a:xfrm>
            <a:off x="2086319" y="3346974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a-DK" sz="1400" b="0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Find et hav af oplysninger, billeder og videoer på vores hjemmeside:</a:t>
            </a:r>
          </a:p>
          <a:p>
            <a:pPr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.dk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F6C27B2-1A27-41F1-A52B-9D3D06CEA6FA}"/>
              </a:ext>
            </a:extLst>
          </p:cNvPr>
          <p:cNvSpPr txBox="1"/>
          <p:nvPr/>
        </p:nvSpPr>
        <p:spPr>
          <a:xfrm>
            <a:off x="2086319" y="4310155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jævnlige opdateringer, følg os gerne løbende på LinkedIn:</a:t>
            </a:r>
          </a:p>
          <a:p>
            <a:pPr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.com/</a:t>
            </a:r>
            <a:r>
              <a:rPr lang="da-DK" sz="1400" err="1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any</a:t>
            </a: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da-DK" sz="1400" err="1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A3FC566A-3A3F-4604-BF44-288D029A99E1}"/>
              </a:ext>
            </a:extLst>
          </p:cNvPr>
          <p:cNvSpPr>
            <a:spLocks/>
          </p:cNvSpPr>
          <p:nvPr/>
        </p:nvSpPr>
        <p:spPr>
          <a:xfrm>
            <a:off x="8245012" y="1561037"/>
            <a:ext cx="2641108" cy="4685982"/>
          </a:xfrm>
          <a:prstGeom prst="roundRect">
            <a:avLst>
              <a:gd name="adj" fmla="val 955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a-DK" sz="1400" b="1">
                <a:solidFill>
                  <a:schemeClr val="accent1"/>
                </a:solidFill>
                <a:latin typeface="Verdana"/>
                <a:ea typeface="Verdana"/>
              </a:rPr>
              <a:t>Partnere</a:t>
            </a:r>
            <a:endParaRPr lang="da-DK" sz="1400" b="1">
              <a:solidFill>
                <a:schemeClr val="accent1"/>
              </a:solidFill>
              <a:latin typeface="Verdana" panose="020B0604030504040204" pitchFamily="34" charset="0"/>
            </a:endParaRPr>
          </a:p>
        </p:txBody>
      </p:sp>
      <p:pic>
        <p:nvPicPr>
          <p:cNvPr id="90" name="Grafik 8">
            <a:extLst>
              <a:ext uri="{FF2B5EF4-FFF2-40B4-BE49-F238E27FC236}">
                <a16:creationId xmlns:a16="http://schemas.microsoft.com/office/drawing/2014/main" id="{832172AB-AC87-4C4B-B426-E61A7D2F757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749343" y="2097745"/>
            <a:ext cx="1632446" cy="918251"/>
          </a:xfrm>
          <a:prstGeom prst="rect">
            <a:avLst/>
          </a:prstGeom>
        </p:spPr>
      </p:pic>
      <p:pic>
        <p:nvPicPr>
          <p:cNvPr id="91" name="Billede 11" descr="Et billede, der indeholder Font/skrifttype, Grafik, skærmbillede, grafisk design&#10;&#10;Automatisk genereret beskrivelse">
            <a:extLst>
              <a:ext uri="{FF2B5EF4-FFF2-40B4-BE49-F238E27FC236}">
                <a16:creationId xmlns:a16="http://schemas.microsoft.com/office/drawing/2014/main" id="{9BE204F0-B76A-4BF5-A233-AB64ACC44F51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669" y="3389241"/>
            <a:ext cx="1159795" cy="685815"/>
          </a:xfrm>
          <a:prstGeom prst="rect">
            <a:avLst/>
          </a:prstGeom>
        </p:spPr>
      </p:pic>
      <p:pic>
        <p:nvPicPr>
          <p:cNvPr id="92" name="Billede 17">
            <a:extLst>
              <a:ext uri="{FF2B5EF4-FFF2-40B4-BE49-F238E27FC236}">
                <a16:creationId xmlns:a16="http://schemas.microsoft.com/office/drawing/2014/main" id="{580D51BB-9738-4244-9903-6280469B77F9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669" y="4448301"/>
            <a:ext cx="1159795" cy="800647"/>
          </a:xfrm>
          <a:prstGeom prst="rect">
            <a:avLst/>
          </a:prstGeom>
        </p:spPr>
      </p:pic>
      <p:pic>
        <p:nvPicPr>
          <p:cNvPr id="93" name="Billede 24" descr="Et billede, der indeholder Font/skrifttype, Grafik, grafisk design, logo&#10;&#10;Automatisk genereret beskrivelse">
            <a:extLst>
              <a:ext uri="{FF2B5EF4-FFF2-40B4-BE49-F238E27FC236}">
                <a16:creationId xmlns:a16="http://schemas.microsoft.com/office/drawing/2014/main" id="{AFF0C985-E2B4-40F3-BE04-899B074C34CD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731" y="5622193"/>
            <a:ext cx="1711671" cy="433974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7DEC962-275C-4C16-B2D1-9DE49A0565BB}"/>
              </a:ext>
            </a:extLst>
          </p:cNvPr>
          <p:cNvSpPr/>
          <p:nvPr/>
        </p:nvSpPr>
        <p:spPr>
          <a:xfrm>
            <a:off x="1999129" y="3213602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F06E0613-FAD0-477F-9DD7-485EA781E8EF}"/>
              </a:ext>
            </a:extLst>
          </p:cNvPr>
          <p:cNvSpPr/>
          <p:nvPr/>
        </p:nvSpPr>
        <p:spPr>
          <a:xfrm>
            <a:off x="1999129" y="4176783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39CFFE5-5B5F-4F0F-998F-F5E92EA3B30C}"/>
              </a:ext>
            </a:extLst>
          </p:cNvPr>
          <p:cNvSpPr/>
          <p:nvPr/>
        </p:nvSpPr>
        <p:spPr>
          <a:xfrm>
            <a:off x="1999129" y="5139964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22918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19BEDD-8938-EC6D-B56E-C34603F984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081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19BEDD-8938-EC6D-B56E-C34603F984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3F373F3-17F6-F2D1-B68D-5A7F416317C2}"/>
              </a:ext>
            </a:extLst>
          </p:cNvPr>
          <p:cNvSpPr/>
          <p:nvPr/>
        </p:nvSpPr>
        <p:spPr>
          <a:xfrm>
            <a:off x="0" y="1119433"/>
            <a:ext cx="12192000" cy="461913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a-DK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6F89D031-4C1F-2F69-B14A-6E1840CF14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7273" y="2615630"/>
            <a:ext cx="7834063" cy="1626740"/>
          </a:xfrm>
        </p:spPr>
        <p:txBody>
          <a:bodyPr>
            <a:normAutofit/>
          </a:bodyPr>
          <a:lstStyle/>
          <a:p>
            <a:pPr lvl="0" defTabSz="1218925" hangingPunct="0">
              <a:spcBef>
                <a:spcPts val="2250"/>
              </a:spcBef>
              <a:defRPr/>
            </a:pPr>
            <a:r>
              <a:rPr lang="da-DK" sz="4800" b="1" dirty="0">
                <a:latin typeface="DM Sans 14pt" pitchFamily="2" charset="77"/>
                <a:sym typeface="Helvetica Neue"/>
              </a:rPr>
              <a:t>Hvad er </a:t>
            </a:r>
            <a:r>
              <a:rPr lang="da-DK" sz="4800" b="1" dirty="0" err="1">
                <a:latin typeface="DM Sans 14pt" pitchFamily="2" charset="77"/>
                <a:sym typeface="Helvetica Neue"/>
              </a:rPr>
              <a:t>AlmenKompas</a:t>
            </a:r>
            <a:r>
              <a:rPr lang="da-DK" sz="4800" b="1" dirty="0">
                <a:latin typeface="DM Sans 14pt" pitchFamily="2" charset="77"/>
                <a:sym typeface="Helvetica Neue"/>
              </a:rPr>
              <a:t> </a:t>
            </a:r>
          </a:p>
          <a:p>
            <a:pPr lvl="0" defTabSz="1218925" hangingPunct="0">
              <a:spcBef>
                <a:spcPts val="2250"/>
              </a:spcBef>
              <a:defRPr/>
            </a:pPr>
            <a:r>
              <a:rPr lang="da-DK" sz="4800" dirty="0">
                <a:latin typeface="DM Sans 14pt" pitchFamily="2" charset="77"/>
                <a:sym typeface="Helvetica Neue"/>
              </a:rPr>
              <a:t>- og hvor står vi i dag?</a:t>
            </a:r>
          </a:p>
        </p:txBody>
      </p:sp>
      <p:pic>
        <p:nvPicPr>
          <p:cNvPr id="8" name="Billede 7" descr="Et billede, der indeholder tegning, skitse, kunst, Børnekunst&#10;&#10;AI-genereret indhold kan være ukorrekt.">
            <a:extLst>
              <a:ext uri="{FF2B5EF4-FFF2-40B4-BE49-F238E27FC236}">
                <a16:creationId xmlns:a16="http://schemas.microsoft.com/office/drawing/2014/main" id="{F1C08D8C-A0B9-F5F5-4CBF-043EA00634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6462" y="3133958"/>
            <a:ext cx="1462088" cy="2614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658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CF368-981C-DE52-85C6-110506460B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2E706-B75C-0FEF-0722-91EBCAA994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25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12E706-B75C-0FEF-0722-91EBCAA99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Billede 21">
            <a:extLst>
              <a:ext uri="{FF2B5EF4-FFF2-40B4-BE49-F238E27FC236}">
                <a16:creationId xmlns:a16="http://schemas.microsoft.com/office/drawing/2014/main" id="{76C1FCDD-5941-6693-D0C0-F6670C469E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1619" y="2628196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15EED2A-D962-39AD-C0B0-C54D41DB8D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32665" y="229514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26E93932-161A-1A05-23D1-7A0120324F2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93711" y="1962102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AF1C40FE-5D4C-748C-6C0D-C3798A8E909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4757" y="1629055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27B4B5B-F972-7EE0-CC8A-B5992DE46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 14pt" pitchFamily="2" charset="0"/>
              </a:rPr>
              <a:t>Introduktion til </a:t>
            </a:r>
            <a:r>
              <a:rPr lang="da-DK" dirty="0" err="1">
                <a:latin typeface="DM Sans 14pt" pitchFamily="2" charset="0"/>
              </a:rPr>
              <a:t>AlmenKompas</a:t>
            </a:r>
            <a:endParaRPr lang="da-DK" dirty="0">
              <a:latin typeface="DM Sans 14pt" pitchFamily="2" charset="0"/>
            </a:endParaRP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E7D0326A-9FC0-A79B-BBDE-BDA0CB7DDF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0"/>
              </a:rPr>
              <a:t>Hvordan passer det ind hos jer?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ACB9B6BB-10F0-71A5-85B1-908746663ECA}"/>
              </a:ext>
            </a:extLst>
          </p:cNvPr>
          <p:cNvSpPr txBox="1"/>
          <p:nvPr/>
        </p:nvSpPr>
        <p:spPr>
          <a:xfrm>
            <a:off x="8399680" y="371471"/>
            <a:ext cx="3432319" cy="3223796"/>
          </a:xfrm>
          <a:custGeom>
            <a:avLst/>
            <a:gdLst>
              <a:gd name="csX0" fmla="*/ 0 w 3432319"/>
              <a:gd name="csY0" fmla="*/ 223474 h 3223796"/>
              <a:gd name="csX1" fmla="*/ 223474 w 3432319"/>
              <a:gd name="csY1" fmla="*/ 0 h 3223796"/>
              <a:gd name="csX2" fmla="*/ 880256 w 3432319"/>
              <a:gd name="csY2" fmla="*/ 0 h 3223796"/>
              <a:gd name="csX3" fmla="*/ 1417622 w 3432319"/>
              <a:gd name="csY3" fmla="*/ 0 h 3223796"/>
              <a:gd name="csX4" fmla="*/ 2014697 w 3432319"/>
              <a:gd name="csY4" fmla="*/ 0 h 3223796"/>
              <a:gd name="csX5" fmla="*/ 2671478 w 3432319"/>
              <a:gd name="csY5" fmla="*/ 0 h 3223796"/>
              <a:gd name="csX6" fmla="*/ 3208845 w 3432319"/>
              <a:gd name="csY6" fmla="*/ 0 h 3223796"/>
              <a:gd name="csX7" fmla="*/ 3432319 w 3432319"/>
              <a:gd name="csY7" fmla="*/ 223474 h 3223796"/>
              <a:gd name="csX8" fmla="*/ 3432319 w 3432319"/>
              <a:gd name="csY8" fmla="*/ 945454 h 3223796"/>
              <a:gd name="csX9" fmla="*/ 3432319 w 3432319"/>
              <a:gd name="csY9" fmla="*/ 1695203 h 3223796"/>
              <a:gd name="csX10" fmla="*/ 3432319 w 3432319"/>
              <a:gd name="csY10" fmla="*/ 2306110 h 3223796"/>
              <a:gd name="csX11" fmla="*/ 3432319 w 3432319"/>
              <a:gd name="csY11" fmla="*/ 3000322 h 3223796"/>
              <a:gd name="csX12" fmla="*/ 3208845 w 3432319"/>
              <a:gd name="csY12" fmla="*/ 3223796 h 3223796"/>
              <a:gd name="csX13" fmla="*/ 2552063 w 3432319"/>
              <a:gd name="csY13" fmla="*/ 3223796 h 3223796"/>
              <a:gd name="csX14" fmla="*/ 1954989 w 3432319"/>
              <a:gd name="csY14" fmla="*/ 3223796 h 3223796"/>
              <a:gd name="csX15" fmla="*/ 1417622 w 3432319"/>
              <a:gd name="csY15" fmla="*/ 3223796 h 3223796"/>
              <a:gd name="csX16" fmla="*/ 820548 w 3432319"/>
              <a:gd name="csY16" fmla="*/ 3223796 h 3223796"/>
              <a:gd name="csX17" fmla="*/ 223474 w 3432319"/>
              <a:gd name="csY17" fmla="*/ 3223796 h 3223796"/>
              <a:gd name="csX18" fmla="*/ 0 w 3432319"/>
              <a:gd name="csY18" fmla="*/ 3000322 h 3223796"/>
              <a:gd name="csX19" fmla="*/ 0 w 3432319"/>
              <a:gd name="csY19" fmla="*/ 2278342 h 3223796"/>
              <a:gd name="csX20" fmla="*/ 0 w 3432319"/>
              <a:gd name="csY20" fmla="*/ 1611898 h 3223796"/>
              <a:gd name="csX21" fmla="*/ 0 w 3432319"/>
              <a:gd name="csY21" fmla="*/ 973223 h 3223796"/>
              <a:gd name="csX22" fmla="*/ 0 w 3432319"/>
              <a:gd name="csY22" fmla="*/ 223474 h 32237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</a:cxnLst>
            <a:rect l="l" t="t" r="r" b="b"/>
            <a:pathLst>
              <a:path w="3432319" h="3223796" fill="none" extrusionOk="0">
                <a:moveTo>
                  <a:pt x="0" y="223474"/>
                </a:moveTo>
                <a:cubicBezTo>
                  <a:pt x="-7411" y="109342"/>
                  <a:pt x="97409" y="-1469"/>
                  <a:pt x="223474" y="0"/>
                </a:cubicBezTo>
                <a:cubicBezTo>
                  <a:pt x="381564" y="-7102"/>
                  <a:pt x="582828" y="-15953"/>
                  <a:pt x="880256" y="0"/>
                </a:cubicBezTo>
                <a:cubicBezTo>
                  <a:pt x="1177684" y="15953"/>
                  <a:pt x="1272590" y="396"/>
                  <a:pt x="1417622" y="0"/>
                </a:cubicBezTo>
                <a:cubicBezTo>
                  <a:pt x="1562654" y="-396"/>
                  <a:pt x="1797535" y="17011"/>
                  <a:pt x="2014697" y="0"/>
                </a:cubicBezTo>
                <a:cubicBezTo>
                  <a:pt x="2231859" y="-17011"/>
                  <a:pt x="2506346" y="27493"/>
                  <a:pt x="2671478" y="0"/>
                </a:cubicBezTo>
                <a:cubicBezTo>
                  <a:pt x="2836610" y="-27493"/>
                  <a:pt x="3054153" y="-492"/>
                  <a:pt x="3208845" y="0"/>
                </a:cubicBezTo>
                <a:cubicBezTo>
                  <a:pt x="3359872" y="-12852"/>
                  <a:pt x="3420980" y="115878"/>
                  <a:pt x="3432319" y="223474"/>
                </a:cubicBezTo>
                <a:cubicBezTo>
                  <a:pt x="3426928" y="439543"/>
                  <a:pt x="3465098" y="636484"/>
                  <a:pt x="3432319" y="945454"/>
                </a:cubicBezTo>
                <a:cubicBezTo>
                  <a:pt x="3399540" y="1254424"/>
                  <a:pt x="3399285" y="1540083"/>
                  <a:pt x="3432319" y="1695203"/>
                </a:cubicBezTo>
                <a:cubicBezTo>
                  <a:pt x="3465353" y="1850323"/>
                  <a:pt x="3413849" y="2002777"/>
                  <a:pt x="3432319" y="2306110"/>
                </a:cubicBezTo>
                <a:cubicBezTo>
                  <a:pt x="3450789" y="2609443"/>
                  <a:pt x="3425826" y="2701966"/>
                  <a:pt x="3432319" y="3000322"/>
                </a:cubicBezTo>
                <a:cubicBezTo>
                  <a:pt x="3440198" y="3101581"/>
                  <a:pt x="3337650" y="3222028"/>
                  <a:pt x="3208845" y="3223796"/>
                </a:cubicBezTo>
                <a:cubicBezTo>
                  <a:pt x="2948537" y="3231569"/>
                  <a:pt x="2828399" y="3204567"/>
                  <a:pt x="2552063" y="3223796"/>
                </a:cubicBezTo>
                <a:cubicBezTo>
                  <a:pt x="2275727" y="3243025"/>
                  <a:pt x="2125512" y="3205038"/>
                  <a:pt x="1954989" y="3223796"/>
                </a:cubicBezTo>
                <a:cubicBezTo>
                  <a:pt x="1784466" y="3242554"/>
                  <a:pt x="1575639" y="3201578"/>
                  <a:pt x="1417622" y="3223796"/>
                </a:cubicBezTo>
                <a:cubicBezTo>
                  <a:pt x="1259605" y="3246014"/>
                  <a:pt x="961780" y="3242516"/>
                  <a:pt x="820548" y="3223796"/>
                </a:cubicBezTo>
                <a:cubicBezTo>
                  <a:pt x="679316" y="3205076"/>
                  <a:pt x="350272" y="3221029"/>
                  <a:pt x="223474" y="3223796"/>
                </a:cubicBezTo>
                <a:cubicBezTo>
                  <a:pt x="118816" y="3244768"/>
                  <a:pt x="14341" y="3122408"/>
                  <a:pt x="0" y="3000322"/>
                </a:cubicBezTo>
                <a:cubicBezTo>
                  <a:pt x="-19651" y="2727873"/>
                  <a:pt x="-20051" y="2590189"/>
                  <a:pt x="0" y="2278342"/>
                </a:cubicBezTo>
                <a:cubicBezTo>
                  <a:pt x="20051" y="1966495"/>
                  <a:pt x="20997" y="1911267"/>
                  <a:pt x="0" y="1611898"/>
                </a:cubicBezTo>
                <a:cubicBezTo>
                  <a:pt x="-20997" y="1312529"/>
                  <a:pt x="11615" y="1144378"/>
                  <a:pt x="0" y="973223"/>
                </a:cubicBezTo>
                <a:cubicBezTo>
                  <a:pt x="-11615" y="802068"/>
                  <a:pt x="6186" y="590809"/>
                  <a:pt x="0" y="223474"/>
                </a:cubicBezTo>
                <a:close/>
              </a:path>
              <a:path w="3432319" h="3223796" stroke="0" extrusionOk="0">
                <a:moveTo>
                  <a:pt x="0" y="223474"/>
                </a:moveTo>
                <a:cubicBezTo>
                  <a:pt x="12189" y="124108"/>
                  <a:pt x="83837" y="-23081"/>
                  <a:pt x="223474" y="0"/>
                </a:cubicBezTo>
                <a:cubicBezTo>
                  <a:pt x="479972" y="-29334"/>
                  <a:pt x="585627" y="4743"/>
                  <a:pt x="820548" y="0"/>
                </a:cubicBezTo>
                <a:cubicBezTo>
                  <a:pt x="1055469" y="-4743"/>
                  <a:pt x="1169843" y="8125"/>
                  <a:pt x="1328061" y="0"/>
                </a:cubicBezTo>
                <a:cubicBezTo>
                  <a:pt x="1486279" y="-8125"/>
                  <a:pt x="1818237" y="-3069"/>
                  <a:pt x="1954989" y="0"/>
                </a:cubicBezTo>
                <a:cubicBezTo>
                  <a:pt x="2091741" y="3069"/>
                  <a:pt x="2452251" y="-10577"/>
                  <a:pt x="2581917" y="0"/>
                </a:cubicBezTo>
                <a:cubicBezTo>
                  <a:pt x="2711583" y="10577"/>
                  <a:pt x="2977127" y="-21802"/>
                  <a:pt x="3208845" y="0"/>
                </a:cubicBezTo>
                <a:cubicBezTo>
                  <a:pt x="3334721" y="-4647"/>
                  <a:pt x="3431726" y="74176"/>
                  <a:pt x="3432319" y="223474"/>
                </a:cubicBezTo>
                <a:cubicBezTo>
                  <a:pt x="3427730" y="406776"/>
                  <a:pt x="3436842" y="596340"/>
                  <a:pt x="3432319" y="945454"/>
                </a:cubicBezTo>
                <a:cubicBezTo>
                  <a:pt x="3427796" y="1294568"/>
                  <a:pt x="3434573" y="1304093"/>
                  <a:pt x="3432319" y="1584130"/>
                </a:cubicBezTo>
                <a:cubicBezTo>
                  <a:pt x="3430065" y="1864167"/>
                  <a:pt x="3419050" y="1988419"/>
                  <a:pt x="3432319" y="2333878"/>
                </a:cubicBezTo>
                <a:cubicBezTo>
                  <a:pt x="3445588" y="2679337"/>
                  <a:pt x="3437688" y="2839810"/>
                  <a:pt x="3432319" y="3000322"/>
                </a:cubicBezTo>
                <a:cubicBezTo>
                  <a:pt x="3412626" y="3118700"/>
                  <a:pt x="3362313" y="3226109"/>
                  <a:pt x="3208845" y="3223796"/>
                </a:cubicBezTo>
                <a:cubicBezTo>
                  <a:pt x="3044509" y="3193241"/>
                  <a:pt x="2736406" y="3195753"/>
                  <a:pt x="2552063" y="3223796"/>
                </a:cubicBezTo>
                <a:cubicBezTo>
                  <a:pt x="2367720" y="3251839"/>
                  <a:pt x="2263784" y="3244578"/>
                  <a:pt x="2044550" y="3223796"/>
                </a:cubicBezTo>
                <a:cubicBezTo>
                  <a:pt x="1825316" y="3203014"/>
                  <a:pt x="1639292" y="3250440"/>
                  <a:pt x="1477330" y="3223796"/>
                </a:cubicBezTo>
                <a:cubicBezTo>
                  <a:pt x="1315368" y="3197152"/>
                  <a:pt x="1203063" y="3204591"/>
                  <a:pt x="939963" y="3223796"/>
                </a:cubicBezTo>
                <a:cubicBezTo>
                  <a:pt x="676863" y="3243001"/>
                  <a:pt x="462388" y="3237347"/>
                  <a:pt x="223474" y="3223796"/>
                </a:cubicBezTo>
                <a:cubicBezTo>
                  <a:pt x="95760" y="3204153"/>
                  <a:pt x="-5343" y="3122827"/>
                  <a:pt x="0" y="3000322"/>
                </a:cubicBezTo>
                <a:cubicBezTo>
                  <a:pt x="22255" y="2850553"/>
                  <a:pt x="17366" y="2684120"/>
                  <a:pt x="0" y="2389415"/>
                </a:cubicBezTo>
                <a:cubicBezTo>
                  <a:pt x="-17366" y="2094710"/>
                  <a:pt x="10111" y="2061034"/>
                  <a:pt x="0" y="1750740"/>
                </a:cubicBezTo>
                <a:cubicBezTo>
                  <a:pt x="-10111" y="1440447"/>
                  <a:pt x="18609" y="1333995"/>
                  <a:pt x="0" y="1112065"/>
                </a:cubicBezTo>
                <a:cubicBezTo>
                  <a:pt x="-18609" y="890136"/>
                  <a:pt x="-5306" y="555041"/>
                  <a:pt x="0" y="223474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611939426">
                  <a:prstGeom prst="roundRect">
                    <a:avLst>
                      <a:gd name="adj" fmla="val 6932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Her kan du indsætte relevant præsentationsmateriale. Vi har indsat en række slides i slutningen af præsentationen, som du kan bruge. </a:t>
            </a:r>
          </a:p>
          <a:p>
            <a:endParaRPr lang="da-DK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Du kan også med fordel inkludere fortællingen om jer, jeres forudsætninger, hvordan I har arbejdet med bæredygtighed indtil nu, og hvordan ESG passer ind i det, som I allerede gør i forvejen.</a:t>
            </a:r>
          </a:p>
          <a:p>
            <a:endParaRPr lang="da-DK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Og for de ambitiøse: Kig på jeres data i Det Almene Datavarehus og se jeres status, tendenser, risici, muligheder og sammenlign afdelinger mv.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6EF182CB-CAF6-C988-86F6-590F85F69B4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71619" y="476935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Slide Number Placeholder 15">
            <a:extLst>
              <a:ext uri="{FF2B5EF4-FFF2-40B4-BE49-F238E27FC236}">
                <a16:creationId xmlns:a16="http://schemas.microsoft.com/office/drawing/2014/main" id="{3D4D3341-D5A4-203E-E178-B4AA635ECE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4</a:t>
            </a:fld>
            <a:endParaRPr lang="da-DK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4C8373B9-C195-DC00-85C1-47E1275A2D6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63188" y="437335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B7E46E0A-07D8-DD59-2507-F5FDE10FE57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4757" y="397735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59532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0B17AD6-2669-CD58-ABDB-19B03BB82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5487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B17AD6-2669-CD58-ABDB-19B03BB82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llipse 11">
            <a:extLst>
              <a:ext uri="{FF2B5EF4-FFF2-40B4-BE49-F238E27FC236}">
                <a16:creationId xmlns:a16="http://schemas.microsoft.com/office/drawing/2014/main" id="{71688A73-E3E7-EE05-6A50-6DEF97ED9589}"/>
              </a:ext>
            </a:extLst>
          </p:cNvPr>
          <p:cNvSpPr/>
          <p:nvPr/>
        </p:nvSpPr>
        <p:spPr>
          <a:xfrm>
            <a:off x="6293504" y="1814692"/>
            <a:ext cx="2052000" cy="2052000"/>
          </a:xfrm>
          <a:custGeom>
            <a:avLst/>
            <a:gdLst>
              <a:gd name="csX0" fmla="*/ 0 w 2052000"/>
              <a:gd name="csY0" fmla="*/ 1026000 h 2052000"/>
              <a:gd name="csX1" fmla="*/ 1026000 w 2052000"/>
              <a:gd name="csY1" fmla="*/ 0 h 2052000"/>
              <a:gd name="csX2" fmla="*/ 2052000 w 2052000"/>
              <a:gd name="csY2" fmla="*/ 1026000 h 2052000"/>
              <a:gd name="csX3" fmla="*/ 1026000 w 2052000"/>
              <a:gd name="csY3" fmla="*/ 2052000 h 2052000"/>
              <a:gd name="csX4" fmla="*/ 0 w 2052000"/>
              <a:gd name="csY4" fmla="*/ 1026000 h 2052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052000" h="2052000" fill="none" extrusionOk="0">
                <a:moveTo>
                  <a:pt x="0" y="1026000"/>
                </a:moveTo>
                <a:cubicBezTo>
                  <a:pt x="-17182" y="534784"/>
                  <a:pt x="554131" y="32009"/>
                  <a:pt x="1026000" y="0"/>
                </a:cubicBezTo>
                <a:cubicBezTo>
                  <a:pt x="1502780" y="517"/>
                  <a:pt x="2030862" y="468237"/>
                  <a:pt x="2052000" y="1026000"/>
                </a:cubicBezTo>
                <a:cubicBezTo>
                  <a:pt x="2067948" y="1670689"/>
                  <a:pt x="1617264" y="2036188"/>
                  <a:pt x="1026000" y="2052000"/>
                </a:cubicBezTo>
                <a:cubicBezTo>
                  <a:pt x="458667" y="2113980"/>
                  <a:pt x="14445" y="1595631"/>
                  <a:pt x="0" y="1026000"/>
                </a:cubicBezTo>
                <a:close/>
              </a:path>
              <a:path w="2052000" h="2052000" stroke="0" extrusionOk="0">
                <a:moveTo>
                  <a:pt x="0" y="1026000"/>
                </a:moveTo>
                <a:cubicBezTo>
                  <a:pt x="91851" y="446834"/>
                  <a:pt x="517999" y="-3440"/>
                  <a:pt x="1026000" y="0"/>
                </a:cubicBezTo>
                <a:cubicBezTo>
                  <a:pt x="1604269" y="-37010"/>
                  <a:pt x="2017947" y="447605"/>
                  <a:pt x="2052000" y="1026000"/>
                </a:cubicBezTo>
                <a:cubicBezTo>
                  <a:pt x="2012758" y="1621535"/>
                  <a:pt x="1665805" y="2123992"/>
                  <a:pt x="1026000" y="2052000"/>
                </a:cubicBezTo>
                <a:cubicBezTo>
                  <a:pt x="508374" y="2078376"/>
                  <a:pt x="-45148" y="1680920"/>
                  <a:pt x="0" y="102600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749495881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7200" b="1" dirty="0">
                <a:solidFill>
                  <a:schemeClr val="accent1"/>
                </a:solidFill>
                <a:latin typeface="DM Sans 14pt" pitchFamily="2" charset="77"/>
              </a:rPr>
              <a:t>2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4770D862-C852-99EB-1A63-CD6A4B76C4BA}"/>
              </a:ext>
            </a:extLst>
          </p:cNvPr>
          <p:cNvSpPr/>
          <p:nvPr/>
        </p:nvSpPr>
        <p:spPr>
          <a:xfrm>
            <a:off x="802917" y="1814692"/>
            <a:ext cx="2052000" cy="2052000"/>
          </a:xfrm>
          <a:custGeom>
            <a:avLst/>
            <a:gdLst>
              <a:gd name="csX0" fmla="*/ 0 w 2052000"/>
              <a:gd name="csY0" fmla="*/ 1026000 h 2052000"/>
              <a:gd name="csX1" fmla="*/ 1026000 w 2052000"/>
              <a:gd name="csY1" fmla="*/ 0 h 2052000"/>
              <a:gd name="csX2" fmla="*/ 2052000 w 2052000"/>
              <a:gd name="csY2" fmla="*/ 1026000 h 2052000"/>
              <a:gd name="csX3" fmla="*/ 1026000 w 2052000"/>
              <a:gd name="csY3" fmla="*/ 2052000 h 2052000"/>
              <a:gd name="csX4" fmla="*/ 0 w 2052000"/>
              <a:gd name="csY4" fmla="*/ 1026000 h 2052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052000" h="2052000" fill="none" extrusionOk="0">
                <a:moveTo>
                  <a:pt x="0" y="1026000"/>
                </a:moveTo>
                <a:cubicBezTo>
                  <a:pt x="-1781" y="396328"/>
                  <a:pt x="431091" y="-102517"/>
                  <a:pt x="1026000" y="0"/>
                </a:cubicBezTo>
                <a:cubicBezTo>
                  <a:pt x="1652258" y="6535"/>
                  <a:pt x="2041480" y="439980"/>
                  <a:pt x="2052000" y="1026000"/>
                </a:cubicBezTo>
                <a:cubicBezTo>
                  <a:pt x="2033028" y="1608130"/>
                  <a:pt x="1561528" y="2159930"/>
                  <a:pt x="1026000" y="2052000"/>
                </a:cubicBezTo>
                <a:cubicBezTo>
                  <a:pt x="379813" y="1993956"/>
                  <a:pt x="8936" y="1581239"/>
                  <a:pt x="0" y="1026000"/>
                </a:cubicBezTo>
                <a:close/>
              </a:path>
              <a:path w="2052000" h="2052000" stroke="0" extrusionOk="0">
                <a:moveTo>
                  <a:pt x="0" y="1026000"/>
                </a:moveTo>
                <a:cubicBezTo>
                  <a:pt x="-15590" y="459311"/>
                  <a:pt x="521585" y="-46068"/>
                  <a:pt x="1026000" y="0"/>
                </a:cubicBezTo>
                <a:cubicBezTo>
                  <a:pt x="1546669" y="24985"/>
                  <a:pt x="2123230" y="381385"/>
                  <a:pt x="2052000" y="1026000"/>
                </a:cubicBezTo>
                <a:cubicBezTo>
                  <a:pt x="1982170" y="1564633"/>
                  <a:pt x="1576518" y="2007491"/>
                  <a:pt x="1026000" y="2052000"/>
                </a:cubicBezTo>
                <a:cubicBezTo>
                  <a:pt x="452279" y="2043481"/>
                  <a:pt x="-16798" y="1610818"/>
                  <a:pt x="0" y="1026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7200" b="1" dirty="0">
                <a:solidFill>
                  <a:schemeClr val="accent6"/>
                </a:solidFill>
                <a:latin typeface="DM Sans 14pt" pitchFamily="2" charset="77"/>
              </a:rPr>
              <a:t>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1678FCA-806A-70F1-2157-5CE20C63F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 14pt" pitchFamily="2" charset="0"/>
              </a:rPr>
              <a:t>Introduktion til Prioriteringsworkshopp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812AF91-49C1-FACE-F978-9643366DA8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5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6AA511C4-3E2B-3EFA-DE37-CB09D7210B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0"/>
              </a:rPr>
              <a:t>I skal igennem punkt 1 og punkt 2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961845CF-4D62-3BD9-3278-1CA9FA6670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6211" y="3439937"/>
            <a:ext cx="3412456" cy="2371550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82C6539-4263-7FFE-D4C2-D392980AF8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25594" y="3439937"/>
            <a:ext cx="3552788" cy="2411928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D033AFC7-F802-ECB4-7C80-D527013FE3ED}"/>
              </a:ext>
            </a:extLst>
          </p:cNvPr>
          <p:cNvSpPr txBox="1"/>
          <p:nvPr/>
        </p:nvSpPr>
        <p:spPr>
          <a:xfrm>
            <a:off x="2116211" y="3074408"/>
            <a:ext cx="3124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Vurdering af målepunkter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842AED6-21D5-8488-D19D-DCE12F625EBF}"/>
              </a:ext>
            </a:extLst>
          </p:cNvPr>
          <p:cNvSpPr txBox="1"/>
          <p:nvPr/>
        </p:nvSpPr>
        <p:spPr>
          <a:xfrm>
            <a:off x="7625594" y="3074407"/>
            <a:ext cx="34124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Prioritering af målepunkter</a:t>
            </a:r>
          </a:p>
        </p:txBody>
      </p:sp>
    </p:spTree>
    <p:extLst>
      <p:ext uri="{BB962C8B-B14F-4D97-AF65-F5344CB8AC3E}">
        <p14:creationId xmlns:p14="http://schemas.microsoft.com/office/powerpoint/2010/main" val="450657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7985D-8A98-5320-FE25-1E04F5140E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57CBF4A-DE5D-7DC4-2EB7-24DCA66C09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23394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7CBF4A-DE5D-7DC4-2EB7-24DCA66C0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" name="Billede 110" descr="Et billede, der indeholder tekst, diagram, Font/skrifttype, linje/række&#10;&#10;AI-genereret indhold kan være ukorrekt.">
            <a:extLst>
              <a:ext uri="{FF2B5EF4-FFF2-40B4-BE49-F238E27FC236}">
                <a16:creationId xmlns:a16="http://schemas.microsoft.com/office/drawing/2014/main" id="{B67835E6-0FD0-3B90-200F-732B3CE0E7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269013" y="3998192"/>
            <a:ext cx="382582" cy="540000"/>
          </a:xfrm>
          <a:prstGeom prst="rect">
            <a:avLst/>
          </a:prstGeom>
        </p:spPr>
      </p:pic>
      <p:pic>
        <p:nvPicPr>
          <p:cNvPr id="107" name="Billede 106" descr="Et billede, der indeholder tekst, Font/skrifttype, skærmbillede, diagram&#10;&#10;AI-genereret indhold kan være ukorrekt.">
            <a:extLst>
              <a:ext uri="{FF2B5EF4-FFF2-40B4-BE49-F238E27FC236}">
                <a16:creationId xmlns:a16="http://schemas.microsoft.com/office/drawing/2014/main" id="{D244763A-73EB-08EB-D25F-FC8B479A7C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918430" y="3948847"/>
            <a:ext cx="382582" cy="540000"/>
          </a:xfrm>
          <a:prstGeom prst="rect">
            <a:avLst/>
          </a:prstGeom>
        </p:spPr>
      </p:pic>
      <p:pic>
        <p:nvPicPr>
          <p:cNvPr id="105" name="Billede 104" descr="Et billede, der indeholder tekst, Font/skrifttype, skærmbillede, logo&#10;&#10;AI-genereret indhold kan være ukorrekt.">
            <a:extLst>
              <a:ext uri="{FF2B5EF4-FFF2-40B4-BE49-F238E27FC236}">
                <a16:creationId xmlns:a16="http://schemas.microsoft.com/office/drawing/2014/main" id="{C8E21088-ACF1-9539-36A4-1F167B69CA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567847" y="3899500"/>
            <a:ext cx="382582" cy="540000"/>
          </a:xfrm>
          <a:prstGeom prst="rect">
            <a:avLst/>
          </a:prstGeom>
        </p:spPr>
      </p:pic>
      <p:pic>
        <p:nvPicPr>
          <p:cNvPr id="109" name="Billede 108" descr="Et billede, der indeholder tekst, skærmbillede, Font/skrifttype, diagram&#10;&#10;AI-genereret indhold kan være ukorrekt.">
            <a:extLst>
              <a:ext uri="{FF2B5EF4-FFF2-40B4-BE49-F238E27FC236}">
                <a16:creationId xmlns:a16="http://schemas.microsoft.com/office/drawing/2014/main" id="{21C223CE-A7D3-CF05-BDF4-37F2F01E48B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217264" y="3850153"/>
            <a:ext cx="382582" cy="540000"/>
          </a:xfrm>
          <a:prstGeom prst="rect">
            <a:avLst/>
          </a:prstGeom>
        </p:spPr>
      </p:pic>
      <p:pic>
        <p:nvPicPr>
          <p:cNvPr id="103" name="Billede 102" descr="Et billede, der indeholder tekst, logo, symbol, Font/skrifttype&#10;&#10;AI-genereret indhold kan være ukorrekt.">
            <a:extLst>
              <a:ext uri="{FF2B5EF4-FFF2-40B4-BE49-F238E27FC236}">
                <a16:creationId xmlns:a16="http://schemas.microsoft.com/office/drawing/2014/main" id="{1136FA79-0623-57D1-9653-0DE5F5ABBD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866681" y="3800806"/>
            <a:ext cx="382582" cy="540000"/>
          </a:xfrm>
          <a:prstGeom prst="rect">
            <a:avLst/>
          </a:prstGeom>
        </p:spPr>
      </p:pic>
      <p:pic>
        <p:nvPicPr>
          <p:cNvPr id="91" name="Billede 90" descr="Et billede, der indeholder tekst, Font/skrifttype, design, Grafik&#10;&#10;AI-genereret indhold kan være ukorrekt.">
            <a:extLst>
              <a:ext uri="{FF2B5EF4-FFF2-40B4-BE49-F238E27FC236}">
                <a16:creationId xmlns:a16="http://schemas.microsoft.com/office/drawing/2014/main" id="{C8AD9FE1-4FE5-6ED6-B2E8-E4FB690A2D9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542760" y="4020751"/>
            <a:ext cx="408087" cy="576000"/>
          </a:xfrm>
          <a:prstGeom prst="rect">
            <a:avLst/>
          </a:prstGeom>
        </p:spPr>
      </p:pic>
      <p:pic>
        <p:nvPicPr>
          <p:cNvPr id="85" name="Billede 84" descr="Et billede, der indeholder tekst, Font/skrifttype, logo, design&#10;&#10;AI-genereret indhold kan være ukorrekt.">
            <a:extLst>
              <a:ext uri="{FF2B5EF4-FFF2-40B4-BE49-F238E27FC236}">
                <a16:creationId xmlns:a16="http://schemas.microsoft.com/office/drawing/2014/main" id="{305A9DF7-E68F-8CAD-6B4C-2FEB099083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46436" y="3972311"/>
            <a:ext cx="408087" cy="576000"/>
          </a:xfrm>
          <a:prstGeom prst="rect">
            <a:avLst/>
          </a:prstGeom>
        </p:spPr>
      </p:pic>
      <p:pic>
        <p:nvPicPr>
          <p:cNvPr id="89" name="Billede 88" descr="Et billede, der indeholder tekst, skærmbillede, rød, design&#10;&#10;AI-genereret indhold kan være ukorrekt.">
            <a:extLst>
              <a:ext uri="{FF2B5EF4-FFF2-40B4-BE49-F238E27FC236}">
                <a16:creationId xmlns:a16="http://schemas.microsoft.com/office/drawing/2014/main" id="{491104CA-A333-F55F-3734-84CA2A88112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950111" y="3923868"/>
            <a:ext cx="408087" cy="576000"/>
          </a:xfrm>
          <a:prstGeom prst="rect">
            <a:avLst/>
          </a:prstGeom>
        </p:spPr>
      </p:pic>
      <p:pic>
        <p:nvPicPr>
          <p:cNvPr id="97" name="Billede 96" descr="Et billede, der indeholder tekst, cykel, hjul, design&#10;&#10;AI-genereret indhold kan være ukorrekt.">
            <a:extLst>
              <a:ext uri="{FF2B5EF4-FFF2-40B4-BE49-F238E27FC236}">
                <a16:creationId xmlns:a16="http://schemas.microsoft.com/office/drawing/2014/main" id="{8782ABDE-1BFA-F659-2BFA-0D0A2B0F191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653786" y="3875425"/>
            <a:ext cx="408087" cy="576000"/>
          </a:xfrm>
          <a:prstGeom prst="rect">
            <a:avLst/>
          </a:prstGeom>
        </p:spPr>
      </p:pic>
      <p:pic>
        <p:nvPicPr>
          <p:cNvPr id="95" name="Billede 94" descr="Et billede, der indeholder tekst, Font/skrifttype, logo, symbol&#10;&#10;AI-genereret indhold kan være ukorrekt.">
            <a:extLst>
              <a:ext uri="{FF2B5EF4-FFF2-40B4-BE49-F238E27FC236}">
                <a16:creationId xmlns:a16="http://schemas.microsoft.com/office/drawing/2014/main" id="{CE2841E3-CC1A-2959-AC8C-F438E1ACDC2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357461" y="3826982"/>
            <a:ext cx="408087" cy="576000"/>
          </a:xfrm>
          <a:prstGeom prst="rect">
            <a:avLst/>
          </a:prstGeom>
        </p:spPr>
      </p:pic>
      <p:pic>
        <p:nvPicPr>
          <p:cNvPr id="93" name="Billede 92" descr="Et billede, der indeholder tekst, Font/skrifttype, Grafik, clipart&#10;&#10;AI-genereret indhold kan være ukorrekt.">
            <a:extLst>
              <a:ext uri="{FF2B5EF4-FFF2-40B4-BE49-F238E27FC236}">
                <a16:creationId xmlns:a16="http://schemas.microsoft.com/office/drawing/2014/main" id="{EDF31566-936F-C4B8-CBE3-6B26A6DCFEE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061136" y="3778539"/>
            <a:ext cx="408087" cy="576000"/>
          </a:xfrm>
          <a:prstGeom prst="rect">
            <a:avLst/>
          </a:prstGeom>
        </p:spPr>
      </p:pic>
      <p:pic>
        <p:nvPicPr>
          <p:cNvPr id="81" name="Billede 80" descr="Et billede, der indeholder tekst, Font/skrifttype, diagram, logo&#10;&#10;AI-genereret indhold kan være ukorrekt.">
            <a:extLst>
              <a:ext uri="{FF2B5EF4-FFF2-40B4-BE49-F238E27FC236}">
                <a16:creationId xmlns:a16="http://schemas.microsoft.com/office/drawing/2014/main" id="{773CC4EF-7DFC-009A-A09F-91F37DDD512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789013" y="3981225"/>
            <a:ext cx="433594" cy="612000"/>
          </a:xfrm>
          <a:prstGeom prst="rect">
            <a:avLst/>
          </a:prstGeom>
        </p:spPr>
      </p:pic>
      <p:pic>
        <p:nvPicPr>
          <p:cNvPr id="83" name="Billede 82" descr="Et billede, der indeholder tekst, Font/skrifttype, skærmbillede, Grafik&#10;&#10;AI-genereret indhold kan være ukorrekt.">
            <a:extLst>
              <a:ext uri="{FF2B5EF4-FFF2-40B4-BE49-F238E27FC236}">
                <a16:creationId xmlns:a16="http://schemas.microsoft.com/office/drawing/2014/main" id="{CAC18193-CB17-C708-241F-BA0A3A1CDE6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431720" y="3933613"/>
            <a:ext cx="433594" cy="612000"/>
          </a:xfrm>
          <a:prstGeom prst="rect">
            <a:avLst/>
          </a:prstGeom>
        </p:spPr>
      </p:pic>
      <p:pic>
        <p:nvPicPr>
          <p:cNvPr id="14" name="Billede 13" descr="Et billede, der indeholder tekst, clipart, tegneserie, skærmbillede&#10;&#10;AI-genereret indhold kan være ukorrekt.">
            <a:extLst>
              <a:ext uri="{FF2B5EF4-FFF2-40B4-BE49-F238E27FC236}">
                <a16:creationId xmlns:a16="http://schemas.microsoft.com/office/drawing/2014/main" id="{FFD472E5-75C4-CDA9-E114-98A13C3EA96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085346" y="3886002"/>
            <a:ext cx="433594" cy="612000"/>
          </a:xfrm>
          <a:prstGeom prst="rect">
            <a:avLst/>
          </a:prstGeom>
        </p:spPr>
      </p:pic>
      <p:pic>
        <p:nvPicPr>
          <p:cNvPr id="79" name="Billede 78" descr="Et billede, der indeholder tekst, Font/skrifttype, cirkel, clipart&#10;&#10;AI-genereret indhold kan være ukorrekt.">
            <a:extLst>
              <a:ext uri="{FF2B5EF4-FFF2-40B4-BE49-F238E27FC236}">
                <a16:creationId xmlns:a16="http://schemas.microsoft.com/office/drawing/2014/main" id="{1F05E298-9B33-2492-7446-313859952E3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733513" y="3838391"/>
            <a:ext cx="433594" cy="612000"/>
          </a:xfrm>
          <a:prstGeom prst="rect">
            <a:avLst/>
          </a:prstGeom>
        </p:spPr>
      </p:pic>
      <p:sp>
        <p:nvSpPr>
          <p:cNvPr id="40" name="Tekstfelt 39">
            <a:extLst>
              <a:ext uri="{FF2B5EF4-FFF2-40B4-BE49-F238E27FC236}">
                <a16:creationId xmlns:a16="http://schemas.microsoft.com/office/drawing/2014/main" id="{EC33656B-AA45-46DF-3693-045809BE47B4}"/>
              </a:ext>
            </a:extLst>
          </p:cNvPr>
          <p:cNvSpPr txBox="1"/>
          <p:nvPr/>
        </p:nvSpPr>
        <p:spPr>
          <a:xfrm>
            <a:off x="8465089" y="2337545"/>
            <a:ext cx="2191610" cy="1293971"/>
          </a:xfrm>
          <a:custGeom>
            <a:avLst/>
            <a:gdLst>
              <a:gd name="csX0" fmla="*/ 0 w 2191610"/>
              <a:gd name="csY0" fmla="*/ 215666 h 1293971"/>
              <a:gd name="csX1" fmla="*/ 215666 w 2191610"/>
              <a:gd name="csY1" fmla="*/ 0 h 1293971"/>
              <a:gd name="csX2" fmla="*/ 767220 w 2191610"/>
              <a:gd name="csY2" fmla="*/ 0 h 1293971"/>
              <a:gd name="csX3" fmla="*/ 1353979 w 2191610"/>
              <a:gd name="csY3" fmla="*/ 0 h 1293971"/>
              <a:gd name="csX4" fmla="*/ 1975944 w 2191610"/>
              <a:gd name="csY4" fmla="*/ 0 h 1293971"/>
              <a:gd name="csX5" fmla="*/ 2191610 w 2191610"/>
              <a:gd name="csY5" fmla="*/ 215666 h 1293971"/>
              <a:gd name="csX6" fmla="*/ 2191610 w 2191610"/>
              <a:gd name="csY6" fmla="*/ 629733 h 1293971"/>
              <a:gd name="csX7" fmla="*/ 2191610 w 2191610"/>
              <a:gd name="csY7" fmla="*/ 1078305 h 1293971"/>
              <a:gd name="csX8" fmla="*/ 1975944 w 2191610"/>
              <a:gd name="csY8" fmla="*/ 1293971 h 1293971"/>
              <a:gd name="csX9" fmla="*/ 1389185 w 2191610"/>
              <a:gd name="csY9" fmla="*/ 1293971 h 1293971"/>
              <a:gd name="csX10" fmla="*/ 855234 w 2191610"/>
              <a:gd name="csY10" fmla="*/ 1293971 h 1293971"/>
              <a:gd name="csX11" fmla="*/ 215666 w 2191610"/>
              <a:gd name="csY11" fmla="*/ 1293971 h 1293971"/>
              <a:gd name="csX12" fmla="*/ 0 w 2191610"/>
              <a:gd name="csY12" fmla="*/ 1078305 h 1293971"/>
              <a:gd name="csX13" fmla="*/ 0 w 2191610"/>
              <a:gd name="csY13" fmla="*/ 655612 h 1293971"/>
              <a:gd name="csX14" fmla="*/ 0 w 2191610"/>
              <a:gd name="csY14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191610" h="1293971" fill="none" extrusionOk="0">
                <a:moveTo>
                  <a:pt x="0" y="215666"/>
                </a:moveTo>
                <a:cubicBezTo>
                  <a:pt x="6258" y="121604"/>
                  <a:pt x="107438" y="6693"/>
                  <a:pt x="215666" y="0"/>
                </a:cubicBezTo>
                <a:cubicBezTo>
                  <a:pt x="353243" y="20565"/>
                  <a:pt x="600683" y="4575"/>
                  <a:pt x="767220" y="0"/>
                </a:cubicBezTo>
                <a:cubicBezTo>
                  <a:pt x="933757" y="-4575"/>
                  <a:pt x="1107658" y="21949"/>
                  <a:pt x="1353979" y="0"/>
                </a:cubicBezTo>
                <a:cubicBezTo>
                  <a:pt x="1600300" y="-21949"/>
                  <a:pt x="1669457" y="12238"/>
                  <a:pt x="1975944" y="0"/>
                </a:cubicBezTo>
                <a:cubicBezTo>
                  <a:pt x="2094806" y="-9579"/>
                  <a:pt x="2182341" y="98708"/>
                  <a:pt x="2191610" y="215666"/>
                </a:cubicBezTo>
                <a:cubicBezTo>
                  <a:pt x="2193137" y="385087"/>
                  <a:pt x="2182262" y="500387"/>
                  <a:pt x="2191610" y="629733"/>
                </a:cubicBezTo>
                <a:cubicBezTo>
                  <a:pt x="2200958" y="759079"/>
                  <a:pt x="2188580" y="855824"/>
                  <a:pt x="2191610" y="1078305"/>
                </a:cubicBezTo>
                <a:cubicBezTo>
                  <a:pt x="2174552" y="1182235"/>
                  <a:pt x="2086398" y="1299579"/>
                  <a:pt x="1975944" y="1293971"/>
                </a:cubicBezTo>
                <a:cubicBezTo>
                  <a:pt x="1706055" y="1267304"/>
                  <a:pt x="1670267" y="1305807"/>
                  <a:pt x="1389185" y="1293971"/>
                </a:cubicBezTo>
                <a:cubicBezTo>
                  <a:pt x="1108103" y="1282135"/>
                  <a:pt x="1062447" y="1286342"/>
                  <a:pt x="855234" y="1293971"/>
                </a:cubicBezTo>
                <a:cubicBezTo>
                  <a:pt x="648021" y="1301600"/>
                  <a:pt x="425721" y="1278529"/>
                  <a:pt x="215666" y="1293971"/>
                </a:cubicBezTo>
                <a:cubicBezTo>
                  <a:pt x="82108" y="1319574"/>
                  <a:pt x="22089" y="1202562"/>
                  <a:pt x="0" y="1078305"/>
                </a:cubicBezTo>
                <a:cubicBezTo>
                  <a:pt x="3220" y="992143"/>
                  <a:pt x="2584" y="742487"/>
                  <a:pt x="0" y="655612"/>
                </a:cubicBezTo>
                <a:cubicBezTo>
                  <a:pt x="-2584" y="568737"/>
                  <a:pt x="-13779" y="336573"/>
                  <a:pt x="0" y="215666"/>
                </a:cubicBezTo>
                <a:close/>
              </a:path>
              <a:path w="2191610" h="1293971" stroke="0" extrusionOk="0">
                <a:moveTo>
                  <a:pt x="0" y="215666"/>
                </a:moveTo>
                <a:cubicBezTo>
                  <a:pt x="4298" y="101513"/>
                  <a:pt x="117999" y="-13564"/>
                  <a:pt x="215666" y="0"/>
                </a:cubicBezTo>
                <a:cubicBezTo>
                  <a:pt x="476949" y="24640"/>
                  <a:pt x="634629" y="3956"/>
                  <a:pt x="749617" y="0"/>
                </a:cubicBezTo>
                <a:cubicBezTo>
                  <a:pt x="864605" y="-3956"/>
                  <a:pt x="1084640" y="5719"/>
                  <a:pt x="1336376" y="0"/>
                </a:cubicBezTo>
                <a:cubicBezTo>
                  <a:pt x="1588112" y="-5719"/>
                  <a:pt x="1771500" y="6059"/>
                  <a:pt x="1975944" y="0"/>
                </a:cubicBezTo>
                <a:cubicBezTo>
                  <a:pt x="2111533" y="14393"/>
                  <a:pt x="2188985" y="101484"/>
                  <a:pt x="2191610" y="215666"/>
                </a:cubicBezTo>
                <a:cubicBezTo>
                  <a:pt x="2180430" y="306056"/>
                  <a:pt x="2184717" y="451627"/>
                  <a:pt x="2191610" y="664238"/>
                </a:cubicBezTo>
                <a:cubicBezTo>
                  <a:pt x="2198503" y="876849"/>
                  <a:pt x="2211771" y="964191"/>
                  <a:pt x="2191610" y="1078305"/>
                </a:cubicBezTo>
                <a:cubicBezTo>
                  <a:pt x="2180421" y="1169921"/>
                  <a:pt x="2104153" y="1295792"/>
                  <a:pt x="1975944" y="1293971"/>
                </a:cubicBezTo>
                <a:cubicBezTo>
                  <a:pt x="1773437" y="1264887"/>
                  <a:pt x="1616504" y="1304884"/>
                  <a:pt x="1371582" y="1293971"/>
                </a:cubicBezTo>
                <a:cubicBezTo>
                  <a:pt x="1126660" y="1283058"/>
                  <a:pt x="920731" y="1267508"/>
                  <a:pt x="802425" y="1293971"/>
                </a:cubicBezTo>
                <a:cubicBezTo>
                  <a:pt x="684119" y="1320434"/>
                  <a:pt x="433637" y="1309222"/>
                  <a:pt x="215666" y="1293971"/>
                </a:cubicBezTo>
                <a:cubicBezTo>
                  <a:pt x="114764" y="1283425"/>
                  <a:pt x="7000" y="1182756"/>
                  <a:pt x="0" y="1078305"/>
                </a:cubicBezTo>
                <a:cubicBezTo>
                  <a:pt x="12461" y="966218"/>
                  <a:pt x="-13561" y="860011"/>
                  <a:pt x="0" y="655612"/>
                </a:cubicBezTo>
                <a:cubicBezTo>
                  <a:pt x="13561" y="451213"/>
                  <a:pt x="-14432" y="313352"/>
                  <a:pt x="0" y="21566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1108028920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ttina 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ul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øren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na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ter</a:t>
            </a:r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D20975F9-FD8E-B28B-A27B-9E1A9D54889E}"/>
              </a:ext>
            </a:extLst>
          </p:cNvPr>
          <p:cNvSpPr txBox="1"/>
          <p:nvPr/>
        </p:nvSpPr>
        <p:spPr>
          <a:xfrm>
            <a:off x="4759237" y="2337545"/>
            <a:ext cx="2191610" cy="1293971"/>
          </a:xfrm>
          <a:custGeom>
            <a:avLst/>
            <a:gdLst>
              <a:gd name="csX0" fmla="*/ 0 w 2191610"/>
              <a:gd name="csY0" fmla="*/ 215666 h 1293971"/>
              <a:gd name="csX1" fmla="*/ 215666 w 2191610"/>
              <a:gd name="csY1" fmla="*/ 0 h 1293971"/>
              <a:gd name="csX2" fmla="*/ 837631 w 2191610"/>
              <a:gd name="csY2" fmla="*/ 0 h 1293971"/>
              <a:gd name="csX3" fmla="*/ 1459596 w 2191610"/>
              <a:gd name="csY3" fmla="*/ 0 h 1293971"/>
              <a:gd name="csX4" fmla="*/ 1975944 w 2191610"/>
              <a:gd name="csY4" fmla="*/ 0 h 1293971"/>
              <a:gd name="csX5" fmla="*/ 2191610 w 2191610"/>
              <a:gd name="csY5" fmla="*/ 215666 h 1293971"/>
              <a:gd name="csX6" fmla="*/ 2191610 w 2191610"/>
              <a:gd name="csY6" fmla="*/ 655612 h 1293971"/>
              <a:gd name="csX7" fmla="*/ 2191610 w 2191610"/>
              <a:gd name="csY7" fmla="*/ 1078305 h 1293971"/>
              <a:gd name="csX8" fmla="*/ 1975944 w 2191610"/>
              <a:gd name="csY8" fmla="*/ 1293971 h 1293971"/>
              <a:gd name="csX9" fmla="*/ 1371582 w 2191610"/>
              <a:gd name="csY9" fmla="*/ 1293971 h 1293971"/>
              <a:gd name="csX10" fmla="*/ 802425 w 2191610"/>
              <a:gd name="csY10" fmla="*/ 1293971 h 1293971"/>
              <a:gd name="csX11" fmla="*/ 215666 w 2191610"/>
              <a:gd name="csY11" fmla="*/ 1293971 h 1293971"/>
              <a:gd name="csX12" fmla="*/ 0 w 2191610"/>
              <a:gd name="csY12" fmla="*/ 1078305 h 1293971"/>
              <a:gd name="csX13" fmla="*/ 0 w 2191610"/>
              <a:gd name="csY13" fmla="*/ 638359 h 1293971"/>
              <a:gd name="csX14" fmla="*/ 0 w 2191610"/>
              <a:gd name="csY14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191610" h="1293971" fill="none" extrusionOk="0">
                <a:moveTo>
                  <a:pt x="0" y="215666"/>
                </a:moveTo>
                <a:cubicBezTo>
                  <a:pt x="-18607" y="111971"/>
                  <a:pt x="90764" y="-3827"/>
                  <a:pt x="215666" y="0"/>
                </a:cubicBezTo>
                <a:cubicBezTo>
                  <a:pt x="408390" y="17685"/>
                  <a:pt x="540194" y="8204"/>
                  <a:pt x="837631" y="0"/>
                </a:cubicBezTo>
                <a:cubicBezTo>
                  <a:pt x="1135068" y="-8204"/>
                  <a:pt x="1197369" y="-2871"/>
                  <a:pt x="1459596" y="0"/>
                </a:cubicBezTo>
                <a:cubicBezTo>
                  <a:pt x="1721823" y="2871"/>
                  <a:pt x="1781889" y="14390"/>
                  <a:pt x="1975944" y="0"/>
                </a:cubicBezTo>
                <a:cubicBezTo>
                  <a:pt x="2071349" y="6409"/>
                  <a:pt x="2191516" y="102569"/>
                  <a:pt x="2191610" y="215666"/>
                </a:cubicBezTo>
                <a:cubicBezTo>
                  <a:pt x="2195899" y="321388"/>
                  <a:pt x="2211809" y="522862"/>
                  <a:pt x="2191610" y="655612"/>
                </a:cubicBezTo>
                <a:cubicBezTo>
                  <a:pt x="2171411" y="788362"/>
                  <a:pt x="2187920" y="929265"/>
                  <a:pt x="2191610" y="1078305"/>
                </a:cubicBezTo>
                <a:cubicBezTo>
                  <a:pt x="2197021" y="1197223"/>
                  <a:pt x="2099177" y="1301649"/>
                  <a:pt x="1975944" y="1293971"/>
                </a:cubicBezTo>
                <a:cubicBezTo>
                  <a:pt x="1802246" y="1275510"/>
                  <a:pt x="1594624" y="1310887"/>
                  <a:pt x="1371582" y="1293971"/>
                </a:cubicBezTo>
                <a:cubicBezTo>
                  <a:pt x="1148540" y="1277055"/>
                  <a:pt x="1077188" y="1267079"/>
                  <a:pt x="802425" y="1293971"/>
                </a:cubicBezTo>
                <a:cubicBezTo>
                  <a:pt x="527662" y="1320863"/>
                  <a:pt x="436168" y="1280355"/>
                  <a:pt x="215666" y="1293971"/>
                </a:cubicBezTo>
                <a:cubicBezTo>
                  <a:pt x="117633" y="1302038"/>
                  <a:pt x="19929" y="1213520"/>
                  <a:pt x="0" y="1078305"/>
                </a:cubicBezTo>
                <a:cubicBezTo>
                  <a:pt x="8791" y="952125"/>
                  <a:pt x="16412" y="763376"/>
                  <a:pt x="0" y="638359"/>
                </a:cubicBezTo>
                <a:cubicBezTo>
                  <a:pt x="-16412" y="513342"/>
                  <a:pt x="7272" y="315553"/>
                  <a:pt x="0" y="215666"/>
                </a:cubicBezTo>
                <a:close/>
              </a:path>
              <a:path w="2191610" h="1293971" stroke="0" extrusionOk="0">
                <a:moveTo>
                  <a:pt x="0" y="215666"/>
                </a:moveTo>
                <a:cubicBezTo>
                  <a:pt x="-2869" y="102705"/>
                  <a:pt x="71897" y="14646"/>
                  <a:pt x="215666" y="0"/>
                </a:cubicBezTo>
                <a:cubicBezTo>
                  <a:pt x="403998" y="14013"/>
                  <a:pt x="628939" y="22230"/>
                  <a:pt x="749617" y="0"/>
                </a:cubicBezTo>
                <a:cubicBezTo>
                  <a:pt x="870295" y="-22230"/>
                  <a:pt x="1160266" y="-13699"/>
                  <a:pt x="1353979" y="0"/>
                </a:cubicBezTo>
                <a:cubicBezTo>
                  <a:pt x="1547692" y="13699"/>
                  <a:pt x="1823213" y="-1463"/>
                  <a:pt x="1975944" y="0"/>
                </a:cubicBezTo>
                <a:cubicBezTo>
                  <a:pt x="2111236" y="6909"/>
                  <a:pt x="2198957" y="86251"/>
                  <a:pt x="2191610" y="215666"/>
                </a:cubicBezTo>
                <a:cubicBezTo>
                  <a:pt x="2195885" y="332672"/>
                  <a:pt x="2188088" y="445564"/>
                  <a:pt x="2191610" y="638359"/>
                </a:cubicBezTo>
                <a:cubicBezTo>
                  <a:pt x="2195132" y="831154"/>
                  <a:pt x="2193876" y="976748"/>
                  <a:pt x="2191610" y="1078305"/>
                </a:cubicBezTo>
                <a:cubicBezTo>
                  <a:pt x="2177984" y="1193700"/>
                  <a:pt x="2102467" y="1295546"/>
                  <a:pt x="1975944" y="1293971"/>
                </a:cubicBezTo>
                <a:cubicBezTo>
                  <a:pt x="1782513" y="1299932"/>
                  <a:pt x="1688288" y="1315912"/>
                  <a:pt x="1424390" y="1293971"/>
                </a:cubicBezTo>
                <a:cubicBezTo>
                  <a:pt x="1160492" y="1272030"/>
                  <a:pt x="1048978" y="1284977"/>
                  <a:pt x="872836" y="1293971"/>
                </a:cubicBezTo>
                <a:cubicBezTo>
                  <a:pt x="696694" y="1302965"/>
                  <a:pt x="388627" y="1288310"/>
                  <a:pt x="215666" y="1293971"/>
                </a:cubicBezTo>
                <a:cubicBezTo>
                  <a:pt x="120927" y="1308073"/>
                  <a:pt x="15220" y="1197753"/>
                  <a:pt x="0" y="1078305"/>
                </a:cubicBezTo>
                <a:cubicBezTo>
                  <a:pt x="-9507" y="966857"/>
                  <a:pt x="-17268" y="758783"/>
                  <a:pt x="0" y="672865"/>
                </a:cubicBezTo>
                <a:cubicBezTo>
                  <a:pt x="17268" y="586947"/>
                  <a:pt x="-14088" y="436434"/>
                  <a:pt x="0" y="215666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662708029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ns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rsten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milla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nriette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ra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BBF27E6D-CB41-CD23-98C2-3D0FBBC0D307}"/>
              </a:ext>
            </a:extLst>
          </p:cNvPr>
          <p:cNvSpPr txBox="1"/>
          <p:nvPr/>
        </p:nvSpPr>
        <p:spPr>
          <a:xfrm>
            <a:off x="1030998" y="2337545"/>
            <a:ext cx="2191610" cy="1293971"/>
          </a:xfrm>
          <a:custGeom>
            <a:avLst/>
            <a:gdLst>
              <a:gd name="csX0" fmla="*/ 0 w 2191610"/>
              <a:gd name="csY0" fmla="*/ 215666 h 1293971"/>
              <a:gd name="csX1" fmla="*/ 215666 w 2191610"/>
              <a:gd name="csY1" fmla="*/ 0 h 1293971"/>
              <a:gd name="csX2" fmla="*/ 837631 w 2191610"/>
              <a:gd name="csY2" fmla="*/ 0 h 1293971"/>
              <a:gd name="csX3" fmla="*/ 1406787 w 2191610"/>
              <a:gd name="csY3" fmla="*/ 0 h 1293971"/>
              <a:gd name="csX4" fmla="*/ 1975944 w 2191610"/>
              <a:gd name="csY4" fmla="*/ 0 h 1293971"/>
              <a:gd name="csX5" fmla="*/ 2191610 w 2191610"/>
              <a:gd name="csY5" fmla="*/ 215666 h 1293971"/>
              <a:gd name="csX6" fmla="*/ 2191610 w 2191610"/>
              <a:gd name="csY6" fmla="*/ 638359 h 1293971"/>
              <a:gd name="csX7" fmla="*/ 2191610 w 2191610"/>
              <a:gd name="csY7" fmla="*/ 1078305 h 1293971"/>
              <a:gd name="csX8" fmla="*/ 1975944 w 2191610"/>
              <a:gd name="csY8" fmla="*/ 1293971 h 1293971"/>
              <a:gd name="csX9" fmla="*/ 1353979 w 2191610"/>
              <a:gd name="csY9" fmla="*/ 1293971 h 1293971"/>
              <a:gd name="csX10" fmla="*/ 732014 w 2191610"/>
              <a:gd name="csY10" fmla="*/ 1293971 h 1293971"/>
              <a:gd name="csX11" fmla="*/ 215666 w 2191610"/>
              <a:gd name="csY11" fmla="*/ 1293971 h 1293971"/>
              <a:gd name="csX12" fmla="*/ 0 w 2191610"/>
              <a:gd name="csY12" fmla="*/ 1078305 h 1293971"/>
              <a:gd name="csX13" fmla="*/ 0 w 2191610"/>
              <a:gd name="csY13" fmla="*/ 672865 h 1293971"/>
              <a:gd name="csX14" fmla="*/ 0 w 2191610"/>
              <a:gd name="csY14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191610" h="1293971" fill="none" extrusionOk="0">
                <a:moveTo>
                  <a:pt x="0" y="215666"/>
                </a:moveTo>
                <a:cubicBezTo>
                  <a:pt x="-7493" y="92224"/>
                  <a:pt x="92846" y="-9397"/>
                  <a:pt x="215666" y="0"/>
                </a:cubicBezTo>
                <a:cubicBezTo>
                  <a:pt x="455648" y="-6459"/>
                  <a:pt x="586893" y="-79"/>
                  <a:pt x="837631" y="0"/>
                </a:cubicBezTo>
                <a:cubicBezTo>
                  <a:pt x="1088370" y="79"/>
                  <a:pt x="1219017" y="3993"/>
                  <a:pt x="1406787" y="0"/>
                </a:cubicBezTo>
                <a:cubicBezTo>
                  <a:pt x="1594557" y="-3993"/>
                  <a:pt x="1800370" y="-16965"/>
                  <a:pt x="1975944" y="0"/>
                </a:cubicBezTo>
                <a:cubicBezTo>
                  <a:pt x="2089530" y="-21145"/>
                  <a:pt x="2206733" y="93773"/>
                  <a:pt x="2191610" y="215666"/>
                </a:cubicBezTo>
                <a:cubicBezTo>
                  <a:pt x="2182956" y="325902"/>
                  <a:pt x="2193720" y="476464"/>
                  <a:pt x="2191610" y="638359"/>
                </a:cubicBezTo>
                <a:cubicBezTo>
                  <a:pt x="2189500" y="800254"/>
                  <a:pt x="2198973" y="894838"/>
                  <a:pt x="2191610" y="1078305"/>
                </a:cubicBezTo>
                <a:cubicBezTo>
                  <a:pt x="2188730" y="1198964"/>
                  <a:pt x="2103622" y="1320673"/>
                  <a:pt x="1975944" y="1293971"/>
                </a:cubicBezTo>
                <a:cubicBezTo>
                  <a:pt x="1731050" y="1272321"/>
                  <a:pt x="1574871" y="1309003"/>
                  <a:pt x="1353979" y="1293971"/>
                </a:cubicBezTo>
                <a:cubicBezTo>
                  <a:pt x="1133088" y="1278939"/>
                  <a:pt x="996618" y="1289419"/>
                  <a:pt x="732014" y="1293971"/>
                </a:cubicBezTo>
                <a:cubicBezTo>
                  <a:pt x="467410" y="1298523"/>
                  <a:pt x="464700" y="1279931"/>
                  <a:pt x="215666" y="1293971"/>
                </a:cubicBezTo>
                <a:cubicBezTo>
                  <a:pt x="97981" y="1321773"/>
                  <a:pt x="-3684" y="1191226"/>
                  <a:pt x="0" y="1078305"/>
                </a:cubicBezTo>
                <a:cubicBezTo>
                  <a:pt x="-15244" y="886969"/>
                  <a:pt x="-18601" y="765161"/>
                  <a:pt x="0" y="672865"/>
                </a:cubicBezTo>
                <a:cubicBezTo>
                  <a:pt x="18601" y="580569"/>
                  <a:pt x="-14154" y="428697"/>
                  <a:pt x="0" y="215666"/>
                </a:cubicBezTo>
                <a:close/>
              </a:path>
              <a:path w="2191610" h="1293971" stroke="0" extrusionOk="0">
                <a:moveTo>
                  <a:pt x="0" y="215666"/>
                </a:moveTo>
                <a:cubicBezTo>
                  <a:pt x="-15213" y="94117"/>
                  <a:pt x="90596" y="-8749"/>
                  <a:pt x="215666" y="0"/>
                </a:cubicBezTo>
                <a:cubicBezTo>
                  <a:pt x="371260" y="-26490"/>
                  <a:pt x="597665" y="-19582"/>
                  <a:pt x="802425" y="0"/>
                </a:cubicBezTo>
                <a:cubicBezTo>
                  <a:pt x="1007185" y="19582"/>
                  <a:pt x="1243639" y="-9985"/>
                  <a:pt x="1406787" y="0"/>
                </a:cubicBezTo>
                <a:cubicBezTo>
                  <a:pt x="1569935" y="9985"/>
                  <a:pt x="1715981" y="-10910"/>
                  <a:pt x="1975944" y="0"/>
                </a:cubicBezTo>
                <a:cubicBezTo>
                  <a:pt x="2116581" y="-4366"/>
                  <a:pt x="2178064" y="104735"/>
                  <a:pt x="2191610" y="215666"/>
                </a:cubicBezTo>
                <a:cubicBezTo>
                  <a:pt x="2211876" y="420177"/>
                  <a:pt x="2172980" y="439357"/>
                  <a:pt x="2191610" y="655612"/>
                </a:cubicBezTo>
                <a:cubicBezTo>
                  <a:pt x="2210240" y="871867"/>
                  <a:pt x="2200869" y="882870"/>
                  <a:pt x="2191610" y="1078305"/>
                </a:cubicBezTo>
                <a:cubicBezTo>
                  <a:pt x="2183890" y="1196055"/>
                  <a:pt x="2090480" y="1289015"/>
                  <a:pt x="1975944" y="1293971"/>
                </a:cubicBezTo>
                <a:cubicBezTo>
                  <a:pt x="1841932" y="1264516"/>
                  <a:pt x="1527519" y="1272054"/>
                  <a:pt x="1371582" y="1293971"/>
                </a:cubicBezTo>
                <a:cubicBezTo>
                  <a:pt x="1215645" y="1315888"/>
                  <a:pt x="1034522" y="1290046"/>
                  <a:pt x="784823" y="1293971"/>
                </a:cubicBezTo>
                <a:cubicBezTo>
                  <a:pt x="535124" y="1297896"/>
                  <a:pt x="387732" y="1290488"/>
                  <a:pt x="215666" y="1293971"/>
                </a:cubicBezTo>
                <a:cubicBezTo>
                  <a:pt x="81615" y="1270479"/>
                  <a:pt x="-1658" y="1187441"/>
                  <a:pt x="0" y="1078305"/>
                </a:cubicBezTo>
                <a:cubicBezTo>
                  <a:pt x="-19181" y="902212"/>
                  <a:pt x="21723" y="791855"/>
                  <a:pt x="0" y="638359"/>
                </a:cubicBezTo>
                <a:cubicBezTo>
                  <a:pt x="-21723" y="484863"/>
                  <a:pt x="-6837" y="347435"/>
                  <a:pt x="0" y="215666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256340889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ohn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trine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mming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le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urli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DCEB4413-6F68-7034-CDF8-04C5BFF1083D}"/>
              </a:ext>
            </a:extLst>
          </p:cNvPr>
          <p:cNvSpPr txBox="1"/>
          <p:nvPr/>
        </p:nvSpPr>
        <p:spPr>
          <a:xfrm rot="742220">
            <a:off x="6194840" y="2774561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710753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5440" y="20970"/>
                  <a:pt x="20214" y="5205"/>
                  <a:pt x="51079" y="0"/>
                </a:cubicBezTo>
                <a:cubicBezTo>
                  <a:pt x="373750" y="26443"/>
                  <a:pt x="518353" y="-1534"/>
                  <a:pt x="710753" y="0"/>
                </a:cubicBezTo>
                <a:cubicBezTo>
                  <a:pt x="903153" y="1534"/>
                  <a:pt x="1259548" y="33071"/>
                  <a:pt x="1397353" y="0"/>
                </a:cubicBezTo>
                <a:cubicBezTo>
                  <a:pt x="1423438" y="-85"/>
                  <a:pt x="1447824" y="17287"/>
                  <a:pt x="1448432" y="51079"/>
                </a:cubicBezTo>
                <a:cubicBezTo>
                  <a:pt x="1442191" y="93005"/>
                  <a:pt x="1440770" y="203779"/>
                  <a:pt x="1448432" y="255388"/>
                </a:cubicBezTo>
                <a:cubicBezTo>
                  <a:pt x="1446500" y="281492"/>
                  <a:pt x="1427062" y="302033"/>
                  <a:pt x="1397353" y="306467"/>
                </a:cubicBezTo>
                <a:cubicBezTo>
                  <a:pt x="1076728" y="300580"/>
                  <a:pt x="1016935" y="295902"/>
                  <a:pt x="737679" y="306467"/>
                </a:cubicBezTo>
                <a:cubicBezTo>
                  <a:pt x="458423" y="317032"/>
                  <a:pt x="262907" y="328729"/>
                  <a:pt x="51079" y="306467"/>
                </a:cubicBezTo>
                <a:cubicBezTo>
                  <a:pt x="25455" y="304487"/>
                  <a:pt x="2371" y="278632"/>
                  <a:pt x="0" y="255388"/>
                </a:cubicBezTo>
                <a:cubicBezTo>
                  <a:pt x="-9489" y="185670"/>
                  <a:pt x="-6398" y="132856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-2337" y="25587"/>
                  <a:pt x="23859" y="-1648"/>
                  <a:pt x="51079" y="0"/>
                </a:cubicBezTo>
                <a:cubicBezTo>
                  <a:pt x="217418" y="4363"/>
                  <a:pt x="381748" y="-8343"/>
                  <a:pt x="683828" y="0"/>
                </a:cubicBezTo>
                <a:cubicBezTo>
                  <a:pt x="985908" y="8343"/>
                  <a:pt x="1228856" y="5672"/>
                  <a:pt x="1397353" y="0"/>
                </a:cubicBezTo>
                <a:cubicBezTo>
                  <a:pt x="1424410" y="5985"/>
                  <a:pt x="1444932" y="25393"/>
                  <a:pt x="1448432" y="51079"/>
                </a:cubicBezTo>
                <a:cubicBezTo>
                  <a:pt x="1458229" y="133895"/>
                  <a:pt x="1458073" y="200705"/>
                  <a:pt x="1448432" y="255388"/>
                </a:cubicBezTo>
                <a:cubicBezTo>
                  <a:pt x="1444504" y="285223"/>
                  <a:pt x="1426912" y="300768"/>
                  <a:pt x="1397353" y="306467"/>
                </a:cubicBezTo>
                <a:cubicBezTo>
                  <a:pt x="1181292" y="281845"/>
                  <a:pt x="1026882" y="323016"/>
                  <a:pt x="710753" y="306467"/>
                </a:cubicBezTo>
                <a:cubicBezTo>
                  <a:pt x="394624" y="289918"/>
                  <a:pt x="232765" y="297557"/>
                  <a:pt x="51079" y="306467"/>
                </a:cubicBezTo>
                <a:cubicBezTo>
                  <a:pt x="22443" y="309063"/>
                  <a:pt x="6373" y="284172"/>
                  <a:pt x="0" y="255388"/>
                </a:cubicBezTo>
                <a:cubicBezTo>
                  <a:pt x="3258" y="183992"/>
                  <a:pt x="-8739" y="120251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30121096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Indsæt nav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3AB9EA-DE91-3E6C-03A9-7E7E628E5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 14pt" pitchFamily="2" charset="0"/>
              </a:rPr>
              <a:t>Inddeling i grupper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38AC516-3162-1A2D-6563-EFA07B3C56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6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B5C9F7E-3C7E-B762-2277-FD489E70EA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0"/>
              </a:rPr>
              <a:t>Uddeling af målepunktskort, minikort og matrix</a:t>
            </a:r>
          </a:p>
        </p:txBody>
      </p:sp>
      <p:sp>
        <p:nvSpPr>
          <p:cNvPr id="18" name="Rectangle: Rounded Corners 44">
            <a:extLst>
              <a:ext uri="{FF2B5EF4-FFF2-40B4-BE49-F238E27FC236}">
                <a16:creationId xmlns:a16="http://schemas.microsoft.com/office/drawing/2014/main" id="{7D1F4175-6FAC-4EE8-FD68-EF1B9131B1BE}"/>
              </a:ext>
            </a:extLst>
          </p:cNvPr>
          <p:cNvSpPr/>
          <p:nvPr/>
        </p:nvSpPr>
        <p:spPr>
          <a:xfrm>
            <a:off x="10037549" y="1929285"/>
            <a:ext cx="121828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DM Sans 14pt" pitchFamily="2" charset="77"/>
                <a:ea typeface="Verdana" panose="020B0604030504040204" pitchFamily="34" charset="0"/>
              </a:rPr>
              <a:t>Governance</a:t>
            </a:r>
          </a:p>
        </p:txBody>
      </p:sp>
      <p:sp>
        <p:nvSpPr>
          <p:cNvPr id="19" name="Rectangle: Rounded Corners 62">
            <a:extLst>
              <a:ext uri="{FF2B5EF4-FFF2-40B4-BE49-F238E27FC236}">
                <a16:creationId xmlns:a16="http://schemas.microsoft.com/office/drawing/2014/main" id="{B14F1783-7154-74FF-C65E-B0496B58E2E6}"/>
              </a:ext>
            </a:extLst>
          </p:cNvPr>
          <p:cNvSpPr/>
          <p:nvPr/>
        </p:nvSpPr>
        <p:spPr>
          <a:xfrm>
            <a:off x="2641611" y="1929285"/>
            <a:ext cx="48731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  <a:ea typeface="Verdana" panose="020B0604030504040204" pitchFamily="34" charset="0"/>
              </a:rPr>
              <a:t>Miljø</a:t>
            </a:r>
          </a:p>
        </p:txBody>
      </p:sp>
      <p:sp>
        <p:nvSpPr>
          <p:cNvPr id="20" name="Rectangle: Rounded Corners 85">
            <a:extLst>
              <a:ext uri="{FF2B5EF4-FFF2-40B4-BE49-F238E27FC236}">
                <a16:creationId xmlns:a16="http://schemas.microsoft.com/office/drawing/2014/main" id="{A595F78A-582A-2E36-DAC5-E38B53988E69}"/>
              </a:ext>
            </a:extLst>
          </p:cNvPr>
          <p:cNvSpPr/>
          <p:nvPr/>
        </p:nvSpPr>
        <p:spPr>
          <a:xfrm>
            <a:off x="6430195" y="1912577"/>
            <a:ext cx="59631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DM Sans 14pt" pitchFamily="2" charset="77"/>
                <a:ea typeface="Verdana" panose="020B0604030504040204" pitchFamily="34" charset="0"/>
              </a:rPr>
              <a:t>Social</a:t>
            </a:r>
          </a:p>
        </p:txBody>
      </p:sp>
      <p:grpSp>
        <p:nvGrpSpPr>
          <p:cNvPr id="21" name="Group 330">
            <a:extLst>
              <a:ext uri="{FF2B5EF4-FFF2-40B4-BE49-F238E27FC236}">
                <a16:creationId xmlns:a16="http://schemas.microsoft.com/office/drawing/2014/main" id="{0C300612-24E9-E1AD-0CA8-DA66564FABB2}"/>
              </a:ext>
            </a:extLst>
          </p:cNvPr>
          <p:cNvGrpSpPr/>
          <p:nvPr/>
        </p:nvGrpSpPr>
        <p:grpSpPr>
          <a:xfrm>
            <a:off x="1609369" y="1578592"/>
            <a:ext cx="958810" cy="966280"/>
            <a:chOff x="4156082" y="-3024236"/>
            <a:chExt cx="2183420" cy="2200431"/>
          </a:xfrm>
        </p:grpSpPr>
        <p:sp>
          <p:nvSpPr>
            <p:cNvPr id="22" name="Freeform: Shape 328">
              <a:extLst>
                <a:ext uri="{FF2B5EF4-FFF2-40B4-BE49-F238E27FC236}">
                  <a16:creationId xmlns:a16="http://schemas.microsoft.com/office/drawing/2014/main" id="{6762C8E8-82AF-4230-645C-2059EC643B6B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4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23" name="Freeform: Shape 329">
              <a:extLst>
                <a:ext uri="{FF2B5EF4-FFF2-40B4-BE49-F238E27FC236}">
                  <a16:creationId xmlns:a16="http://schemas.microsoft.com/office/drawing/2014/main" id="{D30FB42C-52EB-E808-A990-93BC015CAE62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4" name="Group 331">
            <a:extLst>
              <a:ext uri="{FF2B5EF4-FFF2-40B4-BE49-F238E27FC236}">
                <a16:creationId xmlns:a16="http://schemas.microsoft.com/office/drawing/2014/main" id="{180E4086-752F-B746-DD78-F9574EAF41DD}"/>
              </a:ext>
            </a:extLst>
          </p:cNvPr>
          <p:cNvGrpSpPr/>
          <p:nvPr/>
        </p:nvGrpSpPr>
        <p:grpSpPr>
          <a:xfrm>
            <a:off x="5382306" y="1553987"/>
            <a:ext cx="962976" cy="963400"/>
            <a:chOff x="3092692" y="-1631033"/>
            <a:chExt cx="2192906" cy="2193874"/>
          </a:xfrm>
        </p:grpSpPr>
        <p:sp>
          <p:nvSpPr>
            <p:cNvPr id="25" name="Freeform: Shape 326">
              <a:extLst>
                <a:ext uri="{FF2B5EF4-FFF2-40B4-BE49-F238E27FC236}">
                  <a16:creationId xmlns:a16="http://schemas.microsoft.com/office/drawing/2014/main" id="{77E3BF9A-5CEC-D9FB-2470-C8BF9767C669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" name="Freeform: Shape 327">
              <a:extLst>
                <a:ext uri="{FF2B5EF4-FFF2-40B4-BE49-F238E27FC236}">
                  <a16:creationId xmlns:a16="http://schemas.microsoft.com/office/drawing/2014/main" id="{2FC15CC1-0670-709A-A60E-4564A2C81BAE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  <p:grpSp>
        <p:nvGrpSpPr>
          <p:cNvPr id="27" name="Group 332">
            <a:extLst>
              <a:ext uri="{FF2B5EF4-FFF2-40B4-BE49-F238E27FC236}">
                <a16:creationId xmlns:a16="http://schemas.microsoft.com/office/drawing/2014/main" id="{65B85DEA-3683-FCF1-6413-E1856B2785CD}"/>
              </a:ext>
            </a:extLst>
          </p:cNvPr>
          <p:cNvGrpSpPr/>
          <p:nvPr/>
        </p:nvGrpSpPr>
        <p:grpSpPr>
          <a:xfrm rot="21410080">
            <a:off x="9060638" y="1602900"/>
            <a:ext cx="905270" cy="898990"/>
            <a:chOff x="8336051" y="3610471"/>
            <a:chExt cx="2227633" cy="2212181"/>
          </a:xfrm>
        </p:grpSpPr>
        <p:sp>
          <p:nvSpPr>
            <p:cNvPr id="28" name="Freeform: Shape 333">
              <a:extLst>
                <a:ext uri="{FF2B5EF4-FFF2-40B4-BE49-F238E27FC236}">
                  <a16:creationId xmlns:a16="http://schemas.microsoft.com/office/drawing/2014/main" id="{D0C1A337-B530-0022-3F75-ABCBF06B35E1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29" name="Freeform: Shape 334">
              <a:extLst>
                <a:ext uri="{FF2B5EF4-FFF2-40B4-BE49-F238E27FC236}">
                  <a16:creationId xmlns:a16="http://schemas.microsoft.com/office/drawing/2014/main" id="{3839FC29-374A-DBC5-3C43-53AE1990B98F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49" name="Picture 2">
            <a:extLst>
              <a:ext uri="{FF2B5EF4-FFF2-40B4-BE49-F238E27FC236}">
                <a16:creationId xmlns:a16="http://schemas.microsoft.com/office/drawing/2014/main" id="{CF4EDFD8-1845-1039-1728-C5FE18BC7B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998" y="4669770"/>
            <a:ext cx="2191609" cy="15021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076E7261-41C7-03E7-0DB2-F0A44D592054}"/>
              </a:ext>
            </a:extLst>
          </p:cNvPr>
          <p:cNvSpPr txBox="1"/>
          <p:nvPr/>
        </p:nvSpPr>
        <p:spPr>
          <a:xfrm rot="742220">
            <a:off x="2484963" y="2840872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697291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-2381" y="21464"/>
                  <a:pt x="23383" y="2099"/>
                  <a:pt x="51079" y="0"/>
                </a:cubicBezTo>
                <a:cubicBezTo>
                  <a:pt x="300845" y="25115"/>
                  <a:pt x="415232" y="-4230"/>
                  <a:pt x="697291" y="0"/>
                </a:cubicBezTo>
                <a:cubicBezTo>
                  <a:pt x="979350" y="4230"/>
                  <a:pt x="1202956" y="-20302"/>
                  <a:pt x="1397353" y="0"/>
                </a:cubicBezTo>
                <a:cubicBezTo>
                  <a:pt x="1425956" y="3372"/>
                  <a:pt x="1446423" y="21059"/>
                  <a:pt x="1448432" y="51079"/>
                </a:cubicBezTo>
                <a:cubicBezTo>
                  <a:pt x="1458347" y="104360"/>
                  <a:pt x="1446107" y="210904"/>
                  <a:pt x="1448432" y="255388"/>
                </a:cubicBezTo>
                <a:cubicBezTo>
                  <a:pt x="1447159" y="290265"/>
                  <a:pt x="1428903" y="301834"/>
                  <a:pt x="1397353" y="306467"/>
                </a:cubicBezTo>
                <a:cubicBezTo>
                  <a:pt x="1142069" y="312539"/>
                  <a:pt x="987196" y="329541"/>
                  <a:pt x="737679" y="306467"/>
                </a:cubicBezTo>
                <a:cubicBezTo>
                  <a:pt x="488162" y="283393"/>
                  <a:pt x="363677" y="322192"/>
                  <a:pt x="51079" y="306467"/>
                </a:cubicBezTo>
                <a:cubicBezTo>
                  <a:pt x="21588" y="304429"/>
                  <a:pt x="4265" y="278659"/>
                  <a:pt x="0" y="255388"/>
                </a:cubicBezTo>
                <a:cubicBezTo>
                  <a:pt x="1011" y="165622"/>
                  <a:pt x="-114" y="114463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4770" y="21116"/>
                  <a:pt x="24289" y="-3650"/>
                  <a:pt x="51079" y="0"/>
                </a:cubicBezTo>
                <a:cubicBezTo>
                  <a:pt x="299115" y="12978"/>
                  <a:pt x="522345" y="-5284"/>
                  <a:pt x="724216" y="0"/>
                </a:cubicBezTo>
                <a:cubicBezTo>
                  <a:pt x="926087" y="5284"/>
                  <a:pt x="1232199" y="-15968"/>
                  <a:pt x="1397353" y="0"/>
                </a:cubicBezTo>
                <a:cubicBezTo>
                  <a:pt x="1428158" y="1647"/>
                  <a:pt x="1453463" y="25924"/>
                  <a:pt x="1448432" y="51079"/>
                </a:cubicBezTo>
                <a:cubicBezTo>
                  <a:pt x="1454670" y="106806"/>
                  <a:pt x="1443566" y="165446"/>
                  <a:pt x="1448432" y="255388"/>
                </a:cubicBezTo>
                <a:cubicBezTo>
                  <a:pt x="1448958" y="284535"/>
                  <a:pt x="1424914" y="306525"/>
                  <a:pt x="1397353" y="306467"/>
                </a:cubicBezTo>
                <a:cubicBezTo>
                  <a:pt x="1159065" y="293532"/>
                  <a:pt x="997223" y="326544"/>
                  <a:pt x="737679" y="306467"/>
                </a:cubicBezTo>
                <a:cubicBezTo>
                  <a:pt x="478135" y="286390"/>
                  <a:pt x="309271" y="309691"/>
                  <a:pt x="51079" y="306467"/>
                </a:cubicBezTo>
                <a:cubicBezTo>
                  <a:pt x="23286" y="309851"/>
                  <a:pt x="-2045" y="281984"/>
                  <a:pt x="0" y="255388"/>
                </a:cubicBezTo>
                <a:cubicBezTo>
                  <a:pt x="6909" y="188635"/>
                  <a:pt x="9443" y="109829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9975536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Indsæt navne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3D7CFB01-E5E5-1A1B-6E8B-071C4BE51971}"/>
              </a:ext>
            </a:extLst>
          </p:cNvPr>
          <p:cNvSpPr txBox="1"/>
          <p:nvPr/>
        </p:nvSpPr>
        <p:spPr>
          <a:xfrm rot="742220">
            <a:off x="10066940" y="2807380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751141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844" y="24108"/>
                  <a:pt x="19716" y="4712"/>
                  <a:pt x="51079" y="0"/>
                </a:cubicBezTo>
                <a:cubicBezTo>
                  <a:pt x="310078" y="2815"/>
                  <a:pt x="449276" y="-22226"/>
                  <a:pt x="751141" y="0"/>
                </a:cubicBezTo>
                <a:cubicBezTo>
                  <a:pt x="1053006" y="22226"/>
                  <a:pt x="1234760" y="-7719"/>
                  <a:pt x="1397353" y="0"/>
                </a:cubicBezTo>
                <a:cubicBezTo>
                  <a:pt x="1430007" y="1260"/>
                  <a:pt x="1445111" y="19565"/>
                  <a:pt x="1448432" y="51079"/>
                </a:cubicBezTo>
                <a:cubicBezTo>
                  <a:pt x="1448702" y="106709"/>
                  <a:pt x="1441759" y="192486"/>
                  <a:pt x="1448432" y="255388"/>
                </a:cubicBezTo>
                <a:cubicBezTo>
                  <a:pt x="1447664" y="277468"/>
                  <a:pt x="1426557" y="312863"/>
                  <a:pt x="1397353" y="306467"/>
                </a:cubicBezTo>
                <a:cubicBezTo>
                  <a:pt x="1195956" y="294514"/>
                  <a:pt x="914398" y="338353"/>
                  <a:pt x="737679" y="306467"/>
                </a:cubicBezTo>
                <a:cubicBezTo>
                  <a:pt x="560960" y="274581"/>
                  <a:pt x="221739" y="317565"/>
                  <a:pt x="51079" y="306467"/>
                </a:cubicBezTo>
                <a:cubicBezTo>
                  <a:pt x="21402" y="312747"/>
                  <a:pt x="-4909" y="285465"/>
                  <a:pt x="0" y="255388"/>
                </a:cubicBezTo>
                <a:cubicBezTo>
                  <a:pt x="-3312" y="207430"/>
                  <a:pt x="-2181" y="131120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3863" y="23099"/>
                  <a:pt x="26986" y="2651"/>
                  <a:pt x="51079" y="0"/>
                </a:cubicBezTo>
                <a:cubicBezTo>
                  <a:pt x="384089" y="-8409"/>
                  <a:pt x="427741" y="19903"/>
                  <a:pt x="751141" y="0"/>
                </a:cubicBezTo>
                <a:cubicBezTo>
                  <a:pt x="1074541" y="-19903"/>
                  <a:pt x="1130685" y="13485"/>
                  <a:pt x="1397353" y="0"/>
                </a:cubicBezTo>
                <a:cubicBezTo>
                  <a:pt x="1423087" y="4850"/>
                  <a:pt x="1451812" y="21394"/>
                  <a:pt x="1448432" y="51079"/>
                </a:cubicBezTo>
                <a:cubicBezTo>
                  <a:pt x="1450424" y="127012"/>
                  <a:pt x="1445560" y="184023"/>
                  <a:pt x="1448432" y="255388"/>
                </a:cubicBezTo>
                <a:cubicBezTo>
                  <a:pt x="1446403" y="283483"/>
                  <a:pt x="1425681" y="311400"/>
                  <a:pt x="1397353" y="306467"/>
                </a:cubicBezTo>
                <a:cubicBezTo>
                  <a:pt x="1114754" y="279892"/>
                  <a:pt x="1060645" y="303673"/>
                  <a:pt x="751141" y="306467"/>
                </a:cubicBezTo>
                <a:cubicBezTo>
                  <a:pt x="441637" y="309261"/>
                  <a:pt x="261570" y="312189"/>
                  <a:pt x="51079" y="306467"/>
                </a:cubicBezTo>
                <a:cubicBezTo>
                  <a:pt x="23295" y="305353"/>
                  <a:pt x="-671" y="280725"/>
                  <a:pt x="0" y="255388"/>
                </a:cubicBezTo>
                <a:cubicBezTo>
                  <a:pt x="3430" y="192191"/>
                  <a:pt x="4584" y="112855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588887795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Indsæt navne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4DB7B571-478E-D30E-657E-29A51DF8D6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487" y="4669770"/>
            <a:ext cx="2191609" cy="15021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1D860DCF-78D8-E9F8-7E36-62015FA82D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7759" y="4669770"/>
            <a:ext cx="2191609" cy="15021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Billede 15" descr="Et billede, der indeholder tekst, skærmbillede, Font/skrifttype, logo&#10;&#10;AI-genereret indhold kan være ukorrekt.">
            <a:extLst>
              <a:ext uri="{FF2B5EF4-FFF2-40B4-BE49-F238E27FC236}">
                <a16:creationId xmlns:a16="http://schemas.microsoft.com/office/drawing/2014/main" id="{6D9DFAFE-7638-4B95-B86E-44F34D5AACB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381680" y="3790780"/>
            <a:ext cx="433594" cy="612000"/>
          </a:xfrm>
          <a:prstGeom prst="rect">
            <a:avLst/>
          </a:prstGeom>
        </p:spPr>
      </p:pic>
      <p:pic>
        <p:nvPicPr>
          <p:cNvPr id="38" name="Billede 37" descr="Et billede, der indeholder tekst, Font/skrifttype, logo, clipart&#10;&#10;AI-genereret indhold kan være ukorrekt.">
            <a:extLst>
              <a:ext uri="{FF2B5EF4-FFF2-40B4-BE49-F238E27FC236}">
                <a16:creationId xmlns:a16="http://schemas.microsoft.com/office/drawing/2014/main" id="{D01D28BD-B802-4EBC-5502-228A01CE423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29847" y="3743169"/>
            <a:ext cx="433594" cy="612000"/>
          </a:xfrm>
          <a:prstGeom prst="rect">
            <a:avLst/>
          </a:prstGeom>
        </p:spPr>
      </p:pic>
      <p:pic>
        <p:nvPicPr>
          <p:cNvPr id="87" name="Billede 86" descr="Et billede, der indeholder tekst, Font/skrifttype, logo, design&#10;&#10;AI-genereret indhold kan være ukorrekt.">
            <a:extLst>
              <a:ext uri="{FF2B5EF4-FFF2-40B4-BE49-F238E27FC236}">
                <a16:creationId xmlns:a16="http://schemas.microsoft.com/office/drawing/2014/main" id="{AB8409FC-EA52-546B-D312-1E3E5250AE4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764811" y="3730096"/>
            <a:ext cx="408087" cy="576000"/>
          </a:xfrm>
          <a:prstGeom prst="rect">
            <a:avLst/>
          </a:prstGeom>
        </p:spPr>
      </p:pic>
      <p:pic>
        <p:nvPicPr>
          <p:cNvPr id="99" name="Billede 98" descr="Et billede, der indeholder tekst, clipart, design&#10;&#10;AI-genereret indhold kan være ukorrekt.">
            <a:extLst>
              <a:ext uri="{FF2B5EF4-FFF2-40B4-BE49-F238E27FC236}">
                <a16:creationId xmlns:a16="http://schemas.microsoft.com/office/drawing/2014/main" id="{361DC9E2-7997-BE3F-5090-B5BFB9EEDC8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857587" y="5457799"/>
            <a:ext cx="408087" cy="576000"/>
          </a:xfrm>
          <a:prstGeom prst="rect">
            <a:avLst/>
          </a:prstGeom>
        </p:spPr>
      </p:pic>
      <p:pic>
        <p:nvPicPr>
          <p:cNvPr id="101" name="Billede 100" descr="Et billede, der indeholder tekst, design, clipart, symbol&#10;&#10;AI-genereret indhold kan være ukorrekt.">
            <a:extLst>
              <a:ext uri="{FF2B5EF4-FFF2-40B4-BE49-F238E27FC236}">
                <a16:creationId xmlns:a16="http://schemas.microsoft.com/office/drawing/2014/main" id="{4D7B17BF-AF00-6DD0-D6B7-AA25D7C18F8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516098" y="3751459"/>
            <a:ext cx="382582" cy="540000"/>
          </a:xfrm>
          <a:prstGeom prst="rect">
            <a:avLst/>
          </a:prstGeom>
        </p:spPr>
      </p:pic>
      <p:sp>
        <p:nvSpPr>
          <p:cNvPr id="10" name="Ellipse 2">
            <a:extLst>
              <a:ext uri="{FF2B5EF4-FFF2-40B4-BE49-F238E27FC236}">
                <a16:creationId xmlns:a16="http://schemas.microsoft.com/office/drawing/2014/main" id="{E457DF65-68ED-9C49-BED1-BD5D3574581A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6"/>
                </a:solidFill>
                <a:latin typeface="DM Sans 14pt" pitchFamily="2" charset="77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39230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2104F-BC6F-E2BA-6B85-E46AD3F618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2389AD9-6087-66CC-7443-2BB22B1D97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1784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389AD9-6087-66CC-7443-2BB22B1D9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D646718-33A2-4BF8-253F-FBCD29F958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 14pt" pitchFamily="2" charset="0"/>
              </a:rPr>
              <a:t>Step 1: Gruppearbejde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D1852AA0-516B-E713-BAE7-FCAF62F751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19554"/>
            <a:ext cx="5297850" cy="286560"/>
          </a:xfrm>
        </p:spPr>
        <p:txBody>
          <a:bodyPr/>
          <a:lstStyle/>
          <a:p>
            <a:pPr marL="0" indent="0">
              <a:buNone/>
            </a:pPr>
            <a:r>
              <a:rPr lang="da-DK" b="1" dirty="0">
                <a:ea typeface="Verdana" panose="020B0604030504040204" pitchFamily="34" charset="0"/>
              </a:rPr>
              <a:t>Vurder og placer målepunkterne 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E25D717-AED0-BE85-1EDE-B0F6E97FFF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2D62F097-AD09-3B3E-439C-269ACE550CEA}"/>
              </a:ext>
            </a:extLst>
          </p:cNvPr>
          <p:cNvSpPr/>
          <p:nvPr/>
        </p:nvSpPr>
        <p:spPr>
          <a:xfrm rot="16200000">
            <a:off x="7012785" y="548951"/>
            <a:ext cx="4660007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F083ED0D-F21B-2D62-FE4B-5B78D16FE8A6}"/>
              </a:ext>
            </a:extLst>
          </p:cNvPr>
          <p:cNvGrpSpPr/>
          <p:nvPr/>
        </p:nvGrpSpPr>
        <p:grpSpPr>
          <a:xfrm>
            <a:off x="6096000" y="753674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98790934-06AB-1AB8-AB9F-2C794BB3E148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Øvelse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D2845BA4-D8DA-7966-11E3-E72CDE4F01B1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9" name="Tekstfelt 3">
            <a:extLst>
              <a:ext uri="{FF2B5EF4-FFF2-40B4-BE49-F238E27FC236}">
                <a16:creationId xmlns:a16="http://schemas.microsoft.com/office/drawing/2014/main" id="{FCA197DB-E1B4-97AB-0713-5E69D9321669}"/>
              </a:ext>
            </a:extLst>
          </p:cNvPr>
          <p:cNvSpPr txBox="1"/>
          <p:nvPr/>
        </p:nvSpPr>
        <p:spPr>
          <a:xfrm>
            <a:off x="6778909" y="2014233"/>
            <a:ext cx="5262932" cy="36471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-akse </a:t>
            </a:r>
            <a:r>
              <a:rPr kumimoji="0" lang="da-DK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vandret): 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or meget værdi og effekt kan målepunktet skabe for vores beboer, organisation og omgivelser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-akse </a:t>
            </a:r>
            <a:r>
              <a:rPr kumimoji="0" lang="da-DK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lodret): 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or høj risiko er der for organisationen ved ikke at gøre noget ved dette målepunk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r hvor akserne krydser er 0, ingen værdiskabelse/risiko. Jo længere ud på aksen - jo mere værdiskabelse/risik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ksempel: </a:t>
            </a:r>
            <a:r>
              <a:rPr kumimoji="0" lang="da-DK" sz="11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 målepunkt med stor værdiskabelse og lav risiko vil være langt ude på x-aksen, men lavt på y-aksen (nedre højre hjørne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læser målepunktsbeskrivelserne bag på de store kort. I grupperne taler I jer frem til, hvor hvert målepunkt skal placeres på arket. Brug jeres erfaringer og den viden som I har til rådighed og tænk på jeres bygninger, beboere, lokalområdet, afdelinger osv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æg mini kortene fysisk på arket, så I visuelt kan se fordeling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r er eksempel vist med E-målepunkter.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5CA1D0E-0D28-BB82-4E5B-B00BDA0E4B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8048" y="1898373"/>
            <a:ext cx="5671346" cy="388806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7CBBCA1A-2ECA-A14C-30F4-56B3115EE7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652110">
            <a:off x="4754450" y="2700565"/>
            <a:ext cx="254528" cy="360000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8E414241-58C6-B981-7425-7A9156F6BD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550589">
            <a:off x="3624450" y="2499798"/>
            <a:ext cx="254528" cy="360000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3133700C-D3C7-F034-FBF4-6051C9D3B73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1338428">
            <a:off x="3792333" y="4340466"/>
            <a:ext cx="263535" cy="360000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6AA28BC-54E6-EB0D-CB9E-C43BE19C746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0800000">
            <a:off x="3484475" y="2876481"/>
            <a:ext cx="254528" cy="360000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3F44B02A-F452-5FCA-DEA6-ACBEB5557FF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38607" y="3372228"/>
            <a:ext cx="254527" cy="360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BF3AC4BC-F0B1-CEDA-FEB2-1F3E5B088DF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0165366">
            <a:off x="3397076" y="3444185"/>
            <a:ext cx="254528" cy="360000"/>
          </a:xfrm>
          <a:prstGeom prst="rect">
            <a:avLst/>
          </a:prstGeom>
        </p:spPr>
      </p:pic>
      <p:sp>
        <p:nvSpPr>
          <p:cNvPr id="83" name="Tekstfelt 82">
            <a:extLst>
              <a:ext uri="{FF2B5EF4-FFF2-40B4-BE49-F238E27FC236}">
                <a16:creationId xmlns:a16="http://schemas.microsoft.com/office/drawing/2014/main" id="{D10DCEDA-A7D3-4C29-BF81-696DC83D04B0}"/>
              </a:ext>
            </a:extLst>
          </p:cNvPr>
          <p:cNvSpPr txBox="1"/>
          <p:nvPr/>
        </p:nvSpPr>
        <p:spPr>
          <a:xfrm>
            <a:off x="10816642" y="1352179"/>
            <a:ext cx="10839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40 min</a:t>
            </a:r>
          </a:p>
        </p:txBody>
      </p:sp>
      <p:pic>
        <p:nvPicPr>
          <p:cNvPr id="84" name="Grafik 83">
            <a:extLst>
              <a:ext uri="{FF2B5EF4-FFF2-40B4-BE49-F238E27FC236}">
                <a16:creationId xmlns:a16="http://schemas.microsoft.com/office/drawing/2014/main" id="{778CB50E-8E96-F0FB-5CD2-48A38EBCEA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sp>
        <p:nvSpPr>
          <p:cNvPr id="18" name="Ellipse 2">
            <a:extLst>
              <a:ext uri="{FF2B5EF4-FFF2-40B4-BE49-F238E27FC236}">
                <a16:creationId xmlns:a16="http://schemas.microsoft.com/office/drawing/2014/main" id="{0CC16186-4CD0-2234-6031-B57453521449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6"/>
                </a:solidFill>
                <a:latin typeface="DM Sans 14pt" pitchFamily="2" charset="77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77720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E793A3-9AD1-A8C4-6939-1DD313AFC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Top Corners Rounded 40">
            <a:extLst>
              <a:ext uri="{FF2B5EF4-FFF2-40B4-BE49-F238E27FC236}">
                <a16:creationId xmlns:a16="http://schemas.microsoft.com/office/drawing/2014/main" id="{50DA5F84-CE27-D4BC-CBD6-B1B252538B5F}"/>
              </a:ext>
            </a:extLst>
          </p:cNvPr>
          <p:cNvSpPr/>
          <p:nvPr/>
        </p:nvSpPr>
        <p:spPr>
          <a:xfrm rot="16200000">
            <a:off x="8215112" y="-421148"/>
            <a:ext cx="2255353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9E4839D-558B-3B58-87F3-16740D60D1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0780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E4839D-558B-3B58-87F3-16740D60D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4170E7-1FE1-65F3-0F42-315A030EC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ep 2: Snak i plenum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606D334-37C7-2B9D-4932-DEBCE6FED9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152" y="1533842"/>
            <a:ext cx="11472000" cy="378056"/>
          </a:xfrm>
        </p:spPr>
        <p:txBody>
          <a:bodyPr/>
          <a:lstStyle/>
          <a:p>
            <a:pPr marL="0" indent="0">
              <a:buNone/>
            </a:pPr>
            <a:r>
              <a:rPr lang="da-DK" b="1" dirty="0">
                <a:ea typeface="Verdana" panose="020B0604030504040204" pitchFamily="34" charset="0"/>
              </a:rPr>
              <a:t>Samlet overblik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BF2F434-C11F-6C78-8115-679611383C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54D05B55-CC04-237D-E0AB-E842DB634AA7}"/>
              </a:ext>
            </a:extLst>
          </p:cNvPr>
          <p:cNvGrpSpPr/>
          <p:nvPr/>
        </p:nvGrpSpPr>
        <p:grpSpPr>
          <a:xfrm>
            <a:off x="6096000" y="971386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5B899F2B-147D-B409-9389-1AFE5A5B1F6C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Dialog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7DD779D1-E317-E625-A95B-14A6919EA2D0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pic>
        <p:nvPicPr>
          <p:cNvPr id="18" name="Billede 17">
            <a:extLst>
              <a:ext uri="{FF2B5EF4-FFF2-40B4-BE49-F238E27FC236}">
                <a16:creationId xmlns:a16="http://schemas.microsoft.com/office/drawing/2014/main" id="{2E49799B-0D43-96F7-9289-D87DA9E488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8049" y="1898374"/>
            <a:ext cx="5671346" cy="389167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670B2067-48F7-5F43-3D0D-F371B90CA3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652110">
            <a:off x="2468136" y="3002298"/>
            <a:ext cx="375212" cy="530693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836A4E71-2C41-C18F-C910-2939F38625F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0550589">
            <a:off x="5314928" y="3368884"/>
            <a:ext cx="375212" cy="530693"/>
          </a:xfrm>
          <a:prstGeom prst="rect">
            <a:avLst/>
          </a:prstGeom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FF0CD257-CEF9-69C2-CA7C-3AF2C1F2D43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1338428">
            <a:off x="946636" y="2970098"/>
            <a:ext cx="388489" cy="530693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EF370FA4-11C9-9596-D838-47443CBF5C6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0800000">
            <a:off x="1036013" y="3925396"/>
            <a:ext cx="375212" cy="530693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E8338051-18DB-83B4-BEAE-1B3FBC607FB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59255" y="3092120"/>
            <a:ext cx="375210" cy="530693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132EA8B6-2D9A-707E-78E1-971C302FE6C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0165366">
            <a:off x="1784281" y="3699556"/>
            <a:ext cx="375211" cy="530692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D7075104-616E-9702-C19C-69DDF4FF644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10800000">
            <a:off x="2800915" y="3381783"/>
            <a:ext cx="375639" cy="530693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8E7632DB-6261-B758-4747-668CAC2E340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 rot="11713547">
            <a:off x="3817438" y="2996020"/>
            <a:ext cx="375212" cy="530693"/>
          </a:xfrm>
          <a:prstGeom prst="rect">
            <a:avLst/>
          </a:prstGeom>
        </p:spPr>
      </p:pic>
      <p:pic>
        <p:nvPicPr>
          <p:cNvPr id="27" name="Billede 26">
            <a:extLst>
              <a:ext uri="{FF2B5EF4-FFF2-40B4-BE49-F238E27FC236}">
                <a16:creationId xmlns:a16="http://schemas.microsoft.com/office/drawing/2014/main" id="{08ACCC16-E10D-68D1-EEDF-270730BD7F5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9763297">
            <a:off x="4078399" y="4241502"/>
            <a:ext cx="375639" cy="530693"/>
          </a:xfrm>
          <a:prstGeom prst="rect">
            <a:avLst/>
          </a:prstGeom>
        </p:spPr>
      </p:pic>
      <p:pic>
        <p:nvPicPr>
          <p:cNvPr id="28" name="Billede 27">
            <a:extLst>
              <a:ext uri="{FF2B5EF4-FFF2-40B4-BE49-F238E27FC236}">
                <a16:creationId xmlns:a16="http://schemas.microsoft.com/office/drawing/2014/main" id="{222D1C1C-1ECB-17C9-E9C1-1E54D3041CC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9702188">
            <a:off x="1711235" y="3234592"/>
            <a:ext cx="375639" cy="530693"/>
          </a:xfrm>
          <a:prstGeom prst="rect">
            <a:avLst/>
          </a:prstGeom>
        </p:spPr>
      </p:pic>
      <p:pic>
        <p:nvPicPr>
          <p:cNvPr id="29" name="Billede 28">
            <a:extLst>
              <a:ext uri="{FF2B5EF4-FFF2-40B4-BE49-F238E27FC236}">
                <a16:creationId xmlns:a16="http://schemas.microsoft.com/office/drawing/2014/main" id="{D0BA1E52-C4D2-9E66-86DB-EE6CA270A29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10800000">
            <a:off x="4511071" y="2567303"/>
            <a:ext cx="375212" cy="530693"/>
          </a:xfrm>
          <a:prstGeom prst="rect">
            <a:avLst/>
          </a:prstGeom>
        </p:spPr>
      </p:pic>
      <p:pic>
        <p:nvPicPr>
          <p:cNvPr id="30" name="Billede 29">
            <a:extLst>
              <a:ext uri="{FF2B5EF4-FFF2-40B4-BE49-F238E27FC236}">
                <a16:creationId xmlns:a16="http://schemas.microsoft.com/office/drawing/2014/main" id="{FFABDE66-19FE-CD99-4B4A-3501886FC56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1353116">
            <a:off x="5098702" y="2896049"/>
            <a:ext cx="375212" cy="530693"/>
          </a:xfrm>
          <a:prstGeom prst="rect">
            <a:avLst/>
          </a:prstGeom>
        </p:spPr>
      </p:pic>
      <p:pic>
        <p:nvPicPr>
          <p:cNvPr id="31" name="Billede 30">
            <a:extLst>
              <a:ext uri="{FF2B5EF4-FFF2-40B4-BE49-F238E27FC236}">
                <a16:creationId xmlns:a16="http://schemas.microsoft.com/office/drawing/2014/main" id="{641D484B-B6E0-962D-3FF4-B48FD2C48E0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9877025">
            <a:off x="2104767" y="4146919"/>
            <a:ext cx="375212" cy="530693"/>
          </a:xfrm>
          <a:prstGeom prst="rect">
            <a:avLst/>
          </a:prstGeom>
        </p:spPr>
      </p:pic>
      <p:pic>
        <p:nvPicPr>
          <p:cNvPr id="64" name="Billede 63">
            <a:extLst>
              <a:ext uri="{FF2B5EF4-FFF2-40B4-BE49-F238E27FC236}">
                <a16:creationId xmlns:a16="http://schemas.microsoft.com/office/drawing/2014/main" id="{B5B4A9D4-5DB2-7D45-2B1F-C0C53EEBCFA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 rot="11386171">
            <a:off x="4474452" y="4523363"/>
            <a:ext cx="375212" cy="530693"/>
          </a:xfrm>
          <a:prstGeom prst="rect">
            <a:avLst/>
          </a:prstGeom>
        </p:spPr>
      </p:pic>
      <p:pic>
        <p:nvPicPr>
          <p:cNvPr id="65" name="Billede 64">
            <a:extLst>
              <a:ext uri="{FF2B5EF4-FFF2-40B4-BE49-F238E27FC236}">
                <a16:creationId xmlns:a16="http://schemas.microsoft.com/office/drawing/2014/main" id="{FDF0E394-F3C7-4C2F-1524-FDD70EC20AE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 rot="11179830" flipH="1">
            <a:off x="938986" y="4835433"/>
            <a:ext cx="375212" cy="530693"/>
          </a:xfrm>
          <a:prstGeom prst="rect">
            <a:avLst/>
          </a:prstGeom>
        </p:spPr>
      </p:pic>
      <p:pic>
        <p:nvPicPr>
          <p:cNvPr id="66" name="Billede 65">
            <a:extLst>
              <a:ext uri="{FF2B5EF4-FFF2-40B4-BE49-F238E27FC236}">
                <a16:creationId xmlns:a16="http://schemas.microsoft.com/office/drawing/2014/main" id="{BE5FF23E-5E3C-2940-163E-3781BD21439F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 rot="10800000">
            <a:off x="4931206" y="2435348"/>
            <a:ext cx="375639" cy="530693"/>
          </a:xfrm>
          <a:prstGeom prst="rect">
            <a:avLst/>
          </a:prstGeom>
        </p:spPr>
      </p:pic>
      <p:pic>
        <p:nvPicPr>
          <p:cNvPr id="67" name="Billede 66">
            <a:extLst>
              <a:ext uri="{FF2B5EF4-FFF2-40B4-BE49-F238E27FC236}">
                <a16:creationId xmlns:a16="http://schemas.microsoft.com/office/drawing/2014/main" id="{1BBEC89E-3D6A-18B3-B49F-E4DD3F9B785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 rot="10235649">
            <a:off x="1558313" y="4654760"/>
            <a:ext cx="375212" cy="530693"/>
          </a:xfrm>
          <a:prstGeom prst="rect">
            <a:avLst/>
          </a:prstGeom>
        </p:spPr>
      </p:pic>
      <p:pic>
        <p:nvPicPr>
          <p:cNvPr id="68" name="Billede 67">
            <a:extLst>
              <a:ext uri="{FF2B5EF4-FFF2-40B4-BE49-F238E27FC236}">
                <a16:creationId xmlns:a16="http://schemas.microsoft.com/office/drawing/2014/main" id="{821B0F58-673D-A1D5-726B-A2D83AAC46B0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 rot="11179830">
            <a:off x="1312578" y="3790333"/>
            <a:ext cx="375212" cy="530693"/>
          </a:xfrm>
          <a:prstGeom prst="rect">
            <a:avLst/>
          </a:prstGeom>
        </p:spPr>
      </p:pic>
      <p:pic>
        <p:nvPicPr>
          <p:cNvPr id="69" name="Billede 68">
            <a:extLst>
              <a:ext uri="{FF2B5EF4-FFF2-40B4-BE49-F238E27FC236}">
                <a16:creationId xmlns:a16="http://schemas.microsoft.com/office/drawing/2014/main" id="{0A52D9A6-04E0-C97E-1DAF-1520E029EB4D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 rot="10800000">
            <a:off x="4008429" y="4724064"/>
            <a:ext cx="375212" cy="530693"/>
          </a:xfrm>
          <a:prstGeom prst="rect">
            <a:avLst/>
          </a:prstGeom>
        </p:spPr>
      </p:pic>
      <p:pic>
        <p:nvPicPr>
          <p:cNvPr id="70" name="Billede 69">
            <a:extLst>
              <a:ext uri="{FF2B5EF4-FFF2-40B4-BE49-F238E27FC236}">
                <a16:creationId xmlns:a16="http://schemas.microsoft.com/office/drawing/2014/main" id="{07D3CB4A-4E37-1F4C-3F40-DBE1E61B9BB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 rot="10417343">
            <a:off x="4592862" y="2956929"/>
            <a:ext cx="375639" cy="530693"/>
          </a:xfrm>
          <a:prstGeom prst="rect">
            <a:avLst/>
          </a:prstGeom>
        </p:spPr>
      </p:pic>
      <p:sp>
        <p:nvSpPr>
          <p:cNvPr id="11" name="Ellipse 2">
            <a:extLst>
              <a:ext uri="{FF2B5EF4-FFF2-40B4-BE49-F238E27FC236}">
                <a16:creationId xmlns:a16="http://schemas.microsoft.com/office/drawing/2014/main" id="{E4596C3D-6E35-478C-600A-9BADD7FAA6DC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6"/>
                </a:solidFill>
                <a:latin typeface="DM Sans 14pt" pitchFamily="2" charset="77"/>
              </a:rPr>
              <a:t>1</a:t>
            </a:r>
          </a:p>
        </p:txBody>
      </p:sp>
      <p:sp>
        <p:nvSpPr>
          <p:cNvPr id="14" name="Tekstfelt 82">
            <a:extLst>
              <a:ext uri="{FF2B5EF4-FFF2-40B4-BE49-F238E27FC236}">
                <a16:creationId xmlns:a16="http://schemas.microsoft.com/office/drawing/2014/main" id="{A873FE9B-C72F-D7A1-C8C6-9C0F06996AD9}"/>
              </a:ext>
            </a:extLst>
          </p:cNvPr>
          <p:cNvSpPr txBox="1"/>
          <p:nvPr/>
        </p:nvSpPr>
        <p:spPr>
          <a:xfrm>
            <a:off x="10816642" y="1584408"/>
            <a:ext cx="10807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30 min</a:t>
            </a:r>
          </a:p>
        </p:txBody>
      </p:sp>
      <p:pic>
        <p:nvPicPr>
          <p:cNvPr id="15" name="Grafik 83">
            <a:extLst>
              <a:ext uri="{FF2B5EF4-FFF2-40B4-BE49-F238E27FC236}">
                <a16:creationId xmlns:a16="http://schemas.microsoft.com/office/drawing/2014/main" id="{9B9CA5B2-290E-0CCA-8D05-1412872DF4D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327506" y="1498280"/>
            <a:ext cx="500465" cy="480032"/>
          </a:xfrm>
          <a:prstGeom prst="rect">
            <a:avLst/>
          </a:prstGeom>
        </p:spPr>
      </p:pic>
      <p:sp>
        <p:nvSpPr>
          <p:cNvPr id="32" name="Tekstfelt 3">
            <a:extLst>
              <a:ext uri="{FF2B5EF4-FFF2-40B4-BE49-F238E27FC236}">
                <a16:creationId xmlns:a16="http://schemas.microsoft.com/office/drawing/2014/main" id="{6C8B1D4B-8773-1DC1-C6BA-0D7928441726}"/>
              </a:ext>
            </a:extLst>
          </p:cNvPr>
          <p:cNvSpPr txBox="1"/>
          <p:nvPr/>
        </p:nvSpPr>
        <p:spPr>
          <a:xfrm>
            <a:off x="6778909" y="2246462"/>
            <a:ext cx="5262932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 samles igen og alle kortene </a:t>
            </a: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les i ét fælles overblik.</a:t>
            </a:r>
          </a:p>
          <a:p>
            <a:pPr lvl="0">
              <a:defRPr/>
            </a:pPr>
            <a:endParaRPr lang="da-DK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>
              <a:defRPr/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3 grupper skiftes til at fremlægge, hvorfor de har placeret kortene, som de har. I plenum gennemgår I placeringen af kortene og retter til efter behov, indtil I er enige om placeringen.</a:t>
            </a:r>
          </a:p>
        </p:txBody>
      </p:sp>
    </p:spTree>
    <p:extLst>
      <p:ext uri="{BB962C8B-B14F-4D97-AF65-F5344CB8AC3E}">
        <p14:creationId xmlns:p14="http://schemas.microsoft.com/office/powerpoint/2010/main" val="39881019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079DBF-375B-B8BE-18EB-57F34F9DA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Top Corners Rounded 40">
            <a:extLst>
              <a:ext uri="{FF2B5EF4-FFF2-40B4-BE49-F238E27FC236}">
                <a16:creationId xmlns:a16="http://schemas.microsoft.com/office/drawing/2014/main" id="{C6A5F075-9AB5-D2C4-0B2E-78B8D49D62CE}"/>
              </a:ext>
            </a:extLst>
          </p:cNvPr>
          <p:cNvSpPr/>
          <p:nvPr/>
        </p:nvSpPr>
        <p:spPr>
          <a:xfrm rot="16200000">
            <a:off x="8191504" y="-629768"/>
            <a:ext cx="2302570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DB7DA2F-BBD8-F224-B207-618A26F525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B7DA2F-BBD8-F224-B207-618A26F52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8A09B2-1BD7-C403-DDD5-65FED411A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ep 3: 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8F7E027-99BA-97B2-184F-13B9F37B858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638985BE-29B8-91A5-44CD-0B81F5A58172}"/>
              </a:ext>
            </a:extLst>
          </p:cNvPr>
          <p:cNvGrpSpPr/>
          <p:nvPr/>
        </p:nvGrpSpPr>
        <p:grpSpPr>
          <a:xfrm>
            <a:off x="6096000" y="927842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237438D5-5B1C-AEB6-3F04-335BAF3C7D27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Øvelse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2D57FA03-795A-2AFA-3488-25CD0A7517F9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14" name="Tekstfelt 82">
            <a:extLst>
              <a:ext uri="{FF2B5EF4-FFF2-40B4-BE49-F238E27FC236}">
                <a16:creationId xmlns:a16="http://schemas.microsoft.com/office/drawing/2014/main" id="{8B69D320-B4C4-ED6E-E0AA-D70A798A0817}"/>
              </a:ext>
            </a:extLst>
          </p:cNvPr>
          <p:cNvSpPr txBox="1"/>
          <p:nvPr/>
        </p:nvSpPr>
        <p:spPr>
          <a:xfrm>
            <a:off x="10816642" y="1352179"/>
            <a:ext cx="1077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 14pt" pitchFamily="2" charset="77"/>
              </a:rPr>
              <a:t>2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0 min</a:t>
            </a:r>
          </a:p>
        </p:txBody>
      </p:sp>
      <p:pic>
        <p:nvPicPr>
          <p:cNvPr id="15" name="Grafik 83">
            <a:extLst>
              <a:ext uri="{FF2B5EF4-FFF2-40B4-BE49-F238E27FC236}">
                <a16:creationId xmlns:a16="http://schemas.microsoft.com/office/drawing/2014/main" id="{160C6EBA-EF8A-EEB7-B519-E2A547178D9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sp>
        <p:nvSpPr>
          <p:cNvPr id="32" name="Tekstfelt 3">
            <a:extLst>
              <a:ext uri="{FF2B5EF4-FFF2-40B4-BE49-F238E27FC236}">
                <a16:creationId xmlns:a16="http://schemas.microsoft.com/office/drawing/2014/main" id="{93E69A4D-EA33-54A0-91A7-8140C1A6E3E3}"/>
              </a:ext>
            </a:extLst>
          </p:cNvPr>
          <p:cNvSpPr txBox="1"/>
          <p:nvPr/>
        </p:nvSpPr>
        <p:spPr>
          <a:xfrm>
            <a:off x="6778909" y="2115832"/>
            <a:ext cx="5262932" cy="1041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går ud i de samme grupper som før (E, S og G)</a:t>
            </a:r>
          </a:p>
          <a:p>
            <a:pPr fontAlgn="base">
              <a:spcAft>
                <a:spcPts val="800"/>
              </a:spcAft>
            </a:pP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miner 2-3 målepunkter til at være de vigtigste </a:t>
            </a: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enfor jeres bogstav. Hvilke målepunkter er vigtigst for jer at</a:t>
            </a: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ioritere </a:t>
            </a: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den kommende periode baseret på jeres indplacering i matricen, og de drøftelser som I har haft i gruppen og plenum?</a:t>
            </a:r>
          </a:p>
        </p:txBody>
      </p:sp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B52CD530-7C0D-5184-8DF4-8F4983833780}"/>
              </a:ext>
            </a:extLst>
          </p:cNvPr>
          <p:cNvSpPr txBox="1">
            <a:spLocks/>
          </p:cNvSpPr>
          <p:nvPr/>
        </p:nvSpPr>
        <p:spPr>
          <a:xfrm>
            <a:off x="360001" y="956253"/>
            <a:ext cx="11472000" cy="4455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>
                <a:latin typeface="DM Sans 14pt" pitchFamily="2" charset="77"/>
                <a:ea typeface="Verdana" panose="020B0604030504040204" pitchFamily="34" charset="0"/>
              </a:rPr>
              <a:t>Udvælg prioriterede målepunkter </a:t>
            </a:r>
          </a:p>
        </p:txBody>
      </p:sp>
      <p:pic>
        <p:nvPicPr>
          <p:cNvPr id="13" name="Billede 16">
            <a:extLst>
              <a:ext uri="{FF2B5EF4-FFF2-40B4-BE49-F238E27FC236}">
                <a16:creationId xmlns:a16="http://schemas.microsoft.com/office/drawing/2014/main" id="{0B137816-CBCF-81B5-EFA4-699B8D42A6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0320" y="1585353"/>
            <a:ext cx="3010093" cy="2083653"/>
          </a:xfrm>
          <a:prstGeom prst="rect">
            <a:avLst/>
          </a:prstGeom>
        </p:spPr>
      </p:pic>
      <p:pic>
        <p:nvPicPr>
          <p:cNvPr id="17" name="Billede 17">
            <a:extLst>
              <a:ext uri="{FF2B5EF4-FFF2-40B4-BE49-F238E27FC236}">
                <a16:creationId xmlns:a16="http://schemas.microsoft.com/office/drawing/2014/main" id="{60712AC8-6430-66A5-9648-B5BC94FF44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01688" y="3832508"/>
            <a:ext cx="3178087" cy="22457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33" name="Forbindelse: buet 18">
            <a:extLst>
              <a:ext uri="{FF2B5EF4-FFF2-40B4-BE49-F238E27FC236}">
                <a16:creationId xmlns:a16="http://schemas.microsoft.com/office/drawing/2014/main" id="{5C285EA2-4F1D-F510-2C6B-B135CE5974DC}"/>
              </a:ext>
            </a:extLst>
          </p:cNvPr>
          <p:cNvCxnSpPr>
            <a:cxnSpLocks/>
          </p:cNvCxnSpPr>
          <p:nvPr/>
        </p:nvCxnSpPr>
        <p:spPr>
          <a:xfrm rot="16200000" flipH="1">
            <a:off x="2557093" y="2671774"/>
            <a:ext cx="1276227" cy="1187035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Ellipse 2">
            <a:extLst>
              <a:ext uri="{FF2B5EF4-FFF2-40B4-BE49-F238E27FC236}">
                <a16:creationId xmlns:a16="http://schemas.microsoft.com/office/drawing/2014/main" id="{FA4884A9-B4F0-F7C9-B89E-31D5E677A9F4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1"/>
                </a:solidFill>
                <a:latin typeface="DM Sans 14pt" pitchFamily="2" charset="77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178953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ZEjfHTTRW7Eq1_LyZb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ZEjfHTTRW7Eq1_LyZbr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3-25 00:32:49"/>
  <p:tag name="KM-CONTENT-SLIDE" val="2025-03-25 00:32:5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CONTENT-SLIDE" val="2025-01-11 18:36:43"/>
  <p:tag name="KM-QUALITY-SLIDE" val="2025-01-11 18:36:18"/>
  <p:tag name="SH_REF" val="ZS8xVWxDZDZDclJ3Z2p0aHYrNnpkSUtoT21IeFVwLzVneWJzelVuZmFsd1JpM2lzNUhZMVVPK1pOZzV3Rm1HSw%3D%3D"/>
  <p:tag name="SLIDEHUBID" val="233920310079638374225658a05d5f90f74faff4959f895d9629f93314ae221344779885"/>
  <p:tag name="SLIDEHUBID_NEW" val="updated"/>
  <p:tag name="SLIDEHUBUPDATETIME" val="2025-01-17 10:35:01.308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0 07:48:51"/>
  <p:tag name="KM-CONTENT-SLIDE" val="2025-01-10 07:49:0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2.xml><?xml version="1.0" encoding="utf-8"?>
<a:theme xmlns:a="http://schemas.openxmlformats.org/drawingml/2006/main" name="1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3.xml><?xml version="1.0" encoding="utf-8"?>
<a:theme xmlns:a="http://schemas.openxmlformats.org/drawingml/2006/main" name="2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4.xml><?xml version="1.0" encoding="utf-8"?>
<a:theme xmlns:a="http://schemas.openxmlformats.org/drawingml/2006/main" name="4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9EDA7693-36BA-4E81-BE22-9B966DC8EC92}">
  <we:reference id="wa200005701" version="1.0.0.1" store="da-DK" storeType="OMEX"/>
  <we:alternateReferences>
    <we:reference id="wa200005701" version="1.0.0.1" store="wa200005701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E4B4C2-8DB5-9848-96F3-D7F43B4DAA16}">
  <we:reference id="wa200001625" version="1.0.0.8" store="da-DK" storeType="OMEX"/>
  <we:alternateReferences>
    <we:reference id="wa200001625" version="1.0.0.8" store="WA200001625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B7D845375A7054B9D1190F5089F308E" ma:contentTypeVersion="16" ma:contentTypeDescription="Opret et nyt dokument." ma:contentTypeScope="" ma:versionID="f2366b5ad3061bc6c29a5651517dfd70">
  <xsd:schema xmlns:xsd="http://www.w3.org/2001/XMLSchema" xmlns:xs="http://www.w3.org/2001/XMLSchema" xmlns:p="http://schemas.microsoft.com/office/2006/metadata/properties" xmlns:ns2="07b48e10-c04f-417b-9474-e48ce6fea886" xmlns:ns3="58e21f3c-b20b-41e4-9fa9-33c4bbbe68ac" targetNamespace="http://schemas.microsoft.com/office/2006/metadata/properties" ma:root="true" ma:fieldsID="2718e0d4eeee71fa3d876f76a5c2d3f3" ns2:_="" ns3:_="">
    <xsd:import namespace="07b48e10-c04f-417b-9474-e48ce6fea886"/>
    <xsd:import namespace="58e21f3c-b20b-41e4-9fa9-33c4bbbe68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b48e10-c04f-417b-9474-e48ce6fea8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Billedmærker" ma:readOnly="false" ma:fieldId="{5cf76f15-5ced-4ddc-b409-7134ff3c332f}" ma:taxonomyMulti="true" ma:sspId="567415f2-b293-4451-ac09-c97e906511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21f3c-b20b-41e4-9fa9-33c4bbbe68a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8eec7cd-60fc-43cb-b884-fabd96c89621}" ma:internalName="TaxCatchAll" ma:showField="CatchAllData" ma:web="58e21f3c-b20b-41e4-9fa9-33c4bbbe68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8e21f3c-b20b-41e4-9fa9-33c4bbbe68ac" xsi:nil="true"/>
    <lcf76f155ced4ddcb4097134ff3c332f xmlns="07b48e10-c04f-417b-9474-e48ce6fea88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8372A9B-E195-45AF-AFEC-A219F96F4DA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8882F3D-4543-45C7-845B-5E39390099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b48e10-c04f-417b-9474-e48ce6fea886"/>
    <ds:schemaRef ds:uri="58e21f3c-b20b-41e4-9fa9-33c4bbbe68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C361FD5-8737-4E41-B05B-0D843DDF34DB}">
  <ds:schemaRefs>
    <ds:schemaRef ds:uri="58e21f3c-b20b-41e4-9fa9-33c4bbbe68ac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elements/1.1/"/>
    <ds:schemaRef ds:uri="http://schemas.openxmlformats.org/package/2006/metadata/core-properties"/>
    <ds:schemaRef ds:uri="07b48e10-c04f-417b-9474-e48ce6fea886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8e93ebf9-81bd-44ac-bf29-c9a20c23d45b}" enabled="1" method="Standard" siteId="{9395c127-4642-416e-8d2d-69e01e31c0d5}" contentBits="3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211</TotalTime>
  <Words>2264</Words>
  <Application>Microsoft Office PowerPoint</Application>
  <PresentationFormat>Widescreen</PresentationFormat>
  <Paragraphs>455</Paragraphs>
  <Slides>29</Slides>
  <Notes>15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1</vt:i4>
      </vt:variant>
      <vt:variant>
        <vt:lpstr>Tema</vt:lpstr>
      </vt:variant>
      <vt:variant>
        <vt:i4>4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9</vt:i4>
      </vt:variant>
    </vt:vector>
  </HeadingPairs>
  <TitlesOfParts>
    <vt:vector size="45" baseType="lpstr">
      <vt:lpstr>Aptos</vt:lpstr>
      <vt:lpstr>Arial</vt:lpstr>
      <vt:lpstr>Calibri Light</vt:lpstr>
      <vt:lpstr>DM Sans 14pt</vt:lpstr>
      <vt:lpstr>DM Sans 14pt ExtraBold</vt:lpstr>
      <vt:lpstr>DM Sans 14pt Medium</vt:lpstr>
      <vt:lpstr>DM Sans 18pt 18pt</vt:lpstr>
      <vt:lpstr>DM Sans 18pt 18pt ExtraBold</vt:lpstr>
      <vt:lpstr>DM Sans 18pt 18pt Medium</vt:lpstr>
      <vt:lpstr>Verdana</vt:lpstr>
      <vt:lpstr>Wingdings</vt:lpstr>
      <vt:lpstr>AlmenKompas</vt:lpstr>
      <vt:lpstr>1_AlmenKompas</vt:lpstr>
      <vt:lpstr>2_AlmenKompas</vt:lpstr>
      <vt:lpstr>4_AlmenKompas</vt:lpstr>
      <vt:lpstr>think-cell Slide</vt:lpstr>
      <vt:lpstr>Prioriterings- workshop</vt:lpstr>
      <vt:lpstr>Dagsorden</vt:lpstr>
      <vt:lpstr>PowerPoint-præsentation</vt:lpstr>
      <vt:lpstr>Introduktion til AlmenKompas</vt:lpstr>
      <vt:lpstr>Introduktion til Prioriteringsworkshoppen</vt:lpstr>
      <vt:lpstr>Inddeling i grupper</vt:lpstr>
      <vt:lpstr>Step 1: Gruppearbejde</vt:lpstr>
      <vt:lpstr>Step 2: Snak i plenum</vt:lpstr>
      <vt:lpstr>Step 3: Gruppearbejde</vt:lpstr>
      <vt:lpstr>Step 4: Gruppearbejde</vt:lpstr>
      <vt:lpstr>Gruppearbejde</vt:lpstr>
      <vt:lpstr>Snak i plenum</vt:lpstr>
      <vt:lpstr>PowerPoint-præsentation</vt:lpstr>
      <vt:lpstr>PowerPoint-præsentation</vt:lpstr>
      <vt:lpstr>Missionen for AlmenKompas</vt:lpstr>
      <vt:lpstr>Udviklingen af rammerne for bæredygtighed</vt:lpstr>
      <vt:lpstr>En sektor der løser en samfundsopgave</vt:lpstr>
      <vt:lpstr>AlmenKompas målepunkterne</vt:lpstr>
      <vt:lpstr>E - Miljø</vt:lpstr>
      <vt:lpstr>S- Social</vt:lpstr>
      <vt:lpstr>G - Governance</vt:lpstr>
      <vt:lpstr>Hvad får vi ud af at bruge AlmenKompas?</vt:lpstr>
      <vt:lpstr>Vi er en del af et større landskab</vt:lpstr>
      <vt:lpstr>Vores fælles data bor i Landsbyggefonden</vt:lpstr>
      <vt:lpstr>Det meste data får I leveret af Landsbyggefonden</vt:lpstr>
      <vt:lpstr>Sådan virker AlmenKompas i praksis</vt:lpstr>
      <vt:lpstr>Det hele er udviklet sammen med jer</vt:lpstr>
      <vt:lpstr>Sådan er AlmenKompas organiseret </vt:lpstr>
      <vt:lpstr>Vil du vide mere om AlmenKompas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m</dc:creator>
  <cp:lastModifiedBy>Kasper Brøndum Andersen</cp:lastModifiedBy>
  <cp:revision>1</cp:revision>
  <dcterms:created xsi:type="dcterms:W3CDTF">2025-07-03T12:39:05Z</dcterms:created>
  <dcterms:modified xsi:type="dcterms:W3CDTF">2025-12-09T10:2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Locations">
    <vt:lpwstr>Office Theme:8\AlmenKompas:4</vt:lpwstr>
  </property>
  <property fmtid="{D5CDD505-2E9C-101B-9397-08002B2CF9AE}" pid="3" name="ClassificationContentMarkingHeaderText">
    <vt:lpwstr>This information is RESTRICTED to authorized recipients</vt:lpwstr>
  </property>
  <property fmtid="{D5CDD505-2E9C-101B-9397-08002B2CF9AE}" pid="4" name="ContentTypeId">
    <vt:lpwstr>0x010100CB7D845375A7054B9D1190F5089F308E</vt:lpwstr>
  </property>
  <property fmtid="{D5CDD505-2E9C-101B-9397-08002B2CF9AE}" pid="5" name="MediaServiceImageTags">
    <vt:lpwstr/>
  </property>
</Properties>
</file>